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5.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6.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7.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8.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 id="2147483687" r:id="rId3"/>
    <p:sldMasterId id="2147483727" r:id="rId4"/>
    <p:sldMasterId id="2147483764" r:id="rId5"/>
    <p:sldMasterId id="2147483819" r:id="rId6"/>
    <p:sldMasterId id="2147483845" r:id="rId7"/>
    <p:sldMasterId id="2147483878" r:id="rId8"/>
    <p:sldMasterId id="2147483921" r:id="rId9"/>
  </p:sldMasterIdLst>
  <p:notesMasterIdLst>
    <p:notesMasterId r:id="rId55"/>
  </p:notesMasterIdLst>
  <p:sldIdLst>
    <p:sldId id="2076137761" r:id="rId10"/>
    <p:sldId id="2076137762" r:id="rId11"/>
    <p:sldId id="2076137763" r:id="rId12"/>
    <p:sldId id="259" r:id="rId13"/>
    <p:sldId id="2076136817" r:id="rId14"/>
    <p:sldId id="2076137149" r:id="rId15"/>
    <p:sldId id="2076137050" r:id="rId16"/>
    <p:sldId id="2076137472" r:id="rId17"/>
    <p:sldId id="2076137772" r:id="rId18"/>
    <p:sldId id="2076137133" r:id="rId19"/>
    <p:sldId id="2076137158" r:id="rId20"/>
    <p:sldId id="2076137159" r:id="rId21"/>
    <p:sldId id="2076137160" r:id="rId22"/>
    <p:sldId id="2076137161" r:id="rId23"/>
    <p:sldId id="2076137162" r:id="rId24"/>
    <p:sldId id="4507" r:id="rId25"/>
    <p:sldId id="4556" r:id="rId26"/>
    <p:sldId id="281" r:id="rId27"/>
    <p:sldId id="4521" r:id="rId28"/>
    <p:sldId id="263" r:id="rId29"/>
    <p:sldId id="4562" r:id="rId30"/>
    <p:sldId id="4482" r:id="rId31"/>
    <p:sldId id="4563" r:id="rId32"/>
    <p:sldId id="2076137104" r:id="rId33"/>
    <p:sldId id="2076137771" r:id="rId34"/>
    <p:sldId id="2076137157" r:id="rId35"/>
    <p:sldId id="2076137164" r:id="rId36"/>
    <p:sldId id="2076137165" r:id="rId37"/>
    <p:sldId id="2076136958" r:id="rId38"/>
    <p:sldId id="2076137052" r:id="rId39"/>
    <p:sldId id="2076137770" r:id="rId40"/>
    <p:sldId id="2076137106" r:id="rId41"/>
    <p:sldId id="2076137166" r:id="rId42"/>
    <p:sldId id="2076137167" r:id="rId43"/>
    <p:sldId id="2076137168" r:id="rId44"/>
    <p:sldId id="2076137169" r:id="rId45"/>
    <p:sldId id="282" r:id="rId46"/>
    <p:sldId id="268" r:id="rId47"/>
    <p:sldId id="286" r:id="rId48"/>
    <p:sldId id="287" r:id="rId49"/>
    <p:sldId id="3744" r:id="rId50"/>
    <p:sldId id="10304" r:id="rId51"/>
    <p:sldId id="10293" r:id="rId52"/>
    <p:sldId id="2076137769" r:id="rId53"/>
    <p:sldId id="2076137531"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42" autoAdjust="0"/>
    <p:restoredTop sz="71143" autoAdjust="0"/>
  </p:normalViewPr>
  <p:slideViewPr>
    <p:cSldViewPr snapToGrid="0">
      <p:cViewPr varScale="1">
        <p:scale>
          <a:sx n="41" d="100"/>
          <a:sy n="41" d="100"/>
        </p:scale>
        <p:origin x="796" y="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openxmlformats.org/officeDocument/2006/relationships/slide" Target="slides/slide4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2.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chemeClr val="bg1">
            <a:lumMod val="65000"/>
          </a:schemeClr>
        </a:solidFill>
        <a:ln>
          <a:solidFill>
            <a:schemeClr val="bg1">
              <a:lumMod val="65000"/>
            </a:schemeClr>
          </a:solidFill>
        </a:ln>
      </dgm:spPr>
      <dgm:t>
        <a:bodyPr/>
        <a:lstStyle/>
        <a:p>
          <a:r>
            <a:rPr lang="en-AU" sz="1100" dirty="0"/>
            <a:t>Day 1 </a:t>
          </a:r>
        </a:p>
        <a:p>
          <a:r>
            <a:rPr lang="en-US" sz="1100" dirty="0"/>
            <a:t>Empowering Everyone with Power Platform – From CEO to Frontline Workers</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 to Power Platform</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2</a:t>
          </a:r>
        </a:p>
        <a:p>
          <a:r>
            <a:rPr lang="en-US" sz="1100" dirty="0"/>
            <a:t>Power Packed Day with Power Canvas Apps</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Apps</a:t>
          </a:r>
          <a:endParaRPr lang="en-AU" sz="1100" kern="1200" dirty="0">
            <a:solidFill>
              <a:prstClr val="black">
                <a:hueOff val="0"/>
                <a:satOff val="0"/>
                <a:lumOff val="0"/>
                <a:alphaOff val="0"/>
              </a:prstClr>
            </a:solidFill>
            <a:latin typeface="Calibri" panose="020F0502020204030204"/>
            <a:ea typeface="+mn-ea"/>
            <a:cs typeface="+mn-cs"/>
          </a:endParaRPr>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3</a:t>
          </a:r>
        </a:p>
        <a:p>
          <a:r>
            <a:rPr lang="en-US" sz="1100" dirty="0"/>
            <a:t>Power Packed Day with Power Model Driven App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dirty="0"/>
            <a:t>Let’s talk about data</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4</a:t>
          </a:r>
        </a:p>
        <a:p>
          <a:r>
            <a:rPr lang="en-US" sz="1100" dirty="0"/>
            <a:t>Power Packed Day with Power Automate</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DF86A6E5-580E-4F2A-B223-B458E5A97CE4}">
      <dgm:prSet custT="1"/>
      <dgm:spPr>
        <a:solidFill>
          <a:schemeClr val="bg1">
            <a:lumMod val="65000"/>
          </a:schemeClr>
        </a:solidFill>
        <a:ln>
          <a:solidFill>
            <a:schemeClr val="bg1">
              <a:lumMod val="65000"/>
            </a:schemeClr>
          </a:solidFill>
        </a:ln>
      </dgm:spPr>
      <dgm:t>
        <a:bodyPr/>
        <a:lstStyle/>
        <a:p>
          <a:r>
            <a:rPr lang="en-AU" sz="1100" dirty="0"/>
            <a:t>Day 5</a:t>
          </a:r>
        </a:p>
        <a:p>
          <a:r>
            <a:rPr lang="en-US" sz="1100" dirty="0"/>
            <a:t>Power Packed Day with Power Virtual  Agents</a:t>
          </a:r>
          <a:endParaRPr lang="en-AU" sz="1100" dirty="0"/>
        </a:p>
      </dgm:t>
    </dgm:pt>
    <dgm:pt modelId="{A3F965A0-4DFA-4DB1-BF22-9BD549EB3157}" type="parTrans" cxnId="{E3ED610E-D840-4A47-82CA-1963CEA02A3D}">
      <dgm:prSet/>
      <dgm:spPr/>
      <dgm:t>
        <a:bodyPr/>
        <a:lstStyle/>
        <a:p>
          <a:endParaRPr lang="en-AU" sz="2400"/>
        </a:p>
      </dgm:t>
    </dgm:pt>
    <dgm:pt modelId="{A2239809-CB4C-48EC-8779-BE5C55EB41C1}" type="sibTrans" cxnId="{E3ED610E-D840-4A47-82CA-1963CEA02A3D}">
      <dgm:prSet/>
      <dgm:spPr/>
      <dgm:t>
        <a:bodyPr/>
        <a:lstStyle/>
        <a:p>
          <a:endParaRPr lang="en-AU" sz="2400"/>
        </a:p>
      </dgm:t>
    </dgm:pt>
    <dgm:pt modelId="{FC2E9FD0-AD1A-4E81-8CE8-F5387731ACC5}">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92D28802-A2B7-406B-9ECE-488CDE2B7EE3}" type="parTrans" cxnId="{BA4F5ECD-31C9-482B-B6B8-AA34483001C2}">
      <dgm:prSet/>
      <dgm:spPr/>
      <dgm:t>
        <a:bodyPr/>
        <a:lstStyle/>
        <a:p>
          <a:endParaRPr lang="en-AU" sz="2400"/>
        </a:p>
      </dgm:t>
    </dgm:pt>
    <dgm:pt modelId="{5552313E-ED74-447B-808B-0524835A4DBB}" type="sibTrans" cxnId="{BA4F5ECD-31C9-482B-B6B8-AA34483001C2}">
      <dgm:prSet/>
      <dgm:spPr/>
      <dgm:t>
        <a:bodyPr/>
        <a:lstStyle/>
        <a:p>
          <a:endParaRPr lang="en-AU" sz="2400"/>
        </a:p>
      </dgm:t>
    </dgm:pt>
    <dgm:pt modelId="{4A547C1D-B2B4-4DC0-9186-F06ADA29D96C}">
      <dgm:prSet custT="1"/>
      <dgm:spPr/>
      <dgm:t>
        <a:bodyPr/>
        <a:lstStyle/>
        <a:p>
          <a:pPr>
            <a:lnSpc>
              <a:spcPct val="150000"/>
            </a:lnSpc>
            <a:buFont typeface="Wingdings" panose="05000000000000000000" pitchFamily="2" charset="2"/>
            <a:buChar char="ü"/>
          </a:pPr>
          <a:r>
            <a:rPr lang="en-GB" sz="1100" dirty="0"/>
            <a:t>Microsoft Power Platform momentum</a:t>
          </a:r>
        </a:p>
      </dgm:t>
    </dgm:pt>
    <dgm:pt modelId="{F4FB9ED1-E83E-49C1-92FA-6655211CE690}" type="parTrans" cxnId="{28191EE6-95A7-4034-9576-375608FEE2BA}">
      <dgm:prSet/>
      <dgm:spPr/>
      <dgm:t>
        <a:bodyPr/>
        <a:lstStyle/>
        <a:p>
          <a:endParaRPr lang="en-GB"/>
        </a:p>
      </dgm:t>
    </dgm:pt>
    <dgm:pt modelId="{5B58EB33-10F0-4DE7-8164-D3499FE473A2}" type="sibTrans" cxnId="{28191EE6-95A7-4034-9576-375608FEE2BA}">
      <dgm:prSet/>
      <dgm:spPr/>
      <dgm:t>
        <a:bodyPr/>
        <a:lstStyle/>
        <a:p>
          <a:endParaRPr lang="en-GB"/>
        </a:p>
      </dgm:t>
    </dgm:pt>
    <dgm:pt modelId="{98420ADA-3284-4782-9084-DBF7EC77014B}">
      <dgm:prSet custT="1"/>
      <dgm:spPr/>
      <dgm:t>
        <a:bodyPr/>
        <a:lstStyle/>
        <a:p>
          <a:pPr>
            <a:lnSpc>
              <a:spcPct val="150000"/>
            </a:lnSpc>
            <a:buFont typeface="Wingdings" panose="05000000000000000000" pitchFamily="2" charset="2"/>
            <a:buChar char="ü"/>
          </a:pPr>
          <a:r>
            <a:rPr lang="en-GB" sz="1100" dirty="0"/>
            <a:t>Why Power Platform?</a:t>
          </a:r>
        </a:p>
      </dgm:t>
    </dgm:pt>
    <dgm:pt modelId="{89B80783-5988-4921-94F1-75DDC6E54496}" type="parTrans" cxnId="{AE63756E-C35D-4442-A6EA-011C399286C8}">
      <dgm:prSet/>
      <dgm:spPr/>
      <dgm:t>
        <a:bodyPr/>
        <a:lstStyle/>
        <a:p>
          <a:endParaRPr lang="en-GB"/>
        </a:p>
      </dgm:t>
    </dgm:pt>
    <dgm:pt modelId="{5786085F-3BE1-4E70-A5A6-F1EBB3D8528F}" type="sibTrans" cxnId="{AE63756E-C35D-4442-A6EA-011C399286C8}">
      <dgm:prSet/>
      <dgm:spPr/>
      <dgm:t>
        <a:bodyPr/>
        <a:lstStyle/>
        <a:p>
          <a:endParaRPr lang="en-GB"/>
        </a:p>
      </dgm:t>
    </dgm:pt>
    <dgm:pt modelId="{9910124C-CD53-4A9F-B500-6A452AAC9432}">
      <dgm:prSet custT="1"/>
      <dgm:spPr/>
      <dgm:t>
        <a:bodyPr/>
        <a:lstStyle/>
        <a:p>
          <a:pPr>
            <a:lnSpc>
              <a:spcPct val="150000"/>
            </a:lnSpc>
            <a:buFont typeface="Wingdings" panose="05000000000000000000" pitchFamily="2" charset="2"/>
            <a:buChar char="ü"/>
          </a:pPr>
          <a:r>
            <a:rPr lang="en-GB" sz="1100" dirty="0"/>
            <a:t>Customer Stories</a:t>
          </a:r>
        </a:p>
      </dgm:t>
    </dgm:pt>
    <dgm:pt modelId="{ECDD36CF-1B96-4E0B-9554-F2878A2DC6F7}" type="parTrans" cxnId="{AC32DA07-188E-46CF-B9B2-312CAF1701EA}">
      <dgm:prSet/>
      <dgm:spPr/>
      <dgm:t>
        <a:bodyPr/>
        <a:lstStyle/>
        <a:p>
          <a:endParaRPr lang="en-GB"/>
        </a:p>
      </dgm:t>
    </dgm:pt>
    <dgm:pt modelId="{08D79C43-12CD-4B87-A9B1-16CF29738924}" type="sibTrans" cxnId="{AC32DA07-188E-46CF-B9B2-312CAF1701EA}">
      <dgm:prSet/>
      <dgm:spPr/>
      <dgm:t>
        <a:bodyPr/>
        <a:lstStyle/>
        <a:p>
          <a:endParaRPr lang="en-GB"/>
        </a:p>
      </dgm:t>
    </dgm:pt>
    <dgm:pt modelId="{0CF6FF1F-C08F-4FC3-A083-8DE69E9808EC}">
      <dgm:prSet custT="1"/>
      <dgm:spPr/>
      <dgm:t>
        <a:bodyPr/>
        <a:lstStyle/>
        <a:p>
          <a:pPr>
            <a:lnSpc>
              <a:spcPct val="150000"/>
            </a:lnSpc>
            <a:buFont typeface="Wingdings" panose="05000000000000000000" pitchFamily="2" charset="2"/>
            <a:buChar char="ü"/>
          </a:pPr>
          <a:r>
            <a:rPr lang="en-GB" sz="1100" dirty="0"/>
            <a:t>Demo</a:t>
          </a:r>
        </a:p>
      </dgm:t>
    </dgm:pt>
    <dgm:pt modelId="{E2C68DD5-0B4D-46BB-8703-7E6E04774A00}" type="parTrans" cxnId="{B4E214AA-5BD0-42F3-AC2F-CDAC373FF126}">
      <dgm:prSet/>
      <dgm:spPr/>
      <dgm:t>
        <a:bodyPr/>
        <a:lstStyle/>
        <a:p>
          <a:endParaRPr lang="en-GB"/>
        </a:p>
      </dgm:t>
    </dgm:pt>
    <dgm:pt modelId="{69BB4931-D0E5-4586-B4A7-B24CFD9DD6C0}" type="sibTrans" cxnId="{B4E214AA-5BD0-42F3-AC2F-CDAC373FF126}">
      <dgm:prSet/>
      <dgm:spPr/>
      <dgm:t>
        <a:bodyPr/>
        <a:lstStyle/>
        <a:p>
          <a:endParaRPr lang="en-GB"/>
        </a:p>
      </dgm:t>
    </dgm:pt>
    <dgm:pt modelId="{C47DCC52-C300-40AF-9DEB-E62FF0771B08}">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Apps</a:t>
          </a:r>
        </a:p>
      </dgm:t>
    </dgm:pt>
    <dgm:pt modelId="{F8558529-070B-4267-B943-079A186B4CF8}" type="parTrans" cxnId="{57A35704-803B-44CB-8DB3-6BE8810B7142}">
      <dgm:prSet/>
      <dgm:spPr/>
      <dgm:t>
        <a:bodyPr/>
        <a:lstStyle/>
        <a:p>
          <a:endParaRPr lang="en-GB"/>
        </a:p>
      </dgm:t>
    </dgm:pt>
    <dgm:pt modelId="{BD1C22E4-D9B9-452F-A531-58C102125BBE}" type="sibTrans" cxnId="{57A35704-803B-44CB-8DB3-6BE8810B7142}">
      <dgm:prSet/>
      <dgm:spPr/>
      <dgm:t>
        <a:bodyPr/>
        <a:lstStyle/>
        <a:p>
          <a:endParaRPr lang="en-GB"/>
        </a:p>
      </dgm:t>
    </dgm:pt>
    <dgm:pt modelId="{DFDE87FF-41B5-422A-B0DE-35065B11DE8D}">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Apps?</a:t>
          </a:r>
          <a:endParaRPr lang="en-GB" sz="1100" kern="1200" dirty="0">
            <a:solidFill>
              <a:prstClr val="black">
                <a:hueOff val="0"/>
                <a:satOff val="0"/>
                <a:lumOff val="0"/>
                <a:alphaOff val="0"/>
              </a:prstClr>
            </a:solidFill>
            <a:latin typeface="Calibri" panose="020F0502020204030204"/>
            <a:ea typeface="+mn-ea"/>
            <a:cs typeface="+mn-cs"/>
          </a:endParaRPr>
        </a:p>
      </dgm:t>
    </dgm:pt>
    <dgm:pt modelId="{1E76CB77-34E9-426D-8376-9B16F27E64C7}" type="parTrans" cxnId="{9D5414A2-5FCE-4DFF-A12D-01A4DF946095}">
      <dgm:prSet/>
      <dgm:spPr/>
      <dgm:t>
        <a:bodyPr/>
        <a:lstStyle/>
        <a:p>
          <a:endParaRPr lang="en-GB"/>
        </a:p>
      </dgm:t>
    </dgm:pt>
    <dgm:pt modelId="{437E2437-C5A4-4340-AA2A-F3378DC77934}" type="sibTrans" cxnId="{9D5414A2-5FCE-4DFF-A12D-01A4DF946095}">
      <dgm:prSet/>
      <dgm:spPr/>
      <dgm:t>
        <a:bodyPr/>
        <a:lstStyle/>
        <a:p>
          <a:endParaRPr lang="en-GB"/>
        </a:p>
      </dgm:t>
    </dgm:pt>
    <dgm:pt modelId="{FE1D1D47-559F-4186-9501-2931C1DEA180}">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Apps</a:t>
          </a:r>
        </a:p>
      </dgm:t>
    </dgm:pt>
    <dgm:pt modelId="{52A3A822-FAEE-4769-8277-A88CF9EBA81B}" type="parTrans" cxnId="{1BD5B564-471C-4773-BE01-87446530E776}">
      <dgm:prSet/>
      <dgm:spPr/>
      <dgm:t>
        <a:bodyPr/>
        <a:lstStyle/>
        <a:p>
          <a:endParaRPr lang="en-GB"/>
        </a:p>
      </dgm:t>
    </dgm:pt>
    <dgm:pt modelId="{C4CD89C3-C9D5-403C-8DF5-7DFE5C517366}" type="sibTrans" cxnId="{1BD5B564-471C-4773-BE01-87446530E776}">
      <dgm:prSet/>
      <dgm:spPr/>
      <dgm:t>
        <a:bodyPr/>
        <a:lstStyle/>
        <a:p>
          <a:endParaRPr lang="en-GB"/>
        </a:p>
      </dgm:t>
    </dgm:pt>
    <dgm:pt modelId="{055EA4F5-B904-4B8A-ABBE-39BF1FDDECA8}">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dgm:t>
    </dgm:pt>
    <dgm:pt modelId="{9DB2D06B-1F1B-4C7E-954D-6C136D2E0E99}" type="parTrans" cxnId="{610DF2F5-92E8-422B-AE07-C727F76A7E93}">
      <dgm:prSet/>
      <dgm:spPr/>
      <dgm:t>
        <a:bodyPr/>
        <a:lstStyle/>
        <a:p>
          <a:endParaRPr lang="en-GB"/>
        </a:p>
      </dgm:t>
    </dgm:pt>
    <dgm:pt modelId="{1D040094-9E11-4028-84E7-64BA0F796C8F}" type="sibTrans" cxnId="{610DF2F5-92E8-422B-AE07-C727F76A7E93}">
      <dgm:prSet/>
      <dgm:spPr/>
      <dgm:t>
        <a:bodyPr/>
        <a:lstStyle/>
        <a:p>
          <a:endParaRPr lang="en-GB"/>
        </a:p>
      </dgm:t>
    </dgm:pt>
    <dgm:pt modelId="{92C97957-4673-48E0-8394-A29A2C1DF434}">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dgm:t>
    </dgm:pt>
    <dgm:pt modelId="{D5320DCF-E978-422B-9DCB-324643E7C74B}" type="parTrans" cxnId="{1670EBCB-7842-495D-8843-61A52B212B4B}">
      <dgm:prSet/>
      <dgm:spPr/>
      <dgm:t>
        <a:bodyPr/>
        <a:lstStyle/>
        <a:p>
          <a:endParaRPr lang="en-GB"/>
        </a:p>
      </dgm:t>
    </dgm:pt>
    <dgm:pt modelId="{9EEBC12D-790D-47AB-B587-D3DD5737CC08}" type="sibTrans" cxnId="{1670EBCB-7842-495D-8843-61A52B212B4B}">
      <dgm:prSet/>
      <dgm:spPr/>
      <dgm:t>
        <a:bodyPr/>
        <a:lstStyle/>
        <a:p>
          <a:endParaRPr lang="en-GB"/>
        </a:p>
      </dgm:t>
    </dgm:pt>
    <dgm:pt modelId="{B095C2AB-B38D-474E-9B4A-DBA592B2D5CE}">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gm:t>
    </dgm:pt>
    <dgm:pt modelId="{8FFD49F7-F860-47E9-991F-9FC26EA097A1}" type="parTrans" cxnId="{59FAA80C-38CB-47B8-8606-FFEC87DA1A5C}">
      <dgm:prSet/>
      <dgm:spPr/>
      <dgm:t>
        <a:bodyPr/>
        <a:lstStyle/>
        <a:p>
          <a:endParaRPr lang="en-GB"/>
        </a:p>
      </dgm:t>
    </dgm:pt>
    <dgm:pt modelId="{150E0E8B-C543-4D34-A501-DA18F3F1018B}" type="sibTrans" cxnId="{59FAA80C-38CB-47B8-8606-FFEC87DA1A5C}">
      <dgm:prSet/>
      <dgm:spPr/>
      <dgm:t>
        <a:bodyPr/>
        <a:lstStyle/>
        <a:p>
          <a:endParaRPr lang="en-GB"/>
        </a:p>
      </dgm:t>
    </dgm:pt>
    <dgm:pt modelId="{B5ECB557-EBA8-4CD5-BFAB-B79526187E0A}">
      <dgm:prSet custT="1"/>
      <dgm:spPr/>
      <dgm:t>
        <a:bodyPr/>
        <a:lstStyle/>
        <a:p>
          <a:pPr>
            <a:lnSpc>
              <a:spcPct val="150000"/>
            </a:lnSpc>
            <a:buFont typeface="Wingdings" panose="05000000000000000000" pitchFamily="2" charset="2"/>
            <a:buChar char="ü"/>
          </a:pPr>
          <a:r>
            <a:rPr lang="en-GB" sz="1100" dirty="0"/>
            <a:t>Types of flow</a:t>
          </a:r>
        </a:p>
      </dgm:t>
    </dgm:pt>
    <dgm:pt modelId="{6A33938F-5ECE-4135-8230-135DB9E8C2C7}" type="parTrans" cxnId="{EC1D5746-9C33-40B3-A1BD-B77E1B3FC38A}">
      <dgm:prSet/>
      <dgm:spPr/>
      <dgm:t>
        <a:bodyPr/>
        <a:lstStyle/>
        <a:p>
          <a:endParaRPr lang="en-GB"/>
        </a:p>
      </dgm:t>
    </dgm:pt>
    <dgm:pt modelId="{CC2B4D62-C2B0-47C7-8BCF-DA8090E460C4}" type="sibTrans" cxnId="{EC1D5746-9C33-40B3-A1BD-B77E1B3FC38A}">
      <dgm:prSet/>
      <dgm:spPr/>
      <dgm:t>
        <a:bodyPr/>
        <a:lstStyle/>
        <a:p>
          <a:endParaRPr lang="en-GB"/>
        </a:p>
      </dgm:t>
    </dgm:pt>
    <dgm:pt modelId="{4DAA1CD6-3435-471D-B1B2-F93B786B6B8D}">
      <dgm:prSet custT="1"/>
      <dgm:spPr/>
      <dgm:t>
        <a:bodyPr/>
        <a:lstStyle/>
        <a:p>
          <a:pPr>
            <a:lnSpc>
              <a:spcPct val="150000"/>
            </a:lnSpc>
            <a:buFont typeface="Wingdings" panose="05000000000000000000" pitchFamily="2" charset="2"/>
            <a:buChar char="ü"/>
          </a:pPr>
          <a:r>
            <a:rPr lang="en-GB" sz="1100" dirty="0"/>
            <a:t>Data types and expression</a:t>
          </a:r>
        </a:p>
      </dgm:t>
    </dgm:pt>
    <dgm:pt modelId="{50DECD36-8AD1-4FF4-99DD-7A6577856D51}" type="parTrans" cxnId="{8C644B19-EB5F-410B-8CD3-A6506CC6B621}">
      <dgm:prSet/>
      <dgm:spPr/>
      <dgm:t>
        <a:bodyPr/>
        <a:lstStyle/>
        <a:p>
          <a:endParaRPr lang="en-GB"/>
        </a:p>
      </dgm:t>
    </dgm:pt>
    <dgm:pt modelId="{F35C555C-CF0B-4A99-B9C2-9DA3C4DBE8B9}" type="sibTrans" cxnId="{8C644B19-EB5F-410B-8CD3-A6506CC6B621}">
      <dgm:prSet/>
      <dgm:spPr/>
      <dgm:t>
        <a:bodyPr/>
        <a:lstStyle/>
        <a:p>
          <a:endParaRPr lang="en-GB"/>
        </a:p>
      </dgm:t>
    </dgm:pt>
    <dgm:pt modelId="{BE318667-0956-4630-9C7E-F02AB8646E37}">
      <dgm:prSet custT="1"/>
      <dgm:spPr/>
      <dgm:t>
        <a:bodyPr/>
        <a:lstStyle/>
        <a:p>
          <a:pPr>
            <a:lnSpc>
              <a:spcPct val="150000"/>
            </a:lnSpc>
            <a:buFont typeface="Wingdings" panose="05000000000000000000" pitchFamily="2" charset="2"/>
            <a:buChar char="ü"/>
          </a:pPr>
          <a:r>
            <a:rPr lang="en-GB" sz="1100" dirty="0"/>
            <a:t>Working with Arrays</a:t>
          </a:r>
        </a:p>
      </dgm:t>
    </dgm:pt>
    <dgm:pt modelId="{2694D3FF-9E54-4372-9112-B170E4149FA6}" type="parTrans" cxnId="{1B26E4EA-1A8D-490F-9021-A704ABA265EE}">
      <dgm:prSet/>
      <dgm:spPr/>
      <dgm:t>
        <a:bodyPr/>
        <a:lstStyle/>
        <a:p>
          <a:endParaRPr lang="en-GB"/>
        </a:p>
      </dgm:t>
    </dgm:pt>
    <dgm:pt modelId="{390D4DFE-FE45-4C82-8D78-767C45BB48E6}" type="sibTrans" cxnId="{1B26E4EA-1A8D-490F-9021-A704ABA265EE}">
      <dgm:prSet/>
      <dgm:spPr/>
      <dgm:t>
        <a:bodyPr/>
        <a:lstStyle/>
        <a:p>
          <a:endParaRPr lang="en-GB"/>
        </a:p>
      </dgm:t>
    </dgm:pt>
    <dgm:pt modelId="{BD5E13D4-D7E6-4860-8AE3-1A6DF902884E}">
      <dgm:prSet custT="1"/>
      <dgm:spPr/>
      <dgm:t>
        <a:bodyPr/>
        <a:lstStyle/>
        <a:p>
          <a:pPr>
            <a:lnSpc>
              <a:spcPct val="150000"/>
            </a:lnSpc>
            <a:buFont typeface="Wingdings" panose="05000000000000000000" pitchFamily="2" charset="2"/>
            <a:buChar char="ü"/>
          </a:pPr>
          <a:r>
            <a:rPr lang="en-US" sz="1100" dirty="0"/>
            <a:t>Control flow and action settings</a:t>
          </a:r>
          <a:endParaRPr lang="en-GB" sz="1100" dirty="0"/>
        </a:p>
      </dgm:t>
    </dgm:pt>
    <dgm:pt modelId="{D8E857DF-A73E-4385-9198-92C2B516A406}" type="parTrans" cxnId="{62BFE4D8-2CF9-41CF-B9D6-628087FB3235}">
      <dgm:prSet/>
      <dgm:spPr/>
      <dgm:t>
        <a:bodyPr/>
        <a:lstStyle/>
        <a:p>
          <a:endParaRPr lang="en-GB"/>
        </a:p>
      </dgm:t>
    </dgm:pt>
    <dgm:pt modelId="{CB33C4BE-8EFD-40A1-B927-31095A69CFA2}" type="sibTrans" cxnId="{62BFE4D8-2CF9-41CF-B9D6-628087FB3235}">
      <dgm:prSet/>
      <dgm:spPr/>
      <dgm:t>
        <a:bodyPr/>
        <a:lstStyle/>
        <a:p>
          <a:endParaRPr lang="en-GB"/>
        </a:p>
      </dgm:t>
    </dgm:pt>
    <dgm:pt modelId="{7DD21E05-B72D-4A5A-8096-94CED97513BB}">
      <dgm:prSet custT="1"/>
      <dgm:spPr/>
      <dgm:t>
        <a:bodyPr/>
        <a:lstStyle/>
        <a:p>
          <a:pPr>
            <a:lnSpc>
              <a:spcPct val="150000"/>
            </a:lnSpc>
            <a:buFont typeface="Wingdings" panose="05000000000000000000" pitchFamily="2" charset="2"/>
            <a:buChar char="ü"/>
          </a:pPr>
          <a:r>
            <a:rPr lang="en-GB" sz="1100" dirty="0"/>
            <a:t>Demo</a:t>
          </a:r>
        </a:p>
      </dgm:t>
    </dgm:pt>
    <dgm:pt modelId="{9538A91D-80AD-459D-AA11-665791BDC56B}" type="parTrans" cxnId="{BC371117-F0C1-4931-BE30-28B18AB36738}">
      <dgm:prSet/>
      <dgm:spPr/>
      <dgm:t>
        <a:bodyPr/>
        <a:lstStyle/>
        <a:p>
          <a:endParaRPr lang="en-GB"/>
        </a:p>
      </dgm:t>
    </dgm:pt>
    <dgm:pt modelId="{BB7841B4-CE82-43B5-9F90-C64E1D335191}" type="sibTrans" cxnId="{BC371117-F0C1-4931-BE30-28B18AB36738}">
      <dgm:prSet/>
      <dgm:spPr/>
      <dgm:t>
        <a:bodyPr/>
        <a:lstStyle/>
        <a:p>
          <a:endParaRPr lang="en-GB"/>
        </a:p>
      </dgm:t>
    </dgm:pt>
    <dgm:pt modelId="{8A815043-9A70-4D4B-93A9-8E2229848664}">
      <dgm:prSet custT="1"/>
      <dgm:spPr/>
      <dgm:t>
        <a:bodyPr/>
        <a:lstStyle/>
        <a:p>
          <a:pPr>
            <a:lnSpc>
              <a:spcPct val="150000"/>
            </a:lnSpc>
            <a:buFont typeface="Wingdings" panose="05000000000000000000" pitchFamily="2" charset="2"/>
            <a:buChar char="ü"/>
          </a:pPr>
          <a:r>
            <a:rPr lang="en-GB" sz="1100" dirty="0"/>
            <a:t>Types of Data</a:t>
          </a:r>
        </a:p>
      </dgm:t>
    </dgm:pt>
    <dgm:pt modelId="{07737267-99BE-4006-8E00-BFFD844FCE15}" type="parTrans" cxnId="{345FC943-EFB4-43F9-B335-0D028CA32F9E}">
      <dgm:prSet/>
      <dgm:spPr/>
      <dgm:t>
        <a:bodyPr/>
        <a:lstStyle/>
        <a:p>
          <a:endParaRPr lang="en-GB"/>
        </a:p>
      </dgm:t>
    </dgm:pt>
    <dgm:pt modelId="{14FC3DDA-ADC1-4856-84FB-05DB47A9F2C0}" type="sibTrans" cxnId="{345FC943-EFB4-43F9-B335-0D028CA32F9E}">
      <dgm:prSet/>
      <dgm:spPr/>
      <dgm:t>
        <a:bodyPr/>
        <a:lstStyle/>
        <a:p>
          <a:endParaRPr lang="en-GB"/>
        </a:p>
      </dgm:t>
    </dgm:pt>
    <dgm:pt modelId="{BB9E029F-BC03-41F3-99A4-1010127A1FA4}">
      <dgm:prSet custT="1"/>
      <dgm:spPr/>
      <dgm:t>
        <a:bodyPr/>
        <a:lstStyle/>
        <a:p>
          <a:pPr>
            <a:lnSpc>
              <a:spcPct val="150000"/>
            </a:lnSpc>
            <a:buFont typeface="Wingdings" panose="05000000000000000000" pitchFamily="2" charset="2"/>
            <a:buChar char="ü"/>
          </a:pPr>
          <a:r>
            <a:rPr lang="en-GB" sz="1100" dirty="0"/>
            <a:t>Common Data Service</a:t>
          </a:r>
        </a:p>
      </dgm:t>
    </dgm:pt>
    <dgm:pt modelId="{673AB748-0B87-4A0A-AA7D-BF084533F1C0}" type="parTrans" cxnId="{4EE83301-68AF-42C4-B786-B69959440CF5}">
      <dgm:prSet/>
      <dgm:spPr/>
      <dgm:t>
        <a:bodyPr/>
        <a:lstStyle/>
        <a:p>
          <a:endParaRPr lang="en-GB"/>
        </a:p>
      </dgm:t>
    </dgm:pt>
    <dgm:pt modelId="{3C41A3AB-EC97-4EB0-A636-8CE330B63CCF}" type="sibTrans" cxnId="{4EE83301-68AF-42C4-B786-B69959440CF5}">
      <dgm:prSet/>
      <dgm:spPr/>
      <dgm:t>
        <a:bodyPr/>
        <a:lstStyle/>
        <a:p>
          <a:endParaRPr lang="en-GB"/>
        </a:p>
      </dgm:t>
    </dgm:pt>
    <dgm:pt modelId="{1BFD86C8-311E-47F9-A369-5AD90B1E5A4F}">
      <dgm:prSet custT="1"/>
      <dgm:spPr/>
      <dgm:t>
        <a:bodyPr/>
        <a:lstStyle/>
        <a:p>
          <a:pPr>
            <a:lnSpc>
              <a:spcPct val="150000"/>
            </a:lnSpc>
            <a:buFont typeface="Wingdings" panose="05000000000000000000" pitchFamily="2" charset="2"/>
            <a:buChar char="ü"/>
          </a:pPr>
          <a:r>
            <a:rPr lang="en-GB" sz="1100" dirty="0"/>
            <a:t>Model-driven Apps</a:t>
          </a:r>
        </a:p>
      </dgm:t>
    </dgm:pt>
    <dgm:pt modelId="{A752B470-C95F-40D4-AF9B-32A27132D846}" type="parTrans" cxnId="{68D88A95-2980-4D13-A45A-138D1BF6FAD2}">
      <dgm:prSet/>
      <dgm:spPr/>
      <dgm:t>
        <a:bodyPr/>
        <a:lstStyle/>
        <a:p>
          <a:endParaRPr lang="en-GB"/>
        </a:p>
      </dgm:t>
    </dgm:pt>
    <dgm:pt modelId="{E13C399D-D444-4502-AF7B-7502CE0ED96D}" type="sibTrans" cxnId="{68D88A95-2980-4D13-A45A-138D1BF6FAD2}">
      <dgm:prSet/>
      <dgm:spPr/>
      <dgm:t>
        <a:bodyPr/>
        <a:lstStyle/>
        <a:p>
          <a:endParaRPr lang="en-GB"/>
        </a:p>
      </dgm:t>
    </dgm:pt>
    <dgm:pt modelId="{7726AA4A-EF59-43F8-8F82-A92F5D13E503}">
      <dgm:prSet custT="1"/>
      <dgm:spPr/>
      <dgm:t>
        <a:bodyPr/>
        <a:lstStyle/>
        <a:p>
          <a:pPr>
            <a:lnSpc>
              <a:spcPct val="150000"/>
            </a:lnSpc>
            <a:buFont typeface="Wingdings" panose="05000000000000000000" pitchFamily="2" charset="2"/>
            <a:buChar char="ü"/>
          </a:pPr>
          <a:r>
            <a:rPr lang="en-US" sz="1100" dirty="0"/>
            <a:t>What type of components can I add?</a:t>
          </a:r>
          <a:endParaRPr lang="en-GB" sz="1100" dirty="0"/>
        </a:p>
      </dgm:t>
    </dgm:pt>
    <dgm:pt modelId="{88AC56D8-346E-4C0F-B6FF-76456DB3A7EB}" type="parTrans" cxnId="{C77EFCE7-C240-43E0-B5A1-819C043F5B95}">
      <dgm:prSet/>
      <dgm:spPr/>
      <dgm:t>
        <a:bodyPr/>
        <a:lstStyle/>
        <a:p>
          <a:endParaRPr lang="en-GB"/>
        </a:p>
      </dgm:t>
    </dgm:pt>
    <dgm:pt modelId="{2A3AC792-C59F-42D9-ACD2-99E09677908F}" type="sibTrans" cxnId="{C77EFCE7-C240-43E0-B5A1-819C043F5B95}">
      <dgm:prSet/>
      <dgm:spPr/>
      <dgm:t>
        <a:bodyPr/>
        <a:lstStyle/>
        <a:p>
          <a:endParaRPr lang="en-GB"/>
        </a:p>
      </dgm:t>
    </dgm:pt>
    <dgm:pt modelId="{C56FB296-3E87-48B9-BA33-196B755F3AAC}">
      <dgm:prSet custT="1"/>
      <dgm:spPr/>
      <dgm:t>
        <a:bodyPr/>
        <a:lstStyle/>
        <a:p>
          <a:pPr>
            <a:lnSpc>
              <a:spcPct val="150000"/>
            </a:lnSpc>
            <a:buFont typeface="Wingdings" panose="05000000000000000000" pitchFamily="2" charset="2"/>
            <a:buChar char="ü"/>
          </a:pPr>
          <a:r>
            <a:rPr lang="en-GB" sz="1100" dirty="0"/>
            <a:t>Data model design</a:t>
          </a:r>
        </a:p>
      </dgm:t>
    </dgm:pt>
    <dgm:pt modelId="{F29B65B2-93D6-4CFE-82AF-0F5F634260B4}" type="parTrans" cxnId="{64437513-7C7D-4D1E-B058-33ED3E1C634B}">
      <dgm:prSet/>
      <dgm:spPr/>
      <dgm:t>
        <a:bodyPr/>
        <a:lstStyle/>
        <a:p>
          <a:endParaRPr lang="en-GB"/>
        </a:p>
      </dgm:t>
    </dgm:pt>
    <dgm:pt modelId="{665ECCCC-F965-4A26-975A-7D89C99326DC}" type="sibTrans" cxnId="{64437513-7C7D-4D1E-B058-33ED3E1C634B}">
      <dgm:prSet/>
      <dgm:spPr/>
      <dgm:t>
        <a:bodyPr/>
        <a:lstStyle/>
        <a:p>
          <a:endParaRPr lang="en-GB"/>
        </a:p>
      </dgm:t>
    </dgm:pt>
    <dgm:pt modelId="{784B2EC8-ADA7-4216-8706-0875058C4E71}">
      <dgm:prSet custT="1"/>
      <dgm:spPr/>
      <dgm:t>
        <a:bodyPr/>
        <a:lstStyle/>
        <a:p>
          <a:pPr>
            <a:lnSpc>
              <a:spcPct val="150000"/>
            </a:lnSpc>
            <a:buFont typeface="Wingdings" panose="05000000000000000000" pitchFamily="2" charset="2"/>
            <a:buChar char="ü"/>
          </a:pPr>
          <a:r>
            <a:rPr lang="en-GB" sz="1100" dirty="0"/>
            <a:t>Demo</a:t>
          </a:r>
        </a:p>
      </dgm:t>
    </dgm:pt>
    <dgm:pt modelId="{4933F1B0-BEAC-484C-B74B-0378951FCEB6}" type="parTrans" cxnId="{805DDFC1-213B-49B3-824B-6599554D8014}">
      <dgm:prSet/>
      <dgm:spPr/>
      <dgm:t>
        <a:bodyPr/>
        <a:lstStyle/>
        <a:p>
          <a:endParaRPr lang="en-GB"/>
        </a:p>
      </dgm:t>
    </dgm:pt>
    <dgm:pt modelId="{A4AD7342-AC37-4E42-B4E3-679F9CF509F9}" type="sibTrans" cxnId="{805DDFC1-213B-49B3-824B-6599554D8014}">
      <dgm:prSet/>
      <dgm:spPr/>
      <dgm:t>
        <a:bodyPr/>
        <a:lstStyle/>
        <a:p>
          <a:endParaRPr lang="en-GB"/>
        </a:p>
      </dgm:t>
    </dgm:pt>
    <dgm:pt modelId="{B1EE7CCA-81D5-4044-A656-499F6A998691}">
      <dgm:prSet custT="1"/>
      <dgm:spPr/>
      <dgm:t>
        <a:bodyPr/>
        <a:lstStyle/>
        <a:p>
          <a:pPr>
            <a:lnSpc>
              <a:spcPct val="150000"/>
            </a:lnSpc>
            <a:buFont typeface="Wingdings" panose="05000000000000000000" pitchFamily="2" charset="2"/>
            <a:buChar char="ü"/>
          </a:pPr>
          <a:r>
            <a:rPr lang="en-US" sz="1100" dirty="0"/>
            <a:t>A Robust Virtual Agent Platform</a:t>
          </a:r>
          <a:endParaRPr lang="en-GB" sz="1100" dirty="0"/>
        </a:p>
      </dgm:t>
    </dgm:pt>
    <dgm:pt modelId="{69FC94D0-D952-4EE5-8430-374BAF116559}" type="parTrans" cxnId="{F58C8C59-7655-4825-ABCD-AD00FDEFF135}">
      <dgm:prSet/>
      <dgm:spPr/>
      <dgm:t>
        <a:bodyPr/>
        <a:lstStyle/>
        <a:p>
          <a:endParaRPr lang="en-GB"/>
        </a:p>
      </dgm:t>
    </dgm:pt>
    <dgm:pt modelId="{AA5ABCCE-1387-4141-96B6-AADE275138A9}" type="sibTrans" cxnId="{F58C8C59-7655-4825-ABCD-AD00FDEFF135}">
      <dgm:prSet/>
      <dgm:spPr/>
      <dgm:t>
        <a:bodyPr/>
        <a:lstStyle/>
        <a:p>
          <a:endParaRPr lang="en-GB"/>
        </a:p>
      </dgm:t>
    </dgm:pt>
    <dgm:pt modelId="{C87B5698-5F55-4E39-B616-5CAD59423671}">
      <dgm:prSet custT="1"/>
      <dgm:spPr/>
      <dgm:t>
        <a:bodyPr/>
        <a:lstStyle/>
        <a:p>
          <a:pPr>
            <a:lnSpc>
              <a:spcPct val="150000"/>
            </a:lnSpc>
            <a:buFont typeface="Wingdings" panose="05000000000000000000" pitchFamily="2" charset="2"/>
            <a:buChar char="ü"/>
          </a:pPr>
          <a:r>
            <a:rPr lang="en-GB" sz="1100" dirty="0"/>
            <a:t>Converse everywhere</a:t>
          </a:r>
        </a:p>
      </dgm:t>
    </dgm:pt>
    <dgm:pt modelId="{D5BD3D9C-FC68-46CB-A9F1-19B2454B5FF2}" type="parTrans" cxnId="{56A23E84-23AD-4D9E-97B2-21C18BBF8A60}">
      <dgm:prSet/>
      <dgm:spPr/>
      <dgm:t>
        <a:bodyPr/>
        <a:lstStyle/>
        <a:p>
          <a:endParaRPr lang="en-GB"/>
        </a:p>
      </dgm:t>
    </dgm:pt>
    <dgm:pt modelId="{24F420AE-6E06-4C26-B594-B1DFCCA68900}" type="sibTrans" cxnId="{56A23E84-23AD-4D9E-97B2-21C18BBF8A60}">
      <dgm:prSet/>
      <dgm:spPr/>
      <dgm:t>
        <a:bodyPr/>
        <a:lstStyle/>
        <a:p>
          <a:endParaRPr lang="en-GB"/>
        </a:p>
      </dgm:t>
    </dgm:pt>
    <dgm:pt modelId="{7F0AB14A-A998-47E8-B687-14DFCC20CF49}">
      <dgm:prSet custT="1"/>
      <dgm:spPr/>
      <dgm:t>
        <a:bodyPr/>
        <a:lstStyle/>
        <a:p>
          <a:pPr>
            <a:lnSpc>
              <a:spcPct val="150000"/>
            </a:lnSpc>
            <a:buFont typeface="Wingdings" panose="05000000000000000000" pitchFamily="2" charset="2"/>
            <a:buChar char="ü"/>
          </a:pPr>
          <a:r>
            <a:rPr lang="en-US" sz="1100" dirty="0"/>
            <a:t>Easily make your bots better</a:t>
          </a:r>
          <a:endParaRPr lang="en-GB" sz="1100" dirty="0"/>
        </a:p>
      </dgm:t>
    </dgm:pt>
    <dgm:pt modelId="{4241A582-BD5C-4655-9915-8C15EA1DC5AE}" type="parTrans" cxnId="{CCDDC6B0-10F7-451D-9339-F1AB282B6BBF}">
      <dgm:prSet/>
      <dgm:spPr/>
      <dgm:t>
        <a:bodyPr/>
        <a:lstStyle/>
        <a:p>
          <a:endParaRPr lang="en-GB"/>
        </a:p>
      </dgm:t>
    </dgm:pt>
    <dgm:pt modelId="{DBB78576-2BE1-4202-8817-9E6968505C16}" type="sibTrans" cxnId="{CCDDC6B0-10F7-451D-9339-F1AB282B6BBF}">
      <dgm:prSet/>
      <dgm:spPr/>
      <dgm:t>
        <a:bodyPr/>
        <a:lstStyle/>
        <a:p>
          <a:endParaRPr lang="en-GB"/>
        </a:p>
      </dgm:t>
    </dgm:pt>
    <dgm:pt modelId="{6F9DC3B1-4CA3-4986-8B20-17C104AE741F}">
      <dgm:prSet custT="1"/>
      <dgm:spPr/>
      <dgm:t>
        <a:bodyPr/>
        <a:lstStyle/>
        <a:p>
          <a:pPr>
            <a:lnSpc>
              <a:spcPct val="150000"/>
            </a:lnSpc>
            <a:buFont typeface="Wingdings" panose="05000000000000000000" pitchFamily="2" charset="2"/>
            <a:buChar char="ü"/>
          </a:pPr>
          <a:r>
            <a:rPr lang="en-GB" sz="1100" dirty="0"/>
            <a:t>Create personalized customer experiences</a:t>
          </a:r>
        </a:p>
      </dgm:t>
    </dgm:pt>
    <dgm:pt modelId="{8722F4E5-5B95-471F-B5D4-072896967AB4}" type="parTrans" cxnId="{735764F0-009D-4089-B293-73C900AAAD46}">
      <dgm:prSet/>
      <dgm:spPr/>
      <dgm:t>
        <a:bodyPr/>
        <a:lstStyle/>
        <a:p>
          <a:endParaRPr lang="en-GB"/>
        </a:p>
      </dgm:t>
    </dgm:pt>
    <dgm:pt modelId="{62D8D76D-E62B-4A49-B98C-EDDC0B5A6051}" type="sibTrans" cxnId="{735764F0-009D-4089-B293-73C900AAAD46}">
      <dgm:prSet/>
      <dgm:spPr/>
      <dgm:t>
        <a:bodyPr/>
        <a:lstStyle/>
        <a:p>
          <a:endParaRPr lang="en-GB"/>
        </a:p>
      </dgm:t>
    </dgm:pt>
    <dgm:pt modelId="{06544C11-F1D0-42A8-BF78-1944A50AA25A}">
      <dgm:prSet custT="1"/>
      <dgm:spPr/>
      <dgm:t>
        <a:bodyPr/>
        <a:lstStyle/>
        <a:p>
          <a:pPr>
            <a:lnSpc>
              <a:spcPct val="150000"/>
            </a:lnSpc>
            <a:buFont typeface="Wingdings" panose="05000000000000000000" pitchFamily="2" charset="2"/>
            <a:buChar char="ü"/>
          </a:pPr>
          <a:r>
            <a:rPr lang="en-US" sz="1100" dirty="0"/>
            <a:t>Transfer to a human agent</a:t>
          </a:r>
          <a:endParaRPr lang="en-GB" sz="1100" dirty="0"/>
        </a:p>
      </dgm:t>
    </dgm:pt>
    <dgm:pt modelId="{A64594EE-FB8C-49A0-9634-F2FCF59312B7}" type="parTrans" cxnId="{A90B3D3F-FE6E-4AD2-8455-D0E52E7F2E7D}">
      <dgm:prSet/>
      <dgm:spPr/>
      <dgm:t>
        <a:bodyPr/>
        <a:lstStyle/>
        <a:p>
          <a:endParaRPr lang="en-GB"/>
        </a:p>
      </dgm:t>
    </dgm:pt>
    <dgm:pt modelId="{2CA1B780-69E6-4569-8C1F-13B7E18E6C90}" type="sibTrans" cxnId="{A90B3D3F-FE6E-4AD2-8455-D0E52E7F2E7D}">
      <dgm:prSet/>
      <dgm:spPr/>
      <dgm:t>
        <a:bodyPr/>
        <a:lstStyle/>
        <a:p>
          <a:endParaRPr lang="en-GB"/>
        </a:p>
      </dgm:t>
    </dgm:pt>
    <dgm:pt modelId="{E52B500A-AE05-4D34-ABB0-CAFFAF0794D8}">
      <dgm:prSet custT="1"/>
      <dgm:spPr/>
      <dgm:t>
        <a:bodyPr/>
        <a:lstStyle/>
        <a:p>
          <a:pPr>
            <a:lnSpc>
              <a:spcPct val="150000"/>
            </a:lnSpc>
            <a:buFont typeface="Wingdings" panose="05000000000000000000" pitchFamily="2" charset="2"/>
            <a:buChar char="ü"/>
          </a:pPr>
          <a:r>
            <a:rPr lang="en-US" sz="1100" dirty="0"/>
            <a:t>Built on Power Platform &amp; Azure Bot Service</a:t>
          </a:r>
          <a:endParaRPr lang="en-GB" sz="1100" dirty="0"/>
        </a:p>
      </dgm:t>
    </dgm:pt>
    <dgm:pt modelId="{39E43C91-60AE-4E8A-9348-4CF35F52F750}" type="parTrans" cxnId="{80745A39-01BD-423A-B1C6-86CAF940CDCA}">
      <dgm:prSet/>
      <dgm:spPr/>
      <dgm:t>
        <a:bodyPr/>
        <a:lstStyle/>
        <a:p>
          <a:endParaRPr lang="en-GB"/>
        </a:p>
      </dgm:t>
    </dgm:pt>
    <dgm:pt modelId="{B1453620-C475-443A-A651-667E9FFB5118}" type="sibTrans" cxnId="{80745A39-01BD-423A-B1C6-86CAF940CDCA}">
      <dgm:prSet/>
      <dgm:spPr/>
      <dgm:t>
        <a:bodyPr/>
        <a:lstStyle/>
        <a:p>
          <a:endParaRPr lang="en-GB"/>
        </a:p>
      </dgm:t>
    </dgm:pt>
    <dgm:pt modelId="{3EADD87C-5E10-426A-AF75-15305E4F509B}">
      <dgm:prSet custT="1"/>
      <dgm:spPr/>
      <dgm:t>
        <a:bodyPr/>
        <a:lstStyle/>
        <a:p>
          <a:pPr>
            <a:lnSpc>
              <a:spcPct val="150000"/>
            </a:lnSpc>
            <a:buFont typeface="Wingdings" panose="05000000000000000000" pitchFamily="2" charset="2"/>
            <a:buChar char="ü"/>
          </a:pPr>
          <a:r>
            <a:rPr lang="en-US" sz="1100" dirty="0"/>
            <a:t>Extend your bot capabilities with Azure Bot Service</a:t>
          </a:r>
          <a:endParaRPr lang="en-GB" sz="1100" dirty="0"/>
        </a:p>
      </dgm:t>
    </dgm:pt>
    <dgm:pt modelId="{12DA2CF6-8E16-4F12-B143-F177E86D674B}" type="parTrans" cxnId="{52328EE6-E3BD-4DC8-95B0-224386949006}">
      <dgm:prSet/>
      <dgm:spPr/>
      <dgm:t>
        <a:bodyPr/>
        <a:lstStyle/>
        <a:p>
          <a:endParaRPr lang="en-GB"/>
        </a:p>
      </dgm:t>
    </dgm:pt>
    <dgm:pt modelId="{E50154B6-1E97-4974-9E4D-B494A42F6E98}" type="sibTrans" cxnId="{52328EE6-E3BD-4DC8-95B0-224386949006}">
      <dgm:prSet/>
      <dgm:spPr/>
      <dgm:t>
        <a:bodyPr/>
        <a:lstStyle/>
        <a:p>
          <a:endParaRPr lang="en-GB"/>
        </a:p>
      </dgm:t>
    </dgm:pt>
    <dgm:pt modelId="{BFFC1D80-F96D-40C7-89F5-5D8EAE562A51}">
      <dgm:prSet custT="1"/>
      <dgm:spPr/>
      <dgm:t>
        <a:bodyPr/>
        <a:lstStyle/>
        <a:p>
          <a:pPr>
            <a:lnSpc>
              <a:spcPct val="150000"/>
            </a:lnSpc>
            <a:buFont typeface="Wingdings" panose="05000000000000000000" pitchFamily="2" charset="2"/>
            <a:buChar char="ü"/>
          </a:pPr>
          <a:r>
            <a:rPr lang="en-GB" sz="1100" dirty="0"/>
            <a:t>Demo</a:t>
          </a:r>
        </a:p>
      </dgm:t>
    </dgm:pt>
    <dgm:pt modelId="{0977084A-83CB-428D-AF87-BE53212C2E00}" type="parTrans" cxnId="{AF95AE75-0596-485C-9CEA-EE8FA92E4227}">
      <dgm:prSet/>
      <dgm:spPr/>
      <dgm:t>
        <a:bodyPr/>
        <a:lstStyle/>
        <a:p>
          <a:endParaRPr lang="en-GB"/>
        </a:p>
      </dgm:t>
    </dgm:pt>
    <dgm:pt modelId="{0583BD30-1BFF-443E-8A98-71B1A8FBE81D}" type="sibTrans" cxnId="{AF95AE75-0596-485C-9CEA-EE8FA92E4227}">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5">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5">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5">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5">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5">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5">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5">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5">
        <dgm:presLayoutVars>
          <dgm:bulletEnabled val="1"/>
        </dgm:presLayoutVars>
      </dgm:prSet>
      <dgm:spPr/>
    </dgm:pt>
    <dgm:pt modelId="{69C599F4-9B2F-43FB-B2EB-916089C95F3A}" type="pres">
      <dgm:prSet presAssocID="{02641D1F-193F-4370-8212-3D28CA0839D7}" presName="space" presStyleCnt="0"/>
      <dgm:spPr/>
    </dgm:pt>
    <dgm:pt modelId="{A6FA747B-F96D-4BB7-9CAA-697BD5717906}" type="pres">
      <dgm:prSet presAssocID="{DF86A6E5-580E-4F2A-B223-B458E5A97CE4}" presName="composite" presStyleCnt="0"/>
      <dgm:spPr/>
    </dgm:pt>
    <dgm:pt modelId="{19CDF2AB-3B0B-41CB-AD00-E99839314F1A}" type="pres">
      <dgm:prSet presAssocID="{DF86A6E5-580E-4F2A-B223-B458E5A97CE4}" presName="parTx" presStyleLbl="alignNode1" presStyleIdx="4" presStyleCnt="5">
        <dgm:presLayoutVars>
          <dgm:chMax val="0"/>
          <dgm:chPref val="0"/>
          <dgm:bulletEnabled val="1"/>
        </dgm:presLayoutVars>
      </dgm:prSet>
      <dgm:spPr/>
    </dgm:pt>
    <dgm:pt modelId="{6BCC47BA-0C21-4EC9-8F7B-D9BCA5C8EC21}" type="pres">
      <dgm:prSet presAssocID="{DF86A6E5-580E-4F2A-B223-B458E5A97CE4}" presName="desTx" presStyleLbl="alignAccFollowNode1" presStyleIdx="4" presStyleCnt="5">
        <dgm:presLayoutVars>
          <dgm:bulletEnabled val="1"/>
        </dgm:presLayoutVars>
      </dgm:prSet>
      <dgm:spPr/>
    </dgm:pt>
  </dgm:ptLst>
  <dgm:cxnLst>
    <dgm:cxn modelId="{3459F400-E911-4E56-87EA-C34109785BDB}" type="presOf" srcId="{3EADD87C-5E10-426A-AF75-15305E4F509B}" destId="{6BCC47BA-0C21-4EC9-8F7B-D9BCA5C8EC21}" srcOrd="0" destOrd="7" presId="urn:microsoft.com/office/officeart/2005/8/layout/hList1"/>
    <dgm:cxn modelId="{4EE83301-68AF-42C4-B786-B69959440CF5}" srcId="{AA0CC1A4-89B3-4AA2-AE39-4C1399639CA2}" destId="{BB9E029F-BC03-41F3-99A4-1010127A1FA4}" srcOrd="2" destOrd="0" parTransId="{673AB748-0B87-4A0A-AA7D-BF084533F1C0}" sibTransId="{3C41A3AB-EC97-4EB0-A636-8CE330B63CCF}"/>
    <dgm:cxn modelId="{B0DD8001-EBBB-4FDF-A80C-D8CABFEB59D5}" type="presOf" srcId="{784B2EC8-ADA7-4216-8706-0875058C4E71}" destId="{FE6D297C-C9E0-4A7D-A12A-BA53DEE78AEC}" srcOrd="0" destOrd="6" presId="urn:microsoft.com/office/officeart/2005/8/layout/hList1"/>
    <dgm:cxn modelId="{57A35704-803B-44CB-8DB3-6BE8810B7142}" srcId="{5D730ECF-5E56-4BCC-9295-01AA7310EDA9}" destId="{C47DCC52-C300-40AF-9DEB-E62FF0771B08}" srcOrd="1" destOrd="0" parTransId="{F8558529-070B-4267-B943-079A186B4CF8}" sibTransId="{BD1C22E4-D9B9-452F-A531-58C102125BBE}"/>
    <dgm:cxn modelId="{6927EB04-047A-4B60-B383-2EA3685506A3}" type="presOf" srcId="{98420ADA-3284-4782-9084-DBF7EC77014B}" destId="{F9540AD5-4F34-4720-A853-23023519F2F5}" srcOrd="0" destOrd="2" presId="urn:microsoft.com/office/officeart/2005/8/layout/hList1"/>
    <dgm:cxn modelId="{AC32DA07-188E-46CF-B9B2-312CAF1701EA}" srcId="{3F8F7C63-6D9D-4496-99F3-13DF66B8EAD6}" destId="{9910124C-CD53-4A9F-B500-6A452AAC9432}" srcOrd="3" destOrd="0" parTransId="{ECDD36CF-1B96-4E0B-9554-F2878A2DC6F7}" sibTransId="{08D79C43-12CD-4B87-A9B1-16CF29738924}"/>
    <dgm:cxn modelId="{33F1A608-4DA9-4826-AF52-36D4C55E4E04}" srcId="{AA0CC1A4-89B3-4AA2-AE39-4C1399639CA2}" destId="{C6F6A35E-EF9D-42DB-9F6B-51AFF90BC98C}" srcOrd="0" destOrd="0" parTransId="{4BE4706B-ADBA-4294-8DC4-FD7F07C201E2}" sibTransId="{5C687E63-B55E-4016-81AC-60C7B4AB88A6}"/>
    <dgm:cxn modelId="{59FAA80C-38CB-47B8-8606-FFEC87DA1A5C}" srcId="{5D730ECF-5E56-4BCC-9295-01AA7310EDA9}" destId="{B095C2AB-B38D-474E-9B4A-DBA592B2D5CE}" srcOrd="6" destOrd="0" parTransId="{8FFD49F7-F860-47E9-991F-9FC26EA097A1}" sibTransId="{150E0E8B-C543-4D34-A501-DA18F3F1018B}"/>
    <dgm:cxn modelId="{E3ED610E-D840-4A47-82CA-1963CEA02A3D}" srcId="{AC11CA59-F486-473C-AE1A-BD3E159BD48A}" destId="{DF86A6E5-580E-4F2A-B223-B458E5A97CE4}" srcOrd="4" destOrd="0" parTransId="{A3F965A0-4DFA-4DB1-BF22-9BD549EB3157}" sibTransId="{A2239809-CB4C-48EC-8779-BE5C55EB41C1}"/>
    <dgm:cxn modelId="{D427FE10-C284-4F0F-A62A-E67411A8B923}" type="presOf" srcId="{C47DCC52-C300-40AF-9DEB-E62FF0771B08}" destId="{CD66AAD5-A74B-4989-8AD5-348B79FA87C7}" srcOrd="0" destOrd="1" presId="urn:microsoft.com/office/officeart/2005/8/layout/hList1"/>
    <dgm:cxn modelId="{F2663812-099A-4574-A1D1-AC338D5CB85C}" type="presOf" srcId="{B5ECB557-EBA8-4CD5-BFAB-B79526187E0A}" destId="{569DA3D3-C2E5-4089-A6F0-CF7A0DE5293E}" srcOrd="0" destOrd="1" presId="urn:microsoft.com/office/officeart/2005/8/layout/hList1"/>
    <dgm:cxn modelId="{64437513-7C7D-4D1E-B058-33ED3E1C634B}" srcId="{AA0CC1A4-89B3-4AA2-AE39-4C1399639CA2}" destId="{C56FB296-3E87-48B9-BA33-196B755F3AAC}" srcOrd="5" destOrd="0" parTransId="{F29B65B2-93D6-4CFE-82AF-0F5F634260B4}" sibTransId="{665ECCCC-F965-4A26-975A-7D89C99326DC}"/>
    <dgm:cxn modelId="{E455D314-3C2C-445D-8605-B78D41BFD70B}" type="presOf" srcId="{FC2E9FD0-AD1A-4E81-8CE8-F5387731ACC5}" destId="{6BCC47BA-0C21-4EC9-8F7B-D9BCA5C8EC21}" srcOrd="0" destOrd="0" presId="urn:microsoft.com/office/officeart/2005/8/layout/hList1"/>
    <dgm:cxn modelId="{BC371117-F0C1-4931-BE30-28B18AB36738}" srcId="{639BF8EA-4D33-4B30-911B-6776BADCAC46}" destId="{7DD21E05-B72D-4A5A-8096-94CED97513BB}" srcOrd="5" destOrd="0" parTransId="{9538A91D-80AD-459D-AA11-665791BDC56B}" sibTransId="{BB7841B4-CE82-43B5-9F90-C64E1D335191}"/>
    <dgm:cxn modelId="{8C644B19-EB5F-410B-8CD3-A6506CC6B621}" srcId="{639BF8EA-4D33-4B30-911B-6776BADCAC46}" destId="{4DAA1CD6-3435-471D-B1B2-F93B786B6B8D}" srcOrd="2" destOrd="0" parTransId="{50DECD36-8AD1-4FF4-99DD-7A6577856D51}" sibTransId="{F35C555C-CF0B-4A99-B9C2-9DA3C4DBE8B9}"/>
    <dgm:cxn modelId="{37581F1C-5334-445E-829C-72AF65A4BDB2}" type="presOf" srcId="{AA0CC1A4-89B3-4AA2-AE39-4C1399639CA2}" destId="{6D51457A-C3C5-41AF-B616-CDB4705EBFBD}" srcOrd="0" destOrd="0" presId="urn:microsoft.com/office/officeart/2005/8/layout/hList1"/>
    <dgm:cxn modelId="{803A602C-5B01-40EC-BFAD-279105D23941}" type="presOf" srcId="{0CF6FF1F-C08F-4FC3-A083-8DE69E9808EC}" destId="{F9540AD5-4F34-4720-A853-23023519F2F5}" srcOrd="0" destOrd="4" presId="urn:microsoft.com/office/officeart/2005/8/layout/hList1"/>
    <dgm:cxn modelId="{D8894437-F798-436D-9FEA-88B1D37B30CF}" type="presOf" srcId="{B095C2AB-B38D-474E-9B4A-DBA592B2D5CE}" destId="{CD66AAD5-A74B-4989-8AD5-348B79FA87C7}" srcOrd="0" destOrd="6" presId="urn:microsoft.com/office/officeart/2005/8/layout/hList1"/>
    <dgm:cxn modelId="{80745A39-01BD-423A-B1C6-86CAF940CDCA}" srcId="{DF86A6E5-580E-4F2A-B223-B458E5A97CE4}" destId="{E52B500A-AE05-4D34-ABB0-CAFFAF0794D8}" srcOrd="6" destOrd="0" parTransId="{39E43C91-60AE-4E8A-9348-4CF35F52F750}" sibTransId="{B1453620-C475-443A-A651-667E9FFB5118}"/>
    <dgm:cxn modelId="{89620D3A-C64F-4A2E-8D09-95762CA625FC}" type="presOf" srcId="{7726AA4A-EF59-43F8-8F82-A92F5D13E503}" destId="{FE6D297C-C9E0-4A7D-A12A-BA53DEE78AEC}" srcOrd="0" destOrd="4" presId="urn:microsoft.com/office/officeart/2005/8/layout/hList1"/>
    <dgm:cxn modelId="{A90B3D3F-FE6E-4AD2-8455-D0E52E7F2E7D}" srcId="{DF86A6E5-580E-4F2A-B223-B458E5A97CE4}" destId="{06544C11-F1D0-42A8-BF78-1944A50AA25A}" srcOrd="5" destOrd="0" parTransId="{A64594EE-FB8C-49A0-9634-F2FCF59312B7}" sibTransId="{2CA1B780-69E6-4569-8C1F-13B7E18E6C90}"/>
    <dgm:cxn modelId="{523F4160-2FDF-4D22-994A-1EE5F4668D08}" type="presOf" srcId="{C56FB296-3E87-48B9-BA33-196B755F3AAC}" destId="{FE6D297C-C9E0-4A7D-A12A-BA53DEE78AEC}" srcOrd="0" destOrd="5" presId="urn:microsoft.com/office/officeart/2005/8/layout/hList1"/>
    <dgm:cxn modelId="{345FC943-EFB4-43F9-B335-0D028CA32F9E}" srcId="{AA0CC1A4-89B3-4AA2-AE39-4C1399639CA2}" destId="{8A815043-9A70-4D4B-93A9-8E2229848664}" srcOrd="1" destOrd="0" parTransId="{07737267-99BE-4006-8E00-BFFD844FCE15}" sibTransId="{14FC3DDA-ADC1-4856-84FB-05DB47A9F2C0}"/>
    <dgm:cxn modelId="{74383644-AD5B-455A-B07E-C04879A93A5A}" type="presOf" srcId="{BD5E13D4-D7E6-4860-8AE3-1A6DF902884E}" destId="{569DA3D3-C2E5-4089-A6F0-CF7A0DE5293E}" srcOrd="0" destOrd="4" presId="urn:microsoft.com/office/officeart/2005/8/layout/hList1"/>
    <dgm:cxn modelId="{1BD5B564-471C-4773-BE01-87446530E776}" srcId="{5D730ECF-5E56-4BCC-9295-01AA7310EDA9}" destId="{FE1D1D47-559F-4186-9501-2931C1DEA180}" srcOrd="3" destOrd="0" parTransId="{52A3A822-FAEE-4769-8277-A88CF9EBA81B}" sibTransId="{C4CD89C3-C9D5-403C-8DF5-7DFE5C517366}"/>
    <dgm:cxn modelId="{CB060F66-A3B2-4F8D-B746-00699708F4B7}" type="presOf" srcId="{B1EE7CCA-81D5-4044-A656-499F6A998691}" destId="{6BCC47BA-0C21-4EC9-8F7B-D9BCA5C8EC21}" srcOrd="0" destOrd="1" presId="urn:microsoft.com/office/officeart/2005/8/layout/hList1"/>
    <dgm:cxn modelId="{EC1D5746-9C33-40B3-A1BD-B77E1B3FC38A}" srcId="{639BF8EA-4D33-4B30-911B-6776BADCAC46}" destId="{B5ECB557-EBA8-4CD5-BFAB-B79526187E0A}" srcOrd="1" destOrd="0" parTransId="{6A33938F-5ECE-4135-8230-135DB9E8C2C7}" sibTransId="{CC2B4D62-C2B0-47C7-8BCF-DA8090E460C4}"/>
    <dgm:cxn modelId="{131D1047-8996-4D83-8F03-BAEAF1A9723C}" type="presOf" srcId="{4DAA1CD6-3435-471D-B1B2-F93B786B6B8D}" destId="{569DA3D3-C2E5-4089-A6F0-CF7A0DE5293E}" srcOrd="0" destOrd="2" presId="urn:microsoft.com/office/officeart/2005/8/layout/hList1"/>
    <dgm:cxn modelId="{F37D8A48-094D-4291-8663-3219EE933036}" type="presOf" srcId="{630C8C32-A979-40C7-BDD7-71A76577670D}" destId="{F9540AD5-4F34-4720-A853-23023519F2F5}" srcOrd="0" destOrd="0" presId="urn:microsoft.com/office/officeart/2005/8/layout/hList1"/>
    <dgm:cxn modelId="{F834054A-AB85-4904-BBFF-1BDBA8A7BA92}" type="presOf" srcId="{7DD21E05-B72D-4A5A-8096-94CED97513BB}" destId="{569DA3D3-C2E5-4089-A6F0-CF7A0DE5293E}" srcOrd="0" destOrd="5" presId="urn:microsoft.com/office/officeart/2005/8/layout/hList1"/>
    <dgm:cxn modelId="{71225A4B-2384-4F55-B2AD-E114BD213F07}" type="presOf" srcId="{C87B5698-5F55-4E39-B616-5CAD59423671}" destId="{6BCC47BA-0C21-4EC9-8F7B-D9BCA5C8EC21}" srcOrd="0" destOrd="2" presId="urn:microsoft.com/office/officeart/2005/8/layout/hList1"/>
    <dgm:cxn modelId="{AE63756E-C35D-4442-A6EA-011C399286C8}" srcId="{3F8F7C63-6D9D-4496-99F3-13DF66B8EAD6}" destId="{98420ADA-3284-4782-9084-DBF7EC77014B}" srcOrd="2" destOrd="0" parTransId="{89B80783-5988-4921-94F1-75DDC6E54496}" sibTransId="{5786085F-3BE1-4E70-A5A6-F1EBB3D8528F}"/>
    <dgm:cxn modelId="{46F53550-0107-4711-901A-8C35D4679E93}" type="presOf" srcId="{3F8F7C63-6D9D-4496-99F3-13DF66B8EAD6}" destId="{DEBF50E0-4517-471F-B18E-2795B1F5C0A8}" srcOrd="0" destOrd="0" presId="urn:microsoft.com/office/officeart/2005/8/layout/hList1"/>
    <dgm:cxn modelId="{A08E2572-D22C-4DD7-859F-093573558A8F}" type="presOf" srcId="{9910124C-CD53-4A9F-B500-6A452AAC9432}" destId="{F9540AD5-4F34-4720-A853-23023519F2F5}" srcOrd="0" destOrd="3" presId="urn:microsoft.com/office/officeart/2005/8/layout/hList1"/>
    <dgm:cxn modelId="{1D679673-5FD6-4446-B5C4-EA13252864E0}" srcId="{AC11CA59-F486-473C-AE1A-BD3E159BD48A}" destId="{5D730ECF-5E56-4BCC-9295-01AA7310EDA9}" srcOrd="1" destOrd="0" parTransId="{B49ADB08-7DAD-4DCA-9B2B-46818BC4CFDF}" sibTransId="{9491BB27-9D09-4225-BBD1-073A5C5F0A21}"/>
    <dgm:cxn modelId="{21295074-A0F9-420B-A47C-9A3D0F9247AC}" type="presOf" srcId="{5D730ECF-5E56-4BCC-9295-01AA7310EDA9}" destId="{A15940E0-E524-4386-893B-E5C857ACD0DE}" srcOrd="0" destOrd="0" presId="urn:microsoft.com/office/officeart/2005/8/layout/hList1"/>
    <dgm:cxn modelId="{AF95AE75-0596-485C-9CEA-EE8FA92E4227}" srcId="{DF86A6E5-580E-4F2A-B223-B458E5A97CE4}" destId="{BFFC1D80-F96D-40C7-89F5-5D8EAE562A51}" srcOrd="8" destOrd="0" parTransId="{0977084A-83CB-428D-AF87-BE53212C2E00}" sibTransId="{0583BD30-1BFF-443E-8A98-71B1A8FBE81D}"/>
    <dgm:cxn modelId="{F58C8C59-7655-4825-ABCD-AD00FDEFF135}" srcId="{DF86A6E5-580E-4F2A-B223-B458E5A97CE4}" destId="{B1EE7CCA-81D5-4044-A656-499F6A998691}" srcOrd="1" destOrd="0" parTransId="{69FC94D0-D952-4EE5-8430-374BAF116559}" sibTransId="{AA5ABCCE-1387-4141-96B6-AADE275138A9}"/>
    <dgm:cxn modelId="{E113C37B-FA5B-4D3D-AE55-DEA611C63CCB}" type="presOf" srcId="{92C97957-4673-48E0-8394-A29A2C1DF434}" destId="{CD66AAD5-A74B-4989-8AD5-348B79FA87C7}" srcOrd="0" destOrd="5" presId="urn:microsoft.com/office/officeart/2005/8/layout/hList1"/>
    <dgm:cxn modelId="{F856FA7B-3279-4151-88C6-FC89EF00CA04}" srcId="{AC11CA59-F486-473C-AE1A-BD3E159BD48A}" destId="{AA0CC1A4-89B3-4AA2-AE39-4C1399639CA2}" srcOrd="2" destOrd="0" parTransId="{C0AF6D3B-B26B-43D4-8370-C068EA004DB7}" sibTransId="{6CDD5F2F-DC14-46D9-87E7-871C2297CCE1}"/>
    <dgm:cxn modelId="{56A23E84-23AD-4D9E-97B2-21C18BBF8A60}" srcId="{DF86A6E5-580E-4F2A-B223-B458E5A97CE4}" destId="{C87B5698-5F55-4E39-B616-5CAD59423671}" srcOrd="2" destOrd="0" parTransId="{D5BD3D9C-FC68-46CB-A9F1-19B2454B5FF2}" sibTransId="{24F420AE-6E06-4C26-B594-B1DFCCA68900}"/>
    <dgm:cxn modelId="{3790F588-BD57-4CCE-B91D-33379F88B9D6}" type="presOf" srcId="{F44527D1-3623-4718-A5C7-590A95354660}" destId="{CD66AAD5-A74B-4989-8AD5-348B79FA87C7}" srcOrd="0" destOrd="0" presId="urn:microsoft.com/office/officeart/2005/8/layout/hList1"/>
    <dgm:cxn modelId="{68D88A95-2980-4D13-A45A-138D1BF6FAD2}" srcId="{AA0CC1A4-89B3-4AA2-AE39-4C1399639CA2}" destId="{1BFD86C8-311E-47F9-A369-5AD90B1E5A4F}" srcOrd="3" destOrd="0" parTransId="{A752B470-C95F-40D4-AF9B-32A27132D846}" sibTransId="{E13C399D-D444-4502-AF7B-7502CE0ED96D}"/>
    <dgm:cxn modelId="{8C63B698-8A4E-457D-994E-67C74BAEA65D}" srcId="{3F8F7C63-6D9D-4496-99F3-13DF66B8EAD6}" destId="{630C8C32-A979-40C7-BDD7-71A76577670D}" srcOrd="0" destOrd="0" parTransId="{A072B589-234B-4E81-93D6-F23076B69245}" sibTransId="{BC580252-AC53-48E5-98C9-B7684010D558}"/>
    <dgm:cxn modelId="{D742659A-361E-413D-951D-99BFAF832A05}" type="presOf" srcId="{06544C11-F1D0-42A8-BF78-1944A50AA25A}" destId="{6BCC47BA-0C21-4EC9-8F7B-D9BCA5C8EC21}" srcOrd="0" destOrd="5" presId="urn:microsoft.com/office/officeart/2005/8/layout/hList1"/>
    <dgm:cxn modelId="{FBE15CA0-3717-497A-8E9A-018989822677}" srcId="{5D730ECF-5E56-4BCC-9295-01AA7310EDA9}" destId="{F44527D1-3623-4718-A5C7-590A95354660}" srcOrd="0" destOrd="0" parTransId="{5E7514FD-99DE-4412-9C1C-3D96F9C74494}" sibTransId="{07EC650E-232F-42AC-A156-321F455F5A3F}"/>
    <dgm:cxn modelId="{000B1AA1-D269-433B-A2F8-4074006666C0}" type="presOf" srcId="{4A547C1D-B2B4-4DC0-9186-F06ADA29D96C}" destId="{F9540AD5-4F34-4720-A853-23023519F2F5}" srcOrd="0" destOrd="1" presId="urn:microsoft.com/office/officeart/2005/8/layout/hList1"/>
    <dgm:cxn modelId="{9D5414A2-5FCE-4DFF-A12D-01A4DF946095}" srcId="{5D730ECF-5E56-4BCC-9295-01AA7310EDA9}" destId="{DFDE87FF-41B5-422A-B0DE-35065B11DE8D}" srcOrd="2" destOrd="0" parTransId="{1E76CB77-34E9-426D-8376-9B16F27E64C7}" sibTransId="{437E2437-C5A4-4340-AA2A-F3378DC77934}"/>
    <dgm:cxn modelId="{B78519A3-A94D-4CEC-B3EF-4A783E4848B7}" type="presOf" srcId="{7F0AB14A-A998-47E8-B687-14DFCC20CF49}" destId="{6BCC47BA-0C21-4EC9-8F7B-D9BCA5C8EC21}" srcOrd="0" destOrd="3" presId="urn:microsoft.com/office/officeart/2005/8/layout/hList1"/>
    <dgm:cxn modelId="{D6CB58A3-046A-4993-A05B-0AA2CFA845E7}" type="presOf" srcId="{055EA4F5-B904-4B8A-ABBE-39BF1FDDECA8}" destId="{CD66AAD5-A74B-4989-8AD5-348B79FA87C7}" srcOrd="0" destOrd="4" presId="urn:microsoft.com/office/officeart/2005/8/layout/hList1"/>
    <dgm:cxn modelId="{D1018BA4-D551-4AF8-AE83-3A349CE9146F}" type="presOf" srcId="{639BF8EA-4D33-4B30-911B-6776BADCAC46}" destId="{79AA2380-6C09-4C3E-A320-87D02EF11B92}" srcOrd="0" destOrd="0" presId="urn:microsoft.com/office/officeart/2005/8/layout/hList1"/>
    <dgm:cxn modelId="{B4E214AA-5BD0-42F3-AC2F-CDAC373FF126}" srcId="{3F8F7C63-6D9D-4496-99F3-13DF66B8EAD6}" destId="{0CF6FF1F-C08F-4FC3-A083-8DE69E9808EC}" srcOrd="4" destOrd="0" parTransId="{E2C68DD5-0B4D-46BB-8703-7E6E04774A00}" sibTransId="{69BB4931-D0E5-4586-B4A7-B24CFD9DD6C0}"/>
    <dgm:cxn modelId="{533B33B0-F780-445E-9B62-7F84DB009051}" srcId="{AC11CA59-F486-473C-AE1A-BD3E159BD48A}" destId="{639BF8EA-4D33-4B30-911B-6776BADCAC46}" srcOrd="3" destOrd="0" parTransId="{73779F8B-B701-4BB6-9E77-1298E5928771}" sibTransId="{02641D1F-193F-4370-8212-3D28CA0839D7}"/>
    <dgm:cxn modelId="{CCDDC6B0-10F7-451D-9339-F1AB282B6BBF}" srcId="{DF86A6E5-580E-4F2A-B223-B458E5A97CE4}" destId="{7F0AB14A-A998-47E8-B687-14DFCC20CF49}" srcOrd="3" destOrd="0" parTransId="{4241A582-BD5C-4655-9915-8C15EA1DC5AE}" sibTransId="{DBB78576-2BE1-4202-8817-9E6968505C16}"/>
    <dgm:cxn modelId="{3DE784B4-FA30-4176-9AFA-5B5A1870D068}" type="presOf" srcId="{E52B500A-AE05-4D34-ABB0-CAFFAF0794D8}" destId="{6BCC47BA-0C21-4EC9-8F7B-D9BCA5C8EC21}" srcOrd="0" destOrd="6" presId="urn:microsoft.com/office/officeart/2005/8/layout/hList1"/>
    <dgm:cxn modelId="{D0046EBB-591B-4DE2-8201-146777877122}" type="presOf" srcId="{FE1D1D47-559F-4186-9501-2931C1DEA180}" destId="{CD66AAD5-A74B-4989-8AD5-348B79FA87C7}" srcOrd="0" destOrd="3" presId="urn:microsoft.com/office/officeart/2005/8/layout/hList1"/>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805DDFC1-213B-49B3-824B-6599554D8014}" srcId="{AA0CC1A4-89B3-4AA2-AE39-4C1399639CA2}" destId="{784B2EC8-ADA7-4216-8706-0875058C4E71}" srcOrd="6" destOrd="0" parTransId="{4933F1B0-BEAC-484C-B74B-0378951FCEB6}" sibTransId="{A4AD7342-AC37-4E42-B4E3-679F9CF509F9}"/>
    <dgm:cxn modelId="{EBDCBDC9-287F-44AC-8AB6-60A758735364}" type="presOf" srcId="{6F9DC3B1-4CA3-4986-8B20-17C104AE741F}" destId="{6BCC47BA-0C21-4EC9-8F7B-D9BCA5C8EC21}" srcOrd="0" destOrd="4" presId="urn:microsoft.com/office/officeart/2005/8/layout/hList1"/>
    <dgm:cxn modelId="{1670EBCB-7842-495D-8843-61A52B212B4B}" srcId="{5D730ECF-5E56-4BCC-9295-01AA7310EDA9}" destId="{92C97957-4673-48E0-8394-A29A2C1DF434}" srcOrd="5" destOrd="0" parTransId="{D5320DCF-E978-422B-9DCB-324643E7C74B}" sibTransId="{9EEBC12D-790D-47AB-B587-D3DD5737CC08}"/>
    <dgm:cxn modelId="{BA4F5ECD-31C9-482B-B6B8-AA34483001C2}" srcId="{DF86A6E5-580E-4F2A-B223-B458E5A97CE4}" destId="{FC2E9FD0-AD1A-4E81-8CE8-F5387731ACC5}" srcOrd="0" destOrd="0" parTransId="{92D28802-A2B7-406B-9ECE-488CDE2B7EE3}" sibTransId="{5552313E-ED74-447B-808B-0524835A4DBB}"/>
    <dgm:cxn modelId="{D4F09DD2-D7DC-4C0A-B107-20DDDF7554E9}" srcId="{639BF8EA-4D33-4B30-911B-6776BADCAC46}" destId="{8A005F68-872E-4565-97CF-5F934A8F7106}" srcOrd="0" destOrd="0" parTransId="{6458AC6F-FC93-49FE-B39E-B3BD37FC1330}" sibTransId="{88809219-9B02-4029-97B7-029D87354175}"/>
    <dgm:cxn modelId="{62BFE4D8-2CF9-41CF-B9D6-628087FB3235}" srcId="{639BF8EA-4D33-4B30-911B-6776BADCAC46}" destId="{BD5E13D4-D7E6-4860-8AE3-1A6DF902884E}" srcOrd="4" destOrd="0" parTransId="{D8E857DF-A73E-4385-9198-92C2B516A406}" sibTransId="{CB33C4BE-8EFD-40A1-B927-31095A69CFA2}"/>
    <dgm:cxn modelId="{C78216E5-5CBA-4215-8872-295A6E03FDD1}" type="presOf" srcId="{BB9E029F-BC03-41F3-99A4-1010127A1FA4}" destId="{FE6D297C-C9E0-4A7D-A12A-BA53DEE78AEC}" srcOrd="0" destOrd="2" presId="urn:microsoft.com/office/officeart/2005/8/layout/hList1"/>
    <dgm:cxn modelId="{28191EE6-95A7-4034-9576-375608FEE2BA}" srcId="{3F8F7C63-6D9D-4496-99F3-13DF66B8EAD6}" destId="{4A547C1D-B2B4-4DC0-9186-F06ADA29D96C}" srcOrd="1" destOrd="0" parTransId="{F4FB9ED1-E83E-49C1-92FA-6655211CE690}" sibTransId="{5B58EB33-10F0-4DE7-8164-D3499FE473A2}"/>
    <dgm:cxn modelId="{52328EE6-E3BD-4DC8-95B0-224386949006}" srcId="{DF86A6E5-580E-4F2A-B223-B458E5A97CE4}" destId="{3EADD87C-5E10-426A-AF75-15305E4F509B}" srcOrd="7" destOrd="0" parTransId="{12DA2CF6-8E16-4F12-B143-F177E86D674B}" sibTransId="{E50154B6-1E97-4974-9E4D-B494A42F6E98}"/>
    <dgm:cxn modelId="{C77EFCE7-C240-43E0-B5A1-819C043F5B95}" srcId="{AA0CC1A4-89B3-4AA2-AE39-4C1399639CA2}" destId="{7726AA4A-EF59-43F8-8F82-A92F5D13E503}" srcOrd="4" destOrd="0" parTransId="{88AC56D8-346E-4C0F-B6FF-76456DB3A7EB}" sibTransId="{2A3AC792-C59F-42D9-ACD2-99E09677908F}"/>
    <dgm:cxn modelId="{93188BE8-C61C-4C85-932E-32723D8A71D8}" type="presOf" srcId="{BE318667-0956-4630-9C7E-F02AB8646E37}" destId="{569DA3D3-C2E5-4089-A6F0-CF7A0DE5293E}" srcOrd="0" destOrd="3" presId="urn:microsoft.com/office/officeart/2005/8/layout/hList1"/>
    <dgm:cxn modelId="{B329AEE8-4543-402A-AA06-29F3A101607E}" type="presOf" srcId="{DF86A6E5-580E-4F2A-B223-B458E5A97CE4}" destId="{19CDF2AB-3B0B-41CB-AD00-E99839314F1A}" srcOrd="0" destOrd="0" presId="urn:microsoft.com/office/officeart/2005/8/layout/hList1"/>
    <dgm:cxn modelId="{1B26E4EA-1A8D-490F-9021-A704ABA265EE}" srcId="{639BF8EA-4D33-4B30-911B-6776BADCAC46}" destId="{BE318667-0956-4630-9C7E-F02AB8646E37}" srcOrd="3" destOrd="0" parTransId="{2694D3FF-9E54-4372-9112-B170E4149FA6}" sibTransId="{390D4DFE-FE45-4C82-8D78-767C45BB48E6}"/>
    <dgm:cxn modelId="{D140A2EB-3F7E-42F4-996C-1F3B53C6C159}" type="presOf" srcId="{C6F6A35E-EF9D-42DB-9F6B-51AFF90BC98C}" destId="{FE6D297C-C9E0-4A7D-A12A-BA53DEE78AEC}" srcOrd="0" destOrd="0" presId="urn:microsoft.com/office/officeart/2005/8/layout/hList1"/>
    <dgm:cxn modelId="{735764F0-009D-4089-B293-73C900AAAD46}" srcId="{DF86A6E5-580E-4F2A-B223-B458E5A97CE4}" destId="{6F9DC3B1-4CA3-4986-8B20-17C104AE741F}" srcOrd="4" destOrd="0" parTransId="{8722F4E5-5B95-471F-B5D4-072896967AB4}" sibTransId="{62D8D76D-E62B-4A49-B98C-EDDC0B5A6051}"/>
    <dgm:cxn modelId="{B20B9CF2-3C11-47A8-B603-26B9718D75DE}" type="presOf" srcId="{BFFC1D80-F96D-40C7-89F5-5D8EAE562A51}" destId="{6BCC47BA-0C21-4EC9-8F7B-D9BCA5C8EC21}" srcOrd="0" destOrd="8" presId="urn:microsoft.com/office/officeart/2005/8/layout/hList1"/>
    <dgm:cxn modelId="{235AF3F2-4DC6-4ACE-9EC0-844AD822351F}" type="presOf" srcId="{8A005F68-872E-4565-97CF-5F934A8F7106}" destId="{569DA3D3-C2E5-4089-A6F0-CF7A0DE5293E}" srcOrd="0" destOrd="0" presId="urn:microsoft.com/office/officeart/2005/8/layout/hList1"/>
    <dgm:cxn modelId="{610DF2F5-92E8-422B-AE07-C727F76A7E93}" srcId="{5D730ECF-5E56-4BCC-9295-01AA7310EDA9}" destId="{055EA4F5-B904-4B8A-ABBE-39BF1FDDECA8}" srcOrd="4" destOrd="0" parTransId="{9DB2D06B-1F1B-4C7E-954D-6C136D2E0E99}" sibTransId="{1D040094-9E11-4028-84E7-64BA0F796C8F}"/>
    <dgm:cxn modelId="{F7B62AFA-B829-4F27-A7A5-86EFFBC6883F}" type="presOf" srcId="{1BFD86C8-311E-47F9-A369-5AD90B1E5A4F}" destId="{FE6D297C-C9E0-4A7D-A12A-BA53DEE78AEC}" srcOrd="0" destOrd="3" presId="urn:microsoft.com/office/officeart/2005/8/layout/hList1"/>
    <dgm:cxn modelId="{2C7599FB-9E01-416D-861C-B5C2EDBA1222}" type="presOf" srcId="{DFDE87FF-41B5-422A-B0DE-35065B11DE8D}" destId="{CD66AAD5-A74B-4989-8AD5-348B79FA87C7}" srcOrd="0" destOrd="2" presId="urn:microsoft.com/office/officeart/2005/8/layout/hList1"/>
    <dgm:cxn modelId="{267AF6FC-B6AC-4A6B-9E66-1F81C0C4D3B3}" type="presOf" srcId="{8A815043-9A70-4D4B-93A9-8E2229848664}" destId="{FE6D297C-C9E0-4A7D-A12A-BA53DEE78AEC}" srcOrd="0" destOrd="1" presId="urn:microsoft.com/office/officeart/2005/8/layout/hList1"/>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 modelId="{220E4404-6F28-412A-B5D0-F8EF49AADC4A}" type="presParOf" srcId="{E2E8F0FF-2562-411A-AEBD-32131929444C}" destId="{69C599F4-9B2F-43FB-B2EB-916089C95F3A}" srcOrd="7" destOrd="0" presId="urn:microsoft.com/office/officeart/2005/8/layout/hList1"/>
    <dgm:cxn modelId="{20552560-BD1A-4448-AB5B-7B8B42C99F8F}" type="presParOf" srcId="{E2E8F0FF-2562-411A-AEBD-32131929444C}" destId="{A6FA747B-F96D-4BB7-9CAA-697BD5717906}" srcOrd="8" destOrd="0" presId="urn:microsoft.com/office/officeart/2005/8/layout/hList1"/>
    <dgm:cxn modelId="{2DD714AD-096B-4A30-BFFD-58594F47A47C}" type="presParOf" srcId="{A6FA747B-F96D-4BB7-9CAA-697BD5717906}" destId="{19CDF2AB-3B0B-41CB-AD00-E99839314F1A}" srcOrd="0" destOrd="0" presId="urn:microsoft.com/office/officeart/2005/8/layout/hList1"/>
    <dgm:cxn modelId="{2961956E-DF50-47AB-9EB4-FC8882B10EAB}" type="presParOf" srcId="{A6FA747B-F96D-4BB7-9CAA-697BD5717906}" destId="{6BCC47BA-0C21-4EC9-8F7B-D9BCA5C8EC21}"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chemeClr val="bg1">
            <a:lumMod val="65000"/>
          </a:schemeClr>
        </a:solidFill>
        <a:ln>
          <a:solidFill>
            <a:schemeClr val="bg1">
              <a:lumMod val="65000"/>
            </a:schemeClr>
          </a:solidFill>
        </a:ln>
      </dgm:spPr>
      <dgm:t>
        <a:bodyPr/>
        <a:lstStyle/>
        <a:p>
          <a:r>
            <a:rPr lang="en-AU" sz="1100" dirty="0"/>
            <a:t>Day 6 </a:t>
          </a:r>
        </a:p>
        <a:p>
          <a:r>
            <a:rPr lang="en-US" sz="1100" dirty="0"/>
            <a:t>Power Packed Day with Power BI</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7</a:t>
          </a:r>
        </a:p>
        <a:p>
          <a:r>
            <a:rPr lang="en-US" sz="1100" dirty="0"/>
            <a:t>Power up your Apps with AI Builder</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8</a:t>
          </a:r>
        </a:p>
        <a:p>
          <a:r>
            <a:rPr lang="en-US" sz="1100" dirty="0"/>
            <a:t>Power Platform Administration, Security &amp; Integration Connector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a:t>Introduction</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9</a:t>
          </a:r>
        </a:p>
        <a:p>
          <a:r>
            <a:rPr lang="en-US" sz="1100" dirty="0"/>
            <a:t>Power Packed Bizz Apps Day – Sales &amp; Marketing</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DF86A6E5-580E-4F2A-B223-B458E5A97CE4}">
      <dgm:prSet custT="1"/>
      <dgm:spPr>
        <a:solidFill>
          <a:srgbClr val="7030A0"/>
        </a:solidFill>
        <a:ln>
          <a:solidFill>
            <a:srgbClr val="7030A0"/>
          </a:solidFill>
        </a:ln>
      </dgm:spPr>
      <dgm:t>
        <a:bodyPr/>
        <a:lstStyle/>
        <a:p>
          <a:r>
            <a:rPr lang="en-AU" sz="1100" dirty="0"/>
            <a:t>Day 10</a:t>
          </a:r>
        </a:p>
        <a:p>
          <a:r>
            <a:rPr lang="en-US" sz="1100" dirty="0"/>
            <a:t>Power Packed Bizz Apps Day– Finance &amp; Supply Chain</a:t>
          </a:r>
          <a:endParaRPr lang="en-AU" sz="1100" dirty="0"/>
        </a:p>
      </dgm:t>
    </dgm:pt>
    <dgm:pt modelId="{A3F965A0-4DFA-4DB1-BF22-9BD549EB3157}" type="parTrans" cxnId="{E3ED610E-D840-4A47-82CA-1963CEA02A3D}">
      <dgm:prSet/>
      <dgm:spPr/>
      <dgm:t>
        <a:bodyPr/>
        <a:lstStyle/>
        <a:p>
          <a:endParaRPr lang="en-AU" sz="2400"/>
        </a:p>
      </dgm:t>
    </dgm:pt>
    <dgm:pt modelId="{A2239809-CB4C-48EC-8779-BE5C55EB41C1}" type="sibTrans" cxnId="{E3ED610E-D840-4A47-82CA-1963CEA02A3D}">
      <dgm:prSet/>
      <dgm:spPr/>
      <dgm:t>
        <a:bodyPr/>
        <a:lstStyle/>
        <a:p>
          <a:endParaRPr lang="en-AU" sz="2400"/>
        </a:p>
      </dgm:t>
    </dgm:pt>
    <dgm:pt modelId="{FC2E9FD0-AD1A-4E81-8CE8-F5387731ACC5}">
      <dgm:prSet custT="1"/>
      <dgm:spPr>
        <a:noFill/>
      </dgm:spPr>
      <dgm:t>
        <a:bodyPr/>
        <a:lstStyle/>
        <a:p>
          <a:pPr>
            <a:lnSpc>
              <a:spcPct val="90000"/>
            </a:lnSpc>
            <a:buFont typeface="Wingdings" panose="05000000000000000000" pitchFamily="2" charset="2"/>
            <a:buChar char="ü"/>
          </a:pPr>
          <a:r>
            <a:rPr lang="en-GB" sz="1100" dirty="0"/>
            <a:t>Introduction</a:t>
          </a:r>
          <a:endParaRPr lang="en-AU" sz="1100" dirty="0"/>
        </a:p>
      </dgm:t>
    </dgm:pt>
    <dgm:pt modelId="{92D28802-A2B7-406B-9ECE-488CDE2B7EE3}" type="parTrans" cxnId="{BA4F5ECD-31C9-482B-B6B8-AA34483001C2}">
      <dgm:prSet/>
      <dgm:spPr/>
      <dgm:t>
        <a:bodyPr/>
        <a:lstStyle/>
        <a:p>
          <a:endParaRPr lang="en-AU" sz="2400"/>
        </a:p>
      </dgm:t>
    </dgm:pt>
    <dgm:pt modelId="{5552313E-ED74-447B-808B-0524835A4DBB}" type="sibTrans" cxnId="{BA4F5ECD-31C9-482B-B6B8-AA34483001C2}">
      <dgm:prSet/>
      <dgm:spPr/>
      <dgm:t>
        <a:bodyPr/>
        <a:lstStyle/>
        <a:p>
          <a:endParaRPr lang="en-AU" sz="2400"/>
        </a:p>
      </dgm:t>
    </dgm:pt>
    <dgm:pt modelId="{545A33F6-B5F6-426A-8C86-40CF9A69FDEB}">
      <dgm:prSet custT="1"/>
      <dgm:spPr/>
      <dgm:t>
        <a:bodyPr/>
        <a:lstStyle/>
        <a:p>
          <a:pPr>
            <a:lnSpc>
              <a:spcPct val="150000"/>
            </a:lnSpc>
            <a:buFont typeface="Wingdings" panose="05000000000000000000" pitchFamily="2" charset="2"/>
            <a:buChar char="ü"/>
          </a:pPr>
          <a:r>
            <a:rPr lang="en-US" sz="1100" dirty="0"/>
            <a:t>AI for every app. And everyone</a:t>
          </a:r>
          <a:endParaRPr lang="en-GB" sz="1100" dirty="0"/>
        </a:p>
      </dgm:t>
    </dgm:pt>
    <dgm:pt modelId="{35A6CFD5-75E6-454E-82A8-2EEB5B20D7C7}" type="parTrans" cxnId="{46AC5DA6-931E-485C-80D5-609AA370BF3C}">
      <dgm:prSet/>
      <dgm:spPr/>
      <dgm:t>
        <a:bodyPr/>
        <a:lstStyle/>
        <a:p>
          <a:endParaRPr lang="en-GB"/>
        </a:p>
      </dgm:t>
    </dgm:pt>
    <dgm:pt modelId="{871627F3-A0BF-4926-ACF6-1AD098FB9865}" type="sibTrans" cxnId="{46AC5DA6-931E-485C-80D5-609AA370BF3C}">
      <dgm:prSet/>
      <dgm:spPr/>
      <dgm:t>
        <a:bodyPr/>
        <a:lstStyle/>
        <a:p>
          <a:endParaRPr lang="en-GB"/>
        </a:p>
      </dgm:t>
    </dgm:pt>
    <dgm:pt modelId="{3E642F35-97D9-4849-9004-96A0F376220D}">
      <dgm:prSet custT="1"/>
      <dgm:spPr/>
      <dgm:t>
        <a:bodyPr/>
        <a:lstStyle/>
        <a:p>
          <a:pPr>
            <a:lnSpc>
              <a:spcPct val="150000"/>
            </a:lnSpc>
            <a:buFont typeface="Wingdings" panose="05000000000000000000" pitchFamily="2" charset="2"/>
            <a:buChar char="ü"/>
          </a:pPr>
          <a:r>
            <a:rPr lang="en-GB" sz="1100" dirty="0"/>
            <a:t>Setup Environment</a:t>
          </a:r>
        </a:p>
      </dgm:t>
    </dgm:pt>
    <dgm:pt modelId="{FC0A6F24-07E2-403B-9EB3-1E68DF92A7B9}" type="parTrans" cxnId="{B0D6FD5E-D622-4C75-951D-4FCFE47F2376}">
      <dgm:prSet/>
      <dgm:spPr/>
      <dgm:t>
        <a:bodyPr/>
        <a:lstStyle/>
        <a:p>
          <a:endParaRPr lang="en-GB"/>
        </a:p>
      </dgm:t>
    </dgm:pt>
    <dgm:pt modelId="{E455CF66-9B12-4FAB-A0CC-01947E2B58B4}" type="sibTrans" cxnId="{B0D6FD5E-D622-4C75-951D-4FCFE47F2376}">
      <dgm:prSet/>
      <dgm:spPr/>
      <dgm:t>
        <a:bodyPr/>
        <a:lstStyle/>
        <a:p>
          <a:endParaRPr lang="en-GB"/>
        </a:p>
      </dgm:t>
    </dgm:pt>
    <dgm:pt modelId="{E5BD9D08-D55A-4077-A266-63A3412B597C}">
      <dgm:prSet custT="1"/>
      <dgm:spPr/>
      <dgm:t>
        <a:bodyPr/>
        <a:lstStyle/>
        <a:p>
          <a:pPr>
            <a:lnSpc>
              <a:spcPct val="150000"/>
            </a:lnSpc>
            <a:buFont typeface="Wingdings" panose="05000000000000000000" pitchFamily="2" charset="2"/>
            <a:buChar char="ü"/>
          </a:pPr>
          <a:r>
            <a:rPr lang="en-GB" sz="1100" dirty="0"/>
            <a:t>Types of AI Model</a:t>
          </a:r>
        </a:p>
      </dgm:t>
    </dgm:pt>
    <dgm:pt modelId="{6B05C7C0-09DD-451E-AE20-D6C396140BA4}" type="parTrans" cxnId="{3A16BE9C-5C16-43C7-92AE-5D9F366D5D99}">
      <dgm:prSet/>
      <dgm:spPr/>
      <dgm:t>
        <a:bodyPr/>
        <a:lstStyle/>
        <a:p>
          <a:endParaRPr lang="en-GB"/>
        </a:p>
      </dgm:t>
    </dgm:pt>
    <dgm:pt modelId="{BA576175-C61B-4F42-BBB2-1AF3DD04D2D8}" type="sibTrans" cxnId="{3A16BE9C-5C16-43C7-92AE-5D9F366D5D99}">
      <dgm:prSet/>
      <dgm:spPr/>
      <dgm:t>
        <a:bodyPr/>
        <a:lstStyle/>
        <a:p>
          <a:endParaRPr lang="en-GB"/>
        </a:p>
      </dgm:t>
    </dgm:pt>
    <dgm:pt modelId="{98E9E80D-99C6-4D95-ADA3-154C4B59F85F}">
      <dgm:prSet custT="1"/>
      <dgm:spPr/>
      <dgm:t>
        <a:bodyPr/>
        <a:lstStyle/>
        <a:p>
          <a:pPr>
            <a:lnSpc>
              <a:spcPct val="150000"/>
            </a:lnSpc>
            <a:buFont typeface="Wingdings" panose="05000000000000000000" pitchFamily="2" charset="2"/>
            <a:buChar char="ü"/>
          </a:pPr>
          <a:r>
            <a:rPr lang="en-GB" sz="1100" dirty="0"/>
            <a:t>Prediction</a:t>
          </a:r>
        </a:p>
      </dgm:t>
    </dgm:pt>
    <dgm:pt modelId="{3C03EB72-6B54-48F4-8582-F81997B953D1}" type="parTrans" cxnId="{202B2BBF-62BE-4D26-8E3B-E4B0A1386412}">
      <dgm:prSet/>
      <dgm:spPr/>
      <dgm:t>
        <a:bodyPr/>
        <a:lstStyle/>
        <a:p>
          <a:endParaRPr lang="en-GB"/>
        </a:p>
      </dgm:t>
    </dgm:pt>
    <dgm:pt modelId="{F8702242-78A9-478A-AA78-B0CC2FEB8CFB}" type="sibTrans" cxnId="{202B2BBF-62BE-4D26-8E3B-E4B0A1386412}">
      <dgm:prSet/>
      <dgm:spPr/>
      <dgm:t>
        <a:bodyPr/>
        <a:lstStyle/>
        <a:p>
          <a:endParaRPr lang="en-GB"/>
        </a:p>
      </dgm:t>
    </dgm:pt>
    <dgm:pt modelId="{236D48B7-63A7-4285-9C6C-7AFF01B56D9D}">
      <dgm:prSet custT="1"/>
      <dgm:spPr/>
      <dgm:t>
        <a:bodyPr/>
        <a:lstStyle/>
        <a:p>
          <a:pPr>
            <a:lnSpc>
              <a:spcPct val="150000"/>
            </a:lnSpc>
            <a:buFont typeface="Wingdings" panose="05000000000000000000" pitchFamily="2" charset="2"/>
            <a:buChar char="ü"/>
          </a:pPr>
          <a:r>
            <a:rPr lang="en-GB" sz="1100" dirty="0"/>
            <a:t>Form processing</a:t>
          </a:r>
        </a:p>
      </dgm:t>
    </dgm:pt>
    <dgm:pt modelId="{13EDD0DB-D12A-4055-86FC-11CE01E96C7B}" type="parTrans" cxnId="{7D186AED-01CD-425B-8B11-92BA4F6709E3}">
      <dgm:prSet/>
      <dgm:spPr/>
      <dgm:t>
        <a:bodyPr/>
        <a:lstStyle/>
        <a:p>
          <a:endParaRPr lang="en-GB"/>
        </a:p>
      </dgm:t>
    </dgm:pt>
    <dgm:pt modelId="{410012CC-317E-4CEA-BD64-8DB0C548B075}" type="sibTrans" cxnId="{7D186AED-01CD-425B-8B11-92BA4F6709E3}">
      <dgm:prSet/>
      <dgm:spPr/>
      <dgm:t>
        <a:bodyPr/>
        <a:lstStyle/>
        <a:p>
          <a:endParaRPr lang="en-GB"/>
        </a:p>
      </dgm:t>
    </dgm:pt>
    <dgm:pt modelId="{24E91F4A-3897-4A0C-950E-4537F3FBB810}">
      <dgm:prSet custT="1"/>
      <dgm:spPr/>
      <dgm:t>
        <a:bodyPr/>
        <a:lstStyle/>
        <a:p>
          <a:pPr>
            <a:lnSpc>
              <a:spcPct val="150000"/>
            </a:lnSpc>
            <a:buFont typeface="Wingdings" panose="05000000000000000000" pitchFamily="2" charset="2"/>
            <a:buChar char="ü"/>
          </a:pPr>
          <a:r>
            <a:rPr lang="en-GB" sz="1100" dirty="0"/>
            <a:t>Object detection</a:t>
          </a:r>
        </a:p>
      </dgm:t>
    </dgm:pt>
    <dgm:pt modelId="{3FA903BF-7730-470C-B9B9-D24374440B2F}" type="parTrans" cxnId="{E89DCC35-4170-4CB2-A20C-EB81473BF897}">
      <dgm:prSet/>
      <dgm:spPr/>
      <dgm:t>
        <a:bodyPr/>
        <a:lstStyle/>
        <a:p>
          <a:endParaRPr lang="en-GB"/>
        </a:p>
      </dgm:t>
    </dgm:pt>
    <dgm:pt modelId="{B56624A6-8E5F-4771-B1C0-E2E7A2D5FEA7}" type="sibTrans" cxnId="{E89DCC35-4170-4CB2-A20C-EB81473BF897}">
      <dgm:prSet/>
      <dgm:spPr/>
      <dgm:t>
        <a:bodyPr/>
        <a:lstStyle/>
        <a:p>
          <a:endParaRPr lang="en-GB"/>
        </a:p>
      </dgm:t>
    </dgm:pt>
    <dgm:pt modelId="{58A2E522-E29C-4132-AC13-C3D4E644FA3C}">
      <dgm:prSet custT="1"/>
      <dgm:spPr/>
      <dgm:t>
        <a:bodyPr/>
        <a:lstStyle/>
        <a:p>
          <a:pPr>
            <a:lnSpc>
              <a:spcPct val="150000"/>
            </a:lnSpc>
            <a:buFont typeface="Wingdings" panose="05000000000000000000" pitchFamily="2" charset="2"/>
            <a:buChar char="ü"/>
          </a:pPr>
          <a:r>
            <a:rPr lang="en-GB" sz="1100" dirty="0"/>
            <a:t>Text classification</a:t>
          </a:r>
        </a:p>
      </dgm:t>
    </dgm:pt>
    <dgm:pt modelId="{E9E5FE19-EEBB-4197-8E3C-36FFB0A95F09}" type="parTrans" cxnId="{95F1422B-D2D2-4C16-B913-4506C14F30E2}">
      <dgm:prSet/>
      <dgm:spPr/>
      <dgm:t>
        <a:bodyPr/>
        <a:lstStyle/>
        <a:p>
          <a:endParaRPr lang="en-GB"/>
        </a:p>
      </dgm:t>
    </dgm:pt>
    <dgm:pt modelId="{5D0976C6-ACD5-49EF-BDEC-DCDD2C61531D}" type="sibTrans" cxnId="{95F1422B-D2D2-4C16-B913-4506C14F30E2}">
      <dgm:prSet/>
      <dgm:spPr/>
      <dgm:t>
        <a:bodyPr/>
        <a:lstStyle/>
        <a:p>
          <a:endParaRPr lang="en-GB"/>
        </a:p>
      </dgm:t>
    </dgm:pt>
    <dgm:pt modelId="{C15E1527-ED8A-4127-96D3-A40FE5E9F551}">
      <dgm:prSet custT="1"/>
      <dgm:spPr/>
      <dgm:t>
        <a:bodyPr/>
        <a:lstStyle/>
        <a:p>
          <a:pPr>
            <a:lnSpc>
              <a:spcPct val="150000"/>
            </a:lnSpc>
            <a:buFont typeface="Wingdings" panose="05000000000000000000" pitchFamily="2" charset="2"/>
            <a:buChar char="ü"/>
          </a:pPr>
          <a:r>
            <a:rPr lang="en-GB" sz="1100" dirty="0"/>
            <a:t>Demo</a:t>
          </a:r>
        </a:p>
      </dgm:t>
    </dgm:pt>
    <dgm:pt modelId="{F1F539FA-D668-4A01-9EF5-E9760A99DFC0}" type="parTrans" cxnId="{70C8AFC0-C182-4576-96DA-EAECDBD4CEE1}">
      <dgm:prSet/>
      <dgm:spPr/>
      <dgm:t>
        <a:bodyPr/>
        <a:lstStyle/>
        <a:p>
          <a:endParaRPr lang="en-GB"/>
        </a:p>
      </dgm:t>
    </dgm:pt>
    <dgm:pt modelId="{1A19537F-D665-449A-96C1-15D1F4CFFA74}" type="sibTrans" cxnId="{70C8AFC0-C182-4576-96DA-EAECDBD4CEE1}">
      <dgm:prSet/>
      <dgm:spPr/>
      <dgm:t>
        <a:bodyPr/>
        <a:lstStyle/>
        <a:p>
          <a:endParaRPr lang="en-GB"/>
        </a:p>
      </dgm:t>
    </dgm:pt>
    <dgm:pt modelId="{ED0320A2-84EF-464D-BA55-8B9CA19360EB}">
      <dgm:prSet custT="1"/>
      <dgm:spPr/>
      <dgm:t>
        <a:bodyPr/>
        <a:lstStyle/>
        <a:p>
          <a:pPr>
            <a:lnSpc>
              <a:spcPct val="150000"/>
            </a:lnSpc>
            <a:buFont typeface="Wingdings" panose="05000000000000000000" pitchFamily="2" charset="2"/>
            <a:buChar char="ü"/>
          </a:pPr>
          <a:r>
            <a:rPr lang="en-GB" sz="1100" dirty="0"/>
            <a:t>The 5x5 Principle</a:t>
          </a:r>
        </a:p>
      </dgm:t>
    </dgm:pt>
    <dgm:pt modelId="{733CED72-31D7-4D0C-A15C-D7391E674E4A}" type="parTrans" cxnId="{ADABC46F-5F7F-450F-A491-AF77B0223B23}">
      <dgm:prSet/>
      <dgm:spPr/>
      <dgm:t>
        <a:bodyPr/>
        <a:lstStyle/>
        <a:p>
          <a:endParaRPr lang="en-GB"/>
        </a:p>
      </dgm:t>
    </dgm:pt>
    <dgm:pt modelId="{4A1D8552-EF71-45FB-A7C5-E3AF0407CC2D}" type="sibTrans" cxnId="{ADABC46F-5F7F-450F-A491-AF77B0223B23}">
      <dgm:prSet/>
      <dgm:spPr/>
      <dgm:t>
        <a:bodyPr/>
        <a:lstStyle/>
        <a:p>
          <a:endParaRPr lang="en-GB"/>
        </a:p>
      </dgm:t>
    </dgm:pt>
    <dgm:pt modelId="{8E896EB5-DC99-4BB3-B264-36E39DE7CEC8}">
      <dgm:prSet custT="1"/>
      <dgm:spPr/>
      <dgm:t>
        <a:bodyPr/>
        <a:lstStyle/>
        <a:p>
          <a:pPr>
            <a:lnSpc>
              <a:spcPct val="150000"/>
            </a:lnSpc>
            <a:buFont typeface="Wingdings" panose="05000000000000000000" pitchFamily="2" charset="2"/>
            <a:buChar char="ü"/>
          </a:pPr>
          <a:r>
            <a:rPr lang="en-GB" sz="1100" dirty="0"/>
            <a:t>Customer momentum: Power BI</a:t>
          </a:r>
        </a:p>
      </dgm:t>
    </dgm:pt>
    <dgm:pt modelId="{D783B99B-ADFA-4D1B-A614-77EF61E71670}" type="parTrans" cxnId="{B9CB5028-8610-4C03-8D30-E47EEEDF1F12}">
      <dgm:prSet/>
      <dgm:spPr/>
      <dgm:t>
        <a:bodyPr/>
        <a:lstStyle/>
        <a:p>
          <a:endParaRPr lang="en-GB"/>
        </a:p>
      </dgm:t>
    </dgm:pt>
    <dgm:pt modelId="{C765E2B2-5B2B-4F45-B628-B6251082CF94}" type="sibTrans" cxnId="{B9CB5028-8610-4C03-8D30-E47EEEDF1F12}">
      <dgm:prSet/>
      <dgm:spPr/>
      <dgm:t>
        <a:bodyPr/>
        <a:lstStyle/>
        <a:p>
          <a:endParaRPr lang="en-GB"/>
        </a:p>
      </dgm:t>
    </dgm:pt>
    <dgm:pt modelId="{A6C29D9B-FA0D-4C44-99F3-70A3C6A28ABC}">
      <dgm:prSet custT="1"/>
      <dgm:spPr/>
      <dgm:t>
        <a:bodyPr/>
        <a:lstStyle/>
        <a:p>
          <a:pPr>
            <a:lnSpc>
              <a:spcPct val="150000"/>
            </a:lnSpc>
            <a:buFont typeface="Wingdings" panose="05000000000000000000" pitchFamily="2" charset="2"/>
            <a:buChar char="ü"/>
          </a:pPr>
          <a:r>
            <a:rPr lang="en-GB" sz="1100" dirty="0"/>
            <a:t>Power BI Desktop</a:t>
          </a:r>
        </a:p>
      </dgm:t>
    </dgm:pt>
    <dgm:pt modelId="{30B991BB-59D0-46CE-B76F-A8E10A0E3AD2}" type="parTrans" cxnId="{DE6DA398-F2D2-4825-B1B7-40F17E6BD05B}">
      <dgm:prSet/>
      <dgm:spPr/>
      <dgm:t>
        <a:bodyPr/>
        <a:lstStyle/>
        <a:p>
          <a:endParaRPr lang="en-GB"/>
        </a:p>
      </dgm:t>
    </dgm:pt>
    <dgm:pt modelId="{C42FABC9-FC87-44F8-819D-67DCEC95CB19}" type="sibTrans" cxnId="{DE6DA398-F2D2-4825-B1B7-40F17E6BD05B}">
      <dgm:prSet/>
      <dgm:spPr/>
      <dgm:t>
        <a:bodyPr/>
        <a:lstStyle/>
        <a:p>
          <a:endParaRPr lang="en-GB"/>
        </a:p>
      </dgm:t>
    </dgm:pt>
    <dgm:pt modelId="{A05F72D0-69A6-4C7B-BB38-A1A0AB843EE4}">
      <dgm:prSet custT="1"/>
      <dgm:spPr/>
      <dgm:t>
        <a:bodyPr/>
        <a:lstStyle/>
        <a:p>
          <a:pPr>
            <a:lnSpc>
              <a:spcPct val="150000"/>
            </a:lnSpc>
            <a:buFont typeface="Wingdings" panose="05000000000000000000" pitchFamily="2" charset="2"/>
            <a:buChar char="ü"/>
          </a:pPr>
          <a:r>
            <a:rPr lang="en-GB" sz="1100" dirty="0"/>
            <a:t>Data sources</a:t>
          </a:r>
        </a:p>
      </dgm:t>
    </dgm:pt>
    <dgm:pt modelId="{62F7D189-29D3-4D68-9BF0-B0FAEE19B125}" type="parTrans" cxnId="{01AD5014-4F28-4426-95E6-AF48D3E6D80A}">
      <dgm:prSet/>
      <dgm:spPr/>
      <dgm:t>
        <a:bodyPr/>
        <a:lstStyle/>
        <a:p>
          <a:endParaRPr lang="en-GB"/>
        </a:p>
      </dgm:t>
    </dgm:pt>
    <dgm:pt modelId="{74C6F7AD-BBFB-49F3-9C3B-B861D5A124C6}" type="sibTrans" cxnId="{01AD5014-4F28-4426-95E6-AF48D3E6D80A}">
      <dgm:prSet/>
      <dgm:spPr/>
      <dgm:t>
        <a:bodyPr/>
        <a:lstStyle/>
        <a:p>
          <a:endParaRPr lang="en-GB"/>
        </a:p>
      </dgm:t>
    </dgm:pt>
    <dgm:pt modelId="{03D3870E-6E12-4A4A-99E8-B07254945176}">
      <dgm:prSet custT="1"/>
      <dgm:spPr/>
      <dgm:t>
        <a:bodyPr/>
        <a:lstStyle/>
        <a:p>
          <a:pPr>
            <a:lnSpc>
              <a:spcPct val="150000"/>
            </a:lnSpc>
            <a:buFont typeface="Wingdings" panose="05000000000000000000" pitchFamily="2" charset="2"/>
            <a:buChar char="ü"/>
          </a:pPr>
          <a:r>
            <a:rPr lang="en-GB" sz="1100" dirty="0"/>
            <a:t>Power Query</a:t>
          </a:r>
        </a:p>
      </dgm:t>
    </dgm:pt>
    <dgm:pt modelId="{A33E1C08-23D8-4E14-99AB-83006AD2583F}" type="parTrans" cxnId="{E22B1161-B875-42C3-872A-BA51DEFE8537}">
      <dgm:prSet/>
      <dgm:spPr/>
      <dgm:t>
        <a:bodyPr/>
        <a:lstStyle/>
        <a:p>
          <a:endParaRPr lang="en-GB"/>
        </a:p>
      </dgm:t>
    </dgm:pt>
    <dgm:pt modelId="{60E885CE-DE9F-4222-901B-F44A9519D4BC}" type="sibTrans" cxnId="{E22B1161-B875-42C3-872A-BA51DEFE8537}">
      <dgm:prSet/>
      <dgm:spPr/>
      <dgm:t>
        <a:bodyPr/>
        <a:lstStyle/>
        <a:p>
          <a:endParaRPr lang="en-GB"/>
        </a:p>
      </dgm:t>
    </dgm:pt>
    <dgm:pt modelId="{B1D56709-3A7C-4639-9F64-8CF2DFC1EEAF}">
      <dgm:prSet custT="1"/>
      <dgm:spPr/>
      <dgm:t>
        <a:bodyPr/>
        <a:lstStyle/>
        <a:p>
          <a:pPr>
            <a:lnSpc>
              <a:spcPct val="150000"/>
            </a:lnSpc>
            <a:buFont typeface="Wingdings" panose="05000000000000000000" pitchFamily="2" charset="2"/>
            <a:buChar char="ü"/>
          </a:pPr>
          <a:r>
            <a:rPr lang="en-GB" sz="1100" dirty="0"/>
            <a:t>Dataflow</a:t>
          </a:r>
        </a:p>
      </dgm:t>
    </dgm:pt>
    <dgm:pt modelId="{CFEBF81F-9A13-4624-9116-3E4F01E99DAC}" type="parTrans" cxnId="{5A99B117-83E0-4DDA-9909-5A1A6250AD18}">
      <dgm:prSet/>
      <dgm:spPr/>
      <dgm:t>
        <a:bodyPr/>
        <a:lstStyle/>
        <a:p>
          <a:endParaRPr lang="en-GB"/>
        </a:p>
      </dgm:t>
    </dgm:pt>
    <dgm:pt modelId="{740B5291-618D-4B35-84FE-8EE5C299203E}" type="sibTrans" cxnId="{5A99B117-83E0-4DDA-9909-5A1A6250AD18}">
      <dgm:prSet/>
      <dgm:spPr/>
      <dgm:t>
        <a:bodyPr/>
        <a:lstStyle/>
        <a:p>
          <a:endParaRPr lang="en-GB"/>
        </a:p>
      </dgm:t>
    </dgm:pt>
    <dgm:pt modelId="{DCB7BB8A-CD35-4222-952A-62E0A9CA463F}">
      <dgm:prSet custT="1"/>
      <dgm:spPr/>
      <dgm:t>
        <a:bodyPr/>
        <a:lstStyle/>
        <a:p>
          <a:pPr>
            <a:lnSpc>
              <a:spcPct val="150000"/>
            </a:lnSpc>
            <a:buFont typeface="Wingdings" panose="05000000000000000000" pitchFamily="2" charset="2"/>
            <a:buChar char="ü"/>
          </a:pPr>
          <a:r>
            <a:rPr lang="en-US" sz="1100" dirty="0"/>
            <a:t>Using a Calculation (DAX) in multiple files</a:t>
          </a:r>
          <a:endParaRPr lang="en-GB" sz="1100" dirty="0"/>
        </a:p>
      </dgm:t>
    </dgm:pt>
    <dgm:pt modelId="{A5148690-8224-4448-A595-C0900FCD59F3}" type="parTrans" cxnId="{76EEBB3B-3E89-4F18-95D8-1A19F6518923}">
      <dgm:prSet/>
      <dgm:spPr/>
      <dgm:t>
        <a:bodyPr/>
        <a:lstStyle/>
        <a:p>
          <a:endParaRPr lang="en-GB"/>
        </a:p>
      </dgm:t>
    </dgm:pt>
    <dgm:pt modelId="{34E54AF9-3437-46C4-B34E-177C1564BD59}" type="sibTrans" cxnId="{76EEBB3B-3E89-4F18-95D8-1A19F6518923}">
      <dgm:prSet/>
      <dgm:spPr/>
      <dgm:t>
        <a:bodyPr/>
        <a:lstStyle/>
        <a:p>
          <a:endParaRPr lang="en-GB"/>
        </a:p>
      </dgm:t>
    </dgm:pt>
    <dgm:pt modelId="{3FD82739-856C-477A-A9F2-F79000C2BD73}">
      <dgm:prSet custT="1"/>
      <dgm:spPr/>
      <dgm:t>
        <a:bodyPr/>
        <a:lstStyle/>
        <a:p>
          <a:pPr>
            <a:lnSpc>
              <a:spcPct val="150000"/>
            </a:lnSpc>
            <a:buFont typeface="Wingdings" panose="05000000000000000000" pitchFamily="2" charset="2"/>
            <a:buChar char="ü"/>
          </a:pPr>
          <a:r>
            <a:rPr lang="en-GB" sz="1100" dirty="0"/>
            <a:t>Paginated Reporting</a:t>
          </a:r>
        </a:p>
      </dgm:t>
    </dgm:pt>
    <dgm:pt modelId="{0D75DD0F-8D71-4417-84BC-EAD9CE83FA07}" type="parTrans" cxnId="{C377A466-AD2B-45D6-AD4A-3D0F22318176}">
      <dgm:prSet/>
      <dgm:spPr/>
      <dgm:t>
        <a:bodyPr/>
        <a:lstStyle/>
        <a:p>
          <a:endParaRPr lang="en-GB"/>
        </a:p>
      </dgm:t>
    </dgm:pt>
    <dgm:pt modelId="{8EF37914-1361-4FCA-9D73-4AFC34BC2D51}" type="sibTrans" cxnId="{C377A466-AD2B-45D6-AD4A-3D0F22318176}">
      <dgm:prSet/>
      <dgm:spPr/>
      <dgm:t>
        <a:bodyPr/>
        <a:lstStyle/>
        <a:p>
          <a:endParaRPr lang="en-GB"/>
        </a:p>
      </dgm:t>
    </dgm:pt>
    <dgm:pt modelId="{BCDD3C48-E5A3-4417-86F3-B7128AC5B7B1}">
      <dgm:prSet custT="1"/>
      <dgm:spPr/>
      <dgm:t>
        <a:bodyPr/>
        <a:lstStyle/>
        <a:p>
          <a:pPr>
            <a:lnSpc>
              <a:spcPct val="150000"/>
            </a:lnSpc>
            <a:buFont typeface="Wingdings" panose="05000000000000000000" pitchFamily="2" charset="2"/>
            <a:buChar char="ü"/>
          </a:pPr>
          <a:r>
            <a:rPr lang="en-GB" sz="1100" dirty="0"/>
            <a:t>Power BI Admin Portal </a:t>
          </a:r>
        </a:p>
      </dgm:t>
    </dgm:pt>
    <dgm:pt modelId="{10E7CB6E-2AD1-4789-8237-7BEC72F1F1FA}" type="parTrans" cxnId="{987BE227-CEAA-47DE-803C-BDCA93CF7D97}">
      <dgm:prSet/>
      <dgm:spPr/>
      <dgm:t>
        <a:bodyPr/>
        <a:lstStyle/>
        <a:p>
          <a:endParaRPr lang="en-GB"/>
        </a:p>
      </dgm:t>
    </dgm:pt>
    <dgm:pt modelId="{DFA3E833-ED9A-4EA5-ACF4-749C666265D1}" type="sibTrans" cxnId="{987BE227-CEAA-47DE-803C-BDCA93CF7D97}">
      <dgm:prSet/>
      <dgm:spPr/>
      <dgm:t>
        <a:bodyPr/>
        <a:lstStyle/>
        <a:p>
          <a:endParaRPr lang="en-GB"/>
        </a:p>
      </dgm:t>
    </dgm:pt>
    <dgm:pt modelId="{3009EBD5-8533-475D-BE3F-7DA7EB0BDAF2}">
      <dgm:prSet custT="1"/>
      <dgm:spPr/>
      <dgm:t>
        <a:bodyPr/>
        <a:lstStyle/>
        <a:p>
          <a:pPr>
            <a:lnSpc>
              <a:spcPct val="150000"/>
            </a:lnSpc>
            <a:buFont typeface="Wingdings" panose="05000000000000000000" pitchFamily="2" charset="2"/>
            <a:buChar char="ü"/>
          </a:pPr>
          <a:r>
            <a:rPr lang="en-GB" sz="1100" dirty="0"/>
            <a:t>Demo</a:t>
          </a:r>
        </a:p>
      </dgm:t>
    </dgm:pt>
    <dgm:pt modelId="{078260EC-E067-48F8-94B9-B068CF335D61}" type="parTrans" cxnId="{7BAF2CFD-1919-4540-87BA-E3BD91F1FDBD}">
      <dgm:prSet/>
      <dgm:spPr/>
      <dgm:t>
        <a:bodyPr/>
        <a:lstStyle/>
        <a:p>
          <a:endParaRPr lang="en-GB"/>
        </a:p>
      </dgm:t>
    </dgm:pt>
    <dgm:pt modelId="{DF7B415B-F4FE-4132-B4D6-C3D469631BF7}" type="sibTrans" cxnId="{7BAF2CFD-1919-4540-87BA-E3BD91F1FDBD}">
      <dgm:prSet/>
      <dgm:spPr/>
      <dgm:t>
        <a:bodyPr/>
        <a:lstStyle/>
        <a:p>
          <a:endParaRPr lang="en-GB"/>
        </a:p>
      </dgm:t>
    </dgm:pt>
    <dgm:pt modelId="{50147886-EAE7-4BEB-BA6C-F68DA6BF58EE}">
      <dgm:prSet custT="1"/>
      <dgm:spPr/>
      <dgm:t>
        <a:bodyPr/>
        <a:lstStyle/>
        <a:p>
          <a:pPr>
            <a:lnSpc>
              <a:spcPct val="150000"/>
            </a:lnSpc>
            <a:buFont typeface="Wingdings" panose="05000000000000000000" pitchFamily="2" charset="2"/>
            <a:buChar char="ü"/>
          </a:pPr>
          <a:r>
            <a:rPr lang="en-GB" sz="1100" dirty="0"/>
            <a:t>Secure your tenant</a:t>
          </a:r>
        </a:p>
      </dgm:t>
    </dgm:pt>
    <dgm:pt modelId="{1B03D5B8-A550-4C3B-B659-4BB18866FEE6}" type="parTrans" cxnId="{2ACC45BA-7497-47FE-AD13-958DF8311CFE}">
      <dgm:prSet/>
      <dgm:spPr/>
      <dgm:t>
        <a:bodyPr/>
        <a:lstStyle/>
        <a:p>
          <a:endParaRPr lang="en-GB"/>
        </a:p>
      </dgm:t>
    </dgm:pt>
    <dgm:pt modelId="{897C281A-AF25-4C78-B51E-5272CB605DBE}" type="sibTrans" cxnId="{2ACC45BA-7497-47FE-AD13-958DF8311CFE}">
      <dgm:prSet/>
      <dgm:spPr/>
      <dgm:t>
        <a:bodyPr/>
        <a:lstStyle/>
        <a:p>
          <a:endParaRPr lang="en-GB"/>
        </a:p>
      </dgm:t>
    </dgm:pt>
    <dgm:pt modelId="{40585278-DF6A-4768-8168-AFAA3D149FEC}">
      <dgm:prSet custT="1"/>
      <dgm:spPr/>
      <dgm:t>
        <a:bodyPr/>
        <a:lstStyle/>
        <a:p>
          <a:pPr>
            <a:lnSpc>
              <a:spcPct val="150000"/>
            </a:lnSpc>
            <a:buFont typeface="Wingdings" panose="05000000000000000000" pitchFamily="2" charset="2"/>
            <a:buChar char="ü"/>
          </a:pPr>
          <a:r>
            <a:rPr lang="en-GB" sz="1100" dirty="0"/>
            <a:t>Monitor your tenant’s activity</a:t>
          </a:r>
        </a:p>
      </dgm:t>
    </dgm:pt>
    <dgm:pt modelId="{5C50C266-A519-446A-82D8-B40D8304A1B7}" type="parTrans" cxnId="{DB52AA9F-F9CC-4A8E-AB0E-33BCDB036D5E}">
      <dgm:prSet/>
      <dgm:spPr/>
      <dgm:t>
        <a:bodyPr/>
        <a:lstStyle/>
        <a:p>
          <a:endParaRPr lang="en-GB"/>
        </a:p>
      </dgm:t>
    </dgm:pt>
    <dgm:pt modelId="{95C3AD48-8DBD-458D-B6BC-D77382399005}" type="sibTrans" cxnId="{DB52AA9F-F9CC-4A8E-AB0E-33BCDB036D5E}">
      <dgm:prSet/>
      <dgm:spPr/>
      <dgm:t>
        <a:bodyPr/>
        <a:lstStyle/>
        <a:p>
          <a:endParaRPr lang="en-GB"/>
        </a:p>
      </dgm:t>
    </dgm:pt>
    <dgm:pt modelId="{88D93969-2262-4FB9-8705-4D141334E937}">
      <dgm:prSet custT="1"/>
      <dgm:spPr/>
      <dgm:t>
        <a:bodyPr/>
        <a:lstStyle/>
        <a:p>
          <a:pPr>
            <a:lnSpc>
              <a:spcPct val="150000"/>
            </a:lnSpc>
            <a:buFont typeface="Wingdings" panose="05000000000000000000" pitchFamily="2" charset="2"/>
            <a:buChar char="ü"/>
          </a:pPr>
          <a:r>
            <a:rPr lang="en-US" sz="1100" dirty="0"/>
            <a:t>Alert &amp; act on that activity</a:t>
          </a:r>
          <a:endParaRPr lang="en-GB" sz="1100" dirty="0"/>
        </a:p>
      </dgm:t>
    </dgm:pt>
    <dgm:pt modelId="{8A21C158-BC6D-470C-B4B1-9EEF6E089342}" type="parTrans" cxnId="{1E130DC6-DD45-4BC4-825A-5EB61C250B47}">
      <dgm:prSet/>
      <dgm:spPr/>
      <dgm:t>
        <a:bodyPr/>
        <a:lstStyle/>
        <a:p>
          <a:endParaRPr lang="en-GB"/>
        </a:p>
      </dgm:t>
    </dgm:pt>
    <dgm:pt modelId="{32EE6A0F-BF28-43FD-9D4A-636DBEF2E24A}" type="sibTrans" cxnId="{1E130DC6-DD45-4BC4-825A-5EB61C250B47}">
      <dgm:prSet/>
      <dgm:spPr/>
      <dgm:t>
        <a:bodyPr/>
        <a:lstStyle/>
        <a:p>
          <a:endParaRPr lang="en-GB"/>
        </a:p>
      </dgm:t>
    </dgm:pt>
    <dgm:pt modelId="{9610126D-8E49-4BC7-A0DB-A630B3EC4789}">
      <dgm:prSet custT="1"/>
      <dgm:spPr/>
      <dgm:t>
        <a:bodyPr/>
        <a:lstStyle/>
        <a:p>
          <a:pPr>
            <a:lnSpc>
              <a:spcPct val="150000"/>
            </a:lnSpc>
            <a:buFont typeface="Wingdings" panose="05000000000000000000" pitchFamily="2" charset="2"/>
            <a:buChar char="ü"/>
          </a:pPr>
          <a:r>
            <a:rPr lang="en-GB" sz="1100" dirty="0"/>
            <a:t>Connectors</a:t>
          </a:r>
        </a:p>
      </dgm:t>
    </dgm:pt>
    <dgm:pt modelId="{FE2D0D8C-3E21-4CC2-9CAE-769532D3A206}" type="parTrans" cxnId="{0958170B-19A0-4708-9E20-DA0354686925}">
      <dgm:prSet/>
      <dgm:spPr/>
      <dgm:t>
        <a:bodyPr/>
        <a:lstStyle/>
        <a:p>
          <a:endParaRPr lang="en-GB"/>
        </a:p>
      </dgm:t>
    </dgm:pt>
    <dgm:pt modelId="{360FF09A-39B9-4FE3-827D-582816FF646C}" type="sibTrans" cxnId="{0958170B-19A0-4708-9E20-DA0354686925}">
      <dgm:prSet/>
      <dgm:spPr/>
      <dgm:t>
        <a:bodyPr/>
        <a:lstStyle/>
        <a:p>
          <a:endParaRPr lang="en-GB"/>
        </a:p>
      </dgm:t>
    </dgm:pt>
    <dgm:pt modelId="{624CB385-66B0-4EAE-9A0D-21C51F23C0FF}">
      <dgm:prSet custT="1"/>
      <dgm:spPr/>
      <dgm:t>
        <a:bodyPr/>
        <a:lstStyle/>
        <a:p>
          <a:pPr>
            <a:lnSpc>
              <a:spcPct val="150000"/>
            </a:lnSpc>
            <a:buFont typeface="Wingdings" panose="05000000000000000000" pitchFamily="2" charset="2"/>
            <a:buChar char="ü"/>
          </a:pPr>
          <a:r>
            <a:rPr lang="en-GB" sz="1100" dirty="0"/>
            <a:t>SharePoint Integration</a:t>
          </a:r>
        </a:p>
      </dgm:t>
    </dgm:pt>
    <dgm:pt modelId="{17722B10-61BA-4CF9-80CB-DC8F73C4175C}" type="parTrans" cxnId="{1394BDFB-E727-409D-8BB5-D3D2E6E5358D}">
      <dgm:prSet/>
      <dgm:spPr/>
      <dgm:t>
        <a:bodyPr/>
        <a:lstStyle/>
        <a:p>
          <a:endParaRPr lang="en-GB"/>
        </a:p>
      </dgm:t>
    </dgm:pt>
    <dgm:pt modelId="{FEDFE2F1-E7A6-4E9A-BE0B-1D277CEBFD8C}" type="sibTrans" cxnId="{1394BDFB-E727-409D-8BB5-D3D2E6E5358D}">
      <dgm:prSet/>
      <dgm:spPr/>
      <dgm:t>
        <a:bodyPr/>
        <a:lstStyle/>
        <a:p>
          <a:endParaRPr lang="en-GB"/>
        </a:p>
      </dgm:t>
    </dgm:pt>
    <dgm:pt modelId="{6A0DAC46-074E-44D5-BC93-2A28D37093F5}">
      <dgm:prSet custT="1"/>
      <dgm:spPr/>
      <dgm:t>
        <a:bodyPr/>
        <a:lstStyle/>
        <a:p>
          <a:pPr>
            <a:lnSpc>
              <a:spcPct val="150000"/>
            </a:lnSpc>
            <a:buFont typeface="Wingdings" panose="05000000000000000000" pitchFamily="2" charset="2"/>
            <a:buChar char="ü"/>
          </a:pPr>
          <a:r>
            <a:rPr lang="en-GB" sz="1100" dirty="0"/>
            <a:t>Demo</a:t>
          </a:r>
        </a:p>
      </dgm:t>
    </dgm:pt>
    <dgm:pt modelId="{5BD27BA4-E4AD-4969-8558-62A55EE05DA6}" type="parTrans" cxnId="{E96547F9-7650-4953-B80F-A932BA8449D0}">
      <dgm:prSet/>
      <dgm:spPr/>
      <dgm:t>
        <a:bodyPr/>
        <a:lstStyle/>
        <a:p>
          <a:endParaRPr lang="en-GB"/>
        </a:p>
      </dgm:t>
    </dgm:pt>
    <dgm:pt modelId="{196479E3-B851-4A29-AAD0-46354CAD7D02}" type="sibTrans" cxnId="{E96547F9-7650-4953-B80F-A932BA8449D0}">
      <dgm:prSet/>
      <dgm:spPr/>
      <dgm:t>
        <a:bodyPr/>
        <a:lstStyle/>
        <a:p>
          <a:endParaRPr lang="en-GB"/>
        </a:p>
      </dgm:t>
    </dgm:pt>
    <dgm:pt modelId="{5DE25A94-6918-4273-9B5D-514CB3F59858}">
      <dgm:prSet custT="1"/>
      <dgm:spPr/>
      <dgm:t>
        <a:bodyPr/>
        <a:lstStyle/>
        <a:p>
          <a:pPr>
            <a:lnSpc>
              <a:spcPct val="150000"/>
            </a:lnSpc>
            <a:buFont typeface="Wingdings" panose="05000000000000000000" pitchFamily="2" charset="2"/>
            <a:buChar char="ü"/>
          </a:pPr>
          <a:r>
            <a:rPr lang="en-GB" sz="1100" dirty="0"/>
            <a:t>Nurture more demand</a:t>
          </a:r>
        </a:p>
      </dgm:t>
    </dgm:pt>
    <dgm:pt modelId="{78ABE27B-1C98-4453-8F3E-300A620CDC95}" type="parTrans" cxnId="{C705DF45-B0B7-41EF-8645-435515E6A266}">
      <dgm:prSet/>
      <dgm:spPr/>
      <dgm:t>
        <a:bodyPr/>
        <a:lstStyle/>
        <a:p>
          <a:endParaRPr lang="en-GB"/>
        </a:p>
      </dgm:t>
    </dgm:pt>
    <dgm:pt modelId="{02691541-E1A8-4AF1-B616-21CEAD1D89BB}" type="sibTrans" cxnId="{C705DF45-B0B7-41EF-8645-435515E6A266}">
      <dgm:prSet/>
      <dgm:spPr/>
      <dgm:t>
        <a:bodyPr/>
        <a:lstStyle/>
        <a:p>
          <a:endParaRPr lang="en-GB"/>
        </a:p>
      </dgm:t>
    </dgm:pt>
    <dgm:pt modelId="{AA78ED3C-C951-4F58-9959-01105C3C2617}">
      <dgm:prSet custT="1"/>
      <dgm:spPr/>
      <dgm:t>
        <a:bodyPr/>
        <a:lstStyle/>
        <a:p>
          <a:pPr>
            <a:lnSpc>
              <a:spcPct val="150000"/>
            </a:lnSpc>
            <a:buFont typeface="Wingdings" panose="05000000000000000000" pitchFamily="2" charset="2"/>
            <a:buChar char="ü"/>
          </a:pPr>
          <a:r>
            <a:rPr lang="en-GB" sz="1100" dirty="0"/>
            <a:t>Personalize buyer experiences</a:t>
          </a:r>
        </a:p>
      </dgm:t>
    </dgm:pt>
    <dgm:pt modelId="{80E848FA-6CC9-40FF-8A2E-3A173477A632}" type="parTrans" cxnId="{B8C83676-32B6-414D-87A3-58819BB77685}">
      <dgm:prSet/>
      <dgm:spPr/>
      <dgm:t>
        <a:bodyPr/>
        <a:lstStyle/>
        <a:p>
          <a:endParaRPr lang="en-GB"/>
        </a:p>
      </dgm:t>
    </dgm:pt>
    <dgm:pt modelId="{B7695E07-7C98-439E-95ED-062A66649E8F}" type="sibTrans" cxnId="{B8C83676-32B6-414D-87A3-58819BB77685}">
      <dgm:prSet/>
      <dgm:spPr/>
      <dgm:t>
        <a:bodyPr/>
        <a:lstStyle/>
        <a:p>
          <a:endParaRPr lang="en-GB"/>
        </a:p>
      </dgm:t>
    </dgm:pt>
    <dgm:pt modelId="{B63A16E6-9473-45C1-842F-291CED23CD78}">
      <dgm:prSet custT="1"/>
      <dgm:spPr/>
      <dgm:t>
        <a:bodyPr/>
        <a:lstStyle/>
        <a:p>
          <a:pPr>
            <a:lnSpc>
              <a:spcPct val="150000"/>
            </a:lnSpc>
            <a:buFont typeface="Wingdings" panose="05000000000000000000" pitchFamily="2" charset="2"/>
            <a:buChar char="ü"/>
          </a:pPr>
          <a:r>
            <a:rPr lang="en-GB" sz="1100" dirty="0"/>
            <a:t>Build relationships at scale</a:t>
          </a:r>
        </a:p>
      </dgm:t>
    </dgm:pt>
    <dgm:pt modelId="{963CE28C-C1FE-46E3-AC82-1DFE8726E821}" type="parTrans" cxnId="{344F834E-2FCD-4079-840F-2D579BC3381A}">
      <dgm:prSet/>
      <dgm:spPr/>
      <dgm:t>
        <a:bodyPr/>
        <a:lstStyle/>
        <a:p>
          <a:endParaRPr lang="en-GB"/>
        </a:p>
      </dgm:t>
    </dgm:pt>
    <dgm:pt modelId="{0388097F-781A-4438-A3B7-D80A77EFD73E}" type="sibTrans" cxnId="{344F834E-2FCD-4079-840F-2D579BC3381A}">
      <dgm:prSet/>
      <dgm:spPr/>
      <dgm:t>
        <a:bodyPr/>
        <a:lstStyle/>
        <a:p>
          <a:endParaRPr lang="en-GB"/>
        </a:p>
      </dgm:t>
    </dgm:pt>
    <dgm:pt modelId="{36C762CA-9B14-40FD-A3BF-8E60E97AACB0}">
      <dgm:prSet custT="1"/>
      <dgm:spPr/>
      <dgm:t>
        <a:bodyPr/>
        <a:lstStyle/>
        <a:p>
          <a:pPr>
            <a:lnSpc>
              <a:spcPct val="150000"/>
            </a:lnSpc>
            <a:buFont typeface="Wingdings" panose="05000000000000000000" pitchFamily="2" charset="2"/>
            <a:buChar char="ü"/>
          </a:pPr>
          <a:r>
            <a:rPr lang="en-GB" sz="1100" dirty="0"/>
            <a:t>Make insight-driven decisions</a:t>
          </a:r>
        </a:p>
      </dgm:t>
    </dgm:pt>
    <dgm:pt modelId="{F662D8E3-E924-425F-94A3-F55106F815C5}" type="parTrans" cxnId="{A05C5356-BBB8-4364-AED6-495052AA1745}">
      <dgm:prSet/>
      <dgm:spPr/>
      <dgm:t>
        <a:bodyPr/>
        <a:lstStyle/>
        <a:p>
          <a:endParaRPr lang="en-GB"/>
        </a:p>
      </dgm:t>
    </dgm:pt>
    <dgm:pt modelId="{003494B5-C1F6-4CF6-91FF-D780D59A26B3}" type="sibTrans" cxnId="{A05C5356-BBB8-4364-AED6-495052AA1745}">
      <dgm:prSet/>
      <dgm:spPr/>
      <dgm:t>
        <a:bodyPr/>
        <a:lstStyle/>
        <a:p>
          <a:endParaRPr lang="en-GB"/>
        </a:p>
      </dgm:t>
    </dgm:pt>
    <dgm:pt modelId="{7AE03F6D-A0A5-4C20-BC13-21EF09DC5CC4}">
      <dgm:prSet custT="1"/>
      <dgm:spPr/>
      <dgm:t>
        <a:bodyPr/>
        <a:lstStyle/>
        <a:p>
          <a:pPr>
            <a:lnSpc>
              <a:spcPct val="150000"/>
            </a:lnSpc>
            <a:buFont typeface="Wingdings" panose="05000000000000000000" pitchFamily="2" charset="2"/>
            <a:buChar char="ü"/>
          </a:pPr>
          <a:r>
            <a:rPr lang="en-GB" sz="1100" dirty="0"/>
            <a:t>Demo</a:t>
          </a:r>
        </a:p>
      </dgm:t>
    </dgm:pt>
    <dgm:pt modelId="{06A9F93A-0F99-4DC0-AEE7-1C0B6A7249ED}" type="parTrans" cxnId="{12DA2772-2668-4319-8BD4-996C308E4C5C}">
      <dgm:prSet/>
      <dgm:spPr/>
      <dgm:t>
        <a:bodyPr/>
        <a:lstStyle/>
        <a:p>
          <a:endParaRPr lang="en-GB"/>
        </a:p>
      </dgm:t>
    </dgm:pt>
    <dgm:pt modelId="{D09FAE38-C505-4352-9685-99BB2BAB1ACF}" type="sibTrans" cxnId="{12DA2772-2668-4319-8BD4-996C308E4C5C}">
      <dgm:prSet/>
      <dgm:spPr/>
      <dgm:t>
        <a:bodyPr/>
        <a:lstStyle/>
        <a:p>
          <a:endParaRPr lang="en-GB"/>
        </a:p>
      </dgm:t>
    </dgm:pt>
    <dgm:pt modelId="{D8FFB6A3-E449-44EE-97FD-14B7E5F1F078}">
      <dgm:prSet custT="1"/>
      <dgm:spPr/>
      <dgm:t>
        <a:bodyPr/>
        <a:lstStyle/>
        <a:p>
          <a:pPr>
            <a:lnSpc>
              <a:spcPct val="150000"/>
            </a:lnSpc>
            <a:buFont typeface="Wingdings" panose="05000000000000000000" pitchFamily="2" charset="2"/>
            <a:buChar char="ü"/>
          </a:pPr>
          <a:r>
            <a:rPr lang="en-US" sz="1100" dirty="0"/>
            <a:t>How to embed Power BI in Dynamics 365 for Sales and Marketing</a:t>
          </a:r>
          <a:endParaRPr lang="en-GB" sz="1100" dirty="0"/>
        </a:p>
      </dgm:t>
    </dgm:pt>
    <dgm:pt modelId="{F271BF60-0D47-4E01-B8F0-23881EE9F385}" type="parTrans" cxnId="{3630CF93-9C0F-42C1-A7E3-12BADA9ACFE4}">
      <dgm:prSet/>
      <dgm:spPr/>
      <dgm:t>
        <a:bodyPr/>
        <a:lstStyle/>
        <a:p>
          <a:endParaRPr lang="en-GB"/>
        </a:p>
      </dgm:t>
    </dgm:pt>
    <dgm:pt modelId="{ACE66685-E908-479E-9B13-3E728B89578C}" type="sibTrans" cxnId="{3630CF93-9C0F-42C1-A7E3-12BADA9ACFE4}">
      <dgm:prSet/>
      <dgm:spPr/>
      <dgm:t>
        <a:bodyPr/>
        <a:lstStyle/>
        <a:p>
          <a:endParaRPr lang="en-GB"/>
        </a:p>
      </dgm:t>
    </dgm:pt>
    <dgm:pt modelId="{D8175AF9-F842-45F9-97DC-C69B2B6BBF53}">
      <dgm:prSet custT="1"/>
      <dgm:spPr/>
      <dgm:t>
        <a:bodyPr/>
        <a:lstStyle/>
        <a:p>
          <a:pPr>
            <a:lnSpc>
              <a:spcPct val="90000"/>
            </a:lnSpc>
          </a:pPr>
          <a:endParaRPr lang="en-GB" sz="1100" dirty="0"/>
        </a:p>
      </dgm:t>
    </dgm:pt>
    <dgm:pt modelId="{790B86D8-9779-4A95-9728-106B465CDD3C}" type="parTrans" cxnId="{7DEDE6A6-D5F6-4AFA-95DA-0F65625C743C}">
      <dgm:prSet/>
      <dgm:spPr/>
      <dgm:t>
        <a:bodyPr/>
        <a:lstStyle/>
        <a:p>
          <a:endParaRPr lang="en-GB"/>
        </a:p>
      </dgm:t>
    </dgm:pt>
    <dgm:pt modelId="{513B4DA5-7C2B-4D4D-9C48-E13269E1158D}" type="sibTrans" cxnId="{7DEDE6A6-D5F6-4AFA-95DA-0F65625C743C}">
      <dgm:prSet/>
      <dgm:spPr/>
      <dgm:t>
        <a:bodyPr/>
        <a:lstStyle/>
        <a:p>
          <a:endParaRPr lang="en-GB"/>
        </a:p>
      </dgm:t>
    </dgm:pt>
    <dgm:pt modelId="{64E96588-FE38-461A-86E9-A906D86DCC26}">
      <dgm:prSet custT="1"/>
      <dgm:spPr/>
      <dgm:t>
        <a:bodyPr/>
        <a:lstStyle/>
        <a:p>
          <a:pPr>
            <a:lnSpc>
              <a:spcPct val="150000"/>
            </a:lnSpc>
            <a:buFont typeface="Wingdings" panose="05000000000000000000" pitchFamily="2" charset="2"/>
            <a:buChar char="ü"/>
          </a:pPr>
          <a:r>
            <a:rPr lang="en-GB" sz="1100" dirty="0"/>
            <a:t>Technology Modernization</a:t>
          </a:r>
        </a:p>
      </dgm:t>
    </dgm:pt>
    <dgm:pt modelId="{D7A120CD-4392-413A-ABC5-98D875D6E7C0}" type="parTrans" cxnId="{075C9F0C-63F0-4997-AEC1-CCAF5A0C78DF}">
      <dgm:prSet/>
      <dgm:spPr/>
      <dgm:t>
        <a:bodyPr/>
        <a:lstStyle/>
        <a:p>
          <a:endParaRPr lang="en-GB"/>
        </a:p>
      </dgm:t>
    </dgm:pt>
    <dgm:pt modelId="{9C97479B-1091-454C-918F-895D3FE31D91}" type="sibTrans" cxnId="{075C9F0C-63F0-4997-AEC1-CCAF5A0C78DF}">
      <dgm:prSet/>
      <dgm:spPr/>
      <dgm:t>
        <a:bodyPr/>
        <a:lstStyle/>
        <a:p>
          <a:endParaRPr lang="en-GB"/>
        </a:p>
      </dgm:t>
    </dgm:pt>
    <dgm:pt modelId="{76AC8794-74F4-4EA8-BA8C-A90781232F54}">
      <dgm:prSet custT="1"/>
      <dgm:spPr/>
      <dgm:t>
        <a:bodyPr/>
        <a:lstStyle/>
        <a:p>
          <a:pPr>
            <a:lnSpc>
              <a:spcPct val="150000"/>
            </a:lnSpc>
            <a:buFont typeface="Wingdings" panose="05000000000000000000" pitchFamily="2" charset="2"/>
            <a:buChar char="ü"/>
          </a:pPr>
          <a:r>
            <a:rPr lang="en-GB" sz="1100" dirty="0"/>
            <a:t>Modern Finance</a:t>
          </a:r>
        </a:p>
      </dgm:t>
    </dgm:pt>
    <dgm:pt modelId="{4BCE2351-28E8-4364-8A5F-1B2A645300C4}" type="parTrans" cxnId="{378405E4-A10D-4798-8747-535349689E09}">
      <dgm:prSet/>
      <dgm:spPr/>
      <dgm:t>
        <a:bodyPr/>
        <a:lstStyle/>
        <a:p>
          <a:endParaRPr lang="en-GB"/>
        </a:p>
      </dgm:t>
    </dgm:pt>
    <dgm:pt modelId="{3E08878A-DE6F-4142-AE2A-F9927837BFB7}" type="sibTrans" cxnId="{378405E4-A10D-4798-8747-535349689E09}">
      <dgm:prSet/>
      <dgm:spPr/>
      <dgm:t>
        <a:bodyPr/>
        <a:lstStyle/>
        <a:p>
          <a:endParaRPr lang="en-GB"/>
        </a:p>
      </dgm:t>
    </dgm:pt>
    <dgm:pt modelId="{983CF14A-D540-41C7-985B-5652F41CF489}">
      <dgm:prSet custT="1"/>
      <dgm:spPr/>
      <dgm:t>
        <a:bodyPr/>
        <a:lstStyle/>
        <a:p>
          <a:pPr>
            <a:lnSpc>
              <a:spcPct val="150000"/>
            </a:lnSpc>
            <a:buFont typeface="Wingdings" panose="05000000000000000000" pitchFamily="2" charset="2"/>
            <a:buChar char="ü"/>
          </a:pPr>
          <a:r>
            <a:rPr lang="en-US" sz="1100" dirty="0"/>
            <a:t>Supporting modern supply chain management</a:t>
          </a:r>
          <a:endParaRPr lang="en-GB" sz="1100" dirty="0"/>
        </a:p>
      </dgm:t>
    </dgm:pt>
    <dgm:pt modelId="{2D2DEC59-26A6-45BD-B642-8013356B7F56}" type="parTrans" cxnId="{E4EF17E2-2DCE-43D5-936E-214CA1E7EA30}">
      <dgm:prSet/>
      <dgm:spPr/>
      <dgm:t>
        <a:bodyPr/>
        <a:lstStyle/>
        <a:p>
          <a:endParaRPr lang="en-GB"/>
        </a:p>
      </dgm:t>
    </dgm:pt>
    <dgm:pt modelId="{7A8877E4-83D1-47A7-9E1F-B6AA2D71D1A3}" type="sibTrans" cxnId="{E4EF17E2-2DCE-43D5-936E-214CA1E7EA30}">
      <dgm:prSet/>
      <dgm:spPr/>
      <dgm:t>
        <a:bodyPr/>
        <a:lstStyle/>
        <a:p>
          <a:endParaRPr lang="en-GB"/>
        </a:p>
      </dgm:t>
    </dgm:pt>
    <dgm:pt modelId="{269A5C72-57AF-4EA0-ACCE-C59B69488E35}">
      <dgm:prSet custT="1"/>
      <dgm:spPr/>
      <dgm:t>
        <a:bodyPr/>
        <a:lstStyle/>
        <a:p>
          <a:pPr>
            <a:lnSpc>
              <a:spcPct val="150000"/>
            </a:lnSpc>
            <a:buFont typeface="Wingdings" panose="05000000000000000000" pitchFamily="2" charset="2"/>
            <a:buChar char="ü"/>
          </a:pPr>
          <a:r>
            <a:rPr lang="en-GB" sz="1100" dirty="0"/>
            <a:t>Demo</a:t>
          </a:r>
        </a:p>
      </dgm:t>
    </dgm:pt>
    <dgm:pt modelId="{6730243B-63FA-4E3A-A384-7D02129EAE6A}" type="parTrans" cxnId="{2BCA7075-362C-4C9A-8187-DB08620C2EBE}">
      <dgm:prSet/>
      <dgm:spPr/>
      <dgm:t>
        <a:bodyPr/>
        <a:lstStyle/>
        <a:p>
          <a:endParaRPr lang="en-GB"/>
        </a:p>
      </dgm:t>
    </dgm:pt>
    <dgm:pt modelId="{0F39171B-4944-4D51-B092-A62959DD54B0}" type="sibTrans" cxnId="{2BCA7075-362C-4C9A-8187-DB08620C2EBE}">
      <dgm:prSet/>
      <dgm:spPr/>
      <dgm:t>
        <a:bodyPr/>
        <a:lstStyle/>
        <a:p>
          <a:endParaRPr lang="en-GB"/>
        </a:p>
      </dgm:t>
    </dgm:pt>
    <dgm:pt modelId="{C03E8993-A79B-42AB-A8B0-114B44B9CC95}">
      <dgm:prSet custT="1"/>
      <dgm:spPr/>
      <dgm:t>
        <a:bodyPr/>
        <a:lstStyle/>
        <a:p>
          <a:pPr>
            <a:lnSpc>
              <a:spcPct val="150000"/>
            </a:lnSpc>
            <a:buFont typeface="Wingdings" panose="05000000000000000000" pitchFamily="2" charset="2"/>
            <a:buChar char="ü"/>
          </a:pPr>
          <a:r>
            <a:rPr lang="en-US" sz="1100" dirty="0"/>
            <a:t>How to embed Power Platform in Dynamics 365 for Finance and Supply Chain</a:t>
          </a:r>
          <a:endParaRPr lang="en-GB" sz="1100" dirty="0"/>
        </a:p>
      </dgm:t>
    </dgm:pt>
    <dgm:pt modelId="{6CE51B56-EDEB-4A12-9717-AF24FF516E96}" type="parTrans" cxnId="{6C73AE07-2714-457D-B055-EC2073E86DFB}">
      <dgm:prSet/>
      <dgm:spPr/>
      <dgm:t>
        <a:bodyPr/>
        <a:lstStyle/>
        <a:p>
          <a:endParaRPr lang="en-GB"/>
        </a:p>
      </dgm:t>
    </dgm:pt>
    <dgm:pt modelId="{B4D73C8B-35DB-491F-B63F-33545E6B64BB}" type="sibTrans" cxnId="{6C73AE07-2714-457D-B055-EC2073E86DFB}">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5">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5">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5">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5">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5">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5">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5">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5">
        <dgm:presLayoutVars>
          <dgm:bulletEnabled val="1"/>
        </dgm:presLayoutVars>
      </dgm:prSet>
      <dgm:spPr/>
    </dgm:pt>
    <dgm:pt modelId="{69C599F4-9B2F-43FB-B2EB-916089C95F3A}" type="pres">
      <dgm:prSet presAssocID="{02641D1F-193F-4370-8212-3D28CA0839D7}" presName="space" presStyleCnt="0"/>
      <dgm:spPr/>
    </dgm:pt>
    <dgm:pt modelId="{A6FA747B-F96D-4BB7-9CAA-697BD5717906}" type="pres">
      <dgm:prSet presAssocID="{DF86A6E5-580E-4F2A-B223-B458E5A97CE4}" presName="composite" presStyleCnt="0"/>
      <dgm:spPr/>
    </dgm:pt>
    <dgm:pt modelId="{19CDF2AB-3B0B-41CB-AD00-E99839314F1A}" type="pres">
      <dgm:prSet presAssocID="{DF86A6E5-580E-4F2A-B223-B458E5A97CE4}" presName="parTx" presStyleLbl="alignNode1" presStyleIdx="4" presStyleCnt="5">
        <dgm:presLayoutVars>
          <dgm:chMax val="0"/>
          <dgm:chPref val="0"/>
          <dgm:bulletEnabled val="1"/>
        </dgm:presLayoutVars>
      </dgm:prSet>
      <dgm:spPr/>
    </dgm:pt>
    <dgm:pt modelId="{6BCC47BA-0C21-4EC9-8F7B-D9BCA5C8EC21}" type="pres">
      <dgm:prSet presAssocID="{DF86A6E5-580E-4F2A-B223-B458E5A97CE4}" presName="desTx" presStyleLbl="alignAccFollowNode1" presStyleIdx="4" presStyleCnt="5">
        <dgm:presLayoutVars>
          <dgm:bulletEnabled val="1"/>
        </dgm:presLayoutVars>
      </dgm:prSet>
      <dgm:spPr/>
    </dgm:pt>
  </dgm:ptLst>
  <dgm:cxnLst>
    <dgm:cxn modelId="{8683EF00-FA0E-44C4-B5C4-46EDF42D1A4F}" type="presOf" srcId="{36C762CA-9B14-40FD-A3BF-8E60E97AACB0}" destId="{569DA3D3-C2E5-4089-A6F0-CF7A0DE5293E}" srcOrd="0" destOrd="4" presId="urn:microsoft.com/office/officeart/2005/8/layout/hList1"/>
    <dgm:cxn modelId="{67B61E06-C718-408A-8144-2C325A99B7CD}" type="presOf" srcId="{6A0DAC46-074E-44D5-BC93-2A28D37093F5}" destId="{FE6D297C-C9E0-4A7D-A12A-BA53DEE78AEC}" srcOrd="0" destOrd="6" presId="urn:microsoft.com/office/officeart/2005/8/layout/hList1"/>
    <dgm:cxn modelId="{6C73AE07-2714-457D-B055-EC2073E86DFB}" srcId="{DF86A6E5-580E-4F2A-B223-B458E5A97CE4}" destId="{C03E8993-A79B-42AB-A8B0-114B44B9CC95}" srcOrd="5" destOrd="0" parTransId="{6CE51B56-EDEB-4A12-9717-AF24FF516E96}" sibTransId="{B4D73C8B-35DB-491F-B63F-33545E6B64BB}"/>
    <dgm:cxn modelId="{33F1A608-4DA9-4826-AF52-36D4C55E4E04}" srcId="{AA0CC1A4-89B3-4AA2-AE39-4C1399639CA2}" destId="{C6F6A35E-EF9D-42DB-9F6B-51AFF90BC98C}" srcOrd="0" destOrd="0" parTransId="{4BE4706B-ADBA-4294-8DC4-FD7F07C201E2}" sibTransId="{5C687E63-B55E-4016-81AC-60C7B4AB88A6}"/>
    <dgm:cxn modelId="{0958170B-19A0-4708-9E20-DA0354686925}" srcId="{AA0CC1A4-89B3-4AA2-AE39-4C1399639CA2}" destId="{9610126D-8E49-4BC7-A0DB-A630B3EC4789}" srcOrd="4" destOrd="0" parTransId="{FE2D0D8C-3E21-4CC2-9CAE-769532D3A206}" sibTransId="{360FF09A-39B9-4FE3-827D-582816FF646C}"/>
    <dgm:cxn modelId="{E8DA770B-D9C7-4BFD-A4F9-3795018ED850}" type="presOf" srcId="{64E96588-FE38-461A-86E9-A906D86DCC26}" destId="{6BCC47BA-0C21-4EC9-8F7B-D9BCA5C8EC21}" srcOrd="0" destOrd="1" presId="urn:microsoft.com/office/officeart/2005/8/layout/hList1"/>
    <dgm:cxn modelId="{075C9F0C-63F0-4997-AEC1-CCAF5A0C78DF}" srcId="{DF86A6E5-580E-4F2A-B223-B458E5A97CE4}" destId="{64E96588-FE38-461A-86E9-A906D86DCC26}" srcOrd="1" destOrd="0" parTransId="{D7A120CD-4392-413A-ABC5-98D875D6E7C0}" sibTransId="{9C97479B-1091-454C-918F-895D3FE31D91}"/>
    <dgm:cxn modelId="{E3ED610E-D840-4A47-82CA-1963CEA02A3D}" srcId="{AC11CA59-F486-473C-AE1A-BD3E159BD48A}" destId="{DF86A6E5-580E-4F2A-B223-B458E5A97CE4}" srcOrd="4" destOrd="0" parTransId="{A3F965A0-4DFA-4DB1-BF22-9BD549EB3157}" sibTransId="{A2239809-CB4C-48EC-8779-BE5C55EB41C1}"/>
    <dgm:cxn modelId="{265B1D10-B47E-4005-88BD-ACD4C1855A5A}" type="presOf" srcId="{5DE25A94-6918-4273-9B5D-514CB3F59858}" destId="{569DA3D3-C2E5-4089-A6F0-CF7A0DE5293E}" srcOrd="0" destOrd="1" presId="urn:microsoft.com/office/officeart/2005/8/layout/hList1"/>
    <dgm:cxn modelId="{63B43A14-C1C7-4969-9D55-767EF24D6B21}" type="presOf" srcId="{B1D56709-3A7C-4639-9F64-8CF2DFC1EEAF}" destId="{F9540AD5-4F34-4720-A853-23023519F2F5}" srcOrd="0" destOrd="6" presId="urn:microsoft.com/office/officeart/2005/8/layout/hList1"/>
    <dgm:cxn modelId="{01AD5014-4F28-4426-95E6-AF48D3E6D80A}" srcId="{3F8F7C63-6D9D-4496-99F3-13DF66B8EAD6}" destId="{A05F72D0-69A6-4C7B-BB38-A1A0AB843EE4}" srcOrd="4" destOrd="0" parTransId="{62F7D189-29D3-4D68-9BF0-B0FAEE19B125}" sibTransId="{74C6F7AD-BBFB-49F3-9C3B-B861D5A124C6}"/>
    <dgm:cxn modelId="{E455D314-3C2C-445D-8605-B78D41BFD70B}" type="presOf" srcId="{FC2E9FD0-AD1A-4E81-8CE8-F5387731ACC5}" destId="{6BCC47BA-0C21-4EC9-8F7B-D9BCA5C8EC21}" srcOrd="0" destOrd="0" presId="urn:microsoft.com/office/officeart/2005/8/layout/hList1"/>
    <dgm:cxn modelId="{5A99B117-83E0-4DDA-9909-5A1A6250AD18}" srcId="{3F8F7C63-6D9D-4496-99F3-13DF66B8EAD6}" destId="{B1D56709-3A7C-4639-9F64-8CF2DFC1EEAF}" srcOrd="6" destOrd="0" parTransId="{CFEBF81F-9A13-4624-9116-3E4F01E99DAC}" sibTransId="{740B5291-618D-4B35-84FE-8EE5C299203E}"/>
    <dgm:cxn modelId="{37581F1C-5334-445E-829C-72AF65A4BDB2}" type="presOf" srcId="{AA0CC1A4-89B3-4AA2-AE39-4C1399639CA2}" destId="{6D51457A-C3C5-41AF-B616-CDB4705EBFBD}" srcOrd="0" destOrd="0" presId="urn:microsoft.com/office/officeart/2005/8/layout/hList1"/>
    <dgm:cxn modelId="{C7779020-8177-4DE9-A585-ADE6595A2EDA}" type="presOf" srcId="{AA78ED3C-C951-4F58-9959-01105C3C2617}" destId="{569DA3D3-C2E5-4089-A6F0-CF7A0DE5293E}" srcOrd="0" destOrd="2" presId="urn:microsoft.com/office/officeart/2005/8/layout/hList1"/>
    <dgm:cxn modelId="{00844724-3574-4BD7-A1D7-0DDFFF3FBF87}" type="presOf" srcId="{236D48B7-63A7-4285-9C6C-7AFF01B56D9D}" destId="{CD66AAD5-A74B-4989-8AD5-348B79FA87C7}" srcOrd="0" destOrd="5" presId="urn:microsoft.com/office/officeart/2005/8/layout/hList1"/>
    <dgm:cxn modelId="{987BE227-CEAA-47DE-803C-BDCA93CF7D97}" srcId="{3F8F7C63-6D9D-4496-99F3-13DF66B8EAD6}" destId="{BCDD3C48-E5A3-4417-86F3-B7128AC5B7B1}" srcOrd="9" destOrd="0" parTransId="{10E7CB6E-2AD1-4789-8237-7BEC72F1F1FA}" sibTransId="{DFA3E833-ED9A-4EA5-ACF4-749C666265D1}"/>
    <dgm:cxn modelId="{B9CB5028-8610-4C03-8D30-E47EEEDF1F12}" srcId="{3F8F7C63-6D9D-4496-99F3-13DF66B8EAD6}" destId="{8E896EB5-DC99-4BB3-B264-36E39DE7CEC8}" srcOrd="2" destOrd="0" parTransId="{D783B99B-ADFA-4D1B-A614-77EF61E71670}" sibTransId="{C765E2B2-5B2B-4F45-B628-B6251082CF94}"/>
    <dgm:cxn modelId="{C246DF29-2B2B-4568-8ECD-83F0560A3B95}" type="presOf" srcId="{C03E8993-A79B-42AB-A8B0-114B44B9CC95}" destId="{6BCC47BA-0C21-4EC9-8F7B-D9BCA5C8EC21}" srcOrd="0" destOrd="5" presId="urn:microsoft.com/office/officeart/2005/8/layout/hList1"/>
    <dgm:cxn modelId="{95F1422B-D2D2-4C16-B913-4506C14F30E2}" srcId="{5D730ECF-5E56-4BCC-9295-01AA7310EDA9}" destId="{58A2E522-E29C-4132-AC13-C3D4E644FA3C}" srcOrd="7" destOrd="0" parTransId="{E9E5FE19-EEBB-4197-8E3C-36FFB0A95F09}" sibTransId="{5D0976C6-ACD5-49EF-BDEC-DCDD2C61531D}"/>
    <dgm:cxn modelId="{EBA7442D-1D1C-485C-91DE-AE6B91BFBDF6}" type="presOf" srcId="{88D93969-2262-4FB9-8705-4D141334E937}" destId="{FE6D297C-C9E0-4A7D-A12A-BA53DEE78AEC}" srcOrd="0" destOrd="3" presId="urn:microsoft.com/office/officeart/2005/8/layout/hList1"/>
    <dgm:cxn modelId="{C8DB1D31-2C8D-4B6A-94F7-08BAA82BDD6D}" type="presOf" srcId="{D8FFB6A3-E449-44EE-97FD-14B7E5F1F078}" destId="{569DA3D3-C2E5-4089-A6F0-CF7A0DE5293E}" srcOrd="0" destOrd="6" presId="urn:microsoft.com/office/officeart/2005/8/layout/hList1"/>
    <dgm:cxn modelId="{E85E3132-EF8A-4793-AE98-63D9F856D2F9}" type="presOf" srcId="{A05F72D0-69A6-4C7B-BB38-A1A0AB843EE4}" destId="{F9540AD5-4F34-4720-A853-23023519F2F5}" srcOrd="0" destOrd="4" presId="urn:microsoft.com/office/officeart/2005/8/layout/hList1"/>
    <dgm:cxn modelId="{BCE1AE34-6AC8-4BE5-932E-B7A04062E7C6}" type="presOf" srcId="{B63A16E6-9473-45C1-842F-291CED23CD78}" destId="{569DA3D3-C2E5-4089-A6F0-CF7A0DE5293E}" srcOrd="0" destOrd="3" presId="urn:microsoft.com/office/officeart/2005/8/layout/hList1"/>
    <dgm:cxn modelId="{E89DCC35-4170-4CB2-A20C-EB81473BF897}" srcId="{5D730ECF-5E56-4BCC-9295-01AA7310EDA9}" destId="{24E91F4A-3897-4A0C-950E-4537F3FBB810}" srcOrd="6" destOrd="0" parTransId="{3FA903BF-7730-470C-B9B9-D24374440B2F}" sibTransId="{B56624A6-8E5F-4771-B1C0-E2E7A2D5FEA7}"/>
    <dgm:cxn modelId="{AFC3B238-B524-4D9D-9277-42388877E507}" type="presOf" srcId="{76AC8794-74F4-4EA8-BA8C-A90781232F54}" destId="{6BCC47BA-0C21-4EC9-8F7B-D9BCA5C8EC21}" srcOrd="0" destOrd="2" presId="urn:microsoft.com/office/officeart/2005/8/layout/hList1"/>
    <dgm:cxn modelId="{76EEBB3B-3E89-4F18-95D8-1A19F6518923}" srcId="{3F8F7C63-6D9D-4496-99F3-13DF66B8EAD6}" destId="{DCB7BB8A-CD35-4222-952A-62E0A9CA463F}" srcOrd="7" destOrd="0" parTransId="{A5148690-8224-4448-A595-C0900FCD59F3}" sibTransId="{34E54AF9-3437-46C4-B34E-177C1564BD59}"/>
    <dgm:cxn modelId="{B0D6FD5E-D622-4C75-951D-4FCFE47F2376}" srcId="{5D730ECF-5E56-4BCC-9295-01AA7310EDA9}" destId="{3E642F35-97D9-4849-9004-96A0F376220D}" srcOrd="2" destOrd="0" parTransId="{FC0A6F24-07E2-403B-9EB3-1E68DF92A7B9}" sibTransId="{E455CF66-9B12-4FAB-A0CC-01947E2B58B4}"/>
    <dgm:cxn modelId="{E22B1161-B875-42C3-872A-BA51DEFE8537}" srcId="{3F8F7C63-6D9D-4496-99F3-13DF66B8EAD6}" destId="{03D3870E-6E12-4A4A-99E8-B07254945176}" srcOrd="5" destOrd="0" parTransId="{A33E1C08-23D8-4E14-99AB-83006AD2583F}" sibTransId="{60E885CE-DE9F-4222-901B-F44A9519D4BC}"/>
    <dgm:cxn modelId="{59995761-1F05-4503-A942-A31774743FB6}" type="presOf" srcId="{A6C29D9B-FA0D-4C44-99F3-70A3C6A28ABC}" destId="{F9540AD5-4F34-4720-A853-23023519F2F5}" srcOrd="0" destOrd="3" presId="urn:microsoft.com/office/officeart/2005/8/layout/hList1"/>
    <dgm:cxn modelId="{C705DF45-B0B7-41EF-8645-435515E6A266}" srcId="{639BF8EA-4D33-4B30-911B-6776BADCAC46}" destId="{5DE25A94-6918-4273-9B5D-514CB3F59858}" srcOrd="1" destOrd="0" parTransId="{78ABE27B-1C98-4453-8F3E-300A620CDC95}" sibTransId="{02691541-E1A8-4AF1-B616-21CEAD1D89BB}"/>
    <dgm:cxn modelId="{C377A466-AD2B-45D6-AD4A-3D0F22318176}" srcId="{3F8F7C63-6D9D-4496-99F3-13DF66B8EAD6}" destId="{3FD82739-856C-477A-A9F2-F79000C2BD73}" srcOrd="8" destOrd="0" parTransId="{0D75DD0F-8D71-4417-84BC-EAD9CE83FA07}" sibTransId="{8EF37914-1361-4FCA-9D73-4AFC34BC2D51}"/>
    <dgm:cxn modelId="{F37D8A48-094D-4291-8663-3219EE933036}" type="presOf" srcId="{630C8C32-A979-40C7-BDD7-71A76577670D}" destId="{F9540AD5-4F34-4720-A853-23023519F2F5}" srcOrd="0" destOrd="0" presId="urn:microsoft.com/office/officeart/2005/8/layout/hList1"/>
    <dgm:cxn modelId="{DD6CFD48-3E16-43C5-A865-5F09FAD3FA51}" type="presOf" srcId="{24E91F4A-3897-4A0C-950E-4537F3FBB810}" destId="{CD66AAD5-A74B-4989-8AD5-348B79FA87C7}" srcOrd="0" destOrd="6" presId="urn:microsoft.com/office/officeart/2005/8/layout/hList1"/>
    <dgm:cxn modelId="{344F834E-2FCD-4079-840F-2D579BC3381A}" srcId="{639BF8EA-4D33-4B30-911B-6776BADCAC46}" destId="{B63A16E6-9473-45C1-842F-291CED23CD78}" srcOrd="3" destOrd="0" parTransId="{963CE28C-C1FE-46E3-AC82-1DFE8726E821}" sibTransId="{0388097F-781A-4438-A3B7-D80A77EFD73E}"/>
    <dgm:cxn modelId="{ADABC46F-5F7F-450F-A491-AF77B0223B23}" srcId="{3F8F7C63-6D9D-4496-99F3-13DF66B8EAD6}" destId="{ED0320A2-84EF-464D-BA55-8B9CA19360EB}" srcOrd="1" destOrd="0" parTransId="{733CED72-31D7-4D0C-A15C-D7391E674E4A}" sibTransId="{4A1D8552-EF71-45FB-A7C5-E3AF0407CC2D}"/>
    <dgm:cxn modelId="{46F53550-0107-4711-901A-8C35D4679E93}" type="presOf" srcId="{3F8F7C63-6D9D-4496-99F3-13DF66B8EAD6}" destId="{DEBF50E0-4517-471F-B18E-2795B1F5C0A8}" srcOrd="0" destOrd="0" presId="urn:microsoft.com/office/officeart/2005/8/layout/hList1"/>
    <dgm:cxn modelId="{12DA2772-2668-4319-8BD4-996C308E4C5C}" srcId="{639BF8EA-4D33-4B30-911B-6776BADCAC46}" destId="{7AE03F6D-A0A5-4C20-BC13-21EF09DC5CC4}" srcOrd="5" destOrd="0" parTransId="{06A9F93A-0F99-4DC0-AEE7-1C0B6A7249ED}" sibTransId="{D09FAE38-C505-4352-9685-99BB2BAB1ACF}"/>
    <dgm:cxn modelId="{1D679673-5FD6-4446-B5C4-EA13252864E0}" srcId="{AC11CA59-F486-473C-AE1A-BD3E159BD48A}" destId="{5D730ECF-5E56-4BCC-9295-01AA7310EDA9}" srcOrd="1" destOrd="0" parTransId="{B49ADB08-7DAD-4DCA-9B2B-46818BC4CFDF}" sibTransId="{9491BB27-9D09-4225-BBD1-073A5C5F0A21}"/>
    <dgm:cxn modelId="{0C9B4B54-471C-4DE0-B7ED-BD23FDC378DD}" type="presOf" srcId="{7AE03F6D-A0A5-4C20-BC13-21EF09DC5CC4}" destId="{569DA3D3-C2E5-4089-A6F0-CF7A0DE5293E}" srcOrd="0" destOrd="5" presId="urn:microsoft.com/office/officeart/2005/8/layout/hList1"/>
    <dgm:cxn modelId="{21295074-A0F9-420B-A47C-9A3D0F9247AC}" type="presOf" srcId="{5D730ECF-5E56-4BCC-9295-01AA7310EDA9}" destId="{A15940E0-E524-4386-893B-E5C857ACD0DE}" srcOrd="0" destOrd="0" presId="urn:microsoft.com/office/officeart/2005/8/layout/hList1"/>
    <dgm:cxn modelId="{2BCA7075-362C-4C9A-8187-DB08620C2EBE}" srcId="{DF86A6E5-580E-4F2A-B223-B458E5A97CE4}" destId="{269A5C72-57AF-4EA0-ACCE-C59B69488E35}" srcOrd="4" destOrd="0" parTransId="{6730243B-63FA-4E3A-A384-7D02129EAE6A}" sibTransId="{0F39171B-4944-4D51-B092-A62959DD54B0}"/>
    <dgm:cxn modelId="{B8C83676-32B6-414D-87A3-58819BB77685}" srcId="{639BF8EA-4D33-4B30-911B-6776BADCAC46}" destId="{AA78ED3C-C951-4F58-9959-01105C3C2617}" srcOrd="2" destOrd="0" parTransId="{80E848FA-6CC9-40FF-8A2E-3A173477A632}" sibTransId="{B7695E07-7C98-439E-95ED-062A66649E8F}"/>
    <dgm:cxn modelId="{A05C5356-BBB8-4364-AED6-495052AA1745}" srcId="{639BF8EA-4D33-4B30-911B-6776BADCAC46}" destId="{36C762CA-9B14-40FD-A3BF-8E60E97AACB0}" srcOrd="4" destOrd="0" parTransId="{F662D8E3-E924-425F-94A3-F55106F815C5}" sibTransId="{003494B5-C1F6-4CF6-91FF-D780D59A26B3}"/>
    <dgm:cxn modelId="{1A207F59-6EBD-4E05-ACBB-0575486B1888}" type="presOf" srcId="{40585278-DF6A-4768-8168-AFAA3D149FEC}" destId="{FE6D297C-C9E0-4A7D-A12A-BA53DEE78AEC}" srcOrd="0" destOrd="2" presId="urn:microsoft.com/office/officeart/2005/8/layout/hList1"/>
    <dgm:cxn modelId="{F856FA7B-3279-4151-88C6-FC89EF00CA04}" srcId="{AC11CA59-F486-473C-AE1A-BD3E159BD48A}" destId="{AA0CC1A4-89B3-4AA2-AE39-4C1399639CA2}" srcOrd="2" destOrd="0" parTransId="{C0AF6D3B-B26B-43D4-8370-C068EA004DB7}" sibTransId="{6CDD5F2F-DC14-46D9-87E7-871C2297CCE1}"/>
    <dgm:cxn modelId="{3790F588-BD57-4CCE-B91D-33379F88B9D6}" type="presOf" srcId="{F44527D1-3623-4718-A5C7-590A95354660}" destId="{CD66AAD5-A74B-4989-8AD5-348B79FA87C7}" srcOrd="0" destOrd="0" presId="urn:microsoft.com/office/officeart/2005/8/layout/hList1"/>
    <dgm:cxn modelId="{3630CF93-9C0F-42C1-A7E3-12BADA9ACFE4}" srcId="{7AE03F6D-A0A5-4C20-BC13-21EF09DC5CC4}" destId="{D8FFB6A3-E449-44EE-97FD-14B7E5F1F078}" srcOrd="0" destOrd="0" parTransId="{F271BF60-0D47-4E01-B8F0-23881EE9F385}" sibTransId="{ACE66685-E908-479E-9B13-3E728B89578C}"/>
    <dgm:cxn modelId="{11AF3294-D720-46F7-A210-5C86B3113581}" type="presOf" srcId="{03D3870E-6E12-4A4A-99E8-B07254945176}" destId="{F9540AD5-4F34-4720-A853-23023519F2F5}" srcOrd="0" destOrd="5" presId="urn:microsoft.com/office/officeart/2005/8/layout/hList1"/>
    <dgm:cxn modelId="{DE6DA398-F2D2-4825-B1B7-40F17E6BD05B}" srcId="{3F8F7C63-6D9D-4496-99F3-13DF66B8EAD6}" destId="{A6C29D9B-FA0D-4C44-99F3-70A3C6A28ABC}" srcOrd="3" destOrd="0" parTransId="{30B991BB-59D0-46CE-B76F-A8E10A0E3AD2}" sibTransId="{C42FABC9-FC87-44F8-819D-67DCEC95CB19}"/>
    <dgm:cxn modelId="{8C63B698-8A4E-457D-994E-67C74BAEA65D}" srcId="{3F8F7C63-6D9D-4496-99F3-13DF66B8EAD6}" destId="{630C8C32-A979-40C7-BDD7-71A76577670D}" srcOrd="0" destOrd="0" parTransId="{A072B589-234B-4E81-93D6-F23076B69245}" sibTransId="{BC580252-AC53-48E5-98C9-B7684010D558}"/>
    <dgm:cxn modelId="{0051009A-8A76-40D1-9129-73FC09B3DB69}" type="presOf" srcId="{50147886-EAE7-4BEB-BA6C-F68DA6BF58EE}" destId="{FE6D297C-C9E0-4A7D-A12A-BA53DEE78AEC}" srcOrd="0" destOrd="1" presId="urn:microsoft.com/office/officeart/2005/8/layout/hList1"/>
    <dgm:cxn modelId="{450D699A-A0FB-4B92-8051-F8D7FA9F0243}" type="presOf" srcId="{624CB385-66B0-4EAE-9A0D-21C51F23C0FF}" destId="{FE6D297C-C9E0-4A7D-A12A-BA53DEE78AEC}" srcOrd="0" destOrd="5" presId="urn:microsoft.com/office/officeart/2005/8/layout/hList1"/>
    <dgm:cxn modelId="{4F69529A-BD8B-439E-8866-8C96C5A45BF9}" type="presOf" srcId="{58A2E522-E29C-4132-AC13-C3D4E644FA3C}" destId="{CD66AAD5-A74B-4989-8AD5-348B79FA87C7}" srcOrd="0" destOrd="7" presId="urn:microsoft.com/office/officeart/2005/8/layout/hList1"/>
    <dgm:cxn modelId="{3A16BE9C-5C16-43C7-92AE-5D9F366D5D99}" srcId="{5D730ECF-5E56-4BCC-9295-01AA7310EDA9}" destId="{E5BD9D08-D55A-4077-A266-63A3412B597C}" srcOrd="3" destOrd="0" parTransId="{6B05C7C0-09DD-451E-AE20-D6C396140BA4}" sibTransId="{BA576175-C61B-4F42-BBB2-1AF3DD04D2D8}"/>
    <dgm:cxn modelId="{DB52AA9F-F9CC-4A8E-AB0E-33BCDB036D5E}" srcId="{AA0CC1A4-89B3-4AA2-AE39-4C1399639CA2}" destId="{40585278-DF6A-4768-8168-AFAA3D149FEC}" srcOrd="2" destOrd="0" parTransId="{5C50C266-A519-446A-82D8-B40D8304A1B7}" sibTransId="{95C3AD48-8DBD-458D-B6BC-D77382399005}"/>
    <dgm:cxn modelId="{FBE15CA0-3717-497A-8E9A-018989822677}" srcId="{5D730ECF-5E56-4BCC-9295-01AA7310EDA9}" destId="{F44527D1-3623-4718-A5C7-590A95354660}" srcOrd="0" destOrd="0" parTransId="{5E7514FD-99DE-4412-9C1C-3D96F9C74494}" sibTransId="{07EC650E-232F-42AC-A156-321F455F5A3F}"/>
    <dgm:cxn modelId="{D1018BA4-D551-4AF8-AE83-3A349CE9146F}" type="presOf" srcId="{639BF8EA-4D33-4B30-911B-6776BADCAC46}" destId="{79AA2380-6C09-4C3E-A320-87D02EF11B92}" srcOrd="0" destOrd="0" presId="urn:microsoft.com/office/officeart/2005/8/layout/hList1"/>
    <dgm:cxn modelId="{46AC5DA6-931E-485C-80D5-609AA370BF3C}" srcId="{5D730ECF-5E56-4BCC-9295-01AA7310EDA9}" destId="{545A33F6-B5F6-426A-8C86-40CF9A69FDEB}" srcOrd="1" destOrd="0" parTransId="{35A6CFD5-75E6-454E-82A8-2EEB5B20D7C7}" sibTransId="{871627F3-A0BF-4926-ACF6-1AD098FB9865}"/>
    <dgm:cxn modelId="{7DEDE6A6-D5F6-4AFA-95DA-0F65625C743C}" srcId="{639BF8EA-4D33-4B30-911B-6776BADCAC46}" destId="{D8175AF9-F842-45F9-97DC-C69B2B6BBF53}" srcOrd="6" destOrd="0" parTransId="{790B86D8-9779-4A95-9728-106B465CDD3C}" sibTransId="{513B4DA5-7C2B-4D4D-9C48-E13269E1158D}"/>
    <dgm:cxn modelId="{499B0CA8-5A28-4F3A-AF92-30F09620EB6A}" type="presOf" srcId="{98E9E80D-99C6-4D95-ADA3-154C4B59F85F}" destId="{CD66AAD5-A74B-4989-8AD5-348B79FA87C7}" srcOrd="0" destOrd="4" presId="urn:microsoft.com/office/officeart/2005/8/layout/hList1"/>
    <dgm:cxn modelId="{4FAF80A8-3559-420C-991C-378325B0E176}" type="presOf" srcId="{DCB7BB8A-CD35-4222-952A-62E0A9CA463F}" destId="{F9540AD5-4F34-4720-A853-23023519F2F5}" srcOrd="0" destOrd="7" presId="urn:microsoft.com/office/officeart/2005/8/layout/hList1"/>
    <dgm:cxn modelId="{ACCE82A9-E050-4212-8FEF-F3BB00422909}" type="presOf" srcId="{3FD82739-856C-477A-A9F2-F79000C2BD73}" destId="{F9540AD5-4F34-4720-A853-23023519F2F5}" srcOrd="0" destOrd="8" presId="urn:microsoft.com/office/officeart/2005/8/layout/hList1"/>
    <dgm:cxn modelId="{B9A036AB-F55C-4ED8-88AB-A6656C71B526}" type="presOf" srcId="{269A5C72-57AF-4EA0-ACCE-C59B69488E35}" destId="{6BCC47BA-0C21-4EC9-8F7B-D9BCA5C8EC21}" srcOrd="0" destOrd="4" presId="urn:microsoft.com/office/officeart/2005/8/layout/hList1"/>
    <dgm:cxn modelId="{533B33B0-F780-445E-9B62-7F84DB009051}" srcId="{AC11CA59-F486-473C-AE1A-BD3E159BD48A}" destId="{639BF8EA-4D33-4B30-911B-6776BADCAC46}" srcOrd="3" destOrd="0" parTransId="{73779F8B-B701-4BB6-9E77-1298E5928771}" sibTransId="{02641D1F-193F-4370-8212-3D28CA0839D7}"/>
    <dgm:cxn modelId="{1F0C73B1-EF50-4F66-9039-50A5177EFF6E}" type="presOf" srcId="{9610126D-8E49-4BC7-A0DB-A630B3EC4789}" destId="{FE6D297C-C9E0-4A7D-A12A-BA53DEE78AEC}" srcOrd="0" destOrd="4" presId="urn:microsoft.com/office/officeart/2005/8/layout/hList1"/>
    <dgm:cxn modelId="{0E79A9B2-4534-4C6A-A886-E0B7F324566B}" type="presOf" srcId="{C15E1527-ED8A-4127-96D3-A40FE5E9F551}" destId="{CD66AAD5-A74B-4989-8AD5-348B79FA87C7}" srcOrd="0" destOrd="8" presId="urn:microsoft.com/office/officeart/2005/8/layout/hList1"/>
    <dgm:cxn modelId="{7EA702B8-B43E-4292-BCA5-3123C2738346}" type="presOf" srcId="{E5BD9D08-D55A-4077-A266-63A3412B597C}" destId="{CD66AAD5-A74B-4989-8AD5-348B79FA87C7}" srcOrd="0" destOrd="3" presId="urn:microsoft.com/office/officeart/2005/8/layout/hList1"/>
    <dgm:cxn modelId="{2ACC45BA-7497-47FE-AD13-958DF8311CFE}" srcId="{AA0CC1A4-89B3-4AA2-AE39-4C1399639CA2}" destId="{50147886-EAE7-4BEB-BA6C-F68DA6BF58EE}" srcOrd="1" destOrd="0" parTransId="{1B03D5B8-A550-4C3B-B659-4BB18866FEE6}" sibTransId="{897C281A-AF25-4C78-B51E-5272CB605DBE}"/>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202B2BBF-62BE-4D26-8E3B-E4B0A1386412}" srcId="{5D730ECF-5E56-4BCC-9295-01AA7310EDA9}" destId="{98E9E80D-99C6-4D95-ADA3-154C4B59F85F}" srcOrd="4" destOrd="0" parTransId="{3C03EB72-6B54-48F4-8582-F81997B953D1}" sibTransId="{F8702242-78A9-478A-AA78-B0CC2FEB8CFB}"/>
    <dgm:cxn modelId="{70C8AFC0-C182-4576-96DA-EAECDBD4CEE1}" srcId="{5D730ECF-5E56-4BCC-9295-01AA7310EDA9}" destId="{C15E1527-ED8A-4127-96D3-A40FE5E9F551}" srcOrd="8" destOrd="0" parTransId="{F1F539FA-D668-4A01-9EF5-E9760A99DFC0}" sibTransId="{1A19537F-D665-449A-96C1-15D1F4CFFA74}"/>
    <dgm:cxn modelId="{E315A3C1-F2BB-47F0-AA6E-173A48EF57AB}" type="presOf" srcId="{8E896EB5-DC99-4BB3-B264-36E39DE7CEC8}" destId="{F9540AD5-4F34-4720-A853-23023519F2F5}" srcOrd="0" destOrd="2" presId="urn:microsoft.com/office/officeart/2005/8/layout/hList1"/>
    <dgm:cxn modelId="{1E130DC6-DD45-4BC4-825A-5EB61C250B47}" srcId="{AA0CC1A4-89B3-4AA2-AE39-4C1399639CA2}" destId="{88D93969-2262-4FB9-8705-4D141334E937}" srcOrd="3" destOrd="0" parTransId="{8A21C158-BC6D-470C-B4B1-9EEF6E089342}" sibTransId="{32EE6A0F-BF28-43FD-9D4A-636DBEF2E24A}"/>
    <dgm:cxn modelId="{B10F61CA-D3C2-4C90-B795-58850D21A922}" type="presOf" srcId="{BCDD3C48-E5A3-4417-86F3-B7128AC5B7B1}" destId="{F9540AD5-4F34-4720-A853-23023519F2F5}" srcOrd="0" destOrd="9" presId="urn:microsoft.com/office/officeart/2005/8/layout/hList1"/>
    <dgm:cxn modelId="{BA4F5ECD-31C9-482B-B6B8-AA34483001C2}" srcId="{DF86A6E5-580E-4F2A-B223-B458E5A97CE4}" destId="{FC2E9FD0-AD1A-4E81-8CE8-F5387731ACC5}" srcOrd="0" destOrd="0" parTransId="{92D28802-A2B7-406B-9ECE-488CDE2B7EE3}" sibTransId="{5552313E-ED74-447B-808B-0524835A4DBB}"/>
    <dgm:cxn modelId="{D4F09DD2-D7DC-4C0A-B107-20DDDF7554E9}" srcId="{639BF8EA-4D33-4B30-911B-6776BADCAC46}" destId="{8A005F68-872E-4565-97CF-5F934A8F7106}" srcOrd="0" destOrd="0" parTransId="{6458AC6F-FC93-49FE-B39E-B3BD37FC1330}" sibTransId="{88809219-9B02-4029-97B7-029D87354175}"/>
    <dgm:cxn modelId="{B78E6AD7-F2C4-4AC4-933E-267ADA7261A0}" type="presOf" srcId="{3009EBD5-8533-475D-BE3F-7DA7EB0BDAF2}" destId="{F9540AD5-4F34-4720-A853-23023519F2F5}" srcOrd="0" destOrd="10" presId="urn:microsoft.com/office/officeart/2005/8/layout/hList1"/>
    <dgm:cxn modelId="{427600DB-6877-49C6-AA0E-84C0B97F6DC7}" type="presOf" srcId="{ED0320A2-84EF-464D-BA55-8B9CA19360EB}" destId="{F9540AD5-4F34-4720-A853-23023519F2F5}" srcOrd="0" destOrd="1" presId="urn:microsoft.com/office/officeart/2005/8/layout/hList1"/>
    <dgm:cxn modelId="{4BE9F4DD-547B-46B8-9AE8-A49E60DC3E85}" type="presOf" srcId="{545A33F6-B5F6-426A-8C86-40CF9A69FDEB}" destId="{CD66AAD5-A74B-4989-8AD5-348B79FA87C7}" srcOrd="0" destOrd="1" presId="urn:microsoft.com/office/officeart/2005/8/layout/hList1"/>
    <dgm:cxn modelId="{E4EF17E2-2DCE-43D5-936E-214CA1E7EA30}" srcId="{DF86A6E5-580E-4F2A-B223-B458E5A97CE4}" destId="{983CF14A-D540-41C7-985B-5652F41CF489}" srcOrd="3" destOrd="0" parTransId="{2D2DEC59-26A6-45BD-B642-8013356B7F56}" sibTransId="{7A8877E4-83D1-47A7-9E1F-B6AA2D71D1A3}"/>
    <dgm:cxn modelId="{378405E4-A10D-4798-8747-535349689E09}" srcId="{DF86A6E5-580E-4F2A-B223-B458E5A97CE4}" destId="{76AC8794-74F4-4EA8-BA8C-A90781232F54}" srcOrd="2" destOrd="0" parTransId="{4BCE2351-28E8-4364-8A5F-1B2A645300C4}" sibTransId="{3E08878A-DE6F-4142-AE2A-F9927837BFB7}"/>
    <dgm:cxn modelId="{B329AEE8-4543-402A-AA06-29F3A101607E}" type="presOf" srcId="{DF86A6E5-580E-4F2A-B223-B458E5A97CE4}" destId="{19CDF2AB-3B0B-41CB-AD00-E99839314F1A}" srcOrd="0" destOrd="0" presId="urn:microsoft.com/office/officeart/2005/8/layout/hList1"/>
    <dgm:cxn modelId="{398B78E9-75B4-4C56-A1AE-6EF1BA813202}" type="presOf" srcId="{983CF14A-D540-41C7-985B-5652F41CF489}" destId="{6BCC47BA-0C21-4EC9-8F7B-D9BCA5C8EC21}" srcOrd="0" destOrd="3" presId="urn:microsoft.com/office/officeart/2005/8/layout/hList1"/>
    <dgm:cxn modelId="{D140A2EB-3F7E-42F4-996C-1F3B53C6C159}" type="presOf" srcId="{C6F6A35E-EF9D-42DB-9F6B-51AFF90BC98C}" destId="{FE6D297C-C9E0-4A7D-A12A-BA53DEE78AEC}" srcOrd="0" destOrd="0" presId="urn:microsoft.com/office/officeart/2005/8/layout/hList1"/>
    <dgm:cxn modelId="{7D186AED-01CD-425B-8B11-92BA4F6709E3}" srcId="{5D730ECF-5E56-4BCC-9295-01AA7310EDA9}" destId="{236D48B7-63A7-4285-9C6C-7AFF01B56D9D}" srcOrd="5" destOrd="0" parTransId="{13EDD0DB-D12A-4055-86FC-11CE01E96C7B}" sibTransId="{410012CC-317E-4CEA-BD64-8DB0C548B075}"/>
    <dgm:cxn modelId="{67458EED-3B15-411B-BC2A-944D5595F62C}" type="presOf" srcId="{D8175AF9-F842-45F9-97DC-C69B2B6BBF53}" destId="{569DA3D3-C2E5-4089-A6F0-CF7A0DE5293E}" srcOrd="0" destOrd="7" presId="urn:microsoft.com/office/officeart/2005/8/layout/hList1"/>
    <dgm:cxn modelId="{701AECED-5325-4295-A693-8267EF53B223}" type="presOf" srcId="{3E642F35-97D9-4849-9004-96A0F376220D}" destId="{CD66AAD5-A74B-4989-8AD5-348B79FA87C7}" srcOrd="0" destOrd="2" presId="urn:microsoft.com/office/officeart/2005/8/layout/hList1"/>
    <dgm:cxn modelId="{235AF3F2-4DC6-4ACE-9EC0-844AD822351F}" type="presOf" srcId="{8A005F68-872E-4565-97CF-5F934A8F7106}" destId="{569DA3D3-C2E5-4089-A6F0-CF7A0DE5293E}" srcOrd="0" destOrd="0" presId="urn:microsoft.com/office/officeart/2005/8/layout/hList1"/>
    <dgm:cxn modelId="{E96547F9-7650-4953-B80F-A932BA8449D0}" srcId="{AA0CC1A4-89B3-4AA2-AE39-4C1399639CA2}" destId="{6A0DAC46-074E-44D5-BC93-2A28D37093F5}" srcOrd="6" destOrd="0" parTransId="{5BD27BA4-E4AD-4969-8558-62A55EE05DA6}" sibTransId="{196479E3-B851-4A29-AAD0-46354CAD7D02}"/>
    <dgm:cxn modelId="{1394BDFB-E727-409D-8BB5-D3D2E6E5358D}" srcId="{AA0CC1A4-89B3-4AA2-AE39-4C1399639CA2}" destId="{624CB385-66B0-4EAE-9A0D-21C51F23C0FF}" srcOrd="5" destOrd="0" parTransId="{17722B10-61BA-4CF9-80CB-DC8F73C4175C}" sibTransId="{FEDFE2F1-E7A6-4E9A-BE0B-1D277CEBFD8C}"/>
    <dgm:cxn modelId="{7BAF2CFD-1919-4540-87BA-E3BD91F1FDBD}" srcId="{3F8F7C63-6D9D-4496-99F3-13DF66B8EAD6}" destId="{3009EBD5-8533-475D-BE3F-7DA7EB0BDAF2}" srcOrd="10" destOrd="0" parTransId="{078260EC-E067-48F8-94B9-B068CF335D61}" sibTransId="{DF7B415B-F4FE-4132-B4D6-C3D469631BF7}"/>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 modelId="{220E4404-6F28-412A-B5D0-F8EF49AADC4A}" type="presParOf" srcId="{E2E8F0FF-2562-411A-AEBD-32131929444C}" destId="{69C599F4-9B2F-43FB-B2EB-916089C95F3A}" srcOrd="7" destOrd="0" presId="urn:microsoft.com/office/officeart/2005/8/layout/hList1"/>
    <dgm:cxn modelId="{20552560-BD1A-4448-AB5B-7B8B42C99F8F}" type="presParOf" srcId="{E2E8F0FF-2562-411A-AEBD-32131929444C}" destId="{A6FA747B-F96D-4BB7-9CAA-697BD5717906}" srcOrd="8" destOrd="0" presId="urn:microsoft.com/office/officeart/2005/8/layout/hList1"/>
    <dgm:cxn modelId="{2DD714AD-096B-4A30-BFFD-58594F47A47C}" type="presParOf" srcId="{A6FA747B-F96D-4BB7-9CAA-697BD5717906}" destId="{19CDF2AB-3B0B-41CB-AD00-E99839314F1A}" srcOrd="0" destOrd="0" presId="urn:microsoft.com/office/officeart/2005/8/layout/hList1"/>
    <dgm:cxn modelId="{2961956E-DF50-47AB-9EB4-FC8882B10EAB}" type="presParOf" srcId="{A6FA747B-F96D-4BB7-9CAA-697BD5717906}" destId="{6BCC47BA-0C21-4EC9-8F7B-D9BCA5C8EC21}"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5260"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 </a:t>
          </a:r>
        </a:p>
        <a:p>
          <a:pPr marL="0" lvl="0" indent="0" algn="ctr" defTabSz="488950">
            <a:lnSpc>
              <a:spcPct val="90000"/>
            </a:lnSpc>
            <a:spcBef>
              <a:spcPct val="0"/>
            </a:spcBef>
            <a:spcAft>
              <a:spcPct val="35000"/>
            </a:spcAft>
            <a:buNone/>
          </a:pPr>
          <a:r>
            <a:rPr lang="en-US" sz="1100" kern="1200" dirty="0"/>
            <a:t>Empowering Everyone with Power Platform – From CEO to Frontline Workers</a:t>
          </a:r>
          <a:endParaRPr lang="en-AU" sz="1100" kern="1200" dirty="0"/>
        </a:p>
      </dsp:txBody>
      <dsp:txXfrm>
        <a:off x="5260" y="110958"/>
        <a:ext cx="2016677" cy="806670"/>
      </dsp:txXfrm>
    </dsp:sp>
    <dsp:sp modelId="{F9540AD5-4F34-4720-A853-23023519F2F5}">
      <dsp:nvSpPr>
        <dsp:cNvPr id="0" name=""/>
        <dsp:cNvSpPr/>
      </dsp:nvSpPr>
      <dsp:spPr>
        <a:xfrm>
          <a:off x="5260"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 to Power Platform</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icrosoft Power Platform momentu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hy Power Platfor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Stori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5260" y="917629"/>
        <a:ext cx="2016677" cy="3657712"/>
      </dsp:txXfrm>
    </dsp:sp>
    <dsp:sp modelId="{A15940E0-E524-4386-893B-E5C857ACD0DE}">
      <dsp:nvSpPr>
        <dsp:cNvPr id="0" name=""/>
        <dsp:cNvSpPr/>
      </dsp:nvSpPr>
      <dsp:spPr>
        <a:xfrm>
          <a:off x="2304273"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2</a:t>
          </a:r>
        </a:p>
        <a:p>
          <a:pPr marL="0" lvl="0" indent="0" algn="ctr" defTabSz="488950">
            <a:lnSpc>
              <a:spcPct val="90000"/>
            </a:lnSpc>
            <a:spcBef>
              <a:spcPct val="0"/>
            </a:spcBef>
            <a:spcAft>
              <a:spcPct val="35000"/>
            </a:spcAft>
            <a:buNone/>
          </a:pPr>
          <a:r>
            <a:rPr lang="en-US" sz="1100" kern="1200" dirty="0"/>
            <a:t>Power Packed Day with Power Canvas Apps</a:t>
          </a:r>
          <a:endParaRPr lang="en-AU" sz="1100" kern="1200" dirty="0"/>
        </a:p>
      </dsp:txBody>
      <dsp:txXfrm>
        <a:off x="2304273" y="110958"/>
        <a:ext cx="2016677" cy="806670"/>
      </dsp:txXfrm>
    </dsp:sp>
    <dsp:sp modelId="{CD66AAD5-A74B-4989-8AD5-348B79FA87C7}">
      <dsp:nvSpPr>
        <dsp:cNvPr id="0" name=""/>
        <dsp:cNvSpPr/>
      </dsp:nvSpPr>
      <dsp:spPr>
        <a:xfrm>
          <a:off x="2304273"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Apps</a:t>
          </a:r>
          <a:endParaRPr lang="en-AU"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Apps?</a:t>
          </a:r>
          <a:endParaRPr lang="en-GB"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sp:txBody>
      <dsp:txXfrm>
        <a:off x="2304273" y="917629"/>
        <a:ext cx="2016677" cy="3657712"/>
      </dsp:txXfrm>
    </dsp:sp>
    <dsp:sp modelId="{6D51457A-C3C5-41AF-B616-CDB4705EBFBD}">
      <dsp:nvSpPr>
        <dsp:cNvPr id="0" name=""/>
        <dsp:cNvSpPr/>
      </dsp:nvSpPr>
      <dsp:spPr>
        <a:xfrm>
          <a:off x="4603285"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3</a:t>
          </a:r>
        </a:p>
        <a:p>
          <a:pPr marL="0" lvl="0" indent="0" algn="ctr" defTabSz="488950">
            <a:lnSpc>
              <a:spcPct val="90000"/>
            </a:lnSpc>
            <a:spcBef>
              <a:spcPct val="0"/>
            </a:spcBef>
            <a:spcAft>
              <a:spcPct val="35000"/>
            </a:spcAft>
            <a:buNone/>
          </a:pPr>
          <a:r>
            <a:rPr lang="en-US" sz="1100" kern="1200" dirty="0"/>
            <a:t>Power Packed Day with Power Model Driven Apps</a:t>
          </a:r>
          <a:endParaRPr lang="en-AU" sz="1100" kern="1200" dirty="0"/>
        </a:p>
      </dsp:txBody>
      <dsp:txXfrm>
        <a:off x="4603285" y="110958"/>
        <a:ext cx="2016677" cy="806670"/>
      </dsp:txXfrm>
    </dsp:sp>
    <dsp:sp modelId="{FE6D297C-C9E0-4A7D-A12A-BA53DEE78AEC}">
      <dsp:nvSpPr>
        <dsp:cNvPr id="0" name=""/>
        <dsp:cNvSpPr/>
      </dsp:nvSpPr>
      <dsp:spPr>
        <a:xfrm>
          <a:off x="4603285"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Let’s talk about data</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Data</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mmon Data Servic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del-driven 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What type of components can I add?</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model desig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4603285" y="917629"/>
        <a:ext cx="2016677" cy="3657712"/>
      </dsp:txXfrm>
    </dsp:sp>
    <dsp:sp modelId="{79AA2380-6C09-4C3E-A320-87D02EF11B92}">
      <dsp:nvSpPr>
        <dsp:cNvPr id="0" name=""/>
        <dsp:cNvSpPr/>
      </dsp:nvSpPr>
      <dsp:spPr>
        <a:xfrm>
          <a:off x="6902297"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4</a:t>
          </a:r>
        </a:p>
        <a:p>
          <a:pPr marL="0" lvl="0" indent="0" algn="ctr" defTabSz="488950">
            <a:lnSpc>
              <a:spcPct val="90000"/>
            </a:lnSpc>
            <a:spcBef>
              <a:spcPct val="0"/>
            </a:spcBef>
            <a:spcAft>
              <a:spcPct val="35000"/>
            </a:spcAft>
            <a:buNone/>
          </a:pPr>
          <a:r>
            <a:rPr lang="en-US" sz="1100" kern="1200" dirty="0"/>
            <a:t>Power Packed Day with Power Automate</a:t>
          </a:r>
          <a:endParaRPr lang="en-AU" sz="1100" kern="1200" dirty="0"/>
        </a:p>
      </dsp:txBody>
      <dsp:txXfrm>
        <a:off x="6902297" y="110958"/>
        <a:ext cx="2016677" cy="806670"/>
      </dsp:txXfrm>
    </dsp:sp>
    <dsp:sp modelId="{569DA3D3-C2E5-4089-A6F0-CF7A0DE5293E}">
      <dsp:nvSpPr>
        <dsp:cNvPr id="0" name=""/>
        <dsp:cNvSpPr/>
      </dsp:nvSpPr>
      <dsp:spPr>
        <a:xfrm>
          <a:off x="6902297"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flow</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types and express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orking with Array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Control flow and action setting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6902297" y="917629"/>
        <a:ext cx="2016677" cy="3657712"/>
      </dsp:txXfrm>
    </dsp:sp>
    <dsp:sp modelId="{19CDF2AB-3B0B-41CB-AD00-E99839314F1A}">
      <dsp:nvSpPr>
        <dsp:cNvPr id="0" name=""/>
        <dsp:cNvSpPr/>
      </dsp:nvSpPr>
      <dsp:spPr>
        <a:xfrm>
          <a:off x="9201309"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5</a:t>
          </a:r>
        </a:p>
        <a:p>
          <a:pPr marL="0" lvl="0" indent="0" algn="ctr" defTabSz="488950">
            <a:lnSpc>
              <a:spcPct val="90000"/>
            </a:lnSpc>
            <a:spcBef>
              <a:spcPct val="0"/>
            </a:spcBef>
            <a:spcAft>
              <a:spcPct val="35000"/>
            </a:spcAft>
            <a:buNone/>
          </a:pPr>
          <a:r>
            <a:rPr lang="en-US" sz="1100" kern="1200" dirty="0"/>
            <a:t>Power Packed Day with Power Virtual  Agents</a:t>
          </a:r>
          <a:endParaRPr lang="en-AU" sz="1100" kern="1200" dirty="0"/>
        </a:p>
      </dsp:txBody>
      <dsp:txXfrm>
        <a:off x="9201309" y="110958"/>
        <a:ext cx="2016677" cy="806670"/>
      </dsp:txXfrm>
    </dsp:sp>
    <dsp:sp modelId="{6BCC47BA-0C21-4EC9-8F7B-D9BCA5C8EC21}">
      <dsp:nvSpPr>
        <dsp:cNvPr id="0" name=""/>
        <dsp:cNvSpPr/>
      </dsp:nvSpPr>
      <dsp:spPr>
        <a:xfrm>
          <a:off x="9201309"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 Robust Virtual Agent Platform</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nverse everywhere</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Easily make your bots better</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reate personalized customer experience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Transfer to a human agent</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Built on Power Platform &amp; Azure Bot Servic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Extend your bot capabilities with Azure Bot Servic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9201309" y="917629"/>
        <a:ext cx="2016677" cy="36577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5260"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6 </a:t>
          </a:r>
        </a:p>
        <a:p>
          <a:pPr marL="0" lvl="0" indent="0" algn="ctr" defTabSz="488950">
            <a:lnSpc>
              <a:spcPct val="90000"/>
            </a:lnSpc>
            <a:spcBef>
              <a:spcPct val="0"/>
            </a:spcBef>
            <a:spcAft>
              <a:spcPct val="35000"/>
            </a:spcAft>
            <a:buNone/>
          </a:pPr>
          <a:r>
            <a:rPr lang="en-US" sz="1100" kern="1200" dirty="0"/>
            <a:t>Power Packed Day with Power BI</a:t>
          </a:r>
          <a:endParaRPr lang="en-AU" sz="1100" kern="1200" dirty="0"/>
        </a:p>
      </dsp:txBody>
      <dsp:txXfrm>
        <a:off x="5260" y="83079"/>
        <a:ext cx="2016677" cy="806670"/>
      </dsp:txXfrm>
    </dsp:sp>
    <dsp:sp modelId="{F9540AD5-4F34-4720-A853-23023519F2F5}">
      <dsp:nvSpPr>
        <dsp:cNvPr id="0" name=""/>
        <dsp:cNvSpPr/>
      </dsp:nvSpPr>
      <dsp:spPr>
        <a:xfrm>
          <a:off x="5260"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he 5x5 Principl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momentum: Power BI</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BI Desktop</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sourc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Query</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flow</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Using a Calculation (DAX) in multiple file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aginated Reporting</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BI Admin Portal </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5260" y="889750"/>
        <a:ext cx="2016677" cy="3713470"/>
      </dsp:txXfrm>
    </dsp:sp>
    <dsp:sp modelId="{A15940E0-E524-4386-893B-E5C857ACD0DE}">
      <dsp:nvSpPr>
        <dsp:cNvPr id="0" name=""/>
        <dsp:cNvSpPr/>
      </dsp:nvSpPr>
      <dsp:spPr>
        <a:xfrm>
          <a:off x="2304273"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7</a:t>
          </a:r>
        </a:p>
        <a:p>
          <a:pPr marL="0" lvl="0" indent="0" algn="ctr" defTabSz="488950">
            <a:lnSpc>
              <a:spcPct val="90000"/>
            </a:lnSpc>
            <a:spcBef>
              <a:spcPct val="0"/>
            </a:spcBef>
            <a:spcAft>
              <a:spcPct val="35000"/>
            </a:spcAft>
            <a:buNone/>
          </a:pPr>
          <a:r>
            <a:rPr lang="en-US" sz="1100" kern="1200" dirty="0"/>
            <a:t>Power up your Apps with AI Builder</a:t>
          </a:r>
          <a:endParaRPr lang="en-AU" sz="1100" kern="1200" dirty="0"/>
        </a:p>
      </dsp:txBody>
      <dsp:txXfrm>
        <a:off x="2304273" y="83079"/>
        <a:ext cx="2016677" cy="806670"/>
      </dsp:txXfrm>
    </dsp:sp>
    <dsp:sp modelId="{CD66AAD5-A74B-4989-8AD5-348B79FA87C7}">
      <dsp:nvSpPr>
        <dsp:cNvPr id="0" name=""/>
        <dsp:cNvSpPr/>
      </dsp:nvSpPr>
      <dsp:spPr>
        <a:xfrm>
          <a:off x="2304273"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I for every app. And everyon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etup Environment</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AI Model</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redic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Form processing</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Object detec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ext classific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2304273" y="889750"/>
        <a:ext cx="2016677" cy="3713470"/>
      </dsp:txXfrm>
    </dsp:sp>
    <dsp:sp modelId="{6D51457A-C3C5-41AF-B616-CDB4705EBFBD}">
      <dsp:nvSpPr>
        <dsp:cNvPr id="0" name=""/>
        <dsp:cNvSpPr/>
      </dsp:nvSpPr>
      <dsp:spPr>
        <a:xfrm>
          <a:off x="4603285"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8</a:t>
          </a:r>
        </a:p>
        <a:p>
          <a:pPr marL="0" lvl="0" indent="0" algn="ctr" defTabSz="488950">
            <a:lnSpc>
              <a:spcPct val="90000"/>
            </a:lnSpc>
            <a:spcBef>
              <a:spcPct val="0"/>
            </a:spcBef>
            <a:spcAft>
              <a:spcPct val="35000"/>
            </a:spcAft>
            <a:buNone/>
          </a:pPr>
          <a:r>
            <a:rPr lang="en-US" sz="1100" kern="1200" dirty="0"/>
            <a:t>Power Platform Administration, Security &amp; Integration Connectors</a:t>
          </a:r>
          <a:endParaRPr lang="en-AU" sz="1100" kern="1200" dirty="0"/>
        </a:p>
      </dsp:txBody>
      <dsp:txXfrm>
        <a:off x="4603285" y="83079"/>
        <a:ext cx="2016677" cy="806670"/>
      </dsp:txXfrm>
    </dsp:sp>
    <dsp:sp modelId="{FE6D297C-C9E0-4A7D-A12A-BA53DEE78AEC}">
      <dsp:nvSpPr>
        <dsp:cNvPr id="0" name=""/>
        <dsp:cNvSpPr/>
      </dsp:nvSpPr>
      <dsp:spPr>
        <a:xfrm>
          <a:off x="4603285"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ecure your tenant</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nitor your tenant’s activity</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lert &amp; act on that activity</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nnector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harePoint Integr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4603285" y="889750"/>
        <a:ext cx="2016677" cy="3713470"/>
      </dsp:txXfrm>
    </dsp:sp>
    <dsp:sp modelId="{79AA2380-6C09-4C3E-A320-87D02EF11B92}">
      <dsp:nvSpPr>
        <dsp:cNvPr id="0" name=""/>
        <dsp:cNvSpPr/>
      </dsp:nvSpPr>
      <dsp:spPr>
        <a:xfrm>
          <a:off x="6902297"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9</a:t>
          </a:r>
        </a:p>
        <a:p>
          <a:pPr marL="0" lvl="0" indent="0" algn="ctr" defTabSz="488950">
            <a:lnSpc>
              <a:spcPct val="90000"/>
            </a:lnSpc>
            <a:spcBef>
              <a:spcPct val="0"/>
            </a:spcBef>
            <a:spcAft>
              <a:spcPct val="35000"/>
            </a:spcAft>
            <a:buNone/>
          </a:pPr>
          <a:r>
            <a:rPr lang="en-US" sz="1100" kern="1200" dirty="0"/>
            <a:t>Power Packed Bizz Apps Day – Sales &amp; Marketing</a:t>
          </a:r>
          <a:endParaRPr lang="en-AU" sz="1100" kern="1200" dirty="0"/>
        </a:p>
      </dsp:txBody>
      <dsp:txXfrm>
        <a:off x="6902297" y="83079"/>
        <a:ext cx="2016677" cy="806670"/>
      </dsp:txXfrm>
    </dsp:sp>
    <dsp:sp modelId="{569DA3D3-C2E5-4089-A6F0-CF7A0DE5293E}">
      <dsp:nvSpPr>
        <dsp:cNvPr id="0" name=""/>
        <dsp:cNvSpPr/>
      </dsp:nvSpPr>
      <dsp:spPr>
        <a:xfrm>
          <a:off x="6902297"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Nurture more demand</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ersonalize buyer experienc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Build relationships at scal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ake insight-driven decision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a:p>
          <a:pPr marL="114300" lvl="2" indent="-57150" algn="l" defTabSz="488950">
            <a:lnSpc>
              <a:spcPct val="150000"/>
            </a:lnSpc>
            <a:spcBef>
              <a:spcPct val="0"/>
            </a:spcBef>
            <a:spcAft>
              <a:spcPct val="15000"/>
            </a:spcAft>
            <a:buFont typeface="Wingdings" panose="05000000000000000000" pitchFamily="2" charset="2"/>
            <a:buChar char="ü"/>
          </a:pPr>
          <a:r>
            <a:rPr lang="en-US" sz="1100" kern="1200" dirty="0"/>
            <a:t>How to embed Power BI in Dynamics 365 for Sales and Marketing</a:t>
          </a:r>
          <a:endParaRPr lang="en-GB" sz="1100" kern="1200" dirty="0"/>
        </a:p>
        <a:p>
          <a:pPr marL="57150" lvl="1" indent="-57150" algn="l" defTabSz="488950">
            <a:lnSpc>
              <a:spcPct val="90000"/>
            </a:lnSpc>
            <a:spcBef>
              <a:spcPct val="0"/>
            </a:spcBef>
            <a:spcAft>
              <a:spcPct val="15000"/>
            </a:spcAft>
            <a:buChar char="•"/>
          </a:pPr>
          <a:endParaRPr lang="en-GB" sz="1100" kern="1200" dirty="0"/>
        </a:p>
      </dsp:txBody>
      <dsp:txXfrm>
        <a:off x="6902297" y="889750"/>
        <a:ext cx="2016677" cy="3713470"/>
      </dsp:txXfrm>
    </dsp:sp>
    <dsp:sp modelId="{19CDF2AB-3B0B-41CB-AD00-E99839314F1A}">
      <dsp:nvSpPr>
        <dsp:cNvPr id="0" name=""/>
        <dsp:cNvSpPr/>
      </dsp:nvSpPr>
      <dsp:spPr>
        <a:xfrm>
          <a:off x="9201309" y="83079"/>
          <a:ext cx="2016677" cy="806670"/>
        </a:xfrm>
        <a:prstGeom prst="rect">
          <a:avLst/>
        </a:prstGeom>
        <a:solidFill>
          <a:srgbClr val="7030A0"/>
        </a:solidFill>
        <a:ln w="12700" cap="flat" cmpd="sng" algn="ctr">
          <a:solidFill>
            <a:srgbClr val="7030A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0</a:t>
          </a:r>
        </a:p>
        <a:p>
          <a:pPr marL="0" lvl="0" indent="0" algn="ctr" defTabSz="488950">
            <a:lnSpc>
              <a:spcPct val="90000"/>
            </a:lnSpc>
            <a:spcBef>
              <a:spcPct val="0"/>
            </a:spcBef>
            <a:spcAft>
              <a:spcPct val="35000"/>
            </a:spcAft>
            <a:buNone/>
          </a:pPr>
          <a:r>
            <a:rPr lang="en-US" sz="1100" kern="1200" dirty="0"/>
            <a:t>Power Packed Bizz Apps Day– Finance &amp; Supply Chain</a:t>
          </a:r>
          <a:endParaRPr lang="en-AU" sz="1100" kern="1200" dirty="0"/>
        </a:p>
      </dsp:txBody>
      <dsp:txXfrm>
        <a:off x="9201309" y="83079"/>
        <a:ext cx="2016677" cy="806670"/>
      </dsp:txXfrm>
    </dsp:sp>
    <dsp:sp modelId="{6BCC47BA-0C21-4EC9-8F7B-D9BCA5C8EC21}">
      <dsp:nvSpPr>
        <dsp:cNvPr id="0" name=""/>
        <dsp:cNvSpPr/>
      </dsp:nvSpPr>
      <dsp:spPr>
        <a:xfrm>
          <a:off x="9201309"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echnology Moderniz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dern Finance</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Supporting modern supply chain management</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How to embed Power Platform in Dynamics 365 for Finance and Supply Chain</a:t>
          </a:r>
          <a:endParaRPr lang="en-GB" sz="1100" kern="1200" dirty="0"/>
        </a:p>
      </dsp:txBody>
      <dsp:txXfrm>
        <a:off x="9201309" y="889750"/>
        <a:ext cx="2016677" cy="371347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4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84B9A8-9E3C-46D7-873F-22C7B6C2393B}" type="datetimeFigureOut">
              <a:rPr lang="en-GB" smtClean="0"/>
              <a:t>10/03/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663D9C-1D7D-4FC0-B2CB-7774326D51DC}" type="slidenum">
              <a:rPr lang="en-GB" smtClean="0"/>
              <a:t>‹#›</a:t>
            </a:fld>
            <a:endParaRPr lang="en-GB"/>
          </a:p>
        </p:txBody>
      </p:sp>
    </p:spTree>
    <p:extLst>
      <p:ext uri="{BB962C8B-B14F-4D97-AF65-F5344CB8AC3E}">
        <p14:creationId xmlns:p14="http://schemas.microsoft.com/office/powerpoint/2010/main" val="131752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i</a:t>
            </a:r>
            <a:r>
              <a:rPr lang="en-US" sz="1200" kern="1200" dirty="0">
                <a:solidFill>
                  <a:schemeClr val="tx1"/>
                </a:solidFill>
                <a:latin typeface="+mn-lt"/>
                <a:ea typeface="+mn-ea"/>
                <a:cs typeface="+mn-cs"/>
              </a:rPr>
              <a:t>, Welcome to Microsoft Power Platform + Dynamics 365 Bootcamp.</a:t>
            </a:r>
          </a:p>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1</a:t>
            </a:fld>
            <a:endParaRPr lang="en-GB"/>
          </a:p>
        </p:txBody>
      </p:sp>
    </p:spTree>
    <p:extLst>
      <p:ext uri="{BB962C8B-B14F-4D97-AF65-F5344CB8AC3E}">
        <p14:creationId xmlns:p14="http://schemas.microsoft.com/office/powerpoint/2010/main" val="3189443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0482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8333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43694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82718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8858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93039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keep this super simple, we’ve narrowed it down to three main benefits: We give you industry leading innovation, we allow you to build on your strengths with tools you already know, and we help you broaden your reach, so you can grow even faster. Let me quickly dive into these three areas a little more.</a:t>
            </a:r>
          </a:p>
        </p:txBody>
      </p:sp>
      <p:sp>
        <p:nvSpPr>
          <p:cNvPr id="4" name="Slide Number Placeholder 3"/>
          <p:cNvSpPr>
            <a:spLocks noGrp="1"/>
          </p:cNvSpPr>
          <p:nvPr>
            <p:ph type="sldNum" sz="quarter" idx="5"/>
          </p:nvPr>
        </p:nvSpPr>
        <p:spPr/>
        <p:txBody>
          <a:bodyPr/>
          <a:lstStyle/>
          <a:p>
            <a:fld id="{B84C206D-75CC-904B-80D3-E67E7E50E819}" type="slidenum">
              <a:rPr lang="en-US" smtClean="0"/>
              <a:t>16</a:t>
            </a:fld>
            <a:endParaRPr lang="en-US"/>
          </a:p>
        </p:txBody>
      </p:sp>
    </p:spTree>
    <p:extLst>
      <p:ext uri="{BB962C8B-B14F-4D97-AF65-F5344CB8AC3E}">
        <p14:creationId xmlns:p14="http://schemas.microsoft.com/office/powerpoint/2010/main" val="20458636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4C206D-75CC-904B-80D3-E67E7E50E819}" type="slidenum">
              <a:rPr lang="en-US" smtClean="0"/>
              <a:t>17</a:t>
            </a:fld>
            <a:endParaRPr lang="en-US"/>
          </a:p>
        </p:txBody>
      </p:sp>
    </p:spTree>
    <p:extLst>
      <p:ext uri="{BB962C8B-B14F-4D97-AF65-F5344CB8AC3E}">
        <p14:creationId xmlns:p14="http://schemas.microsoft.com/office/powerpoint/2010/main" val="6690553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Business Applications Platform, and surrounding ecosystem, is comprised of a suite of business applications to support all types of businesses across a range of industries and lifecycles. Today, we’re specifically talking about Finance and Operations, but it’s important to know that this is just one component in our ecosystem that is all designed and built to work together.</a:t>
            </a:r>
          </a:p>
          <a:p>
            <a:endParaRPr lang="en-US" dirty="0"/>
          </a:p>
          <a:p>
            <a:r>
              <a:rPr lang="en-US" dirty="0"/>
              <a:t>Beneath our applications, we have the Power Platform, which connects to our Common Data Service and provides a common set of development, logic, and BI tools that Partners can access to extend our existing Dynamics 365 apps or build their own apps. More on this later, but first, let’s discuss the business opportunity.</a:t>
            </a:r>
          </a:p>
        </p:txBody>
      </p:sp>
      <p:sp>
        <p:nvSpPr>
          <p:cNvPr id="4" name="Slide Number Placeholder 3"/>
          <p:cNvSpPr>
            <a:spLocks noGrp="1"/>
          </p:cNvSpPr>
          <p:nvPr>
            <p:ph type="sldNum" sz="quarter" idx="5"/>
          </p:nvPr>
        </p:nvSpPr>
        <p:spPr/>
        <p:txBody>
          <a:bodyPr/>
          <a:lstStyle/>
          <a:p>
            <a:fld id="{B84C206D-75CC-904B-80D3-E67E7E50E819}" type="slidenum">
              <a:rPr lang="en-US" smtClean="0"/>
              <a:t>18</a:t>
            </a:fld>
            <a:endParaRPr lang="en-US"/>
          </a:p>
        </p:txBody>
      </p:sp>
    </p:spTree>
    <p:extLst>
      <p:ext uri="{BB962C8B-B14F-4D97-AF65-F5344CB8AC3E}">
        <p14:creationId xmlns:p14="http://schemas.microsoft.com/office/powerpoint/2010/main" val="5274066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84C206D-75CC-904B-80D3-E67E7E50E819}" type="slidenum">
              <a:rPr lang="en-US" smtClean="0"/>
              <a:t>19</a:t>
            </a:fld>
            <a:endParaRPr lang="en-US"/>
          </a:p>
        </p:txBody>
      </p:sp>
    </p:spTree>
    <p:extLst>
      <p:ext uri="{BB962C8B-B14F-4D97-AF65-F5344CB8AC3E}">
        <p14:creationId xmlns:p14="http://schemas.microsoft.com/office/powerpoint/2010/main" val="1694467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98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you don’t need to take our word for it. Nucleus Research has recognized Microsoft as a Leader in the ERP Technology Value Matrix.</a:t>
            </a:r>
          </a:p>
        </p:txBody>
      </p:sp>
      <p:sp>
        <p:nvSpPr>
          <p:cNvPr id="4" name="Slide Number Placeholder 3"/>
          <p:cNvSpPr>
            <a:spLocks noGrp="1"/>
          </p:cNvSpPr>
          <p:nvPr>
            <p:ph type="sldNum" sz="quarter" idx="5"/>
          </p:nvPr>
        </p:nvSpPr>
        <p:spPr/>
        <p:txBody>
          <a:bodyPr/>
          <a:lstStyle/>
          <a:p>
            <a:fld id="{B84C206D-75CC-904B-80D3-E67E7E50E819}" type="slidenum">
              <a:rPr lang="en-US" smtClean="0"/>
              <a:t>20</a:t>
            </a:fld>
            <a:endParaRPr lang="en-US"/>
          </a:p>
        </p:txBody>
      </p:sp>
    </p:spTree>
    <p:extLst>
      <p:ext uri="{BB962C8B-B14F-4D97-AF65-F5344CB8AC3E}">
        <p14:creationId xmlns:p14="http://schemas.microsoft.com/office/powerpoint/2010/main" val="31705085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4C206D-75CC-904B-80D3-E67E7E50E819}" type="slidenum">
              <a:rPr lang="en-US" smtClean="0"/>
              <a:t>21</a:t>
            </a:fld>
            <a:endParaRPr lang="en-US"/>
          </a:p>
        </p:txBody>
      </p:sp>
    </p:spTree>
    <p:extLst>
      <p:ext uri="{BB962C8B-B14F-4D97-AF65-F5344CB8AC3E}">
        <p14:creationId xmlns:p14="http://schemas.microsoft.com/office/powerpoint/2010/main" val="21121304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4C206D-75CC-904B-80D3-E67E7E50E819}" type="slidenum">
              <a:rPr lang="en-US" smtClean="0"/>
              <a:t>22</a:t>
            </a:fld>
            <a:endParaRPr lang="en-US"/>
          </a:p>
        </p:txBody>
      </p:sp>
    </p:spTree>
    <p:extLst>
      <p:ext uri="{BB962C8B-B14F-4D97-AF65-F5344CB8AC3E}">
        <p14:creationId xmlns:p14="http://schemas.microsoft.com/office/powerpoint/2010/main" val="3016907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4C206D-75CC-904B-80D3-E67E7E50E819}" type="slidenum">
              <a:rPr lang="en-US" smtClean="0"/>
              <a:t>23</a:t>
            </a:fld>
            <a:endParaRPr lang="en-US"/>
          </a:p>
        </p:txBody>
      </p:sp>
    </p:spTree>
    <p:extLst>
      <p:ext uri="{BB962C8B-B14F-4D97-AF65-F5344CB8AC3E}">
        <p14:creationId xmlns:p14="http://schemas.microsoft.com/office/powerpoint/2010/main" val="33165162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668527">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1556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2663D9C-1D7D-4FC0-B2CB-7774326D51DC}" type="slidenum">
              <a:rPr lang="en-GB" smtClean="0"/>
              <a:t>25</a:t>
            </a:fld>
            <a:endParaRPr lang="en-GB"/>
          </a:p>
        </p:txBody>
      </p:sp>
    </p:spTree>
    <p:extLst>
      <p:ext uri="{BB962C8B-B14F-4D97-AF65-F5344CB8AC3E}">
        <p14:creationId xmlns:p14="http://schemas.microsoft.com/office/powerpoint/2010/main" val="19669054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CF52CCD-442C-4EAD-BD93-C40EAD0E0CA3}" type="slidenum">
              <a:rPr lang="en-US" smtClean="0"/>
              <a:t>26</a:t>
            </a:fld>
            <a:endParaRPr lang="en-US"/>
          </a:p>
        </p:txBody>
      </p:sp>
    </p:spTree>
    <p:extLst>
      <p:ext uri="{BB962C8B-B14F-4D97-AF65-F5344CB8AC3E}">
        <p14:creationId xmlns:p14="http://schemas.microsoft.com/office/powerpoint/2010/main" val="1793132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76699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485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3701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25753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56283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300" b="0" i="0" u="none" strike="noStrike" kern="1200" cap="none" spc="0" normalizeH="0" baseline="0" noProof="0" smtClean="0">
                <a:ln>
                  <a:noFill/>
                </a:ln>
                <a:solidFill>
                  <a:srgbClr val="50505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300" b="0" i="0" u="none" strike="noStrike" kern="1200" cap="none" spc="0" normalizeH="0" baseline="0" noProof="0">
              <a:ln>
                <a:noFill/>
              </a:ln>
              <a:solidFill>
                <a:srgbClr val="505050"/>
              </a:solidFill>
              <a:effectLst/>
              <a:uLnTx/>
              <a:uFillTx/>
              <a:latin typeface="Calibri"/>
              <a:ea typeface="+mn-ea"/>
              <a:cs typeface="+mn-cs"/>
            </a:endParaRPr>
          </a:p>
        </p:txBody>
      </p:sp>
    </p:spTree>
    <p:extLst>
      <p:ext uri="{BB962C8B-B14F-4D97-AF65-F5344CB8AC3E}">
        <p14:creationId xmlns:p14="http://schemas.microsoft.com/office/powerpoint/2010/main" val="22748461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54283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6270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05063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46765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4C206D-75CC-904B-80D3-E67E7E50E819}" type="slidenum">
              <a:rPr lang="en-US" smtClean="0"/>
              <a:t>37</a:t>
            </a:fld>
            <a:endParaRPr lang="en-US"/>
          </a:p>
        </p:txBody>
      </p:sp>
    </p:spTree>
    <p:extLst>
      <p:ext uri="{BB962C8B-B14F-4D97-AF65-F5344CB8AC3E}">
        <p14:creationId xmlns:p14="http://schemas.microsoft.com/office/powerpoint/2010/main" val="268768813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4C206D-75CC-904B-80D3-E67E7E50E819}" type="slidenum">
              <a:rPr lang="en-US" smtClean="0"/>
              <a:t>38</a:t>
            </a:fld>
            <a:endParaRPr lang="en-US"/>
          </a:p>
        </p:txBody>
      </p:sp>
    </p:spTree>
    <p:extLst>
      <p:ext uri="{BB962C8B-B14F-4D97-AF65-F5344CB8AC3E}">
        <p14:creationId xmlns:p14="http://schemas.microsoft.com/office/powerpoint/2010/main" val="194030216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4C206D-75CC-904B-80D3-E67E7E50E819}" type="slidenum">
              <a:rPr lang="en-US" smtClean="0"/>
              <a:t>41</a:t>
            </a:fld>
            <a:endParaRPr lang="en-US"/>
          </a:p>
        </p:txBody>
      </p:sp>
    </p:spTree>
    <p:extLst>
      <p:ext uri="{BB962C8B-B14F-4D97-AF65-F5344CB8AC3E}">
        <p14:creationId xmlns:p14="http://schemas.microsoft.com/office/powerpoint/2010/main" val="9798313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ke more visua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4C206D-75CC-904B-80D3-E67E7E50E8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7090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4</a:t>
            </a:fld>
            <a:endParaRPr lang="en-GB"/>
          </a:p>
        </p:txBody>
      </p:sp>
    </p:spTree>
    <p:extLst>
      <p:ext uri="{BB962C8B-B14F-4D97-AF65-F5344CB8AC3E}">
        <p14:creationId xmlns:p14="http://schemas.microsoft.com/office/powerpoint/2010/main" val="233284739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4C206D-75CC-904B-80D3-E67E7E50E819}" type="slidenum">
              <a:rPr lang="en-US" smtClean="0"/>
              <a:t>43</a:t>
            </a:fld>
            <a:endParaRPr lang="en-US"/>
          </a:p>
        </p:txBody>
      </p:sp>
    </p:spTree>
    <p:extLst>
      <p:ext uri="{BB962C8B-B14F-4D97-AF65-F5344CB8AC3E}">
        <p14:creationId xmlns:p14="http://schemas.microsoft.com/office/powerpoint/2010/main" val="19790010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5760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27843-218F-4FCD-A8AB-4A6D090F8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44342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72" fontAlgn="base">
              <a:lnSpc>
                <a:spcPct val="90000"/>
              </a:lnSpc>
              <a:spcBef>
                <a:spcPct val="0"/>
              </a:spcBef>
              <a:spcAft>
                <a:spcPct val="0"/>
              </a:spcAft>
            </a:pPr>
            <a:endParaRPr lang="en-US"/>
          </a:p>
        </p:txBody>
      </p:sp>
      <p:sp>
        <p:nvSpPr>
          <p:cNvPr id="4" name="Header Placeholder 3"/>
          <p:cNvSpPr>
            <a:spLocks noGrp="1"/>
          </p:cNvSpPr>
          <p:nvPr>
            <p:ph type="hdr" sz="quarter" idx="10"/>
          </p:nvPr>
        </p:nvSpPr>
        <p:spPr/>
        <p:txBody>
          <a:bodyPr/>
          <a:lstStyle/>
          <a:p>
            <a:pPr marL="0" marR="0" lvl="0" indent="0" algn="l" defTabSz="1670261"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713528" marR="0" lvl="0" indent="0" algn="l" defTabSz="163687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1670261"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21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1670261" rtl="0" eaLnBrk="1" fontAlgn="auto" latinLnBrk="0" hangingPunct="1">
                <a:lnSpc>
                  <a:spcPct val="100000"/>
                </a:lnSpc>
                <a:spcBef>
                  <a:spcPts val="0"/>
                </a:spcBef>
                <a:spcAft>
                  <a:spcPts val="0"/>
                </a:spcAft>
                <a:buClrTx/>
                <a:buSzTx/>
                <a:buFontTx/>
                <a:buNone/>
                <a:tabLst/>
                <a:defRPr/>
              </a:pPr>
              <a:t>3/10/2020 12:56 AM</a:t>
            </a:fld>
            <a:endParaRPr kumimoji="0" lang="en-US" sz="21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6702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21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1670261" rtl="0" eaLnBrk="1" fontAlgn="auto" latinLnBrk="0" hangingPunct="1">
                <a:lnSpc>
                  <a:spcPct val="100000"/>
                </a:lnSpc>
                <a:spcBef>
                  <a:spcPts val="0"/>
                </a:spcBef>
                <a:spcAft>
                  <a:spcPts val="0"/>
                </a:spcAft>
                <a:buClrTx/>
                <a:buSzTx/>
                <a:buFontTx/>
                <a:buNone/>
                <a:tabLst/>
                <a:defRPr/>
              </a:pPr>
              <a:t>6</a:t>
            </a:fld>
            <a:endParaRPr kumimoji="0" lang="en-US" sz="21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69788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637416"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637416" rtl="0" eaLnBrk="1" fontAlgn="auto" latinLnBrk="0" hangingPunct="1">
                <a:lnSpc>
                  <a:spcPct val="100000"/>
                </a:lnSpc>
                <a:spcBef>
                  <a:spcPts val="0"/>
                </a:spcBef>
                <a:spcAft>
                  <a:spcPts val="0"/>
                </a:spcAft>
                <a:buClrTx/>
                <a:buSzTx/>
                <a:buFontTx/>
                <a:buNone/>
                <a:tabLst/>
                <a:defRPr/>
              </a:pPr>
              <a:t>7</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88769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52497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2663D9C-1D7D-4FC0-B2CB-7774326D51DC}" type="slidenum">
              <a:rPr lang="en-GB" smtClean="0"/>
              <a:t>9</a:t>
            </a:fld>
            <a:endParaRPr lang="en-GB"/>
          </a:p>
        </p:txBody>
      </p:sp>
    </p:spTree>
    <p:extLst>
      <p:ext uri="{BB962C8B-B14F-4D97-AF65-F5344CB8AC3E}">
        <p14:creationId xmlns:p14="http://schemas.microsoft.com/office/powerpoint/2010/main" val="1449428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emf"/><Relationship Id="rId1" Type="http://schemas.openxmlformats.org/officeDocument/2006/relationships/slideMaster" Target="../slideMasters/slideMaster6.xml"/><Relationship Id="rId5" Type="http://schemas.openxmlformats.org/officeDocument/2006/relationships/image" Target="../media/image40.png"/><Relationship Id="rId4" Type="http://schemas.openxmlformats.org/officeDocument/2006/relationships/image" Target="../media/image39.sv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43.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 Id="rId4" Type="http://schemas.openxmlformats.org/officeDocument/2006/relationships/image" Target="../media/image46.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image" Target="../media/image49.jpg"/><Relationship Id="rId1" Type="http://schemas.openxmlformats.org/officeDocument/2006/relationships/slideMaster" Target="../slideMasters/slideMaster7.xml"/><Relationship Id="rId4" Type="http://schemas.openxmlformats.org/officeDocument/2006/relationships/image" Target="../media/image8.emf"/></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56.jpe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8.jpe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8.xml"/><Relationship Id="rId4" Type="http://schemas.openxmlformats.org/officeDocument/2006/relationships/image" Target="../media/image61.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66.jpeg"/></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56.jpe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8.jpe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9.xml"/><Relationship Id="rId4" Type="http://schemas.openxmlformats.org/officeDocument/2006/relationships/image" Target="../media/image61.jpe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9.xml"/><Relationship Id="rId4" Type="http://schemas.openxmlformats.org/officeDocument/2006/relationships/image" Target="../media/image66.jpeg"/></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Master" Target="../slideMasters/slideMaster3.xml"/><Relationship Id="rId4" Type="http://schemas.openxmlformats.org/officeDocument/2006/relationships/image" Target="../media/image24.jp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5.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1964E-3622-475E-9AF9-097B9BD5CC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1D1D30E-6618-4047-A193-C2B42D64E7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A183512-8F1B-4E50-B31E-67D1363C6044}"/>
              </a:ext>
            </a:extLst>
          </p:cNvPr>
          <p:cNvSpPr>
            <a:spLocks noGrp="1"/>
          </p:cNvSpPr>
          <p:nvPr>
            <p:ph type="dt" sz="half" idx="10"/>
          </p:nvPr>
        </p:nvSpPr>
        <p:spPr/>
        <p:txBody>
          <a:bodyPr/>
          <a:lstStyle/>
          <a:p>
            <a:fld id="{894C087B-338C-4182-AF63-7FDC88A654E5}" type="datetimeFigureOut">
              <a:rPr lang="en-GB" smtClean="0"/>
              <a:t>10/03/2020</a:t>
            </a:fld>
            <a:endParaRPr lang="en-GB"/>
          </a:p>
        </p:txBody>
      </p:sp>
      <p:sp>
        <p:nvSpPr>
          <p:cNvPr id="5" name="Footer Placeholder 4">
            <a:extLst>
              <a:ext uri="{FF2B5EF4-FFF2-40B4-BE49-F238E27FC236}">
                <a16:creationId xmlns:a16="http://schemas.microsoft.com/office/drawing/2014/main" id="{1FB14ADB-A02E-48E3-B2C8-F90897D0B7C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86B78C-4069-467E-A997-0A5B7EBCE5F1}"/>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95847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B4C34-6597-4EC3-8379-8E1F073DCA8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2453C81-8392-44AA-AA36-8F8DD5045ED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8AE5775-C760-4B05-B4FE-070615C67B5D}"/>
              </a:ext>
            </a:extLst>
          </p:cNvPr>
          <p:cNvSpPr>
            <a:spLocks noGrp="1"/>
          </p:cNvSpPr>
          <p:nvPr>
            <p:ph type="dt" sz="half" idx="10"/>
          </p:nvPr>
        </p:nvSpPr>
        <p:spPr/>
        <p:txBody>
          <a:bodyPr/>
          <a:lstStyle/>
          <a:p>
            <a:fld id="{894C087B-338C-4182-AF63-7FDC88A654E5}" type="datetimeFigureOut">
              <a:rPr lang="en-GB" smtClean="0"/>
              <a:t>10/03/2020</a:t>
            </a:fld>
            <a:endParaRPr lang="en-GB"/>
          </a:p>
        </p:txBody>
      </p:sp>
      <p:sp>
        <p:nvSpPr>
          <p:cNvPr id="5" name="Footer Placeholder 4">
            <a:extLst>
              <a:ext uri="{FF2B5EF4-FFF2-40B4-BE49-F238E27FC236}">
                <a16:creationId xmlns:a16="http://schemas.microsoft.com/office/drawing/2014/main" id="{45A8A82F-9379-402D-A292-8C388755332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7B5A30-DE1C-4C17-AF88-1F5492512420}"/>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8076966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2805718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gradFill>
                  <a:gsLst>
                    <a:gs pos="1250">
                      <a:schemeClr val="tx1"/>
                    </a:gs>
                    <a:gs pos="100000">
                      <a:schemeClr val="tx1"/>
                    </a:gs>
                  </a:gsLst>
                  <a:lin ang="5400000" scaled="0"/>
                </a:gra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857759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5788"/>
            <a:ext cx="4158362" cy="2538411"/>
          </a:xfrm>
        </p:spPr>
        <p:txBody>
          <a:bodyPr anchor="b"/>
          <a:lstStyle>
            <a:lvl1pPr>
              <a:defRPr>
                <a:gradFill>
                  <a:gsLst>
                    <a:gs pos="1250">
                      <a:schemeClr val="tx1"/>
                    </a:gs>
                    <a:gs pos="100000">
                      <a:schemeClr val="tx1"/>
                    </a:gs>
                  </a:gsLst>
                  <a:lin ang="5400000" scaled="0"/>
                </a:gradFill>
              </a:defRPr>
            </a:lvl1pPr>
          </a:lstStyle>
          <a:p>
            <a:r>
              <a:rPr lang="en-US"/>
              <a:t>Title square photo layout </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CE15EBF-5737-483E-9D18-6313289480DF}"/>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53032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50"/>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258351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gradFill>
                  <a:gsLst>
                    <a:gs pos="1250">
                      <a:schemeClr val="tx1"/>
                    </a:gs>
                    <a:gs pos="100000">
                      <a:schemeClr val="tx1"/>
                    </a:gs>
                  </a:gsLst>
                  <a:lin ang="5400000" scaled="0"/>
                </a:gradFill>
              </a:defRPr>
            </a:lvl1pPr>
          </a:lstStyle>
          <a:p>
            <a:r>
              <a:rPr lang="en-US"/>
              <a:t>Square photo layout with smaller text</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71BB0AFE-5DC7-4E94-A131-9873A161B428}"/>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290333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2776"/>
            <a:ext cx="11018520" cy="1120702"/>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BE6435F1-D7F1-4077-924D-A31A71362D74}"/>
              </a:ext>
            </a:extLst>
          </p:cNvPr>
          <p:cNvSpPr>
            <a:spLocks noGrp="1"/>
          </p:cNvSpPr>
          <p:nvPr>
            <p:ph type="pic" sz="quarter" idx="11" hasCustomPrompt="1"/>
          </p:nvPr>
        </p:nvSpPr>
        <p:spPr bwMode="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492940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094"/>
            <a:ext cx="11018520" cy="1116384"/>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8B7CDBB8-C08E-4346-B958-2AAC5C81AAC5}"/>
              </a:ext>
            </a:extLst>
          </p:cNvPr>
          <p:cNvSpPr>
            <a:spLocks noGrp="1"/>
          </p:cNvSpPr>
          <p:nvPr>
            <p:ph type="pic" sz="quarter" idx="11" hasCustomPrompt="1"/>
          </p:nvPr>
        </p:nvSpPr>
        <p:spPr bwMode="gray">
          <a:xfrm>
            <a:off x="0"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3391964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lvl1pPr>
              <a:defRPr>
                <a:gradFill>
                  <a:gsLst>
                    <a:gs pos="26923">
                      <a:schemeClr val="tx1"/>
                    </a:gs>
                    <a:gs pos="65000">
                      <a:schemeClr val="tx1"/>
                    </a:gs>
                  </a:gsLst>
                  <a:lin ang="5400000" scaled="0"/>
                </a:gradFill>
              </a:defRPr>
            </a:lvl1pPr>
          </a:lstStyle>
          <a:p>
            <a:r>
              <a:rPr lang="en-US"/>
              <a:t>Click to edit Master title sty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F6645F76-33FA-4C4C-B179-E7B460149744}"/>
              </a:ext>
            </a:extLst>
          </p:cNvPr>
          <p:cNvSpPr>
            <a:spLocks noGrp="1"/>
          </p:cNvSpPr>
          <p:nvPr>
            <p:ph type="pic" sz="quarter" idx="13" hasCustomPrompt="1"/>
          </p:nvPr>
        </p:nvSpPr>
        <p:spPr bwMode="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E0A14B4D-FCF1-42C4-A20D-2D2DF33EE048}"/>
              </a:ext>
            </a:extLst>
          </p:cNvPr>
          <p:cNvSpPr>
            <a:spLocks noGrp="1"/>
          </p:cNvSpPr>
          <p:nvPr>
            <p:ph type="pic" sz="quarter" idx="19" hasCustomPrompt="1"/>
          </p:nvPr>
        </p:nvSpPr>
        <p:spPr bwMode="gray">
          <a:xfrm>
            <a:off x="6241860"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7271521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lvl1pPr>
              <a:defRPr>
                <a:gradFill>
                  <a:gsLst>
                    <a:gs pos="36538">
                      <a:schemeClr val="tx1"/>
                    </a:gs>
                    <a:gs pos="61000">
                      <a:schemeClr val="tx1"/>
                    </a:gs>
                  </a:gsLst>
                  <a:lin ang="5400000" scaled="0"/>
                </a:gradFill>
              </a:defRPr>
            </a:lvl1pPr>
          </a:lstStyle>
          <a:p>
            <a:r>
              <a:rPr lang="en-US"/>
              <a:t>Click to edit Master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D6804FCD-FDB3-4DB4-BDFC-7033A726108D}"/>
              </a:ext>
            </a:extLst>
          </p:cNvPr>
          <p:cNvSpPr>
            <a:spLocks noGrp="1"/>
          </p:cNvSpPr>
          <p:nvPr>
            <p:ph type="pic" sz="quarter" idx="19" hasCustomPrompt="1"/>
          </p:nvPr>
        </p:nvSpPr>
        <p:spPr bwMode="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D1952726-EE06-4B14-8C08-AF36F8EE46DF}"/>
              </a:ext>
            </a:extLst>
          </p:cNvPr>
          <p:cNvSpPr>
            <a:spLocks noGrp="1"/>
          </p:cNvSpPr>
          <p:nvPr>
            <p:ph type="pic" sz="quarter" idx="20" hasCustomPrompt="1"/>
          </p:nvPr>
        </p:nvSpPr>
        <p:spPr bwMode="gray">
          <a:xfrm>
            <a:off x="4358957"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3AA9C9EC-EA14-45A3-8B02-CD120ECA7883}"/>
              </a:ext>
            </a:extLst>
          </p:cNvPr>
          <p:cNvSpPr>
            <a:spLocks noGrp="1"/>
          </p:cNvSpPr>
          <p:nvPr>
            <p:ph type="pic" sz="quarter" idx="21" hasCustomPrompt="1"/>
          </p:nvPr>
        </p:nvSpPr>
        <p:spPr bwMode="gray">
          <a:xfrm>
            <a:off x="8134509"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7332133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lvl1pPr>
              <a:defRPr>
                <a:gradFill>
                  <a:gsLst>
                    <a:gs pos="9615">
                      <a:schemeClr val="tx1"/>
                    </a:gs>
                    <a:gs pos="26000">
                      <a:schemeClr val="tx1"/>
                    </a:gs>
                  </a:gsLst>
                  <a:lin ang="5400000" scaled="0"/>
                </a:gradFill>
              </a:defRPr>
            </a:lvl1pPr>
          </a:lstStyle>
          <a:p>
            <a:r>
              <a:rPr lang="en-US"/>
              <a:t>Click to edit Master title styl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C1B74210-448F-47BC-B1F1-B9CBC10BFFB5}"/>
              </a:ext>
            </a:extLst>
          </p:cNvPr>
          <p:cNvSpPr>
            <a:spLocks noGrp="1"/>
          </p:cNvSpPr>
          <p:nvPr>
            <p:ph type="pic" sz="quarter" idx="21" hasCustomPrompt="1"/>
          </p:nvPr>
        </p:nvSpPr>
        <p:spPr bwMode="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8F9C3BDD-2DC3-4D67-8CD3-020399AB7097}"/>
              </a:ext>
            </a:extLst>
          </p:cNvPr>
          <p:cNvSpPr>
            <a:spLocks noGrp="1"/>
          </p:cNvSpPr>
          <p:nvPr>
            <p:ph type="pic" sz="quarter" idx="22" hasCustomPrompt="1"/>
          </p:nvPr>
        </p:nvSpPr>
        <p:spPr bwMode="gray">
          <a:xfrm>
            <a:off x="3413908"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D54FD642-CAC2-4C9A-B794-7EBB3F3C42C5}"/>
              </a:ext>
            </a:extLst>
          </p:cNvPr>
          <p:cNvSpPr>
            <a:spLocks noGrp="1"/>
          </p:cNvSpPr>
          <p:nvPr>
            <p:ph type="pic" sz="quarter" idx="23" hasCustomPrompt="1"/>
          </p:nvPr>
        </p:nvSpPr>
        <p:spPr bwMode="gray">
          <a:xfrm>
            <a:off x="6245204"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1" name="Picture Placeholder" descr="This photo is a 'placeholder' only. Drag or drop your photo here, or click and tap the center to insert a photo.">
            <a:extLst>
              <a:ext uri="{FF2B5EF4-FFF2-40B4-BE49-F238E27FC236}">
                <a16:creationId xmlns:a16="http://schemas.microsoft.com/office/drawing/2014/main" id="{2EB3829F-413F-45B9-813C-F48499623135}"/>
              </a:ext>
            </a:extLst>
          </p:cNvPr>
          <p:cNvSpPr>
            <a:spLocks noGrp="1"/>
          </p:cNvSpPr>
          <p:nvPr>
            <p:ph type="pic" sz="quarter" idx="24" hasCustomPrompt="1"/>
          </p:nvPr>
        </p:nvSpPr>
        <p:spPr bwMode="gray">
          <a:xfrm>
            <a:off x="9073895"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495473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32E494-D920-4274-8BF4-D814C9A98C4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10CB044-16D0-4DCD-90E8-A6778BD998A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D5D65A1-056B-414E-9C71-659C06ED563C}"/>
              </a:ext>
            </a:extLst>
          </p:cNvPr>
          <p:cNvSpPr>
            <a:spLocks noGrp="1"/>
          </p:cNvSpPr>
          <p:nvPr>
            <p:ph type="dt" sz="half" idx="10"/>
          </p:nvPr>
        </p:nvSpPr>
        <p:spPr/>
        <p:txBody>
          <a:bodyPr/>
          <a:lstStyle/>
          <a:p>
            <a:fld id="{894C087B-338C-4182-AF63-7FDC88A654E5}" type="datetimeFigureOut">
              <a:rPr lang="en-GB" smtClean="0"/>
              <a:t>10/03/2020</a:t>
            </a:fld>
            <a:endParaRPr lang="en-GB"/>
          </a:p>
        </p:txBody>
      </p:sp>
      <p:sp>
        <p:nvSpPr>
          <p:cNvPr id="5" name="Footer Placeholder 4">
            <a:extLst>
              <a:ext uri="{FF2B5EF4-FFF2-40B4-BE49-F238E27FC236}">
                <a16:creationId xmlns:a16="http://schemas.microsoft.com/office/drawing/2014/main" id="{DD792643-3B54-4DC2-A0C2-09F2DC2CB65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020D4D-B658-44E5-80D2-BB5F53E6A90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41231056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lvl1pPr>
              <a:defRPr>
                <a:gradFill>
                  <a:gsLst>
                    <a:gs pos="23077">
                      <a:schemeClr val="tx1"/>
                    </a:gs>
                    <a:gs pos="41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cstate="email">
              <a:extLst>
                <a:ext uri="{28A0092B-C50C-407E-A947-70E740481C1C}">
                  <a14:useLocalDpi xmlns:a14="http://schemas.microsoft.com/office/drawing/2010/main"/>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93482000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8"/>
          </a:xfrm>
        </p:spPr>
        <p:txBody>
          <a:bodyPr/>
          <a:lstStyle>
            <a:lvl1pPr>
              <a:defRPr sz="3600">
                <a:gradFill>
                  <a:gsLst>
                    <a:gs pos="15385">
                      <a:schemeClr val="tx1"/>
                    </a:gs>
                    <a:gs pos="36000">
                      <a:schemeClr val="tx1"/>
                    </a:gs>
                  </a:gsLst>
                  <a:lin ang="5400000" scaled="0"/>
                </a:gra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217400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side by sid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2165228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text side by side 3">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40300004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text side by side 2">
    <p:bg>
      <p:bgRef idx="1001">
        <a:schemeClr val="bg1"/>
      </p:bgRef>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4288327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79646">
                      <a:srgbClr val="30E5D0"/>
                    </a:gs>
                    <a:gs pos="53846">
                      <a:srgbClr val="30E5D0"/>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03747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04952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632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778190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99298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D606A-F4E6-45CB-8266-4A9C4CAE0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a:gsLst>
              <a:gs pos="39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outerShdw dist="50800" dir="5400000" algn="ctr" rotWithShape="0">
              <a:srgbClr val="000000">
                <a:alpha val="43137"/>
              </a:srgbClr>
            </a:outerShdw>
          </a:effectLst>
        </p:spPr>
      </p:pic>
      <p:sp>
        <p:nvSpPr>
          <p:cNvPr id="12" name="Rectangle 11">
            <a:extLst>
              <a:ext uri="{FF2B5EF4-FFF2-40B4-BE49-F238E27FC236}">
                <a16:creationId xmlns:a16="http://schemas.microsoft.com/office/drawing/2014/main" id="{74F1DAD4-F9A3-44AE-8205-B5C9E90E8279}"/>
              </a:ext>
            </a:extLst>
          </p:cNvPr>
          <p:cNvSpPr/>
          <p:nvPr userDrawn="1"/>
        </p:nvSpPr>
        <p:spPr bwMode="auto">
          <a:xfrm flipH="1">
            <a:off x="2656572" y="-1"/>
            <a:ext cx="9535425" cy="6930189"/>
          </a:xfrm>
          <a:prstGeom prst="rect">
            <a:avLst/>
          </a:prstGeom>
          <a:gradFill flip="none" rotWithShape="1">
            <a:gsLst>
              <a:gs pos="0">
                <a:schemeClr val="bg2"/>
              </a:gs>
              <a:gs pos="35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group of people sitting at a table using a computer&#10;&#10;Description generated with very high confidence">
            <a:extLst>
              <a:ext uri="{FF2B5EF4-FFF2-40B4-BE49-F238E27FC236}">
                <a16:creationId xmlns:a16="http://schemas.microsoft.com/office/drawing/2014/main" id="{9CC42919-8D21-4780-9F8C-C146256FB1D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14" name="Rectangle 13">
            <a:extLst>
              <a:ext uri="{FF2B5EF4-FFF2-40B4-BE49-F238E27FC236}">
                <a16:creationId xmlns:a16="http://schemas.microsoft.com/office/drawing/2014/main" id="{B3D9AE3D-3A60-40E9-B6B5-917B25C28020}"/>
              </a:ext>
            </a:extLst>
          </p:cNvPr>
          <p:cNvSpPr/>
          <p:nvPr userDrawn="1"/>
        </p:nvSpPr>
        <p:spPr bwMode="auto">
          <a:xfrm>
            <a:off x="0"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a:extLst>
              <a:ext uri="{FF2B5EF4-FFF2-40B4-BE49-F238E27FC236}">
                <a16:creationId xmlns:a16="http://schemas.microsoft.com/office/drawing/2014/main" id="{09F4F060-0BAF-433D-817D-1D505BC4FA36}"/>
              </a:ext>
            </a:extLst>
          </p:cNvPr>
          <p:cNvSpPr>
            <a:spLocks noGrp="1"/>
          </p:cNvSpPr>
          <p:nvPr>
            <p:ph type="title" hasCustomPrompt="1"/>
          </p:nvPr>
        </p:nvSpPr>
        <p:spPr>
          <a:xfrm>
            <a:off x="455994" y="2714560"/>
            <a:ext cx="5331792" cy="1793104"/>
          </a:xfrm>
          <a:noFill/>
        </p:spPr>
        <p:txBody>
          <a:bodyPr lIns="0" tIns="91440" rIns="146304" bIns="91440" anchor="b" anchorCtr="0"/>
          <a:lstStyle>
            <a:lvl1pPr marL="0" algn="l" defTabSz="896209" rtl="0" eaLnBrk="1" latinLnBrk="0" hangingPunct="1">
              <a:lnSpc>
                <a:spcPct val="90000"/>
              </a:lnSpc>
              <a:spcBef>
                <a:spcPct val="0"/>
              </a:spcBef>
              <a:buNone/>
              <a:defRPr lang="en-US" sz="3921"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16" name="Text Placeholder 4">
            <a:extLst>
              <a:ext uri="{FF2B5EF4-FFF2-40B4-BE49-F238E27FC236}">
                <a16:creationId xmlns:a16="http://schemas.microsoft.com/office/drawing/2014/main" id="{D287F4E7-FA17-4EE9-95E9-086B8BAD1603}"/>
              </a:ext>
            </a:extLst>
          </p:cNvPr>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104738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35871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7237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a:gsLst>
                    <a:gs pos="96795">
                      <a:schemeClr val="tx1"/>
                    </a:gs>
                    <a:gs pos="82051">
                      <a:schemeClr val="tx1"/>
                    </a:gs>
                  </a:gsLst>
                  <a:lin ang="5400000" scaled="0"/>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513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361662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40275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53450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5C51FCE-E4BB-4680-8E50-3C0E348D2609}" type="datetimeFigureOut">
              <a:rPr lang="en-US" dirty="0"/>
              <a:t>3/10/2020</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355994320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18030510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19" y="1816159"/>
            <a:ext cx="3474481" cy="4149241"/>
          </a:xfrm>
          <a:prstGeom prst="rect">
            <a:avLst/>
          </a:prstGeom>
        </p:spPr>
      </p:pic>
    </p:spTree>
    <p:extLst>
      <p:ext uri="{BB962C8B-B14F-4D97-AF65-F5344CB8AC3E}">
        <p14:creationId xmlns:p14="http://schemas.microsoft.com/office/powerpoint/2010/main" val="2741388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3039548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66719189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2971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10537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63614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387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5453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77243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769019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1029727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594677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360317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56844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2288504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60699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243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644912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28762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0301304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endParaRPr lang="en-US" dirty="0"/>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975825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cSld name="1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EA661CE-D70D-4435-A2C4-C6D7FFFA4516}"/>
              </a:ext>
            </a:extLst>
          </p:cNvPr>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1" y="0"/>
            <a:ext cx="6705600" cy="553998"/>
          </a:xfrm>
        </p:spPr>
        <p:txBody>
          <a:bodyPr/>
          <a:lstStyle/>
          <a:p>
            <a:r>
              <a:rPr lang="en-US"/>
              <a:t>Click to edit Master title style</a:t>
            </a:r>
            <a:endParaRPr lang="en-US" dirty="0"/>
          </a:p>
        </p:txBody>
      </p:sp>
      <p:sp>
        <p:nvSpPr>
          <p:cNvPr id="3" name="Content Placeholder 2"/>
          <p:cNvSpPr>
            <a:spLocks noGrp="1"/>
          </p:cNvSpPr>
          <p:nvPr>
            <p:ph idx="1"/>
          </p:nvPr>
        </p:nvSpPr>
        <p:spPr>
          <a:xfrm>
            <a:off x="457201" y="1855894"/>
            <a:ext cx="670560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C24A3A5-AEC3-4D3C-B23F-33D3C8F09335}" type="datetimeFigureOut">
              <a:rPr lang="en-US" smtClean="0"/>
              <a:t>3/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140457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D1230BF-6FCA-487F-85C7-4A42D455BF17}"/>
              </a:ext>
            </a:extLst>
          </p:cNvPr>
          <p:cNvSpPr/>
          <p:nvPr/>
        </p:nvSpPr>
        <p:spPr bwMode="auto">
          <a:xfrm>
            <a:off x="1" y="486"/>
            <a:ext cx="12192000"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p:cNvSpPr>
            <a:spLocks noGrp="1"/>
          </p:cNvSpPr>
          <p:nvPr>
            <p:ph type="title"/>
          </p:nvPr>
        </p:nvSpPr>
        <p:spPr>
          <a:xfrm>
            <a:off x="301751" y="0"/>
            <a:ext cx="11588495" cy="1097280"/>
          </a:xfrm>
        </p:spPr>
        <p:txBody>
          <a:bodyPr>
            <a:normAutofit/>
          </a:bodyPr>
          <a:lstStyle>
            <a:lvl1pPr>
              <a:defRPr sz="2400" spc="0">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43423317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21554"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C24A3A5-AEC3-4D3C-B23F-33D3C8F09335}" type="datetimeFigureOut">
              <a:rPr lang="en-US" smtClean="0"/>
              <a:t>3/1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281277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107957735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466344" y="1371600"/>
            <a:ext cx="5413248"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466344" y="2552200"/>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36793" y="1371601"/>
            <a:ext cx="5413248"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352032" y="2570226"/>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C24A3A5-AEC3-4D3C-B23F-33D3C8F09335}" type="datetimeFigureOut">
              <a:rPr lang="en-US" smtClean="0"/>
              <a:t>3/10/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3458133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798" spc="-12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a:solidFill>
                  <a:schemeClr val="bg1"/>
                </a:solidFill>
                <a:latin typeface="+mj-lt"/>
              </a:defRPr>
            </a:lvl1pPr>
            <a:lvl2pPr marL="457112" indent="0" algn="ctr">
              <a:buNone/>
              <a:defRPr sz="2800"/>
            </a:lvl2pPr>
            <a:lvl3pPr marL="914225" indent="0" algn="ctr">
              <a:buNone/>
              <a:defRPr sz="2400"/>
            </a:lvl3pPr>
            <a:lvl4pPr marL="1371337" indent="0" algn="ctr">
              <a:buNone/>
              <a:defRPr sz="2000"/>
            </a:lvl4pPr>
            <a:lvl5pPr marL="1828449" indent="0" algn="ctr">
              <a:buNone/>
              <a:defRPr sz="2000"/>
            </a:lvl5pPr>
            <a:lvl6pPr marL="2285561" indent="0" algn="ctr">
              <a:buNone/>
              <a:defRPr sz="2000"/>
            </a:lvl6pPr>
            <a:lvl7pPr marL="2742674" indent="0" algn="ctr">
              <a:buNone/>
              <a:defRPr sz="2000"/>
            </a:lvl7pPr>
            <a:lvl8pPr marL="3199785" indent="0" algn="ctr">
              <a:buNone/>
              <a:defRPr sz="2000"/>
            </a:lvl8pPr>
            <a:lvl9pPr marL="3656897" indent="0" algn="ctr">
              <a:buNone/>
              <a:defRPr sz="20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EC24A3A5-AEC3-4D3C-B23F-33D3C8F09335}" type="datetimeFigureOut">
              <a:rPr lang="en-US" smtClean="0"/>
              <a:t>3/10/2020</a:t>
            </a:fld>
            <a:endParaRPr lang="en-US"/>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FCC631FF-58BB-4A6E-8DF8-53935FA44373}" type="slidenum">
              <a:rPr lang="en-US" smtClean="0"/>
              <a:t>‹#›</a:t>
            </a:fld>
            <a:endParaRPr lang="en-US"/>
          </a:p>
        </p:txBody>
      </p:sp>
      <p:grpSp>
        <p:nvGrpSpPr>
          <p:cNvPr id="10" name="Group 9">
            <a:extLst>
              <a:ext uri="{FF2B5EF4-FFF2-40B4-BE49-F238E27FC236}">
                <a16:creationId xmlns:a16="http://schemas.microsoft.com/office/drawing/2014/main" id="{5D89DCB7-E81A-47EB-AA9E-4D3837D378A3}"/>
              </a:ext>
            </a:extLst>
          </p:cNvPr>
          <p:cNvGrpSpPr>
            <a:grpSpLocks noChangeAspect="1"/>
          </p:cNvGrpSpPr>
          <p:nvPr/>
        </p:nvGrpSpPr>
        <p:grpSpPr bwMode="black">
          <a:xfrm>
            <a:off x="667513" y="459572"/>
            <a:ext cx="1448129" cy="310896"/>
            <a:chOff x="457200" y="1643393"/>
            <a:chExt cx="4492753" cy="964540"/>
          </a:xfrm>
        </p:grpSpPr>
        <p:pic>
          <p:nvPicPr>
            <p:cNvPr id="11" name="Picture 10">
              <a:extLst>
                <a:ext uri="{FF2B5EF4-FFF2-40B4-BE49-F238E27FC236}">
                  <a16:creationId xmlns:a16="http://schemas.microsoft.com/office/drawing/2014/main" id="{AFE758BC-3485-4ACD-A87C-C01986688254}"/>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2" name="Freeform 12">
              <a:extLst>
                <a:ext uri="{FF2B5EF4-FFF2-40B4-BE49-F238E27FC236}">
                  <a16:creationId xmlns:a16="http://schemas.microsoft.com/office/drawing/2014/main" id="{BB16719D-703F-406C-9D2C-D03DF3F49D8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59573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chemeClr val="tx1"/>
        </a:solidFill>
        <a:effectLst/>
      </p:bgPr>
    </p:bg>
    <p:spTree>
      <p:nvGrpSpPr>
        <p:cNvPr id="1" name=""/>
        <p:cNvGrpSpPr/>
        <p:nvPr/>
      </p:nvGrpSpPr>
      <p:grpSpPr>
        <a:xfrm>
          <a:off x="0" y="0"/>
          <a:ext cx="0" cy="0"/>
          <a:chOff x="0" y="0"/>
          <a:chExt cx="0" cy="0"/>
        </a:xfrm>
      </p:grpSpPr>
      <p:pic>
        <p:nvPicPr>
          <p:cNvPr id="6" name="Picture 5" descr="Two people standing in a room&#10;&#10;Description automatically generated">
            <a:extLst>
              <a:ext uri="{FF2B5EF4-FFF2-40B4-BE49-F238E27FC236}">
                <a16:creationId xmlns:a16="http://schemas.microsoft.com/office/drawing/2014/main" id="{E3349C8C-AC4F-4210-AC25-8D81210F08A3}"/>
              </a:ext>
            </a:extLst>
          </p:cNvPr>
          <p:cNvPicPr>
            <a:picLocks noChangeAspect="1"/>
          </p:cNvPicPr>
          <p:nvPr userDrawn="1"/>
        </p:nvPicPr>
        <p:blipFill rotWithShape="1">
          <a:blip r:embed="rId2"/>
          <a:srcRect l="26945" t="8446"/>
          <a:stretch/>
        </p:blipFill>
        <p:spPr>
          <a:xfrm>
            <a:off x="7402722" y="235738"/>
            <a:ext cx="4560253" cy="3810000"/>
          </a:xfrm>
          <a:prstGeom prst="rect">
            <a:avLst/>
          </a:prstGeom>
        </p:spPr>
      </p:pic>
      <p:pic>
        <p:nvPicPr>
          <p:cNvPr id="4" name="Picture 3" descr="A group of people around a table&#10;&#10;Description automatically generated">
            <a:extLst>
              <a:ext uri="{FF2B5EF4-FFF2-40B4-BE49-F238E27FC236}">
                <a16:creationId xmlns:a16="http://schemas.microsoft.com/office/drawing/2014/main" id="{CDF15BA5-164D-4CFD-BE8E-A6E691C3AE2C}"/>
              </a:ext>
            </a:extLst>
          </p:cNvPr>
          <p:cNvPicPr>
            <a:picLocks noChangeAspect="1"/>
          </p:cNvPicPr>
          <p:nvPr userDrawn="1"/>
        </p:nvPicPr>
        <p:blipFill rotWithShape="1">
          <a:blip r:embed="rId3"/>
          <a:srcRect l="9968" t="15329" r="16707" b="27042"/>
          <a:stretch/>
        </p:blipFill>
        <p:spPr>
          <a:xfrm>
            <a:off x="7402724" y="4239626"/>
            <a:ext cx="4560252" cy="2389349"/>
          </a:xfrm>
          <a:prstGeom prst="rect">
            <a:avLst/>
          </a:prstGeom>
        </p:spPr>
      </p:pic>
      <p:sp>
        <p:nvSpPr>
          <p:cNvPr id="2" name="Rectangle 1">
            <a:extLst>
              <a:ext uri="{FF2B5EF4-FFF2-40B4-BE49-F238E27FC236}">
                <a16:creationId xmlns:a16="http://schemas.microsoft.com/office/drawing/2014/main" id="{CBEC77DD-F355-423D-83B7-D8F64A95C569}"/>
              </a:ext>
            </a:extLst>
          </p:cNvPr>
          <p:cNvSpPr/>
          <p:nvPr userDrawn="1"/>
        </p:nvSpPr>
        <p:spPr bwMode="black">
          <a:xfrm>
            <a:off x="229023" y="229024"/>
            <a:ext cx="6944677"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D396152D-D35B-4118-93ED-0BD7A880021A}"/>
              </a:ext>
            </a:extLst>
          </p:cNvPr>
          <p:cNvSpPr txBox="1"/>
          <p:nvPr userDrawn="1"/>
        </p:nvSpPr>
        <p:spPr bwMode="white">
          <a:xfrm>
            <a:off x="584200" y="2425780"/>
            <a:ext cx="5511800" cy="1107996"/>
          </a:xfrm>
          <a:prstGeom prst="rect">
            <a:avLst/>
          </a:prstGeom>
          <a:noFill/>
        </p:spPr>
        <p:txBody>
          <a:bodyPr vert="horz" wrap="square" lIns="0" tIns="0" rIns="0" bIns="0" rtlCol="0" anchor="b" anchorCtr="0">
            <a:spAutoFit/>
          </a:bodyPr>
          <a:lstStyle>
            <a:lvl1pPr defTabSz="932742">
              <a:lnSpc>
                <a:spcPct val="100000"/>
              </a:lnSpc>
              <a:spcBef>
                <a:spcPct val="0"/>
              </a:spcBef>
              <a:buNone/>
              <a:defRPr lang="en-US" sz="3600" b="0" cap="none" spc="-50" baseline="0" dirty="0" smtClean="0">
                <a:ln w="3175">
                  <a:noFill/>
                </a:ln>
                <a:gradFill>
                  <a:gsLst>
                    <a:gs pos="62564">
                      <a:schemeClr val="tx1"/>
                    </a:gs>
                    <a:gs pos="55000">
                      <a:schemeClr val="tx1"/>
                    </a:gs>
                  </a:gsLst>
                  <a:lin ang="5400000" scaled="0"/>
                </a:gradFill>
                <a:effectLst/>
                <a:latin typeface="+mj-lt"/>
                <a:cs typeface="Segoe UI" panose="020B0502040204020203" pitchFamily="34" charset="0"/>
              </a:defRPr>
            </a:lvl1pPr>
          </a:lstStyle>
          <a:p>
            <a:pPr lvl="0"/>
            <a:r>
              <a:rPr lang="en-US" dirty="0">
                <a:gradFill>
                  <a:gsLst>
                    <a:gs pos="53982">
                      <a:schemeClr val="tx1"/>
                    </a:gs>
                    <a:gs pos="30000">
                      <a:schemeClr val="tx1"/>
                    </a:gs>
                  </a:gsLst>
                  <a:lin ang="5400000" scaled="1"/>
                </a:gradFill>
              </a:rPr>
              <a:t>Microsoft Business</a:t>
            </a:r>
            <a:br>
              <a:rPr lang="en-US" dirty="0">
                <a:gradFill>
                  <a:gsLst>
                    <a:gs pos="53982">
                      <a:schemeClr val="tx1"/>
                    </a:gs>
                    <a:gs pos="30000">
                      <a:schemeClr val="tx1"/>
                    </a:gs>
                  </a:gsLst>
                  <a:lin ang="5400000" scaled="1"/>
                </a:gradFill>
              </a:rPr>
            </a:br>
            <a:r>
              <a:rPr lang="en-US" dirty="0">
                <a:gradFill>
                  <a:gsLst>
                    <a:gs pos="53982">
                      <a:schemeClr val="tx1"/>
                    </a:gs>
                    <a:gs pos="30000">
                      <a:schemeClr val="tx1"/>
                    </a:gs>
                  </a:gsLst>
                  <a:lin ang="5400000" scaled="1"/>
                </a:gradFill>
              </a:rPr>
              <a:t>Applications Summit</a:t>
            </a:r>
          </a:p>
        </p:txBody>
      </p:sp>
      <p:sp>
        <p:nvSpPr>
          <p:cNvPr id="14" name="TextBox 13">
            <a:extLst>
              <a:ext uri="{FF2B5EF4-FFF2-40B4-BE49-F238E27FC236}">
                <a16:creationId xmlns:a16="http://schemas.microsoft.com/office/drawing/2014/main" id="{E7D69332-EE51-49C2-8356-F26F32534FCE}"/>
              </a:ext>
            </a:extLst>
          </p:cNvPr>
          <p:cNvSpPr txBox="1"/>
          <p:nvPr userDrawn="1"/>
        </p:nvSpPr>
        <p:spPr bwMode="white">
          <a:xfrm>
            <a:off x="584200" y="3962400"/>
            <a:ext cx="5511800" cy="338554"/>
          </a:xfrm>
          <a:prstGeom prst="rect">
            <a:avLst/>
          </a:prstGeom>
          <a:noFill/>
        </p:spPr>
        <p:txBody>
          <a:bodyPr vert="horz" wrap="square" lIns="0" tIns="0" rIns="0" bIns="0" rtlCol="0">
            <a:spAutoFit/>
          </a:bodyPr>
          <a:lstStyle>
            <a:lvl1pPr marR="0" lvl="0" indent="0" defTabSz="932742" fontAlgn="auto">
              <a:lnSpc>
                <a:spcPct val="100000"/>
              </a:lnSpc>
              <a:spcBef>
                <a:spcPts val="0"/>
              </a:spcBef>
              <a:spcAft>
                <a:spcPts val="0"/>
              </a:spcAft>
              <a:buClrTx/>
              <a:buSzPct val="90000"/>
              <a:buFont typeface="Wingdings" panose="05000000000000000000" pitchFamily="2" charset="2"/>
              <a:buNone/>
              <a:tabLst/>
              <a:defRPr sz="2200" spc="0" baseline="0">
                <a:gradFill>
                  <a:gsLst>
                    <a:gs pos="91000">
                      <a:schemeClr val="tx1"/>
                    </a:gs>
                    <a:gs pos="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lvl="0"/>
            <a:r>
              <a:rPr lang="en-US" dirty="0">
                <a:gradFill>
                  <a:gsLst>
                    <a:gs pos="53982">
                      <a:schemeClr val="tx1"/>
                    </a:gs>
                    <a:gs pos="30000">
                      <a:schemeClr val="tx1"/>
                    </a:gs>
                  </a:gsLst>
                  <a:lin ang="5400000" scaled="1"/>
                </a:gradFill>
              </a:rPr>
              <a:t>June 10–11, 2019 | Atlanta, GA</a:t>
            </a:r>
          </a:p>
        </p:txBody>
      </p:sp>
      <p:pic>
        <p:nvPicPr>
          <p:cNvPr id="25" name="MS logo white - EMF" descr="Microsoft logo white text version">
            <a:extLst>
              <a:ext uri="{FF2B5EF4-FFF2-40B4-BE49-F238E27FC236}">
                <a16:creationId xmlns:a16="http://schemas.microsoft.com/office/drawing/2014/main" id="{8F1694E3-9573-45BD-9C44-7866EAD809E3}"/>
              </a:ext>
            </a:extLst>
          </p:cNvPr>
          <p:cNvPicPr>
            <a:picLocks noChangeAspect="1"/>
          </p:cNvPicPr>
          <p:nvPr userDrawn="1"/>
        </p:nvPicPr>
        <p:blipFill>
          <a:blip r:embed="rId4"/>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771454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2845DC5-D523-463D-AFAD-EBEA1941C8DA}"/>
              </a:ext>
            </a:extLst>
          </p:cNvPr>
          <p:cNvSpPr/>
          <p:nvPr userDrawn="1"/>
        </p:nvSpPr>
        <p:spPr bwMode="black">
          <a:xfrm>
            <a:off x="229023" y="229024"/>
            <a:ext cx="11733953"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Title 1"/>
          <p:cNvSpPr>
            <a:spLocks noGrp="1"/>
          </p:cNvSpPr>
          <p:nvPr>
            <p:ph type="title" hasCustomPrompt="1"/>
          </p:nvPr>
        </p:nvSpPr>
        <p:spPr bwMode="white">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bwMode="white">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7EFD2662-C6E1-4637-9D34-25EEDF46C4FB}"/>
              </a:ext>
            </a:extLst>
          </p:cNvPr>
          <p:cNvSpPr>
            <a:spLocks noGrp="1"/>
          </p:cNvSpPr>
          <p:nvPr>
            <p:ph type="body" sz="quarter" idx="13" hasCustomPrompt="1"/>
          </p:nvPr>
        </p:nvSpPr>
        <p:spPr bwMode="white">
          <a:xfrm>
            <a:off x="9460870" y="539842"/>
            <a:ext cx="2146929" cy="338554"/>
          </a:xfrm>
          <a:noFill/>
        </p:spPr>
        <p:txBody>
          <a:bodyPr wrap="square" lIns="0" tIns="0" rIns="0" bIns="0">
            <a:spAutoFit/>
          </a:bodyPr>
          <a:lstStyle>
            <a:lvl1pPr marL="0" indent="0" algn="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ession code</a:t>
            </a:r>
          </a:p>
        </p:txBody>
      </p:sp>
      <p:pic>
        <p:nvPicPr>
          <p:cNvPr id="2" name="Picture 1">
            <a:extLst>
              <a:ext uri="{FF2B5EF4-FFF2-40B4-BE49-F238E27FC236}">
                <a16:creationId xmlns:a16="http://schemas.microsoft.com/office/drawing/2014/main" id="{24DFF586-98CD-40DA-8610-D02871200A0C}"/>
              </a:ext>
            </a:extLst>
          </p:cNvPr>
          <p:cNvPicPr>
            <a:picLocks noChangeAspect="1"/>
          </p:cNvPicPr>
          <p:nvPr userDrawn="1"/>
        </p:nvPicPr>
        <p:blipFill>
          <a:blip r:embed="rId3"/>
          <a:stretch>
            <a:fillRect/>
          </a:stretch>
        </p:blipFill>
        <p:spPr>
          <a:xfrm>
            <a:off x="584200" y="5674583"/>
            <a:ext cx="3254375" cy="655195"/>
          </a:xfrm>
          <a:prstGeom prst="rect">
            <a:avLst/>
          </a:prstGeom>
        </p:spPr>
      </p:pic>
    </p:spTree>
    <p:extLst>
      <p:ext uri="{BB962C8B-B14F-4D97-AF65-F5344CB8AC3E}">
        <p14:creationId xmlns:p14="http://schemas.microsoft.com/office/powerpoint/2010/main" val="8752802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146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31281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69709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61253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912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65917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6" y="1966314"/>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3" y="1956352"/>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99607761"/>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478426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6719424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71195749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70284922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4154627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5811994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926257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37553021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15145031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909013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3"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3"/>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6" y="440497"/>
            <a:ext cx="917173" cy="196431"/>
          </a:xfrm>
          <a:prstGeom prst="rect">
            <a:avLst/>
          </a:prstGeom>
        </p:spPr>
      </p:pic>
    </p:spTree>
    <p:extLst>
      <p:ext uri="{BB962C8B-B14F-4D97-AF65-F5344CB8AC3E}">
        <p14:creationId xmlns:p14="http://schemas.microsoft.com/office/powerpoint/2010/main" val="2475788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FFFF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6757803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7086934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22026369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870508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423787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911380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24754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0338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65275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34571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1"/>
            <a:ext cx="3618381" cy="2693045"/>
          </a:xfrm>
        </p:spPr>
        <p:txBody>
          <a:bodyPr lIns="0" tIns="0" rIns="0" bIns="0"/>
          <a:lstStyle>
            <a:lvl1pPr marL="0" indent="0">
              <a:lnSpc>
                <a:spcPts val="1765"/>
              </a:lnSpc>
              <a:spcBef>
                <a:spcPts val="882"/>
              </a:spcBef>
              <a:buNone/>
              <a:defRPr sz="1372" b="1">
                <a:solidFill>
                  <a:schemeClr val="accent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1" y="3160784"/>
            <a:ext cx="3597528" cy="269304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7" y="3151391"/>
            <a:ext cx="3622117" cy="269304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4931764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50074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5483749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5" y="0"/>
            <a:ext cx="8112955" cy="6858000"/>
          </a:xfrm>
          <a:blipFill>
            <a:blip r:embed="rId2"/>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51305"/>
          <a:stretch/>
        </p:blipFill>
        <p:spPr>
          <a:xfrm>
            <a:off x="274249" y="257318"/>
            <a:ext cx="110359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1888695"/>
            <a:ext cx="3357156" cy="1150187"/>
          </a:xfrm>
          <a:noFill/>
        </p:spPr>
        <p:txBody>
          <a:bodyPr lIns="0" tIns="0" rIns="0" bIns="182880" anchor="b" anchorCtr="0"/>
          <a:lstStyle>
            <a:lvl1pPr>
              <a:defRPr sz="3137" strike="noStrike" spc="-49"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1" y="3038882"/>
            <a:ext cx="3317635" cy="597536"/>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
        <p:nvSpPr>
          <p:cNvPr id="7" name="Footer Placeholder 5">
            <a:extLst>
              <a:ext uri="{FF2B5EF4-FFF2-40B4-BE49-F238E27FC236}">
                <a16:creationId xmlns:a16="http://schemas.microsoft.com/office/drawing/2014/main" id="{56A077E7-B81C-E94A-946B-1C3ABED432A1}"/>
              </a:ext>
            </a:extLst>
          </p:cNvPr>
          <p:cNvSpPr txBox="1">
            <a:spLocks/>
          </p:cNvSpPr>
          <p:nvPr userDrawn="1"/>
        </p:nvSpPr>
        <p:spPr>
          <a:xfrm>
            <a:off x="361838" y="6450194"/>
            <a:ext cx="11586711" cy="273946"/>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686"/>
              <a:t>Microsoft Confidential: Content is shared under NDA with Microsoft CAB members</a:t>
            </a:r>
          </a:p>
        </p:txBody>
      </p:sp>
    </p:spTree>
    <p:extLst>
      <p:ext uri="{BB962C8B-B14F-4D97-AF65-F5344CB8AC3E}">
        <p14:creationId xmlns:p14="http://schemas.microsoft.com/office/powerpoint/2010/main" val="249091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1" y="3029995"/>
            <a:ext cx="9630389" cy="1793104"/>
          </a:xfrm>
          <a:noFill/>
        </p:spPr>
        <p:txBody>
          <a:bodyPr lIns="0" tIns="0" rIns="0" bIns="182880" anchor="b" anchorCtr="0"/>
          <a:lstStyle>
            <a:lvl1pPr>
              <a:defRPr sz="4155" strike="noStrike" spc="-43"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431311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830997"/>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34066401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5936282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2"/>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279" tIns="126623" rIns="158279" bIns="126623" numCol="1" spcCol="0" rtlCol="0" fromWordArt="0" anchor="t" anchorCtr="0" forceAA="0" compatLnSpc="1">
            <a:prstTxWarp prst="textNoShape">
              <a:avLst/>
            </a:prstTxWarp>
            <a:noAutofit/>
          </a:bodyPr>
          <a:lstStyle/>
          <a:p>
            <a:pPr algn="ctr" defTabSz="806997" fontAlgn="base">
              <a:lnSpc>
                <a:spcPct val="90000"/>
              </a:lnSpc>
              <a:spcBef>
                <a:spcPct val="0"/>
              </a:spcBef>
              <a:spcAft>
                <a:spcPct val="0"/>
              </a:spcAft>
            </a:pPr>
            <a:endParaRPr lang="en-US" sz="2077"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5"/>
            <a:ext cx="9660269" cy="1793104"/>
          </a:xfrm>
          <a:noFill/>
        </p:spPr>
        <p:txBody>
          <a:bodyPr lIns="0" tIns="0" rIns="0" bIns="182880" anchor="b" anchorCtr="0"/>
          <a:lstStyle>
            <a:lvl1pPr>
              <a:defRPr sz="4155" strike="noStrike" spc="-43"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418841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7" y="0"/>
            <a:ext cx="8112955" cy="6858000"/>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3600"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093052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091494" y="445301"/>
            <a:ext cx="7672572" cy="5967539"/>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anchor="ctr" anchorCtr="0">
            <a:noAutofit/>
          </a:bodyPr>
          <a:lstStyle>
            <a:lvl1pPr algn="ctr">
              <a:defRPr>
                <a:solidFill>
                  <a:schemeClr val="bg1"/>
                </a:solidFill>
              </a:defRPr>
            </a:lvl1pPr>
          </a:lstStyle>
          <a:p>
            <a:r>
              <a:rPr lang="en-US"/>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2769"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343892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p:spPr>
        <p:txBody>
          <a:bodyPr lIns="0" tIns="0" rIns="0" bIns="0"/>
          <a:lstStyle>
            <a:lvl1pPr>
              <a:defRPr sz="1558"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4" y="1168944"/>
            <a:ext cx="3837818" cy="3786998"/>
          </a:xfrm>
        </p:spPr>
        <p:txBody>
          <a:bodyPr wrap="square" lIns="0" tIns="0" rIns="0" bIns="0">
            <a:noAutofit/>
          </a:bodyPr>
          <a:lstStyle>
            <a:lvl1pPr marL="0" indent="0" defTabSz="447886">
              <a:spcAft>
                <a:spcPts val="433"/>
              </a:spcAft>
              <a:buNone/>
              <a:defRPr sz="1558" spc="0" baseline="0">
                <a:solidFill>
                  <a:schemeClr val="tx2"/>
                </a:solidFill>
              </a:defRPr>
            </a:lvl1pPr>
            <a:lvl2pPr marL="197840" indent="0">
              <a:buNone/>
              <a:defRPr sz="1558"/>
            </a:lvl2pPr>
            <a:lvl3pPr marL="395678" indent="0">
              <a:buNone/>
              <a:defRPr sz="1558"/>
            </a:lvl3pPr>
            <a:lvl4pPr marL="593518" indent="0">
              <a:buNone/>
              <a:defRPr sz="1558"/>
            </a:lvl4pPr>
            <a:lvl5pPr marL="791357" indent="0">
              <a:buNone/>
              <a:defRPr sz="1558"/>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89697217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4400" strike="noStrike">
                <a:solidFill>
                  <a:srgbClr val="2F2F2F"/>
                </a:solidFill>
              </a:defRPr>
            </a:lvl1pPr>
          </a:lstStyle>
          <a:p>
            <a:r>
              <a:rPr lang="en-US"/>
              <a:t>Title</a:t>
            </a:r>
          </a:p>
        </p:txBody>
      </p:sp>
    </p:spTree>
    <p:extLst>
      <p:ext uri="{BB962C8B-B14F-4D97-AF65-F5344CB8AC3E}">
        <p14:creationId xmlns:p14="http://schemas.microsoft.com/office/powerpoint/2010/main" val="82398334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2"/>
            <a:ext cx="11306469" cy="538123"/>
          </a:xfrm>
        </p:spPr>
        <p:txBody>
          <a:bodyPr wrap="square" lIns="0" tIns="0" rIns="0" bIns="0">
            <a:spAutoFit/>
          </a:bodyPr>
          <a:lstStyle>
            <a:lvl1pPr marL="0" indent="0">
              <a:lnSpc>
                <a:spcPts val="2077"/>
              </a:lnSpc>
              <a:buNone/>
              <a:defRPr sz="1731" b="0" i="0" spc="0">
                <a:solidFill>
                  <a:schemeClr val="tx1"/>
                </a:solidFill>
                <a:latin typeface="+mj-lt"/>
              </a:defRPr>
            </a:lvl1pPr>
            <a:lvl2pPr marL="0" indent="0">
              <a:lnSpc>
                <a:spcPts val="2077"/>
              </a:lnSpc>
              <a:buNone/>
              <a:defRPr spc="0"/>
            </a:lvl2pPr>
            <a:lvl3pPr marL="395678" indent="0">
              <a:buNone/>
              <a:defRPr/>
            </a:lvl3pPr>
            <a:lvl4pPr marL="593518" indent="0">
              <a:buNone/>
              <a:defRPr/>
            </a:lvl4pPr>
            <a:lvl5pPr marL="79135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7" y="3151390"/>
            <a:ext cx="11306469" cy="401043"/>
          </a:xfrm>
        </p:spPr>
        <p:txBody>
          <a:bodyPr lIns="0" tIns="0" rIns="0" bIns="0"/>
          <a:lstStyle>
            <a:lvl1pPr marL="0" indent="0">
              <a:lnSpc>
                <a:spcPts val="1558"/>
              </a:lnSpc>
              <a:spcBef>
                <a:spcPts val="0"/>
              </a:spcBef>
              <a:buNone/>
              <a:defRPr sz="1211" b="0" spc="0">
                <a:solidFill>
                  <a:schemeClr val="tx2"/>
                </a:solidFill>
                <a:latin typeface="+mj-lt"/>
              </a:defRPr>
            </a:lvl1pPr>
            <a:lvl2pPr marL="0" indent="0">
              <a:lnSpc>
                <a:spcPts val="1558"/>
              </a:lnSpc>
              <a:spcBef>
                <a:spcPts val="0"/>
              </a:spcBef>
              <a:buNone/>
              <a:defRPr sz="1211" spc="0">
                <a:solidFill>
                  <a:schemeClr val="tx1"/>
                </a:solidFill>
              </a:defRPr>
            </a:lvl2pPr>
            <a:lvl3pPr marL="395678" indent="0">
              <a:buNone/>
              <a:defRPr/>
            </a:lvl3pPr>
            <a:lvl4pPr marL="593518" indent="0">
              <a:buNone/>
              <a:defRPr/>
            </a:lvl4pPr>
            <a:lvl5pPr marL="79135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7" y="4352947"/>
            <a:ext cx="11306469" cy="299768"/>
          </a:xfrm>
        </p:spPr>
        <p:txBody>
          <a:bodyPr lIns="0" tIns="0" rIns="0" bIns="0"/>
          <a:lstStyle>
            <a:lvl1pPr marL="0" indent="0">
              <a:lnSpc>
                <a:spcPts val="1038"/>
              </a:lnSpc>
              <a:spcBef>
                <a:spcPts val="0"/>
              </a:spcBef>
              <a:buNone/>
              <a:defRPr sz="865" spc="0">
                <a:solidFill>
                  <a:schemeClr val="tx1"/>
                </a:solidFill>
              </a:defRPr>
            </a:lvl1pPr>
            <a:lvl2pPr marL="0" indent="0">
              <a:lnSpc>
                <a:spcPct val="100000"/>
              </a:lnSpc>
              <a:spcBef>
                <a:spcPts val="0"/>
              </a:spcBef>
              <a:buNone/>
              <a:defRPr sz="865" spc="0">
                <a:solidFill>
                  <a:schemeClr val="tx1"/>
                </a:solidFill>
              </a:defRPr>
            </a:lvl2pPr>
            <a:lvl3pPr marL="395678" indent="0">
              <a:buNone/>
              <a:defRPr/>
            </a:lvl3pPr>
            <a:lvl4pPr marL="5935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199782729"/>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7"/>
            <a:ext cx="9384447" cy="538123"/>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16070495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18896747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60" y="1599726"/>
            <a:ext cx="3609417" cy="309939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1" y="1599726"/>
            <a:ext cx="3609417" cy="309939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5" y="1599722"/>
            <a:ext cx="3609417" cy="3099394"/>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507200448"/>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731"/>
            </a:lvl1pPr>
          </a:lstStyle>
          <a:p>
            <a:pPr lvl="0"/>
            <a:r>
              <a:rPr lang="en-US"/>
              <a:t>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7"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73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731"/>
            </a:lvl1pPr>
          </a:lstStyle>
          <a:p>
            <a:pPr lvl="0"/>
            <a:r>
              <a:rPr lang="en-US"/>
              <a:t>Picture</a:t>
            </a:r>
          </a:p>
        </p:txBody>
      </p:sp>
      <p:sp>
        <p:nvSpPr>
          <p:cNvPr id="27" name="Content Placeholder 15"/>
          <p:cNvSpPr>
            <a:spLocks noGrp="1"/>
          </p:cNvSpPr>
          <p:nvPr>
            <p:ph sz="quarter" idx="28" hasCustomPrompt="1"/>
          </p:nvPr>
        </p:nvSpPr>
        <p:spPr>
          <a:xfrm>
            <a:off x="6222997" y="2158887"/>
            <a:ext cx="1693247" cy="895855"/>
          </a:xfrm>
        </p:spPr>
        <p:txBody>
          <a:bodyPr>
            <a:noAutofit/>
          </a:bodyPr>
          <a:lstStyle>
            <a:lvl1pPr marL="0" indent="0">
              <a:buNone/>
              <a:defRPr sz="173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73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73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25188792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369424780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l">
              <a:defRPr sz="3200"/>
            </a:lvl1pPr>
          </a:lstStyle>
          <a:p>
            <a:r>
              <a:rPr lang="en-US"/>
              <a:t>Click to edit Master title style</a:t>
            </a:r>
          </a:p>
        </p:txBody>
      </p:sp>
      <p:sp>
        <p:nvSpPr>
          <p:cNvPr id="5" name="Footer Placeholder 14">
            <a:extLst>
              <a:ext uri="{FF2B5EF4-FFF2-40B4-BE49-F238E27FC236}">
                <a16:creationId xmlns:a16="http://schemas.microsoft.com/office/drawing/2014/main" id="{C989EB7D-C6F7-415A-95F0-667B4A27E08E}"/>
              </a:ext>
            </a:extLst>
          </p:cNvPr>
          <p:cNvSpPr>
            <a:spLocks noGrp="1"/>
          </p:cNvSpPr>
          <p:nvPr>
            <p:ph type="ftr" sz="quarter" idx="3"/>
          </p:nvPr>
        </p:nvSpPr>
        <p:spPr>
          <a:xfrm>
            <a:off x="186476"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977035102"/>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455994" y="2201864"/>
            <a:ext cx="5243348" cy="1619023"/>
          </a:xfrm>
        </p:spPr>
        <p:txBody>
          <a:bodyPr anchor="b"/>
          <a:lstStyle>
            <a:lvl1pPr>
              <a:defRPr kumimoji="0" lang="en-US" sz="3600" b="1" i="0" u="none" strike="noStrike" kern="1200" cap="none" spc="-50" normalizeH="0" baseline="0" dirty="0">
                <a:ln w="3175">
                  <a:noFill/>
                </a:ln>
                <a:solidFill>
                  <a:srgbClr val="505050"/>
                </a:solidFill>
                <a:effectLst/>
                <a:uLnTx/>
                <a:uFillTx/>
                <a:latin typeface="Segoe UI Semibold"/>
                <a:ea typeface="+mn-ea"/>
                <a:cs typeface="Segoe UI"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D79F421B-8B81-47DD-9323-0CCE74CBF407}"/>
              </a:ext>
            </a:extLst>
          </p:cNvPr>
          <p:cNvSpPr>
            <a:spLocks noGrp="1"/>
          </p:cNvSpPr>
          <p:nvPr>
            <p:ph type="body" sz="quarter" idx="10"/>
          </p:nvPr>
        </p:nvSpPr>
        <p:spPr>
          <a:xfrm>
            <a:off x="465139" y="3970752"/>
            <a:ext cx="4821237" cy="1431161"/>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1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719846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80"/>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155" spc="-43" baseline="0" dirty="0">
                <a:solidFill>
                  <a:schemeClr val="tx1"/>
                </a:solidFill>
              </a:defRPr>
            </a:lvl1pPr>
          </a:lstStyle>
          <a:p>
            <a:pPr marL="0" lvl="0">
              <a:lnSpc>
                <a:spcPts val="4847"/>
              </a:lnSpc>
            </a:pPr>
            <a:r>
              <a:rPr lang="en-US"/>
              <a:t>Section title</a:t>
            </a:r>
          </a:p>
        </p:txBody>
      </p:sp>
    </p:spTree>
    <p:extLst>
      <p:ext uri="{BB962C8B-B14F-4D97-AF65-F5344CB8AC3E}">
        <p14:creationId xmlns:p14="http://schemas.microsoft.com/office/powerpoint/2010/main" val="398836984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3"/>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
        <p:nvSpPr>
          <p:cNvPr id="6" name="TextBox 5">
            <a:extLst>
              <a:ext uri="{FF2B5EF4-FFF2-40B4-BE49-F238E27FC236}">
                <a16:creationId xmlns:a16="http://schemas.microsoft.com/office/drawing/2014/main" id="{23DD4161-F188-3B42-AE17-D117287440D8}"/>
              </a:ext>
            </a:extLst>
          </p:cNvPr>
          <p:cNvSpPr txBox="1"/>
          <p:nvPr userDrawn="1"/>
        </p:nvSpPr>
        <p:spPr>
          <a:xfrm>
            <a:off x="254288" y="251011"/>
            <a:ext cx="4532865" cy="489365"/>
          </a:xfrm>
          <a:prstGeom prst="rect">
            <a:avLst/>
          </a:prstGeom>
          <a:noFill/>
        </p:spPr>
        <p:txBody>
          <a:bodyPr wrap="square" lIns="182880" tIns="146304" rIns="182880" bIns="146304" rtlCol="0">
            <a:spAutoFit/>
          </a:bodyPr>
          <a:lstStyle/>
          <a:p>
            <a:pPr>
              <a:lnSpc>
                <a:spcPct val="90000"/>
              </a:lnSpc>
              <a:spcAft>
                <a:spcPts val="600"/>
              </a:spcAft>
            </a:pPr>
            <a:r>
              <a:rPr lang="en-US" sz="1400" b="0" spc="0">
                <a:solidFill>
                  <a:schemeClr val="tx1"/>
                </a:solidFill>
                <a:latin typeface="+mj-lt"/>
              </a:rPr>
              <a:t>PROACTIVE</a:t>
            </a:r>
            <a:r>
              <a:rPr lang="en-US" sz="1400" b="0" spc="0">
                <a:solidFill>
                  <a:schemeClr val="tx1"/>
                </a:solidFill>
                <a:latin typeface="+mj-lt"/>
                <a:cs typeface="Segoe UI Semibold"/>
              </a:rPr>
              <a:t> C</a:t>
            </a:r>
            <a:r>
              <a:rPr lang="en-US" sz="1400" b="0" spc="0">
                <a:solidFill>
                  <a:schemeClr val="tx1"/>
                </a:solidFill>
                <a:latin typeface="+mj-lt"/>
              </a:rPr>
              <a:t>USTOMER SERVICE </a:t>
            </a:r>
          </a:p>
        </p:txBody>
      </p:sp>
    </p:spTree>
    <p:extLst>
      <p:ext uri="{BB962C8B-B14F-4D97-AF65-F5344CB8AC3E}">
        <p14:creationId xmlns:p14="http://schemas.microsoft.com/office/powerpoint/2010/main" val="22081953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3A271-34AE-4FE3-8AAE-540C4FCDE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A8973A3-13D4-4AD0-B032-D720FDAEA4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D9298A-9A5D-4147-A02D-CC398380A800}"/>
              </a:ext>
            </a:extLst>
          </p:cNvPr>
          <p:cNvSpPr>
            <a:spLocks noGrp="1"/>
          </p:cNvSpPr>
          <p:nvPr>
            <p:ph type="dt" sz="half" idx="10"/>
          </p:nvPr>
        </p:nvSpPr>
        <p:spPr/>
        <p:txBody>
          <a:bodyPr/>
          <a:lstStyle/>
          <a:p>
            <a:fld id="{894C087B-338C-4182-AF63-7FDC88A654E5}" type="datetimeFigureOut">
              <a:rPr lang="en-GB" smtClean="0"/>
              <a:t>10/03/2020</a:t>
            </a:fld>
            <a:endParaRPr lang="en-GB"/>
          </a:p>
        </p:txBody>
      </p:sp>
      <p:sp>
        <p:nvSpPr>
          <p:cNvPr id="5" name="Footer Placeholder 4">
            <a:extLst>
              <a:ext uri="{FF2B5EF4-FFF2-40B4-BE49-F238E27FC236}">
                <a16:creationId xmlns:a16="http://schemas.microsoft.com/office/drawing/2014/main" id="{E3893891-7DE9-4ED4-8ED9-A694B5865AD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F45E750-C7BD-4404-AC6A-8963E0241E7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32822391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4307EF-70D9-48C5-8EFC-6818320E86D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855B71-1B82-4C4C-94D7-A5EEE95A3E0A}" type="datetimeFigureOut">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2020</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 name="Footer Placeholder 2">
            <a:extLst>
              <a:ext uri="{FF2B5EF4-FFF2-40B4-BE49-F238E27FC236}">
                <a16:creationId xmlns:a16="http://schemas.microsoft.com/office/drawing/2014/main" id="{D4CD43EB-66A3-4BC3-B84C-2A97CB6A221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 name="Slide Number Placeholder 3">
            <a:extLst>
              <a:ext uri="{FF2B5EF4-FFF2-40B4-BE49-F238E27FC236}">
                <a16:creationId xmlns:a16="http://schemas.microsoft.com/office/drawing/2014/main" id="{A8E11D55-5DFD-42D5-BCD3-E371B9CB437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6ED2FB5-7453-4B0F-B1E0-2F4F5F3D69BB}" type="slidenum">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14231762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Tree>
    <p:extLst>
      <p:ext uri="{BB962C8B-B14F-4D97-AF65-F5344CB8AC3E}">
        <p14:creationId xmlns:p14="http://schemas.microsoft.com/office/powerpoint/2010/main" val="36722176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4"/>
            <a:ext cx="7454643" cy="3558191"/>
          </a:xfrm>
          <a:noFill/>
        </p:spPr>
        <p:txBody>
          <a:bodyPr vert="horz" wrap="square" lIns="0" tIns="0" rIns="0" bIns="0" rtlCol="0" anchor="t" anchorCtr="0">
            <a:noAutofit/>
          </a:bodyPr>
          <a:lstStyle>
            <a:lvl1pPr>
              <a:defRPr lang="en-US" sz="4155" spc="-43" baseline="0" dirty="0">
                <a:solidFill>
                  <a:schemeClr val="accent5"/>
                </a:solidFill>
              </a:defRPr>
            </a:lvl1pPr>
          </a:lstStyle>
          <a:p>
            <a:pPr marL="0" lvl="0">
              <a:lnSpc>
                <a:spcPts val="4847"/>
              </a:lnSpc>
            </a:pPr>
            <a:r>
              <a:rPr lang="en-US"/>
              <a:t>Section title</a:t>
            </a:r>
          </a:p>
        </p:txBody>
      </p:sp>
    </p:spTree>
    <p:extLst>
      <p:ext uri="{BB962C8B-B14F-4D97-AF65-F5344CB8AC3E}">
        <p14:creationId xmlns:p14="http://schemas.microsoft.com/office/powerpoint/2010/main" val="3267443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5541959" cy="359212"/>
          </a:xfrm>
        </p:spPr>
        <p:txBody>
          <a:bodyPr wrap="square" lIns="0" tIns="0" rIns="0" bIns="0">
            <a:spAutoFit/>
          </a:bodyPr>
          <a:lstStyle>
            <a:lvl1pPr>
              <a:lnSpc>
                <a:spcPts val="2769"/>
              </a:lnSpc>
              <a:defRPr sz="2423"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394758"/>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52249"/>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811841878"/>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282511640"/>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2"/>
            <a:ext cx="4758211" cy="538123"/>
          </a:xfrm>
        </p:spPr>
        <p:txBody>
          <a:bodyPr wrap="square" lIns="0" tIns="0" rIns="0" bIns="0">
            <a:spAutoFit/>
          </a:bodyPr>
          <a:lstStyle>
            <a:lvl1pPr marL="0" indent="0">
              <a:lnSpc>
                <a:spcPts val="2077"/>
              </a:lnSpc>
              <a:buNone/>
              <a:defRPr sz="1731" b="0" i="0">
                <a:solidFill>
                  <a:schemeClr val="tx1"/>
                </a:solidFill>
                <a:latin typeface="+mn-lt"/>
              </a:defRPr>
            </a:lvl1pPr>
            <a:lvl2pPr marL="197840" indent="0">
              <a:buNone/>
              <a:defRPr/>
            </a:lvl2pPr>
            <a:lvl3pPr marL="395678" indent="0">
              <a:buNone/>
              <a:defRPr/>
            </a:lvl3pPr>
            <a:lvl4pPr marL="593518" indent="0">
              <a:buNone/>
              <a:defRPr/>
            </a:lvl4pPr>
            <a:lvl5pPr marL="79135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6" y="2707597"/>
            <a:ext cx="4758210" cy="2278216"/>
          </a:xfrm>
        </p:spPr>
        <p:txBody>
          <a:bodyPr lIns="0" tIns="0" rIns="0" bIns="0"/>
          <a:lstStyle>
            <a:lvl1pPr marL="247299" indent="-247299">
              <a:lnSpc>
                <a:spcPts val="1558"/>
              </a:lnSpc>
              <a:spcBef>
                <a:spcPts val="0"/>
              </a:spcBef>
              <a:buFont typeface="Arial" panose="020B0604020202020204" pitchFamily="34" charset="0"/>
              <a:buChar char="•"/>
              <a:defRPr sz="1211" b="0" i="0" spc="0">
                <a:solidFill>
                  <a:schemeClr val="tx1"/>
                </a:solidFill>
                <a:latin typeface="+mn-lt"/>
              </a:defRPr>
            </a:lvl1pPr>
            <a:lvl2pPr marL="0" indent="0">
              <a:lnSpc>
                <a:spcPts val="1558"/>
              </a:lnSpc>
              <a:spcBef>
                <a:spcPts val="0"/>
              </a:spcBef>
              <a:buNone/>
              <a:defRPr sz="1211">
                <a:solidFill>
                  <a:schemeClr val="tx1"/>
                </a:solidFill>
              </a:defRPr>
            </a:lvl2pPr>
            <a:lvl3pPr marL="395678" indent="0">
              <a:buNone/>
              <a:defRPr/>
            </a:lvl3pPr>
            <a:lvl4pPr marL="593518" indent="0">
              <a:buNone/>
              <a:defRPr/>
            </a:lvl4pPr>
            <a:lvl5pPr marL="79135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24001855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157534237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84250" y="486948"/>
            <a:ext cx="10869930" cy="6371053"/>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8" y="3509416"/>
            <a:ext cx="7678751" cy="50443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524323192"/>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p:spPr>
        <p:txBody>
          <a:bodyPr anchor="ctr">
            <a:noAutofit/>
          </a:bodyPr>
          <a:lstStyle>
            <a:lvl1pPr marL="0" indent="0" algn="ctr">
              <a:buNone/>
              <a:defRPr sz="2077"/>
            </a:lvl1pPr>
          </a:lstStyle>
          <a:p>
            <a:r>
              <a:rPr lang="en-US"/>
              <a:t>Click icon to add chart</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256480"/>
          </a:xfrm>
        </p:spPr>
        <p:txBody>
          <a:bodyPr lIns="0" tIns="0" rIns="0" bIns="0"/>
          <a:lstStyle>
            <a:lvl1pPr marL="0" indent="0">
              <a:lnSpc>
                <a:spcPts val="1038"/>
              </a:lnSpc>
              <a:spcBef>
                <a:spcPts val="779"/>
              </a:spcBef>
              <a:buFont typeface="Arial" panose="020B0604020202020204" pitchFamily="34" charset="0"/>
              <a:buNone/>
              <a:defRPr sz="865" b="0" i="0" spc="0">
                <a:solidFill>
                  <a:schemeClr val="tx1"/>
                </a:solidFill>
                <a:latin typeface="+mn-lt"/>
              </a:defRPr>
            </a:lvl1pPr>
            <a:lvl2pPr marL="0" marR="0" indent="0" algn="l" defTabSz="807231" rtl="0" eaLnBrk="1" fontAlgn="auto" latinLnBrk="0" hangingPunct="1">
              <a:lnSpc>
                <a:spcPts val="1038"/>
              </a:lnSpc>
              <a:spcBef>
                <a:spcPts val="389"/>
              </a:spcBef>
              <a:spcAft>
                <a:spcPts val="0"/>
              </a:spcAft>
              <a:buClrTx/>
              <a:buSzPct val="90000"/>
              <a:buFont typeface="Arial" panose="020B0604020202020204" pitchFamily="34" charset="0"/>
              <a:buNone/>
              <a:tabLst/>
              <a:defRPr sz="865">
                <a:solidFill>
                  <a:schemeClr val="tx1"/>
                </a:solidFill>
              </a:defRPr>
            </a:lvl2pPr>
            <a:lvl3pPr marL="395678" indent="0">
              <a:buNone/>
              <a:defRPr/>
            </a:lvl3pPr>
            <a:lvl4pPr marL="593518" indent="0">
              <a:buNone/>
              <a:defRPr/>
            </a:lvl4pPr>
            <a:lvl5pPr marL="79135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p:spPr>
        <p:txBody>
          <a:bodyPr anchor="ctr">
            <a:noAutofit/>
          </a:bodyPr>
          <a:lstStyle>
            <a:lvl1pPr marL="0" indent="0" algn="ctr">
              <a:buNone/>
              <a:defRPr sz="2077"/>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p:spPr>
        <p:txBody>
          <a:bodyPr anchor="ctr">
            <a:noAutofit/>
          </a:bodyPr>
          <a:lstStyle>
            <a:lvl1pPr marL="0" indent="0" algn="ctr">
              <a:buNone/>
              <a:defRPr sz="2077"/>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6908108"/>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able styling</a:t>
            </a:r>
          </a:p>
        </p:txBody>
      </p:sp>
      <p:sp>
        <p:nvSpPr>
          <p:cNvPr id="4" name="Table Placeholder 3"/>
          <p:cNvSpPr>
            <a:spLocks noGrp="1"/>
          </p:cNvSpPr>
          <p:nvPr>
            <p:ph type="tbl" sz="quarter" idx="10"/>
          </p:nvPr>
        </p:nvSpPr>
        <p:spPr>
          <a:xfrm>
            <a:off x="455997" y="3946014"/>
            <a:ext cx="11306469" cy="50443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014890594"/>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Tree>
    <p:extLst>
      <p:ext uri="{BB962C8B-B14F-4D97-AF65-F5344CB8AC3E}">
        <p14:creationId xmlns:p14="http://schemas.microsoft.com/office/powerpoint/2010/main" val="4164502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3504" y="2743200"/>
            <a:ext cx="10515600" cy="1146875"/>
          </a:xfrm>
          <a:prstGeom prst="rect">
            <a:avLst/>
          </a:prstGeom>
        </p:spPr>
        <p:txBody>
          <a:bodyPr/>
          <a:lstStyle>
            <a:lvl1pPr>
              <a:defRPr sz="4800" b="0" i="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Divider</a:t>
            </a:r>
          </a:p>
        </p:txBody>
      </p:sp>
    </p:spTree>
    <p:extLst>
      <p:ext uri="{BB962C8B-B14F-4D97-AF65-F5344CB8AC3E}">
        <p14:creationId xmlns:p14="http://schemas.microsoft.com/office/powerpoint/2010/main" val="318627921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050557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1_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sp>
        <p:nvSpPr>
          <p:cNvPr id="2" name="TextBox 1">
            <a:extLst>
              <a:ext uri="{FF2B5EF4-FFF2-40B4-BE49-F238E27FC236}">
                <a16:creationId xmlns:a16="http://schemas.microsoft.com/office/drawing/2014/main" id="{47ECF149-BD23-4899-A45C-0D814A1ECD3A}"/>
              </a:ext>
            </a:extLst>
          </p:cNvPr>
          <p:cNvSpPr txBox="1"/>
          <p:nvPr userDrawn="1"/>
        </p:nvSpPr>
        <p:spPr>
          <a:xfrm>
            <a:off x="6929438" y="4651243"/>
            <a:ext cx="5056512" cy="2244845"/>
          </a:xfrm>
          <a:prstGeom prst="rect">
            <a:avLst/>
          </a:prstGeom>
          <a:noFill/>
        </p:spPr>
        <p:txBody>
          <a:bodyPr wrap="none" lIns="182854" tIns="146284" rIns="182854" bIns="146284" rtlCol="0">
            <a:spAutoFit/>
          </a:bodyPr>
          <a:lstStyle/>
          <a:p>
            <a:pPr>
              <a:lnSpc>
                <a:spcPct val="90000"/>
              </a:lnSpc>
              <a:spcAft>
                <a:spcPts val="600"/>
              </a:spcAft>
            </a:pPr>
            <a:r>
              <a:rPr lang="en-US" sz="13798" b="1">
                <a:solidFill>
                  <a:schemeClr val="accent5"/>
                </a:solidFill>
              </a:rPr>
              <a:t>video</a:t>
            </a:r>
          </a:p>
        </p:txBody>
      </p:sp>
    </p:spTree>
    <p:extLst>
      <p:ext uri="{BB962C8B-B14F-4D97-AF65-F5344CB8AC3E}">
        <p14:creationId xmlns:p14="http://schemas.microsoft.com/office/powerpoint/2010/main" val="38835917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977079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0EB26-4929-4DF6-88F4-86BD30B030F0}"/>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CE84A1E2-FD55-4915-80F8-BF7E83E7C10E}"/>
              </a:ext>
            </a:extLst>
          </p:cNvPr>
          <p:cNvSpPr>
            <a:spLocks noGrp="1"/>
          </p:cNvSpPr>
          <p:nvPr>
            <p:ph type="body" sz="quarter" idx="10"/>
          </p:nvPr>
        </p:nvSpPr>
        <p:spPr>
          <a:xfrm>
            <a:off x="160393" y="-1305316"/>
            <a:ext cx="11422999" cy="398335"/>
          </a:xfrm>
          <a:prstGeom prst="rect">
            <a:avLst/>
          </a:prstGeom>
        </p:spPr>
        <p:txBody>
          <a:bodyPr/>
          <a:lstStyle>
            <a:lvl1pPr algn="ctr">
              <a:defRPr sz="1568">
                <a:solidFill>
                  <a:schemeClr val="accent5"/>
                </a:solidFill>
              </a:defRPr>
            </a:lvl1pPr>
          </a:lstStyle>
          <a:p>
            <a:pPr lvl="0"/>
            <a:r>
              <a:rPr lang="en-US"/>
              <a:t>Edit Master text styles</a:t>
            </a:r>
          </a:p>
        </p:txBody>
      </p:sp>
    </p:spTree>
    <p:extLst>
      <p:ext uri="{BB962C8B-B14F-4D97-AF65-F5344CB8AC3E}">
        <p14:creationId xmlns:p14="http://schemas.microsoft.com/office/powerpoint/2010/main" val="4149204379"/>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05880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3637154"/>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93515843"/>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2954796428"/>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spcBef>
                <a:spcPts val="588"/>
              </a:spcBef>
              <a:spcAft>
                <a:spcPts val="588"/>
              </a:spcAft>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88370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21_Images &amp; Contents">
    <p:spTree>
      <p:nvGrpSpPr>
        <p:cNvPr id="1" name=""/>
        <p:cNvGrpSpPr/>
        <p:nvPr/>
      </p:nvGrpSpPr>
      <p:grpSpPr>
        <a:xfrm>
          <a:off x="0" y="0"/>
          <a:ext cx="0" cy="0"/>
          <a:chOff x="0" y="0"/>
          <a:chExt cx="0" cy="0"/>
        </a:xfrm>
      </p:grpSpPr>
      <p:sp>
        <p:nvSpPr>
          <p:cNvPr id="21" name="자유형: 도형 20">
            <a:extLst>
              <a:ext uri="{FF2B5EF4-FFF2-40B4-BE49-F238E27FC236}">
                <a16:creationId xmlns:a16="http://schemas.microsoft.com/office/drawing/2014/main" id="{A1DEFAEA-9F02-4B9F-ACC6-353AF6C3EFFF}"/>
              </a:ext>
            </a:extLst>
          </p:cNvPr>
          <p:cNvSpPr>
            <a:spLocks noGrp="1"/>
          </p:cNvSpPr>
          <p:nvPr>
            <p:ph type="pic" sz="quarter" idx="11" hasCustomPrompt="1"/>
          </p:nvPr>
        </p:nvSpPr>
        <p:spPr>
          <a:xfrm>
            <a:off x="8155574"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2" name="자유형: 도형 21">
            <a:extLst>
              <a:ext uri="{FF2B5EF4-FFF2-40B4-BE49-F238E27FC236}">
                <a16:creationId xmlns:a16="http://schemas.microsoft.com/office/drawing/2014/main" id="{03515A44-D3E9-44BA-B3D4-43ECDBD5159D}"/>
              </a:ext>
            </a:extLst>
          </p:cNvPr>
          <p:cNvSpPr>
            <a:spLocks noGrp="1"/>
          </p:cNvSpPr>
          <p:nvPr>
            <p:ph type="pic" sz="quarter" idx="12" hasCustomPrompt="1"/>
          </p:nvPr>
        </p:nvSpPr>
        <p:spPr>
          <a:xfrm>
            <a:off x="8155574"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3" name="자유형: 도형 22">
            <a:extLst>
              <a:ext uri="{FF2B5EF4-FFF2-40B4-BE49-F238E27FC236}">
                <a16:creationId xmlns:a16="http://schemas.microsoft.com/office/drawing/2014/main" id="{5CED0A4D-1B43-4F94-A1B2-796349C976DE}"/>
              </a:ext>
            </a:extLst>
          </p:cNvPr>
          <p:cNvSpPr>
            <a:spLocks noGrp="1"/>
          </p:cNvSpPr>
          <p:nvPr>
            <p:ph type="pic" sz="quarter" idx="13" hasCustomPrompt="1"/>
          </p:nvPr>
        </p:nvSpPr>
        <p:spPr>
          <a:xfrm>
            <a:off x="5551710"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0" name="자유형: 도형 19">
            <a:extLst>
              <a:ext uri="{FF2B5EF4-FFF2-40B4-BE49-F238E27FC236}">
                <a16:creationId xmlns:a16="http://schemas.microsoft.com/office/drawing/2014/main" id="{1D5AFB38-0AC4-4043-A23A-C86F3145AE10}"/>
              </a:ext>
            </a:extLst>
          </p:cNvPr>
          <p:cNvSpPr>
            <a:spLocks noGrp="1"/>
          </p:cNvSpPr>
          <p:nvPr>
            <p:ph type="pic" sz="quarter" idx="10" hasCustomPrompt="1"/>
          </p:nvPr>
        </p:nvSpPr>
        <p:spPr>
          <a:xfrm>
            <a:off x="5551710"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Tree>
    <p:extLst>
      <p:ext uri="{BB962C8B-B14F-4D97-AF65-F5344CB8AC3E}">
        <p14:creationId xmlns:p14="http://schemas.microsoft.com/office/powerpoint/2010/main" val="156773201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455995" y="556382"/>
            <a:ext cx="5773848" cy="813819"/>
          </a:xfrm>
        </p:spPr>
        <p:txBody>
          <a:bodyPr/>
          <a:lstStyle/>
          <a:p>
            <a:r>
              <a:rPr lang="en-US"/>
              <a:t>Click to edit Master title style</a:t>
            </a:r>
          </a:p>
        </p:txBody>
      </p:sp>
    </p:spTree>
    <p:extLst>
      <p:ext uri="{BB962C8B-B14F-4D97-AF65-F5344CB8AC3E}">
        <p14:creationId xmlns:p14="http://schemas.microsoft.com/office/powerpoint/2010/main" val="7634789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137"/>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3894819674"/>
      </p:ext>
    </p:extLst>
  </p:cSld>
  <p:clrMapOvr>
    <a:masterClrMapping/>
  </p:clrMapOvr>
  <p:transition>
    <p:fade/>
  </p:transition>
  <p:extLst>
    <p:ext uri="{DCECCB84-F9BA-43D5-87BE-67443E8EF086}">
      <p15:sldGuideLst xmlns:p15="http://schemas.microsoft.com/office/powerpoint/2012/main">
        <p15:guide id="1" orient="horz" pos="907">
          <p15:clr>
            <a:srgbClr val="FBAE40"/>
          </p15:clr>
        </p15:guide>
        <p15:guide id="2" orient="horz" pos="3988">
          <p15:clr>
            <a:srgbClr val="FBAE40"/>
          </p15:clr>
        </p15:guide>
        <p15:guide id="3" pos="354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17340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59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E1677D-871C-4F79-9A88-CA713D8016DE}"/>
              </a:ext>
            </a:extLst>
          </p:cNvPr>
          <p:cNvSpPr/>
          <p:nvPr userDrawn="1"/>
        </p:nvSpPr>
        <p:spPr bwMode="auto">
          <a:xfrm>
            <a:off x="276625" y="291993"/>
            <a:ext cx="11633627" cy="6277856"/>
          </a:xfrm>
          <a:prstGeom prst="rect">
            <a:avLst/>
          </a:prstGeom>
          <a:solidFill>
            <a:schemeClr val="accent1"/>
          </a:solidFill>
          <a:ln w="10795" cap="flat" cmpd="sng" algn="ctr">
            <a:noFill/>
            <a:prstDash val="solid"/>
          </a:ln>
          <a:effectLst>
            <a:outerShdw blurRad="254000" dist="50800" dir="2700000" sx="101000" sy="101000" algn="tl" rotWithShape="0">
              <a:prstClr val="black">
                <a:alpha val="2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71411907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1" y="3029995"/>
            <a:ext cx="9630389" cy="1793104"/>
          </a:xfrm>
          <a:noFill/>
        </p:spPr>
        <p:txBody>
          <a:bodyPr lIns="0" tIns="0" rIns="0" bIns="182880" anchor="b" anchorCtr="0"/>
          <a:lstStyle>
            <a:lvl1pPr>
              <a:defRPr sz="4155" strike="noStrike" spc="-43"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812960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1692771"/>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a:p>
            <a:pPr lvl="1"/>
            <a:endParaRPr lang="en-US"/>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1894229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1231106"/>
          </a:xfrm>
        </p:spPr>
        <p:txBody>
          <a:bodyPr/>
          <a:lstStyle>
            <a:lvl1pPr>
              <a:defRPr sz="1800">
                <a:solidFill>
                  <a:schemeClr val="bg1"/>
                </a:solidFill>
              </a:defRPr>
            </a:lvl1pPr>
            <a:lvl2pPr>
              <a:defRPr sz="1558">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400"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307996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2"/>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279" tIns="126623" rIns="158279" bIns="126623" numCol="1" spcCol="0" rtlCol="0" fromWordArt="0" anchor="t" anchorCtr="0" forceAA="0" compatLnSpc="1">
            <a:prstTxWarp prst="textNoShape">
              <a:avLst/>
            </a:prstTxWarp>
            <a:noAutofit/>
          </a:bodyPr>
          <a:lstStyle/>
          <a:p>
            <a:pPr algn="ctr" defTabSz="806997" fontAlgn="base">
              <a:lnSpc>
                <a:spcPct val="90000"/>
              </a:lnSpc>
              <a:spcBef>
                <a:spcPct val="0"/>
              </a:spcBef>
              <a:spcAft>
                <a:spcPct val="0"/>
              </a:spcAft>
            </a:pPr>
            <a:endParaRPr lang="en-US" sz="2077"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5"/>
            <a:ext cx="9660269" cy="1793104"/>
          </a:xfrm>
          <a:noFill/>
        </p:spPr>
        <p:txBody>
          <a:bodyPr lIns="0" tIns="0" rIns="0" bIns="182880" anchor="b" anchorCtr="0"/>
          <a:lstStyle>
            <a:lvl1pPr>
              <a:defRPr sz="4155" strike="noStrike" spc="-43"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8623616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7" y="0"/>
            <a:ext cx="8112955" cy="6858000"/>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3600"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3046556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091494" y="445301"/>
            <a:ext cx="7672572" cy="5967539"/>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anchor="ctr" anchorCtr="0">
            <a:noAutofit/>
          </a:bodyPr>
          <a:lstStyle>
            <a:lvl1pPr algn="ctr">
              <a:defRPr>
                <a:solidFill>
                  <a:schemeClr val="bg1"/>
                </a:solidFill>
              </a:defRPr>
            </a:lvl1pPr>
          </a:lstStyle>
          <a:p>
            <a:r>
              <a:rPr lang="en-US"/>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2769"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091043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p:spPr>
        <p:txBody>
          <a:bodyPr lIns="0" tIns="0" rIns="0" bIns="0"/>
          <a:lstStyle>
            <a:lvl1pPr>
              <a:defRPr sz="1558"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4" y="1168944"/>
            <a:ext cx="3837818" cy="3786998"/>
          </a:xfrm>
        </p:spPr>
        <p:txBody>
          <a:bodyPr wrap="square" lIns="0" tIns="0" rIns="0" bIns="0">
            <a:noAutofit/>
          </a:bodyPr>
          <a:lstStyle>
            <a:lvl1pPr marL="0" indent="0" defTabSz="447886">
              <a:spcAft>
                <a:spcPts val="433"/>
              </a:spcAft>
              <a:buNone/>
              <a:defRPr sz="1558" spc="0" baseline="0">
                <a:solidFill>
                  <a:schemeClr val="tx2"/>
                </a:solidFill>
              </a:defRPr>
            </a:lvl1pPr>
            <a:lvl2pPr marL="197840" indent="0">
              <a:buNone/>
              <a:defRPr sz="1558"/>
            </a:lvl2pPr>
            <a:lvl3pPr marL="395678" indent="0">
              <a:buNone/>
              <a:defRPr sz="1558"/>
            </a:lvl3pPr>
            <a:lvl4pPr marL="593518" indent="0">
              <a:buNone/>
              <a:defRPr sz="1558"/>
            </a:lvl4pPr>
            <a:lvl5pPr marL="791357" indent="0">
              <a:buNone/>
              <a:defRPr sz="1558"/>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492129721"/>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2"/>
            <a:ext cx="11306469" cy="538123"/>
          </a:xfrm>
        </p:spPr>
        <p:txBody>
          <a:bodyPr wrap="square" lIns="0" tIns="0" rIns="0" bIns="0">
            <a:spAutoFit/>
          </a:bodyPr>
          <a:lstStyle>
            <a:lvl1pPr marL="0" indent="0">
              <a:lnSpc>
                <a:spcPts val="2077"/>
              </a:lnSpc>
              <a:buNone/>
              <a:defRPr sz="1731" b="0" i="0" spc="0">
                <a:solidFill>
                  <a:schemeClr val="tx1"/>
                </a:solidFill>
                <a:latin typeface="+mj-lt"/>
              </a:defRPr>
            </a:lvl1pPr>
            <a:lvl2pPr marL="0" indent="0">
              <a:lnSpc>
                <a:spcPts val="2077"/>
              </a:lnSpc>
              <a:buNone/>
              <a:defRPr spc="0"/>
            </a:lvl2pPr>
            <a:lvl3pPr marL="395678" indent="0">
              <a:buNone/>
              <a:defRPr/>
            </a:lvl3pPr>
            <a:lvl4pPr marL="593518" indent="0">
              <a:buNone/>
              <a:defRPr/>
            </a:lvl4pPr>
            <a:lvl5pPr marL="79135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7" y="3151390"/>
            <a:ext cx="11306469" cy="401043"/>
          </a:xfrm>
        </p:spPr>
        <p:txBody>
          <a:bodyPr lIns="0" tIns="0" rIns="0" bIns="0"/>
          <a:lstStyle>
            <a:lvl1pPr marL="0" indent="0">
              <a:lnSpc>
                <a:spcPts val="1558"/>
              </a:lnSpc>
              <a:spcBef>
                <a:spcPts val="0"/>
              </a:spcBef>
              <a:buNone/>
              <a:defRPr sz="1211" b="0" spc="0">
                <a:solidFill>
                  <a:schemeClr val="tx2"/>
                </a:solidFill>
                <a:latin typeface="+mj-lt"/>
              </a:defRPr>
            </a:lvl1pPr>
            <a:lvl2pPr marL="0" indent="0">
              <a:lnSpc>
                <a:spcPts val="1558"/>
              </a:lnSpc>
              <a:spcBef>
                <a:spcPts val="0"/>
              </a:spcBef>
              <a:buNone/>
              <a:defRPr sz="1211" spc="0">
                <a:solidFill>
                  <a:schemeClr val="tx1"/>
                </a:solidFill>
              </a:defRPr>
            </a:lvl2pPr>
            <a:lvl3pPr marL="395678" indent="0">
              <a:buNone/>
              <a:defRPr/>
            </a:lvl3pPr>
            <a:lvl4pPr marL="593518" indent="0">
              <a:buNone/>
              <a:defRPr/>
            </a:lvl4pPr>
            <a:lvl5pPr marL="79135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7" y="4352947"/>
            <a:ext cx="11306469" cy="299768"/>
          </a:xfrm>
        </p:spPr>
        <p:txBody>
          <a:bodyPr lIns="0" tIns="0" rIns="0" bIns="0"/>
          <a:lstStyle>
            <a:lvl1pPr marL="0" indent="0">
              <a:lnSpc>
                <a:spcPts val="1038"/>
              </a:lnSpc>
              <a:spcBef>
                <a:spcPts val="0"/>
              </a:spcBef>
              <a:buNone/>
              <a:defRPr sz="865" spc="0">
                <a:solidFill>
                  <a:schemeClr val="tx1"/>
                </a:solidFill>
              </a:defRPr>
            </a:lvl1pPr>
            <a:lvl2pPr marL="0" indent="0">
              <a:lnSpc>
                <a:spcPct val="100000"/>
              </a:lnSpc>
              <a:spcBef>
                <a:spcPts val="0"/>
              </a:spcBef>
              <a:buNone/>
              <a:defRPr sz="865" spc="0">
                <a:solidFill>
                  <a:schemeClr val="tx1"/>
                </a:solidFill>
              </a:defRPr>
            </a:lvl2pPr>
            <a:lvl3pPr marL="395678" indent="0">
              <a:buNone/>
              <a:defRPr/>
            </a:lvl3pPr>
            <a:lvl4pPr marL="5935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0740575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01456"/>
            <a:ext cx="3902485" cy="339833"/>
          </a:xfrm>
          <a:prstGeom prst="rect">
            <a:avLst/>
          </a:prstGeom>
        </p:spPr>
        <p:txBody>
          <a:bodyPr tIns="0" bIns="0">
            <a:noAutofit/>
          </a:bodyPr>
          <a:lstStyle>
            <a:lvl1pPr marL="0" indent="0" algn="l">
              <a:lnSpc>
                <a:spcPct val="100000"/>
              </a:lnSpc>
              <a:buNone/>
              <a:defRPr sz="1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63921179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7"/>
            <a:ext cx="9384447" cy="538123"/>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360139536"/>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729792946"/>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60" y="1599726"/>
            <a:ext cx="3609417" cy="309939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1" y="1599726"/>
            <a:ext cx="3609417" cy="309939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5" y="1599722"/>
            <a:ext cx="3609417" cy="3099394"/>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190515334"/>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731"/>
            </a:lvl1pPr>
          </a:lstStyle>
          <a:p>
            <a:pPr lvl="0"/>
            <a:r>
              <a:rPr lang="en-US"/>
              <a:t>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7"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73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731"/>
            </a:lvl1pPr>
          </a:lstStyle>
          <a:p>
            <a:pPr lvl="0"/>
            <a:r>
              <a:rPr lang="en-US"/>
              <a:t>Picture</a:t>
            </a:r>
          </a:p>
        </p:txBody>
      </p:sp>
      <p:sp>
        <p:nvSpPr>
          <p:cNvPr id="27" name="Content Placeholder 15"/>
          <p:cNvSpPr>
            <a:spLocks noGrp="1"/>
          </p:cNvSpPr>
          <p:nvPr>
            <p:ph sz="quarter" idx="28" hasCustomPrompt="1"/>
          </p:nvPr>
        </p:nvSpPr>
        <p:spPr>
          <a:xfrm>
            <a:off x="6222997" y="2158887"/>
            <a:ext cx="1693247" cy="895855"/>
          </a:xfrm>
        </p:spPr>
        <p:txBody>
          <a:bodyPr>
            <a:noAutofit/>
          </a:bodyPr>
          <a:lstStyle>
            <a:lvl1pPr marL="0" indent="0">
              <a:buNone/>
              <a:defRPr sz="173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73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73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122860988"/>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317939497"/>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1_Title -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l">
              <a:defRPr sz="3200"/>
            </a:lvl1pPr>
          </a:lstStyle>
          <a:p>
            <a:r>
              <a:rPr lang="en-US"/>
              <a:t>Click to edit Master title style</a:t>
            </a:r>
          </a:p>
        </p:txBody>
      </p:sp>
      <p:sp>
        <p:nvSpPr>
          <p:cNvPr id="5" name="Footer Placeholder 14">
            <a:extLst>
              <a:ext uri="{FF2B5EF4-FFF2-40B4-BE49-F238E27FC236}">
                <a16:creationId xmlns:a16="http://schemas.microsoft.com/office/drawing/2014/main" id="{C989EB7D-C6F7-415A-95F0-667B4A27E08E}"/>
              </a:ext>
            </a:extLst>
          </p:cNvPr>
          <p:cNvSpPr>
            <a:spLocks noGrp="1"/>
          </p:cNvSpPr>
          <p:nvPr>
            <p:ph type="ftr" sz="quarter" idx="3"/>
          </p:nvPr>
        </p:nvSpPr>
        <p:spPr>
          <a:xfrm>
            <a:off x="186476"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785504147"/>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Left">
    <p:spTree>
      <p:nvGrpSpPr>
        <p:cNvPr id="1" name=""/>
        <p:cNvGrpSpPr/>
        <p:nvPr/>
      </p:nvGrpSpPr>
      <p:grpSpPr>
        <a:xfrm>
          <a:off x="0" y="0"/>
          <a:ext cx="0" cy="0"/>
          <a:chOff x="0" y="0"/>
          <a:chExt cx="0" cy="0"/>
        </a:xfrm>
      </p:grpSpPr>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455994" y="2201864"/>
            <a:ext cx="5243348" cy="1619023"/>
          </a:xfrm>
        </p:spPr>
        <p:txBody>
          <a:bodyPr anchor="b"/>
          <a:lstStyle>
            <a:lvl1pPr>
              <a:defRPr kumimoji="0" lang="en-US" sz="3600" b="1" i="0" u="none" strike="noStrike" kern="1200" cap="none" spc="-50" normalizeH="0" baseline="0" dirty="0">
                <a:ln w="3175">
                  <a:noFill/>
                </a:ln>
                <a:solidFill>
                  <a:srgbClr val="505050"/>
                </a:solidFill>
                <a:effectLst/>
                <a:uLnTx/>
                <a:uFillTx/>
                <a:latin typeface="Segoe UI Semibold"/>
                <a:ea typeface="+mn-ea"/>
                <a:cs typeface="Segoe UI"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D79F421B-8B81-47DD-9323-0CCE74CBF407}"/>
              </a:ext>
            </a:extLst>
          </p:cNvPr>
          <p:cNvSpPr>
            <a:spLocks noGrp="1"/>
          </p:cNvSpPr>
          <p:nvPr>
            <p:ph type="body" sz="quarter" idx="10"/>
          </p:nvPr>
        </p:nvSpPr>
        <p:spPr>
          <a:xfrm>
            <a:off x="465139" y="3970752"/>
            <a:ext cx="4821237" cy="1431161"/>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1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2422470"/>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80"/>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155" spc="-43" baseline="0" dirty="0">
                <a:solidFill>
                  <a:schemeClr val="tx1"/>
                </a:solidFill>
              </a:defRPr>
            </a:lvl1pPr>
          </a:lstStyle>
          <a:p>
            <a:pPr marL="0" lvl="0">
              <a:lnSpc>
                <a:spcPts val="4847"/>
              </a:lnSpc>
            </a:pPr>
            <a:r>
              <a:rPr lang="en-US"/>
              <a:t>Section title</a:t>
            </a:r>
          </a:p>
        </p:txBody>
      </p:sp>
    </p:spTree>
    <p:extLst>
      <p:ext uri="{BB962C8B-B14F-4D97-AF65-F5344CB8AC3E}">
        <p14:creationId xmlns:p14="http://schemas.microsoft.com/office/powerpoint/2010/main" val="2042119423"/>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3"/>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r>
              <a:rPr lang="en-US"/>
              <a:t>Click icon to add picture</a:t>
            </a:r>
          </a:p>
        </p:txBody>
      </p:sp>
      <p:sp>
        <p:nvSpPr>
          <p:cNvPr id="6" name="TextBox 5">
            <a:extLst>
              <a:ext uri="{FF2B5EF4-FFF2-40B4-BE49-F238E27FC236}">
                <a16:creationId xmlns:a16="http://schemas.microsoft.com/office/drawing/2014/main" id="{23DD4161-F188-3B42-AE17-D117287440D8}"/>
              </a:ext>
            </a:extLst>
          </p:cNvPr>
          <p:cNvSpPr txBox="1"/>
          <p:nvPr/>
        </p:nvSpPr>
        <p:spPr>
          <a:xfrm>
            <a:off x="254288" y="251011"/>
            <a:ext cx="4532865" cy="489365"/>
          </a:xfrm>
          <a:prstGeom prst="rect">
            <a:avLst/>
          </a:prstGeom>
          <a:noFill/>
        </p:spPr>
        <p:txBody>
          <a:bodyPr wrap="square" lIns="182880" tIns="146304" rIns="182880" bIns="146304" rtlCol="0">
            <a:spAutoFit/>
          </a:bodyPr>
          <a:lstStyle/>
          <a:p>
            <a:pPr>
              <a:lnSpc>
                <a:spcPct val="90000"/>
              </a:lnSpc>
              <a:spcAft>
                <a:spcPts val="600"/>
              </a:spcAft>
            </a:pPr>
            <a:r>
              <a:rPr lang="en-US" sz="1400" b="0" spc="0">
                <a:solidFill>
                  <a:schemeClr val="tx1"/>
                </a:solidFill>
                <a:latin typeface="+mj-lt"/>
              </a:rPr>
              <a:t>PROACTIVE</a:t>
            </a:r>
            <a:r>
              <a:rPr lang="en-US" sz="1400" b="0" spc="0">
                <a:solidFill>
                  <a:schemeClr val="tx1"/>
                </a:solidFill>
                <a:latin typeface="+mj-lt"/>
                <a:cs typeface="Segoe UI Semibold"/>
              </a:rPr>
              <a:t> C</a:t>
            </a:r>
            <a:r>
              <a:rPr lang="en-US" sz="1400" b="0" spc="0">
                <a:solidFill>
                  <a:schemeClr val="tx1"/>
                </a:solidFill>
                <a:latin typeface="+mj-lt"/>
              </a:rPr>
              <a:t>USTOMER SERVICE </a:t>
            </a:r>
          </a:p>
        </p:txBody>
      </p:sp>
    </p:spTree>
    <p:extLst>
      <p:ext uri="{BB962C8B-B14F-4D97-AF65-F5344CB8AC3E}">
        <p14:creationId xmlns:p14="http://schemas.microsoft.com/office/powerpoint/2010/main" val="3874262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_Section title 2">
    <p:bg>
      <p:bgPr>
        <a:solidFill>
          <a:schemeClr val="accent3"/>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Tree>
    <p:extLst>
      <p:ext uri="{BB962C8B-B14F-4D97-AF65-F5344CB8AC3E}">
        <p14:creationId xmlns:p14="http://schemas.microsoft.com/office/powerpoint/2010/main" val="3769535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Type3-Empty-Custom">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35321"/>
            <a:ext cx="3902485" cy="467411"/>
          </a:xfrm>
          <a:prstGeom prst="rect">
            <a:avLst/>
          </a:prstGeom>
        </p:spPr>
        <p:txBody>
          <a:bodyPr tIns="0" bIns="0">
            <a:noAutofit/>
          </a:bodyPr>
          <a:lstStyle>
            <a:lvl1pPr marL="0" indent="0" algn="l">
              <a:lnSpc>
                <a:spcPct val="100000"/>
              </a:lnSpc>
              <a:buNone/>
              <a:defRPr sz="2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270563125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1_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r>
              <a:rPr lang="en-US"/>
              <a:t>Click icon to add picture</a:t>
            </a:r>
          </a:p>
        </p:txBody>
      </p:sp>
    </p:spTree>
    <p:extLst>
      <p:ext uri="{BB962C8B-B14F-4D97-AF65-F5344CB8AC3E}">
        <p14:creationId xmlns:p14="http://schemas.microsoft.com/office/powerpoint/2010/main" val="4144894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2 customer">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0B377B6-38B7-4677-BA3B-F634E9FF528C}"/>
              </a:ext>
            </a:extLst>
          </p:cNvPr>
          <p:cNvSpPr/>
          <p:nvPr userDrawn="1"/>
        </p:nvSpPr>
        <p:spPr bwMode="auto">
          <a:xfrm>
            <a:off x="-1720" y="-5324"/>
            <a:ext cx="3689177"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A7B727E5-2CD1-4187-97ED-A3EE37B3FE92}"/>
              </a:ext>
            </a:extLst>
          </p:cNvPr>
          <p:cNvSpPr>
            <a:spLocks noGrp="1"/>
          </p:cNvSpPr>
          <p:nvPr>
            <p:ph type="body" sz="quarter" idx="10"/>
          </p:nvPr>
        </p:nvSpPr>
        <p:spPr>
          <a:xfrm>
            <a:off x="95702" y="2680852"/>
            <a:ext cx="3459160" cy="849463"/>
          </a:xfrm>
        </p:spPr>
        <p:txBody>
          <a:bodyPr/>
          <a:lstStyle>
            <a:lvl1pPr>
              <a:defRPr sz="2400">
                <a:solidFill>
                  <a:schemeClr val="bg1"/>
                </a:solidFill>
              </a:defRPr>
            </a:lvl1pPr>
          </a:lstStyle>
          <a:p>
            <a:pPr lvl="0"/>
            <a:r>
              <a:rPr lang="en-US"/>
              <a:t>Click to edit Master text styles</a:t>
            </a:r>
          </a:p>
        </p:txBody>
      </p:sp>
      <p:sp>
        <p:nvSpPr>
          <p:cNvPr id="179" name="Text Placeholder 5">
            <a:extLst>
              <a:ext uri="{FF2B5EF4-FFF2-40B4-BE49-F238E27FC236}">
                <a16:creationId xmlns:a16="http://schemas.microsoft.com/office/drawing/2014/main" id="{BD48563D-BE67-4068-B3D8-FA89889FB883}"/>
              </a:ext>
            </a:extLst>
          </p:cNvPr>
          <p:cNvSpPr>
            <a:spLocks noGrp="1"/>
          </p:cNvSpPr>
          <p:nvPr>
            <p:ph type="body" sz="quarter" idx="19" hasCustomPrompt="1"/>
          </p:nvPr>
        </p:nvSpPr>
        <p:spPr>
          <a:xfrm>
            <a:off x="455614" y="6367344"/>
            <a:ext cx="3459160" cy="307777"/>
          </a:xfrm>
        </p:spPr>
        <p:txBody>
          <a:bodyPr anchor="b"/>
          <a:lstStyle>
            <a:lvl1pPr marL="171450" indent="-171450">
              <a:spcAft>
                <a:spcPts val="200"/>
              </a:spcAft>
              <a:buFont typeface="+mj-lt"/>
              <a:buAutoNum type="arabicParenR"/>
              <a:defRPr sz="800">
                <a:solidFill>
                  <a:schemeClr val="bg1"/>
                </a:solidFill>
                <a:latin typeface="+mn-lt"/>
              </a:defRPr>
            </a:lvl1pPr>
            <a:lvl2pPr>
              <a:defRPr sz="800">
                <a:latin typeface="+mn-lt"/>
              </a:defRPr>
            </a:lvl2pPr>
            <a:lvl3pPr>
              <a:defRPr sz="800">
                <a:latin typeface="+mn-lt"/>
              </a:defRPr>
            </a:lvl3pPr>
            <a:lvl4pPr>
              <a:defRPr sz="800">
                <a:latin typeface="+mn-lt"/>
              </a:defRPr>
            </a:lvl4pPr>
            <a:lvl5pPr>
              <a:defRPr sz="800">
                <a:latin typeface="+mn-lt"/>
              </a:defRPr>
            </a:lvl5pPr>
          </a:lstStyle>
          <a:p>
            <a:pPr lvl="0"/>
            <a:r>
              <a:rPr lang="en-US"/>
              <a:t>Enter Sources</a:t>
            </a:r>
          </a:p>
        </p:txBody>
      </p:sp>
      <p:sp>
        <p:nvSpPr>
          <p:cNvPr id="27" name="Text Placeholder 5">
            <a:extLst>
              <a:ext uri="{FF2B5EF4-FFF2-40B4-BE49-F238E27FC236}">
                <a16:creationId xmlns:a16="http://schemas.microsoft.com/office/drawing/2014/main" id="{CD386721-D202-406C-9365-E2BF0A018DB5}"/>
              </a:ext>
            </a:extLst>
          </p:cNvPr>
          <p:cNvSpPr>
            <a:spLocks noGrp="1"/>
          </p:cNvSpPr>
          <p:nvPr>
            <p:ph type="body" sz="quarter" idx="11"/>
          </p:nvPr>
        </p:nvSpPr>
        <p:spPr>
          <a:xfrm>
            <a:off x="95702" y="2188278"/>
            <a:ext cx="3459160" cy="461665"/>
          </a:xfrm>
          <a:solidFill>
            <a:schemeClr val="accent4"/>
          </a:solidFill>
        </p:spPr>
        <p:txBody>
          <a:bodyPr anchor="b"/>
          <a:lstStyle>
            <a:lvl1pPr marL="0" indent="0">
              <a:buNone/>
              <a:defRPr lang="en-US" sz="2000" kern="1200" cap="all" spc="100" baseline="0" dirty="0">
                <a:solidFill>
                  <a:schemeClr val="tx1"/>
                </a:solidFill>
                <a:latin typeface="+mj-lt"/>
                <a:ea typeface="+mn-ea"/>
                <a:cs typeface="+mn-cs"/>
              </a:defRPr>
            </a:lvl1pPr>
            <a:lvl2pPr marL="0" indent="0">
              <a:buNone/>
              <a:defRPr/>
            </a:lvl2pPr>
            <a:lvl3pPr marL="0" indent="0">
              <a:buNone/>
              <a:defRPr/>
            </a:lvl3pPr>
            <a:lvl4pPr marL="0" indent="0">
              <a:buNone/>
              <a:defRPr/>
            </a:lvl4pPr>
            <a:lvl5pPr marL="0" indent="0">
              <a:buNone/>
              <a:defRPr/>
            </a:lvl5pPr>
          </a:lstStyle>
          <a:p>
            <a:pPr lvl="0"/>
            <a:r>
              <a:rPr lang="en-US"/>
              <a:t>Click to</a:t>
            </a:r>
          </a:p>
        </p:txBody>
      </p:sp>
    </p:spTree>
    <p:extLst>
      <p:ext uri="{BB962C8B-B14F-4D97-AF65-F5344CB8AC3E}">
        <p14:creationId xmlns:p14="http://schemas.microsoft.com/office/powerpoint/2010/main" val="2719006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4"/>
            <a:ext cx="7454643" cy="3558191"/>
          </a:xfrm>
          <a:noFill/>
        </p:spPr>
        <p:txBody>
          <a:bodyPr vert="horz" wrap="square" lIns="0" tIns="0" rIns="0" bIns="0" rtlCol="0" anchor="t" anchorCtr="0">
            <a:noAutofit/>
          </a:bodyPr>
          <a:lstStyle>
            <a:lvl1pPr>
              <a:defRPr lang="en-US" sz="4155" spc="-43" baseline="0" dirty="0">
                <a:solidFill>
                  <a:schemeClr val="accent5"/>
                </a:solidFill>
              </a:defRPr>
            </a:lvl1pPr>
          </a:lstStyle>
          <a:p>
            <a:pPr marL="0" lvl="0">
              <a:lnSpc>
                <a:spcPts val="4847"/>
              </a:lnSpc>
            </a:pPr>
            <a:r>
              <a:rPr lang="en-US"/>
              <a:t>Section title</a:t>
            </a:r>
          </a:p>
        </p:txBody>
      </p:sp>
    </p:spTree>
    <p:extLst>
      <p:ext uri="{BB962C8B-B14F-4D97-AF65-F5344CB8AC3E}">
        <p14:creationId xmlns:p14="http://schemas.microsoft.com/office/powerpoint/2010/main" val="29339962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5541959" cy="359212"/>
          </a:xfrm>
        </p:spPr>
        <p:txBody>
          <a:bodyPr wrap="square" lIns="0" tIns="0" rIns="0" bIns="0">
            <a:spAutoFit/>
          </a:bodyPr>
          <a:lstStyle>
            <a:lvl1pPr>
              <a:lnSpc>
                <a:spcPts val="2769"/>
              </a:lnSpc>
              <a:defRPr sz="2423"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394758"/>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52249"/>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2888811715"/>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818054134"/>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2"/>
            <a:ext cx="4758211" cy="538123"/>
          </a:xfrm>
        </p:spPr>
        <p:txBody>
          <a:bodyPr wrap="square" lIns="0" tIns="0" rIns="0" bIns="0">
            <a:spAutoFit/>
          </a:bodyPr>
          <a:lstStyle>
            <a:lvl1pPr marL="0" indent="0">
              <a:lnSpc>
                <a:spcPts val="2077"/>
              </a:lnSpc>
              <a:buNone/>
              <a:defRPr sz="1731" b="0" i="0">
                <a:solidFill>
                  <a:schemeClr val="tx1"/>
                </a:solidFill>
                <a:latin typeface="+mn-lt"/>
              </a:defRPr>
            </a:lvl1pPr>
            <a:lvl2pPr marL="197840" indent="0">
              <a:buNone/>
              <a:defRPr/>
            </a:lvl2pPr>
            <a:lvl3pPr marL="395678" indent="0">
              <a:buNone/>
              <a:defRPr/>
            </a:lvl3pPr>
            <a:lvl4pPr marL="593518" indent="0">
              <a:buNone/>
              <a:defRPr/>
            </a:lvl4pPr>
            <a:lvl5pPr marL="79135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6" y="2707597"/>
            <a:ext cx="4758210" cy="2278216"/>
          </a:xfrm>
        </p:spPr>
        <p:txBody>
          <a:bodyPr lIns="0" tIns="0" rIns="0" bIns="0"/>
          <a:lstStyle>
            <a:lvl1pPr marL="247299" indent="-247299">
              <a:lnSpc>
                <a:spcPts val="1558"/>
              </a:lnSpc>
              <a:spcBef>
                <a:spcPts val="0"/>
              </a:spcBef>
              <a:buFont typeface="Arial" panose="020B0604020202020204" pitchFamily="34" charset="0"/>
              <a:buChar char="•"/>
              <a:defRPr sz="1211" b="0" i="0" spc="0">
                <a:solidFill>
                  <a:schemeClr val="tx1"/>
                </a:solidFill>
                <a:latin typeface="+mn-lt"/>
              </a:defRPr>
            </a:lvl1pPr>
            <a:lvl2pPr marL="0" indent="0">
              <a:lnSpc>
                <a:spcPts val="1558"/>
              </a:lnSpc>
              <a:spcBef>
                <a:spcPts val="0"/>
              </a:spcBef>
              <a:buNone/>
              <a:defRPr sz="1211">
                <a:solidFill>
                  <a:schemeClr val="tx1"/>
                </a:solidFill>
              </a:defRPr>
            </a:lvl2pPr>
            <a:lvl3pPr marL="395678" indent="0">
              <a:buNone/>
              <a:defRPr/>
            </a:lvl3pPr>
            <a:lvl4pPr marL="593518" indent="0">
              <a:buNone/>
              <a:defRPr/>
            </a:lvl4pPr>
            <a:lvl5pPr marL="79135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870658101"/>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499525836"/>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84250" y="486948"/>
            <a:ext cx="10869930" cy="6371053"/>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8" y="3509416"/>
            <a:ext cx="7678751" cy="50443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986636792"/>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p:spPr>
        <p:txBody>
          <a:bodyPr anchor="ctr">
            <a:noAutofit/>
          </a:bodyPr>
          <a:lstStyle>
            <a:lvl1pPr marL="0" indent="0" algn="ctr">
              <a:buNone/>
              <a:defRPr sz="2077"/>
            </a:lvl1pPr>
          </a:lstStyle>
          <a:p>
            <a:r>
              <a:rPr lang="en-US"/>
              <a:t>Click icon to add chart</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256480"/>
          </a:xfrm>
        </p:spPr>
        <p:txBody>
          <a:bodyPr lIns="0" tIns="0" rIns="0" bIns="0"/>
          <a:lstStyle>
            <a:lvl1pPr marL="0" indent="0">
              <a:lnSpc>
                <a:spcPts val="1038"/>
              </a:lnSpc>
              <a:spcBef>
                <a:spcPts val="779"/>
              </a:spcBef>
              <a:buFont typeface="Arial" panose="020B0604020202020204" pitchFamily="34" charset="0"/>
              <a:buNone/>
              <a:defRPr sz="865" b="0" i="0" spc="0">
                <a:solidFill>
                  <a:schemeClr val="tx1"/>
                </a:solidFill>
                <a:latin typeface="+mn-lt"/>
              </a:defRPr>
            </a:lvl1pPr>
            <a:lvl2pPr marL="0" marR="0" indent="0" algn="l" defTabSz="807231" rtl="0" eaLnBrk="1" fontAlgn="auto" latinLnBrk="0" hangingPunct="1">
              <a:lnSpc>
                <a:spcPts val="1038"/>
              </a:lnSpc>
              <a:spcBef>
                <a:spcPts val="389"/>
              </a:spcBef>
              <a:spcAft>
                <a:spcPts val="0"/>
              </a:spcAft>
              <a:buClrTx/>
              <a:buSzPct val="90000"/>
              <a:buFont typeface="Arial" panose="020B0604020202020204" pitchFamily="34" charset="0"/>
              <a:buNone/>
              <a:tabLst/>
              <a:defRPr sz="865">
                <a:solidFill>
                  <a:schemeClr val="tx1"/>
                </a:solidFill>
              </a:defRPr>
            </a:lvl2pPr>
            <a:lvl3pPr marL="395678" indent="0">
              <a:buNone/>
              <a:defRPr/>
            </a:lvl3pPr>
            <a:lvl4pPr marL="593518" indent="0">
              <a:buNone/>
              <a:defRPr/>
            </a:lvl4pPr>
            <a:lvl5pPr marL="79135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p:spPr>
        <p:txBody>
          <a:bodyPr anchor="ctr">
            <a:noAutofit/>
          </a:bodyPr>
          <a:lstStyle>
            <a:lvl1pPr marL="0" indent="0" algn="ctr">
              <a:buNone/>
              <a:defRPr sz="2077"/>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p:spPr>
        <p:txBody>
          <a:bodyPr anchor="ctr">
            <a:noAutofit/>
          </a:bodyPr>
          <a:lstStyle>
            <a:lvl1pPr marL="0" indent="0" algn="ctr">
              <a:buNone/>
              <a:defRPr sz="2077"/>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331466365"/>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able styling</a:t>
            </a:r>
          </a:p>
        </p:txBody>
      </p:sp>
      <p:sp>
        <p:nvSpPr>
          <p:cNvPr id="4" name="Table Placeholder 3"/>
          <p:cNvSpPr>
            <a:spLocks noGrp="1"/>
          </p:cNvSpPr>
          <p:nvPr>
            <p:ph type="tbl" sz="quarter" idx="10"/>
          </p:nvPr>
        </p:nvSpPr>
        <p:spPr>
          <a:xfrm>
            <a:off x="455997" y="3946014"/>
            <a:ext cx="11306469" cy="50443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20832815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70C3F2B-E3AC-5040-A01B-C3524FB413E6}" type="datetimeFigureOut">
              <a:rPr lang="en-US" smtClean="0"/>
              <a:t>3/10/2020</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34168AF-2389-C949-8A4E-0A342DB36584}" type="slidenum">
              <a:rPr lang="en-US" smtClean="0"/>
              <a:t>‹#›</a:t>
            </a:fld>
            <a:endParaRPr lang="en-US"/>
          </a:p>
        </p:txBody>
      </p:sp>
    </p:spTree>
    <p:extLst>
      <p:ext uri="{BB962C8B-B14F-4D97-AF65-F5344CB8AC3E}">
        <p14:creationId xmlns:p14="http://schemas.microsoft.com/office/powerpoint/2010/main" val="259187259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Tree>
    <p:extLst>
      <p:ext uri="{BB962C8B-B14F-4D97-AF65-F5344CB8AC3E}">
        <p14:creationId xmlns:p14="http://schemas.microsoft.com/office/powerpoint/2010/main" val="2364550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4000" spc="-43" baseline="0">
                <a:solidFill>
                  <a:schemeClr val="accent5"/>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974185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1_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sp>
        <p:nvSpPr>
          <p:cNvPr id="2" name="TextBox 1">
            <a:extLst>
              <a:ext uri="{FF2B5EF4-FFF2-40B4-BE49-F238E27FC236}">
                <a16:creationId xmlns:a16="http://schemas.microsoft.com/office/drawing/2014/main" id="{47ECF149-BD23-4899-A45C-0D814A1ECD3A}"/>
              </a:ext>
            </a:extLst>
          </p:cNvPr>
          <p:cNvSpPr txBox="1"/>
          <p:nvPr/>
        </p:nvSpPr>
        <p:spPr>
          <a:xfrm>
            <a:off x="6929438" y="4651243"/>
            <a:ext cx="5056512" cy="2244845"/>
          </a:xfrm>
          <a:prstGeom prst="rect">
            <a:avLst/>
          </a:prstGeom>
          <a:noFill/>
        </p:spPr>
        <p:txBody>
          <a:bodyPr wrap="none" lIns="182854" tIns="146284" rIns="182854" bIns="146284" rtlCol="0">
            <a:spAutoFit/>
          </a:bodyPr>
          <a:lstStyle/>
          <a:p>
            <a:pPr>
              <a:lnSpc>
                <a:spcPct val="90000"/>
              </a:lnSpc>
              <a:spcAft>
                <a:spcPts val="600"/>
              </a:spcAft>
            </a:pPr>
            <a:r>
              <a:rPr lang="en-US" sz="13798" b="1">
                <a:solidFill>
                  <a:schemeClr val="accent5"/>
                </a:solidFill>
              </a:rPr>
              <a:t>video</a:t>
            </a:r>
          </a:p>
        </p:txBody>
      </p:sp>
    </p:spTree>
    <p:extLst>
      <p:ext uri="{BB962C8B-B14F-4D97-AF65-F5344CB8AC3E}">
        <p14:creationId xmlns:p14="http://schemas.microsoft.com/office/powerpoint/2010/main" val="3085968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758442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0EB26-4929-4DF6-88F4-86BD30B030F0}"/>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CE84A1E2-FD55-4915-80F8-BF7E83E7C10E}"/>
              </a:ext>
            </a:extLst>
          </p:cNvPr>
          <p:cNvSpPr>
            <a:spLocks noGrp="1"/>
          </p:cNvSpPr>
          <p:nvPr>
            <p:ph type="body" sz="quarter" idx="10"/>
          </p:nvPr>
        </p:nvSpPr>
        <p:spPr>
          <a:xfrm>
            <a:off x="160393" y="-1305316"/>
            <a:ext cx="11422999" cy="398335"/>
          </a:xfrm>
          <a:prstGeom prst="rect">
            <a:avLst/>
          </a:prstGeom>
        </p:spPr>
        <p:txBody>
          <a:bodyPr/>
          <a:lstStyle>
            <a:lvl1pPr algn="ctr">
              <a:defRPr sz="1568">
                <a:solidFill>
                  <a:schemeClr val="accent5"/>
                </a:solidFill>
              </a:defRPr>
            </a:lvl1pPr>
          </a:lstStyle>
          <a:p>
            <a:pPr lvl="0"/>
            <a:r>
              <a:rPr lang="en-US"/>
              <a:t>Edit Master text styles</a:t>
            </a:r>
          </a:p>
        </p:txBody>
      </p:sp>
    </p:spTree>
    <p:extLst>
      <p:ext uri="{BB962C8B-B14F-4D97-AF65-F5344CB8AC3E}">
        <p14:creationId xmlns:p14="http://schemas.microsoft.com/office/powerpoint/2010/main" val="1554704672"/>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77DF9841-F041-4960-8934-5797907F9BD0}" type="datetimeFigureOut">
              <a:rPr lang="en-US" smtClean="0"/>
              <a:t>3/10/2020</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42346337-6111-4499-8B12-E2BB5E283A99}" type="slidenum">
              <a:rPr lang="en-US" smtClean="0"/>
              <a:t>‹#›</a:t>
            </a:fld>
            <a:endParaRPr lang="en-US"/>
          </a:p>
        </p:txBody>
      </p:sp>
    </p:spTree>
    <p:extLst>
      <p:ext uri="{BB962C8B-B14F-4D97-AF65-F5344CB8AC3E}">
        <p14:creationId xmlns:p14="http://schemas.microsoft.com/office/powerpoint/2010/main" val="406678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3637154"/>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808411614"/>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r>
              <a:rPr lang="en-US"/>
              <a:t>Click icon to add picture</a:t>
            </a:r>
          </a:p>
        </p:txBody>
      </p:sp>
    </p:spTree>
    <p:extLst>
      <p:ext uri="{BB962C8B-B14F-4D97-AF65-F5344CB8AC3E}">
        <p14:creationId xmlns:p14="http://schemas.microsoft.com/office/powerpoint/2010/main" val="840179976"/>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spcBef>
                <a:spcPts val="588"/>
              </a:spcBef>
              <a:spcAft>
                <a:spcPts val="588"/>
              </a:spcAft>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463950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21_Images &amp; Contents">
    <p:spTree>
      <p:nvGrpSpPr>
        <p:cNvPr id="1" name=""/>
        <p:cNvGrpSpPr/>
        <p:nvPr/>
      </p:nvGrpSpPr>
      <p:grpSpPr>
        <a:xfrm>
          <a:off x="0" y="0"/>
          <a:ext cx="0" cy="0"/>
          <a:chOff x="0" y="0"/>
          <a:chExt cx="0" cy="0"/>
        </a:xfrm>
      </p:grpSpPr>
      <p:sp>
        <p:nvSpPr>
          <p:cNvPr id="21" name="자유형: 도형 20">
            <a:extLst>
              <a:ext uri="{FF2B5EF4-FFF2-40B4-BE49-F238E27FC236}">
                <a16:creationId xmlns:a16="http://schemas.microsoft.com/office/drawing/2014/main" id="{A1DEFAEA-9F02-4B9F-ACC6-353AF6C3EFFF}"/>
              </a:ext>
            </a:extLst>
          </p:cNvPr>
          <p:cNvSpPr>
            <a:spLocks noGrp="1"/>
          </p:cNvSpPr>
          <p:nvPr>
            <p:ph type="pic" sz="quarter" idx="11" hasCustomPrompt="1"/>
          </p:nvPr>
        </p:nvSpPr>
        <p:spPr>
          <a:xfrm>
            <a:off x="8155574"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2" name="자유형: 도형 21">
            <a:extLst>
              <a:ext uri="{FF2B5EF4-FFF2-40B4-BE49-F238E27FC236}">
                <a16:creationId xmlns:a16="http://schemas.microsoft.com/office/drawing/2014/main" id="{03515A44-D3E9-44BA-B3D4-43ECDBD5159D}"/>
              </a:ext>
            </a:extLst>
          </p:cNvPr>
          <p:cNvSpPr>
            <a:spLocks noGrp="1"/>
          </p:cNvSpPr>
          <p:nvPr>
            <p:ph type="pic" sz="quarter" idx="12" hasCustomPrompt="1"/>
          </p:nvPr>
        </p:nvSpPr>
        <p:spPr>
          <a:xfrm>
            <a:off x="8155574"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3" name="자유형: 도형 22">
            <a:extLst>
              <a:ext uri="{FF2B5EF4-FFF2-40B4-BE49-F238E27FC236}">
                <a16:creationId xmlns:a16="http://schemas.microsoft.com/office/drawing/2014/main" id="{5CED0A4D-1B43-4F94-A1B2-796349C976DE}"/>
              </a:ext>
            </a:extLst>
          </p:cNvPr>
          <p:cNvSpPr>
            <a:spLocks noGrp="1"/>
          </p:cNvSpPr>
          <p:nvPr>
            <p:ph type="pic" sz="quarter" idx="13" hasCustomPrompt="1"/>
          </p:nvPr>
        </p:nvSpPr>
        <p:spPr>
          <a:xfrm>
            <a:off x="5551710"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0" name="자유형: 도형 19">
            <a:extLst>
              <a:ext uri="{FF2B5EF4-FFF2-40B4-BE49-F238E27FC236}">
                <a16:creationId xmlns:a16="http://schemas.microsoft.com/office/drawing/2014/main" id="{1D5AFB38-0AC4-4043-A23A-C86F3145AE10}"/>
              </a:ext>
            </a:extLst>
          </p:cNvPr>
          <p:cNvSpPr>
            <a:spLocks noGrp="1"/>
          </p:cNvSpPr>
          <p:nvPr>
            <p:ph type="pic" sz="quarter" idx="10" hasCustomPrompt="1"/>
          </p:nvPr>
        </p:nvSpPr>
        <p:spPr>
          <a:xfrm>
            <a:off x="5551710"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Tree>
    <p:extLst>
      <p:ext uri="{BB962C8B-B14F-4D97-AF65-F5344CB8AC3E}">
        <p14:creationId xmlns:p14="http://schemas.microsoft.com/office/powerpoint/2010/main" val="9253975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_dark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D5EF2-DAF5-4277-84D2-69FF03CD7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938082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cSld name="59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E1677D-871C-4F79-9A88-CA713D8016DE}"/>
              </a:ext>
            </a:extLst>
          </p:cNvPr>
          <p:cNvSpPr/>
          <p:nvPr/>
        </p:nvSpPr>
        <p:spPr bwMode="auto">
          <a:xfrm>
            <a:off x="276625" y="291993"/>
            <a:ext cx="11633627" cy="6277856"/>
          </a:xfrm>
          <a:prstGeom prst="rect">
            <a:avLst/>
          </a:prstGeom>
          <a:solidFill>
            <a:schemeClr val="accent1"/>
          </a:solidFill>
          <a:ln w="10795" cap="flat" cmpd="sng" algn="ctr">
            <a:noFill/>
            <a:prstDash val="solid"/>
          </a:ln>
          <a:effectLst>
            <a:outerShdw blurRad="254000" dist="50800" dir="2700000" sx="101000" sy="101000" algn="tl" rotWithShape="0">
              <a:prstClr val="black">
                <a:alpha val="2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379569505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434162"/>
            <a:ext cx="11306469" cy="403137"/>
          </a:xfrm>
        </p:spPr>
        <p:txBody>
          <a:bodyPr wrap="square" lIns="0" tIns="0" rIns="0" bIns="0">
            <a:spAutoFit/>
          </a:bodyPr>
          <a:lstStyle>
            <a:lvl1pPr>
              <a:lnSpc>
                <a:spcPts val="3136"/>
              </a:lnSpc>
              <a:defRPr sz="2745" strike="noStrike" spc="0">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069430313"/>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274146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36907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3" name="Text Placeholder 5">
            <a:extLst>
              <a:ext uri="{FF2B5EF4-FFF2-40B4-BE49-F238E27FC236}">
                <a16:creationId xmlns:a16="http://schemas.microsoft.com/office/drawing/2014/main" id="{3F19E4C2-0D71-CF45-BD7A-EC2ADD85106A}"/>
              </a:ext>
            </a:extLst>
          </p:cNvPr>
          <p:cNvSpPr>
            <a:spLocks noGrp="1"/>
          </p:cNvSpPr>
          <p:nvPr>
            <p:ph type="body" sz="quarter" idx="10" hasCustomPrompt="1"/>
          </p:nvPr>
        </p:nvSpPr>
        <p:spPr>
          <a:xfrm>
            <a:off x="457200" y="1752600"/>
            <a:ext cx="5334000" cy="4648200"/>
          </a:xfrm>
        </p:spPr>
        <p:txBody>
          <a:bodyPr lIns="0" tIns="0" rIns="0" bIns="0">
            <a:normAutofit/>
          </a:bodyPr>
          <a:lstStyle>
            <a:lvl1pPr marL="0" indent="0">
              <a:buNone/>
              <a:defRPr sz="1800" b="0">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Fourth level</a:t>
            </a:r>
          </a:p>
        </p:txBody>
      </p:sp>
      <p:sp>
        <p:nvSpPr>
          <p:cNvPr id="4" name="Picture Placeholder 3">
            <a:extLst>
              <a:ext uri="{FF2B5EF4-FFF2-40B4-BE49-F238E27FC236}">
                <a16:creationId xmlns:a16="http://schemas.microsoft.com/office/drawing/2014/main" id="{7895E390-ED17-FB4B-B272-488BF6E089BA}"/>
              </a:ext>
            </a:extLst>
          </p:cNvPr>
          <p:cNvSpPr>
            <a:spLocks noGrp="1"/>
          </p:cNvSpPr>
          <p:nvPr>
            <p:ph type="pic" sz="quarter" idx="11"/>
          </p:nvPr>
        </p:nvSpPr>
        <p:spPr>
          <a:xfrm>
            <a:off x="6096000" y="0"/>
            <a:ext cx="6096000" cy="6858000"/>
          </a:xfrm>
        </p:spPr>
        <p:txBody>
          <a:bodyPr/>
          <a:lstStyle/>
          <a:p>
            <a:endParaRPr lang="en-US"/>
          </a:p>
        </p:txBody>
      </p:sp>
      <p:sp>
        <p:nvSpPr>
          <p:cNvPr id="11" name="Title 1">
            <a:extLst>
              <a:ext uri="{FF2B5EF4-FFF2-40B4-BE49-F238E27FC236}">
                <a16:creationId xmlns:a16="http://schemas.microsoft.com/office/drawing/2014/main" id="{1CDE2C5B-BB41-7B4F-B859-C3CFC22B130C}"/>
              </a:ext>
            </a:extLst>
          </p:cNvPr>
          <p:cNvSpPr>
            <a:spLocks noGrp="1"/>
          </p:cNvSpPr>
          <p:nvPr>
            <p:ph type="title"/>
          </p:nvPr>
        </p:nvSpPr>
        <p:spPr>
          <a:xfrm>
            <a:off x="457200" y="701882"/>
            <a:ext cx="5334000" cy="609600"/>
          </a:xfrm>
        </p:spPr>
        <p:txBody>
          <a:bodyPr vert="horz" lIns="0" tIns="0" rIns="0" bIns="0" rtlCol="0" anchor="ctr">
            <a:noAutofit/>
          </a:bodyPr>
          <a:lstStyle>
            <a:lvl1pPr>
              <a:defRPr lang="en-US" sz="3600" b="0" i="0" kern="1200" dirty="0">
                <a:solidFill>
                  <a:schemeClr val="tx1"/>
                </a:solidFill>
                <a:latin typeface="Segoe UI Semibold" panose="020B0502040204020203" pitchFamily="34" charset="0"/>
                <a:ea typeface="+mj-ea"/>
                <a:cs typeface="Segoe UI Semibold" panose="020B0502040204020203" pitchFamily="34" charset="0"/>
              </a:defRPr>
            </a:lvl1pPr>
          </a:lstStyle>
          <a:p>
            <a:pPr lvl="0"/>
            <a:r>
              <a:rPr lang="en-US" dirty="0"/>
              <a:t>Click to edit</a:t>
            </a:r>
          </a:p>
        </p:txBody>
      </p:sp>
      <p:sp>
        <p:nvSpPr>
          <p:cNvPr id="12" name="Text Placeholder 5">
            <a:extLst>
              <a:ext uri="{FF2B5EF4-FFF2-40B4-BE49-F238E27FC236}">
                <a16:creationId xmlns:a16="http://schemas.microsoft.com/office/drawing/2014/main" id="{49A3513B-EFC2-B443-B13D-5B1E0A9D5A28}"/>
              </a:ext>
            </a:extLst>
          </p:cNvPr>
          <p:cNvSpPr>
            <a:spLocks noGrp="1"/>
          </p:cNvSpPr>
          <p:nvPr>
            <p:ph type="body" sz="quarter" idx="13" hasCustomPrompt="1"/>
          </p:nvPr>
        </p:nvSpPr>
        <p:spPr>
          <a:xfrm>
            <a:off x="457200" y="457200"/>
            <a:ext cx="942887" cy="244682"/>
          </a:xfrm>
          <a:solidFill>
            <a:schemeClr val="accent2"/>
          </a:solidFill>
        </p:spPr>
        <p:txBody>
          <a:bodyPr vert="horz" wrap="none" lIns="91440" tIns="45720" rIns="91440" bIns="45720" rtlCol="0" anchor="ctr">
            <a:spAutoFit/>
          </a:bodyPr>
          <a:lstStyle>
            <a:lvl1pPr marL="0" indent="0">
              <a:buNone/>
              <a:defRPr lang="en-US" sz="1100" dirty="0"/>
            </a:lvl1pPr>
          </a:lstStyle>
          <a:p>
            <a:pPr marL="228600" lvl="0" indent="-228600"/>
            <a:r>
              <a:rPr lang="en-US" dirty="0"/>
              <a:t>Fourth level</a:t>
            </a:r>
          </a:p>
        </p:txBody>
      </p:sp>
    </p:spTree>
    <p:extLst>
      <p:ext uri="{BB962C8B-B14F-4D97-AF65-F5344CB8AC3E}">
        <p14:creationId xmlns:p14="http://schemas.microsoft.com/office/powerpoint/2010/main" val="2215405964"/>
      </p:ext>
    </p:extLst>
  </p:cSld>
  <p:clrMapOvr>
    <a:masterClrMapping/>
  </p:clrMapOvr>
  <p:extLst>
    <p:ext uri="{DCECCB84-F9BA-43D5-87BE-67443E8EF086}">
      <p15:sldGuideLst xmlns:p15="http://schemas.microsoft.com/office/powerpoint/2012/main">
        <p15:guide id="1" pos="3840">
          <p15:clr>
            <a:srgbClr val="C35EA4"/>
          </p15:clr>
        </p15:guide>
        <p15:guide id="2" pos="3648">
          <p15:clr>
            <a:srgbClr val="FBAE40"/>
          </p15:clr>
        </p15:guide>
        <p15:guide id="3" pos="4968">
          <p15:clr>
            <a:srgbClr val="FBAE40"/>
          </p15:clr>
        </p15:guide>
        <p15:guide id="4" orient="horz" pos="2160">
          <p15:clr>
            <a:srgbClr val="C35EA4"/>
          </p15:clr>
        </p15:guide>
        <p15:guide id="5" orient="horz" pos="2736">
          <p15:clr>
            <a:srgbClr val="FBAE40"/>
          </p15:clr>
        </p15:guide>
        <p15:guide id="6" orient="horz" pos="1488">
          <p15:clr>
            <a:srgbClr val="FBAE40"/>
          </p15:clr>
        </p15:guide>
        <p15:guide id="8" pos="5760">
          <p15:clr>
            <a:srgbClr val="5ACBF0"/>
          </p15:clr>
        </p15:guide>
        <p15:guide id="9" orient="horz" pos="3216">
          <p15:clr>
            <a:srgbClr val="5ACBF0"/>
          </p15:clr>
        </p15:guide>
        <p15:guide id="10" orient="horz" pos="1104">
          <p15:clr>
            <a:srgbClr val="5ACBF0"/>
          </p15:clr>
        </p15:guide>
        <p15:guide id="11" pos="5064">
          <p15:clr>
            <a:srgbClr val="FBAE40"/>
          </p15:clr>
        </p15:guide>
        <p15:guide id="13" orient="horz" pos="2832">
          <p15:clr>
            <a:srgbClr val="FBAE40"/>
          </p15:clr>
        </p15:guide>
        <p15:guide id="14" orient="horz" pos="1584">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361A4-1164-AE4D-B27D-B4B79FFF543B}"/>
              </a:ext>
            </a:extLst>
          </p:cNvPr>
          <p:cNvSpPr>
            <a:spLocks noGrp="1"/>
          </p:cNvSpPr>
          <p:nvPr>
            <p:ph type="title"/>
          </p:nvPr>
        </p:nvSpPr>
        <p:spPr>
          <a:xfrm>
            <a:off x="457200" y="457200"/>
            <a:ext cx="8686800" cy="609600"/>
          </a:xfrm>
        </p:spPr>
        <p:txBody>
          <a:bodyPr lIns="0" tIns="0" rIns="0" bIns="0" anchor="t">
            <a:noAutofit/>
          </a:bodyPr>
          <a:lstStyle>
            <a:lvl1pPr>
              <a:defRPr sz="4000" b="0" i="0">
                <a:latin typeface="Segoe UI Semibold" panose="020B0502040204020203" pitchFamily="34" charset="0"/>
                <a:cs typeface="Segoe UI Semibold"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552213796"/>
      </p:ext>
    </p:extLst>
  </p:cSld>
  <p:clrMapOvr>
    <a:masterClrMapping/>
  </p:clrMapOvr>
  <p:extLst>
    <p:ext uri="{DCECCB84-F9BA-43D5-87BE-67443E8EF086}">
      <p15:sldGuideLst xmlns:p15="http://schemas.microsoft.com/office/powerpoint/2012/main">
        <p15:guide id="1" pos="3840">
          <p15:clr>
            <a:srgbClr val="C35EA4"/>
          </p15:clr>
        </p15:guide>
        <p15:guide id="2" pos="2712">
          <p15:clr>
            <a:srgbClr val="FBAE40"/>
          </p15:clr>
        </p15:guide>
        <p15:guide id="3" pos="4968">
          <p15:clr>
            <a:srgbClr val="FBAE40"/>
          </p15:clr>
        </p15:guide>
        <p15:guide id="4" orient="horz" pos="2160">
          <p15:clr>
            <a:srgbClr val="C35EA4"/>
          </p15:clr>
        </p15:guide>
        <p15:guide id="5" orient="horz" pos="2736">
          <p15:clr>
            <a:srgbClr val="FBAE40"/>
          </p15:clr>
        </p15:guide>
        <p15:guide id="6" orient="horz" pos="1488">
          <p15:clr>
            <a:srgbClr val="FBAE40"/>
          </p15:clr>
        </p15:guide>
        <p15:guide id="7" pos="1920">
          <p15:clr>
            <a:srgbClr val="5ACBF0"/>
          </p15:clr>
        </p15:guide>
        <p15:guide id="8" pos="5760">
          <p15:clr>
            <a:srgbClr val="5ACBF0"/>
          </p15:clr>
        </p15:guide>
        <p15:guide id="9" orient="horz" pos="3216">
          <p15:clr>
            <a:srgbClr val="5ACBF0"/>
          </p15:clr>
        </p15:guide>
        <p15:guide id="10" orient="horz" pos="1104">
          <p15:clr>
            <a:srgbClr val="5ACBF0"/>
          </p15:clr>
        </p15:guide>
        <p15:guide id="11" pos="5064">
          <p15:clr>
            <a:srgbClr val="FBAE40"/>
          </p15:clr>
        </p15:guide>
        <p15:guide id="12" pos="2616">
          <p15:clr>
            <a:srgbClr val="FBAE40"/>
          </p15:clr>
        </p15:guide>
        <p15:guide id="13" orient="horz" pos="2832">
          <p15:clr>
            <a:srgbClr val="FBAE40"/>
          </p15:clr>
        </p15:guide>
        <p15:guide id="14" orient="horz" pos="1584">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361A4-1164-AE4D-B27D-B4B79FFF543B}"/>
              </a:ext>
            </a:extLst>
          </p:cNvPr>
          <p:cNvSpPr>
            <a:spLocks noGrp="1"/>
          </p:cNvSpPr>
          <p:nvPr>
            <p:ph type="title"/>
          </p:nvPr>
        </p:nvSpPr>
        <p:spPr>
          <a:xfrm>
            <a:off x="457200" y="701882"/>
            <a:ext cx="8686800" cy="609600"/>
          </a:xfrm>
        </p:spPr>
        <p:txBody>
          <a:bodyPr lIns="0" tIns="0" rIns="0" bIns="0" anchor="ctr">
            <a:noAutofit/>
          </a:bodyPr>
          <a:lstStyle>
            <a:lvl1pPr>
              <a:defRPr sz="3600" b="0" i="0">
                <a:latin typeface="Segoe UI Semibold" panose="020B0502040204020203" pitchFamily="34" charset="0"/>
                <a:cs typeface="Segoe UI Semibold" panose="020B0502040204020203" pitchFamily="34" charset="0"/>
              </a:defRPr>
            </a:lvl1pPr>
          </a:lstStyle>
          <a:p>
            <a:r>
              <a:rPr lang="en-US" dirty="0"/>
              <a:t>Click to edit Master title style</a:t>
            </a:r>
          </a:p>
        </p:txBody>
      </p:sp>
      <p:sp>
        <p:nvSpPr>
          <p:cNvPr id="4" name="Text Placeholder 5">
            <a:extLst>
              <a:ext uri="{FF2B5EF4-FFF2-40B4-BE49-F238E27FC236}">
                <a16:creationId xmlns:a16="http://schemas.microsoft.com/office/drawing/2014/main" id="{0F5D5F47-1DA2-8745-B0DB-FF4395593398}"/>
              </a:ext>
            </a:extLst>
          </p:cNvPr>
          <p:cNvSpPr>
            <a:spLocks noGrp="1"/>
          </p:cNvSpPr>
          <p:nvPr>
            <p:ph type="body" sz="quarter" idx="13" hasCustomPrompt="1"/>
          </p:nvPr>
        </p:nvSpPr>
        <p:spPr>
          <a:xfrm>
            <a:off x="457200" y="457200"/>
            <a:ext cx="942887" cy="244682"/>
          </a:xfrm>
          <a:solidFill>
            <a:schemeClr val="accent2"/>
          </a:solidFill>
        </p:spPr>
        <p:txBody>
          <a:bodyPr vert="horz" wrap="none" lIns="91440" tIns="45720" rIns="91440" bIns="45720" rtlCol="0" anchor="ctr">
            <a:spAutoFit/>
          </a:bodyPr>
          <a:lstStyle>
            <a:lvl1pPr marL="0" indent="0">
              <a:buNone/>
              <a:defRPr lang="en-US" sz="1100" dirty="0"/>
            </a:lvl1pPr>
          </a:lstStyle>
          <a:p>
            <a:pPr marL="228600" lvl="0" indent="-228600"/>
            <a:r>
              <a:rPr lang="en-US" dirty="0"/>
              <a:t>Fourth level</a:t>
            </a:r>
          </a:p>
        </p:txBody>
      </p:sp>
    </p:spTree>
    <p:extLst>
      <p:ext uri="{BB962C8B-B14F-4D97-AF65-F5344CB8AC3E}">
        <p14:creationId xmlns:p14="http://schemas.microsoft.com/office/powerpoint/2010/main" val="3636485595"/>
      </p:ext>
    </p:extLst>
  </p:cSld>
  <p:clrMapOvr>
    <a:masterClrMapping/>
  </p:clrMapOvr>
  <p:extLst>
    <p:ext uri="{DCECCB84-F9BA-43D5-87BE-67443E8EF086}">
      <p15:sldGuideLst xmlns:p15="http://schemas.microsoft.com/office/powerpoint/2012/main">
        <p15:guide id="1" pos="3840">
          <p15:clr>
            <a:srgbClr val="C35EA4"/>
          </p15:clr>
        </p15:guide>
        <p15:guide id="2" pos="2712">
          <p15:clr>
            <a:srgbClr val="FBAE40"/>
          </p15:clr>
        </p15:guide>
        <p15:guide id="3" pos="4968">
          <p15:clr>
            <a:srgbClr val="FBAE40"/>
          </p15:clr>
        </p15:guide>
        <p15:guide id="4" orient="horz" pos="2160">
          <p15:clr>
            <a:srgbClr val="C35EA4"/>
          </p15:clr>
        </p15:guide>
        <p15:guide id="5" orient="horz" pos="2736">
          <p15:clr>
            <a:srgbClr val="FBAE40"/>
          </p15:clr>
        </p15:guide>
        <p15:guide id="6" orient="horz" pos="1488">
          <p15:clr>
            <a:srgbClr val="FBAE40"/>
          </p15:clr>
        </p15:guide>
        <p15:guide id="7" pos="1920">
          <p15:clr>
            <a:srgbClr val="5ACBF0"/>
          </p15:clr>
        </p15:guide>
        <p15:guide id="8" pos="5760">
          <p15:clr>
            <a:srgbClr val="5ACBF0"/>
          </p15:clr>
        </p15:guide>
        <p15:guide id="9" orient="horz" pos="3216">
          <p15:clr>
            <a:srgbClr val="5ACBF0"/>
          </p15:clr>
        </p15:guide>
        <p15:guide id="10" orient="horz" pos="1104">
          <p15:clr>
            <a:srgbClr val="5ACBF0"/>
          </p15:clr>
        </p15:guide>
        <p15:guide id="11" pos="5064">
          <p15:clr>
            <a:srgbClr val="FBAE40"/>
          </p15:clr>
        </p15:guide>
        <p15:guide id="12" pos="2616">
          <p15:clr>
            <a:srgbClr val="FBAE40"/>
          </p15:clr>
        </p15:guide>
        <p15:guide id="13" orient="horz" pos="2832">
          <p15:clr>
            <a:srgbClr val="FBAE40"/>
          </p15:clr>
        </p15:guide>
        <p15:guide id="14" orient="horz" pos="158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467CE4CD-90A5-4980-8AE8-0B35C710CE63}"/>
              </a:ext>
            </a:extLst>
          </p:cNvPr>
          <p:cNvSpPr>
            <a:spLocks noGrp="1"/>
          </p:cNvSpPr>
          <p:nvPr>
            <p:ph type="title" hasCustomPrompt="1"/>
          </p:nvPr>
        </p:nvSpPr>
        <p:spPr>
          <a:xfrm>
            <a:off x="261257"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5960177D-638E-4A99-8B63-DA9A0ACE64B8}"/>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2B62E3DF-BBC1-41ED-8E27-41B397B86E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1" name="Arrow: Right 10">
            <a:extLst>
              <a:ext uri="{FF2B5EF4-FFF2-40B4-BE49-F238E27FC236}">
                <a16:creationId xmlns:a16="http://schemas.microsoft.com/office/drawing/2014/main" id="{407A57B6-510E-4A3E-920D-47374BA5C37E}"/>
              </a:ext>
            </a:extLst>
          </p:cNvPr>
          <p:cNvSpPr/>
          <p:nvPr userDrawn="1"/>
        </p:nvSpPr>
        <p:spPr bwMode="auto">
          <a:xfrm>
            <a:off x="261257"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0" name="Group 4" descr="Microsoft Ignite The Tour logo">
            <a:extLst>
              <a:ext uri="{FF2B5EF4-FFF2-40B4-BE49-F238E27FC236}">
                <a16:creationId xmlns:a16="http://schemas.microsoft.com/office/drawing/2014/main" id="{3780C35E-3191-48C0-A897-5DC0EB9D48AD}"/>
              </a:ext>
            </a:extLst>
          </p:cNvPr>
          <p:cNvGrpSpPr>
            <a:grpSpLocks noChangeAspect="1"/>
          </p:cNvGrpSpPr>
          <p:nvPr userDrawn="1"/>
        </p:nvGrpSpPr>
        <p:grpSpPr bwMode="black">
          <a:xfrm>
            <a:off x="534627" y="2809086"/>
            <a:ext cx="4655288" cy="1284967"/>
            <a:chOff x="342" y="1465"/>
            <a:chExt cx="2565" cy="708"/>
          </a:xfrm>
        </p:grpSpPr>
        <p:sp>
          <p:nvSpPr>
            <p:cNvPr id="15" name="Freeform 5">
              <a:extLst>
                <a:ext uri="{FF2B5EF4-FFF2-40B4-BE49-F238E27FC236}">
                  <a16:creationId xmlns:a16="http://schemas.microsoft.com/office/drawing/2014/main" id="{F82575FD-5C30-4FB1-BD8B-AFAF047C6A15}"/>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6">
              <a:extLst>
                <a:ext uri="{FF2B5EF4-FFF2-40B4-BE49-F238E27FC236}">
                  <a16:creationId xmlns:a16="http://schemas.microsoft.com/office/drawing/2014/main" id="{9D8C7DDD-ECF3-4355-8ABC-665E9586B10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57709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77B50C8B-1D89-4BAD-B83B-8DF7AC303984}"/>
              </a:ext>
            </a:extLst>
          </p:cNvPr>
          <p:cNvSpPr>
            <a:spLocks noGrp="1"/>
          </p:cNvSpPr>
          <p:nvPr>
            <p:ph type="body" sz="quarter" idx="14" hasCustomPrompt="1"/>
          </p:nvPr>
        </p:nvSpPr>
        <p:spPr>
          <a:xfrm>
            <a:off x="585216"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4213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FF628101-5035-47F5-8F47-AF723FAE9FB9}"/>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Microsoft Ignite The Tour graphic">
            <a:extLst>
              <a:ext uri="{FF2B5EF4-FFF2-40B4-BE49-F238E27FC236}">
                <a16:creationId xmlns:a16="http://schemas.microsoft.com/office/drawing/2014/main" id="{493061E4-9141-4906-AC66-4AB924C08F9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5334000" y="0"/>
            <a:ext cx="6858000" cy="6858000"/>
          </a:xfrm>
          <a:prstGeom prst="rect">
            <a:avLst/>
          </a:prstGeom>
          <a:solidFill>
            <a:srgbClr val="FFFFFF"/>
          </a:solidFill>
        </p:spPr>
      </p:pic>
    </p:spTree>
    <p:extLst>
      <p:ext uri="{BB962C8B-B14F-4D97-AF65-F5344CB8AC3E}">
        <p14:creationId xmlns:p14="http://schemas.microsoft.com/office/powerpoint/2010/main" val="268826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9E94E-F23B-4872-B9BF-559EB05CA9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7F55AFF-DA91-42B6-8941-4A2DFB61DA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85C2BB6-E856-41E9-96F4-D826BD6CAD7A}"/>
              </a:ext>
            </a:extLst>
          </p:cNvPr>
          <p:cNvSpPr>
            <a:spLocks noGrp="1"/>
          </p:cNvSpPr>
          <p:nvPr>
            <p:ph type="dt" sz="half" idx="10"/>
          </p:nvPr>
        </p:nvSpPr>
        <p:spPr/>
        <p:txBody>
          <a:bodyPr/>
          <a:lstStyle/>
          <a:p>
            <a:fld id="{894C087B-338C-4182-AF63-7FDC88A654E5}" type="datetimeFigureOut">
              <a:rPr lang="en-GB" smtClean="0"/>
              <a:t>10/03/2020</a:t>
            </a:fld>
            <a:endParaRPr lang="en-GB"/>
          </a:p>
        </p:txBody>
      </p:sp>
      <p:sp>
        <p:nvSpPr>
          <p:cNvPr id="5" name="Footer Placeholder 4">
            <a:extLst>
              <a:ext uri="{FF2B5EF4-FFF2-40B4-BE49-F238E27FC236}">
                <a16:creationId xmlns:a16="http://schemas.microsoft.com/office/drawing/2014/main" id="{6D75E336-7D55-4704-A7D2-F1CA68A2476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3D867A-8985-4247-8679-7804D8251C2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108174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376D9BBE-B735-458B-ABAC-679C67EB1807}"/>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C98E59B0-67F8-4A77-8BC3-2C6B72314B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71" r="1"/>
          <a:stretch/>
        </p:blipFill>
        <p:spPr bwMode="gray">
          <a:xfrm>
            <a:off x="5334001" y="-1"/>
            <a:ext cx="6858000" cy="6858001"/>
          </a:xfrm>
          <a:prstGeom prst="rect">
            <a:avLst/>
          </a:prstGeom>
          <a:solidFill>
            <a:srgbClr val="FFFFFF"/>
          </a:solidFill>
        </p:spPr>
      </p:pic>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62838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4163B43-807C-446C-A02D-D4C892EE0615}"/>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CEC508C3-17C5-4527-A00C-7B974C95D11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Two people at a Microsoft event">
            <a:extLst>
              <a:ext uri="{FF2B5EF4-FFF2-40B4-BE49-F238E27FC236}">
                <a16:creationId xmlns:a16="http://schemas.microsoft.com/office/drawing/2014/main" id="{F16083BE-9680-4C4D-841F-BBC563E71F6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263737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1285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74961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8966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9298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01835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763974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78227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dirty="0"/>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835581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EE474-ED6B-4CCA-A0D4-81AB90FC4EC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A3A1B64-7CF1-4740-9C67-5BF22CB20A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A67F6ED-0316-49D2-A69F-213AEDF034B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B980A41-FEDD-43A7-8C46-7B217F18A1EB}"/>
              </a:ext>
            </a:extLst>
          </p:cNvPr>
          <p:cNvSpPr>
            <a:spLocks noGrp="1"/>
          </p:cNvSpPr>
          <p:nvPr>
            <p:ph type="dt" sz="half" idx="10"/>
          </p:nvPr>
        </p:nvSpPr>
        <p:spPr/>
        <p:txBody>
          <a:bodyPr/>
          <a:lstStyle/>
          <a:p>
            <a:fld id="{894C087B-338C-4182-AF63-7FDC88A654E5}" type="datetimeFigureOut">
              <a:rPr lang="en-GB" smtClean="0"/>
              <a:t>10/03/2020</a:t>
            </a:fld>
            <a:endParaRPr lang="en-GB"/>
          </a:p>
        </p:txBody>
      </p:sp>
      <p:sp>
        <p:nvSpPr>
          <p:cNvPr id="6" name="Footer Placeholder 5">
            <a:extLst>
              <a:ext uri="{FF2B5EF4-FFF2-40B4-BE49-F238E27FC236}">
                <a16:creationId xmlns:a16="http://schemas.microsoft.com/office/drawing/2014/main" id="{912801BB-A612-4EB6-BCF8-C0005091349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3B21B8-2689-4860-A4A4-2529DC22D9FF}"/>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2201047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085180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7663943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854959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293147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52711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013537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333434928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747404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667551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22743443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1DE30-FAEB-4D87-A488-6E444263D23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7B662F-BD2E-4202-827B-A17C763DE1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507F480-605A-416F-BA61-B053B5F0F18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B20EAD4-2989-49F7-AA97-1177A934569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9D293F-0A8F-4423-85DB-C3B648CF05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656AB25-7CA1-45E8-B74D-7817FAA57879}"/>
              </a:ext>
            </a:extLst>
          </p:cNvPr>
          <p:cNvSpPr>
            <a:spLocks noGrp="1"/>
          </p:cNvSpPr>
          <p:nvPr>
            <p:ph type="dt" sz="half" idx="10"/>
          </p:nvPr>
        </p:nvSpPr>
        <p:spPr/>
        <p:txBody>
          <a:bodyPr/>
          <a:lstStyle/>
          <a:p>
            <a:fld id="{894C087B-338C-4182-AF63-7FDC88A654E5}" type="datetimeFigureOut">
              <a:rPr lang="en-GB" smtClean="0"/>
              <a:t>10/03/2020</a:t>
            </a:fld>
            <a:endParaRPr lang="en-GB"/>
          </a:p>
        </p:txBody>
      </p:sp>
      <p:sp>
        <p:nvSpPr>
          <p:cNvPr id="8" name="Footer Placeholder 7">
            <a:extLst>
              <a:ext uri="{FF2B5EF4-FFF2-40B4-BE49-F238E27FC236}">
                <a16:creationId xmlns:a16="http://schemas.microsoft.com/office/drawing/2014/main" id="{61CB9AB9-4723-44EE-9BE5-884DE9C21A5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EA133C4-78E8-46B9-8C2D-0F1A449D3A3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260193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56371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4160520" cy="338554"/>
          </a:xfrm>
          <a:noFill/>
        </p:spPr>
        <p:txBody>
          <a:bodyPr wrap="square" lIns="0" tIns="0" rIns="0" bIns="0">
            <a:no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8" name="Picture 7" descr="Microsoft Ignite The Tour graphic">
            <a:extLst>
              <a:ext uri="{FF2B5EF4-FFF2-40B4-BE49-F238E27FC236}">
                <a16:creationId xmlns:a16="http://schemas.microsoft.com/office/drawing/2014/main" id="{FA576421-D686-4443-A5C4-C6002072C64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5338480" y="0"/>
            <a:ext cx="6853520" cy="6858000"/>
          </a:xfrm>
          <a:prstGeom prst="rect">
            <a:avLst/>
          </a:prstGeom>
          <a:solidFill>
            <a:srgbClr val="FFFFFF"/>
          </a:solidFill>
        </p:spPr>
      </p:pic>
    </p:spTree>
    <p:extLst>
      <p:ext uri="{BB962C8B-B14F-4D97-AF65-F5344CB8AC3E}">
        <p14:creationId xmlns:p14="http://schemas.microsoft.com/office/powerpoint/2010/main" val="189988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4" name="Picture 3" descr="Microsoft Ignite The Tour graphic">
            <a:extLst>
              <a:ext uri="{FF2B5EF4-FFF2-40B4-BE49-F238E27FC236}">
                <a16:creationId xmlns:a16="http://schemas.microsoft.com/office/drawing/2014/main" id="{33CC6B10-2D2E-4489-BBDC-0AA717D6826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4321" r="2"/>
          <a:stretch/>
        </p:blipFill>
        <p:spPr bwMode="gray">
          <a:xfrm>
            <a:off x="5334000" y="1"/>
            <a:ext cx="6858001" cy="6858000"/>
          </a:xfrm>
          <a:prstGeom prst="rect">
            <a:avLst/>
          </a:prstGeom>
          <a:solidFill>
            <a:srgbClr val="FFFFFF"/>
          </a:solidFill>
        </p:spPr>
      </p:pic>
    </p:spTree>
    <p:extLst>
      <p:ext uri="{BB962C8B-B14F-4D97-AF65-F5344CB8AC3E}">
        <p14:creationId xmlns:p14="http://schemas.microsoft.com/office/powerpoint/2010/main" val="28634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784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44900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871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0305994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173494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435218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2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1692771"/>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a:p>
            <a:pPr lvl="1"/>
            <a:endParaRPr lang="en-US"/>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2194808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66833-DF32-40BA-8129-12D19CB89BA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FE4149E-F870-4DA3-9CFD-11AC9CFE8587}"/>
              </a:ext>
            </a:extLst>
          </p:cNvPr>
          <p:cNvSpPr>
            <a:spLocks noGrp="1"/>
          </p:cNvSpPr>
          <p:nvPr>
            <p:ph type="dt" sz="half" idx="10"/>
          </p:nvPr>
        </p:nvSpPr>
        <p:spPr/>
        <p:txBody>
          <a:bodyPr/>
          <a:lstStyle/>
          <a:p>
            <a:fld id="{894C087B-338C-4182-AF63-7FDC88A654E5}" type="datetimeFigureOut">
              <a:rPr lang="en-GB" smtClean="0"/>
              <a:t>10/03/2020</a:t>
            </a:fld>
            <a:endParaRPr lang="en-GB"/>
          </a:p>
        </p:txBody>
      </p:sp>
      <p:sp>
        <p:nvSpPr>
          <p:cNvPr id="4" name="Footer Placeholder 3">
            <a:extLst>
              <a:ext uri="{FF2B5EF4-FFF2-40B4-BE49-F238E27FC236}">
                <a16:creationId xmlns:a16="http://schemas.microsoft.com/office/drawing/2014/main" id="{AE4F332F-7F07-4CC6-8BD3-261FDBFCCCA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6F5600F-8FEC-4B32-923D-F0B50CBD2977}"/>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4515731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sz="3600"/>
            </a:lvl1pPr>
          </a:lstStyle>
          <a:p>
            <a:r>
              <a:rPr lang="en-US"/>
              <a:t>Click to edit Master title style</a:t>
            </a:r>
          </a:p>
        </p:txBody>
      </p:sp>
    </p:spTree>
    <p:extLst>
      <p:ext uri="{BB962C8B-B14F-4D97-AF65-F5344CB8AC3E}">
        <p14:creationId xmlns:p14="http://schemas.microsoft.com/office/powerpoint/2010/main" val="40781645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374478974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6620402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3C1B051-FED4-4D0F-B7EC-EB203975237A}"/>
              </a:ext>
            </a:extLst>
          </p:cNvPr>
          <p:cNvSpPr>
            <a:spLocks noGrp="1"/>
          </p:cNvSpPr>
          <p:nvPr>
            <p:ph type="title" hasCustomPrompt="1"/>
          </p:nvPr>
        </p:nvSpPr>
        <p:spPr>
          <a:xfrm>
            <a:off x="261256"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29164D66-675E-4ABA-A378-052BDC22C92B}"/>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CFBD1E6B-D26A-48D5-BD12-9761C147E69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5" name="Arrow: Right 14">
            <a:extLst>
              <a:ext uri="{FF2B5EF4-FFF2-40B4-BE49-F238E27FC236}">
                <a16:creationId xmlns:a16="http://schemas.microsoft.com/office/drawing/2014/main" id="{CB256F11-E3EC-4D8B-B76D-58A712905F4B}"/>
              </a:ext>
            </a:extLst>
          </p:cNvPr>
          <p:cNvSpPr/>
          <p:nvPr userDrawn="1"/>
        </p:nvSpPr>
        <p:spPr bwMode="auto">
          <a:xfrm>
            <a:off x="261256"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2" name="Group 4" descr="Microsoft Ignite The Tour logo">
            <a:extLst>
              <a:ext uri="{FF2B5EF4-FFF2-40B4-BE49-F238E27FC236}">
                <a16:creationId xmlns:a16="http://schemas.microsoft.com/office/drawing/2014/main" id="{BB844257-C0F3-4EEF-858F-C0F0EB14C035}"/>
              </a:ext>
            </a:extLst>
          </p:cNvPr>
          <p:cNvGrpSpPr>
            <a:grpSpLocks noChangeAspect="1"/>
          </p:cNvGrpSpPr>
          <p:nvPr userDrawn="1"/>
        </p:nvGrpSpPr>
        <p:grpSpPr bwMode="black">
          <a:xfrm>
            <a:off x="534627" y="2809086"/>
            <a:ext cx="4655288" cy="1284967"/>
            <a:chOff x="342" y="1465"/>
            <a:chExt cx="2565" cy="708"/>
          </a:xfrm>
        </p:grpSpPr>
        <p:sp>
          <p:nvSpPr>
            <p:cNvPr id="13" name="Freeform 5">
              <a:extLst>
                <a:ext uri="{FF2B5EF4-FFF2-40B4-BE49-F238E27FC236}">
                  <a16:creationId xmlns:a16="http://schemas.microsoft.com/office/drawing/2014/main" id="{60B122FE-A0C7-4A72-B247-100ACFD2B7A1}"/>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990E81CC-C484-4431-8CB7-ED400869414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741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1FC2526B-B2B3-4BA5-AC17-B1AAD1FF4B5D}"/>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6391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33510880-83DD-48A9-A111-05C52DE11113}"/>
              </a:ext>
            </a:extLst>
          </p:cNvPr>
          <p:cNvSpPr>
            <a:spLocks noGrp="1"/>
          </p:cNvSpPr>
          <p:nvPr>
            <p:ph type="body" sz="quarter" idx="14" hasCustomPrompt="1"/>
          </p:nvPr>
        </p:nvSpPr>
        <p:spPr>
          <a:xfrm>
            <a:off x="584200" y="6016752"/>
            <a:ext cx="2743200"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634884E1-B5A4-420C-A2DE-6323A92F07E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3863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9DABB7D0-35E4-4977-B6DF-FC6413167548}"/>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Microsoft Ignite The Tour graphic">
            <a:extLst>
              <a:ext uri="{FF2B5EF4-FFF2-40B4-BE49-F238E27FC236}">
                <a16:creationId xmlns:a16="http://schemas.microsoft.com/office/drawing/2014/main" id="{0DD4EC91-2113-42B5-BCCE-4B5CFDA84CC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294626" y="-1"/>
            <a:ext cx="6897374"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69472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57C73B5-0E5D-44A8-AE3C-5A0E30422215}"/>
              </a:ext>
            </a:extLst>
          </p:cNvPr>
          <p:cNvSpPr>
            <a:spLocks noGrp="1"/>
          </p:cNvSpPr>
          <p:nvPr>
            <p:ph type="body" sz="quarter" idx="13" hasCustomPrompt="1"/>
          </p:nvPr>
        </p:nvSpPr>
        <p:spPr>
          <a:xfrm>
            <a:off x="585216" y="6047530"/>
            <a:ext cx="4174108" cy="276999"/>
          </a:xfrm>
          <a:noFill/>
        </p:spPr>
        <p:txBody>
          <a:bodyPr wrap="square" lIns="0" tIns="0" rIns="0" bIns="0" anchor="b">
            <a:sp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Two people at a Microsoft event">
            <a:extLst>
              <a:ext uri="{FF2B5EF4-FFF2-40B4-BE49-F238E27FC236}">
                <a16:creationId xmlns:a16="http://schemas.microsoft.com/office/drawing/2014/main" id="{167E3A30-9E9A-405B-9E9F-54CF1376467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7147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5788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68162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75A9BF-C6D3-4517-B16F-782261BCAC6E}"/>
              </a:ext>
            </a:extLst>
          </p:cNvPr>
          <p:cNvSpPr>
            <a:spLocks noGrp="1"/>
          </p:cNvSpPr>
          <p:nvPr>
            <p:ph type="dt" sz="half" idx="10"/>
          </p:nvPr>
        </p:nvSpPr>
        <p:spPr/>
        <p:txBody>
          <a:bodyPr/>
          <a:lstStyle/>
          <a:p>
            <a:fld id="{894C087B-338C-4182-AF63-7FDC88A654E5}" type="datetimeFigureOut">
              <a:rPr lang="en-GB" smtClean="0"/>
              <a:t>10/03/2020</a:t>
            </a:fld>
            <a:endParaRPr lang="en-GB"/>
          </a:p>
        </p:txBody>
      </p:sp>
      <p:sp>
        <p:nvSpPr>
          <p:cNvPr id="3" name="Footer Placeholder 2">
            <a:extLst>
              <a:ext uri="{FF2B5EF4-FFF2-40B4-BE49-F238E27FC236}">
                <a16:creationId xmlns:a16="http://schemas.microsoft.com/office/drawing/2014/main" id="{2E1781E7-A5FA-4758-A445-BB72CBBAEB4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6D817DF-8FF3-4A85-A541-417EA08295E5}"/>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9483260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14137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17360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71880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0923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221703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244795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823491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1688417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1688465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234525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344B6-05A6-40AD-A0D5-84415341A7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CE0FD1A-7A7B-4F2B-B0FA-C078F2F6EFD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8C5C5ED-61A5-438A-ADF2-543BEB3637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AD750B-F51F-4C18-B128-31025C13497E}"/>
              </a:ext>
            </a:extLst>
          </p:cNvPr>
          <p:cNvSpPr>
            <a:spLocks noGrp="1"/>
          </p:cNvSpPr>
          <p:nvPr>
            <p:ph type="dt" sz="half" idx="10"/>
          </p:nvPr>
        </p:nvSpPr>
        <p:spPr/>
        <p:txBody>
          <a:bodyPr/>
          <a:lstStyle/>
          <a:p>
            <a:fld id="{894C087B-338C-4182-AF63-7FDC88A654E5}" type="datetimeFigureOut">
              <a:rPr lang="en-GB" smtClean="0"/>
              <a:t>10/03/2020</a:t>
            </a:fld>
            <a:endParaRPr lang="en-GB"/>
          </a:p>
        </p:txBody>
      </p:sp>
      <p:sp>
        <p:nvSpPr>
          <p:cNvPr id="6" name="Footer Placeholder 5">
            <a:extLst>
              <a:ext uri="{FF2B5EF4-FFF2-40B4-BE49-F238E27FC236}">
                <a16:creationId xmlns:a16="http://schemas.microsoft.com/office/drawing/2014/main" id="{BD5044FD-7E93-42F7-A997-882BB91ABE2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4472C20-07DB-477A-87DF-09531BF2B089}"/>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650625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1310646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11174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80647838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896083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4466016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4606073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01443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7" name="Picture 6" descr="Microsoft Ignite The Tour graphic">
            <a:extLst>
              <a:ext uri="{FF2B5EF4-FFF2-40B4-BE49-F238E27FC236}">
                <a16:creationId xmlns:a16="http://schemas.microsoft.com/office/drawing/2014/main" id="{49EFE72D-84A8-4C08-AF2F-E5E1B5A3FBD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45970" y="0"/>
            <a:ext cx="9046030" cy="6858000"/>
          </a:xfrm>
          <a:prstGeom prst="rect">
            <a:avLst/>
          </a:prstGeom>
        </p:spPr>
      </p:pic>
    </p:spTree>
    <p:extLst>
      <p:ext uri="{BB962C8B-B14F-4D97-AF65-F5344CB8AC3E}">
        <p14:creationId xmlns:p14="http://schemas.microsoft.com/office/powerpoint/2010/main" val="419099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5" name="Picture 4" descr="Microsoft Ignite The Tour graphic">
            <a:extLst>
              <a:ext uri="{FF2B5EF4-FFF2-40B4-BE49-F238E27FC236}">
                <a16:creationId xmlns:a16="http://schemas.microsoft.com/office/drawing/2014/main" id="{7CB8EBFF-20C5-402C-987B-C51DBE9A9D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65371" y="0"/>
            <a:ext cx="6226629" cy="6858001"/>
          </a:xfrm>
          <a:prstGeom prst="rect">
            <a:avLst/>
          </a:prstGeom>
        </p:spPr>
      </p:pic>
    </p:spTree>
    <p:extLst>
      <p:ext uri="{BB962C8B-B14F-4D97-AF65-F5344CB8AC3E}">
        <p14:creationId xmlns:p14="http://schemas.microsoft.com/office/powerpoint/2010/main" val="274996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0493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28FAE-9827-478A-8F6B-A43B2DADA46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C0A7314-648C-4A5A-9F1B-48D9056265F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90F1FFD-6CCD-4095-92A2-9CCC3FC0C3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31865F-0544-41A7-91AD-522E086C58E9}"/>
              </a:ext>
            </a:extLst>
          </p:cNvPr>
          <p:cNvSpPr>
            <a:spLocks noGrp="1"/>
          </p:cNvSpPr>
          <p:nvPr>
            <p:ph type="dt" sz="half" idx="10"/>
          </p:nvPr>
        </p:nvSpPr>
        <p:spPr/>
        <p:txBody>
          <a:bodyPr/>
          <a:lstStyle/>
          <a:p>
            <a:fld id="{894C087B-338C-4182-AF63-7FDC88A654E5}" type="datetimeFigureOut">
              <a:rPr lang="en-GB" smtClean="0"/>
              <a:t>10/03/2020</a:t>
            </a:fld>
            <a:endParaRPr lang="en-GB"/>
          </a:p>
        </p:txBody>
      </p:sp>
      <p:sp>
        <p:nvSpPr>
          <p:cNvPr id="6" name="Footer Placeholder 5">
            <a:extLst>
              <a:ext uri="{FF2B5EF4-FFF2-40B4-BE49-F238E27FC236}">
                <a16:creationId xmlns:a16="http://schemas.microsoft.com/office/drawing/2014/main" id="{86C8F60B-37F7-43C1-980C-4782A5D1B1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0881E98-6B33-48D6-8267-8D7B3572135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308080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6995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10134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1419962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1838882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E6EAEB"/>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1A79512-5207-4C2D-93CE-D43C0082D2A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970116" y="0"/>
            <a:ext cx="8221884" cy="6857999"/>
          </a:xfrm>
          <a:prstGeom prst="rect">
            <a:avLst/>
          </a:prstGeom>
        </p:spPr>
      </p:pic>
      <p:pic>
        <p:nvPicPr>
          <p:cNvPr id="4" name="MS logo gray - EMF" descr="Microsoft logo, gray text version">
            <a:extLst>
              <a:ext uri="{FF2B5EF4-FFF2-40B4-BE49-F238E27FC236}">
                <a16:creationId xmlns:a16="http://schemas.microsoft.com/office/drawing/2014/main" id="{F0E3C08C-B20E-414D-AD23-CC662C2C584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grpSp>
        <p:nvGrpSpPr>
          <p:cNvPr id="12" name="Group 11">
            <a:extLst>
              <a:ext uri="{FF2B5EF4-FFF2-40B4-BE49-F238E27FC236}">
                <a16:creationId xmlns:a16="http://schemas.microsoft.com/office/drawing/2014/main" id="{0AA4886A-CD55-4F6D-9D29-E9122B020C8B}"/>
              </a:ext>
            </a:extLst>
          </p:cNvPr>
          <p:cNvGrpSpPr/>
          <p:nvPr userDrawn="1"/>
        </p:nvGrpSpPr>
        <p:grpSpPr>
          <a:xfrm>
            <a:off x="576600" y="2002419"/>
            <a:ext cx="4170025" cy="2301387"/>
            <a:chOff x="576600" y="2002419"/>
            <a:chExt cx="4170025" cy="2301387"/>
          </a:xfrm>
        </p:grpSpPr>
        <p:pic>
          <p:nvPicPr>
            <p:cNvPr id="3" name="Picture 2" descr="A close up of a logo&#10;&#10;Description automatically generated">
              <a:extLst>
                <a:ext uri="{FF2B5EF4-FFF2-40B4-BE49-F238E27FC236}">
                  <a16:creationId xmlns:a16="http://schemas.microsoft.com/office/drawing/2014/main" id="{88B1501B-B3B4-4848-B7C2-263C99292DD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84201" y="2002419"/>
              <a:ext cx="3172944" cy="1426579"/>
            </a:xfrm>
            <a:prstGeom prst="rect">
              <a:avLst/>
            </a:prstGeom>
          </p:spPr>
        </p:pic>
        <p:pic>
          <p:nvPicPr>
            <p:cNvPr id="7" name="Picture 6">
              <a:extLst>
                <a:ext uri="{FF2B5EF4-FFF2-40B4-BE49-F238E27FC236}">
                  <a16:creationId xmlns:a16="http://schemas.microsoft.com/office/drawing/2014/main" id="{7A0C8DF6-81D8-4842-A0DF-8FE8AA8464E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76600" y="3962400"/>
              <a:ext cx="4170025" cy="341406"/>
            </a:xfrm>
            <a:prstGeom prst="rect">
              <a:avLst/>
            </a:prstGeom>
          </p:spPr>
        </p:pic>
      </p:grpSp>
    </p:spTree>
    <p:extLst>
      <p:ext uri="{BB962C8B-B14F-4D97-AF65-F5344CB8AC3E}">
        <p14:creationId xmlns:p14="http://schemas.microsoft.com/office/powerpoint/2010/main" val="1636965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rgbClr val="E6EBED"/>
        </a:solidFill>
        <a:effectLst/>
      </p:bgPr>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B9532AFA-78E5-4324-9D56-4D4CE7440E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7" name="Text Placeholder 4">
            <a:extLst>
              <a:ext uri="{FF2B5EF4-FFF2-40B4-BE49-F238E27FC236}">
                <a16:creationId xmlns:a16="http://schemas.microsoft.com/office/drawing/2014/main" id="{812B2AD1-076F-40BF-98F1-311E3BBCE5BE}"/>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8333">
                      <a:schemeClr val="tx1"/>
                    </a:gs>
                    <a:gs pos="26000">
                      <a:schemeClr val="tx1"/>
                    </a:gs>
                  </a:gsLst>
                  <a:lin ang="5400000" scaled="1"/>
                </a:gradFill>
                <a:latin typeface="+mn-lt"/>
                <a:cs typeface="Segoe UI" panose="020B0502040204020203" pitchFamily="34" charset="0"/>
              </a:defRPr>
            </a:lvl1pPr>
          </a:lstStyle>
          <a:p>
            <a:pPr lvl="0"/>
            <a:r>
              <a:rPr lang="en-US"/>
              <a:t>Speaker name or subtitle</a:t>
            </a:r>
          </a:p>
        </p:txBody>
      </p:sp>
      <p:sp>
        <p:nvSpPr>
          <p:cNvPr id="8" name="Title 1">
            <a:extLst>
              <a:ext uri="{FF2B5EF4-FFF2-40B4-BE49-F238E27FC236}">
                <a16:creationId xmlns:a16="http://schemas.microsoft.com/office/drawing/2014/main" id="{EE7D0842-89C9-4B62-8E7E-CD55867316F2}"/>
              </a:ext>
            </a:extLst>
          </p:cNvPr>
          <p:cNvSpPr>
            <a:spLocks noGrp="1"/>
          </p:cNvSpPr>
          <p:nvPr>
            <p:ph type="title" hasCustomPrompt="1"/>
          </p:nvPr>
        </p:nvSpPr>
        <p:spPr>
          <a:xfrm>
            <a:off x="588263" y="2425541"/>
            <a:ext cx="4167887" cy="1107996"/>
          </a:xfrm>
        </p:spPr>
        <p:txBody>
          <a:bodyPr anchor="b" anchorCtr="0">
            <a:spAutoFit/>
          </a:bodyPr>
          <a:lstStyle>
            <a:lvl1pPr>
              <a:defRPr>
                <a:gradFill>
                  <a:gsLst>
                    <a:gs pos="8333">
                      <a:schemeClr val="tx1"/>
                    </a:gs>
                    <a:gs pos="26000">
                      <a:schemeClr val="tx1"/>
                    </a:gs>
                  </a:gsLst>
                  <a:lin ang="5400000" scaled="1"/>
                </a:gradFill>
              </a:defRPr>
            </a:lvl1pPr>
          </a:lstStyle>
          <a:p>
            <a:r>
              <a:rPr lang="en-US"/>
              <a:t>Event name or presentation title </a:t>
            </a:r>
          </a:p>
        </p:txBody>
      </p:sp>
      <p:grpSp>
        <p:nvGrpSpPr>
          <p:cNvPr id="13" name="Group 12">
            <a:extLst>
              <a:ext uri="{FF2B5EF4-FFF2-40B4-BE49-F238E27FC236}">
                <a16:creationId xmlns:a16="http://schemas.microsoft.com/office/drawing/2014/main" id="{5C67BE41-7986-462F-AC1B-939AF1CF94E7}"/>
              </a:ext>
            </a:extLst>
          </p:cNvPr>
          <p:cNvGrpSpPr/>
          <p:nvPr userDrawn="1"/>
        </p:nvGrpSpPr>
        <p:grpSpPr bwMode="gray">
          <a:xfrm>
            <a:off x="5227320" y="0"/>
            <a:ext cx="6964680" cy="6858000"/>
            <a:chOff x="5227320" y="0"/>
            <a:chExt cx="6964680" cy="6858000"/>
          </a:xfrm>
        </p:grpSpPr>
        <p:pic>
          <p:nvPicPr>
            <p:cNvPr id="10" name="Picture 9">
              <a:extLst>
                <a:ext uri="{FF2B5EF4-FFF2-40B4-BE49-F238E27FC236}">
                  <a16:creationId xmlns:a16="http://schemas.microsoft.com/office/drawing/2014/main" id="{EEB323DA-E527-48B8-B69F-D0670E17AB0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
            <a:stretch/>
          </p:blipFill>
          <p:spPr bwMode="gray">
            <a:xfrm>
              <a:off x="5440680" y="0"/>
              <a:ext cx="6751320" cy="6858000"/>
            </a:xfrm>
            <a:prstGeom prst="rect">
              <a:avLst/>
            </a:prstGeom>
          </p:spPr>
        </p:pic>
        <p:sp>
          <p:nvSpPr>
            <p:cNvPr id="11" name="Rectangle 10">
              <a:extLst>
                <a:ext uri="{FF2B5EF4-FFF2-40B4-BE49-F238E27FC236}">
                  <a16:creationId xmlns:a16="http://schemas.microsoft.com/office/drawing/2014/main" id="{13096CD5-C9AD-44A0-AA99-044AA84D82E4}"/>
                </a:ext>
              </a:extLst>
            </p:cNvPr>
            <p:cNvSpPr/>
            <p:nvPr userDrawn="1"/>
          </p:nvSpPr>
          <p:spPr bwMode="gray">
            <a:xfrm>
              <a:off x="10149840" y="3139440"/>
              <a:ext cx="2042160" cy="243840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1AEB9608-944D-482E-9956-098EFE96D035}"/>
                </a:ext>
              </a:extLst>
            </p:cNvPr>
            <p:cNvSpPr/>
            <p:nvPr userDrawn="1"/>
          </p:nvSpPr>
          <p:spPr bwMode="gray">
            <a:xfrm>
              <a:off x="5227320" y="0"/>
              <a:ext cx="2042160" cy="158496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030886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953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42048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19490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5031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4.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image" Target="../media/image6.emf"/><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theme" Target="../theme/theme3.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image" Target="../media/image6.emf"/><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theme" Target="../theme/theme4.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34" Type="http://schemas.openxmlformats.org/officeDocument/2006/relationships/slideLayout" Target="../slideLayouts/slideLayout127.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33" Type="http://schemas.openxmlformats.org/officeDocument/2006/relationships/slideLayout" Target="../slideLayouts/slideLayout126.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29" Type="http://schemas.openxmlformats.org/officeDocument/2006/relationships/slideLayout" Target="../slideLayouts/slideLayout122.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32" Type="http://schemas.openxmlformats.org/officeDocument/2006/relationships/slideLayout" Target="../slideLayouts/slideLayout125.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36" Type="http://schemas.openxmlformats.org/officeDocument/2006/relationships/image" Target="../media/image6.emf"/><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slideLayout" Target="../slideLayouts/slideLayout124.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slideLayout" Target="../slideLayouts/slideLayout123.xml"/><Relationship Id="rId35"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image" Target="../media/image37.emf"/><Relationship Id="rId3" Type="http://schemas.openxmlformats.org/officeDocument/2006/relationships/slideLayout" Target="../slideLayouts/slideLayout130.xml"/><Relationship Id="rId21" Type="http://schemas.openxmlformats.org/officeDocument/2006/relationships/slideLayout" Target="../slideLayouts/slideLayout148.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theme" Target="../theme/theme6.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slideLayout" Target="../slideLayouts/slideLayout177.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33" Type="http://schemas.openxmlformats.org/officeDocument/2006/relationships/image" Target="../media/image6.emf"/><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29" Type="http://schemas.openxmlformats.org/officeDocument/2006/relationships/slideLayout" Target="../slideLayouts/slideLayout180.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32" Type="http://schemas.openxmlformats.org/officeDocument/2006/relationships/theme" Target="../theme/theme7.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slideLayout" Target="../slideLayouts/slideLayout179.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31" Type="http://schemas.openxmlformats.org/officeDocument/2006/relationships/slideLayout" Target="../slideLayouts/slideLayout182.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 Id="rId30" Type="http://schemas.openxmlformats.org/officeDocument/2006/relationships/slideLayout" Target="../slideLayouts/slideLayout1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26" Type="http://schemas.openxmlformats.org/officeDocument/2006/relationships/slideLayout" Target="../slideLayouts/slideLayout208.xml"/><Relationship Id="rId39" Type="http://schemas.openxmlformats.org/officeDocument/2006/relationships/slideLayout" Target="../slideLayouts/slideLayout221.xml"/><Relationship Id="rId3" Type="http://schemas.openxmlformats.org/officeDocument/2006/relationships/slideLayout" Target="../slideLayouts/slideLayout185.xml"/><Relationship Id="rId21" Type="http://schemas.openxmlformats.org/officeDocument/2006/relationships/slideLayout" Target="../slideLayouts/slideLayout203.xml"/><Relationship Id="rId34" Type="http://schemas.openxmlformats.org/officeDocument/2006/relationships/slideLayout" Target="../slideLayouts/slideLayout216.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5" Type="http://schemas.openxmlformats.org/officeDocument/2006/relationships/slideLayout" Target="../slideLayouts/slideLayout207.xml"/><Relationship Id="rId33" Type="http://schemas.openxmlformats.org/officeDocument/2006/relationships/slideLayout" Target="../slideLayouts/slideLayout215.xml"/><Relationship Id="rId38" Type="http://schemas.openxmlformats.org/officeDocument/2006/relationships/slideLayout" Target="../slideLayouts/slideLayout220.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slideLayout" Target="../slideLayouts/slideLayout202.xml"/><Relationship Id="rId29" Type="http://schemas.openxmlformats.org/officeDocument/2006/relationships/slideLayout" Target="../slideLayouts/slideLayout211.xml"/><Relationship Id="rId41" Type="http://schemas.openxmlformats.org/officeDocument/2006/relationships/image" Target="../media/image54.png"/><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24" Type="http://schemas.openxmlformats.org/officeDocument/2006/relationships/slideLayout" Target="../slideLayouts/slideLayout206.xml"/><Relationship Id="rId32" Type="http://schemas.openxmlformats.org/officeDocument/2006/relationships/slideLayout" Target="../slideLayouts/slideLayout214.xml"/><Relationship Id="rId37" Type="http://schemas.openxmlformats.org/officeDocument/2006/relationships/slideLayout" Target="../slideLayouts/slideLayout219.xml"/><Relationship Id="rId40" Type="http://schemas.openxmlformats.org/officeDocument/2006/relationships/theme" Target="../theme/theme8.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slideLayout" Target="../slideLayouts/slideLayout205.xml"/><Relationship Id="rId28" Type="http://schemas.openxmlformats.org/officeDocument/2006/relationships/slideLayout" Target="../slideLayouts/slideLayout210.xml"/><Relationship Id="rId36" Type="http://schemas.openxmlformats.org/officeDocument/2006/relationships/slideLayout" Target="../slideLayouts/slideLayout218.xml"/><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31" Type="http://schemas.openxmlformats.org/officeDocument/2006/relationships/slideLayout" Target="../slideLayouts/slideLayout213.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slideLayout" Target="../slideLayouts/slideLayout204.xml"/><Relationship Id="rId27" Type="http://schemas.openxmlformats.org/officeDocument/2006/relationships/slideLayout" Target="../slideLayouts/slideLayout209.xml"/><Relationship Id="rId30" Type="http://schemas.openxmlformats.org/officeDocument/2006/relationships/slideLayout" Target="../slideLayouts/slideLayout212.xml"/><Relationship Id="rId35" Type="http://schemas.openxmlformats.org/officeDocument/2006/relationships/slideLayout" Target="../slideLayouts/slideLayout21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26" Type="http://schemas.openxmlformats.org/officeDocument/2006/relationships/slideLayout" Target="../slideLayouts/slideLayout247.xml"/><Relationship Id="rId39" Type="http://schemas.openxmlformats.org/officeDocument/2006/relationships/slideLayout" Target="../slideLayouts/slideLayout260.xml"/><Relationship Id="rId3" Type="http://schemas.openxmlformats.org/officeDocument/2006/relationships/slideLayout" Target="../slideLayouts/slideLayout224.xml"/><Relationship Id="rId21" Type="http://schemas.openxmlformats.org/officeDocument/2006/relationships/slideLayout" Target="../slideLayouts/slideLayout242.xml"/><Relationship Id="rId34" Type="http://schemas.openxmlformats.org/officeDocument/2006/relationships/slideLayout" Target="../slideLayouts/slideLayout255.xml"/><Relationship Id="rId42" Type="http://schemas.openxmlformats.org/officeDocument/2006/relationships/slideLayout" Target="../slideLayouts/slideLayout263.xml"/><Relationship Id="rId47" Type="http://schemas.openxmlformats.org/officeDocument/2006/relationships/image" Target="../media/image54.png"/><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5" Type="http://schemas.openxmlformats.org/officeDocument/2006/relationships/slideLayout" Target="../slideLayouts/slideLayout246.xml"/><Relationship Id="rId33" Type="http://schemas.openxmlformats.org/officeDocument/2006/relationships/slideLayout" Target="../slideLayouts/slideLayout254.xml"/><Relationship Id="rId38" Type="http://schemas.openxmlformats.org/officeDocument/2006/relationships/slideLayout" Target="../slideLayouts/slideLayout259.xml"/><Relationship Id="rId46" Type="http://schemas.openxmlformats.org/officeDocument/2006/relationships/theme" Target="../theme/theme9.xml"/><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0" Type="http://schemas.openxmlformats.org/officeDocument/2006/relationships/slideLayout" Target="../slideLayouts/slideLayout241.xml"/><Relationship Id="rId29" Type="http://schemas.openxmlformats.org/officeDocument/2006/relationships/slideLayout" Target="../slideLayouts/slideLayout250.xml"/><Relationship Id="rId41" Type="http://schemas.openxmlformats.org/officeDocument/2006/relationships/slideLayout" Target="../slideLayouts/slideLayout262.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24" Type="http://schemas.openxmlformats.org/officeDocument/2006/relationships/slideLayout" Target="../slideLayouts/slideLayout245.xml"/><Relationship Id="rId32" Type="http://schemas.openxmlformats.org/officeDocument/2006/relationships/slideLayout" Target="../slideLayouts/slideLayout253.xml"/><Relationship Id="rId37" Type="http://schemas.openxmlformats.org/officeDocument/2006/relationships/slideLayout" Target="../slideLayouts/slideLayout258.xml"/><Relationship Id="rId40" Type="http://schemas.openxmlformats.org/officeDocument/2006/relationships/slideLayout" Target="../slideLayouts/slideLayout261.xml"/><Relationship Id="rId45" Type="http://schemas.openxmlformats.org/officeDocument/2006/relationships/slideLayout" Target="../slideLayouts/slideLayout266.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slideLayout" Target="../slideLayouts/slideLayout244.xml"/><Relationship Id="rId28" Type="http://schemas.openxmlformats.org/officeDocument/2006/relationships/slideLayout" Target="../slideLayouts/slideLayout249.xml"/><Relationship Id="rId36" Type="http://schemas.openxmlformats.org/officeDocument/2006/relationships/slideLayout" Target="../slideLayouts/slideLayout257.xml"/><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31" Type="http://schemas.openxmlformats.org/officeDocument/2006/relationships/slideLayout" Target="../slideLayouts/slideLayout252.xml"/><Relationship Id="rId44" Type="http://schemas.openxmlformats.org/officeDocument/2006/relationships/slideLayout" Target="../slideLayouts/slideLayout265.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slideLayout" Target="../slideLayouts/slideLayout243.xml"/><Relationship Id="rId27" Type="http://schemas.openxmlformats.org/officeDocument/2006/relationships/slideLayout" Target="../slideLayouts/slideLayout248.xml"/><Relationship Id="rId30" Type="http://schemas.openxmlformats.org/officeDocument/2006/relationships/slideLayout" Target="../slideLayouts/slideLayout251.xml"/><Relationship Id="rId35" Type="http://schemas.openxmlformats.org/officeDocument/2006/relationships/slideLayout" Target="../slideLayouts/slideLayout256.xml"/><Relationship Id="rId43" Type="http://schemas.openxmlformats.org/officeDocument/2006/relationships/slideLayout" Target="../slideLayouts/slideLayout2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CA3D687-A5EA-4D96-A85D-D2D9D04AD70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1AAEAB5-DC0C-426A-B60D-5262A15FE1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65D7CD-6EA3-4722-A34D-7411B979EEE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4C087B-338C-4182-AF63-7FDC88A654E5}" type="datetimeFigureOut">
              <a:rPr lang="en-GB" smtClean="0"/>
              <a:t>10/03/2020</a:t>
            </a:fld>
            <a:endParaRPr lang="en-GB"/>
          </a:p>
        </p:txBody>
      </p:sp>
      <p:sp>
        <p:nvSpPr>
          <p:cNvPr id="5" name="Footer Placeholder 4">
            <a:extLst>
              <a:ext uri="{FF2B5EF4-FFF2-40B4-BE49-F238E27FC236}">
                <a16:creationId xmlns:a16="http://schemas.microsoft.com/office/drawing/2014/main" id="{B38C7240-C5F2-45C9-B23A-C12308473B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F05E035-D116-4AEA-AD4B-404CAA7A95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2F0A34-BAD1-4950-8C8E-B7187CF3EDFA}" type="slidenum">
              <a:rPr lang="en-GB" smtClean="0"/>
              <a:t>‹#›</a:t>
            </a:fld>
            <a:endParaRPr lang="en-GB"/>
          </a:p>
        </p:txBody>
      </p:sp>
    </p:spTree>
    <p:extLst>
      <p:ext uri="{BB962C8B-B14F-4D97-AF65-F5344CB8AC3E}">
        <p14:creationId xmlns:p14="http://schemas.microsoft.com/office/powerpoint/2010/main" val="33534024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759" r:id="rId14"/>
    <p:sldLayoutId id="2147483920"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179299" y="3012080"/>
            <a:ext cx="6858623" cy="833219"/>
          </a:xfrm>
          <a:prstGeom prst="rect">
            <a:avLst/>
          </a:prstGeom>
        </p:spPr>
      </p:pic>
    </p:spTree>
    <p:extLst>
      <p:ext uri="{BB962C8B-B14F-4D97-AF65-F5344CB8AC3E}">
        <p14:creationId xmlns:p14="http://schemas.microsoft.com/office/powerpoint/2010/main" val="2251741938"/>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3" r:id="rId7"/>
    <p:sldLayoutId id="2147483674" r:id="rId8"/>
    <p:sldLayoutId id="2147483675" r:id="rId9"/>
    <p:sldLayoutId id="2147483676" r:id="rId10"/>
    <p:sldLayoutId id="2147483677" r:id="rId11"/>
  </p:sldLayoutIdLst>
  <p:transition>
    <p:fade/>
  </p:transition>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9">
          <p15:clr>
            <a:srgbClr val="C35EA4"/>
          </p15:clr>
        </p15:guide>
        <p15:guide id="6" pos="2765">
          <p15:clr>
            <a:srgbClr val="C35EA4"/>
          </p15:clr>
        </p15:guide>
        <p15:guide id="7" pos="3855">
          <p15:clr>
            <a:srgbClr val="C35EA4"/>
          </p15:clr>
        </p15:guide>
        <p15:guide id="8" pos="4003">
          <p15:clr>
            <a:srgbClr val="C35EA4"/>
          </p15:clr>
        </p15:guide>
        <p15:guide id="9" pos="5083">
          <p15:clr>
            <a:srgbClr val="C35EA4"/>
          </p15:clr>
        </p15:guide>
        <p15:guide id="10" pos="5231">
          <p15:clr>
            <a:srgbClr val="C35EA4"/>
          </p15:clr>
        </p15:guide>
        <p15:guide id="11" pos="6323">
          <p15:clr>
            <a:srgbClr val="C35EA4"/>
          </p15:clr>
        </p15:guide>
        <p15:guide id="12" pos="6469">
          <p15:clr>
            <a:srgbClr val="C35EA4"/>
          </p15:clr>
        </p15:guide>
        <p15:guide id="16" pos="293">
          <p15:clr>
            <a:srgbClr val="F26B43"/>
          </p15:clr>
        </p15:guide>
        <p15:guide id="17" pos="7392">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8">
          <p15:clr>
            <a:srgbClr val="F26B43"/>
          </p15:clr>
        </p15:guide>
        <p15:guide id="26" orient="horz" pos="4014">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986705886"/>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2" r:id="rId34"/>
    <p:sldLayoutId id="2147483723" r:id="rId35"/>
    <p:sldLayoutId id="2147483726"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36149712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851231796"/>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 id="2147483791" r:id="rId27"/>
    <p:sldLayoutId id="2147483792" r:id="rId28"/>
    <p:sldLayoutId id="2147483793" r:id="rId29"/>
    <p:sldLayoutId id="2147483794" r:id="rId30"/>
    <p:sldLayoutId id="2147483795" r:id="rId31"/>
    <p:sldLayoutId id="2147483796" r:id="rId32"/>
    <p:sldLayoutId id="2147483797" r:id="rId33"/>
    <p:sldLayoutId id="2147483798"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18160440"/>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40" r:id="rId20"/>
    <p:sldLayoutId id="2147483841" r:id="rId21"/>
    <p:sldLayoutId id="2147483842" r:id="rId22"/>
    <p:sldLayoutId id="2147483843" r:id="rId23"/>
    <p:sldLayoutId id="2147483844"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121473925"/>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868" r:id="rId23"/>
    <p:sldLayoutId id="2147483869" r:id="rId24"/>
    <p:sldLayoutId id="2147483870" r:id="rId25"/>
    <p:sldLayoutId id="2147483871" r:id="rId26"/>
    <p:sldLayoutId id="2147483872" r:id="rId27"/>
    <p:sldLayoutId id="2147483873" r:id="rId28"/>
    <p:sldLayoutId id="2147483874" r:id="rId29"/>
    <p:sldLayoutId id="2147483875" r:id="rId30"/>
    <p:sldLayoutId id="2147483876"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6" y="33625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6" y="1817560"/>
            <a:ext cx="11306469" cy="2102608"/>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p:nvPicPr>
        <p:blipFill rotWithShape="1">
          <a:blip r:embed="rId41" cstate="email">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43533694"/>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 id="2147483898" r:id="rId20"/>
    <p:sldLayoutId id="2147483899" r:id="rId21"/>
    <p:sldLayoutId id="2147483900" r:id="rId22"/>
    <p:sldLayoutId id="2147483901" r:id="rId23"/>
    <p:sldLayoutId id="2147483902" r:id="rId24"/>
    <p:sldLayoutId id="2147483903" r:id="rId25"/>
    <p:sldLayoutId id="2147483904" r:id="rId26"/>
    <p:sldLayoutId id="2147483905" r:id="rId27"/>
    <p:sldLayoutId id="2147483906" r:id="rId28"/>
    <p:sldLayoutId id="2147483907" r:id="rId29"/>
    <p:sldLayoutId id="2147483908" r:id="rId30"/>
    <p:sldLayoutId id="2147483909" r:id="rId31"/>
    <p:sldLayoutId id="2147483910" r:id="rId32"/>
    <p:sldLayoutId id="2147483912" r:id="rId33"/>
    <p:sldLayoutId id="2147483914" r:id="rId34"/>
    <p:sldLayoutId id="2147483915" r:id="rId35"/>
    <p:sldLayoutId id="2147483916" r:id="rId36"/>
    <p:sldLayoutId id="2147483917" r:id="rId37"/>
    <p:sldLayoutId id="2147483918" r:id="rId38"/>
    <p:sldLayoutId id="2147483919" r:id="rId39"/>
  </p:sldLayoutIdLst>
  <p:transition>
    <p:fade/>
  </p:transition>
  <p:txStyles>
    <p:titleStyle>
      <a:lvl1pPr algn="l" defTabSz="807231" rtl="0" eaLnBrk="1" latinLnBrk="0" hangingPunct="1">
        <a:lnSpc>
          <a:spcPct val="9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2077" kern="1200" spc="-43"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tx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2"/>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tx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p:bodyStyle>
    <p:otherStyle>
      <a:defPPr>
        <a:defRPr lang="en-US"/>
      </a:defPPr>
      <a:lvl1pPr marL="0" algn="l" defTabSz="807231" rtl="0" eaLnBrk="1" latinLnBrk="0" hangingPunct="1">
        <a:defRPr sz="1558" kern="1200">
          <a:solidFill>
            <a:schemeClr val="tx1"/>
          </a:solidFill>
          <a:latin typeface="+mn-lt"/>
          <a:ea typeface="+mn-ea"/>
          <a:cs typeface="+mn-cs"/>
        </a:defRPr>
      </a:lvl1pPr>
      <a:lvl2pPr marL="403615" algn="l" defTabSz="807231" rtl="0" eaLnBrk="1" latinLnBrk="0" hangingPunct="1">
        <a:defRPr sz="1558" kern="1200">
          <a:solidFill>
            <a:schemeClr val="tx1"/>
          </a:solidFill>
          <a:latin typeface="+mn-lt"/>
          <a:ea typeface="+mn-ea"/>
          <a:cs typeface="+mn-cs"/>
        </a:defRPr>
      </a:lvl2pPr>
      <a:lvl3pPr marL="807231" algn="l" defTabSz="807231" rtl="0" eaLnBrk="1" latinLnBrk="0" hangingPunct="1">
        <a:defRPr sz="1558" kern="1200">
          <a:solidFill>
            <a:schemeClr val="tx1"/>
          </a:solidFill>
          <a:latin typeface="+mn-lt"/>
          <a:ea typeface="+mn-ea"/>
          <a:cs typeface="+mn-cs"/>
        </a:defRPr>
      </a:lvl3pPr>
      <a:lvl4pPr marL="1210846" algn="l" defTabSz="807231" rtl="0" eaLnBrk="1" latinLnBrk="0" hangingPunct="1">
        <a:defRPr sz="1558" kern="1200">
          <a:solidFill>
            <a:schemeClr val="tx1"/>
          </a:solidFill>
          <a:latin typeface="+mn-lt"/>
          <a:ea typeface="+mn-ea"/>
          <a:cs typeface="+mn-cs"/>
        </a:defRPr>
      </a:lvl4pPr>
      <a:lvl5pPr marL="1614462" algn="l" defTabSz="807231" rtl="0" eaLnBrk="1" latinLnBrk="0" hangingPunct="1">
        <a:defRPr sz="1558" kern="1200">
          <a:solidFill>
            <a:schemeClr val="tx1"/>
          </a:solidFill>
          <a:latin typeface="+mn-lt"/>
          <a:ea typeface="+mn-ea"/>
          <a:cs typeface="+mn-cs"/>
        </a:defRPr>
      </a:lvl5pPr>
      <a:lvl6pPr marL="2018078" algn="l" defTabSz="807231" rtl="0" eaLnBrk="1" latinLnBrk="0" hangingPunct="1">
        <a:defRPr sz="1558" kern="1200">
          <a:solidFill>
            <a:schemeClr val="tx1"/>
          </a:solidFill>
          <a:latin typeface="+mn-lt"/>
          <a:ea typeface="+mn-ea"/>
          <a:cs typeface="+mn-cs"/>
        </a:defRPr>
      </a:lvl6pPr>
      <a:lvl7pPr marL="2421693" algn="l" defTabSz="807231" rtl="0" eaLnBrk="1" latinLnBrk="0" hangingPunct="1">
        <a:defRPr sz="1558" kern="1200">
          <a:solidFill>
            <a:schemeClr val="tx1"/>
          </a:solidFill>
          <a:latin typeface="+mn-lt"/>
          <a:ea typeface="+mn-ea"/>
          <a:cs typeface="+mn-cs"/>
        </a:defRPr>
      </a:lvl7pPr>
      <a:lvl8pPr marL="2825308" algn="l" defTabSz="807231" rtl="0" eaLnBrk="1" latinLnBrk="0" hangingPunct="1">
        <a:defRPr sz="1558" kern="1200">
          <a:solidFill>
            <a:schemeClr val="tx1"/>
          </a:solidFill>
          <a:latin typeface="+mn-lt"/>
          <a:ea typeface="+mn-ea"/>
          <a:cs typeface="+mn-cs"/>
        </a:defRPr>
      </a:lvl8pPr>
      <a:lvl9pPr marL="3228925" algn="l" defTabSz="807231" rtl="0" eaLnBrk="1" latinLnBrk="0" hangingPunct="1">
        <a:defRPr sz="1558"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528">
          <p15:clr>
            <a:srgbClr val="C35EA4"/>
          </p15:clr>
        </p15:guide>
        <p15:guide id="32" pos="1731">
          <p15:clr>
            <a:srgbClr val="C35EA4"/>
          </p15:clr>
        </p15:guide>
        <p15:guide id="33" pos="2968">
          <p15:clr>
            <a:srgbClr val="C35EA4"/>
          </p15:clr>
        </p15:guide>
        <p15:guide id="34" pos="3132">
          <p15:clr>
            <a:srgbClr val="C35EA4"/>
          </p15:clr>
        </p15:guide>
        <p15:guide id="35" pos="4365">
          <p15:clr>
            <a:srgbClr val="C35EA4"/>
          </p15:clr>
        </p15:guide>
        <p15:guide id="36" pos="4534">
          <p15:clr>
            <a:srgbClr val="C35EA4"/>
          </p15:clr>
        </p15:guide>
        <p15:guide id="37" pos="5757">
          <p15:clr>
            <a:srgbClr val="C35EA4"/>
          </p15:clr>
        </p15:guide>
        <p15:guide id="38" pos="5923">
          <p15:clr>
            <a:srgbClr val="C35EA4"/>
          </p15:clr>
        </p15:guide>
        <p15:guide id="39" pos="7161">
          <p15:clr>
            <a:srgbClr val="C35EA4"/>
          </p15:clr>
        </p15:guide>
        <p15:guide id="40" pos="7326">
          <p15:clr>
            <a:srgbClr val="C35EA4"/>
          </p15:clr>
        </p15:guide>
        <p15:guide id="41" pos="332">
          <p15:clr>
            <a:srgbClr val="F26B43"/>
          </p15:clr>
        </p15:guide>
        <p15:guide id="42" pos="8568">
          <p15:clr>
            <a:srgbClr val="F26B43"/>
          </p15:clr>
        </p15:guide>
        <p15:guide id="43" orient="horz" pos="831">
          <p15:clr>
            <a:srgbClr val="5ACBF0"/>
          </p15:clr>
        </p15:guide>
        <p15:guide id="44" orient="horz" pos="1535">
          <p15:clr>
            <a:srgbClr val="5ACBF0"/>
          </p15:clr>
        </p15:guide>
        <p15:guide id="45" orient="horz" pos="670">
          <p15:clr>
            <a:srgbClr val="5ACBF0"/>
          </p15:clr>
        </p15:guide>
        <p15:guide id="46" orient="horz" pos="1676">
          <p15:clr>
            <a:srgbClr val="5ACBF0"/>
          </p15:clr>
        </p15:guide>
        <p15:guide id="47" orient="horz" pos="2357">
          <p15:clr>
            <a:srgbClr val="5ACBF0"/>
          </p15:clr>
        </p15:guide>
        <p15:guide id="48" orient="horz" pos="2544">
          <p15:clr>
            <a:srgbClr val="5ACBF0"/>
          </p15:clr>
        </p15:guide>
        <p15:guide id="49" orient="horz" pos="313">
          <p15:clr>
            <a:srgbClr val="F26B43"/>
          </p15:clr>
        </p15:guide>
        <p15:guide id="50" orient="horz" pos="4560">
          <p15:clr>
            <a:srgbClr val="F26B43"/>
          </p15:clr>
        </p15:guide>
        <p15:guide id="51" orient="horz" pos="3200">
          <p15:clr>
            <a:srgbClr val="5ACBF0"/>
          </p15:clr>
        </p15:guide>
        <p15:guide id="52" orient="horz" pos="3341">
          <p15:clr>
            <a:srgbClr val="5ACBF0"/>
          </p15:clr>
        </p15:guide>
        <p15:guide id="53" orient="horz" pos="4032">
          <p15:clr>
            <a:srgbClr val="5ACBF0"/>
          </p15:clr>
        </p15:guide>
        <p15:guide id="54" orient="horz" pos="4165">
          <p15:clr>
            <a:srgbClr val="5ACBF0"/>
          </p15:clr>
        </p15:guide>
        <p15:guide id="55" pos="27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6" y="33625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6" y="1817560"/>
            <a:ext cx="11306469" cy="2102608"/>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p:nvPicPr>
        <p:blipFill rotWithShape="1">
          <a:blip r:embed="rId47" cstate="email">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23692665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 id="2147483948" r:id="rId27"/>
    <p:sldLayoutId id="2147483949" r:id="rId28"/>
    <p:sldLayoutId id="2147483950" r:id="rId29"/>
    <p:sldLayoutId id="2147483951" r:id="rId30"/>
    <p:sldLayoutId id="2147483952" r:id="rId31"/>
    <p:sldLayoutId id="2147483953" r:id="rId32"/>
    <p:sldLayoutId id="2147483954" r:id="rId33"/>
    <p:sldLayoutId id="2147483955" r:id="rId34"/>
    <p:sldLayoutId id="2147483956" r:id="rId35"/>
    <p:sldLayoutId id="2147483957" r:id="rId36"/>
    <p:sldLayoutId id="2147483958" r:id="rId37"/>
    <p:sldLayoutId id="2147483959" r:id="rId38"/>
    <p:sldLayoutId id="2147483960" r:id="rId39"/>
    <p:sldLayoutId id="2147483961" r:id="rId40"/>
    <p:sldLayoutId id="2147483962" r:id="rId41"/>
    <p:sldLayoutId id="2147483963" r:id="rId42"/>
    <p:sldLayoutId id="2147483964" r:id="rId43"/>
    <p:sldLayoutId id="2147483965" r:id="rId44"/>
    <p:sldLayoutId id="2147483966" r:id="rId45"/>
  </p:sldLayoutIdLst>
  <p:transition>
    <p:fade/>
  </p:transition>
  <p:txStyles>
    <p:titleStyle>
      <a:lvl1pPr algn="l" defTabSz="807231" rtl="0" eaLnBrk="1" latinLnBrk="0" hangingPunct="1">
        <a:lnSpc>
          <a:spcPct val="9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2077" kern="1200" spc="-43"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tx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2"/>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tx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p:bodyStyle>
    <p:otherStyle>
      <a:defPPr>
        <a:defRPr lang="en-US"/>
      </a:defPPr>
      <a:lvl1pPr marL="0" algn="l" defTabSz="807231" rtl="0" eaLnBrk="1" latinLnBrk="0" hangingPunct="1">
        <a:defRPr sz="1558" kern="1200">
          <a:solidFill>
            <a:schemeClr val="tx1"/>
          </a:solidFill>
          <a:latin typeface="+mn-lt"/>
          <a:ea typeface="+mn-ea"/>
          <a:cs typeface="+mn-cs"/>
        </a:defRPr>
      </a:lvl1pPr>
      <a:lvl2pPr marL="403615" algn="l" defTabSz="807231" rtl="0" eaLnBrk="1" latinLnBrk="0" hangingPunct="1">
        <a:defRPr sz="1558" kern="1200">
          <a:solidFill>
            <a:schemeClr val="tx1"/>
          </a:solidFill>
          <a:latin typeface="+mn-lt"/>
          <a:ea typeface="+mn-ea"/>
          <a:cs typeface="+mn-cs"/>
        </a:defRPr>
      </a:lvl2pPr>
      <a:lvl3pPr marL="807231" algn="l" defTabSz="807231" rtl="0" eaLnBrk="1" latinLnBrk="0" hangingPunct="1">
        <a:defRPr sz="1558" kern="1200">
          <a:solidFill>
            <a:schemeClr val="tx1"/>
          </a:solidFill>
          <a:latin typeface="+mn-lt"/>
          <a:ea typeface="+mn-ea"/>
          <a:cs typeface="+mn-cs"/>
        </a:defRPr>
      </a:lvl3pPr>
      <a:lvl4pPr marL="1210846" algn="l" defTabSz="807231" rtl="0" eaLnBrk="1" latinLnBrk="0" hangingPunct="1">
        <a:defRPr sz="1558" kern="1200">
          <a:solidFill>
            <a:schemeClr val="tx1"/>
          </a:solidFill>
          <a:latin typeface="+mn-lt"/>
          <a:ea typeface="+mn-ea"/>
          <a:cs typeface="+mn-cs"/>
        </a:defRPr>
      </a:lvl4pPr>
      <a:lvl5pPr marL="1614462" algn="l" defTabSz="807231" rtl="0" eaLnBrk="1" latinLnBrk="0" hangingPunct="1">
        <a:defRPr sz="1558" kern="1200">
          <a:solidFill>
            <a:schemeClr val="tx1"/>
          </a:solidFill>
          <a:latin typeface="+mn-lt"/>
          <a:ea typeface="+mn-ea"/>
          <a:cs typeface="+mn-cs"/>
        </a:defRPr>
      </a:lvl5pPr>
      <a:lvl6pPr marL="2018078" algn="l" defTabSz="807231" rtl="0" eaLnBrk="1" latinLnBrk="0" hangingPunct="1">
        <a:defRPr sz="1558" kern="1200">
          <a:solidFill>
            <a:schemeClr val="tx1"/>
          </a:solidFill>
          <a:latin typeface="+mn-lt"/>
          <a:ea typeface="+mn-ea"/>
          <a:cs typeface="+mn-cs"/>
        </a:defRPr>
      </a:lvl6pPr>
      <a:lvl7pPr marL="2421693" algn="l" defTabSz="807231" rtl="0" eaLnBrk="1" latinLnBrk="0" hangingPunct="1">
        <a:defRPr sz="1558" kern="1200">
          <a:solidFill>
            <a:schemeClr val="tx1"/>
          </a:solidFill>
          <a:latin typeface="+mn-lt"/>
          <a:ea typeface="+mn-ea"/>
          <a:cs typeface="+mn-cs"/>
        </a:defRPr>
      </a:lvl7pPr>
      <a:lvl8pPr marL="2825308" algn="l" defTabSz="807231" rtl="0" eaLnBrk="1" latinLnBrk="0" hangingPunct="1">
        <a:defRPr sz="1558" kern="1200">
          <a:solidFill>
            <a:schemeClr val="tx1"/>
          </a:solidFill>
          <a:latin typeface="+mn-lt"/>
          <a:ea typeface="+mn-ea"/>
          <a:cs typeface="+mn-cs"/>
        </a:defRPr>
      </a:lvl8pPr>
      <a:lvl9pPr marL="3228925" algn="l" defTabSz="807231" rtl="0" eaLnBrk="1" latinLnBrk="0" hangingPunct="1">
        <a:defRPr sz="1558"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528">
          <p15:clr>
            <a:srgbClr val="C35EA4"/>
          </p15:clr>
        </p15:guide>
        <p15:guide id="32" pos="1731">
          <p15:clr>
            <a:srgbClr val="C35EA4"/>
          </p15:clr>
        </p15:guide>
        <p15:guide id="33" pos="2968">
          <p15:clr>
            <a:srgbClr val="C35EA4"/>
          </p15:clr>
        </p15:guide>
        <p15:guide id="34" pos="3132">
          <p15:clr>
            <a:srgbClr val="C35EA4"/>
          </p15:clr>
        </p15:guide>
        <p15:guide id="35" pos="4365">
          <p15:clr>
            <a:srgbClr val="C35EA4"/>
          </p15:clr>
        </p15:guide>
        <p15:guide id="36" pos="4534">
          <p15:clr>
            <a:srgbClr val="C35EA4"/>
          </p15:clr>
        </p15:guide>
        <p15:guide id="37" pos="5757">
          <p15:clr>
            <a:srgbClr val="C35EA4"/>
          </p15:clr>
        </p15:guide>
        <p15:guide id="38" pos="5923">
          <p15:clr>
            <a:srgbClr val="C35EA4"/>
          </p15:clr>
        </p15:guide>
        <p15:guide id="39" pos="7161">
          <p15:clr>
            <a:srgbClr val="C35EA4"/>
          </p15:clr>
        </p15:guide>
        <p15:guide id="40" pos="7326">
          <p15:clr>
            <a:srgbClr val="C35EA4"/>
          </p15:clr>
        </p15:guide>
        <p15:guide id="41" pos="332">
          <p15:clr>
            <a:srgbClr val="F26B43"/>
          </p15:clr>
        </p15:guide>
        <p15:guide id="42" pos="8568">
          <p15:clr>
            <a:srgbClr val="F26B43"/>
          </p15:clr>
        </p15:guide>
        <p15:guide id="43" orient="horz" pos="831">
          <p15:clr>
            <a:srgbClr val="5ACBF0"/>
          </p15:clr>
        </p15:guide>
        <p15:guide id="44" orient="horz" pos="1535">
          <p15:clr>
            <a:srgbClr val="5ACBF0"/>
          </p15:clr>
        </p15:guide>
        <p15:guide id="45" orient="horz" pos="670">
          <p15:clr>
            <a:srgbClr val="5ACBF0"/>
          </p15:clr>
        </p15:guide>
        <p15:guide id="46" orient="horz" pos="1676">
          <p15:clr>
            <a:srgbClr val="5ACBF0"/>
          </p15:clr>
        </p15:guide>
        <p15:guide id="47" orient="horz" pos="2357">
          <p15:clr>
            <a:srgbClr val="5ACBF0"/>
          </p15:clr>
        </p15:guide>
        <p15:guide id="48" orient="horz" pos="2544">
          <p15:clr>
            <a:srgbClr val="5ACBF0"/>
          </p15:clr>
        </p15:guide>
        <p15:guide id="49" orient="horz" pos="313">
          <p15:clr>
            <a:srgbClr val="F26B43"/>
          </p15:clr>
        </p15:guide>
        <p15:guide id="50" orient="horz" pos="4560">
          <p15:clr>
            <a:srgbClr val="F26B43"/>
          </p15:clr>
        </p15:guide>
        <p15:guide id="51" orient="horz" pos="3200">
          <p15:clr>
            <a:srgbClr val="5ACBF0"/>
          </p15:clr>
        </p15:guide>
        <p15:guide id="52" orient="horz" pos="3341">
          <p15:clr>
            <a:srgbClr val="5ACBF0"/>
          </p15:clr>
        </p15:guide>
        <p15:guide id="53" orient="horz" pos="4032">
          <p15:clr>
            <a:srgbClr val="5ACBF0"/>
          </p15:clr>
        </p15:guide>
        <p15:guide id="54" orient="horz" pos="4165">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10.xml"/><Relationship Id="rId1" Type="http://schemas.openxmlformats.org/officeDocument/2006/relationships/slideLayout" Target="../slideLayouts/slideLayout23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76.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77.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78.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4.xml"/><Relationship Id="rId1" Type="http://schemas.openxmlformats.org/officeDocument/2006/relationships/slideLayout" Target="../slideLayouts/slideLayout262.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83.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notesSlide" Target="../notesSlides/notesSlide16.xml"/><Relationship Id="rId1" Type="http://schemas.openxmlformats.org/officeDocument/2006/relationships/slideLayout" Target="../slideLayouts/slideLayout262.xml"/><Relationship Id="rId5" Type="http://schemas.openxmlformats.org/officeDocument/2006/relationships/image" Target="../media/image86.emf"/><Relationship Id="rId4" Type="http://schemas.openxmlformats.org/officeDocument/2006/relationships/image" Target="../media/image85.emf"/></Relationships>
</file>

<file path=ppt/slides/_rels/slide17.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17.xml"/><Relationship Id="rId1" Type="http://schemas.openxmlformats.org/officeDocument/2006/relationships/slideLayout" Target="../slideLayouts/slideLayout262.xml"/><Relationship Id="rId4" Type="http://schemas.openxmlformats.org/officeDocument/2006/relationships/image" Target="../media/image88.png"/></Relationships>
</file>

<file path=ppt/slides/_rels/slide18.xml.rels><?xml version="1.0" encoding="UTF-8" standalone="yes"?>
<Relationships xmlns="http://schemas.openxmlformats.org/package/2006/relationships"><Relationship Id="rId8" Type="http://schemas.openxmlformats.org/officeDocument/2006/relationships/image" Target="../media/image94.svg"/><Relationship Id="rId13" Type="http://schemas.openxmlformats.org/officeDocument/2006/relationships/image" Target="../media/image99.sv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image" Target="../media/image98.png"/><Relationship Id="rId2" Type="http://schemas.openxmlformats.org/officeDocument/2006/relationships/notesSlide" Target="../notesSlides/notesSlide18.xml"/><Relationship Id="rId1" Type="http://schemas.openxmlformats.org/officeDocument/2006/relationships/slideLayout" Target="../slideLayouts/slideLayout260.xml"/><Relationship Id="rId6" Type="http://schemas.openxmlformats.org/officeDocument/2006/relationships/image" Target="../media/image92.svg"/><Relationship Id="rId11" Type="http://schemas.openxmlformats.org/officeDocument/2006/relationships/image" Target="../media/image97.emf"/><Relationship Id="rId5" Type="http://schemas.openxmlformats.org/officeDocument/2006/relationships/image" Target="../media/image91.png"/><Relationship Id="rId10" Type="http://schemas.openxmlformats.org/officeDocument/2006/relationships/image" Target="../media/image96.svg"/><Relationship Id="rId4" Type="http://schemas.openxmlformats.org/officeDocument/2006/relationships/image" Target="../media/image90.svg"/><Relationship Id="rId9" Type="http://schemas.openxmlformats.org/officeDocument/2006/relationships/image" Target="../media/image95.png"/></Relationships>
</file>

<file path=ppt/slides/_rels/slide19.xml.rels><?xml version="1.0" encoding="UTF-8" standalone="yes"?>
<Relationships xmlns="http://schemas.openxmlformats.org/package/2006/relationships"><Relationship Id="rId8" Type="http://schemas.openxmlformats.org/officeDocument/2006/relationships/image" Target="../media/image105.emf"/><Relationship Id="rId3" Type="http://schemas.openxmlformats.org/officeDocument/2006/relationships/image" Target="../media/image100.tiff"/><Relationship Id="rId7" Type="http://schemas.openxmlformats.org/officeDocument/2006/relationships/image" Target="../media/image104.emf"/><Relationship Id="rId2" Type="http://schemas.openxmlformats.org/officeDocument/2006/relationships/notesSlide" Target="../notesSlides/notesSlide19.xml"/><Relationship Id="rId1" Type="http://schemas.openxmlformats.org/officeDocument/2006/relationships/slideLayout" Target="../slideLayouts/slideLayout262.xml"/><Relationship Id="rId6" Type="http://schemas.openxmlformats.org/officeDocument/2006/relationships/image" Target="../media/image103.emf"/><Relationship Id="rId5" Type="http://schemas.openxmlformats.org/officeDocument/2006/relationships/image" Target="../media/image102.emf"/><Relationship Id="rId4" Type="http://schemas.openxmlformats.org/officeDocument/2006/relationships/image" Target="../media/image101.tiff"/><Relationship Id="rId9" Type="http://schemas.openxmlformats.org/officeDocument/2006/relationships/image" Target="../media/image106.emf"/></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07.tiff"/><Relationship Id="rId2" Type="http://schemas.openxmlformats.org/officeDocument/2006/relationships/notesSlide" Target="../notesSlides/notesSlide20.xml"/><Relationship Id="rId1" Type="http://schemas.openxmlformats.org/officeDocument/2006/relationships/slideLayout" Target="../slideLayouts/slideLayout264.xml"/></Relationships>
</file>

<file path=ppt/slides/_rels/slide2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1.xml"/><Relationship Id="rId1" Type="http://schemas.openxmlformats.org/officeDocument/2006/relationships/slideLayout" Target="../slideLayouts/slideLayout262.xml"/><Relationship Id="rId4" Type="http://schemas.openxmlformats.org/officeDocument/2006/relationships/image" Target="../media/image109.png"/></Relationships>
</file>

<file path=ppt/slides/_rels/slide22.xml.rels><?xml version="1.0" encoding="UTF-8" standalone="yes"?>
<Relationships xmlns="http://schemas.openxmlformats.org/package/2006/relationships"><Relationship Id="rId3" Type="http://schemas.openxmlformats.org/officeDocument/2006/relationships/image" Target="../media/image110.emf"/><Relationship Id="rId2" Type="http://schemas.openxmlformats.org/officeDocument/2006/relationships/notesSlide" Target="../notesSlides/notesSlide22.xml"/><Relationship Id="rId1" Type="http://schemas.openxmlformats.org/officeDocument/2006/relationships/slideLayout" Target="../slideLayouts/slideLayout265.xml"/><Relationship Id="rId6" Type="http://schemas.openxmlformats.org/officeDocument/2006/relationships/image" Target="../media/image113.png"/><Relationship Id="rId5" Type="http://schemas.openxmlformats.org/officeDocument/2006/relationships/image" Target="../media/image112.emf"/><Relationship Id="rId4" Type="http://schemas.openxmlformats.org/officeDocument/2006/relationships/image" Target="../media/image111.emf"/></Relationships>
</file>

<file path=ppt/slides/_rels/slide23.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3.xml"/><Relationship Id="rId1" Type="http://schemas.openxmlformats.org/officeDocument/2006/relationships/slideLayout" Target="../slideLayouts/slideLayout262.xml"/><Relationship Id="rId4" Type="http://schemas.openxmlformats.org/officeDocument/2006/relationships/image" Target="../media/image115.jpeg"/></Relationships>
</file>

<file path=ppt/slides/_rels/slide24.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24.xml"/><Relationship Id="rId1" Type="http://schemas.openxmlformats.org/officeDocument/2006/relationships/slideLayout" Target="../slideLayouts/slideLayout239.xml"/></Relationships>
</file>

<file path=ppt/slides/_rels/slide2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25.xml"/><Relationship Id="rId1" Type="http://schemas.openxmlformats.org/officeDocument/2006/relationships/slideLayout" Target="../slideLayouts/slideLayout262.xml"/></Relationships>
</file>

<file path=ppt/slides/_rels/slide26.xml.rels><?xml version="1.0" encoding="UTF-8" standalone="yes"?>
<Relationships xmlns="http://schemas.openxmlformats.org/package/2006/relationships"><Relationship Id="rId8" Type="http://schemas.openxmlformats.org/officeDocument/2006/relationships/image" Target="../media/image123.svg"/><Relationship Id="rId13" Type="http://schemas.openxmlformats.org/officeDocument/2006/relationships/image" Target="../media/image128.png"/><Relationship Id="rId18" Type="http://schemas.openxmlformats.org/officeDocument/2006/relationships/image" Target="../media/image133.svg"/><Relationship Id="rId3" Type="http://schemas.openxmlformats.org/officeDocument/2006/relationships/image" Target="../media/image118.png"/><Relationship Id="rId21" Type="http://schemas.openxmlformats.org/officeDocument/2006/relationships/image" Target="../media/image136.png"/><Relationship Id="rId7" Type="http://schemas.openxmlformats.org/officeDocument/2006/relationships/image" Target="../media/image122.png"/><Relationship Id="rId12" Type="http://schemas.openxmlformats.org/officeDocument/2006/relationships/image" Target="../media/image127.svg"/><Relationship Id="rId17" Type="http://schemas.openxmlformats.org/officeDocument/2006/relationships/image" Target="../media/image132.png"/><Relationship Id="rId2" Type="http://schemas.openxmlformats.org/officeDocument/2006/relationships/notesSlide" Target="../notesSlides/notesSlide26.xml"/><Relationship Id="rId16" Type="http://schemas.openxmlformats.org/officeDocument/2006/relationships/image" Target="../media/image131.svg"/><Relationship Id="rId20" Type="http://schemas.openxmlformats.org/officeDocument/2006/relationships/image" Target="../media/image135.svg"/><Relationship Id="rId1" Type="http://schemas.openxmlformats.org/officeDocument/2006/relationships/slideLayout" Target="../slideLayouts/slideLayout253.xml"/><Relationship Id="rId6" Type="http://schemas.openxmlformats.org/officeDocument/2006/relationships/image" Target="../media/image121.svg"/><Relationship Id="rId11" Type="http://schemas.openxmlformats.org/officeDocument/2006/relationships/image" Target="../media/image126.png"/><Relationship Id="rId24" Type="http://schemas.openxmlformats.org/officeDocument/2006/relationships/image" Target="../media/image139.svg"/><Relationship Id="rId5" Type="http://schemas.openxmlformats.org/officeDocument/2006/relationships/image" Target="../media/image120.png"/><Relationship Id="rId15" Type="http://schemas.openxmlformats.org/officeDocument/2006/relationships/image" Target="../media/image130.png"/><Relationship Id="rId23" Type="http://schemas.openxmlformats.org/officeDocument/2006/relationships/image" Target="../media/image138.png"/><Relationship Id="rId10" Type="http://schemas.openxmlformats.org/officeDocument/2006/relationships/image" Target="../media/image125.svg"/><Relationship Id="rId19" Type="http://schemas.openxmlformats.org/officeDocument/2006/relationships/image" Target="../media/image134.png"/><Relationship Id="rId4" Type="http://schemas.openxmlformats.org/officeDocument/2006/relationships/image" Target="../media/image119.svg"/><Relationship Id="rId9" Type="http://schemas.openxmlformats.org/officeDocument/2006/relationships/image" Target="../media/image124.png"/><Relationship Id="rId14" Type="http://schemas.openxmlformats.org/officeDocument/2006/relationships/image" Target="../media/image129.svg"/><Relationship Id="rId22" Type="http://schemas.openxmlformats.org/officeDocument/2006/relationships/image" Target="../media/image137.sv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5.mp4"/><Relationship Id="rId1" Type="http://schemas.microsoft.com/office/2007/relationships/media" Target="../media/media5.mp4"/><Relationship Id="rId5" Type="http://schemas.openxmlformats.org/officeDocument/2006/relationships/image" Target="../media/image140.png"/><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microsoft.com/office/2007/relationships/media" Target="../media/media6.mp4"/><Relationship Id="rId1" Type="http://schemas.openxmlformats.org/officeDocument/2006/relationships/video" Target="NULL" TargetMode="External"/><Relationship Id="rId5" Type="http://schemas.openxmlformats.org/officeDocument/2006/relationships/image" Target="../media/image141.png"/><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29.xml"/><Relationship Id="rId1" Type="http://schemas.openxmlformats.org/officeDocument/2006/relationships/slideLayout" Target="../slideLayouts/slideLayout262.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notesSlide" Target="../notesSlides/notesSlide30.xml"/><Relationship Id="rId1" Type="http://schemas.openxmlformats.org/officeDocument/2006/relationships/slideLayout" Target="../slideLayouts/slideLayout239.xml"/></Relationships>
</file>

<file path=ppt/slides/_rels/slide31.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54.xml"/></Relationships>
</file>

<file path=ppt/slides/_rels/slide32.xml.rels><?xml version="1.0" encoding="UTF-8" standalone="yes"?>
<Relationships xmlns="http://schemas.openxmlformats.org/package/2006/relationships"><Relationship Id="rId8" Type="http://schemas.openxmlformats.org/officeDocument/2006/relationships/image" Target="../media/image147.svg"/><Relationship Id="rId3" Type="http://schemas.openxmlformats.org/officeDocument/2006/relationships/slideLayout" Target="../slideLayouts/slideLayout235.xml"/><Relationship Id="rId7" Type="http://schemas.openxmlformats.org/officeDocument/2006/relationships/image" Target="../media/image14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5.emf"/><Relationship Id="rId5" Type="http://schemas.openxmlformats.org/officeDocument/2006/relationships/oleObject" Target="../embeddings/oleObject1.bin"/><Relationship Id="rId4" Type="http://schemas.openxmlformats.org/officeDocument/2006/relationships/notesSlide" Target="../notesSlides/notesSlide31.xml"/></Relationships>
</file>

<file path=ppt/slides/_rels/slide33.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32.xml"/><Relationship Id="rId1" Type="http://schemas.openxmlformats.org/officeDocument/2006/relationships/slideLayout" Target="../slideLayouts/slideLayout262.xml"/><Relationship Id="rId4" Type="http://schemas.openxmlformats.org/officeDocument/2006/relationships/image" Target="../media/image149.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7.mp4"/><Relationship Id="rId1" Type="http://schemas.microsoft.com/office/2007/relationships/media" Target="../media/media7.mp4"/><Relationship Id="rId5" Type="http://schemas.openxmlformats.org/officeDocument/2006/relationships/image" Target="../media/image150.png"/><Relationship Id="rId4" Type="http://schemas.openxmlformats.org/officeDocument/2006/relationships/notesSlide" Target="../notesSlides/notesSlide33.xml"/></Relationships>
</file>

<file path=ppt/slides/_rels/slide35.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34.xml"/><Relationship Id="rId1" Type="http://schemas.openxmlformats.org/officeDocument/2006/relationships/slideLayout" Target="../slideLayouts/slideLayout262.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8.mp4"/><Relationship Id="rId1" Type="http://schemas.microsoft.com/office/2007/relationships/media" Target="../media/media8.mp4"/><Relationship Id="rId5" Type="http://schemas.openxmlformats.org/officeDocument/2006/relationships/image" Target="../media/image152.png"/><Relationship Id="rId4" Type="http://schemas.openxmlformats.org/officeDocument/2006/relationships/notesSlide" Target="../notesSlides/notesSlide3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66.xml"/></Relationships>
</file>

<file path=ppt/slides/_rels/slide38.xml.rels><?xml version="1.0" encoding="UTF-8" standalone="yes"?>
<Relationships xmlns="http://schemas.openxmlformats.org/package/2006/relationships"><Relationship Id="rId3" Type="http://schemas.openxmlformats.org/officeDocument/2006/relationships/image" Target="../media/image153.tiff"/><Relationship Id="rId2" Type="http://schemas.openxmlformats.org/officeDocument/2006/relationships/notesSlide" Target="../notesSlides/notesSlide37.xml"/><Relationship Id="rId1" Type="http://schemas.openxmlformats.org/officeDocument/2006/relationships/slideLayout" Target="../slideLayouts/slideLayout264.xml"/><Relationship Id="rId4" Type="http://schemas.openxmlformats.org/officeDocument/2006/relationships/image" Target="../media/image154.tiff"/></Relationships>
</file>

<file path=ppt/slides/_rels/slide39.xml.rels><?xml version="1.0" encoding="UTF-8" standalone="yes"?>
<Relationships xmlns="http://schemas.openxmlformats.org/package/2006/relationships"><Relationship Id="rId3" Type="http://schemas.openxmlformats.org/officeDocument/2006/relationships/image" Target="../media/image156.tiff"/><Relationship Id="rId2" Type="http://schemas.openxmlformats.org/officeDocument/2006/relationships/image" Target="../media/image155.tiff"/><Relationship Id="rId1" Type="http://schemas.openxmlformats.org/officeDocument/2006/relationships/slideLayout" Target="../slideLayouts/slideLayout26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image" Target="../media/image158.tiff"/><Relationship Id="rId2" Type="http://schemas.openxmlformats.org/officeDocument/2006/relationships/image" Target="../media/image157.tiff"/><Relationship Id="rId1" Type="http://schemas.openxmlformats.org/officeDocument/2006/relationships/slideLayout" Target="../slideLayouts/slideLayout264.xml"/></Relationships>
</file>

<file path=ppt/slides/_rels/slide41.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image" Target="../media/image159.png"/><Relationship Id="rId7" Type="http://schemas.openxmlformats.org/officeDocument/2006/relationships/image" Target="../media/image163.png"/><Relationship Id="rId12" Type="http://schemas.openxmlformats.org/officeDocument/2006/relationships/image" Target="../media/image168.png"/><Relationship Id="rId2" Type="http://schemas.openxmlformats.org/officeDocument/2006/relationships/notesSlide" Target="../notesSlides/notesSlide38.xml"/><Relationship Id="rId1" Type="http://schemas.openxmlformats.org/officeDocument/2006/relationships/slideLayout" Target="../slideLayouts/slideLayout262.xml"/><Relationship Id="rId6" Type="http://schemas.openxmlformats.org/officeDocument/2006/relationships/image" Target="../media/image162.png"/><Relationship Id="rId11" Type="http://schemas.openxmlformats.org/officeDocument/2006/relationships/image" Target="../media/image167.png"/><Relationship Id="rId5" Type="http://schemas.openxmlformats.org/officeDocument/2006/relationships/image" Target="../media/image161.png"/><Relationship Id="rId10" Type="http://schemas.openxmlformats.org/officeDocument/2006/relationships/image" Target="../media/image166.png"/><Relationship Id="rId4" Type="http://schemas.openxmlformats.org/officeDocument/2006/relationships/image" Target="../media/image160.png"/><Relationship Id="rId9" Type="http://schemas.openxmlformats.org/officeDocument/2006/relationships/image" Target="../media/image165.jpeg"/></Relationships>
</file>

<file path=ppt/slides/_rels/slide42.xml.rels><?xml version="1.0" encoding="UTF-8" standalone="yes"?>
<Relationships xmlns="http://schemas.openxmlformats.org/package/2006/relationships"><Relationship Id="rId8" Type="http://schemas.openxmlformats.org/officeDocument/2006/relationships/image" Target="../media/image174.svg"/><Relationship Id="rId3" Type="http://schemas.openxmlformats.org/officeDocument/2006/relationships/image" Target="../media/image169.emf"/><Relationship Id="rId7" Type="http://schemas.openxmlformats.org/officeDocument/2006/relationships/image" Target="../media/image173.png"/><Relationship Id="rId12" Type="http://schemas.openxmlformats.org/officeDocument/2006/relationships/image" Target="../media/image178.svg"/><Relationship Id="rId2" Type="http://schemas.openxmlformats.org/officeDocument/2006/relationships/notesSlide" Target="../notesSlides/notesSlide39.xml"/><Relationship Id="rId1" Type="http://schemas.openxmlformats.org/officeDocument/2006/relationships/slideLayout" Target="../slideLayouts/slideLayout262.xml"/><Relationship Id="rId6" Type="http://schemas.openxmlformats.org/officeDocument/2006/relationships/image" Target="../media/image172.svg"/><Relationship Id="rId11" Type="http://schemas.openxmlformats.org/officeDocument/2006/relationships/image" Target="../media/image177.png"/><Relationship Id="rId5" Type="http://schemas.openxmlformats.org/officeDocument/2006/relationships/image" Target="../media/image171.png"/><Relationship Id="rId10" Type="http://schemas.openxmlformats.org/officeDocument/2006/relationships/image" Target="../media/image176.svg"/><Relationship Id="rId4" Type="http://schemas.openxmlformats.org/officeDocument/2006/relationships/image" Target="../media/image170.emf"/><Relationship Id="rId9" Type="http://schemas.openxmlformats.org/officeDocument/2006/relationships/image" Target="../media/image175.png"/></Relationships>
</file>

<file path=ppt/slides/_rels/slide43.xml.rels><?xml version="1.0" encoding="UTF-8" standalone="yes"?>
<Relationships xmlns="http://schemas.openxmlformats.org/package/2006/relationships"><Relationship Id="rId8" Type="http://schemas.openxmlformats.org/officeDocument/2006/relationships/image" Target="../media/image184.emf"/><Relationship Id="rId3" Type="http://schemas.openxmlformats.org/officeDocument/2006/relationships/image" Target="../media/image179.emf"/><Relationship Id="rId7" Type="http://schemas.openxmlformats.org/officeDocument/2006/relationships/image" Target="../media/image183.emf"/><Relationship Id="rId2" Type="http://schemas.openxmlformats.org/officeDocument/2006/relationships/notesSlide" Target="../notesSlides/notesSlide40.xml"/><Relationship Id="rId1" Type="http://schemas.openxmlformats.org/officeDocument/2006/relationships/slideLayout" Target="../slideLayouts/slideLayout262.xml"/><Relationship Id="rId6" Type="http://schemas.openxmlformats.org/officeDocument/2006/relationships/image" Target="../media/image182.emf"/><Relationship Id="rId5" Type="http://schemas.openxmlformats.org/officeDocument/2006/relationships/image" Target="../media/image181.emf"/><Relationship Id="rId4" Type="http://schemas.openxmlformats.org/officeDocument/2006/relationships/image" Target="../media/image180.emf"/><Relationship Id="rId9" Type="http://schemas.openxmlformats.org/officeDocument/2006/relationships/image" Target="../media/image185.emf"/></Relationships>
</file>

<file path=ppt/slides/_rels/slide44.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1">
            <a:extLst>
              <a:ext uri="{FF2B5EF4-FFF2-40B4-BE49-F238E27FC236}">
                <a16:creationId xmlns:a16="http://schemas.microsoft.com/office/drawing/2014/main" id="{18BEC758-C63F-4A86-8510-25B6A8D23EB6}"/>
              </a:ext>
            </a:extLst>
          </p:cNvPr>
          <p:cNvSpPr txBox="1">
            <a:spLocks/>
          </p:cNvSpPr>
          <p:nvPr/>
        </p:nvSpPr>
        <p:spPr>
          <a:xfrm>
            <a:off x="0" y="0"/>
            <a:ext cx="12192000" cy="6857999"/>
          </a:xfrm>
          <a:prstGeom prst="rect">
            <a:avLst/>
          </a:prstGeom>
          <a:solidFill>
            <a:schemeClr val="bg1">
              <a:alpha val="2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r>
              <a:rPr lang="en-US" sz="4000" b="1" dirty="0">
                <a:solidFill>
                  <a:srgbClr val="124548"/>
                </a:solidFill>
              </a:rPr>
              <a:t>Microsoft Power Platform + Dynamics 365</a:t>
            </a: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p:txBody>
      </p:sp>
    </p:spTree>
    <p:extLst>
      <p:ext uri="{BB962C8B-B14F-4D97-AF65-F5344CB8AC3E}">
        <p14:creationId xmlns:p14="http://schemas.microsoft.com/office/powerpoint/2010/main" val="3897276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5EE44-88FE-4247-A3CD-BDDF169E2445}"/>
              </a:ext>
            </a:extLst>
          </p:cNvPr>
          <p:cNvSpPr>
            <a:spLocks noGrp="1"/>
          </p:cNvSpPr>
          <p:nvPr>
            <p:ph type="title"/>
          </p:nvPr>
        </p:nvSpPr>
        <p:spPr/>
        <p:txBody>
          <a:bodyPr/>
          <a:lstStyle/>
          <a:p>
            <a:pPr lvl="0"/>
            <a:r>
              <a:rPr lang="en-US" dirty="0"/>
              <a:t>Technology Modernization</a:t>
            </a:r>
          </a:p>
        </p:txBody>
      </p:sp>
      <p:pic>
        <p:nvPicPr>
          <p:cNvPr id="4" name="Picture 3" descr="A person standing next to a computer monitor on a desk&#10;&#10;Description automatically generated">
            <a:extLst>
              <a:ext uri="{FF2B5EF4-FFF2-40B4-BE49-F238E27FC236}">
                <a16:creationId xmlns:a16="http://schemas.microsoft.com/office/drawing/2014/main" id="{AE72F0BD-9111-4B62-8965-5FBDA3D12543}"/>
              </a:ext>
            </a:extLst>
          </p:cNvPr>
          <p:cNvPicPr>
            <a:picLocks noChangeAspect="1"/>
          </p:cNvPicPr>
          <p:nvPr/>
        </p:nvPicPr>
        <p:blipFill rotWithShape="1">
          <a:blip r:embed="rId3">
            <a:extLst>
              <a:ext uri="{28A0092B-C50C-407E-A947-70E740481C1C}">
                <a14:useLocalDpi xmlns:a14="http://schemas.microsoft.com/office/drawing/2010/main" val="0"/>
              </a:ext>
            </a:extLst>
          </a:blip>
          <a:srcRect l="16805" r="22716"/>
          <a:stretch/>
        </p:blipFill>
        <p:spPr>
          <a:xfrm>
            <a:off x="5970588" y="0"/>
            <a:ext cx="6221412" cy="6858000"/>
          </a:xfrm>
          <a:prstGeom prst="rect">
            <a:avLst/>
          </a:prstGeom>
        </p:spPr>
      </p:pic>
    </p:spTree>
    <p:extLst>
      <p:ext uri="{BB962C8B-B14F-4D97-AF65-F5344CB8AC3E}">
        <p14:creationId xmlns:p14="http://schemas.microsoft.com/office/powerpoint/2010/main" val="2283088815"/>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13" name="Rectangle 12">
            <a:extLst>
              <a:ext uri="{FF2B5EF4-FFF2-40B4-BE49-F238E27FC236}">
                <a16:creationId xmlns:a16="http://schemas.microsoft.com/office/drawing/2014/main" id="{552EB317-D0A3-4CCF-9B71-04263DA3CB09}"/>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TextBox 17">
            <a:extLst>
              <a:ext uri="{FF2B5EF4-FFF2-40B4-BE49-F238E27FC236}">
                <a16:creationId xmlns:a16="http://schemas.microsoft.com/office/drawing/2014/main" id="{0ED9D45F-829C-42CF-B260-A4B4B9EFAA6D}"/>
              </a:ext>
            </a:extLst>
          </p:cNvPr>
          <p:cNvSpPr txBox="1"/>
          <p:nvPr/>
        </p:nvSpPr>
        <p:spPr>
          <a:xfrm>
            <a:off x="527049" y="1231900"/>
            <a:ext cx="2863851"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Lifecycle Services</a:t>
            </a:r>
          </a:p>
        </p:txBody>
      </p:sp>
      <p:sp>
        <p:nvSpPr>
          <p:cNvPr id="22" name="!!APPLICATION MANAGEMENT">
            <a:extLst>
              <a:ext uri="{FF2B5EF4-FFF2-40B4-BE49-F238E27FC236}">
                <a16:creationId xmlns:a16="http://schemas.microsoft.com/office/drawing/2014/main" id="{BCF46930-DA6E-410D-AA3C-BBEF9435291A}"/>
              </a:ext>
            </a:extLst>
          </p:cNvPr>
          <p:cNvSpPr/>
          <p:nvPr/>
        </p:nvSpPr>
        <p:spPr bwMode="auto">
          <a:xfrm>
            <a:off x="527049" y="1417654"/>
            <a:ext cx="3216276" cy="527092"/>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grpSp>
        <p:nvGrpSpPr>
          <p:cNvPr id="4" name="Group 3">
            <a:extLst>
              <a:ext uri="{FF2B5EF4-FFF2-40B4-BE49-F238E27FC236}">
                <a16:creationId xmlns:a16="http://schemas.microsoft.com/office/drawing/2014/main" id="{98A0FABD-FECB-4B39-BAC6-D80111C1AE79}"/>
              </a:ext>
            </a:extLst>
          </p:cNvPr>
          <p:cNvGrpSpPr/>
          <p:nvPr/>
        </p:nvGrpSpPr>
        <p:grpSpPr>
          <a:xfrm>
            <a:off x="527050" y="2393020"/>
            <a:ext cx="4984749" cy="3047326"/>
            <a:chOff x="527050" y="2393020"/>
            <a:chExt cx="4984749" cy="3047326"/>
          </a:xfrm>
        </p:grpSpPr>
        <p:sp>
          <p:nvSpPr>
            <p:cNvPr id="17" name="Rectangle 16">
              <a:extLst>
                <a:ext uri="{FF2B5EF4-FFF2-40B4-BE49-F238E27FC236}">
                  <a16:creationId xmlns:a16="http://schemas.microsoft.com/office/drawing/2014/main" id="{E2D6524D-12F5-4D19-A67D-463BF3135D7B}"/>
                </a:ext>
              </a:extLst>
            </p:cNvPr>
            <p:cNvSpPr/>
            <p:nvPr/>
          </p:nvSpPr>
          <p:spPr bwMode="auto">
            <a:xfrm>
              <a:off x="527050" y="2393020"/>
              <a:ext cx="4984749" cy="2617130"/>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Manage Dynamics 365 Finance &amp; Supply Chain management – Collaborative workspace</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Manage methodologies, localization and business processes</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Use for projects from pre-sales to implementation</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Maintain and monitor environments</a:t>
              </a:r>
            </a:p>
          </p:txBody>
        </p:sp>
        <p:sp>
          <p:nvSpPr>
            <p:cNvPr id="3" name="Oval 2">
              <a:extLst>
                <a:ext uri="{FF2B5EF4-FFF2-40B4-BE49-F238E27FC236}">
                  <a16:creationId xmlns:a16="http://schemas.microsoft.com/office/drawing/2014/main" id="{98A87430-5C1C-4C59-8AAE-D099AA6A7002}"/>
                </a:ext>
              </a:extLst>
            </p:cNvPr>
            <p:cNvSpPr/>
            <p:nvPr/>
          </p:nvSpPr>
          <p:spPr bwMode="auto">
            <a:xfrm>
              <a:off x="2444620" y="4752380"/>
              <a:ext cx="687966" cy="687966"/>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3C3C41"/>
                </a:solidFill>
                <a:effectLst/>
                <a:uLnTx/>
                <a:uFillTx/>
                <a:latin typeface="Segoe UI"/>
                <a:ea typeface="+mn-ea"/>
                <a:cs typeface="Segoe UI" pitchFamily="34" charset="0"/>
              </a:endParaRPr>
            </a:p>
          </p:txBody>
        </p:sp>
      </p:grpSp>
      <p:grpSp>
        <p:nvGrpSpPr>
          <p:cNvPr id="5" name="Group 4">
            <a:extLst>
              <a:ext uri="{FF2B5EF4-FFF2-40B4-BE49-F238E27FC236}">
                <a16:creationId xmlns:a16="http://schemas.microsoft.com/office/drawing/2014/main" id="{B4FDBC0A-E28E-4399-9590-E58062CE5BC3}"/>
              </a:ext>
            </a:extLst>
          </p:cNvPr>
          <p:cNvGrpSpPr/>
          <p:nvPr/>
        </p:nvGrpSpPr>
        <p:grpSpPr>
          <a:xfrm>
            <a:off x="527049" y="392969"/>
            <a:ext cx="4984750" cy="838931"/>
            <a:chOff x="527049" y="392969"/>
            <a:chExt cx="4984750" cy="838931"/>
          </a:xfrm>
        </p:grpSpPr>
        <p:sp>
          <p:nvSpPr>
            <p:cNvPr id="19" name="TextBox 18">
              <a:extLst>
                <a:ext uri="{FF2B5EF4-FFF2-40B4-BE49-F238E27FC236}">
                  <a16:creationId xmlns:a16="http://schemas.microsoft.com/office/drawing/2014/main" id="{30614B43-452F-4BC5-B480-57992BD2B3F3}"/>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Dynamics 365 implementation and governance: </a:t>
              </a:r>
            </a:p>
          </p:txBody>
        </p:sp>
        <p:sp>
          <p:nvSpPr>
            <p:cNvPr id="23" name="Oval 22">
              <a:extLst>
                <a:ext uri="{FF2B5EF4-FFF2-40B4-BE49-F238E27FC236}">
                  <a16:creationId xmlns:a16="http://schemas.microsoft.com/office/drawing/2014/main" id="{C9E4AF2E-474A-487A-B902-18EAFBAFBE31}"/>
                </a:ext>
              </a:extLst>
            </p:cNvPr>
            <p:cNvSpPr/>
            <p:nvPr/>
          </p:nvSpPr>
          <p:spPr bwMode="auto">
            <a:xfrm>
              <a:off x="4823833" y="468451"/>
              <a:ext cx="687966" cy="687966"/>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4" name="LCSproject">
            <a:hlinkClick r:id="" action="ppaction://media"/>
            <a:extLst>
              <a:ext uri="{FF2B5EF4-FFF2-40B4-BE49-F238E27FC236}">
                <a16:creationId xmlns:a16="http://schemas.microsoft.com/office/drawing/2014/main" id="{496F7004-80BC-4EFD-A1D9-53F5DF18D63B}"/>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158291" y="1313409"/>
            <a:ext cx="7114655" cy="4231182"/>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32844948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1666"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4"/>
                                        </p:tgtEl>
                                      </p:cBhvr>
                                    </p:cmd>
                                  </p:childTnLst>
                                </p:cTn>
                              </p:par>
                            </p:childTnLst>
                          </p:cTn>
                        </p:par>
                      </p:childTnLst>
                    </p:cTn>
                  </p:par>
                </p:childTnLst>
              </p:cTn>
              <p:nextCondLst>
                <p:cond evt="onClick" delay="0">
                  <p:tgtEl>
                    <p:spTgt spid="14"/>
                  </p:tgtEl>
                </p:cond>
              </p:nextCondLst>
            </p:seq>
            <p:video>
              <p:cMediaNode vol="80000">
                <p:cTn id="12" fill="hold" display="0">
                  <p:stCondLst>
                    <p:cond delay="indefinite"/>
                  </p:stCondLst>
                </p:cTn>
                <p:tgtEl>
                  <p:spTgt spid="14"/>
                </p:tgtEl>
              </p:cMediaNode>
            </p:vide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9" name="Rectangle 8">
            <a:extLst>
              <a:ext uri="{FF2B5EF4-FFF2-40B4-BE49-F238E27FC236}">
                <a16:creationId xmlns:a16="http://schemas.microsoft.com/office/drawing/2014/main" id="{530C2872-EEF5-4208-9868-ACA0ED0C110D}"/>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a:extLst>
              <a:ext uri="{FF2B5EF4-FFF2-40B4-BE49-F238E27FC236}">
                <a16:creationId xmlns:a16="http://schemas.microsoft.com/office/drawing/2014/main" id="{BF370998-DE28-409B-8357-E4736BB3DC84}"/>
              </a:ext>
            </a:extLst>
          </p:cNvPr>
          <p:cNvSpPr txBox="1"/>
          <p:nvPr/>
        </p:nvSpPr>
        <p:spPr>
          <a:xfrm>
            <a:off x="527049" y="1231900"/>
            <a:ext cx="3957865"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Business intelligence with Microsoft Power BI</a:t>
            </a:r>
          </a:p>
        </p:txBody>
      </p:sp>
      <p:sp>
        <p:nvSpPr>
          <p:cNvPr id="16" name="TextBox 15">
            <a:extLst>
              <a:ext uri="{FF2B5EF4-FFF2-40B4-BE49-F238E27FC236}">
                <a16:creationId xmlns:a16="http://schemas.microsoft.com/office/drawing/2014/main" id="{09E4277A-EB1D-4002-9DAD-3B999FE0634E}"/>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Enable effective actionable insights: </a:t>
            </a:r>
          </a:p>
        </p:txBody>
      </p:sp>
      <p:sp>
        <p:nvSpPr>
          <p:cNvPr id="19" name="!!VISUALIZATION">
            <a:extLst>
              <a:ext uri="{FF2B5EF4-FFF2-40B4-BE49-F238E27FC236}">
                <a16:creationId xmlns:a16="http://schemas.microsoft.com/office/drawing/2014/main" id="{D51310C3-A540-4560-B732-6B9E00EE631E}"/>
              </a:ext>
            </a:extLst>
          </p:cNvPr>
          <p:cNvSpPr/>
          <p:nvPr/>
        </p:nvSpPr>
        <p:spPr bwMode="auto">
          <a:xfrm>
            <a:off x="461778" y="1240050"/>
            <a:ext cx="4095707" cy="922580"/>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grpSp>
        <p:nvGrpSpPr>
          <p:cNvPr id="6" name="Group 5">
            <a:extLst>
              <a:ext uri="{FF2B5EF4-FFF2-40B4-BE49-F238E27FC236}">
                <a16:creationId xmlns:a16="http://schemas.microsoft.com/office/drawing/2014/main" id="{B3E78DB8-1AFF-4F80-AF3D-5F24ED0C8954}"/>
              </a:ext>
            </a:extLst>
          </p:cNvPr>
          <p:cNvGrpSpPr/>
          <p:nvPr/>
        </p:nvGrpSpPr>
        <p:grpSpPr>
          <a:xfrm>
            <a:off x="527050" y="2393019"/>
            <a:ext cx="4984749" cy="3499781"/>
            <a:chOff x="527050" y="2393019"/>
            <a:chExt cx="4984749" cy="3499781"/>
          </a:xfrm>
        </p:grpSpPr>
        <p:sp>
          <p:nvSpPr>
            <p:cNvPr id="10" name="Rectangle 9">
              <a:extLst>
                <a:ext uri="{FF2B5EF4-FFF2-40B4-BE49-F238E27FC236}">
                  <a16:creationId xmlns:a16="http://schemas.microsoft.com/office/drawing/2014/main" id="{0411C135-9A90-47C5-A2E3-33CE688C9917}"/>
                </a:ext>
              </a:extLst>
            </p:cNvPr>
            <p:cNvSpPr/>
            <p:nvPr/>
          </p:nvSpPr>
          <p:spPr bwMode="auto">
            <a:xfrm>
              <a:off x="527050" y="2393019"/>
              <a:ext cx="4984749" cy="3128549"/>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Derive actionable insights from transactional and observational data</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reate a data culture where every employee can make decisions based on facts, not opinions</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reate composites of reports from various other Power BI content, such as actuals and budget balances from general ledger</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Provide Power BI dashboards in context to roles</a:t>
              </a:r>
            </a:p>
          </p:txBody>
        </p:sp>
        <p:sp>
          <p:nvSpPr>
            <p:cNvPr id="4" name="Oval 3">
              <a:extLst>
                <a:ext uri="{FF2B5EF4-FFF2-40B4-BE49-F238E27FC236}">
                  <a16:creationId xmlns:a16="http://schemas.microsoft.com/office/drawing/2014/main" id="{DB24D757-0C75-4C7D-A160-4218EEFAEEB7}"/>
                </a:ext>
              </a:extLst>
            </p:cNvPr>
            <p:cNvSpPr/>
            <p:nvPr/>
          </p:nvSpPr>
          <p:spPr bwMode="auto">
            <a:xfrm>
              <a:off x="1132114" y="5225143"/>
              <a:ext cx="667657" cy="667657"/>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3C3C41"/>
                </a:solidFill>
                <a:effectLst/>
                <a:uLnTx/>
                <a:uFillTx/>
                <a:latin typeface="Segoe UI"/>
                <a:ea typeface="Segoe UI" pitchFamily="34" charset="0"/>
                <a:cs typeface="Segoe UI" pitchFamily="34" charset="0"/>
              </a:endParaRPr>
            </a:p>
          </p:txBody>
        </p:sp>
      </p:grpSp>
      <p:pic>
        <p:nvPicPr>
          <p:cNvPr id="13" name="PowerBI">
            <a:hlinkClick r:id="" action="ppaction://media"/>
            <a:extLst>
              <a:ext uri="{FF2B5EF4-FFF2-40B4-BE49-F238E27FC236}">
                <a16:creationId xmlns:a16="http://schemas.microsoft.com/office/drawing/2014/main" id="{F7320F3A-888A-4CB3-8C1B-73B12D80C19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162549" y="1328306"/>
            <a:ext cx="7064556" cy="4201388"/>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18079849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8300"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3"/>
                                        </p:tgtEl>
                                      </p:cBhvr>
                                    </p:cmd>
                                  </p:childTnLst>
                                </p:cTn>
                              </p:par>
                            </p:childTnLst>
                          </p:cTn>
                        </p:par>
                      </p:childTnLst>
                    </p:cTn>
                  </p:par>
                </p:childTnLst>
              </p:cTn>
              <p:nextCondLst>
                <p:cond evt="onClick" delay="0">
                  <p:tgtEl>
                    <p:spTgt spid="13"/>
                  </p:tgtEl>
                </p:cond>
              </p:nextCondLst>
            </p:seq>
            <p:video>
              <p:cMediaNode vol="80000">
                <p:cTn id="12" fill="hold" display="0">
                  <p:stCondLst>
                    <p:cond delay="indefinite"/>
                  </p:stCondLst>
                </p:cTn>
                <p:tgtEl>
                  <p:spTgt spid="13"/>
                </p:tgtEl>
              </p:cMediaNode>
            </p:vide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3C455992-0948-4AC9-B811-C8411E89C2B1}"/>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Box 10">
            <a:extLst>
              <a:ext uri="{FF2B5EF4-FFF2-40B4-BE49-F238E27FC236}">
                <a16:creationId xmlns:a16="http://schemas.microsoft.com/office/drawing/2014/main" id="{F9553372-2696-4785-A513-25DD2AA3DBA6}"/>
              </a:ext>
            </a:extLst>
          </p:cNvPr>
          <p:cNvSpPr txBox="1"/>
          <p:nvPr/>
        </p:nvSpPr>
        <p:spPr>
          <a:xfrm>
            <a:off x="527049" y="1409700"/>
            <a:ext cx="4808632"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Unify data and processes with Microsoft Power Platform </a:t>
            </a:r>
          </a:p>
        </p:txBody>
      </p:sp>
      <p:grpSp>
        <p:nvGrpSpPr>
          <p:cNvPr id="4" name="Group 3">
            <a:extLst>
              <a:ext uri="{FF2B5EF4-FFF2-40B4-BE49-F238E27FC236}">
                <a16:creationId xmlns:a16="http://schemas.microsoft.com/office/drawing/2014/main" id="{2AF97C2A-AFC7-400C-8D11-575E664D72E3}"/>
              </a:ext>
            </a:extLst>
          </p:cNvPr>
          <p:cNvGrpSpPr/>
          <p:nvPr/>
        </p:nvGrpSpPr>
        <p:grpSpPr>
          <a:xfrm>
            <a:off x="527050" y="2748620"/>
            <a:ext cx="4984749" cy="3726820"/>
            <a:chOff x="527050" y="2393020"/>
            <a:chExt cx="4984749" cy="3726820"/>
          </a:xfrm>
        </p:grpSpPr>
        <p:sp>
          <p:nvSpPr>
            <p:cNvPr id="10" name="Rectangle 9">
              <a:extLst>
                <a:ext uri="{FF2B5EF4-FFF2-40B4-BE49-F238E27FC236}">
                  <a16:creationId xmlns:a16="http://schemas.microsoft.com/office/drawing/2014/main" id="{FFA56B43-0117-4ED2-99EA-C15986FE5D59}"/>
                </a:ext>
              </a:extLst>
            </p:cNvPr>
            <p:cNvSpPr/>
            <p:nvPr/>
          </p:nvSpPr>
          <p:spPr bwMode="auto">
            <a:xfrm>
              <a:off x="527050" y="2393020"/>
              <a:ext cx="4984749" cy="2617130"/>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Easily connect and unify your data from popular data sources using prebuilt connectors</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Use business events to trigger workflows within Dynamics 365 Supply Chain Management or create action activities in Flow or Azure Messaging Service. </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reate custom entities, populate them with business data using Power Query, and build rich applications with PowerApps</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Utilize new dual-write integration services for a seamless data exchange between Dynamics 365, utilizing the Common Data Service (CDS)</a:t>
              </a:r>
            </a:p>
            <a:p>
              <a:pPr marL="171450" marR="0" lvl="0" indent="-171450"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3C3C41"/>
                </a:solidFill>
                <a:effectLst/>
                <a:uLnTx/>
                <a:uFillTx/>
                <a:latin typeface="Segoe UI"/>
                <a:ea typeface="+mn-ea"/>
                <a:cs typeface="Segoe UI"/>
              </a:endParaRPr>
            </a:p>
          </p:txBody>
        </p:sp>
        <p:sp>
          <p:nvSpPr>
            <p:cNvPr id="3" name="Oval 2">
              <a:extLst>
                <a:ext uri="{FF2B5EF4-FFF2-40B4-BE49-F238E27FC236}">
                  <a16:creationId xmlns:a16="http://schemas.microsoft.com/office/drawing/2014/main" id="{37159701-1740-47D8-9BC6-78EF46B6E759}"/>
                </a:ext>
              </a:extLst>
            </p:cNvPr>
            <p:cNvSpPr/>
            <p:nvPr/>
          </p:nvSpPr>
          <p:spPr bwMode="auto">
            <a:xfrm>
              <a:off x="1872343" y="5568297"/>
              <a:ext cx="551543" cy="551543"/>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3C3C41"/>
                </a:solidFill>
                <a:effectLst/>
                <a:uLnTx/>
                <a:uFillTx/>
                <a:latin typeface="Segoe UI"/>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CBEB6B6F-A6DD-4C6B-A225-B24D2BD07ED7}"/>
              </a:ext>
            </a:extLst>
          </p:cNvPr>
          <p:cNvGrpSpPr/>
          <p:nvPr/>
        </p:nvGrpSpPr>
        <p:grpSpPr>
          <a:xfrm>
            <a:off x="527049" y="340190"/>
            <a:ext cx="4845051" cy="891710"/>
            <a:chOff x="527049" y="340190"/>
            <a:chExt cx="4845051" cy="891710"/>
          </a:xfrm>
        </p:grpSpPr>
        <p:sp>
          <p:nvSpPr>
            <p:cNvPr id="12" name="TextBox 11">
              <a:extLst>
                <a:ext uri="{FF2B5EF4-FFF2-40B4-BE49-F238E27FC236}">
                  <a16:creationId xmlns:a16="http://schemas.microsoft.com/office/drawing/2014/main" id="{F51F2914-D970-4B8E-A27B-66F5D57B880C}"/>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Personalize your finance management requirements: </a:t>
              </a:r>
            </a:p>
          </p:txBody>
        </p:sp>
        <p:sp>
          <p:nvSpPr>
            <p:cNvPr id="22" name="Oval 21">
              <a:extLst>
                <a:ext uri="{FF2B5EF4-FFF2-40B4-BE49-F238E27FC236}">
                  <a16:creationId xmlns:a16="http://schemas.microsoft.com/office/drawing/2014/main" id="{0C118731-E08C-4DC1-A65F-5C3CBA8AC7EE}"/>
                </a:ext>
              </a:extLst>
            </p:cNvPr>
            <p:cNvSpPr/>
            <p:nvPr/>
          </p:nvSpPr>
          <p:spPr bwMode="auto">
            <a:xfrm>
              <a:off x="4721679" y="340190"/>
              <a:ext cx="551543" cy="551543"/>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6" name="workflow">
            <a:hlinkClick r:id="" action="ppaction://media"/>
            <a:extLst>
              <a:ext uri="{FF2B5EF4-FFF2-40B4-BE49-F238E27FC236}">
                <a16:creationId xmlns:a16="http://schemas.microsoft.com/office/drawing/2014/main" id="{C13FBB11-6E2A-4310-A69B-2A58875B069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200290" y="1349967"/>
            <a:ext cx="6991710" cy="4158066"/>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
        <p:nvSpPr>
          <p:cNvPr id="15" name="!!AUTOMATION">
            <a:extLst>
              <a:ext uri="{FF2B5EF4-FFF2-40B4-BE49-F238E27FC236}">
                <a16:creationId xmlns:a16="http://schemas.microsoft.com/office/drawing/2014/main" id="{36D83F07-728E-4DA1-860D-96AE9FA352ED}"/>
              </a:ext>
            </a:extLst>
          </p:cNvPr>
          <p:cNvSpPr/>
          <p:nvPr/>
        </p:nvSpPr>
        <p:spPr bwMode="auto">
          <a:xfrm>
            <a:off x="453669" y="1230691"/>
            <a:ext cx="4680761" cy="1287350"/>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none" spc="0" normalizeH="0" baseline="0" noProof="0">
              <a:ln>
                <a:noFill/>
              </a:ln>
              <a:solidFill>
                <a:srgbClr val="008272"/>
              </a:solidFill>
              <a:effectLst/>
              <a:uLnTx/>
              <a:uFillTx/>
              <a:latin typeface="Segoe UI"/>
              <a:ea typeface="+mn-ea"/>
              <a:cs typeface="+mn-cs"/>
            </a:endParaRPr>
          </a:p>
        </p:txBody>
      </p:sp>
    </p:spTree>
    <p:extLst>
      <p:ext uri="{BB962C8B-B14F-4D97-AF65-F5344CB8AC3E}">
        <p14:creationId xmlns:p14="http://schemas.microsoft.com/office/powerpoint/2010/main" val="2298825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4533"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E49F200-8FF0-4B1E-865D-A89BC155C356}"/>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a:extLst>
              <a:ext uri="{FF2B5EF4-FFF2-40B4-BE49-F238E27FC236}">
                <a16:creationId xmlns:a16="http://schemas.microsoft.com/office/drawing/2014/main" id="{F0EF22DA-581D-4198-951A-BC4B8A71E703}"/>
              </a:ext>
            </a:extLst>
          </p:cNvPr>
          <p:cNvPicPr>
            <a:picLocks noChangeAspect="1"/>
          </p:cNvPicPr>
          <p:nvPr/>
        </p:nvPicPr>
        <p:blipFill>
          <a:blip r:embed="rId3"/>
          <a:stretch>
            <a:fillRect/>
          </a:stretch>
        </p:blipFill>
        <p:spPr>
          <a:xfrm>
            <a:off x="5275964" y="1278829"/>
            <a:ext cx="7176524" cy="4203051"/>
          </a:xfrm>
          <a:prstGeom prst="rect">
            <a:avLst/>
          </a:prstGeom>
          <a:scene3d>
            <a:camera prst="perspectiveLeft"/>
            <a:lightRig rig="threePt" dir="t"/>
          </a:scene3d>
        </p:spPr>
      </p:pic>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859ECD73-CAE2-4F59-B915-380CD1421EFA}"/>
              </a:ext>
            </a:extLst>
          </p:cNvPr>
          <p:cNvSpPr/>
          <p:nvPr/>
        </p:nvSpPr>
        <p:spPr bwMode="auto">
          <a:xfrm>
            <a:off x="527050" y="2393019"/>
            <a:ext cx="4984749" cy="3407705"/>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hoose correct tool for Task, Native mobile client, Power App or Xamarin</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Enable access to important reports, wherever and whenever you need them. </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Build no-code or low-code apps within PowerApps or using Azure SDK.</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Ensure data consistency across apps, regardless of how users choose to access data.</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Option to embed Power App within UX </a:t>
            </a:r>
          </a:p>
        </p:txBody>
      </p:sp>
      <p:sp>
        <p:nvSpPr>
          <p:cNvPr id="9" name="TextBox 8">
            <a:extLst>
              <a:ext uri="{FF2B5EF4-FFF2-40B4-BE49-F238E27FC236}">
                <a16:creationId xmlns:a16="http://schemas.microsoft.com/office/drawing/2014/main" id="{3779CCA8-BC19-472D-8E80-87AA340398E1}"/>
              </a:ext>
            </a:extLst>
          </p:cNvPr>
          <p:cNvSpPr txBox="1"/>
          <p:nvPr/>
        </p:nvSpPr>
        <p:spPr>
          <a:xfrm>
            <a:off x="527049" y="1231900"/>
            <a:ext cx="4808632"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Mobile Choice</a:t>
            </a:r>
          </a:p>
        </p:txBody>
      </p:sp>
      <p:sp>
        <p:nvSpPr>
          <p:cNvPr id="13" name="TextBox 12">
            <a:extLst>
              <a:ext uri="{FF2B5EF4-FFF2-40B4-BE49-F238E27FC236}">
                <a16:creationId xmlns:a16="http://schemas.microsoft.com/office/drawing/2014/main" id="{32410AB4-DD27-4F1B-A066-3FD63ED82C06}"/>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Build and deploy scalable web and mobile client apps: </a:t>
            </a:r>
          </a:p>
        </p:txBody>
      </p:sp>
      <p:grpSp>
        <p:nvGrpSpPr>
          <p:cNvPr id="5" name="Group 4">
            <a:extLst>
              <a:ext uri="{FF2B5EF4-FFF2-40B4-BE49-F238E27FC236}">
                <a16:creationId xmlns:a16="http://schemas.microsoft.com/office/drawing/2014/main" id="{89EDF5C0-7C07-41F9-A269-008B4653F7BF}"/>
              </a:ext>
            </a:extLst>
          </p:cNvPr>
          <p:cNvGrpSpPr/>
          <p:nvPr/>
        </p:nvGrpSpPr>
        <p:grpSpPr>
          <a:xfrm>
            <a:off x="5638800" y="1248995"/>
            <a:ext cx="6378014" cy="4360009"/>
            <a:chOff x="5675219" y="1248995"/>
            <a:chExt cx="6378014" cy="4360009"/>
          </a:xfrm>
        </p:grpSpPr>
        <p:pic>
          <p:nvPicPr>
            <p:cNvPr id="3" name="Picture 2">
              <a:extLst>
                <a:ext uri="{FF2B5EF4-FFF2-40B4-BE49-F238E27FC236}">
                  <a16:creationId xmlns:a16="http://schemas.microsoft.com/office/drawing/2014/main" id="{3F01274B-CA99-4903-A9FD-5381753F7CDB}"/>
                </a:ext>
              </a:extLst>
            </p:cNvPr>
            <p:cNvPicPr>
              <a:picLocks noChangeAspect="1"/>
            </p:cNvPicPr>
            <p:nvPr/>
          </p:nvPicPr>
          <p:blipFill>
            <a:blip r:embed="rId4"/>
            <a:stretch>
              <a:fillRect/>
            </a:stretch>
          </p:blipFill>
          <p:spPr>
            <a:xfrm>
              <a:off x="5675219" y="1248995"/>
              <a:ext cx="6378014" cy="4360008"/>
            </a:xfrm>
            <a:prstGeom prst="rect">
              <a:avLst/>
            </a:prstGeom>
            <a:scene3d>
              <a:camera prst="perspectiveLeft"/>
              <a:lightRig rig="threePt" dir="t"/>
            </a:scene3d>
          </p:spPr>
        </p:pic>
        <p:pic>
          <p:nvPicPr>
            <p:cNvPr id="2" name="Picture 1">
              <a:extLst>
                <a:ext uri="{FF2B5EF4-FFF2-40B4-BE49-F238E27FC236}">
                  <a16:creationId xmlns:a16="http://schemas.microsoft.com/office/drawing/2014/main" id="{92A2363D-11B5-45F1-9AB7-6A9E5083E070}"/>
                </a:ext>
              </a:extLst>
            </p:cNvPr>
            <p:cNvPicPr>
              <a:picLocks noChangeAspect="1"/>
            </p:cNvPicPr>
            <p:nvPr/>
          </p:nvPicPr>
          <p:blipFill>
            <a:blip r:embed="rId5"/>
            <a:stretch>
              <a:fillRect/>
            </a:stretch>
          </p:blipFill>
          <p:spPr>
            <a:xfrm>
              <a:off x="5691474" y="1399592"/>
              <a:ext cx="1953635" cy="4091082"/>
            </a:xfrm>
            <a:prstGeom prst="rect">
              <a:avLst/>
            </a:prstGeom>
            <a:ln>
              <a:solidFill>
                <a:schemeClr val="tx2"/>
              </a:solidFill>
            </a:ln>
            <a:scene3d>
              <a:camera prst="perspectiveLeft"/>
              <a:lightRig rig="threePt" dir="t"/>
            </a:scene3d>
          </p:spPr>
        </p:pic>
        <p:pic>
          <p:nvPicPr>
            <p:cNvPr id="4" name="Picture 3">
              <a:extLst>
                <a:ext uri="{FF2B5EF4-FFF2-40B4-BE49-F238E27FC236}">
                  <a16:creationId xmlns:a16="http://schemas.microsoft.com/office/drawing/2014/main" id="{64010274-2258-4FBB-BA41-3802AD6211CC}"/>
                </a:ext>
              </a:extLst>
            </p:cNvPr>
            <p:cNvPicPr>
              <a:picLocks noChangeAspect="1"/>
            </p:cNvPicPr>
            <p:nvPr/>
          </p:nvPicPr>
          <p:blipFill>
            <a:blip r:embed="rId6"/>
            <a:stretch>
              <a:fillRect/>
            </a:stretch>
          </p:blipFill>
          <p:spPr>
            <a:xfrm>
              <a:off x="7634964" y="1287624"/>
              <a:ext cx="2060193" cy="4321380"/>
            </a:xfrm>
            <a:prstGeom prst="rect">
              <a:avLst/>
            </a:prstGeom>
            <a:ln>
              <a:solidFill>
                <a:schemeClr val="tx2"/>
              </a:solidFill>
            </a:ln>
            <a:scene3d>
              <a:camera prst="perspectiveLeft"/>
              <a:lightRig rig="threePt" dir="t"/>
            </a:scene3d>
          </p:spPr>
        </p:pic>
      </p:grpSp>
      <p:sp>
        <p:nvSpPr>
          <p:cNvPr id="12" name="!!CLIENTS">
            <a:extLst>
              <a:ext uri="{FF2B5EF4-FFF2-40B4-BE49-F238E27FC236}">
                <a16:creationId xmlns:a16="http://schemas.microsoft.com/office/drawing/2014/main" id="{2AD910A2-B3DB-43A4-9845-1C62BCB7C8F3}"/>
              </a:ext>
            </a:extLst>
          </p:cNvPr>
          <p:cNvSpPr/>
          <p:nvPr/>
        </p:nvSpPr>
        <p:spPr bwMode="auto">
          <a:xfrm>
            <a:off x="508720" y="1459042"/>
            <a:ext cx="3453679" cy="534858"/>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Tree>
    <p:extLst>
      <p:ext uri="{BB962C8B-B14F-4D97-AF65-F5344CB8AC3E}">
        <p14:creationId xmlns:p14="http://schemas.microsoft.com/office/powerpoint/2010/main" val="42845943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7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BC37AE0C-31C8-417C-8B85-069F62F3E599}"/>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87CB7753-7DD8-4830-87EC-BA36A7AE4D54}"/>
              </a:ext>
            </a:extLst>
          </p:cNvPr>
          <p:cNvSpPr/>
          <p:nvPr/>
        </p:nvSpPr>
        <p:spPr bwMode="auto">
          <a:xfrm>
            <a:off x="527050" y="2393020"/>
            <a:ext cx="4984749" cy="2617130"/>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onnect and unify your data with ease and use prebuilt connectors </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reate custom entities </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ommon Data Service and Dual Write</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Data Management Suite</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AppSource.microsoft.com </a:t>
            </a:r>
          </a:p>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a:ea typeface="+mn-ea"/>
              <a:cs typeface="Segoe UI"/>
            </a:endParaRPr>
          </a:p>
        </p:txBody>
      </p:sp>
      <p:sp>
        <p:nvSpPr>
          <p:cNvPr id="10" name="TextBox 9">
            <a:extLst>
              <a:ext uri="{FF2B5EF4-FFF2-40B4-BE49-F238E27FC236}">
                <a16:creationId xmlns:a16="http://schemas.microsoft.com/office/drawing/2014/main" id="{6EC5143A-FFED-4D37-90BF-ADA222A34550}"/>
              </a:ext>
            </a:extLst>
          </p:cNvPr>
          <p:cNvSpPr txBox="1"/>
          <p:nvPr/>
        </p:nvSpPr>
        <p:spPr>
          <a:xfrm>
            <a:off x="527049" y="1231900"/>
            <a:ext cx="4808632"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Integration unification</a:t>
            </a:r>
          </a:p>
        </p:txBody>
      </p:sp>
      <p:sp>
        <p:nvSpPr>
          <p:cNvPr id="11" name="TextBox 10">
            <a:extLst>
              <a:ext uri="{FF2B5EF4-FFF2-40B4-BE49-F238E27FC236}">
                <a16:creationId xmlns:a16="http://schemas.microsoft.com/office/drawing/2014/main" id="{31F3F7B7-F0C9-4E6B-A7AC-DE8CA8A4FA67}"/>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Enable effective business processes: </a:t>
            </a:r>
          </a:p>
        </p:txBody>
      </p:sp>
      <p:sp>
        <p:nvSpPr>
          <p:cNvPr id="12" name="!!NTEGRATION">
            <a:extLst>
              <a:ext uri="{FF2B5EF4-FFF2-40B4-BE49-F238E27FC236}">
                <a16:creationId xmlns:a16="http://schemas.microsoft.com/office/drawing/2014/main" id="{042368CA-BC73-43B1-8A1B-0C75A7E7298E}"/>
              </a:ext>
            </a:extLst>
          </p:cNvPr>
          <p:cNvSpPr/>
          <p:nvPr/>
        </p:nvSpPr>
        <p:spPr bwMode="auto">
          <a:xfrm>
            <a:off x="490630" y="1437490"/>
            <a:ext cx="3954370" cy="633341"/>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pic>
        <p:nvPicPr>
          <p:cNvPr id="4" name="mapping">
            <a:hlinkClick r:id="" action="ppaction://media"/>
            <a:extLst>
              <a:ext uri="{FF2B5EF4-FFF2-40B4-BE49-F238E27FC236}">
                <a16:creationId xmlns:a16="http://schemas.microsoft.com/office/drawing/2014/main" id="{EF7291D4-6B5B-4AD7-9E11-6A6CCCD8A791}"/>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256353" y="1308770"/>
            <a:ext cx="6666342" cy="3964565"/>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32800586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96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a:extLst>
              <a:ext uri="{FF2B5EF4-FFF2-40B4-BE49-F238E27FC236}">
                <a16:creationId xmlns:a16="http://schemas.microsoft.com/office/drawing/2014/main" id="{B339BC51-613C-2A47-848D-B7B5E179B1F1}"/>
              </a:ext>
            </a:extLst>
          </p:cNvPr>
          <p:cNvSpPr/>
          <p:nvPr/>
        </p:nvSpPr>
        <p:spPr>
          <a:xfrm>
            <a:off x="464976" y="2198512"/>
            <a:ext cx="3650836" cy="2824701"/>
          </a:xfrm>
          <a:prstGeom prst="roundRect">
            <a:avLst>
              <a:gd name="adj" fmla="val 3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ounded Rectangle 20">
            <a:extLst>
              <a:ext uri="{FF2B5EF4-FFF2-40B4-BE49-F238E27FC236}">
                <a16:creationId xmlns:a16="http://schemas.microsoft.com/office/drawing/2014/main" id="{3F9B8BA0-0163-6542-BE0E-802C9AB26981}"/>
              </a:ext>
            </a:extLst>
          </p:cNvPr>
          <p:cNvSpPr/>
          <p:nvPr/>
        </p:nvSpPr>
        <p:spPr>
          <a:xfrm>
            <a:off x="4266205" y="2198512"/>
            <a:ext cx="3650836" cy="2824701"/>
          </a:xfrm>
          <a:prstGeom prst="roundRect">
            <a:avLst>
              <a:gd name="adj" fmla="val 3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ounded Rectangle 21">
            <a:extLst>
              <a:ext uri="{FF2B5EF4-FFF2-40B4-BE49-F238E27FC236}">
                <a16:creationId xmlns:a16="http://schemas.microsoft.com/office/drawing/2014/main" id="{A51A8F66-210B-104D-8A5B-BBA6A2E54315}"/>
              </a:ext>
            </a:extLst>
          </p:cNvPr>
          <p:cNvSpPr/>
          <p:nvPr/>
        </p:nvSpPr>
        <p:spPr>
          <a:xfrm>
            <a:off x="8067435" y="2198512"/>
            <a:ext cx="3650836" cy="2824701"/>
          </a:xfrm>
          <a:prstGeom prst="roundRect">
            <a:avLst>
              <a:gd name="adj" fmla="val 3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0786507-7385-0942-AEE3-E94CE8422C35}"/>
              </a:ext>
            </a:extLst>
          </p:cNvPr>
          <p:cNvSpPr txBox="1">
            <a:spLocks/>
          </p:cNvSpPr>
          <p:nvPr/>
        </p:nvSpPr>
        <p:spPr>
          <a:xfrm>
            <a:off x="464976" y="466044"/>
            <a:ext cx="11262045" cy="6096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4000" b="0" i="0" kern="1200">
                <a:solidFill>
                  <a:schemeClr val="tx1"/>
                </a:solidFill>
                <a:latin typeface="Segoe UI Semibold" panose="020B0502040204020203" pitchFamily="34" charset="0"/>
                <a:ea typeface="+mj-ea"/>
                <a:cs typeface="Segoe UI Semibold" panose="020B0502040204020203" pitchFamily="34" charset="0"/>
              </a:defRPr>
            </a:lvl1pPr>
          </a:lstStyle>
          <a:p>
            <a:r>
              <a:rPr lang="en-US" dirty="0"/>
              <a:t>Why Microsoft Business Applications?</a:t>
            </a:r>
          </a:p>
        </p:txBody>
      </p:sp>
      <p:sp>
        <p:nvSpPr>
          <p:cNvPr id="3" name="Title 1">
            <a:extLst>
              <a:ext uri="{FF2B5EF4-FFF2-40B4-BE49-F238E27FC236}">
                <a16:creationId xmlns:a16="http://schemas.microsoft.com/office/drawing/2014/main" id="{3E871657-046E-654C-AE5E-29E29C2A4BCE}"/>
              </a:ext>
            </a:extLst>
          </p:cNvPr>
          <p:cNvSpPr txBox="1">
            <a:spLocks/>
          </p:cNvSpPr>
          <p:nvPr/>
        </p:nvSpPr>
        <p:spPr>
          <a:xfrm>
            <a:off x="464978" y="1066781"/>
            <a:ext cx="8686800" cy="530994"/>
          </a:xfrm>
          <a:prstGeom prst="rect">
            <a:avLst/>
          </a:prstGeom>
        </p:spPr>
        <p:txBody>
          <a:bodyPr vert="horz" lIns="0" tIns="0" rIns="0" bIns="0" rtlCol="0" anchor="t">
            <a:norm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black"/>
                </a:solidFill>
                <a:effectLst/>
                <a:uLnTx/>
                <a:uFillTx/>
                <a:latin typeface="Segoe UI" panose="020B0502040204020203" pitchFamily="34" charset="0"/>
                <a:cs typeface="Segoe UI" panose="020B0502040204020203" pitchFamily="34" charset="0"/>
              </a:defRPr>
            </a:lvl1pPr>
            <a:lvl2pPr indent="0">
              <a:lnSpc>
                <a:spcPct val="90000"/>
              </a:lnSpc>
              <a:spcBef>
                <a:spcPts val="500"/>
              </a:spcBef>
              <a:buFont typeface="Arial" panose="020B0604020202020204" pitchFamily="34" charset="0"/>
              <a:buNone/>
              <a:defRPr sz="2400" b="0" i="0">
                <a:latin typeface="Segoe UI Semibold" panose="020B0502040204020203" pitchFamily="34" charset="0"/>
                <a:cs typeface="Segoe UI Semibold" panose="020B0502040204020203" pitchFamily="34" charset="0"/>
              </a:defRPr>
            </a:lvl2pPr>
            <a:lvl3pPr indent="0">
              <a:lnSpc>
                <a:spcPct val="90000"/>
              </a:lnSpc>
              <a:spcBef>
                <a:spcPts val="500"/>
              </a:spcBef>
              <a:buFont typeface="Arial" panose="020B0604020202020204" pitchFamily="34" charset="0"/>
              <a:buNone/>
              <a:defRPr sz="2000" b="1">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noProof="0"/>
              <a:t>Build and grow a practice quickly with industry-leading innovation </a:t>
            </a:r>
          </a:p>
        </p:txBody>
      </p:sp>
      <p:grpSp>
        <p:nvGrpSpPr>
          <p:cNvPr id="20" name="Group 19">
            <a:extLst>
              <a:ext uri="{FF2B5EF4-FFF2-40B4-BE49-F238E27FC236}">
                <a16:creationId xmlns:a16="http://schemas.microsoft.com/office/drawing/2014/main" id="{EDB51AE5-A01F-884F-8511-D98EBD0AC2A8}"/>
              </a:ext>
            </a:extLst>
          </p:cNvPr>
          <p:cNvGrpSpPr/>
          <p:nvPr/>
        </p:nvGrpSpPr>
        <p:grpSpPr>
          <a:xfrm>
            <a:off x="750587" y="2400988"/>
            <a:ext cx="3197427" cy="2297828"/>
            <a:chOff x="917721" y="2704046"/>
            <a:chExt cx="3197427" cy="2297828"/>
          </a:xfrm>
        </p:grpSpPr>
        <p:pic>
          <p:nvPicPr>
            <p:cNvPr id="4" name="Picture Placeholder 35">
              <a:extLst>
                <a:ext uri="{FF2B5EF4-FFF2-40B4-BE49-F238E27FC236}">
                  <a16:creationId xmlns:a16="http://schemas.microsoft.com/office/drawing/2014/main" id="{64C9A59A-0AA5-5140-95E8-302F0542C4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50000" b="-50000"/>
            <a:stretch/>
          </p:blipFill>
          <p:spPr>
            <a:xfrm>
              <a:off x="917722" y="2704046"/>
              <a:ext cx="748680" cy="748680"/>
            </a:xfrm>
            <a:prstGeom prst="rect">
              <a:avLst/>
            </a:prstGeom>
          </p:spPr>
        </p:pic>
        <p:sp>
          <p:nvSpPr>
            <p:cNvPr id="7" name="Text Placeholder 2">
              <a:extLst>
                <a:ext uri="{FF2B5EF4-FFF2-40B4-BE49-F238E27FC236}">
                  <a16:creationId xmlns:a16="http://schemas.microsoft.com/office/drawing/2014/main" id="{6327C24D-DFC4-4142-9232-B68FA5B06284}"/>
                </a:ext>
              </a:extLst>
            </p:cNvPr>
            <p:cNvSpPr txBox="1">
              <a:spLocks/>
            </p:cNvSpPr>
            <p:nvPr/>
          </p:nvSpPr>
          <p:spPr>
            <a:xfrm>
              <a:off x="917722" y="3480123"/>
              <a:ext cx="2994062" cy="332399"/>
            </a:xfrm>
            <a:prstGeom prst="rect">
              <a:avLst/>
            </a:prstGeom>
          </p:spPr>
          <p:txBody>
            <a:bodyPr vert="horz" wrap="square" lIns="0" tIns="0" rIns="0" bIns="0" rtlCol="0" anchor="b">
              <a:spAutoFit/>
            </a:bodyPr>
            <a:lstStyle>
              <a:defPPr>
                <a:defRPr lang="en-US"/>
              </a:defPPr>
              <a:lvl1pPr lvl="0" indent="0">
                <a:lnSpc>
                  <a:spcPct val="90000"/>
                </a:lnSpc>
                <a:spcBef>
                  <a:spcPts val="1000"/>
                </a:spcBef>
                <a:buFont typeface="Arial" panose="020B0604020202020204" pitchFamily="34" charset="0"/>
                <a:buNone/>
                <a:defRPr b="1" i="0" baseline="0">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b="1" i="0">
                  <a:latin typeface="Segoe UI Semibold" panose="020B0502040204020203" pitchFamily="34" charset="0"/>
                  <a:cs typeface="Segoe UI Semibold" panose="020B0502040204020203" pitchFamily="34" charset="0"/>
                </a:defRPr>
              </a:lvl2pPr>
              <a:lvl3pPr marL="1143000" indent="-228600">
                <a:lnSpc>
                  <a:spcPct val="90000"/>
                </a:lnSpc>
                <a:spcBef>
                  <a:spcPts val="500"/>
                </a:spcBef>
                <a:buFont typeface="Arial" panose="020B0604020202020204" pitchFamily="34" charset="0"/>
                <a:buChar char="•"/>
                <a:defRPr sz="2000" b="1" i="0">
                  <a:latin typeface="Segoe UI Semibold" panose="020B0502040204020203" pitchFamily="34" charset="0"/>
                  <a:cs typeface="Segoe UI Semibold" panose="020B0502040204020203" pitchFamily="34" charset="0"/>
                </a:defRPr>
              </a:lvl3pPr>
              <a:lvl4pPr marL="1600200" indent="-228600">
                <a:lnSpc>
                  <a:spcPct val="90000"/>
                </a:lnSpc>
                <a:spcBef>
                  <a:spcPts val="500"/>
                </a:spcBef>
                <a:buFont typeface="Arial" panose="020B0604020202020204" pitchFamily="34" charset="0"/>
                <a:buChar char="•"/>
                <a:defRPr b="1" i="0">
                  <a:latin typeface="Segoe UI" panose="020B0502040204020203" pitchFamily="34" charset="0"/>
                  <a:cs typeface="Segoe UI" panose="020B0502040204020203" pitchFamily="34" charset="0"/>
                </a:defRPr>
              </a:lvl4pPr>
              <a:lvl5pPr marL="2057400" indent="-228600">
                <a:lnSpc>
                  <a:spcPct val="90000"/>
                </a:lnSpc>
                <a:spcBef>
                  <a:spcPts val="500"/>
                </a:spcBef>
                <a:buFont typeface="Arial" panose="020B0604020202020204" pitchFamily="34" charset="0"/>
                <a:buChar char="•"/>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400" noProof="0" dirty="0"/>
                <a:t>Lead with innovation</a:t>
              </a:r>
            </a:p>
          </p:txBody>
        </p:sp>
        <p:sp>
          <p:nvSpPr>
            <p:cNvPr id="10" name="Text Placeholder 20">
              <a:extLst>
                <a:ext uri="{FF2B5EF4-FFF2-40B4-BE49-F238E27FC236}">
                  <a16:creationId xmlns:a16="http://schemas.microsoft.com/office/drawing/2014/main" id="{8E114B17-8679-8344-9E00-3AB339296EE9}"/>
                </a:ext>
              </a:extLst>
            </p:cNvPr>
            <p:cNvSpPr txBox="1">
              <a:spLocks/>
            </p:cNvSpPr>
            <p:nvPr/>
          </p:nvSpPr>
          <p:spPr>
            <a:xfrm>
              <a:off x="917721" y="3801545"/>
              <a:ext cx="3197427" cy="1200329"/>
            </a:xfrm>
            <a:prstGeom prst="rect">
              <a:avLst/>
            </a:prstGeom>
          </p:spPr>
          <p:txBody>
            <a:bodyPr vert="horz" wrap="square" lIns="0" tIns="9144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tx1"/>
                  </a:solidFill>
                  <a:latin typeface="Segoe UI Semibold" panose="020B0502040204020203" pitchFamily="34" charset="0"/>
                  <a:ea typeface="+mn-ea"/>
                  <a:cs typeface="Segoe UI Semibold"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rPr>
                <a:t>Modular, highly customizable apps built on a unified platform of common data services, AI, and business intelligence can help you </a:t>
              </a:r>
              <a:r>
                <a:rPr kumimoji="0" lang="en-US" sz="1600" b="1" u="none" strike="noStrike" kern="1200" cap="none" spc="0" normalizeH="0" baseline="0" noProof="0" dirty="0">
                  <a:ln>
                    <a:noFill/>
                  </a:ln>
                  <a:solidFill>
                    <a:sysClr val="windowText" lastClr="000000"/>
                  </a:solidFill>
                  <a:effectLst/>
                  <a:uLnTx/>
                  <a:uFillTx/>
                </a:rPr>
                <a:t>differentiate your offerings</a:t>
              </a:r>
              <a:r>
                <a:rPr kumimoji="0" lang="en-US" sz="1600" b="0" i="0" u="none" strike="noStrike" kern="120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rPr>
                <a:t>.</a:t>
              </a:r>
            </a:p>
          </p:txBody>
        </p:sp>
      </p:grpSp>
      <p:grpSp>
        <p:nvGrpSpPr>
          <p:cNvPr id="19" name="Group 18">
            <a:extLst>
              <a:ext uri="{FF2B5EF4-FFF2-40B4-BE49-F238E27FC236}">
                <a16:creationId xmlns:a16="http://schemas.microsoft.com/office/drawing/2014/main" id="{FF2F8437-0262-8343-81C1-D4C3357284C6}"/>
              </a:ext>
            </a:extLst>
          </p:cNvPr>
          <p:cNvGrpSpPr/>
          <p:nvPr/>
        </p:nvGrpSpPr>
        <p:grpSpPr>
          <a:xfrm>
            <a:off x="4473945" y="2455288"/>
            <a:ext cx="3296334" cy="2021929"/>
            <a:chOff x="4598304" y="2758346"/>
            <a:chExt cx="3296334" cy="2021929"/>
          </a:xfrm>
        </p:grpSpPr>
        <p:pic>
          <p:nvPicPr>
            <p:cNvPr id="5" name="Picture Placeholder 34">
              <a:extLst>
                <a:ext uri="{FF2B5EF4-FFF2-40B4-BE49-F238E27FC236}">
                  <a16:creationId xmlns:a16="http://schemas.microsoft.com/office/drawing/2014/main" id="{63394873-ED91-304D-A7C4-51377DAC700F}"/>
                </a:ext>
              </a:extLst>
            </p:cNvPr>
            <p:cNvPicPr>
              <a:picLocks noChangeAspect="1"/>
            </p:cNvPicPr>
            <p:nvPr/>
          </p:nvPicPr>
          <p:blipFill>
            <a:blip r:embed="rId4"/>
            <a:srcRect/>
            <a:stretch>
              <a:fillRect/>
            </a:stretch>
          </p:blipFill>
          <p:spPr>
            <a:xfrm>
              <a:off x="4605043" y="2758346"/>
              <a:ext cx="640080" cy="640080"/>
            </a:xfrm>
            <a:prstGeom prst="rect">
              <a:avLst/>
            </a:prstGeom>
          </p:spPr>
        </p:pic>
        <p:sp>
          <p:nvSpPr>
            <p:cNvPr id="8" name="Text Placeholder 18">
              <a:extLst>
                <a:ext uri="{FF2B5EF4-FFF2-40B4-BE49-F238E27FC236}">
                  <a16:creationId xmlns:a16="http://schemas.microsoft.com/office/drawing/2014/main" id="{3279C959-0365-C542-A8F6-48EB87EB2A85}"/>
                </a:ext>
              </a:extLst>
            </p:cNvPr>
            <p:cNvSpPr txBox="1">
              <a:spLocks/>
            </p:cNvSpPr>
            <p:nvPr/>
          </p:nvSpPr>
          <p:spPr>
            <a:xfrm>
              <a:off x="4598304" y="3480123"/>
              <a:ext cx="3296334" cy="332399"/>
            </a:xfrm>
            <a:prstGeom prst="rect">
              <a:avLst/>
            </a:prstGeom>
          </p:spPr>
          <p:txBody>
            <a:bodyPr vert="horz" lIns="0" tIns="0" rIns="0" bIns="0" rtlCol="0" anchor="b">
              <a:spAutoFit/>
            </a:bodyPr>
            <a:lstStyle>
              <a:defPPr>
                <a:defRPr lang="en-US"/>
              </a:defPPr>
              <a:lvl1pPr lvl="0" indent="0">
                <a:lnSpc>
                  <a:spcPct val="90000"/>
                </a:lnSpc>
                <a:spcBef>
                  <a:spcPts val="1000"/>
                </a:spcBef>
                <a:buFont typeface="Arial" panose="020B0604020202020204" pitchFamily="34" charset="0"/>
                <a:buNone/>
                <a:defRPr b="1" i="0" baseline="0">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b="1" i="0">
                  <a:latin typeface="Segoe UI Semibold" panose="020B0502040204020203" pitchFamily="34" charset="0"/>
                  <a:cs typeface="Segoe UI Semibold" panose="020B0502040204020203" pitchFamily="34" charset="0"/>
                </a:defRPr>
              </a:lvl2pPr>
              <a:lvl3pPr marL="1143000" indent="-228600">
                <a:lnSpc>
                  <a:spcPct val="90000"/>
                </a:lnSpc>
                <a:spcBef>
                  <a:spcPts val="500"/>
                </a:spcBef>
                <a:buFont typeface="Arial" panose="020B0604020202020204" pitchFamily="34" charset="0"/>
                <a:buChar char="•"/>
                <a:defRPr sz="2000" b="1" i="0">
                  <a:latin typeface="Segoe UI Semibold" panose="020B0502040204020203" pitchFamily="34" charset="0"/>
                  <a:cs typeface="Segoe UI Semibold" panose="020B0502040204020203" pitchFamily="34" charset="0"/>
                </a:defRPr>
              </a:lvl3pPr>
              <a:lvl4pPr marL="1600200" indent="-228600">
                <a:lnSpc>
                  <a:spcPct val="90000"/>
                </a:lnSpc>
                <a:spcBef>
                  <a:spcPts val="500"/>
                </a:spcBef>
                <a:buFont typeface="Arial" panose="020B0604020202020204" pitchFamily="34" charset="0"/>
                <a:buChar char="•"/>
                <a:defRPr b="1" i="0">
                  <a:latin typeface="Segoe UI" panose="020B0502040204020203" pitchFamily="34" charset="0"/>
                  <a:cs typeface="Segoe UI" panose="020B0502040204020203" pitchFamily="34" charset="0"/>
                </a:defRPr>
              </a:lvl4pPr>
              <a:lvl5pPr marL="2057400" indent="-228600">
                <a:lnSpc>
                  <a:spcPct val="90000"/>
                </a:lnSpc>
                <a:spcBef>
                  <a:spcPts val="500"/>
                </a:spcBef>
                <a:buFont typeface="Arial" panose="020B0604020202020204" pitchFamily="34" charset="0"/>
                <a:buChar char="•"/>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400" noProof="0" dirty="0"/>
                <a:t>Build on your strengths</a:t>
              </a:r>
            </a:p>
          </p:txBody>
        </p:sp>
        <p:sp>
          <p:nvSpPr>
            <p:cNvPr id="11" name="Text Placeholder 21">
              <a:extLst>
                <a:ext uri="{FF2B5EF4-FFF2-40B4-BE49-F238E27FC236}">
                  <a16:creationId xmlns:a16="http://schemas.microsoft.com/office/drawing/2014/main" id="{0EA4A2DB-084B-934B-BE78-3145C1AAC124}"/>
                </a:ext>
              </a:extLst>
            </p:cNvPr>
            <p:cNvSpPr txBox="1">
              <a:spLocks/>
            </p:cNvSpPr>
            <p:nvPr/>
          </p:nvSpPr>
          <p:spPr>
            <a:xfrm>
              <a:off x="4598304" y="3801546"/>
              <a:ext cx="3143616" cy="978729"/>
            </a:xfrm>
            <a:prstGeom prst="rect">
              <a:avLst/>
            </a:prstGeom>
          </p:spPr>
          <p:txBody>
            <a:bodyPr vert="horz" wrap="square" lIns="0" tIns="9144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tx1"/>
                  </a:solidFill>
                  <a:latin typeface="Segoe UI Semibold" panose="020B0502040204020203" pitchFamily="34" charset="0"/>
                  <a:ea typeface="+mn-ea"/>
                  <a:cs typeface="Segoe UI Semibold"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rPr>
                <a:t>Microsoft makes it </a:t>
              </a:r>
              <a:r>
                <a:rPr lang="en-US" sz="1600" b="1" dirty="0">
                  <a:solidFill>
                    <a:sysClr val="windowText" lastClr="000000"/>
                  </a:solidFill>
                </a:rPr>
                <a:t>easier to enter new markets</a:t>
              </a:r>
              <a:r>
                <a:rPr kumimoji="0" lang="en-US" sz="1600" b="0" i="0" u="none" strike="noStrike" kern="120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rPr>
                <a:t> using the Microsoft development and management tools you already know.</a:t>
              </a:r>
            </a:p>
          </p:txBody>
        </p:sp>
      </p:grpSp>
      <p:grpSp>
        <p:nvGrpSpPr>
          <p:cNvPr id="18" name="Group 17">
            <a:extLst>
              <a:ext uri="{FF2B5EF4-FFF2-40B4-BE49-F238E27FC236}">
                <a16:creationId xmlns:a16="http://schemas.microsoft.com/office/drawing/2014/main" id="{8ACC228F-74A1-1D4B-961A-24537B88EC49}"/>
              </a:ext>
            </a:extLst>
          </p:cNvPr>
          <p:cNvGrpSpPr/>
          <p:nvPr/>
        </p:nvGrpSpPr>
        <p:grpSpPr>
          <a:xfrm>
            <a:off x="8361793" y="2455288"/>
            <a:ext cx="3079619" cy="2021929"/>
            <a:chOff x="8581157" y="2758346"/>
            <a:chExt cx="3079619" cy="2021929"/>
          </a:xfrm>
        </p:grpSpPr>
        <p:pic>
          <p:nvPicPr>
            <p:cNvPr id="6" name="Picture Placeholder 36">
              <a:extLst>
                <a:ext uri="{FF2B5EF4-FFF2-40B4-BE49-F238E27FC236}">
                  <a16:creationId xmlns:a16="http://schemas.microsoft.com/office/drawing/2014/main" id="{2B50810E-74B0-D44C-8DAD-7E768246D306}"/>
                </a:ext>
              </a:extLst>
            </p:cNvPr>
            <p:cNvPicPr>
              <a:picLocks noChangeAspect="1"/>
            </p:cNvPicPr>
            <p:nvPr/>
          </p:nvPicPr>
          <p:blipFill rotWithShape="1">
            <a:blip r:embed="rId5"/>
            <a:srcRect/>
            <a:stretch/>
          </p:blipFill>
          <p:spPr>
            <a:xfrm>
              <a:off x="8581158" y="2758346"/>
              <a:ext cx="640080" cy="640080"/>
            </a:xfrm>
            <a:prstGeom prst="rect">
              <a:avLst/>
            </a:prstGeom>
          </p:spPr>
        </p:pic>
        <p:sp>
          <p:nvSpPr>
            <p:cNvPr id="9" name="Text Placeholder 19">
              <a:extLst>
                <a:ext uri="{FF2B5EF4-FFF2-40B4-BE49-F238E27FC236}">
                  <a16:creationId xmlns:a16="http://schemas.microsoft.com/office/drawing/2014/main" id="{401BC722-61CC-A74B-9C63-0C4CD1DEA385}"/>
                </a:ext>
              </a:extLst>
            </p:cNvPr>
            <p:cNvSpPr txBox="1">
              <a:spLocks/>
            </p:cNvSpPr>
            <p:nvPr/>
          </p:nvSpPr>
          <p:spPr>
            <a:xfrm>
              <a:off x="8581158" y="3480123"/>
              <a:ext cx="3079618" cy="332399"/>
            </a:xfrm>
            <a:prstGeom prst="rect">
              <a:avLst/>
            </a:prstGeom>
          </p:spPr>
          <p:txBody>
            <a:bodyPr vert="horz" wrap="square" lIns="0" tIns="0" rIns="0" bIns="0" rtlCol="0" anchor="b">
              <a:spAutoFit/>
            </a:bodyPr>
            <a:lstStyle>
              <a:defPPr>
                <a:defRPr lang="en-US"/>
              </a:defPPr>
              <a:lvl1pPr lvl="0" indent="0">
                <a:lnSpc>
                  <a:spcPct val="90000"/>
                </a:lnSpc>
                <a:spcBef>
                  <a:spcPts val="1000"/>
                </a:spcBef>
                <a:buFont typeface="Arial" panose="020B0604020202020204" pitchFamily="34" charset="0"/>
                <a:buNone/>
                <a:defRPr b="1" i="0" baseline="0">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b="1" i="0">
                  <a:latin typeface="Segoe UI Semibold" panose="020B0502040204020203" pitchFamily="34" charset="0"/>
                  <a:cs typeface="Segoe UI Semibold" panose="020B0502040204020203" pitchFamily="34" charset="0"/>
                </a:defRPr>
              </a:lvl2pPr>
              <a:lvl3pPr marL="1143000" indent="-228600">
                <a:lnSpc>
                  <a:spcPct val="90000"/>
                </a:lnSpc>
                <a:spcBef>
                  <a:spcPts val="500"/>
                </a:spcBef>
                <a:buFont typeface="Arial" panose="020B0604020202020204" pitchFamily="34" charset="0"/>
                <a:buChar char="•"/>
                <a:defRPr sz="2000" b="1" i="0">
                  <a:latin typeface="Segoe UI Semibold" panose="020B0502040204020203" pitchFamily="34" charset="0"/>
                  <a:cs typeface="Segoe UI Semibold" panose="020B0502040204020203" pitchFamily="34" charset="0"/>
                </a:defRPr>
              </a:lvl3pPr>
              <a:lvl4pPr marL="1600200" indent="-228600">
                <a:lnSpc>
                  <a:spcPct val="90000"/>
                </a:lnSpc>
                <a:spcBef>
                  <a:spcPts val="500"/>
                </a:spcBef>
                <a:buFont typeface="Arial" panose="020B0604020202020204" pitchFamily="34" charset="0"/>
                <a:buChar char="•"/>
                <a:defRPr b="1" i="0">
                  <a:latin typeface="Segoe UI" panose="020B0502040204020203" pitchFamily="34" charset="0"/>
                  <a:cs typeface="Segoe UI" panose="020B0502040204020203" pitchFamily="34" charset="0"/>
                </a:defRPr>
              </a:lvl4pPr>
              <a:lvl5pPr marL="2057400" indent="-228600">
                <a:lnSpc>
                  <a:spcPct val="90000"/>
                </a:lnSpc>
                <a:spcBef>
                  <a:spcPts val="500"/>
                </a:spcBef>
                <a:buFont typeface="Arial" panose="020B0604020202020204" pitchFamily="34" charset="0"/>
                <a:buChar char="•"/>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400" noProof="0" dirty="0"/>
                <a:t>Broaden your reach</a:t>
              </a:r>
            </a:p>
          </p:txBody>
        </p:sp>
        <p:sp>
          <p:nvSpPr>
            <p:cNvPr id="12" name="Text Placeholder 22">
              <a:extLst>
                <a:ext uri="{FF2B5EF4-FFF2-40B4-BE49-F238E27FC236}">
                  <a16:creationId xmlns:a16="http://schemas.microsoft.com/office/drawing/2014/main" id="{529970B3-CCBE-5F49-AF42-1A0326896106}"/>
                </a:ext>
              </a:extLst>
            </p:cNvPr>
            <p:cNvSpPr txBox="1">
              <a:spLocks/>
            </p:cNvSpPr>
            <p:nvPr/>
          </p:nvSpPr>
          <p:spPr>
            <a:xfrm>
              <a:off x="8581157" y="3801546"/>
              <a:ext cx="3079619" cy="978729"/>
            </a:xfrm>
            <a:prstGeom prst="rect">
              <a:avLst/>
            </a:prstGeom>
          </p:spPr>
          <p:txBody>
            <a:bodyPr vert="horz" wrap="square" lIns="0" tIns="9144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tx1"/>
                  </a:solidFill>
                  <a:latin typeface="Segoe UI Semibold" panose="020B0502040204020203" pitchFamily="34" charset="0"/>
                  <a:ea typeface="+mn-ea"/>
                  <a:cs typeface="Segoe UI Semibold"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b="1" dirty="0">
                  <a:solidFill>
                    <a:sysClr val="windowText" lastClr="000000"/>
                  </a:solidFill>
                </a:rPr>
                <a:t>Accelerate business results </a:t>
              </a:r>
              <a:r>
                <a:rPr kumimoji="0" lang="en-US" sz="1600" b="0" i="0" u="none" strike="noStrike" kern="120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rPr>
                <a:t>with Microsoft partner marketing resources that increase the impact and visibility of your services.</a:t>
              </a:r>
            </a:p>
          </p:txBody>
        </p:sp>
      </p:grpSp>
    </p:spTree>
    <p:extLst>
      <p:ext uri="{BB962C8B-B14F-4D97-AF65-F5344CB8AC3E}">
        <p14:creationId xmlns:p14="http://schemas.microsoft.com/office/powerpoint/2010/main" val="93787644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15">
            <a:extLst>
              <a:ext uri="{FF2B5EF4-FFF2-40B4-BE49-F238E27FC236}">
                <a16:creationId xmlns:a16="http://schemas.microsoft.com/office/drawing/2014/main" id="{94397398-0FB7-3F45-93A2-DFFDD89A377A}"/>
              </a:ext>
            </a:extLst>
          </p:cNvPr>
          <p:cNvSpPr/>
          <p:nvPr/>
        </p:nvSpPr>
        <p:spPr>
          <a:xfrm>
            <a:off x="8532061" y="4036492"/>
            <a:ext cx="3160238" cy="1675764"/>
          </a:xfrm>
          <a:prstGeom prst="roundRect">
            <a:avLst>
              <a:gd name="adj" fmla="val 768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4">
            <a:extLst>
              <a:ext uri="{FF2B5EF4-FFF2-40B4-BE49-F238E27FC236}">
                <a16:creationId xmlns:a16="http://schemas.microsoft.com/office/drawing/2014/main" id="{0FCF36AC-5F4A-2D49-8E9C-972D90B53793}"/>
              </a:ext>
            </a:extLst>
          </p:cNvPr>
          <p:cNvSpPr/>
          <p:nvPr/>
        </p:nvSpPr>
        <p:spPr>
          <a:xfrm>
            <a:off x="464976" y="1676802"/>
            <a:ext cx="3160238" cy="1675764"/>
          </a:xfrm>
          <a:prstGeom prst="roundRect">
            <a:avLst>
              <a:gd name="adj" fmla="val 768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0786507-7385-0942-AEE3-E94CE8422C35}"/>
              </a:ext>
            </a:extLst>
          </p:cNvPr>
          <p:cNvSpPr txBox="1">
            <a:spLocks/>
          </p:cNvSpPr>
          <p:nvPr/>
        </p:nvSpPr>
        <p:spPr>
          <a:xfrm>
            <a:off x="464977" y="466044"/>
            <a:ext cx="7771880" cy="6096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4000" b="0" i="0" kern="1200">
                <a:solidFill>
                  <a:schemeClr val="tx1"/>
                </a:solidFill>
                <a:latin typeface="Segoe UI Semibold" panose="020B0502040204020203" pitchFamily="34" charset="0"/>
                <a:ea typeface="+mj-ea"/>
                <a:cs typeface="Segoe UI Semibold" panose="020B0502040204020203" pitchFamily="34" charset="0"/>
              </a:defRPr>
            </a:lvl1pPr>
          </a:lstStyle>
          <a:p>
            <a:r>
              <a:rPr lang="en-US"/>
              <a:t>Lead with Innovation</a:t>
            </a:r>
          </a:p>
        </p:txBody>
      </p:sp>
      <p:pic>
        <p:nvPicPr>
          <p:cNvPr id="8" name="Picture 7" descr="Image result for ebecs logo">
            <a:extLst>
              <a:ext uri="{FF2B5EF4-FFF2-40B4-BE49-F238E27FC236}">
                <a16:creationId xmlns:a16="http://schemas.microsoft.com/office/drawing/2014/main" id="{C3A6F8A7-8C2C-E34C-8CB6-3F79EF70148D}"/>
              </a:ext>
            </a:extLst>
          </p:cNvPr>
          <p:cNvPicPr>
            <a:picLocks noChangeAspect="1" noChangeArrowheads="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43071" y="2100631"/>
            <a:ext cx="2604047" cy="82810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Image result for rsm logo">
            <a:extLst>
              <a:ext uri="{FF2B5EF4-FFF2-40B4-BE49-F238E27FC236}">
                <a16:creationId xmlns:a16="http://schemas.microsoft.com/office/drawing/2014/main" id="{09F8DC68-C6BE-7A49-9336-1ADD40F5699F}"/>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062686" y="4429616"/>
            <a:ext cx="2098987" cy="881573"/>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61244C6-247B-3143-AF70-6464DE0BF32B}"/>
              </a:ext>
            </a:extLst>
          </p:cNvPr>
          <p:cNvSpPr/>
          <p:nvPr/>
        </p:nvSpPr>
        <p:spPr>
          <a:xfrm>
            <a:off x="3908926" y="1795168"/>
            <a:ext cx="7611466" cy="1523494"/>
          </a:xfrm>
          <a:prstGeom prst="rect">
            <a:avLst/>
          </a:prstGeom>
        </p:spPr>
        <p:txBody>
          <a:bodyPr wrap="square">
            <a:spAutoFit/>
          </a:bodyPr>
          <a:lstStyle/>
          <a:p>
            <a:pPr>
              <a:spcAft>
                <a:spcPts val="600"/>
              </a:spcAft>
            </a:pPr>
            <a:r>
              <a:rPr lang="en-US" sz="2400" dirty="0">
                <a:latin typeface="Segoe UI" panose="020B0502040204020203" pitchFamily="34" charset="0"/>
                <a:cs typeface="Segoe UI" panose="020B0502040204020203" pitchFamily="34" charset="0"/>
              </a:rPr>
              <a:t>“We chose to partner with Microsoft because we trusted that they would constantly innovate and offer the industry-leading solution set.”</a:t>
            </a:r>
          </a:p>
          <a:p>
            <a:pPr algn="r"/>
            <a:r>
              <a:rPr lang="en-US" sz="1600" b="1" dirty="0">
                <a:latin typeface="Segoe UI" panose="020B0502040204020203" pitchFamily="34" charset="0"/>
                <a:cs typeface="Segoe UI" panose="020B0502040204020203" pitchFamily="34" charset="0"/>
              </a:rPr>
              <a:t>Sam </a:t>
            </a:r>
            <a:r>
              <a:rPr lang="en-US" sz="1600" b="1" dirty="0" err="1">
                <a:latin typeface="Segoe UI" panose="020B0502040204020203" pitchFamily="34" charset="0"/>
                <a:cs typeface="Segoe UI" panose="020B0502040204020203" pitchFamily="34" charset="0"/>
              </a:rPr>
              <a:t>Dharmasiri</a:t>
            </a:r>
            <a:r>
              <a:rPr lang="en-US" sz="1600" b="1" dirty="0">
                <a:latin typeface="Segoe UI" panose="020B0502040204020203" pitchFamily="34" charset="0"/>
                <a:cs typeface="Segoe UI" panose="020B0502040204020203" pitchFamily="34" charset="0"/>
              </a:rPr>
              <a:t>, </a:t>
            </a:r>
            <a:r>
              <a:rPr lang="en-US" sz="1600" dirty="0">
                <a:latin typeface="Segoe UI" panose="020B0502040204020203" pitchFamily="34" charset="0"/>
                <a:cs typeface="Segoe UI" panose="020B0502040204020203" pitchFamily="34" charset="0"/>
              </a:rPr>
              <a:t>Director, </a:t>
            </a:r>
            <a:r>
              <a:rPr lang="en-US" sz="1600" dirty="0" err="1">
                <a:latin typeface="Segoe UI" panose="020B0502040204020203" pitchFamily="34" charset="0"/>
                <a:cs typeface="Segoe UI" panose="020B0502040204020203" pitchFamily="34" charset="0"/>
              </a:rPr>
              <a:t>eBECS</a:t>
            </a:r>
            <a:endParaRPr lang="en-US" sz="2400" dirty="0">
              <a:latin typeface="Segoe UI" panose="020B0502040204020203" pitchFamily="34" charset="0"/>
              <a:cs typeface="Segoe UI" panose="020B0502040204020203" pitchFamily="34" charset="0"/>
            </a:endParaRPr>
          </a:p>
        </p:txBody>
      </p:sp>
      <p:sp>
        <p:nvSpPr>
          <p:cNvPr id="15" name="Rectangle 14">
            <a:extLst>
              <a:ext uri="{FF2B5EF4-FFF2-40B4-BE49-F238E27FC236}">
                <a16:creationId xmlns:a16="http://schemas.microsoft.com/office/drawing/2014/main" id="{B3362BCE-6940-E942-8164-DB09B2E9065F}"/>
              </a:ext>
            </a:extLst>
          </p:cNvPr>
          <p:cNvSpPr/>
          <p:nvPr/>
        </p:nvSpPr>
        <p:spPr>
          <a:xfrm>
            <a:off x="591930" y="4108656"/>
            <a:ext cx="7611466" cy="1523494"/>
          </a:xfrm>
          <a:prstGeom prst="rect">
            <a:avLst/>
          </a:prstGeom>
        </p:spPr>
        <p:txBody>
          <a:bodyPr wrap="square">
            <a:spAutoFit/>
          </a:bodyPr>
          <a:lstStyle/>
          <a:p>
            <a:pPr>
              <a:spcAft>
                <a:spcPts val="600"/>
              </a:spcAft>
            </a:pPr>
            <a:r>
              <a:rPr lang="en-US" sz="2400" dirty="0">
                <a:latin typeface="Segoe UI" panose="020B0502040204020203" pitchFamily="34" charset="0"/>
                <a:cs typeface="Segoe UI" panose="020B0502040204020203" pitchFamily="34" charset="0"/>
              </a:rPr>
              <a:t>“Partnering with Microsoft is the best bet if you want to future-proof your company. Their investment in innovation is unparalleled.”</a:t>
            </a:r>
          </a:p>
          <a:p>
            <a:pPr algn="r"/>
            <a:r>
              <a:rPr lang="en-US" sz="1600" b="1" dirty="0">
                <a:latin typeface="Segoe UI" panose="020B0502040204020203" pitchFamily="34" charset="0"/>
                <a:cs typeface="Segoe UI" panose="020B0502040204020203" pitchFamily="34" charset="0"/>
              </a:rPr>
              <a:t>Christian </a:t>
            </a:r>
            <a:r>
              <a:rPr lang="en-US" sz="1600" b="1" dirty="0" err="1">
                <a:latin typeface="Segoe UI" panose="020B0502040204020203" pitchFamily="34" charset="0"/>
                <a:cs typeface="Segoe UI" panose="020B0502040204020203" pitchFamily="34" charset="0"/>
              </a:rPr>
              <a:t>Hutter</a:t>
            </a:r>
            <a:r>
              <a:rPr lang="en-US" sz="1600" b="1" dirty="0">
                <a:latin typeface="Segoe UI" panose="020B0502040204020203" pitchFamily="34" charset="0"/>
                <a:cs typeface="Segoe UI" panose="020B0502040204020203" pitchFamily="34" charset="0"/>
              </a:rPr>
              <a:t>, </a:t>
            </a:r>
            <a:r>
              <a:rPr lang="en-US" sz="1600" dirty="0">
                <a:latin typeface="Segoe UI" panose="020B0502040204020203" pitchFamily="34" charset="0"/>
                <a:cs typeface="Segoe UI" panose="020B0502040204020203" pitchFamily="34" charset="0"/>
              </a:rPr>
              <a:t>Principal, RSM</a:t>
            </a:r>
            <a:endParaRPr lang="en-US" sz="2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8684183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D5681F6-8DDE-9341-807E-B06B7B4957B3}"/>
              </a:ext>
            </a:extLst>
          </p:cNvPr>
          <p:cNvSpPr txBox="1">
            <a:spLocks/>
          </p:cNvSpPr>
          <p:nvPr/>
        </p:nvSpPr>
        <p:spPr>
          <a:xfrm>
            <a:off x="457200" y="457200"/>
            <a:ext cx="11277600" cy="521208"/>
          </a:xfrm>
          <a:prstGeom prst="rect">
            <a:avLst/>
          </a:prstGeom>
        </p:spPr>
        <p:txBody>
          <a:bodyPr vert="horz" lIns="0" tIns="0" rIns="0" bIns="0" rtlCol="0" anchor="t">
            <a:noAutofit/>
          </a:bodyPr>
          <a:lstStyle>
            <a:defPPr>
              <a:defRPr lang="en-US"/>
            </a:defPPr>
            <a:lvl1pPr>
              <a:lnSpc>
                <a:spcPct val="90000"/>
              </a:lnSpc>
              <a:spcBef>
                <a:spcPct val="0"/>
              </a:spcBef>
              <a:buNone/>
              <a:defRPr sz="4000" b="0" i="0">
                <a:latin typeface="Segoe UI Semibold" panose="020B0502040204020203" pitchFamily="34" charset="0"/>
                <a:ea typeface="+mj-ea"/>
                <a:cs typeface="Segoe UI Semibold" panose="020B0502040204020203" pitchFamily="34" charset="0"/>
              </a:defRPr>
            </a:lvl1pPr>
          </a:lstStyle>
          <a:p>
            <a:pPr lvl="0"/>
            <a:r>
              <a:rPr lang="en-US" noProof="0"/>
              <a:t>Microsoft Business Applications ecosystem</a:t>
            </a:r>
          </a:p>
        </p:txBody>
      </p:sp>
      <p:sp>
        <p:nvSpPr>
          <p:cNvPr id="4" name="Power platform">
            <a:extLst>
              <a:ext uri="{FF2B5EF4-FFF2-40B4-BE49-F238E27FC236}">
                <a16:creationId xmlns:a16="http://schemas.microsoft.com/office/drawing/2014/main" id="{C8729883-24DD-D848-9B24-10A8A902940C}"/>
              </a:ext>
            </a:extLst>
          </p:cNvPr>
          <p:cNvSpPr txBox="1"/>
          <p:nvPr/>
        </p:nvSpPr>
        <p:spPr>
          <a:xfrm>
            <a:off x="4852245" y="5496394"/>
            <a:ext cx="2460624" cy="217243"/>
          </a:xfrm>
          <a:prstGeom prst="rect">
            <a:avLst/>
          </a:prstGeom>
          <a:noFill/>
        </p:spPr>
        <p:txBody>
          <a:bodyPr wrap="square" lIns="0" tIns="0" rIns="0" bIns="0" rtlCol="0">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a:ln>
                  <a:noFill/>
                </a:ln>
                <a:solidFill>
                  <a:srgbClr val="1A1A1A"/>
                </a:solidFill>
                <a:effectLst/>
                <a:uLnTx/>
                <a:uFillTx/>
                <a:latin typeface="Segoe UI Semibold"/>
                <a:ea typeface="+mn-ea"/>
                <a:cs typeface="+mn-cs"/>
              </a:rPr>
              <a:t>Power Platform</a:t>
            </a:r>
          </a:p>
        </p:txBody>
      </p:sp>
      <p:grpSp>
        <p:nvGrpSpPr>
          <p:cNvPr id="5" name="Group 4">
            <a:extLst>
              <a:ext uri="{FF2B5EF4-FFF2-40B4-BE49-F238E27FC236}">
                <a16:creationId xmlns:a16="http://schemas.microsoft.com/office/drawing/2014/main" id="{0FFE1856-CB9C-FA45-887C-E2B6EE1AA8D2}"/>
              </a:ext>
            </a:extLst>
          </p:cNvPr>
          <p:cNvGrpSpPr/>
          <p:nvPr/>
        </p:nvGrpSpPr>
        <p:grpSpPr>
          <a:xfrm>
            <a:off x="4062435" y="5779842"/>
            <a:ext cx="4065434" cy="741976"/>
            <a:chOff x="3972785" y="5779842"/>
            <a:chExt cx="4065434" cy="741976"/>
          </a:xfrm>
        </p:grpSpPr>
        <p:cxnSp>
          <p:nvCxnSpPr>
            <p:cNvPr id="6" name="PP LINE">
              <a:extLst>
                <a:ext uri="{FF2B5EF4-FFF2-40B4-BE49-F238E27FC236}">
                  <a16:creationId xmlns:a16="http://schemas.microsoft.com/office/drawing/2014/main" id="{FFE8BC38-BFB3-E242-A02D-2C9359F18472}"/>
                </a:ext>
              </a:extLst>
            </p:cNvPr>
            <p:cNvCxnSpPr>
              <a:cxnSpLocks/>
            </p:cNvCxnSpPr>
            <p:nvPr userDrawn="1"/>
          </p:nvCxnSpPr>
          <p:spPr>
            <a:xfrm>
              <a:off x="3972785" y="6042101"/>
              <a:ext cx="4065434" cy="0"/>
            </a:xfrm>
            <a:prstGeom prst="line">
              <a:avLst/>
            </a:prstGeom>
            <a:noFill/>
            <a:ln w="12700" cap="rnd" cmpd="sng" algn="ctr">
              <a:solidFill>
                <a:schemeClr val="accent5"/>
              </a:solidFill>
              <a:prstDash val="sysDash"/>
              <a:headEnd type="oval" w="sm" len="sm"/>
              <a:tailEnd type="oval" w="sm" len="sm"/>
            </a:ln>
            <a:effectLst/>
          </p:spPr>
        </p:cxnSp>
        <p:sp>
          <p:nvSpPr>
            <p:cNvPr id="7" name="Oval 6">
              <a:extLst>
                <a:ext uri="{FF2B5EF4-FFF2-40B4-BE49-F238E27FC236}">
                  <a16:creationId xmlns:a16="http://schemas.microsoft.com/office/drawing/2014/main" id="{B3749943-AA60-E74C-927C-11E3EF704035}"/>
                </a:ext>
              </a:extLst>
            </p:cNvPr>
            <p:cNvSpPr/>
            <p:nvPr/>
          </p:nvSpPr>
          <p:spPr bwMode="auto">
            <a:xfrm>
              <a:off x="5744096" y="5779842"/>
              <a:ext cx="524520" cy="524520"/>
            </a:xfrm>
            <a:prstGeom prst="ellipse">
              <a:avLst/>
            </a:prstGeom>
            <a:solidFill>
              <a:srgbClr val="FFFFFF"/>
            </a:solidFill>
            <a:ln w="9525" cap="flat" cmpd="sng" algn="ctr">
              <a:noFill/>
              <a:prstDash val="solid"/>
            </a:ln>
            <a:effectLst>
              <a:outerShdw blurRad="190500" dist="50800" dir="2700000" sx="101000" sy="101000" algn="tl" rotWithShape="0">
                <a:prstClr val="black">
                  <a:alpha val="30000"/>
                </a:prstClr>
              </a:outerShdw>
            </a:effectLst>
          </p:spPr>
          <p:txBody>
            <a:bodyPr rot="0" spcFirstLastPara="0" vert="horz" wrap="square" lIns="179259" tIns="143408" rIns="179259" bIns="143408"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 name="FLOW ICON">
              <a:extLst>
                <a:ext uri="{FF2B5EF4-FFF2-40B4-BE49-F238E27FC236}">
                  <a16:creationId xmlns:a16="http://schemas.microsoft.com/office/drawing/2014/main" id="{5CCAE480-94C9-E643-B590-A99B4B86DCF8}"/>
                </a:ext>
              </a:extLst>
            </p:cNvPr>
            <p:cNvSpPr>
              <a:spLocks noChangeAspect="1"/>
            </p:cNvSpPr>
            <p:nvPr/>
          </p:nvSpPr>
          <p:spPr bwMode="auto">
            <a:xfrm>
              <a:off x="5874551" y="5935841"/>
              <a:ext cx="300585" cy="212520"/>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rgbClr val="1A1A1A"/>
            </a:solidFill>
            <a:ln w="9525" cap="flat" cmpd="sng" algn="ctr">
              <a:noFill/>
              <a:prstDash val="solid"/>
            </a:ln>
            <a:effectLst>
              <a:outerShdw blurRad="190500" dist="50800" dir="2700000" sx="101000" sy="101000" algn="tl" rotWithShape="0">
                <a:prstClr val="black">
                  <a:alpha val="30000"/>
                </a:prstClr>
              </a:outerShdw>
            </a:effectLst>
          </p:spPr>
          <p:txBody>
            <a:bodyPr rot="0" spcFirstLastPara="0" vert="horz" wrap="square" lIns="179259" tIns="143408" rIns="179259" bIns="143408"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Oval 8">
              <a:extLst>
                <a:ext uri="{FF2B5EF4-FFF2-40B4-BE49-F238E27FC236}">
                  <a16:creationId xmlns:a16="http://schemas.microsoft.com/office/drawing/2014/main" id="{3718B93D-1EA9-8647-9AED-FFF9D75C0FCA}"/>
                </a:ext>
              </a:extLst>
            </p:cNvPr>
            <p:cNvSpPr/>
            <p:nvPr/>
          </p:nvSpPr>
          <p:spPr bwMode="auto">
            <a:xfrm>
              <a:off x="4596943" y="5779842"/>
              <a:ext cx="524521" cy="524520"/>
            </a:xfrm>
            <a:prstGeom prst="ellipse">
              <a:avLst/>
            </a:prstGeom>
            <a:solidFill>
              <a:srgbClr val="FFFFFF"/>
            </a:solidFill>
            <a:ln w="9525" cap="flat" cmpd="sng" algn="ctr">
              <a:noFill/>
              <a:prstDash val="solid"/>
            </a:ln>
            <a:effectLst>
              <a:outerShdw blurRad="190500" dist="50800" dir="2700000" sx="101000" sy="101000" algn="tl" rotWithShape="0">
                <a:prstClr val="black">
                  <a:alpha val="30000"/>
                </a:prstClr>
              </a:outerShdw>
            </a:effectLst>
          </p:spPr>
          <p:txBody>
            <a:bodyPr rot="0" spcFirstLastPara="0" vert="horz" wrap="square" lIns="179259" tIns="143408" rIns="179259" bIns="143408"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POWER BI ICON">
              <a:extLst>
                <a:ext uri="{FF2B5EF4-FFF2-40B4-BE49-F238E27FC236}">
                  <a16:creationId xmlns:a16="http://schemas.microsoft.com/office/drawing/2014/main" id="{2CF2DC13-4C2C-474C-977D-5FBD900FE845}"/>
                </a:ext>
              </a:extLst>
            </p:cNvPr>
            <p:cNvSpPr>
              <a:spLocks noChangeAspect="1"/>
            </p:cNvSpPr>
            <p:nvPr/>
          </p:nvSpPr>
          <p:spPr bwMode="auto">
            <a:xfrm flipV="1">
              <a:off x="4707064" y="5937198"/>
              <a:ext cx="304297" cy="209808"/>
            </a:xfrm>
            <a:custGeom>
              <a:avLst/>
              <a:gdLst>
                <a:gd name="connsiteX0" fmla="*/ 724747 w 3011132"/>
                <a:gd name="connsiteY0" fmla="*/ 690457 h 2242888"/>
                <a:gd name="connsiteX1" fmla="*/ 889639 w 3011132"/>
                <a:gd name="connsiteY1" fmla="*/ 525565 h 2242888"/>
                <a:gd name="connsiteX2" fmla="*/ 889638 w 3011132"/>
                <a:gd name="connsiteY2" fmla="*/ 164892 h 2242888"/>
                <a:gd name="connsiteX3" fmla="*/ 724746 w 3011132"/>
                <a:gd name="connsiteY3" fmla="*/ 0 h 2242888"/>
                <a:gd name="connsiteX4" fmla="*/ 724747 w 3011132"/>
                <a:gd name="connsiteY4" fmla="*/ 1 h 2242888"/>
                <a:gd name="connsiteX5" fmla="*/ 559855 w 3011132"/>
                <a:gd name="connsiteY5" fmla="*/ 164893 h 2242888"/>
                <a:gd name="connsiteX6" fmla="*/ 559855 w 3011132"/>
                <a:gd name="connsiteY6" fmla="*/ 525565 h 2242888"/>
                <a:gd name="connsiteX7" fmla="*/ 724747 w 3011132"/>
                <a:gd name="connsiteY7" fmla="*/ 690457 h 2242888"/>
                <a:gd name="connsiteX8" fmla="*/ 1772676 w 3011132"/>
                <a:gd name="connsiteY8" fmla="*/ 1028296 h 2242888"/>
                <a:gd name="connsiteX9" fmla="*/ 1937568 w 3011132"/>
                <a:gd name="connsiteY9" fmla="*/ 863404 h 2242888"/>
                <a:gd name="connsiteX10" fmla="*/ 1937569 w 3011132"/>
                <a:gd name="connsiteY10" fmla="*/ 164893 h 2242888"/>
                <a:gd name="connsiteX11" fmla="*/ 1772677 w 3011132"/>
                <a:gd name="connsiteY11" fmla="*/ 1 h 2242888"/>
                <a:gd name="connsiteX12" fmla="*/ 1607785 w 3011132"/>
                <a:gd name="connsiteY12" fmla="*/ 164893 h 2242888"/>
                <a:gd name="connsiteX13" fmla="*/ 1607785 w 3011132"/>
                <a:gd name="connsiteY13" fmla="*/ 863403 h 2242888"/>
                <a:gd name="connsiteX14" fmla="*/ 1772677 w 3011132"/>
                <a:gd name="connsiteY14" fmla="*/ 1028295 h 2242888"/>
                <a:gd name="connsiteX15" fmla="*/ 1248711 w 3011132"/>
                <a:gd name="connsiteY15" fmla="*/ 1291654 h 2242888"/>
                <a:gd name="connsiteX16" fmla="*/ 1413603 w 3011132"/>
                <a:gd name="connsiteY16" fmla="*/ 1126762 h 2242888"/>
                <a:gd name="connsiteX17" fmla="*/ 1413604 w 3011132"/>
                <a:gd name="connsiteY17" fmla="*/ 164893 h 2242888"/>
                <a:gd name="connsiteX18" fmla="*/ 1248712 w 3011132"/>
                <a:gd name="connsiteY18" fmla="*/ 1 h 2242888"/>
                <a:gd name="connsiteX19" fmla="*/ 1083820 w 3011132"/>
                <a:gd name="connsiteY19" fmla="*/ 164893 h 2242888"/>
                <a:gd name="connsiteX20" fmla="*/ 1083820 w 3011132"/>
                <a:gd name="connsiteY20" fmla="*/ 1126761 h 2242888"/>
                <a:gd name="connsiteX21" fmla="*/ 1248712 w 3011132"/>
                <a:gd name="connsiteY21" fmla="*/ 1291653 h 2242888"/>
                <a:gd name="connsiteX22" fmla="*/ 2296641 w 3011132"/>
                <a:gd name="connsiteY22" fmla="*/ 1696388 h 2242888"/>
                <a:gd name="connsiteX23" fmla="*/ 2461533 w 3011132"/>
                <a:gd name="connsiteY23" fmla="*/ 1531496 h 2242888"/>
                <a:gd name="connsiteX24" fmla="*/ 2461534 w 3011132"/>
                <a:gd name="connsiteY24" fmla="*/ 164893 h 2242888"/>
                <a:gd name="connsiteX25" fmla="*/ 2296642 w 3011132"/>
                <a:gd name="connsiteY25" fmla="*/ 1 h 2242888"/>
                <a:gd name="connsiteX26" fmla="*/ 2131750 w 3011132"/>
                <a:gd name="connsiteY26" fmla="*/ 164893 h 2242888"/>
                <a:gd name="connsiteX27" fmla="*/ 2131750 w 3011132"/>
                <a:gd name="connsiteY27" fmla="*/ 1531495 h 2242888"/>
                <a:gd name="connsiteX28" fmla="*/ 2296642 w 3011132"/>
                <a:gd name="connsiteY28" fmla="*/ 1696387 h 2242888"/>
                <a:gd name="connsiteX29" fmla="*/ 370635 w 3011132"/>
                <a:gd name="connsiteY29" fmla="*/ 2242888 h 2242888"/>
                <a:gd name="connsiteX30" fmla="*/ 2640497 w 3011132"/>
                <a:gd name="connsiteY30" fmla="*/ 2242888 h 2242888"/>
                <a:gd name="connsiteX31" fmla="*/ 3011132 w 3011132"/>
                <a:gd name="connsiteY31" fmla="*/ 1872253 h 2242888"/>
                <a:gd name="connsiteX32" fmla="*/ 3011132 w 3011132"/>
                <a:gd name="connsiteY32" fmla="*/ 653116 h 2242888"/>
                <a:gd name="connsiteX33" fmla="*/ 2640497 w 3011132"/>
                <a:gd name="connsiteY33" fmla="*/ 282481 h 2242888"/>
                <a:gd name="connsiteX34" fmla="*/ 2630997 w 3011132"/>
                <a:gd name="connsiteY34" fmla="*/ 282481 h 2242888"/>
                <a:gd name="connsiteX35" fmla="*/ 2630997 w 3011132"/>
                <a:gd name="connsiteY35" fmla="*/ 397932 h 2242888"/>
                <a:gd name="connsiteX36" fmla="*/ 2635026 w 3011132"/>
                <a:gd name="connsiteY36" fmla="*/ 397932 h 2242888"/>
                <a:gd name="connsiteX37" fmla="*/ 2892528 w 3011132"/>
                <a:gd name="connsiteY37" fmla="*/ 655434 h 2242888"/>
                <a:gd name="connsiteX38" fmla="*/ 2892528 w 3011132"/>
                <a:gd name="connsiteY38" fmla="*/ 1869563 h 2242888"/>
                <a:gd name="connsiteX39" fmla="*/ 2635026 w 3011132"/>
                <a:gd name="connsiteY39" fmla="*/ 2127065 h 2242888"/>
                <a:gd name="connsiteX40" fmla="*/ 385364 w 3011132"/>
                <a:gd name="connsiteY40" fmla="*/ 2127065 h 2242888"/>
                <a:gd name="connsiteX41" fmla="*/ 127862 w 3011132"/>
                <a:gd name="connsiteY41" fmla="*/ 1869563 h 2242888"/>
                <a:gd name="connsiteX42" fmla="*/ 127862 w 3011132"/>
                <a:gd name="connsiteY42" fmla="*/ 655434 h 2242888"/>
                <a:gd name="connsiteX43" fmla="*/ 385364 w 3011132"/>
                <a:gd name="connsiteY43" fmla="*/ 397932 h 2242888"/>
                <a:gd name="connsiteX44" fmla="*/ 412220 w 3011132"/>
                <a:gd name="connsiteY44" fmla="*/ 397932 h 2242888"/>
                <a:gd name="connsiteX45" fmla="*/ 412220 w 3011132"/>
                <a:gd name="connsiteY45" fmla="*/ 282481 h 2242888"/>
                <a:gd name="connsiteX46" fmla="*/ 370635 w 3011132"/>
                <a:gd name="connsiteY46" fmla="*/ 282481 h 2242888"/>
                <a:gd name="connsiteX47" fmla="*/ 0 w 3011132"/>
                <a:gd name="connsiteY47" fmla="*/ 653116 h 2242888"/>
                <a:gd name="connsiteX48" fmla="*/ 0 w 3011132"/>
                <a:gd name="connsiteY48" fmla="*/ 1872253 h 2242888"/>
                <a:gd name="connsiteX49" fmla="*/ 370635 w 3011132"/>
                <a:gd name="connsiteY49" fmla="*/ 2242888 h 224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011132" h="2242888">
                  <a:moveTo>
                    <a:pt x="724747" y="690457"/>
                  </a:moveTo>
                  <a:cubicBezTo>
                    <a:pt x="815814" y="690457"/>
                    <a:pt x="889639" y="616632"/>
                    <a:pt x="889639" y="525565"/>
                  </a:cubicBezTo>
                  <a:cubicBezTo>
                    <a:pt x="889639" y="405341"/>
                    <a:pt x="889638" y="285116"/>
                    <a:pt x="889638" y="164892"/>
                  </a:cubicBezTo>
                  <a:cubicBezTo>
                    <a:pt x="889638" y="73825"/>
                    <a:pt x="815813" y="0"/>
                    <a:pt x="724746" y="0"/>
                  </a:cubicBezTo>
                  <a:lnTo>
                    <a:pt x="724747" y="1"/>
                  </a:lnTo>
                  <a:cubicBezTo>
                    <a:pt x="633680" y="1"/>
                    <a:pt x="559855" y="73826"/>
                    <a:pt x="559855" y="164893"/>
                  </a:cubicBezTo>
                  <a:lnTo>
                    <a:pt x="559855" y="525565"/>
                  </a:lnTo>
                  <a:cubicBezTo>
                    <a:pt x="559855" y="616632"/>
                    <a:pt x="633680" y="690457"/>
                    <a:pt x="724747" y="690457"/>
                  </a:cubicBezTo>
                  <a:close/>
                  <a:moveTo>
                    <a:pt x="1772676" y="1028296"/>
                  </a:moveTo>
                  <a:cubicBezTo>
                    <a:pt x="1863743" y="1028296"/>
                    <a:pt x="1937568" y="954471"/>
                    <a:pt x="1937568" y="863404"/>
                  </a:cubicBezTo>
                  <a:cubicBezTo>
                    <a:pt x="1937568" y="630567"/>
                    <a:pt x="1937569" y="397730"/>
                    <a:pt x="1937569" y="164893"/>
                  </a:cubicBezTo>
                  <a:cubicBezTo>
                    <a:pt x="1937569" y="73826"/>
                    <a:pt x="1863744" y="1"/>
                    <a:pt x="1772677" y="1"/>
                  </a:cubicBezTo>
                  <a:cubicBezTo>
                    <a:pt x="1681610" y="1"/>
                    <a:pt x="1607785" y="73826"/>
                    <a:pt x="1607785" y="164893"/>
                  </a:cubicBezTo>
                  <a:lnTo>
                    <a:pt x="1607785" y="863403"/>
                  </a:lnTo>
                  <a:cubicBezTo>
                    <a:pt x="1607785" y="954470"/>
                    <a:pt x="1681610" y="1028295"/>
                    <a:pt x="1772677" y="1028295"/>
                  </a:cubicBezTo>
                  <a:close/>
                  <a:moveTo>
                    <a:pt x="1248711" y="1291654"/>
                  </a:moveTo>
                  <a:cubicBezTo>
                    <a:pt x="1339778" y="1291654"/>
                    <a:pt x="1413603" y="1217829"/>
                    <a:pt x="1413603" y="1126762"/>
                  </a:cubicBezTo>
                  <a:cubicBezTo>
                    <a:pt x="1413603" y="806139"/>
                    <a:pt x="1413604" y="485516"/>
                    <a:pt x="1413604" y="164893"/>
                  </a:cubicBezTo>
                  <a:cubicBezTo>
                    <a:pt x="1413604" y="73826"/>
                    <a:pt x="1339779" y="1"/>
                    <a:pt x="1248712" y="1"/>
                  </a:cubicBezTo>
                  <a:cubicBezTo>
                    <a:pt x="1157645" y="1"/>
                    <a:pt x="1083820" y="73826"/>
                    <a:pt x="1083820" y="164893"/>
                  </a:cubicBezTo>
                  <a:lnTo>
                    <a:pt x="1083820" y="1126761"/>
                  </a:lnTo>
                  <a:cubicBezTo>
                    <a:pt x="1083820" y="1217828"/>
                    <a:pt x="1157645" y="1291653"/>
                    <a:pt x="1248712" y="1291653"/>
                  </a:cubicBezTo>
                  <a:close/>
                  <a:moveTo>
                    <a:pt x="2296641" y="1696388"/>
                  </a:moveTo>
                  <a:cubicBezTo>
                    <a:pt x="2387708" y="1696388"/>
                    <a:pt x="2461533" y="1622563"/>
                    <a:pt x="2461533" y="1531496"/>
                  </a:cubicBezTo>
                  <a:cubicBezTo>
                    <a:pt x="2461533" y="1075962"/>
                    <a:pt x="2461534" y="620427"/>
                    <a:pt x="2461534" y="164893"/>
                  </a:cubicBezTo>
                  <a:cubicBezTo>
                    <a:pt x="2461534" y="73826"/>
                    <a:pt x="2387709" y="1"/>
                    <a:pt x="2296642" y="1"/>
                  </a:cubicBezTo>
                  <a:cubicBezTo>
                    <a:pt x="2205575" y="1"/>
                    <a:pt x="2131750" y="73826"/>
                    <a:pt x="2131750" y="164893"/>
                  </a:cubicBezTo>
                  <a:lnTo>
                    <a:pt x="2131750" y="1531495"/>
                  </a:lnTo>
                  <a:cubicBezTo>
                    <a:pt x="2131750" y="1622562"/>
                    <a:pt x="2205575" y="1696387"/>
                    <a:pt x="2296642" y="1696387"/>
                  </a:cubicBezTo>
                  <a:close/>
                  <a:moveTo>
                    <a:pt x="370635" y="2242888"/>
                  </a:moveTo>
                  <a:lnTo>
                    <a:pt x="2640497" y="2242888"/>
                  </a:lnTo>
                  <a:cubicBezTo>
                    <a:pt x="2845193" y="2242888"/>
                    <a:pt x="3011132" y="2076949"/>
                    <a:pt x="3011132" y="1872253"/>
                  </a:cubicBezTo>
                  <a:lnTo>
                    <a:pt x="3011132" y="653116"/>
                  </a:lnTo>
                  <a:cubicBezTo>
                    <a:pt x="3011132" y="448420"/>
                    <a:pt x="2845193" y="282481"/>
                    <a:pt x="2640497" y="282481"/>
                  </a:cubicBezTo>
                  <a:lnTo>
                    <a:pt x="2630997" y="282481"/>
                  </a:lnTo>
                  <a:lnTo>
                    <a:pt x="2630997" y="397932"/>
                  </a:lnTo>
                  <a:lnTo>
                    <a:pt x="2635026" y="397932"/>
                  </a:lnTo>
                  <a:cubicBezTo>
                    <a:pt x="2777240" y="397932"/>
                    <a:pt x="2892528" y="513220"/>
                    <a:pt x="2892528" y="655434"/>
                  </a:cubicBezTo>
                  <a:lnTo>
                    <a:pt x="2892528" y="1869563"/>
                  </a:lnTo>
                  <a:cubicBezTo>
                    <a:pt x="2892528" y="2011777"/>
                    <a:pt x="2777240" y="2127065"/>
                    <a:pt x="2635026" y="2127065"/>
                  </a:cubicBezTo>
                  <a:lnTo>
                    <a:pt x="385364" y="2127065"/>
                  </a:lnTo>
                  <a:cubicBezTo>
                    <a:pt x="243150" y="2127065"/>
                    <a:pt x="127862" y="2011777"/>
                    <a:pt x="127862" y="1869563"/>
                  </a:cubicBezTo>
                  <a:lnTo>
                    <a:pt x="127862" y="655434"/>
                  </a:lnTo>
                  <a:cubicBezTo>
                    <a:pt x="127862" y="513220"/>
                    <a:pt x="243150" y="397932"/>
                    <a:pt x="385364" y="397932"/>
                  </a:cubicBezTo>
                  <a:lnTo>
                    <a:pt x="412220" y="397932"/>
                  </a:lnTo>
                  <a:lnTo>
                    <a:pt x="412220" y="282481"/>
                  </a:lnTo>
                  <a:lnTo>
                    <a:pt x="370635" y="282481"/>
                  </a:lnTo>
                  <a:cubicBezTo>
                    <a:pt x="165939" y="282481"/>
                    <a:pt x="0" y="448420"/>
                    <a:pt x="0" y="653116"/>
                  </a:cubicBezTo>
                  <a:lnTo>
                    <a:pt x="0" y="1872253"/>
                  </a:lnTo>
                  <a:cubicBezTo>
                    <a:pt x="0" y="2076949"/>
                    <a:pt x="165939" y="2242888"/>
                    <a:pt x="370635" y="2242888"/>
                  </a:cubicBezTo>
                  <a:close/>
                </a:path>
              </a:pathLst>
            </a:custGeom>
            <a:solidFill>
              <a:srgbClr val="1A1A1A"/>
            </a:solidFill>
            <a:ln w="9525" cap="flat" cmpd="sng" algn="ctr">
              <a:noFill/>
              <a:prstDash val="solid"/>
            </a:ln>
            <a:effectLst>
              <a:outerShdw blurRad="190500" dist="50800" dir="2700000" sx="101000" sy="101000" algn="tl" rotWithShape="0">
                <a:prstClr val="black">
                  <a:alpha val="30000"/>
                </a:prstClr>
              </a:outerShdw>
            </a:effectLst>
          </p:spPr>
          <p:txBody>
            <a:bodyPr rot="0" spcFirstLastPara="0" vert="horz" wrap="square" lIns="179259" tIns="143408" rIns="179259" bIns="143408"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D622B9F0-3825-8E47-8C80-8A3786153648}"/>
                </a:ext>
              </a:extLst>
            </p:cNvPr>
            <p:cNvSpPr/>
            <p:nvPr/>
          </p:nvSpPr>
          <p:spPr bwMode="auto">
            <a:xfrm>
              <a:off x="6886844" y="5779842"/>
              <a:ext cx="524520" cy="524520"/>
            </a:xfrm>
            <a:prstGeom prst="ellipse">
              <a:avLst/>
            </a:prstGeom>
            <a:solidFill>
              <a:srgbClr val="FFFFFF"/>
            </a:solidFill>
            <a:ln w="9525" cap="flat" cmpd="sng" algn="ctr">
              <a:noFill/>
              <a:prstDash val="solid"/>
            </a:ln>
            <a:effectLst>
              <a:outerShdw blurRad="190500" dist="50800" dir="2700000" sx="101000" sy="101000" algn="tl" rotWithShape="0">
                <a:prstClr val="black">
                  <a:alpha val="30000"/>
                </a:prstClr>
              </a:outerShdw>
            </a:effectLst>
          </p:spPr>
          <p:txBody>
            <a:bodyPr rot="0" spcFirstLastPara="0" vert="horz" wrap="square" lIns="179259" tIns="143408" rIns="179259" bIns="143408"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 name="POWERAPPSICON">
              <a:extLst>
                <a:ext uri="{FF2B5EF4-FFF2-40B4-BE49-F238E27FC236}">
                  <a16:creationId xmlns:a16="http://schemas.microsoft.com/office/drawing/2014/main" id="{1783D699-0740-2440-8621-33F8323E498A}"/>
                </a:ext>
              </a:extLst>
            </p:cNvPr>
            <p:cNvSpPr>
              <a:spLocks noChangeAspect="1"/>
            </p:cNvSpPr>
            <p:nvPr/>
          </p:nvSpPr>
          <p:spPr bwMode="auto">
            <a:xfrm>
              <a:off x="6998838" y="5936495"/>
              <a:ext cx="300532" cy="211214"/>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rgbClr val="1A1A1A"/>
            </a:solidFill>
            <a:ln w="9525" cap="flat" cmpd="sng" algn="ctr">
              <a:noFill/>
              <a:prstDash val="solid"/>
            </a:ln>
            <a:effectLst>
              <a:outerShdw blurRad="190500" dist="50800" dir="2700000" sx="101000" sy="101000" algn="tl" rotWithShape="0">
                <a:prstClr val="black">
                  <a:alpha val="30000"/>
                </a:prstClr>
              </a:outerShdw>
            </a:effectLst>
          </p:spPr>
          <p:txBody>
            <a:bodyPr rot="0" spcFirstLastPara="0" vert="horz" wrap="square" lIns="179259" tIns="143408" rIns="179259" bIns="143408"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 name="Power BI">
              <a:extLst>
                <a:ext uri="{FF2B5EF4-FFF2-40B4-BE49-F238E27FC236}">
                  <a16:creationId xmlns:a16="http://schemas.microsoft.com/office/drawing/2014/main" id="{82A5D98F-003A-3848-9908-C0D125D23E56}"/>
                </a:ext>
              </a:extLst>
            </p:cNvPr>
            <p:cNvSpPr txBox="1"/>
            <p:nvPr userDrawn="1"/>
          </p:nvSpPr>
          <p:spPr>
            <a:xfrm>
              <a:off x="4533838" y="6370955"/>
              <a:ext cx="650716" cy="150863"/>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a:ln>
                    <a:noFill/>
                  </a:ln>
                  <a:solidFill>
                    <a:srgbClr val="1A1A1A"/>
                  </a:solidFill>
                  <a:effectLst/>
                  <a:uLnTx/>
                  <a:uFillTx/>
                  <a:latin typeface="Segoe UI Semibold"/>
                  <a:ea typeface="+mn-ea"/>
                  <a:cs typeface="Segoe UI Light" panose="020B0502040204020203" pitchFamily="34" charset="0"/>
                </a:rPr>
                <a:t>Power BI</a:t>
              </a:r>
            </a:p>
          </p:txBody>
        </p:sp>
        <p:sp>
          <p:nvSpPr>
            <p:cNvPr id="14" name="Flow">
              <a:extLst>
                <a:ext uri="{FF2B5EF4-FFF2-40B4-BE49-F238E27FC236}">
                  <a16:creationId xmlns:a16="http://schemas.microsoft.com/office/drawing/2014/main" id="{024833AE-0ACF-564D-BB9B-E624847A2BF5}"/>
                </a:ext>
              </a:extLst>
            </p:cNvPr>
            <p:cNvSpPr txBox="1"/>
            <p:nvPr userDrawn="1"/>
          </p:nvSpPr>
          <p:spPr>
            <a:xfrm>
              <a:off x="5680997" y="6370955"/>
              <a:ext cx="650716" cy="150863"/>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a:ln>
                    <a:noFill/>
                  </a:ln>
                  <a:solidFill>
                    <a:srgbClr val="1A1A1A"/>
                  </a:solidFill>
                  <a:effectLst/>
                  <a:uLnTx/>
                  <a:uFillTx/>
                  <a:latin typeface="Segoe UI Semibold"/>
                  <a:ea typeface="+mn-ea"/>
                  <a:cs typeface="Segoe UI Light" panose="020B0502040204020203" pitchFamily="34" charset="0"/>
                </a:rPr>
                <a:t>Flow</a:t>
              </a:r>
            </a:p>
          </p:txBody>
        </p:sp>
        <p:sp>
          <p:nvSpPr>
            <p:cNvPr id="15" name="PowerApps">
              <a:extLst>
                <a:ext uri="{FF2B5EF4-FFF2-40B4-BE49-F238E27FC236}">
                  <a16:creationId xmlns:a16="http://schemas.microsoft.com/office/drawing/2014/main" id="{59CF6C08-148A-F54B-A066-3EFDABD6E3E4}"/>
                </a:ext>
              </a:extLst>
            </p:cNvPr>
            <p:cNvSpPr txBox="1"/>
            <p:nvPr userDrawn="1"/>
          </p:nvSpPr>
          <p:spPr>
            <a:xfrm>
              <a:off x="6828156" y="6370955"/>
              <a:ext cx="650716" cy="150855"/>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a:ln>
                    <a:noFill/>
                  </a:ln>
                  <a:solidFill>
                    <a:srgbClr val="1A1A1A"/>
                  </a:solidFill>
                  <a:effectLst/>
                  <a:uLnTx/>
                  <a:uFillTx/>
                  <a:latin typeface="Segoe UI Semibold"/>
                  <a:ea typeface="+mn-ea"/>
                  <a:cs typeface="Segoe UI Light" panose="020B0502040204020203" pitchFamily="34" charset="0"/>
                </a:rPr>
                <a:t>PowerApps</a:t>
              </a:r>
            </a:p>
          </p:txBody>
        </p:sp>
      </p:grpSp>
      <p:cxnSp>
        <p:nvCxnSpPr>
          <p:cNvPr id="17" name="ARROW">
            <a:extLst>
              <a:ext uri="{FF2B5EF4-FFF2-40B4-BE49-F238E27FC236}">
                <a16:creationId xmlns:a16="http://schemas.microsoft.com/office/drawing/2014/main" id="{35A99D39-1861-BB47-83A2-13E0348EAB5C}"/>
              </a:ext>
            </a:extLst>
          </p:cNvPr>
          <p:cNvCxnSpPr>
            <a:cxnSpLocks/>
          </p:cNvCxnSpPr>
          <p:nvPr userDrawn="1"/>
        </p:nvCxnSpPr>
        <p:spPr>
          <a:xfrm>
            <a:off x="568831" y="3274193"/>
            <a:ext cx="11054338" cy="0"/>
          </a:xfrm>
          <a:prstGeom prst="line">
            <a:avLst/>
          </a:prstGeom>
          <a:noFill/>
          <a:ln w="12700" cap="rnd" cmpd="sng" algn="ctr">
            <a:solidFill>
              <a:schemeClr val="accent5"/>
            </a:solidFill>
            <a:prstDash val="sysDash"/>
            <a:headEnd type="oval" w="sm" len="sm"/>
            <a:tailEnd type="oval" w="sm" len="sm"/>
          </a:ln>
          <a:effectLst/>
        </p:spPr>
      </p:cxnSp>
      <p:grpSp>
        <p:nvGrpSpPr>
          <p:cNvPr id="23" name="Group 22">
            <a:extLst>
              <a:ext uri="{FF2B5EF4-FFF2-40B4-BE49-F238E27FC236}">
                <a16:creationId xmlns:a16="http://schemas.microsoft.com/office/drawing/2014/main" id="{6E189614-FC6C-5846-ADAF-C904157E6FAD}"/>
              </a:ext>
            </a:extLst>
          </p:cNvPr>
          <p:cNvGrpSpPr/>
          <p:nvPr userDrawn="1"/>
        </p:nvGrpSpPr>
        <p:grpSpPr>
          <a:xfrm>
            <a:off x="3444793" y="942550"/>
            <a:ext cx="5282062" cy="4466057"/>
            <a:chOff x="3444793" y="978408"/>
            <a:chExt cx="5282062" cy="4466057"/>
          </a:xfrm>
        </p:grpSpPr>
        <p:sp>
          <p:nvSpPr>
            <p:cNvPr id="52" name="Freeform: Shape 62">
              <a:extLst>
                <a:ext uri="{FF2B5EF4-FFF2-40B4-BE49-F238E27FC236}">
                  <a16:creationId xmlns:a16="http://schemas.microsoft.com/office/drawing/2014/main" id="{8EEBC9DE-8D6B-A042-A44E-458334A0E97E}"/>
                </a:ext>
              </a:extLst>
            </p:cNvPr>
            <p:cNvSpPr>
              <a:spLocks noChangeAspect="1"/>
            </p:cNvSpPr>
            <p:nvPr/>
          </p:nvSpPr>
          <p:spPr bwMode="auto">
            <a:xfrm rot="10800000">
              <a:off x="3984947" y="1257508"/>
              <a:ext cx="4063728" cy="1953929"/>
            </a:xfrm>
            <a:custGeom>
              <a:avLst/>
              <a:gdLst>
                <a:gd name="connsiteX0" fmla="*/ 0 w 3479760"/>
                <a:gd name="connsiteY0" fmla="*/ 0 h 1673145"/>
                <a:gd name="connsiteX1" fmla="*/ 3479760 w 3479760"/>
                <a:gd name="connsiteY1" fmla="*/ 0 h 1673145"/>
                <a:gd name="connsiteX2" fmla="*/ 3474308 w 3479760"/>
                <a:gd name="connsiteY2" fmla="*/ 107972 h 1673145"/>
                <a:gd name="connsiteX3" fmla="*/ 1739880 w 3479760"/>
                <a:gd name="connsiteY3" fmla="*/ 1673145 h 1673145"/>
                <a:gd name="connsiteX4" fmla="*/ 5453 w 3479760"/>
                <a:gd name="connsiteY4" fmla="*/ 107972 h 1673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760" h="1673145">
                  <a:moveTo>
                    <a:pt x="0" y="0"/>
                  </a:moveTo>
                  <a:lnTo>
                    <a:pt x="3479760" y="0"/>
                  </a:lnTo>
                  <a:lnTo>
                    <a:pt x="3474308" y="107972"/>
                  </a:lnTo>
                  <a:cubicBezTo>
                    <a:pt x="3385027" y="987106"/>
                    <a:pt x="2642570" y="1673145"/>
                    <a:pt x="1739880" y="1673145"/>
                  </a:cubicBezTo>
                  <a:cubicBezTo>
                    <a:pt x="837191" y="1673145"/>
                    <a:pt x="94733" y="987106"/>
                    <a:pt x="5453" y="107972"/>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lumMod val="50000"/>
                  </a:srgbClr>
                </a:solidFill>
                <a:effectLst/>
                <a:uLnTx/>
                <a:uFillTx/>
                <a:latin typeface="Segoe UI Semilight"/>
                <a:ea typeface="Segoe UI" pitchFamily="34" charset="0"/>
                <a:cs typeface="Segoe UI" pitchFamily="34" charset="0"/>
              </a:endParaRPr>
            </a:p>
          </p:txBody>
        </p:sp>
        <p:sp>
          <p:nvSpPr>
            <p:cNvPr id="53" name="Freeform: Shape 63">
              <a:extLst>
                <a:ext uri="{FF2B5EF4-FFF2-40B4-BE49-F238E27FC236}">
                  <a16:creationId xmlns:a16="http://schemas.microsoft.com/office/drawing/2014/main" id="{ED07E726-534A-3647-AE23-1E485DCB5A84}"/>
                </a:ext>
              </a:extLst>
            </p:cNvPr>
            <p:cNvSpPr>
              <a:spLocks noChangeAspect="1"/>
            </p:cNvSpPr>
            <p:nvPr/>
          </p:nvSpPr>
          <p:spPr bwMode="auto">
            <a:xfrm>
              <a:off x="3983241" y="3409911"/>
              <a:ext cx="4067140" cy="1955570"/>
            </a:xfrm>
            <a:custGeom>
              <a:avLst/>
              <a:gdLst>
                <a:gd name="connsiteX0" fmla="*/ 0 w 3479760"/>
                <a:gd name="connsiteY0" fmla="*/ 0 h 1673145"/>
                <a:gd name="connsiteX1" fmla="*/ 3479760 w 3479760"/>
                <a:gd name="connsiteY1" fmla="*/ 0 h 1673145"/>
                <a:gd name="connsiteX2" fmla="*/ 3474308 w 3479760"/>
                <a:gd name="connsiteY2" fmla="*/ 107972 h 1673145"/>
                <a:gd name="connsiteX3" fmla="*/ 1739880 w 3479760"/>
                <a:gd name="connsiteY3" fmla="*/ 1673145 h 1673145"/>
                <a:gd name="connsiteX4" fmla="*/ 5453 w 3479760"/>
                <a:gd name="connsiteY4" fmla="*/ 107972 h 1673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760" h="1673145">
                  <a:moveTo>
                    <a:pt x="0" y="0"/>
                  </a:moveTo>
                  <a:lnTo>
                    <a:pt x="3479760" y="0"/>
                  </a:lnTo>
                  <a:lnTo>
                    <a:pt x="3474308" y="107972"/>
                  </a:lnTo>
                  <a:cubicBezTo>
                    <a:pt x="3385027" y="987106"/>
                    <a:pt x="2642570" y="1673145"/>
                    <a:pt x="1739880" y="1673145"/>
                  </a:cubicBezTo>
                  <a:cubicBezTo>
                    <a:pt x="837191" y="1673145"/>
                    <a:pt x="94733" y="987106"/>
                    <a:pt x="5453" y="107972"/>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lumMod val="50000"/>
                  </a:srgbClr>
                </a:solidFill>
                <a:effectLst/>
                <a:uLnTx/>
                <a:uFillTx/>
                <a:latin typeface="Segoe UI Semilight"/>
                <a:ea typeface="Segoe UI" pitchFamily="34" charset="0"/>
                <a:cs typeface="Segoe UI" pitchFamily="34" charset="0"/>
              </a:endParaRPr>
            </a:p>
          </p:txBody>
        </p:sp>
        <p:grpSp>
          <p:nvGrpSpPr>
            <p:cNvPr id="54" name="ARROWS">
              <a:extLst>
                <a:ext uri="{FF2B5EF4-FFF2-40B4-BE49-F238E27FC236}">
                  <a16:creationId xmlns:a16="http://schemas.microsoft.com/office/drawing/2014/main" id="{4D769830-D498-F749-A988-03A30E09EF93}"/>
                </a:ext>
              </a:extLst>
            </p:cNvPr>
            <p:cNvGrpSpPr/>
            <p:nvPr/>
          </p:nvGrpSpPr>
          <p:grpSpPr>
            <a:xfrm>
              <a:off x="3444793" y="978408"/>
              <a:ext cx="5282062" cy="4466057"/>
              <a:chOff x="3098766" y="326667"/>
              <a:chExt cx="6152824" cy="5202299"/>
            </a:xfrm>
          </p:grpSpPr>
          <p:sp>
            <p:nvSpPr>
              <p:cNvPr id="56" name="Intelligence">
                <a:extLst>
                  <a:ext uri="{FF2B5EF4-FFF2-40B4-BE49-F238E27FC236}">
                    <a16:creationId xmlns:a16="http://schemas.microsoft.com/office/drawing/2014/main" id="{F6FA1377-4B54-444E-8F2F-5F14628AD345}"/>
                  </a:ext>
                </a:extLst>
              </p:cNvPr>
              <p:cNvSpPr txBox="1"/>
              <p:nvPr/>
            </p:nvSpPr>
            <p:spPr>
              <a:xfrm rot="14012589">
                <a:off x="4161387" y="-36089"/>
                <a:ext cx="4727448" cy="5452959"/>
              </a:xfrm>
              <a:prstGeom prst="rect">
                <a:avLst/>
              </a:prstGeom>
              <a:noFill/>
            </p:spPr>
            <p:txBody>
              <a:bodyPr spcFirstLastPara="1" wrap="square" lIns="0" tIns="0" rIns="0" bIns="0" numCol="1" rtlCol="0" anchor="t" anchorCtr="0">
                <a:prstTxWarp prst="textArchDown">
                  <a:avLst>
                    <a:gd name="adj" fmla="val 12270174"/>
                  </a:avLst>
                </a:prstTxWarp>
                <a:spAutoFit/>
              </a:body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Intelligence </a:t>
                </a:r>
              </a:p>
            </p:txBody>
          </p:sp>
          <p:sp>
            <p:nvSpPr>
              <p:cNvPr id="57" name="Data">
                <a:extLst>
                  <a:ext uri="{FF2B5EF4-FFF2-40B4-BE49-F238E27FC236}">
                    <a16:creationId xmlns:a16="http://schemas.microsoft.com/office/drawing/2014/main" id="{84A64804-A787-0242-B6FE-5CBC43020338}"/>
                  </a:ext>
                </a:extLst>
              </p:cNvPr>
              <p:cNvSpPr txBox="1"/>
              <p:nvPr/>
            </p:nvSpPr>
            <p:spPr>
              <a:xfrm rot="3964135">
                <a:off x="3313817" y="586467"/>
                <a:ext cx="4727448" cy="5157550"/>
              </a:xfrm>
              <a:prstGeom prst="rect">
                <a:avLst/>
              </a:prstGeom>
              <a:noFill/>
            </p:spPr>
            <p:txBody>
              <a:bodyPr spcFirstLastPara="1" wrap="square" lIns="0" tIns="0" rIns="0" bIns="0" numCol="1" rtlCol="0" anchor="t" anchorCtr="0">
                <a:prstTxWarp prst="textArchUp">
                  <a:avLst/>
                </a:prstTxWarp>
                <a:spAutoFit/>
              </a:body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Data</a:t>
                </a:r>
              </a:p>
            </p:txBody>
          </p:sp>
          <p:sp>
            <p:nvSpPr>
              <p:cNvPr id="58" name="bottom arrow">
                <a:extLst>
                  <a:ext uri="{FF2B5EF4-FFF2-40B4-BE49-F238E27FC236}">
                    <a16:creationId xmlns:a16="http://schemas.microsoft.com/office/drawing/2014/main" id="{4A3EAAE7-C07B-3E4D-8E8D-F48AD1D7737E}"/>
                  </a:ext>
                </a:extLst>
              </p:cNvPr>
              <p:cNvSpPr/>
              <p:nvPr/>
            </p:nvSpPr>
            <p:spPr>
              <a:xfrm rot="20774989">
                <a:off x="3922002" y="854135"/>
                <a:ext cx="4266260" cy="4135915"/>
              </a:xfrm>
              <a:prstGeom prst="arc">
                <a:avLst>
                  <a:gd name="adj1" fmla="val 11787294"/>
                  <a:gd name="adj2" fmla="val 20369564"/>
                </a:avLst>
              </a:prstGeom>
              <a:noFill/>
              <a:ln w="22225" cap="rnd" cmpd="sng" algn="ctr">
                <a:solidFill>
                  <a:srgbClr val="FFFFFF"/>
                </a:solidFill>
                <a:prstDash val="solid"/>
                <a:headEnd type="none" w="lg" len="med"/>
                <a:tailEnd type="arrow" w="lg" len="med"/>
              </a:ln>
              <a:effectLst/>
            </p:spPr>
            <p:txBody>
              <a:bodyPr rtlCol="0" anchor="ctr"/>
              <a:lstStyle/>
              <a:p>
                <a:pPr marL="0" marR="0" lvl="0" indent="0" algn="ctr" defTabSz="896215" rtl="0" eaLnBrk="1" fontAlgn="auto" latinLnBrk="0" hangingPunct="1">
                  <a:lnSpc>
                    <a:spcPct val="100000"/>
                  </a:lnSpc>
                  <a:spcBef>
                    <a:spcPts val="0"/>
                  </a:spcBef>
                  <a:spcAft>
                    <a:spcPts val="0"/>
                  </a:spcAft>
                  <a:buClrTx/>
                  <a:buSzTx/>
                  <a:buFontTx/>
                  <a:buNone/>
                  <a:tabLst/>
                  <a:defRPr/>
                </a:pPr>
                <a:endParaRPr kumimoji="0" lang="en-IN" sz="1176" b="0" i="0" u="none" strike="noStrike" kern="0" cap="none" spc="0" normalizeH="0" baseline="0" noProof="0">
                  <a:ln>
                    <a:noFill/>
                  </a:ln>
                  <a:solidFill>
                    <a:srgbClr val="1A1A1A"/>
                  </a:solidFill>
                  <a:effectLst/>
                  <a:uLnTx/>
                  <a:uFillTx/>
                  <a:latin typeface="Segoe UI"/>
                  <a:ea typeface="+mn-ea"/>
                  <a:cs typeface="+mn-cs"/>
                </a:endParaRPr>
              </a:p>
            </p:txBody>
          </p:sp>
          <p:sp>
            <p:nvSpPr>
              <p:cNvPr id="59" name="top arrow">
                <a:extLst>
                  <a:ext uri="{FF2B5EF4-FFF2-40B4-BE49-F238E27FC236}">
                    <a16:creationId xmlns:a16="http://schemas.microsoft.com/office/drawing/2014/main" id="{669CFFCF-BD6D-574A-9EE5-E9B7FB69D090}"/>
                  </a:ext>
                </a:extLst>
              </p:cNvPr>
              <p:cNvSpPr/>
              <p:nvPr/>
            </p:nvSpPr>
            <p:spPr>
              <a:xfrm rot="10136900">
                <a:off x="3925456" y="1061028"/>
                <a:ext cx="4313596" cy="4154638"/>
              </a:xfrm>
              <a:prstGeom prst="arc">
                <a:avLst>
                  <a:gd name="adj1" fmla="val 11705176"/>
                  <a:gd name="adj2" fmla="val 18684423"/>
                </a:avLst>
              </a:prstGeom>
              <a:noFill/>
              <a:ln w="22225" cap="rnd" cmpd="sng" algn="ctr">
                <a:solidFill>
                  <a:srgbClr val="FFFFFF"/>
                </a:solidFill>
                <a:prstDash val="solid"/>
                <a:headEnd type="none" w="lg" len="med"/>
                <a:tailEnd type="arrow" w="lg" len="med"/>
              </a:ln>
              <a:effectLst/>
            </p:spPr>
            <p:txBody>
              <a:bodyPr rtlCol="0" anchor="ctr"/>
              <a:lstStyle/>
              <a:p>
                <a:pPr marL="0" marR="0" lvl="0" indent="0" algn="ctr" defTabSz="896215" rtl="0" eaLnBrk="1" fontAlgn="auto" latinLnBrk="0" hangingPunct="1">
                  <a:lnSpc>
                    <a:spcPct val="100000"/>
                  </a:lnSpc>
                  <a:spcBef>
                    <a:spcPts val="0"/>
                  </a:spcBef>
                  <a:spcAft>
                    <a:spcPts val="0"/>
                  </a:spcAft>
                  <a:buClrTx/>
                  <a:buSzTx/>
                  <a:buFontTx/>
                  <a:buNone/>
                  <a:tabLst/>
                  <a:defRPr/>
                </a:pPr>
                <a:endParaRPr kumimoji="0" lang="en-IN" sz="1176" b="0" i="0" u="none" strike="noStrike" kern="0" cap="none" spc="0" normalizeH="0" baseline="0" noProof="0">
                  <a:ln>
                    <a:noFill/>
                  </a:ln>
                  <a:solidFill>
                    <a:srgbClr val="1A1A1A"/>
                  </a:solidFill>
                  <a:effectLst/>
                  <a:uLnTx/>
                  <a:uFillTx/>
                  <a:latin typeface="Segoe UI"/>
                  <a:ea typeface="+mn-ea"/>
                  <a:cs typeface="+mn-cs"/>
                </a:endParaRPr>
              </a:p>
            </p:txBody>
          </p:sp>
        </p:grpSp>
        <p:sp>
          <p:nvSpPr>
            <p:cNvPr id="55" name="white">
              <a:extLst>
                <a:ext uri="{FF2B5EF4-FFF2-40B4-BE49-F238E27FC236}">
                  <a16:creationId xmlns:a16="http://schemas.microsoft.com/office/drawing/2014/main" id="{31A956D1-F29B-4C4D-9228-D640B35EE200}"/>
                </a:ext>
              </a:extLst>
            </p:cNvPr>
            <p:cNvSpPr>
              <a:spLocks noChangeArrowheads="1"/>
            </p:cNvSpPr>
            <p:nvPr userDrawn="1"/>
          </p:nvSpPr>
          <p:spPr bwMode="auto">
            <a:xfrm>
              <a:off x="4318894" y="1595889"/>
              <a:ext cx="3385104" cy="3391064"/>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de-DE" sz="1078" b="0" i="0" u="none" strike="noStrike" kern="0" cap="none" spc="0" normalizeH="0" baseline="0" noProof="0">
                <a:ln>
                  <a:noFill/>
                </a:ln>
                <a:solidFill>
                  <a:srgbClr val="1A1A1A"/>
                </a:solidFill>
                <a:effectLst/>
                <a:uLnTx/>
                <a:uFillTx/>
                <a:latin typeface="Segoe UI Semibold"/>
                <a:ea typeface="+mn-ea"/>
                <a:cs typeface="+mn-cs"/>
              </a:endParaRPr>
            </a:p>
          </p:txBody>
        </p:sp>
      </p:grpSp>
      <p:sp>
        <p:nvSpPr>
          <p:cNvPr id="24" name="Commerce">
            <a:extLst>
              <a:ext uri="{FF2B5EF4-FFF2-40B4-BE49-F238E27FC236}">
                <a16:creationId xmlns:a16="http://schemas.microsoft.com/office/drawing/2014/main" id="{45C26EA2-962F-5B4D-AD3A-BD1C10D2A36D}"/>
              </a:ext>
            </a:extLst>
          </p:cNvPr>
          <p:cNvSpPr txBox="1"/>
          <p:nvPr userDrawn="1"/>
        </p:nvSpPr>
        <p:spPr>
          <a:xfrm>
            <a:off x="6772800" y="3818881"/>
            <a:ext cx="677703" cy="15388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tx2"/>
                </a:solidFill>
                <a:effectLst/>
                <a:uLnTx/>
                <a:uFillTx/>
                <a:latin typeface="Segoe UI Semibold"/>
                <a:ea typeface="+mn-ea"/>
                <a:cs typeface="Segoe UI Light" panose="020B0502040204020203" pitchFamily="34" charset="0"/>
              </a:rPr>
              <a:t>Retail</a:t>
            </a:r>
          </a:p>
        </p:txBody>
      </p:sp>
      <p:grpSp>
        <p:nvGrpSpPr>
          <p:cNvPr id="25" name="Group 24">
            <a:extLst>
              <a:ext uri="{FF2B5EF4-FFF2-40B4-BE49-F238E27FC236}">
                <a16:creationId xmlns:a16="http://schemas.microsoft.com/office/drawing/2014/main" id="{F9C58734-B25A-AF44-A7BF-4F1701CD9975}"/>
              </a:ext>
            </a:extLst>
          </p:cNvPr>
          <p:cNvGrpSpPr/>
          <p:nvPr userDrawn="1"/>
        </p:nvGrpSpPr>
        <p:grpSpPr>
          <a:xfrm>
            <a:off x="7008201" y="3546528"/>
            <a:ext cx="206901" cy="220670"/>
            <a:chOff x="7008201" y="3582386"/>
            <a:chExt cx="206901" cy="220670"/>
          </a:xfrm>
          <a:solidFill>
            <a:schemeClr val="tx2"/>
          </a:solidFill>
        </p:grpSpPr>
        <p:sp>
          <p:nvSpPr>
            <p:cNvPr id="48" name="Freeform 5">
              <a:extLst>
                <a:ext uri="{FF2B5EF4-FFF2-40B4-BE49-F238E27FC236}">
                  <a16:creationId xmlns:a16="http://schemas.microsoft.com/office/drawing/2014/main" id="{A5CB051A-50D0-1B42-B65A-6E410E47E95C}"/>
                </a:ext>
              </a:extLst>
            </p:cNvPr>
            <p:cNvSpPr>
              <a:spLocks/>
            </p:cNvSpPr>
            <p:nvPr/>
          </p:nvSpPr>
          <p:spPr bwMode="auto">
            <a:xfrm>
              <a:off x="7035863" y="3582386"/>
              <a:ext cx="82735" cy="82736"/>
            </a:xfrm>
            <a:custGeom>
              <a:avLst/>
              <a:gdLst>
                <a:gd name="T0" fmla="*/ 16 w 96"/>
                <a:gd name="T1" fmla="*/ 48 h 96"/>
                <a:gd name="T2" fmla="*/ 48 w 96"/>
                <a:gd name="T3" fmla="*/ 16 h 96"/>
                <a:gd name="T4" fmla="*/ 80 w 96"/>
                <a:gd name="T5" fmla="*/ 48 h 96"/>
                <a:gd name="T6" fmla="*/ 80 w 96"/>
                <a:gd name="T7" fmla="*/ 96 h 96"/>
                <a:gd name="T8" fmla="*/ 96 w 96"/>
                <a:gd name="T9" fmla="*/ 96 h 96"/>
                <a:gd name="T10" fmla="*/ 96 w 96"/>
                <a:gd name="T11" fmla="*/ 48 h 96"/>
                <a:gd name="T12" fmla="*/ 48 w 96"/>
                <a:gd name="T13" fmla="*/ 0 h 96"/>
                <a:gd name="T14" fmla="*/ 0 w 96"/>
                <a:gd name="T15" fmla="*/ 48 h 96"/>
                <a:gd name="T16" fmla="*/ 0 w 96"/>
                <a:gd name="T17" fmla="*/ 96 h 96"/>
                <a:gd name="T18" fmla="*/ 16 w 96"/>
                <a:gd name="T19" fmla="*/ 96 h 96"/>
                <a:gd name="T20" fmla="*/ 16 w 96"/>
                <a:gd name="T21"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96">
                  <a:moveTo>
                    <a:pt x="16" y="48"/>
                  </a:moveTo>
                  <a:cubicBezTo>
                    <a:pt x="16" y="30"/>
                    <a:pt x="30" y="16"/>
                    <a:pt x="48" y="16"/>
                  </a:cubicBezTo>
                  <a:cubicBezTo>
                    <a:pt x="66" y="16"/>
                    <a:pt x="80" y="30"/>
                    <a:pt x="80" y="48"/>
                  </a:cubicBezTo>
                  <a:cubicBezTo>
                    <a:pt x="80" y="96"/>
                    <a:pt x="80" y="96"/>
                    <a:pt x="80" y="96"/>
                  </a:cubicBezTo>
                  <a:cubicBezTo>
                    <a:pt x="96" y="96"/>
                    <a:pt x="96" y="96"/>
                    <a:pt x="96" y="96"/>
                  </a:cubicBezTo>
                  <a:cubicBezTo>
                    <a:pt x="96" y="48"/>
                    <a:pt x="96" y="48"/>
                    <a:pt x="96" y="48"/>
                  </a:cubicBezTo>
                  <a:cubicBezTo>
                    <a:pt x="96" y="22"/>
                    <a:pt x="74" y="0"/>
                    <a:pt x="48" y="0"/>
                  </a:cubicBezTo>
                  <a:cubicBezTo>
                    <a:pt x="22" y="0"/>
                    <a:pt x="0" y="22"/>
                    <a:pt x="0" y="48"/>
                  </a:cubicBezTo>
                  <a:cubicBezTo>
                    <a:pt x="0" y="96"/>
                    <a:pt x="0" y="96"/>
                    <a:pt x="0" y="96"/>
                  </a:cubicBezTo>
                  <a:cubicBezTo>
                    <a:pt x="16" y="96"/>
                    <a:pt x="16" y="96"/>
                    <a:pt x="16" y="96"/>
                  </a:cubicBezTo>
                  <a:lnTo>
                    <a:pt x="16" y="48"/>
                  </a:lnTo>
                  <a:close/>
                </a:path>
              </a:pathLst>
            </a:custGeom>
            <a:grp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lumMod val="50000"/>
                  </a:srgbClr>
                </a:solidFill>
                <a:effectLst/>
                <a:uLnTx/>
                <a:uFillTx/>
                <a:latin typeface="Segoe UI Semibold"/>
                <a:ea typeface="+mn-ea"/>
                <a:cs typeface="+mn-cs"/>
              </a:endParaRPr>
            </a:p>
          </p:txBody>
        </p:sp>
        <p:sp>
          <p:nvSpPr>
            <p:cNvPr id="49" name="Freeform 6">
              <a:extLst>
                <a:ext uri="{FF2B5EF4-FFF2-40B4-BE49-F238E27FC236}">
                  <a16:creationId xmlns:a16="http://schemas.microsoft.com/office/drawing/2014/main" id="{D83BF430-A50D-4144-927C-A9F1B68C8FCA}"/>
                </a:ext>
              </a:extLst>
            </p:cNvPr>
            <p:cNvSpPr>
              <a:spLocks/>
            </p:cNvSpPr>
            <p:nvPr/>
          </p:nvSpPr>
          <p:spPr bwMode="auto">
            <a:xfrm>
              <a:off x="7008201" y="3637585"/>
              <a:ext cx="137934" cy="151703"/>
            </a:xfrm>
            <a:custGeom>
              <a:avLst/>
              <a:gdLst>
                <a:gd name="T0" fmla="*/ 110 w 1102"/>
                <a:gd name="T1" fmla="*/ 1102 h 1212"/>
                <a:gd name="T2" fmla="*/ 110 w 1102"/>
                <a:gd name="T3" fmla="*/ 110 h 1212"/>
                <a:gd name="T4" fmla="*/ 992 w 1102"/>
                <a:gd name="T5" fmla="*/ 110 h 1212"/>
                <a:gd name="T6" fmla="*/ 992 w 1102"/>
                <a:gd name="T7" fmla="*/ 441 h 1212"/>
                <a:gd name="T8" fmla="*/ 1102 w 1102"/>
                <a:gd name="T9" fmla="*/ 441 h 1212"/>
                <a:gd name="T10" fmla="*/ 1102 w 1102"/>
                <a:gd name="T11" fmla="*/ 0 h 1212"/>
                <a:gd name="T12" fmla="*/ 0 w 1102"/>
                <a:gd name="T13" fmla="*/ 0 h 1212"/>
                <a:gd name="T14" fmla="*/ 0 w 1102"/>
                <a:gd name="T15" fmla="*/ 1212 h 1212"/>
                <a:gd name="T16" fmla="*/ 441 w 1102"/>
                <a:gd name="T17" fmla="*/ 1212 h 1212"/>
                <a:gd name="T18" fmla="*/ 441 w 1102"/>
                <a:gd name="T19" fmla="*/ 1102 h 1212"/>
                <a:gd name="T20" fmla="*/ 110 w 1102"/>
                <a:gd name="T21" fmla="*/ 1102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2" h="1212">
                  <a:moveTo>
                    <a:pt x="110" y="1102"/>
                  </a:moveTo>
                  <a:lnTo>
                    <a:pt x="110" y="110"/>
                  </a:lnTo>
                  <a:lnTo>
                    <a:pt x="992" y="110"/>
                  </a:lnTo>
                  <a:lnTo>
                    <a:pt x="992" y="441"/>
                  </a:lnTo>
                  <a:lnTo>
                    <a:pt x="1102" y="441"/>
                  </a:lnTo>
                  <a:lnTo>
                    <a:pt x="1102" y="0"/>
                  </a:lnTo>
                  <a:lnTo>
                    <a:pt x="0" y="0"/>
                  </a:lnTo>
                  <a:lnTo>
                    <a:pt x="0" y="1212"/>
                  </a:lnTo>
                  <a:lnTo>
                    <a:pt x="441" y="1212"/>
                  </a:lnTo>
                  <a:lnTo>
                    <a:pt x="441" y="1102"/>
                  </a:lnTo>
                  <a:lnTo>
                    <a:pt x="110" y="1102"/>
                  </a:lnTo>
                  <a:close/>
                </a:path>
              </a:pathLst>
            </a:custGeom>
            <a:grp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lumMod val="50000"/>
                  </a:srgbClr>
                </a:solidFill>
                <a:effectLst/>
                <a:uLnTx/>
                <a:uFillTx/>
                <a:latin typeface="Segoe UI Semibold"/>
                <a:ea typeface="+mn-ea"/>
                <a:cs typeface="+mn-cs"/>
              </a:endParaRPr>
            </a:p>
          </p:txBody>
        </p:sp>
        <p:sp>
          <p:nvSpPr>
            <p:cNvPr id="50" name="Freeform 7">
              <a:extLst>
                <a:ext uri="{FF2B5EF4-FFF2-40B4-BE49-F238E27FC236}">
                  <a16:creationId xmlns:a16="http://schemas.microsoft.com/office/drawing/2014/main" id="{5555B28D-5D52-394A-BDD6-75A2C2950E4D}"/>
                </a:ext>
              </a:extLst>
            </p:cNvPr>
            <p:cNvSpPr>
              <a:spLocks noEditPoints="1"/>
            </p:cNvSpPr>
            <p:nvPr/>
          </p:nvSpPr>
          <p:spPr bwMode="auto">
            <a:xfrm>
              <a:off x="7063400" y="3692784"/>
              <a:ext cx="151702" cy="110272"/>
            </a:xfrm>
            <a:custGeom>
              <a:avLst/>
              <a:gdLst>
                <a:gd name="T0" fmla="*/ 661 w 1212"/>
                <a:gd name="T1" fmla="*/ 0 h 881"/>
                <a:gd name="T2" fmla="*/ 551 w 1212"/>
                <a:gd name="T3" fmla="*/ 0 h 881"/>
                <a:gd name="T4" fmla="*/ 0 w 1212"/>
                <a:gd name="T5" fmla="*/ 0 h 881"/>
                <a:gd name="T6" fmla="*/ 0 w 1212"/>
                <a:gd name="T7" fmla="*/ 661 h 881"/>
                <a:gd name="T8" fmla="*/ 0 w 1212"/>
                <a:gd name="T9" fmla="*/ 771 h 881"/>
                <a:gd name="T10" fmla="*/ 0 w 1212"/>
                <a:gd name="T11" fmla="*/ 881 h 881"/>
                <a:gd name="T12" fmla="*/ 1212 w 1212"/>
                <a:gd name="T13" fmla="*/ 881 h 881"/>
                <a:gd name="T14" fmla="*/ 1212 w 1212"/>
                <a:gd name="T15" fmla="*/ 0 h 881"/>
                <a:gd name="T16" fmla="*/ 661 w 1212"/>
                <a:gd name="T17" fmla="*/ 0 h 881"/>
                <a:gd name="T18" fmla="*/ 1102 w 1212"/>
                <a:gd name="T19" fmla="*/ 771 h 881"/>
                <a:gd name="T20" fmla="*/ 110 w 1212"/>
                <a:gd name="T21" fmla="*/ 771 h 881"/>
                <a:gd name="T22" fmla="*/ 110 w 1212"/>
                <a:gd name="T23" fmla="*/ 771 h 881"/>
                <a:gd name="T24" fmla="*/ 110 w 1212"/>
                <a:gd name="T25" fmla="*/ 661 h 881"/>
                <a:gd name="T26" fmla="*/ 110 w 1212"/>
                <a:gd name="T27" fmla="*/ 110 h 881"/>
                <a:gd name="T28" fmla="*/ 551 w 1212"/>
                <a:gd name="T29" fmla="*/ 110 h 881"/>
                <a:gd name="T30" fmla="*/ 661 w 1212"/>
                <a:gd name="T31" fmla="*/ 110 h 881"/>
                <a:gd name="T32" fmla="*/ 1102 w 1212"/>
                <a:gd name="T33" fmla="*/ 110 h 881"/>
                <a:gd name="T34" fmla="*/ 1102 w 1212"/>
                <a:gd name="T35" fmla="*/ 771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2" h="881">
                  <a:moveTo>
                    <a:pt x="661" y="0"/>
                  </a:moveTo>
                  <a:lnTo>
                    <a:pt x="551" y="0"/>
                  </a:lnTo>
                  <a:lnTo>
                    <a:pt x="0" y="0"/>
                  </a:lnTo>
                  <a:lnTo>
                    <a:pt x="0" y="661"/>
                  </a:lnTo>
                  <a:lnTo>
                    <a:pt x="0" y="771"/>
                  </a:lnTo>
                  <a:lnTo>
                    <a:pt x="0" y="881"/>
                  </a:lnTo>
                  <a:lnTo>
                    <a:pt x="1212" y="881"/>
                  </a:lnTo>
                  <a:lnTo>
                    <a:pt x="1212" y="0"/>
                  </a:lnTo>
                  <a:lnTo>
                    <a:pt x="661" y="0"/>
                  </a:lnTo>
                  <a:close/>
                  <a:moveTo>
                    <a:pt x="1102" y="771"/>
                  </a:moveTo>
                  <a:lnTo>
                    <a:pt x="110" y="771"/>
                  </a:lnTo>
                  <a:lnTo>
                    <a:pt x="110" y="771"/>
                  </a:lnTo>
                  <a:lnTo>
                    <a:pt x="110" y="661"/>
                  </a:lnTo>
                  <a:lnTo>
                    <a:pt x="110" y="110"/>
                  </a:lnTo>
                  <a:lnTo>
                    <a:pt x="551" y="110"/>
                  </a:lnTo>
                  <a:lnTo>
                    <a:pt x="661" y="110"/>
                  </a:lnTo>
                  <a:lnTo>
                    <a:pt x="1102" y="110"/>
                  </a:lnTo>
                  <a:lnTo>
                    <a:pt x="1102" y="771"/>
                  </a:lnTo>
                  <a:close/>
                </a:path>
              </a:pathLst>
            </a:custGeom>
            <a:grp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lumMod val="50000"/>
                  </a:srgbClr>
                </a:solidFill>
                <a:effectLst/>
                <a:uLnTx/>
                <a:uFillTx/>
                <a:latin typeface="Segoe UI Semibold"/>
                <a:ea typeface="+mn-ea"/>
                <a:cs typeface="+mn-cs"/>
              </a:endParaRPr>
            </a:p>
          </p:txBody>
        </p:sp>
        <p:sp>
          <p:nvSpPr>
            <p:cNvPr id="51" name="Freeform 8">
              <a:extLst>
                <a:ext uri="{FF2B5EF4-FFF2-40B4-BE49-F238E27FC236}">
                  <a16:creationId xmlns:a16="http://schemas.microsoft.com/office/drawing/2014/main" id="{33BC0283-4F69-4544-B7BA-66BAF6ED2457}"/>
                </a:ext>
              </a:extLst>
            </p:cNvPr>
            <p:cNvSpPr>
              <a:spLocks/>
            </p:cNvSpPr>
            <p:nvPr/>
          </p:nvSpPr>
          <p:spPr bwMode="auto">
            <a:xfrm>
              <a:off x="7104705" y="3720320"/>
              <a:ext cx="68967" cy="55199"/>
            </a:xfrm>
            <a:custGeom>
              <a:avLst/>
              <a:gdLst>
                <a:gd name="T0" fmla="*/ 64 w 80"/>
                <a:gd name="T1" fmla="*/ 24 h 64"/>
                <a:gd name="T2" fmla="*/ 40 w 80"/>
                <a:gd name="T3" fmla="*/ 48 h 64"/>
                <a:gd name="T4" fmla="*/ 16 w 80"/>
                <a:gd name="T5" fmla="*/ 24 h 64"/>
                <a:gd name="T6" fmla="*/ 16 w 80"/>
                <a:gd name="T7" fmla="*/ 0 h 64"/>
                <a:gd name="T8" fmla="*/ 0 w 80"/>
                <a:gd name="T9" fmla="*/ 0 h 64"/>
                <a:gd name="T10" fmla="*/ 0 w 80"/>
                <a:gd name="T11" fmla="*/ 24 h 64"/>
                <a:gd name="T12" fmla="*/ 40 w 80"/>
                <a:gd name="T13" fmla="*/ 64 h 64"/>
                <a:gd name="T14" fmla="*/ 80 w 80"/>
                <a:gd name="T15" fmla="*/ 24 h 64"/>
                <a:gd name="T16" fmla="*/ 80 w 80"/>
                <a:gd name="T17" fmla="*/ 0 h 64"/>
                <a:gd name="T18" fmla="*/ 64 w 80"/>
                <a:gd name="T19" fmla="*/ 0 h 64"/>
                <a:gd name="T20" fmla="*/ 64 w 80"/>
                <a:gd name="T21" fmla="*/ 2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64">
                  <a:moveTo>
                    <a:pt x="64" y="24"/>
                  </a:moveTo>
                  <a:cubicBezTo>
                    <a:pt x="64" y="37"/>
                    <a:pt x="53" y="48"/>
                    <a:pt x="40" y="48"/>
                  </a:cubicBezTo>
                  <a:cubicBezTo>
                    <a:pt x="27" y="48"/>
                    <a:pt x="16" y="37"/>
                    <a:pt x="16" y="24"/>
                  </a:cubicBezTo>
                  <a:cubicBezTo>
                    <a:pt x="16" y="0"/>
                    <a:pt x="16" y="0"/>
                    <a:pt x="16" y="0"/>
                  </a:cubicBezTo>
                  <a:cubicBezTo>
                    <a:pt x="0" y="0"/>
                    <a:pt x="0" y="0"/>
                    <a:pt x="0" y="0"/>
                  </a:cubicBezTo>
                  <a:cubicBezTo>
                    <a:pt x="0" y="24"/>
                    <a:pt x="0" y="24"/>
                    <a:pt x="0" y="24"/>
                  </a:cubicBezTo>
                  <a:cubicBezTo>
                    <a:pt x="0" y="46"/>
                    <a:pt x="18" y="64"/>
                    <a:pt x="40" y="64"/>
                  </a:cubicBezTo>
                  <a:cubicBezTo>
                    <a:pt x="62" y="64"/>
                    <a:pt x="80" y="46"/>
                    <a:pt x="80" y="24"/>
                  </a:cubicBezTo>
                  <a:cubicBezTo>
                    <a:pt x="80" y="0"/>
                    <a:pt x="80" y="0"/>
                    <a:pt x="80" y="0"/>
                  </a:cubicBezTo>
                  <a:cubicBezTo>
                    <a:pt x="64" y="0"/>
                    <a:pt x="64" y="0"/>
                    <a:pt x="64" y="0"/>
                  </a:cubicBezTo>
                  <a:lnTo>
                    <a:pt x="64" y="24"/>
                  </a:lnTo>
                  <a:close/>
                </a:path>
              </a:pathLst>
            </a:custGeom>
            <a:grp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lumMod val="50000"/>
                  </a:srgbClr>
                </a:solidFill>
                <a:effectLst/>
                <a:uLnTx/>
                <a:uFillTx/>
                <a:latin typeface="Segoe UI Semibold"/>
                <a:ea typeface="+mn-ea"/>
                <a:cs typeface="+mn-cs"/>
              </a:endParaRPr>
            </a:p>
          </p:txBody>
        </p:sp>
      </p:grpSp>
      <p:pic>
        <p:nvPicPr>
          <p:cNvPr id="26" name="Service ICON">
            <a:extLst>
              <a:ext uri="{FF2B5EF4-FFF2-40B4-BE49-F238E27FC236}">
                <a16:creationId xmlns:a16="http://schemas.microsoft.com/office/drawing/2014/main" id="{8C9DE1BF-A22A-0D47-B421-68270BBFB91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537922" y="4169851"/>
            <a:ext cx="183991" cy="250894"/>
          </a:xfrm>
          <a:prstGeom prst="rect">
            <a:avLst/>
          </a:prstGeom>
        </p:spPr>
      </p:pic>
      <p:sp>
        <p:nvSpPr>
          <p:cNvPr id="63" name="Oval 62">
            <a:extLst>
              <a:ext uri="{FF2B5EF4-FFF2-40B4-BE49-F238E27FC236}">
                <a16:creationId xmlns:a16="http://schemas.microsoft.com/office/drawing/2014/main" id="{B2DBF66C-A01F-4043-B27B-622EC208F3BB}"/>
              </a:ext>
            </a:extLst>
          </p:cNvPr>
          <p:cNvSpPr>
            <a:spLocks noChangeAspect="1"/>
          </p:cNvSpPr>
          <p:nvPr userDrawn="1"/>
        </p:nvSpPr>
        <p:spPr>
          <a:xfrm>
            <a:off x="4520317" y="3512549"/>
            <a:ext cx="699710" cy="701345"/>
          </a:xfrm>
          <a:prstGeom prst="ellipse">
            <a:avLst/>
          </a:prstGeom>
          <a:solidFill>
            <a:srgbClr val="30E5D0"/>
          </a:solidFill>
          <a:ln w="12700" cap="flat" cmpd="sng" algn="ctr">
            <a:noFill/>
            <a:prstDash val="solid"/>
            <a:miter lim="800000"/>
          </a:ln>
          <a:effectLst/>
        </p:spPr>
        <p:txBody>
          <a:bodyPr lIns="0" tIns="0" rIns="0" bIns="0" rtlCol="0" anchor="ctr"/>
          <a:lstStyle/>
          <a:p>
            <a:pPr marL="0" marR="0" lvl="0" indent="0" algn="ctr" defTabSz="932021"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endParaRPr>
          </a:p>
        </p:txBody>
      </p:sp>
      <p:sp>
        <p:nvSpPr>
          <p:cNvPr id="64" name="Oval 63">
            <a:extLst>
              <a:ext uri="{FF2B5EF4-FFF2-40B4-BE49-F238E27FC236}">
                <a16:creationId xmlns:a16="http://schemas.microsoft.com/office/drawing/2014/main" id="{57A648BA-7FAC-164A-BD6A-D054E173C26B}"/>
              </a:ext>
            </a:extLst>
          </p:cNvPr>
          <p:cNvSpPr>
            <a:spLocks noChangeAspect="1"/>
          </p:cNvSpPr>
          <p:nvPr userDrawn="1"/>
        </p:nvSpPr>
        <p:spPr>
          <a:xfrm>
            <a:off x="5022100" y="4141565"/>
            <a:ext cx="587490" cy="588863"/>
          </a:xfrm>
          <a:prstGeom prst="ellipse">
            <a:avLst/>
          </a:prstGeom>
          <a:solidFill>
            <a:srgbClr val="30E5D0"/>
          </a:solidFill>
          <a:ln w="12700" cap="flat" cmpd="sng" algn="ctr">
            <a:noFill/>
            <a:prstDash val="solid"/>
            <a:miter lim="800000"/>
          </a:ln>
          <a:effectLst/>
        </p:spPr>
        <p:txBody>
          <a:bodyPr lIns="0" tIns="0" rIns="0" bIns="0" rtlCol="0" anchor="ctr"/>
          <a:lstStyle/>
          <a:p>
            <a:pPr marL="0" marR="0" lvl="0" indent="0" algn="ctr" defTabSz="932021"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endParaRPr>
          </a:p>
        </p:txBody>
      </p:sp>
      <p:pic>
        <p:nvPicPr>
          <p:cNvPr id="27" name="Operations ICON" descr="Bar chart">
            <a:extLst>
              <a:ext uri="{FF2B5EF4-FFF2-40B4-BE49-F238E27FC236}">
                <a16:creationId xmlns:a16="http://schemas.microsoft.com/office/drawing/2014/main" id="{AEB6D8CA-A93C-7440-ADC0-82EC8D9EA16B}"/>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184531" y="4237905"/>
            <a:ext cx="272354" cy="272354"/>
          </a:xfrm>
          <a:prstGeom prst="rect">
            <a:avLst/>
          </a:prstGeom>
        </p:spPr>
      </p:pic>
      <p:sp>
        <p:nvSpPr>
          <p:cNvPr id="28" name="Service">
            <a:extLst>
              <a:ext uri="{FF2B5EF4-FFF2-40B4-BE49-F238E27FC236}">
                <a16:creationId xmlns:a16="http://schemas.microsoft.com/office/drawing/2014/main" id="{5C3EC645-25B2-5A47-99B2-7DD58C2DCAD8}"/>
              </a:ext>
            </a:extLst>
          </p:cNvPr>
          <p:cNvSpPr txBox="1"/>
          <p:nvPr userDrawn="1"/>
        </p:nvSpPr>
        <p:spPr>
          <a:xfrm>
            <a:off x="6314184" y="4474945"/>
            <a:ext cx="650716" cy="15388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tx2"/>
                </a:solidFill>
                <a:effectLst/>
                <a:uLnTx/>
                <a:uFillTx/>
                <a:latin typeface="Segoe UI Semibold"/>
                <a:ea typeface="+mn-ea"/>
                <a:cs typeface="Segoe UI Light" panose="020B0502040204020203" pitchFamily="34" charset="0"/>
              </a:rPr>
              <a:t>Service</a:t>
            </a:r>
          </a:p>
        </p:txBody>
      </p:sp>
      <p:sp>
        <p:nvSpPr>
          <p:cNvPr id="29" name="Operations">
            <a:extLst>
              <a:ext uri="{FF2B5EF4-FFF2-40B4-BE49-F238E27FC236}">
                <a16:creationId xmlns:a16="http://schemas.microsoft.com/office/drawing/2014/main" id="{700BE205-AAB5-5644-BC25-2A25729F493E}"/>
              </a:ext>
            </a:extLst>
          </p:cNvPr>
          <p:cNvSpPr txBox="1"/>
          <p:nvPr userDrawn="1"/>
        </p:nvSpPr>
        <p:spPr>
          <a:xfrm>
            <a:off x="4543126" y="3818881"/>
            <a:ext cx="645229" cy="15388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tx2"/>
                </a:solidFill>
                <a:effectLst/>
                <a:uLnTx/>
                <a:uFillTx/>
                <a:latin typeface="Segoe UI Semibold"/>
                <a:ea typeface="+mn-ea"/>
                <a:cs typeface="Segoe UI Light" panose="020B0502040204020203" pitchFamily="34" charset="0"/>
              </a:rPr>
              <a:t>Operations</a:t>
            </a:r>
          </a:p>
        </p:txBody>
      </p:sp>
      <p:sp>
        <p:nvSpPr>
          <p:cNvPr id="30" name="Finance">
            <a:extLst>
              <a:ext uri="{FF2B5EF4-FFF2-40B4-BE49-F238E27FC236}">
                <a16:creationId xmlns:a16="http://schemas.microsoft.com/office/drawing/2014/main" id="{B3E2C897-3AF4-4F4E-AA97-7243BC025DCF}"/>
              </a:ext>
            </a:extLst>
          </p:cNvPr>
          <p:cNvSpPr txBox="1"/>
          <p:nvPr userDrawn="1"/>
        </p:nvSpPr>
        <p:spPr>
          <a:xfrm>
            <a:off x="4945845" y="4474945"/>
            <a:ext cx="751372" cy="15388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tx2"/>
                </a:solidFill>
                <a:effectLst/>
                <a:uLnTx/>
                <a:uFillTx/>
                <a:latin typeface="Segoe UI Semibold"/>
                <a:ea typeface="+mn-ea"/>
                <a:cs typeface="Segoe UI Light" panose="020B0502040204020203" pitchFamily="34" charset="0"/>
              </a:rPr>
              <a:t>Finance</a:t>
            </a:r>
          </a:p>
        </p:txBody>
      </p:sp>
      <p:pic>
        <p:nvPicPr>
          <p:cNvPr id="31" name="Finance ICON" descr="Gears">
            <a:extLst>
              <a:ext uri="{FF2B5EF4-FFF2-40B4-BE49-F238E27FC236}">
                <a16:creationId xmlns:a16="http://schemas.microsoft.com/office/drawing/2014/main" id="{31999D84-DB03-1245-BD2B-286CC00FE1C4}"/>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6068" y="3562365"/>
            <a:ext cx="272354" cy="272354"/>
          </a:xfrm>
          <a:prstGeom prst="rect">
            <a:avLst/>
          </a:prstGeom>
        </p:spPr>
      </p:pic>
      <p:sp>
        <p:nvSpPr>
          <p:cNvPr id="32" name="Rectangle 13">
            <a:extLst>
              <a:ext uri="{FF2B5EF4-FFF2-40B4-BE49-F238E27FC236}">
                <a16:creationId xmlns:a16="http://schemas.microsoft.com/office/drawing/2014/main" id="{97CB2D16-9654-134E-B6A6-A16FADEF206E}"/>
              </a:ext>
            </a:extLst>
          </p:cNvPr>
          <p:cNvSpPr/>
          <p:nvPr userDrawn="1"/>
        </p:nvSpPr>
        <p:spPr bwMode="auto">
          <a:xfrm>
            <a:off x="4339252" y="3139331"/>
            <a:ext cx="3330821" cy="327375"/>
          </a:xfrm>
          <a:custGeom>
            <a:avLst/>
            <a:gdLst>
              <a:gd name="connsiteX0" fmla="*/ 0 w 3322917"/>
              <a:gd name="connsiteY0" fmla="*/ 0 h 351916"/>
              <a:gd name="connsiteX1" fmla="*/ 3322917 w 3322917"/>
              <a:gd name="connsiteY1" fmla="*/ 0 h 351916"/>
              <a:gd name="connsiteX2" fmla="*/ 3322917 w 3322917"/>
              <a:gd name="connsiteY2" fmla="*/ 351916 h 351916"/>
              <a:gd name="connsiteX3" fmla="*/ 0 w 3322917"/>
              <a:gd name="connsiteY3" fmla="*/ 351916 h 351916"/>
              <a:gd name="connsiteX4" fmla="*/ 0 w 3322917"/>
              <a:gd name="connsiteY4" fmla="*/ 0 h 351916"/>
              <a:gd name="connsiteX0" fmla="*/ 0 w 3352800"/>
              <a:gd name="connsiteY0" fmla="*/ 0 h 351916"/>
              <a:gd name="connsiteX1" fmla="*/ 3352800 w 3352800"/>
              <a:gd name="connsiteY1" fmla="*/ 17929 h 351916"/>
              <a:gd name="connsiteX2" fmla="*/ 3322917 w 3352800"/>
              <a:gd name="connsiteY2" fmla="*/ 351916 h 351916"/>
              <a:gd name="connsiteX3" fmla="*/ 0 w 3352800"/>
              <a:gd name="connsiteY3" fmla="*/ 351916 h 351916"/>
              <a:gd name="connsiteX4" fmla="*/ 0 w 3352800"/>
              <a:gd name="connsiteY4" fmla="*/ 0 h 351916"/>
              <a:gd name="connsiteX0" fmla="*/ 0 w 3364752"/>
              <a:gd name="connsiteY0" fmla="*/ 0 h 351916"/>
              <a:gd name="connsiteX1" fmla="*/ 3352800 w 3364752"/>
              <a:gd name="connsiteY1" fmla="*/ 17929 h 351916"/>
              <a:gd name="connsiteX2" fmla="*/ 3364752 w 3364752"/>
              <a:gd name="connsiteY2" fmla="*/ 351916 h 351916"/>
              <a:gd name="connsiteX3" fmla="*/ 0 w 3364752"/>
              <a:gd name="connsiteY3" fmla="*/ 351916 h 351916"/>
              <a:gd name="connsiteX4" fmla="*/ 0 w 3364752"/>
              <a:gd name="connsiteY4" fmla="*/ 0 h 351916"/>
              <a:gd name="connsiteX0" fmla="*/ 0 w 3394635"/>
              <a:gd name="connsiteY0" fmla="*/ 0 h 351916"/>
              <a:gd name="connsiteX1" fmla="*/ 3382683 w 3394635"/>
              <a:gd name="connsiteY1" fmla="*/ 17929 h 351916"/>
              <a:gd name="connsiteX2" fmla="*/ 3394635 w 3394635"/>
              <a:gd name="connsiteY2" fmla="*/ 351916 h 351916"/>
              <a:gd name="connsiteX3" fmla="*/ 29883 w 3394635"/>
              <a:gd name="connsiteY3" fmla="*/ 351916 h 351916"/>
              <a:gd name="connsiteX4" fmla="*/ 0 w 3394635"/>
              <a:gd name="connsiteY4" fmla="*/ 0 h 351916"/>
              <a:gd name="connsiteX0" fmla="*/ 5976 w 3400611"/>
              <a:gd name="connsiteY0" fmla="*/ 0 h 351916"/>
              <a:gd name="connsiteX1" fmla="*/ 3388659 w 3400611"/>
              <a:gd name="connsiteY1" fmla="*/ 17929 h 351916"/>
              <a:gd name="connsiteX2" fmla="*/ 3400611 w 3400611"/>
              <a:gd name="connsiteY2" fmla="*/ 351916 h 351916"/>
              <a:gd name="connsiteX3" fmla="*/ 0 w 3400611"/>
              <a:gd name="connsiteY3" fmla="*/ 351916 h 351916"/>
              <a:gd name="connsiteX4" fmla="*/ 5976 w 3400611"/>
              <a:gd name="connsiteY4" fmla="*/ 0 h 351916"/>
              <a:gd name="connsiteX0" fmla="*/ 0 w 3394635"/>
              <a:gd name="connsiteY0" fmla="*/ 0 h 351916"/>
              <a:gd name="connsiteX1" fmla="*/ 3382683 w 3394635"/>
              <a:gd name="connsiteY1" fmla="*/ 17929 h 351916"/>
              <a:gd name="connsiteX2" fmla="*/ 3394635 w 3394635"/>
              <a:gd name="connsiteY2" fmla="*/ 351916 h 351916"/>
              <a:gd name="connsiteX3" fmla="*/ 29883 w 3394635"/>
              <a:gd name="connsiteY3" fmla="*/ 310080 h 351916"/>
              <a:gd name="connsiteX4" fmla="*/ 0 w 3394635"/>
              <a:gd name="connsiteY4" fmla="*/ 0 h 351916"/>
              <a:gd name="connsiteX0" fmla="*/ 0 w 3394635"/>
              <a:gd name="connsiteY0" fmla="*/ 71718 h 333987"/>
              <a:gd name="connsiteX1" fmla="*/ 3382683 w 3394635"/>
              <a:gd name="connsiteY1" fmla="*/ 0 h 333987"/>
              <a:gd name="connsiteX2" fmla="*/ 3394635 w 3394635"/>
              <a:gd name="connsiteY2" fmla="*/ 333987 h 333987"/>
              <a:gd name="connsiteX3" fmla="*/ 29883 w 3394635"/>
              <a:gd name="connsiteY3" fmla="*/ 292151 h 333987"/>
              <a:gd name="connsiteX4" fmla="*/ 0 w 3394635"/>
              <a:gd name="connsiteY4" fmla="*/ 71718 h 333987"/>
              <a:gd name="connsiteX0" fmla="*/ 0 w 3394635"/>
              <a:gd name="connsiteY0" fmla="*/ 71718 h 333987"/>
              <a:gd name="connsiteX1" fmla="*/ 3382683 w 3394635"/>
              <a:gd name="connsiteY1" fmla="*/ 0 h 333987"/>
              <a:gd name="connsiteX2" fmla="*/ 3394635 w 3394635"/>
              <a:gd name="connsiteY2" fmla="*/ 333987 h 333987"/>
              <a:gd name="connsiteX3" fmla="*/ 29883 w 3394635"/>
              <a:gd name="connsiteY3" fmla="*/ 292151 h 333987"/>
              <a:gd name="connsiteX4" fmla="*/ 0 w 3394635"/>
              <a:gd name="connsiteY4" fmla="*/ 71718 h 333987"/>
              <a:gd name="connsiteX0" fmla="*/ 0 w 3394635"/>
              <a:gd name="connsiteY0" fmla="*/ 71718 h 333987"/>
              <a:gd name="connsiteX1" fmla="*/ 3382683 w 3394635"/>
              <a:gd name="connsiteY1" fmla="*/ 0 h 333987"/>
              <a:gd name="connsiteX2" fmla="*/ 3394635 w 3394635"/>
              <a:gd name="connsiteY2" fmla="*/ 333987 h 333987"/>
              <a:gd name="connsiteX3" fmla="*/ 29883 w 3394635"/>
              <a:gd name="connsiteY3" fmla="*/ 292151 h 333987"/>
              <a:gd name="connsiteX4" fmla="*/ 0 w 3394635"/>
              <a:gd name="connsiteY4" fmla="*/ 71718 h 333987"/>
              <a:gd name="connsiteX0" fmla="*/ 1412 w 3396047"/>
              <a:gd name="connsiteY0" fmla="*/ 71718 h 333987"/>
              <a:gd name="connsiteX1" fmla="*/ 3384095 w 3396047"/>
              <a:gd name="connsiteY1" fmla="*/ 0 h 333987"/>
              <a:gd name="connsiteX2" fmla="*/ 3396047 w 3396047"/>
              <a:gd name="connsiteY2" fmla="*/ 333987 h 333987"/>
              <a:gd name="connsiteX3" fmla="*/ 31295 w 3396047"/>
              <a:gd name="connsiteY3" fmla="*/ 292151 h 333987"/>
              <a:gd name="connsiteX4" fmla="*/ 1412 w 3396047"/>
              <a:gd name="connsiteY4" fmla="*/ 71718 h 333987"/>
              <a:gd name="connsiteX0" fmla="*/ 1412 w 3396049"/>
              <a:gd name="connsiteY0" fmla="*/ 71718 h 333987"/>
              <a:gd name="connsiteX1" fmla="*/ 3384095 w 3396049"/>
              <a:gd name="connsiteY1" fmla="*/ 0 h 333987"/>
              <a:gd name="connsiteX2" fmla="*/ 3396049 w 3396049"/>
              <a:gd name="connsiteY2" fmla="*/ 167157 h 333987"/>
              <a:gd name="connsiteX3" fmla="*/ 3396047 w 3396049"/>
              <a:gd name="connsiteY3" fmla="*/ 333987 h 333987"/>
              <a:gd name="connsiteX4" fmla="*/ 31295 w 3396049"/>
              <a:gd name="connsiteY4" fmla="*/ 292151 h 333987"/>
              <a:gd name="connsiteX5" fmla="*/ 1412 w 3396049"/>
              <a:gd name="connsiteY5" fmla="*/ 71718 h 333987"/>
              <a:gd name="connsiteX0" fmla="*/ 1412 w 3419955"/>
              <a:gd name="connsiteY0" fmla="*/ 71718 h 333987"/>
              <a:gd name="connsiteX1" fmla="*/ 3384095 w 3419955"/>
              <a:gd name="connsiteY1" fmla="*/ 0 h 333987"/>
              <a:gd name="connsiteX2" fmla="*/ 3419955 w 3419955"/>
              <a:gd name="connsiteY2" fmla="*/ 155204 h 333987"/>
              <a:gd name="connsiteX3" fmla="*/ 3396047 w 3419955"/>
              <a:gd name="connsiteY3" fmla="*/ 333987 h 333987"/>
              <a:gd name="connsiteX4" fmla="*/ 31295 w 3419955"/>
              <a:gd name="connsiteY4" fmla="*/ 292151 h 333987"/>
              <a:gd name="connsiteX5" fmla="*/ 1412 w 3419955"/>
              <a:gd name="connsiteY5" fmla="*/ 71718 h 333987"/>
              <a:gd name="connsiteX0" fmla="*/ 1412 w 3419955"/>
              <a:gd name="connsiteY0" fmla="*/ 71718 h 333987"/>
              <a:gd name="connsiteX1" fmla="*/ 3384095 w 3419955"/>
              <a:gd name="connsiteY1" fmla="*/ 0 h 333987"/>
              <a:gd name="connsiteX2" fmla="*/ 3419955 w 3419955"/>
              <a:gd name="connsiteY2" fmla="*/ 155204 h 333987"/>
              <a:gd name="connsiteX3" fmla="*/ 3378117 w 3419955"/>
              <a:gd name="connsiteY3" fmla="*/ 333987 h 333987"/>
              <a:gd name="connsiteX4" fmla="*/ 31295 w 3419955"/>
              <a:gd name="connsiteY4" fmla="*/ 292151 h 333987"/>
              <a:gd name="connsiteX5" fmla="*/ 1412 w 3419955"/>
              <a:gd name="connsiteY5" fmla="*/ 71718 h 333987"/>
              <a:gd name="connsiteX0" fmla="*/ 1412 w 3419955"/>
              <a:gd name="connsiteY0" fmla="*/ 71718 h 333987"/>
              <a:gd name="connsiteX1" fmla="*/ 3366166 w 3419955"/>
              <a:gd name="connsiteY1" fmla="*/ 0 h 333987"/>
              <a:gd name="connsiteX2" fmla="*/ 3419955 w 3419955"/>
              <a:gd name="connsiteY2" fmla="*/ 155204 h 333987"/>
              <a:gd name="connsiteX3" fmla="*/ 3378117 w 3419955"/>
              <a:gd name="connsiteY3" fmla="*/ 333987 h 333987"/>
              <a:gd name="connsiteX4" fmla="*/ 31295 w 3419955"/>
              <a:gd name="connsiteY4" fmla="*/ 292151 h 333987"/>
              <a:gd name="connsiteX5" fmla="*/ 1412 w 3419955"/>
              <a:gd name="connsiteY5" fmla="*/ 71718 h 333987"/>
              <a:gd name="connsiteX0" fmla="*/ 1412 w 3396049"/>
              <a:gd name="connsiteY0" fmla="*/ 71718 h 333987"/>
              <a:gd name="connsiteX1" fmla="*/ 3366166 w 3396049"/>
              <a:gd name="connsiteY1" fmla="*/ 0 h 333987"/>
              <a:gd name="connsiteX2" fmla="*/ 3396049 w 3396049"/>
              <a:gd name="connsiteY2" fmla="*/ 161181 h 333987"/>
              <a:gd name="connsiteX3" fmla="*/ 3378117 w 3396049"/>
              <a:gd name="connsiteY3" fmla="*/ 333987 h 333987"/>
              <a:gd name="connsiteX4" fmla="*/ 31295 w 3396049"/>
              <a:gd name="connsiteY4" fmla="*/ 292151 h 333987"/>
              <a:gd name="connsiteX5" fmla="*/ 1412 w 3396049"/>
              <a:gd name="connsiteY5" fmla="*/ 71718 h 333987"/>
              <a:gd name="connsiteX0" fmla="*/ 6743 w 3401380"/>
              <a:gd name="connsiteY0" fmla="*/ 71718 h 333987"/>
              <a:gd name="connsiteX1" fmla="*/ 3371497 w 3401380"/>
              <a:gd name="connsiteY1" fmla="*/ 0 h 333987"/>
              <a:gd name="connsiteX2" fmla="*/ 3401380 w 3401380"/>
              <a:gd name="connsiteY2" fmla="*/ 161181 h 333987"/>
              <a:gd name="connsiteX3" fmla="*/ 3383448 w 3401380"/>
              <a:gd name="connsiteY3" fmla="*/ 333987 h 333987"/>
              <a:gd name="connsiteX4" fmla="*/ 6744 w 3401380"/>
              <a:gd name="connsiteY4" fmla="*/ 292151 h 333987"/>
              <a:gd name="connsiteX5" fmla="*/ 6743 w 3401380"/>
              <a:gd name="connsiteY5" fmla="*/ 71718 h 333987"/>
              <a:gd name="connsiteX0" fmla="*/ 15409 w 3398093"/>
              <a:gd name="connsiteY0" fmla="*/ 65742 h 333987"/>
              <a:gd name="connsiteX1" fmla="*/ 3368210 w 3398093"/>
              <a:gd name="connsiteY1" fmla="*/ 0 h 333987"/>
              <a:gd name="connsiteX2" fmla="*/ 3398093 w 3398093"/>
              <a:gd name="connsiteY2" fmla="*/ 161181 h 333987"/>
              <a:gd name="connsiteX3" fmla="*/ 3380161 w 3398093"/>
              <a:gd name="connsiteY3" fmla="*/ 333987 h 333987"/>
              <a:gd name="connsiteX4" fmla="*/ 3457 w 3398093"/>
              <a:gd name="connsiteY4" fmla="*/ 292151 h 333987"/>
              <a:gd name="connsiteX5" fmla="*/ 15409 w 3398093"/>
              <a:gd name="connsiteY5" fmla="*/ 65742 h 333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8093" h="333987">
                <a:moveTo>
                  <a:pt x="15409" y="65742"/>
                </a:moveTo>
                <a:cubicBezTo>
                  <a:pt x="156853" y="65742"/>
                  <a:pt x="2240649" y="23906"/>
                  <a:pt x="3368210" y="0"/>
                </a:cubicBezTo>
                <a:lnTo>
                  <a:pt x="3398093" y="161181"/>
                </a:lnTo>
                <a:cubicBezTo>
                  <a:pt x="3398092" y="216791"/>
                  <a:pt x="3380162" y="278377"/>
                  <a:pt x="3380161" y="333987"/>
                </a:cubicBezTo>
                <a:lnTo>
                  <a:pt x="3457" y="292151"/>
                </a:lnTo>
                <a:cubicBezTo>
                  <a:pt x="-6504" y="218673"/>
                  <a:pt x="7441" y="181055"/>
                  <a:pt x="15409" y="65742"/>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Marketing">
            <a:extLst>
              <a:ext uri="{FF2B5EF4-FFF2-40B4-BE49-F238E27FC236}">
                <a16:creationId xmlns:a16="http://schemas.microsoft.com/office/drawing/2014/main" id="{F9572FF9-2820-7443-87E5-18912E70B4E0}"/>
              </a:ext>
            </a:extLst>
          </p:cNvPr>
          <p:cNvSpPr txBox="1"/>
          <p:nvPr userDrawn="1"/>
        </p:nvSpPr>
        <p:spPr>
          <a:xfrm>
            <a:off x="5652633" y="1937314"/>
            <a:ext cx="611802" cy="15388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tx2"/>
                </a:solidFill>
                <a:effectLst/>
                <a:uLnTx/>
                <a:uFillTx/>
                <a:latin typeface="Segoe UI Semibold"/>
                <a:ea typeface="+mn-ea"/>
                <a:cs typeface="Segoe UI Light" panose="020B0502040204020203" pitchFamily="34" charset="0"/>
              </a:rPr>
              <a:t>Marketing</a:t>
            </a:r>
          </a:p>
        </p:txBody>
      </p:sp>
      <p:sp>
        <p:nvSpPr>
          <p:cNvPr id="36" name="Talent">
            <a:extLst>
              <a:ext uri="{FF2B5EF4-FFF2-40B4-BE49-F238E27FC236}">
                <a16:creationId xmlns:a16="http://schemas.microsoft.com/office/drawing/2014/main" id="{A179EB88-A356-3D48-A168-250037C41C7D}"/>
              </a:ext>
            </a:extLst>
          </p:cNvPr>
          <p:cNvSpPr txBox="1"/>
          <p:nvPr userDrawn="1"/>
        </p:nvSpPr>
        <p:spPr>
          <a:xfrm>
            <a:off x="4526888" y="2758404"/>
            <a:ext cx="677703" cy="15388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tx2"/>
                </a:solidFill>
                <a:effectLst/>
                <a:uLnTx/>
                <a:uFillTx/>
                <a:latin typeface="Segoe UI Semibold"/>
                <a:ea typeface="+mn-ea"/>
                <a:cs typeface="Segoe UI Light" panose="020B0502040204020203" pitchFamily="34" charset="0"/>
              </a:rPr>
              <a:t>Talent</a:t>
            </a:r>
          </a:p>
        </p:txBody>
      </p:sp>
      <p:grpSp>
        <p:nvGrpSpPr>
          <p:cNvPr id="37" name="Group 36">
            <a:extLst>
              <a:ext uri="{FF2B5EF4-FFF2-40B4-BE49-F238E27FC236}">
                <a16:creationId xmlns:a16="http://schemas.microsoft.com/office/drawing/2014/main" id="{56A5170E-71A1-5741-8E58-290E7827186C}"/>
              </a:ext>
            </a:extLst>
          </p:cNvPr>
          <p:cNvGrpSpPr/>
          <p:nvPr userDrawn="1"/>
        </p:nvGrpSpPr>
        <p:grpSpPr>
          <a:xfrm>
            <a:off x="4755079" y="2504163"/>
            <a:ext cx="221323" cy="194334"/>
            <a:chOff x="4755079" y="2540021"/>
            <a:chExt cx="221323" cy="194334"/>
          </a:xfrm>
          <a:solidFill>
            <a:schemeClr val="tx2"/>
          </a:solidFill>
        </p:grpSpPr>
        <p:sp>
          <p:nvSpPr>
            <p:cNvPr id="42" name="Freeform 12">
              <a:extLst>
                <a:ext uri="{FF2B5EF4-FFF2-40B4-BE49-F238E27FC236}">
                  <a16:creationId xmlns:a16="http://schemas.microsoft.com/office/drawing/2014/main" id="{C6B4AD52-502A-F844-BF8E-0B178226623D}"/>
                </a:ext>
              </a:extLst>
            </p:cNvPr>
            <p:cNvSpPr>
              <a:spLocks noEditPoints="1"/>
            </p:cNvSpPr>
            <p:nvPr/>
          </p:nvSpPr>
          <p:spPr bwMode="auto">
            <a:xfrm>
              <a:off x="4768874" y="2540021"/>
              <a:ext cx="69576" cy="69576"/>
            </a:xfrm>
            <a:custGeom>
              <a:avLst/>
              <a:gdLst>
                <a:gd name="T0" fmla="*/ 80 w 160"/>
                <a:gd name="T1" fmla="*/ 32 h 160"/>
                <a:gd name="T2" fmla="*/ 128 w 160"/>
                <a:gd name="T3" fmla="*/ 80 h 160"/>
                <a:gd name="T4" fmla="*/ 80 w 160"/>
                <a:gd name="T5" fmla="*/ 128 h 160"/>
                <a:gd name="T6" fmla="*/ 32 w 160"/>
                <a:gd name="T7" fmla="*/ 80 h 160"/>
                <a:gd name="T8" fmla="*/ 80 w 160"/>
                <a:gd name="T9" fmla="*/ 32 h 160"/>
                <a:gd name="T10" fmla="*/ 80 w 160"/>
                <a:gd name="T11" fmla="*/ 0 h 160"/>
                <a:gd name="T12" fmla="*/ 0 w 160"/>
                <a:gd name="T13" fmla="*/ 80 h 160"/>
                <a:gd name="T14" fmla="*/ 80 w 160"/>
                <a:gd name="T15" fmla="*/ 160 h 160"/>
                <a:gd name="T16" fmla="*/ 160 w 160"/>
                <a:gd name="T17" fmla="*/ 80 h 160"/>
                <a:gd name="T18" fmla="*/ 80 w 160"/>
                <a:gd name="T19"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32"/>
                  </a:moveTo>
                  <a:cubicBezTo>
                    <a:pt x="106" y="32"/>
                    <a:pt x="128" y="54"/>
                    <a:pt x="128" y="80"/>
                  </a:cubicBezTo>
                  <a:cubicBezTo>
                    <a:pt x="128" y="106"/>
                    <a:pt x="106" y="128"/>
                    <a:pt x="80" y="128"/>
                  </a:cubicBezTo>
                  <a:cubicBezTo>
                    <a:pt x="54" y="128"/>
                    <a:pt x="32" y="106"/>
                    <a:pt x="32" y="80"/>
                  </a:cubicBezTo>
                  <a:cubicBezTo>
                    <a:pt x="32" y="54"/>
                    <a:pt x="54" y="32"/>
                    <a:pt x="80" y="32"/>
                  </a:cubicBezTo>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path>
              </a:pathLst>
            </a:custGeom>
            <a:grp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lumMod val="50000"/>
                  </a:srgbClr>
                </a:solidFill>
                <a:effectLst/>
                <a:uLnTx/>
                <a:uFillTx/>
                <a:latin typeface="Segoe UI Semilight"/>
                <a:ea typeface="+mn-ea"/>
                <a:cs typeface="+mn-cs"/>
              </a:endParaRPr>
            </a:p>
          </p:txBody>
        </p:sp>
        <p:sp>
          <p:nvSpPr>
            <p:cNvPr id="43" name="Freeform 13">
              <a:extLst>
                <a:ext uri="{FF2B5EF4-FFF2-40B4-BE49-F238E27FC236}">
                  <a16:creationId xmlns:a16="http://schemas.microsoft.com/office/drawing/2014/main" id="{549FB1D6-7BD2-2B4A-8D97-BD7B080CBF6E}"/>
                </a:ext>
              </a:extLst>
            </p:cNvPr>
            <p:cNvSpPr>
              <a:spLocks noEditPoints="1"/>
            </p:cNvSpPr>
            <p:nvPr/>
          </p:nvSpPr>
          <p:spPr bwMode="auto">
            <a:xfrm>
              <a:off x="4893631" y="2540021"/>
              <a:ext cx="68976" cy="69576"/>
            </a:xfrm>
            <a:custGeom>
              <a:avLst/>
              <a:gdLst>
                <a:gd name="T0" fmla="*/ 80 w 160"/>
                <a:gd name="T1" fmla="*/ 32 h 160"/>
                <a:gd name="T2" fmla="*/ 128 w 160"/>
                <a:gd name="T3" fmla="*/ 80 h 160"/>
                <a:gd name="T4" fmla="*/ 80 w 160"/>
                <a:gd name="T5" fmla="*/ 128 h 160"/>
                <a:gd name="T6" fmla="*/ 32 w 160"/>
                <a:gd name="T7" fmla="*/ 80 h 160"/>
                <a:gd name="T8" fmla="*/ 80 w 160"/>
                <a:gd name="T9" fmla="*/ 32 h 160"/>
                <a:gd name="T10" fmla="*/ 80 w 160"/>
                <a:gd name="T11" fmla="*/ 0 h 160"/>
                <a:gd name="T12" fmla="*/ 0 w 160"/>
                <a:gd name="T13" fmla="*/ 80 h 160"/>
                <a:gd name="T14" fmla="*/ 80 w 160"/>
                <a:gd name="T15" fmla="*/ 160 h 160"/>
                <a:gd name="T16" fmla="*/ 160 w 160"/>
                <a:gd name="T17" fmla="*/ 80 h 160"/>
                <a:gd name="T18" fmla="*/ 80 w 160"/>
                <a:gd name="T19"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32"/>
                  </a:moveTo>
                  <a:cubicBezTo>
                    <a:pt x="106" y="32"/>
                    <a:pt x="128" y="54"/>
                    <a:pt x="128" y="80"/>
                  </a:cubicBezTo>
                  <a:cubicBezTo>
                    <a:pt x="128" y="106"/>
                    <a:pt x="106" y="128"/>
                    <a:pt x="80" y="128"/>
                  </a:cubicBezTo>
                  <a:cubicBezTo>
                    <a:pt x="54" y="128"/>
                    <a:pt x="32" y="106"/>
                    <a:pt x="32" y="80"/>
                  </a:cubicBezTo>
                  <a:cubicBezTo>
                    <a:pt x="32" y="54"/>
                    <a:pt x="54" y="32"/>
                    <a:pt x="80" y="32"/>
                  </a:cubicBezTo>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path>
              </a:pathLst>
            </a:custGeom>
            <a:grp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lumMod val="50000"/>
                  </a:srgbClr>
                </a:solidFill>
                <a:effectLst/>
                <a:uLnTx/>
                <a:uFillTx/>
                <a:latin typeface="Segoe UI Semilight"/>
                <a:ea typeface="+mn-ea"/>
                <a:cs typeface="+mn-cs"/>
              </a:endParaRPr>
            </a:p>
          </p:txBody>
        </p:sp>
        <p:sp>
          <p:nvSpPr>
            <p:cNvPr id="44" name="Freeform 14">
              <a:extLst>
                <a:ext uri="{FF2B5EF4-FFF2-40B4-BE49-F238E27FC236}">
                  <a16:creationId xmlns:a16="http://schemas.microsoft.com/office/drawing/2014/main" id="{E9E6F271-0E47-014B-BCD7-14AC5060D2DE}"/>
                </a:ext>
              </a:extLst>
            </p:cNvPr>
            <p:cNvSpPr>
              <a:spLocks/>
            </p:cNvSpPr>
            <p:nvPr/>
          </p:nvSpPr>
          <p:spPr bwMode="auto">
            <a:xfrm>
              <a:off x="4879836" y="2595202"/>
              <a:ext cx="96566" cy="97766"/>
            </a:xfrm>
            <a:custGeom>
              <a:avLst/>
              <a:gdLst>
                <a:gd name="T0" fmla="*/ 140 w 224"/>
                <a:gd name="T1" fmla="*/ 0 h 224"/>
                <a:gd name="T2" fmla="*/ 84 w 224"/>
                <a:gd name="T3" fmla="*/ 0 h 224"/>
                <a:gd name="T4" fmla="*/ 0 w 224"/>
                <a:gd name="T5" fmla="*/ 84 h 224"/>
                <a:gd name="T6" fmla="*/ 0 w 224"/>
                <a:gd name="T7" fmla="*/ 128 h 224"/>
                <a:gd name="T8" fmla="*/ 32 w 224"/>
                <a:gd name="T9" fmla="*/ 128 h 224"/>
                <a:gd name="T10" fmla="*/ 32 w 224"/>
                <a:gd name="T11" fmla="*/ 84 h 224"/>
                <a:gd name="T12" fmla="*/ 84 w 224"/>
                <a:gd name="T13" fmla="*/ 32 h 224"/>
                <a:gd name="T14" fmla="*/ 140 w 224"/>
                <a:gd name="T15" fmla="*/ 32 h 224"/>
                <a:gd name="T16" fmla="*/ 192 w 224"/>
                <a:gd name="T17" fmla="*/ 84 h 224"/>
                <a:gd name="T18" fmla="*/ 192 w 224"/>
                <a:gd name="T19" fmla="*/ 224 h 224"/>
                <a:gd name="T20" fmla="*/ 224 w 224"/>
                <a:gd name="T21" fmla="*/ 224 h 224"/>
                <a:gd name="T22" fmla="*/ 224 w 224"/>
                <a:gd name="T23" fmla="*/ 84 h 224"/>
                <a:gd name="T24" fmla="*/ 140 w 224"/>
                <a:gd name="T25"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224">
                  <a:moveTo>
                    <a:pt x="140" y="0"/>
                  </a:moveTo>
                  <a:cubicBezTo>
                    <a:pt x="84" y="0"/>
                    <a:pt x="84" y="0"/>
                    <a:pt x="84" y="0"/>
                  </a:cubicBezTo>
                  <a:cubicBezTo>
                    <a:pt x="38" y="0"/>
                    <a:pt x="0" y="38"/>
                    <a:pt x="0" y="84"/>
                  </a:cubicBezTo>
                  <a:cubicBezTo>
                    <a:pt x="0" y="128"/>
                    <a:pt x="0" y="128"/>
                    <a:pt x="0" y="128"/>
                  </a:cubicBezTo>
                  <a:cubicBezTo>
                    <a:pt x="32" y="128"/>
                    <a:pt x="32" y="128"/>
                    <a:pt x="32" y="128"/>
                  </a:cubicBezTo>
                  <a:cubicBezTo>
                    <a:pt x="32" y="84"/>
                    <a:pt x="32" y="84"/>
                    <a:pt x="32" y="84"/>
                  </a:cubicBezTo>
                  <a:cubicBezTo>
                    <a:pt x="32" y="56"/>
                    <a:pt x="56" y="32"/>
                    <a:pt x="84" y="32"/>
                  </a:cubicBezTo>
                  <a:cubicBezTo>
                    <a:pt x="140" y="32"/>
                    <a:pt x="140" y="32"/>
                    <a:pt x="140" y="32"/>
                  </a:cubicBezTo>
                  <a:cubicBezTo>
                    <a:pt x="168" y="32"/>
                    <a:pt x="192" y="56"/>
                    <a:pt x="192" y="84"/>
                  </a:cubicBezTo>
                  <a:cubicBezTo>
                    <a:pt x="192" y="224"/>
                    <a:pt x="192" y="224"/>
                    <a:pt x="192" y="224"/>
                  </a:cubicBezTo>
                  <a:cubicBezTo>
                    <a:pt x="224" y="224"/>
                    <a:pt x="224" y="224"/>
                    <a:pt x="224" y="224"/>
                  </a:cubicBezTo>
                  <a:cubicBezTo>
                    <a:pt x="224" y="84"/>
                    <a:pt x="224" y="84"/>
                    <a:pt x="224" y="84"/>
                  </a:cubicBezTo>
                  <a:cubicBezTo>
                    <a:pt x="224" y="38"/>
                    <a:pt x="186" y="0"/>
                    <a:pt x="140" y="0"/>
                  </a:cubicBezTo>
                  <a:close/>
                </a:path>
              </a:pathLst>
            </a:custGeom>
            <a:grp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lumMod val="50000"/>
                  </a:srgbClr>
                </a:solidFill>
                <a:effectLst/>
                <a:uLnTx/>
                <a:uFillTx/>
                <a:latin typeface="Segoe UI Semilight"/>
                <a:ea typeface="+mn-ea"/>
                <a:cs typeface="+mn-cs"/>
              </a:endParaRPr>
            </a:p>
          </p:txBody>
        </p:sp>
        <p:sp>
          <p:nvSpPr>
            <p:cNvPr id="45" name="Freeform 15">
              <a:extLst>
                <a:ext uri="{FF2B5EF4-FFF2-40B4-BE49-F238E27FC236}">
                  <a16:creationId xmlns:a16="http://schemas.microsoft.com/office/drawing/2014/main" id="{7D0526F6-68D1-3146-98E7-E94F49BD16F6}"/>
                </a:ext>
              </a:extLst>
            </p:cNvPr>
            <p:cNvSpPr>
              <a:spLocks/>
            </p:cNvSpPr>
            <p:nvPr/>
          </p:nvSpPr>
          <p:spPr bwMode="auto">
            <a:xfrm>
              <a:off x="4755079" y="2595202"/>
              <a:ext cx="97166" cy="97766"/>
            </a:xfrm>
            <a:custGeom>
              <a:avLst/>
              <a:gdLst>
                <a:gd name="T0" fmla="*/ 224 w 224"/>
                <a:gd name="T1" fmla="*/ 84 h 224"/>
                <a:gd name="T2" fmla="*/ 140 w 224"/>
                <a:gd name="T3" fmla="*/ 0 h 224"/>
                <a:gd name="T4" fmla="*/ 84 w 224"/>
                <a:gd name="T5" fmla="*/ 0 h 224"/>
                <a:gd name="T6" fmla="*/ 0 w 224"/>
                <a:gd name="T7" fmla="*/ 84 h 224"/>
                <a:gd name="T8" fmla="*/ 0 w 224"/>
                <a:gd name="T9" fmla="*/ 224 h 224"/>
                <a:gd name="T10" fmla="*/ 32 w 224"/>
                <a:gd name="T11" fmla="*/ 224 h 224"/>
                <a:gd name="T12" fmla="*/ 32 w 224"/>
                <a:gd name="T13" fmla="*/ 84 h 224"/>
                <a:gd name="T14" fmla="*/ 84 w 224"/>
                <a:gd name="T15" fmla="*/ 32 h 224"/>
                <a:gd name="T16" fmla="*/ 140 w 224"/>
                <a:gd name="T17" fmla="*/ 32 h 224"/>
                <a:gd name="T18" fmla="*/ 192 w 224"/>
                <a:gd name="T19" fmla="*/ 84 h 224"/>
                <a:gd name="T20" fmla="*/ 192 w 224"/>
                <a:gd name="T21" fmla="*/ 128 h 224"/>
                <a:gd name="T22" fmla="*/ 224 w 224"/>
                <a:gd name="T23" fmla="*/ 128 h 224"/>
                <a:gd name="T24" fmla="*/ 224 w 224"/>
                <a:gd name="T25" fmla="*/ 8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224">
                  <a:moveTo>
                    <a:pt x="224" y="84"/>
                  </a:moveTo>
                  <a:cubicBezTo>
                    <a:pt x="224" y="38"/>
                    <a:pt x="186" y="0"/>
                    <a:pt x="140" y="0"/>
                  </a:cubicBezTo>
                  <a:cubicBezTo>
                    <a:pt x="84" y="0"/>
                    <a:pt x="84" y="0"/>
                    <a:pt x="84" y="0"/>
                  </a:cubicBezTo>
                  <a:cubicBezTo>
                    <a:pt x="38" y="0"/>
                    <a:pt x="0" y="38"/>
                    <a:pt x="0" y="84"/>
                  </a:cubicBezTo>
                  <a:cubicBezTo>
                    <a:pt x="0" y="224"/>
                    <a:pt x="0" y="224"/>
                    <a:pt x="0" y="224"/>
                  </a:cubicBezTo>
                  <a:cubicBezTo>
                    <a:pt x="32" y="224"/>
                    <a:pt x="32" y="224"/>
                    <a:pt x="32" y="224"/>
                  </a:cubicBezTo>
                  <a:cubicBezTo>
                    <a:pt x="32" y="84"/>
                    <a:pt x="32" y="84"/>
                    <a:pt x="32" y="84"/>
                  </a:cubicBezTo>
                  <a:cubicBezTo>
                    <a:pt x="32" y="56"/>
                    <a:pt x="56" y="32"/>
                    <a:pt x="84" y="32"/>
                  </a:cubicBezTo>
                  <a:cubicBezTo>
                    <a:pt x="140" y="32"/>
                    <a:pt x="140" y="32"/>
                    <a:pt x="140" y="32"/>
                  </a:cubicBezTo>
                  <a:cubicBezTo>
                    <a:pt x="168" y="32"/>
                    <a:pt x="192" y="56"/>
                    <a:pt x="192" y="84"/>
                  </a:cubicBezTo>
                  <a:cubicBezTo>
                    <a:pt x="192" y="128"/>
                    <a:pt x="192" y="128"/>
                    <a:pt x="192" y="128"/>
                  </a:cubicBezTo>
                  <a:cubicBezTo>
                    <a:pt x="224" y="128"/>
                    <a:pt x="224" y="128"/>
                    <a:pt x="224" y="128"/>
                  </a:cubicBezTo>
                  <a:lnTo>
                    <a:pt x="224" y="84"/>
                  </a:lnTo>
                  <a:close/>
                </a:path>
              </a:pathLst>
            </a:custGeom>
            <a:grp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lumMod val="50000"/>
                  </a:srgbClr>
                </a:solidFill>
                <a:effectLst/>
                <a:uLnTx/>
                <a:uFillTx/>
                <a:latin typeface="Segoe UI Semilight"/>
                <a:ea typeface="+mn-ea"/>
                <a:cs typeface="+mn-cs"/>
              </a:endParaRPr>
            </a:p>
          </p:txBody>
        </p:sp>
        <p:sp>
          <p:nvSpPr>
            <p:cNvPr id="46" name="Freeform 16">
              <a:extLst>
                <a:ext uri="{FF2B5EF4-FFF2-40B4-BE49-F238E27FC236}">
                  <a16:creationId xmlns:a16="http://schemas.microsoft.com/office/drawing/2014/main" id="{903EC802-92A8-2D48-86E3-0682D911E564}"/>
                </a:ext>
              </a:extLst>
            </p:cNvPr>
            <p:cNvSpPr>
              <a:spLocks noEditPoints="1"/>
            </p:cNvSpPr>
            <p:nvPr/>
          </p:nvSpPr>
          <p:spPr bwMode="auto">
            <a:xfrm>
              <a:off x="4796465" y="2637188"/>
              <a:ext cx="138552" cy="97167"/>
            </a:xfrm>
            <a:custGeom>
              <a:avLst/>
              <a:gdLst>
                <a:gd name="T0" fmla="*/ 208 w 231"/>
                <a:gd name="T1" fmla="*/ 23 h 162"/>
                <a:gd name="T2" fmla="*/ 208 w 231"/>
                <a:gd name="T3" fmla="*/ 139 h 162"/>
                <a:gd name="T4" fmla="*/ 23 w 231"/>
                <a:gd name="T5" fmla="*/ 139 h 162"/>
                <a:gd name="T6" fmla="*/ 23 w 231"/>
                <a:gd name="T7" fmla="*/ 23 h 162"/>
                <a:gd name="T8" fmla="*/ 208 w 231"/>
                <a:gd name="T9" fmla="*/ 23 h 162"/>
                <a:gd name="T10" fmla="*/ 231 w 231"/>
                <a:gd name="T11" fmla="*/ 0 h 162"/>
                <a:gd name="T12" fmla="*/ 0 w 231"/>
                <a:gd name="T13" fmla="*/ 0 h 162"/>
                <a:gd name="T14" fmla="*/ 0 w 231"/>
                <a:gd name="T15" fmla="*/ 162 h 162"/>
                <a:gd name="T16" fmla="*/ 231 w 231"/>
                <a:gd name="T17" fmla="*/ 162 h 162"/>
                <a:gd name="T18" fmla="*/ 231 w 231"/>
                <a:gd name="T19" fmla="*/ 0 h 162"/>
                <a:gd name="T20" fmla="*/ 231 w 231"/>
                <a:gd name="T21"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1" h="162">
                  <a:moveTo>
                    <a:pt x="208" y="23"/>
                  </a:moveTo>
                  <a:lnTo>
                    <a:pt x="208" y="139"/>
                  </a:lnTo>
                  <a:lnTo>
                    <a:pt x="23" y="139"/>
                  </a:lnTo>
                  <a:lnTo>
                    <a:pt x="23" y="23"/>
                  </a:lnTo>
                  <a:lnTo>
                    <a:pt x="208" y="23"/>
                  </a:lnTo>
                  <a:close/>
                  <a:moveTo>
                    <a:pt x="231" y="0"/>
                  </a:moveTo>
                  <a:lnTo>
                    <a:pt x="0" y="0"/>
                  </a:lnTo>
                  <a:lnTo>
                    <a:pt x="0" y="162"/>
                  </a:lnTo>
                  <a:lnTo>
                    <a:pt x="231" y="162"/>
                  </a:lnTo>
                  <a:lnTo>
                    <a:pt x="231" y="0"/>
                  </a:lnTo>
                  <a:lnTo>
                    <a:pt x="231" y="0"/>
                  </a:lnTo>
                  <a:close/>
                </a:path>
              </a:pathLst>
            </a:custGeom>
            <a:grp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lumMod val="50000"/>
                  </a:srgbClr>
                </a:solidFill>
                <a:effectLst/>
                <a:uLnTx/>
                <a:uFillTx/>
                <a:latin typeface="Segoe UI Semilight"/>
                <a:ea typeface="+mn-ea"/>
                <a:cs typeface="+mn-cs"/>
              </a:endParaRPr>
            </a:p>
          </p:txBody>
        </p:sp>
        <p:sp>
          <p:nvSpPr>
            <p:cNvPr id="47" name="Freeform 17">
              <a:extLst>
                <a:ext uri="{FF2B5EF4-FFF2-40B4-BE49-F238E27FC236}">
                  <a16:creationId xmlns:a16="http://schemas.microsoft.com/office/drawing/2014/main" id="{E2F799E1-C1BA-9C42-8861-059DA40AC38E}"/>
                </a:ext>
              </a:extLst>
            </p:cNvPr>
            <p:cNvSpPr>
              <a:spLocks noEditPoints="1"/>
            </p:cNvSpPr>
            <p:nvPr/>
          </p:nvSpPr>
          <p:spPr bwMode="auto">
            <a:xfrm>
              <a:off x="4796465" y="2637188"/>
              <a:ext cx="138552" cy="97167"/>
            </a:xfrm>
            <a:custGeom>
              <a:avLst/>
              <a:gdLst>
                <a:gd name="T0" fmla="*/ 208 w 231"/>
                <a:gd name="T1" fmla="*/ 23 h 162"/>
                <a:gd name="T2" fmla="*/ 208 w 231"/>
                <a:gd name="T3" fmla="*/ 139 h 162"/>
                <a:gd name="T4" fmla="*/ 23 w 231"/>
                <a:gd name="T5" fmla="*/ 139 h 162"/>
                <a:gd name="T6" fmla="*/ 23 w 231"/>
                <a:gd name="T7" fmla="*/ 23 h 162"/>
                <a:gd name="T8" fmla="*/ 208 w 231"/>
                <a:gd name="T9" fmla="*/ 23 h 162"/>
                <a:gd name="T10" fmla="*/ 231 w 231"/>
                <a:gd name="T11" fmla="*/ 0 h 162"/>
                <a:gd name="T12" fmla="*/ 0 w 231"/>
                <a:gd name="T13" fmla="*/ 0 h 162"/>
                <a:gd name="T14" fmla="*/ 0 w 231"/>
                <a:gd name="T15" fmla="*/ 162 h 162"/>
                <a:gd name="T16" fmla="*/ 231 w 231"/>
                <a:gd name="T17" fmla="*/ 162 h 162"/>
                <a:gd name="T18" fmla="*/ 231 w 231"/>
                <a:gd name="T19" fmla="*/ 0 h 162"/>
                <a:gd name="T20" fmla="*/ 231 w 231"/>
                <a:gd name="T21"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1" h="162">
                  <a:moveTo>
                    <a:pt x="208" y="23"/>
                  </a:moveTo>
                  <a:lnTo>
                    <a:pt x="208" y="139"/>
                  </a:lnTo>
                  <a:lnTo>
                    <a:pt x="23" y="139"/>
                  </a:lnTo>
                  <a:lnTo>
                    <a:pt x="23" y="23"/>
                  </a:lnTo>
                  <a:lnTo>
                    <a:pt x="208" y="23"/>
                  </a:lnTo>
                  <a:moveTo>
                    <a:pt x="231" y="0"/>
                  </a:moveTo>
                  <a:lnTo>
                    <a:pt x="0" y="0"/>
                  </a:lnTo>
                  <a:lnTo>
                    <a:pt x="0" y="162"/>
                  </a:lnTo>
                  <a:lnTo>
                    <a:pt x="231" y="162"/>
                  </a:lnTo>
                  <a:lnTo>
                    <a:pt x="231" y="0"/>
                  </a:lnTo>
                  <a:lnTo>
                    <a:pt x="231" y="0"/>
                  </a:lnTo>
                </a:path>
              </a:pathLst>
            </a:custGeom>
            <a:grpFill/>
            <a:ln w="9525">
              <a:no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lumMod val="50000"/>
                  </a:srgbClr>
                </a:solidFill>
                <a:effectLst/>
                <a:uLnTx/>
                <a:uFillTx/>
                <a:latin typeface="Segoe UI Semilight"/>
                <a:ea typeface="+mn-ea"/>
                <a:cs typeface="+mn-cs"/>
              </a:endParaRPr>
            </a:p>
          </p:txBody>
        </p:sp>
      </p:grpSp>
      <p:pic>
        <p:nvPicPr>
          <p:cNvPr id="38" name="Marketing ICON">
            <a:extLst>
              <a:ext uri="{FF2B5EF4-FFF2-40B4-BE49-F238E27FC236}">
                <a16:creationId xmlns:a16="http://schemas.microsoft.com/office/drawing/2014/main" id="{5AA1ECFE-7CDC-2E46-8564-10EDBE6CCAB7}"/>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874152" y="1687544"/>
            <a:ext cx="274588" cy="201363"/>
          </a:xfrm>
          <a:prstGeom prst="rect">
            <a:avLst/>
          </a:prstGeom>
        </p:spPr>
      </p:pic>
      <p:grpSp>
        <p:nvGrpSpPr>
          <p:cNvPr id="39" name="Group 38">
            <a:extLst>
              <a:ext uri="{FF2B5EF4-FFF2-40B4-BE49-F238E27FC236}">
                <a16:creationId xmlns:a16="http://schemas.microsoft.com/office/drawing/2014/main" id="{7583BBD1-5CC9-114F-9713-2806996589FE}"/>
              </a:ext>
            </a:extLst>
          </p:cNvPr>
          <p:cNvGrpSpPr/>
          <p:nvPr userDrawn="1"/>
        </p:nvGrpSpPr>
        <p:grpSpPr>
          <a:xfrm>
            <a:off x="5055166" y="3138941"/>
            <a:ext cx="1939899" cy="290657"/>
            <a:chOff x="5179261" y="3174799"/>
            <a:chExt cx="1939899" cy="290657"/>
          </a:xfrm>
        </p:grpSpPr>
        <p:pic>
          <p:nvPicPr>
            <p:cNvPr id="40" name="MSD 365 LOGO">
              <a:extLst>
                <a:ext uri="{FF2B5EF4-FFF2-40B4-BE49-F238E27FC236}">
                  <a16:creationId xmlns:a16="http://schemas.microsoft.com/office/drawing/2014/main" id="{E9A7BE8E-314B-ED4B-A1DB-33B7E6A33932}"/>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l="-4" r="88585" b="3033"/>
            <a:stretch/>
          </p:blipFill>
          <p:spPr>
            <a:xfrm>
              <a:off x="5179261" y="3219675"/>
              <a:ext cx="228600" cy="195692"/>
            </a:xfrm>
            <a:prstGeom prst="rect">
              <a:avLst/>
            </a:prstGeom>
            <a:solidFill>
              <a:schemeClr val="bg1"/>
            </a:solidFill>
          </p:spPr>
        </p:pic>
        <p:sp>
          <p:nvSpPr>
            <p:cNvPr id="41" name="Microsoft Dynamics 365">
              <a:extLst>
                <a:ext uri="{FF2B5EF4-FFF2-40B4-BE49-F238E27FC236}">
                  <a16:creationId xmlns:a16="http://schemas.microsoft.com/office/drawing/2014/main" id="{043404CE-438E-794C-AE26-B4673303E114}"/>
                </a:ext>
              </a:extLst>
            </p:cNvPr>
            <p:cNvSpPr txBox="1"/>
            <p:nvPr userDrawn="1"/>
          </p:nvSpPr>
          <p:spPr>
            <a:xfrm>
              <a:off x="5333158" y="3174799"/>
              <a:ext cx="1786002" cy="290657"/>
            </a:xfrm>
            <a:prstGeom prst="rect">
              <a:avLst/>
            </a:prstGeom>
            <a:noFill/>
          </p:spPr>
          <p:txBody>
            <a:bodyPr wrap="none" rtlCol="0" anchor="ctr">
              <a:spAutoFit/>
            </a:bodyPr>
            <a:lstStyle>
              <a:defPPr>
                <a:defRPr lang="en-US"/>
              </a:defPPr>
              <a:lvl1pPr algn="ctr">
                <a:spcBef>
                  <a:spcPts val="200"/>
                </a:spcBef>
                <a:defRPr sz="2000" b="1">
                  <a:solidFill>
                    <a:srgbClr val="A1664A"/>
                  </a:solidFill>
                </a:defRPr>
              </a:lvl1pPr>
            </a:lstStyle>
            <a:p>
              <a:pPr marL="0" marR="0" lvl="0" indent="0" algn="l" defTabSz="913523" rtl="0" eaLnBrk="1" fontAlgn="auto" latinLnBrk="0" hangingPunct="1">
                <a:lnSpc>
                  <a:spcPts val="1730"/>
                </a:lnSpc>
                <a:spcBef>
                  <a:spcPts val="0"/>
                </a:spcBef>
                <a:spcAft>
                  <a:spcPts val="0"/>
                </a:spcAft>
                <a:buClrTx/>
                <a:buSzTx/>
                <a:buFontTx/>
                <a:buNone/>
                <a:tabLst/>
                <a:defRPr/>
              </a:pPr>
              <a:r>
                <a:rPr kumimoji="0" lang="en-US" sz="1200" b="1" i="0" u="none" strike="noStrike" kern="0" cap="none" spc="-29" normalizeH="0" baseline="0" noProof="0">
                  <a:ln>
                    <a:noFill/>
                  </a:ln>
                  <a:solidFill>
                    <a:schemeClr val="tx2"/>
                  </a:solidFill>
                  <a:effectLst/>
                  <a:uLnTx/>
                  <a:uFillTx/>
                  <a:latin typeface="Segoe UI Semibold" panose="020B0502040204020203" pitchFamily="34" charset="0"/>
                  <a:ea typeface="+mn-ea"/>
                  <a:cs typeface="Segoe UI Semibold" panose="020B0502040204020203" pitchFamily="34" charset="0"/>
                </a:rPr>
                <a:t>Microsoft Dynamics 365</a:t>
              </a:r>
            </a:p>
          </p:txBody>
        </p:sp>
      </p:grpSp>
      <p:sp>
        <p:nvSpPr>
          <p:cNvPr id="19" name="Oval 18">
            <a:extLst>
              <a:ext uri="{FF2B5EF4-FFF2-40B4-BE49-F238E27FC236}">
                <a16:creationId xmlns:a16="http://schemas.microsoft.com/office/drawing/2014/main" id="{93EE6D7A-C5EE-E546-88A0-BFBFA66013BC}"/>
              </a:ext>
            </a:extLst>
          </p:cNvPr>
          <p:cNvSpPr>
            <a:spLocks noChangeAspect="1"/>
          </p:cNvSpPr>
          <p:nvPr userDrawn="1"/>
        </p:nvSpPr>
        <p:spPr>
          <a:xfrm>
            <a:off x="1199228" y="2770098"/>
            <a:ext cx="1005840" cy="1008190"/>
          </a:xfrm>
          <a:prstGeom prst="ellipse">
            <a:avLst/>
          </a:prstGeom>
          <a:solidFill>
            <a:srgbClr val="30E5D0"/>
          </a:solidFill>
          <a:ln w="12700" cap="flat" cmpd="sng" algn="ctr">
            <a:noFill/>
            <a:prstDash val="solid"/>
            <a:miter lim="800000"/>
          </a:ln>
          <a:effectLst/>
        </p:spPr>
        <p:txBody>
          <a:bodyPr lIns="0" tIns="0" rIns="0" bIns="0" rtlCol="0" anchor="ctr"/>
          <a:lstStyle/>
          <a:p>
            <a:pPr marL="0" marR="0" lvl="0" indent="0" algn="ctr" defTabSz="93202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Modern</a:t>
            </a:r>
          </a:p>
        </p:txBody>
      </p:sp>
      <p:sp>
        <p:nvSpPr>
          <p:cNvPr id="20" name="Oval 19">
            <a:extLst>
              <a:ext uri="{FF2B5EF4-FFF2-40B4-BE49-F238E27FC236}">
                <a16:creationId xmlns:a16="http://schemas.microsoft.com/office/drawing/2014/main" id="{2B893C26-68C0-484A-9447-767B90EC7743}"/>
              </a:ext>
            </a:extLst>
          </p:cNvPr>
          <p:cNvSpPr>
            <a:spLocks noChangeAspect="1"/>
          </p:cNvSpPr>
          <p:nvPr userDrawn="1"/>
        </p:nvSpPr>
        <p:spPr>
          <a:xfrm>
            <a:off x="2629099" y="2770098"/>
            <a:ext cx="1005840" cy="1008190"/>
          </a:xfrm>
          <a:prstGeom prst="ellipse">
            <a:avLst/>
          </a:prstGeom>
          <a:solidFill>
            <a:srgbClr val="30E5D0"/>
          </a:solidFill>
          <a:ln w="12700" cap="flat" cmpd="sng" algn="ctr">
            <a:noFill/>
            <a:prstDash val="solid"/>
            <a:miter lim="800000"/>
          </a:ln>
          <a:effectLst/>
        </p:spPr>
        <p:txBody>
          <a:bodyPr lIns="0" tIns="0" rIns="0" bIns="0" rtlCol="0" anchor="ctr"/>
          <a:lstStyle/>
          <a:p>
            <a:pPr marL="0" marR="0" lvl="0" indent="0" algn="ctr" defTabSz="93202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Unified</a:t>
            </a:r>
          </a:p>
        </p:txBody>
      </p:sp>
      <p:sp>
        <p:nvSpPr>
          <p:cNvPr id="21" name="Oval 20">
            <a:extLst>
              <a:ext uri="{FF2B5EF4-FFF2-40B4-BE49-F238E27FC236}">
                <a16:creationId xmlns:a16="http://schemas.microsoft.com/office/drawing/2014/main" id="{A59CC142-AFBD-C04E-82FE-61F7A0ED6A7A}"/>
              </a:ext>
            </a:extLst>
          </p:cNvPr>
          <p:cNvSpPr>
            <a:spLocks noChangeAspect="1"/>
          </p:cNvSpPr>
          <p:nvPr userDrawn="1"/>
        </p:nvSpPr>
        <p:spPr>
          <a:xfrm>
            <a:off x="8348583" y="2770098"/>
            <a:ext cx="1005840" cy="1008190"/>
          </a:xfrm>
          <a:prstGeom prst="ellipse">
            <a:avLst/>
          </a:prstGeom>
          <a:solidFill>
            <a:srgbClr val="30E5D0"/>
          </a:solidFill>
          <a:ln w="12700" cap="flat" cmpd="sng" algn="ctr">
            <a:noFill/>
            <a:prstDash val="solid"/>
            <a:miter lim="800000"/>
          </a:ln>
          <a:effectLst/>
        </p:spPr>
        <p:txBody>
          <a:bodyPr lIns="0" tIns="0" rIns="0" bIns="0" rtlCol="0" anchor="ctr"/>
          <a:lstStyle/>
          <a:p>
            <a:pPr marL="0" marR="0" lvl="0" indent="0" algn="ctr" defTabSz="93202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Intelligent</a:t>
            </a:r>
          </a:p>
        </p:txBody>
      </p:sp>
      <p:sp>
        <p:nvSpPr>
          <p:cNvPr id="22" name="Oval 21">
            <a:extLst>
              <a:ext uri="{FF2B5EF4-FFF2-40B4-BE49-F238E27FC236}">
                <a16:creationId xmlns:a16="http://schemas.microsoft.com/office/drawing/2014/main" id="{BC70AFE7-CDAD-8142-95BA-4A7D1814EE95}"/>
              </a:ext>
            </a:extLst>
          </p:cNvPr>
          <p:cNvSpPr>
            <a:spLocks noChangeAspect="1"/>
          </p:cNvSpPr>
          <p:nvPr userDrawn="1"/>
        </p:nvSpPr>
        <p:spPr>
          <a:xfrm>
            <a:off x="9778452" y="2770098"/>
            <a:ext cx="1005840" cy="1008190"/>
          </a:xfrm>
          <a:prstGeom prst="ellipse">
            <a:avLst/>
          </a:prstGeom>
          <a:solidFill>
            <a:srgbClr val="30E5D0"/>
          </a:solidFill>
          <a:ln w="12700" cap="flat" cmpd="sng" algn="ctr">
            <a:noFill/>
            <a:prstDash val="solid"/>
            <a:miter lim="800000"/>
          </a:ln>
          <a:effectLst/>
        </p:spPr>
        <p:txBody>
          <a:bodyPr lIns="0" tIns="0" rIns="0" bIns="0" rtlCol="0" anchor="ctr"/>
          <a:lstStyle/>
          <a:p>
            <a:pPr marL="0" marR="0" lvl="0" indent="0" algn="ctr" defTabSz="93202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Adaptable</a:t>
            </a:r>
          </a:p>
        </p:txBody>
      </p:sp>
      <p:sp>
        <p:nvSpPr>
          <p:cNvPr id="61" name="Sales">
            <a:extLst>
              <a:ext uri="{FF2B5EF4-FFF2-40B4-BE49-F238E27FC236}">
                <a16:creationId xmlns:a16="http://schemas.microsoft.com/office/drawing/2014/main" id="{ECEFDF39-C5F3-9E45-884A-75415352FA2C}"/>
              </a:ext>
            </a:extLst>
          </p:cNvPr>
          <p:cNvSpPr txBox="1"/>
          <p:nvPr userDrawn="1"/>
        </p:nvSpPr>
        <p:spPr>
          <a:xfrm>
            <a:off x="6702549" y="2758396"/>
            <a:ext cx="818205" cy="15388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Semibold"/>
                <a:ea typeface="+mn-ea"/>
                <a:cs typeface="Segoe UI Light" panose="020B0502040204020203" pitchFamily="34" charset="0"/>
              </a:rPr>
              <a:t>Sales</a:t>
            </a:r>
            <a:r>
              <a:rPr kumimoji="0" lang="en-US" sz="1000" b="0" i="0" u="none" strike="noStrike" kern="0" cap="none" spc="0" normalizeH="0" baseline="0" noProof="0">
                <a:ln>
                  <a:noFill/>
                </a:ln>
                <a:solidFill>
                  <a:schemeClr val="bg1"/>
                </a:solidFill>
                <a:effectLst/>
                <a:uLnTx/>
                <a:uFillTx/>
                <a:latin typeface="Segoe UI Semibold"/>
                <a:ea typeface="+mn-ea"/>
                <a:cs typeface="Segoe UI Light" panose="020B0502040204020203" pitchFamily="34" charset="0"/>
              </a:rPr>
              <a:t> </a:t>
            </a:r>
          </a:p>
        </p:txBody>
      </p:sp>
      <p:pic>
        <p:nvPicPr>
          <p:cNvPr id="62" name="Sales ICON">
            <a:extLst>
              <a:ext uri="{FF2B5EF4-FFF2-40B4-BE49-F238E27FC236}">
                <a16:creationId xmlns:a16="http://schemas.microsoft.com/office/drawing/2014/main" id="{6D8F0FED-6537-3D40-980A-C2F06F193FE5}"/>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6992712" y="2504164"/>
            <a:ext cx="237881" cy="237881"/>
          </a:xfrm>
          <a:prstGeom prst="rect">
            <a:avLst/>
          </a:prstGeom>
        </p:spPr>
      </p:pic>
    </p:spTree>
    <p:extLst>
      <p:ext uri="{BB962C8B-B14F-4D97-AF65-F5344CB8AC3E}">
        <p14:creationId xmlns:p14="http://schemas.microsoft.com/office/powerpoint/2010/main" val="378740626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5DDD06DD-E4B3-F445-8A28-E3EDE0830261}"/>
              </a:ext>
            </a:extLst>
          </p:cNvPr>
          <p:cNvSpPr txBox="1">
            <a:spLocks/>
          </p:cNvSpPr>
          <p:nvPr/>
        </p:nvSpPr>
        <p:spPr>
          <a:xfrm>
            <a:off x="464978" y="1714500"/>
            <a:ext cx="4895916" cy="916581"/>
          </a:xfrm>
          <a:prstGeom prst="rect">
            <a:avLst/>
          </a:prstGeom>
        </p:spPr>
        <p:txBody>
          <a:bodyPr vert="horz" lIns="0" tIns="0" rIns="0" bIns="0" rtlCol="0" anchor="b">
            <a:norm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black"/>
                </a:solidFill>
                <a:effectLst/>
                <a:uLnTx/>
                <a:uFillTx/>
                <a:latin typeface="Segoe UI" panose="020B0502040204020203" pitchFamily="34" charset="0"/>
                <a:cs typeface="Segoe UI" panose="020B0502040204020203" pitchFamily="34" charset="0"/>
              </a:defRPr>
            </a:lvl1pPr>
            <a:lvl2pPr indent="0">
              <a:lnSpc>
                <a:spcPct val="90000"/>
              </a:lnSpc>
              <a:spcBef>
                <a:spcPts val="500"/>
              </a:spcBef>
              <a:buFont typeface="Arial" panose="020B0604020202020204" pitchFamily="34" charset="0"/>
              <a:buNone/>
              <a:defRPr sz="2400" b="0" i="0">
                <a:latin typeface="Segoe UI Semibold" panose="020B0502040204020203" pitchFamily="34" charset="0"/>
                <a:cs typeface="Segoe UI Semibold" panose="020B0502040204020203" pitchFamily="34" charset="0"/>
              </a:defRPr>
            </a:lvl2pPr>
            <a:lvl3pPr indent="0">
              <a:lnSpc>
                <a:spcPct val="90000"/>
              </a:lnSpc>
              <a:spcBef>
                <a:spcPts val="500"/>
              </a:spcBef>
              <a:buFont typeface="Arial" panose="020B0604020202020204" pitchFamily="34" charset="0"/>
              <a:buNone/>
              <a:defRPr sz="2000" b="1">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defRPr/>
            </a:pPr>
            <a:r>
              <a:rPr lang="en-US" sz="1800" b="1" dirty="0">
                <a:latin typeface="Segoe UI Semibold" panose="020B0502040204020203" pitchFamily="34" charset="0"/>
                <a:cs typeface="Segoe UI Semibold" panose="020B0502040204020203" pitchFamily="34" charset="0"/>
              </a:rPr>
              <a:t>Adapt quickly to changing market demands and drive rapid business growth.</a:t>
            </a:r>
          </a:p>
        </p:txBody>
      </p:sp>
      <p:sp>
        <p:nvSpPr>
          <p:cNvPr id="14" name="Text Placeholder 17">
            <a:extLst>
              <a:ext uri="{FF2B5EF4-FFF2-40B4-BE49-F238E27FC236}">
                <a16:creationId xmlns:a16="http://schemas.microsoft.com/office/drawing/2014/main" id="{A6C2CBF4-12D3-EB4F-91BB-5F0424537132}"/>
              </a:ext>
            </a:extLst>
          </p:cNvPr>
          <p:cNvSpPr txBox="1">
            <a:spLocks/>
          </p:cNvSpPr>
          <p:nvPr/>
        </p:nvSpPr>
        <p:spPr>
          <a:xfrm>
            <a:off x="993100" y="2919320"/>
            <a:ext cx="4617841" cy="2508379"/>
          </a:xfrm>
          <a:prstGeom prst="rect">
            <a:avLst/>
          </a:prstGeom>
        </p:spPr>
        <p:txBody>
          <a:bodyPr vert="horz" wrap="square" lIns="0" tIns="45720" rIns="0" bIns="0" rtlCol="0" anchor="t">
            <a:spAutoFit/>
          </a:bodyPr>
          <a:lstStyle>
            <a:defPPr>
              <a:defRPr lang="en-US"/>
            </a:defPPr>
            <a:lvl1pPr marR="0" lvl="0" indent="0"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ysClr val="windowText" lastClr="000000"/>
                </a:solidFill>
                <a:effectLst/>
                <a:uLnTx/>
                <a:uFillTx/>
                <a:latin typeface="Segoe UI" panose="020B0502040204020203" pitchFamily="34" charset="0"/>
                <a:ea typeface="Segoe UI" panose="020B0502040204020203" pitchFamily="34" charset="0"/>
                <a:cs typeface="Segoe UI" panose="020B0502040204020203" pitchFamily="34" charset="0"/>
              </a:defRPr>
            </a:lvl1pPr>
            <a:lvl2pPr indent="0">
              <a:lnSpc>
                <a:spcPct val="90000"/>
              </a:lnSpc>
              <a:spcBef>
                <a:spcPts val="500"/>
              </a:spcBef>
              <a:buFont typeface="Arial" panose="020B0604020202020204" pitchFamily="34" charset="0"/>
              <a:buNone/>
              <a:defRPr sz="2400" b="0" i="0">
                <a:latin typeface="Segoe UI Semibold" panose="020B0502040204020203" pitchFamily="34" charset="0"/>
                <a:cs typeface="Segoe UI Semibold" panose="020B0502040204020203" pitchFamily="34" charset="0"/>
              </a:defRPr>
            </a:lvl2pPr>
            <a:lvl3pPr marL="1143000" indent="-228600">
              <a:lnSpc>
                <a:spcPct val="90000"/>
              </a:lnSpc>
              <a:spcBef>
                <a:spcPts val="500"/>
              </a:spcBef>
              <a:buFont typeface="Arial" panose="020B0604020202020204" pitchFamily="34" charset="0"/>
              <a:buChar char="•"/>
              <a:defRPr sz="2000" b="1">
                <a:latin typeface="Segoe UI" panose="020B0502040204020203" pitchFamily="34" charset="0"/>
                <a:cs typeface="Segoe UI" panose="020B0502040204020203" pitchFamily="34" charset="0"/>
              </a:defRPr>
            </a:lvl3pPr>
            <a:lvl4pPr marL="1600200" indent="-228600">
              <a:lnSpc>
                <a:spcPct val="90000"/>
              </a:lnSpc>
              <a:spcBef>
                <a:spcPts val="500"/>
              </a:spcBef>
              <a:buFont typeface="Arial" panose="020B0604020202020204" pitchFamily="34" charset="0"/>
              <a:buChar char="•"/>
              <a:defRPr>
                <a:latin typeface="Segoe UI" panose="020B0502040204020203" pitchFamily="34" charset="0"/>
                <a:cs typeface="Segoe UI" panose="020B0502040204020203" pitchFamily="34" charset="0"/>
              </a:defRPr>
            </a:lvl4pPr>
            <a:lvl5pPr marL="2057400" indent="-228600">
              <a:lnSpc>
                <a:spcPct val="90000"/>
              </a:lnSpc>
              <a:spcBef>
                <a:spcPts val="500"/>
              </a:spcBef>
              <a:buFont typeface="Arial" panose="020B0604020202020204" pitchFamily="34" charset="0"/>
              <a:buChar char="•"/>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spcAft>
                <a:spcPts val="2400"/>
              </a:spcAft>
            </a:pPr>
            <a:r>
              <a:rPr lang="en-US" sz="1600" dirty="0">
                <a:solidFill>
                  <a:schemeClr val="tx1"/>
                </a:solidFill>
              </a:rPr>
              <a:t>Elevate your financial performance</a:t>
            </a:r>
          </a:p>
          <a:p>
            <a:pPr>
              <a:lnSpc>
                <a:spcPct val="100000"/>
              </a:lnSpc>
              <a:spcBef>
                <a:spcPts val="0"/>
              </a:spcBef>
              <a:spcAft>
                <a:spcPts val="2400"/>
              </a:spcAft>
            </a:pPr>
            <a:r>
              <a:rPr lang="en-US" sz="1600" dirty="0">
                <a:solidFill>
                  <a:schemeClr val="tx1"/>
                </a:solidFill>
              </a:rPr>
              <a:t>Run smarter with connected operations</a:t>
            </a:r>
          </a:p>
          <a:p>
            <a:pPr>
              <a:lnSpc>
                <a:spcPct val="100000"/>
              </a:lnSpc>
              <a:spcBef>
                <a:spcPts val="0"/>
              </a:spcBef>
              <a:spcAft>
                <a:spcPts val="2400"/>
              </a:spcAft>
            </a:pPr>
            <a:r>
              <a:rPr lang="en-US" sz="1600" dirty="0">
                <a:solidFill>
                  <a:schemeClr val="tx1"/>
                </a:solidFill>
              </a:rPr>
              <a:t>Automate and streamline your supply chain</a:t>
            </a:r>
          </a:p>
          <a:p>
            <a:pPr>
              <a:lnSpc>
                <a:spcPct val="100000"/>
              </a:lnSpc>
              <a:spcBef>
                <a:spcPts val="0"/>
              </a:spcBef>
              <a:spcAft>
                <a:spcPts val="2400"/>
              </a:spcAft>
            </a:pPr>
            <a:r>
              <a:rPr lang="en-US" sz="1600" dirty="0">
                <a:solidFill>
                  <a:schemeClr val="tx1"/>
                </a:solidFill>
              </a:rPr>
              <a:t>Innovate with a modern and adaptable platform</a:t>
            </a:r>
          </a:p>
          <a:p>
            <a:pPr>
              <a:lnSpc>
                <a:spcPct val="100000"/>
              </a:lnSpc>
              <a:spcBef>
                <a:spcPts val="0"/>
              </a:spcBef>
              <a:spcAft>
                <a:spcPts val="2400"/>
              </a:spcAft>
            </a:pPr>
            <a:r>
              <a:rPr lang="en-US" sz="1600" dirty="0">
                <a:solidFill>
                  <a:schemeClr val="tx1"/>
                </a:solidFill>
              </a:rPr>
              <a:t>Simplify configuration of your regulatory services</a:t>
            </a:r>
          </a:p>
        </p:txBody>
      </p:sp>
      <p:pic>
        <p:nvPicPr>
          <p:cNvPr id="16" name="Picture 15">
            <a:extLst>
              <a:ext uri="{FF2B5EF4-FFF2-40B4-BE49-F238E27FC236}">
                <a16:creationId xmlns:a16="http://schemas.microsoft.com/office/drawing/2014/main" id="{E2E4ED7E-A7D7-E046-8751-59DB098D269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560141" y="1714500"/>
            <a:ext cx="6631859" cy="5143500"/>
          </a:xfrm>
          <a:prstGeom prst="rect">
            <a:avLst/>
          </a:prstGeom>
        </p:spPr>
      </p:pic>
      <p:pic>
        <p:nvPicPr>
          <p:cNvPr id="17" name="Picture 16">
            <a:extLst>
              <a:ext uri="{FF2B5EF4-FFF2-40B4-BE49-F238E27FC236}">
                <a16:creationId xmlns:a16="http://schemas.microsoft.com/office/drawing/2014/main" id="{E48F8B58-9AF0-6F4C-AF83-C2031D28A48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2"/>
          <a:stretch/>
        </p:blipFill>
        <p:spPr>
          <a:xfrm>
            <a:off x="6273355" y="2319907"/>
            <a:ext cx="5918645" cy="4538093"/>
          </a:xfrm>
          <a:prstGeom prst="rect">
            <a:avLst/>
          </a:prstGeom>
        </p:spPr>
      </p:pic>
      <p:pic>
        <p:nvPicPr>
          <p:cNvPr id="18" name="Picture 17">
            <a:extLst>
              <a:ext uri="{FF2B5EF4-FFF2-40B4-BE49-F238E27FC236}">
                <a16:creationId xmlns:a16="http://schemas.microsoft.com/office/drawing/2014/main" id="{880B42B2-CA82-DD4D-AF1F-238D242468A4}"/>
              </a:ext>
            </a:extLst>
          </p:cNvPr>
          <p:cNvPicPr>
            <a:picLocks noChangeAspect="1"/>
          </p:cNvPicPr>
          <p:nvPr/>
        </p:nvPicPr>
        <p:blipFill>
          <a:blip r:embed="rId5"/>
          <a:stretch>
            <a:fillRect/>
          </a:stretch>
        </p:blipFill>
        <p:spPr>
          <a:xfrm>
            <a:off x="534294" y="2891943"/>
            <a:ext cx="274320" cy="315468"/>
          </a:xfrm>
          <a:prstGeom prst="rect">
            <a:avLst/>
          </a:prstGeom>
        </p:spPr>
      </p:pic>
      <p:pic>
        <p:nvPicPr>
          <p:cNvPr id="19" name="Picture 18">
            <a:extLst>
              <a:ext uri="{FF2B5EF4-FFF2-40B4-BE49-F238E27FC236}">
                <a16:creationId xmlns:a16="http://schemas.microsoft.com/office/drawing/2014/main" id="{C50A9B94-01D6-2C4B-8AE1-8B6C6E3A6AB5}"/>
              </a:ext>
            </a:extLst>
          </p:cNvPr>
          <p:cNvPicPr>
            <a:picLocks noChangeAspect="1"/>
          </p:cNvPicPr>
          <p:nvPr/>
        </p:nvPicPr>
        <p:blipFill>
          <a:blip r:embed="rId6"/>
          <a:stretch>
            <a:fillRect/>
          </a:stretch>
        </p:blipFill>
        <p:spPr>
          <a:xfrm>
            <a:off x="534294" y="3504348"/>
            <a:ext cx="274320" cy="274320"/>
          </a:xfrm>
          <a:prstGeom prst="rect">
            <a:avLst/>
          </a:prstGeom>
        </p:spPr>
      </p:pic>
      <p:pic>
        <p:nvPicPr>
          <p:cNvPr id="20" name="Picture 19">
            <a:extLst>
              <a:ext uri="{FF2B5EF4-FFF2-40B4-BE49-F238E27FC236}">
                <a16:creationId xmlns:a16="http://schemas.microsoft.com/office/drawing/2014/main" id="{B4887743-0D1C-2F4E-B5F4-49295F3D9B78}"/>
              </a:ext>
            </a:extLst>
          </p:cNvPr>
          <p:cNvPicPr>
            <a:picLocks noChangeAspect="1"/>
          </p:cNvPicPr>
          <p:nvPr/>
        </p:nvPicPr>
        <p:blipFill>
          <a:blip r:embed="rId7"/>
          <a:stretch>
            <a:fillRect/>
          </a:stretch>
        </p:blipFill>
        <p:spPr>
          <a:xfrm>
            <a:off x="534294" y="4075605"/>
            <a:ext cx="274320" cy="182880"/>
          </a:xfrm>
          <a:prstGeom prst="rect">
            <a:avLst/>
          </a:prstGeom>
        </p:spPr>
      </p:pic>
      <p:pic>
        <p:nvPicPr>
          <p:cNvPr id="21" name="Picture 20">
            <a:extLst>
              <a:ext uri="{FF2B5EF4-FFF2-40B4-BE49-F238E27FC236}">
                <a16:creationId xmlns:a16="http://schemas.microsoft.com/office/drawing/2014/main" id="{AB8F1D4C-38BA-A346-9714-014CB013B9F7}"/>
              </a:ext>
            </a:extLst>
          </p:cNvPr>
          <p:cNvPicPr>
            <a:picLocks noChangeAspect="1"/>
          </p:cNvPicPr>
          <p:nvPr/>
        </p:nvPicPr>
        <p:blipFill>
          <a:blip r:embed="rId8"/>
          <a:stretch>
            <a:fillRect/>
          </a:stretch>
        </p:blipFill>
        <p:spPr>
          <a:xfrm>
            <a:off x="534294" y="4608010"/>
            <a:ext cx="274320" cy="210312"/>
          </a:xfrm>
          <a:prstGeom prst="rect">
            <a:avLst/>
          </a:prstGeom>
        </p:spPr>
      </p:pic>
      <p:pic>
        <p:nvPicPr>
          <p:cNvPr id="22" name="Picture 21">
            <a:extLst>
              <a:ext uri="{FF2B5EF4-FFF2-40B4-BE49-F238E27FC236}">
                <a16:creationId xmlns:a16="http://schemas.microsoft.com/office/drawing/2014/main" id="{59842E66-8723-1348-8220-222B9BC48BF2}"/>
              </a:ext>
            </a:extLst>
          </p:cNvPr>
          <p:cNvPicPr>
            <a:picLocks noChangeAspect="1"/>
          </p:cNvPicPr>
          <p:nvPr/>
        </p:nvPicPr>
        <p:blipFill>
          <a:blip r:embed="rId9"/>
          <a:stretch>
            <a:fillRect/>
          </a:stretch>
        </p:blipFill>
        <p:spPr>
          <a:xfrm>
            <a:off x="534294" y="5137877"/>
            <a:ext cx="274320" cy="299259"/>
          </a:xfrm>
          <a:prstGeom prst="rect">
            <a:avLst/>
          </a:prstGeom>
        </p:spPr>
      </p:pic>
      <p:sp>
        <p:nvSpPr>
          <p:cNvPr id="24" name="Title 1">
            <a:extLst>
              <a:ext uri="{FF2B5EF4-FFF2-40B4-BE49-F238E27FC236}">
                <a16:creationId xmlns:a16="http://schemas.microsoft.com/office/drawing/2014/main" id="{D8AF3DE3-B19F-0043-A3C7-7D7E0D2CAF3F}"/>
              </a:ext>
            </a:extLst>
          </p:cNvPr>
          <p:cNvSpPr txBox="1">
            <a:spLocks/>
          </p:cNvSpPr>
          <p:nvPr/>
        </p:nvSpPr>
        <p:spPr>
          <a:xfrm>
            <a:off x="464977" y="466043"/>
            <a:ext cx="7081132" cy="91535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4000" b="0" i="0" kern="1200">
                <a:solidFill>
                  <a:schemeClr val="tx1"/>
                </a:solidFill>
                <a:latin typeface="Segoe UI Semibold" panose="020B0502040204020203" pitchFamily="34" charset="0"/>
                <a:ea typeface="+mj-ea"/>
                <a:cs typeface="Segoe UI Semibold" panose="020B0502040204020203" pitchFamily="34" charset="0"/>
              </a:defRPr>
            </a:lvl1pPr>
          </a:lstStyle>
          <a:p>
            <a:r>
              <a:rPr lang="en-US" sz="3600" dirty="0"/>
              <a:t>Building a Dynamics 365 for Finance and Operations practice</a:t>
            </a:r>
          </a:p>
        </p:txBody>
      </p:sp>
    </p:spTree>
    <p:extLst>
      <p:ext uri="{BB962C8B-B14F-4D97-AF65-F5344CB8AC3E}">
        <p14:creationId xmlns:p14="http://schemas.microsoft.com/office/powerpoint/2010/main" val="274727156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406400"/>
            <a:ext cx="11333080" cy="719740"/>
          </a:xfrm>
        </p:spPr>
        <p:txBody>
          <a:bodyPr/>
          <a:lstStyle/>
          <a:p>
            <a:r>
              <a:rPr lang="en-AU" sz="3600" spc="-50" dirty="0">
                <a:ln w="3175">
                  <a:noFill/>
                </a:ln>
                <a:solidFill>
                  <a:srgbClr val="1A1A1A"/>
                </a:solidFill>
                <a:latin typeface="Segoe UI Semibold"/>
                <a:ea typeface="+mn-ea"/>
                <a:cs typeface="Segoe UI" pitchFamily="34" charset="0"/>
              </a:rPr>
              <a:t>Course Overview</a:t>
            </a:r>
          </a:p>
        </p:txBody>
      </p:sp>
      <p:graphicFrame>
        <p:nvGraphicFramePr>
          <p:cNvPr id="4" name="Content Placeholder 4">
            <a:extLst>
              <a:ext uri="{FF2B5EF4-FFF2-40B4-BE49-F238E27FC236}">
                <a16:creationId xmlns:a16="http://schemas.microsoft.com/office/drawing/2014/main" id="{6C5676AD-2E8E-4C68-BD5E-C540499153DB}"/>
              </a:ext>
            </a:extLst>
          </p:cNvPr>
          <p:cNvGraphicFramePr>
            <a:graphicFrameLocks/>
          </p:cNvGraphicFramePr>
          <p:nvPr>
            <p:extLst>
              <p:ext uri="{D42A27DB-BD31-4B8C-83A1-F6EECF244321}">
                <p14:modId xmlns:p14="http://schemas.microsoft.com/office/powerpoint/2010/main" val="318308486"/>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69339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5">
            <a:extLst>
              <a:ext uri="{FF2B5EF4-FFF2-40B4-BE49-F238E27FC236}">
                <a16:creationId xmlns:a16="http://schemas.microsoft.com/office/drawing/2014/main" id="{5B0F0A3B-6465-7340-AC77-A34AE81E796E}"/>
              </a:ext>
            </a:extLst>
          </p:cNvPr>
          <p:cNvSpPr>
            <a:spLocks noGrp="1"/>
          </p:cNvSpPr>
          <p:nvPr>
            <p:ph type="title"/>
          </p:nvPr>
        </p:nvSpPr>
        <p:spPr>
          <a:xfrm>
            <a:off x="457200" y="458751"/>
            <a:ext cx="5334000" cy="609600"/>
          </a:xfrm>
        </p:spPr>
        <p:txBody>
          <a:bodyPr vert="horz" lIns="0" tIns="0" rIns="0" bIns="0" rtlCol="0" anchor="ctr">
            <a:noAutofit/>
          </a:bodyPr>
          <a:lstStyle/>
          <a:p>
            <a:r>
              <a:rPr lang="en-US" sz="4000" dirty="0"/>
              <a:t>Recognized Leader</a:t>
            </a:r>
          </a:p>
        </p:txBody>
      </p:sp>
      <p:sp>
        <p:nvSpPr>
          <p:cNvPr id="16" name="Text Placeholder 14">
            <a:extLst>
              <a:ext uri="{FF2B5EF4-FFF2-40B4-BE49-F238E27FC236}">
                <a16:creationId xmlns:a16="http://schemas.microsoft.com/office/drawing/2014/main" id="{30016FFC-966E-654A-A040-B8A0BB51603D}"/>
              </a:ext>
            </a:extLst>
          </p:cNvPr>
          <p:cNvSpPr txBox="1">
            <a:spLocks/>
          </p:cNvSpPr>
          <p:nvPr/>
        </p:nvSpPr>
        <p:spPr>
          <a:xfrm>
            <a:off x="457199" y="1765551"/>
            <a:ext cx="6167887" cy="2918592"/>
          </a:xfrm>
          <a:prstGeom prst="rect">
            <a:avLst/>
          </a:prstGeom>
        </p:spPr>
        <p:txBody>
          <a:bodyPr vert="horz" lIns="0" tIns="9144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tx1"/>
                </a:solidFill>
                <a:latin typeface="Segoe UI Semibold" panose="020B0502040204020203" pitchFamily="34" charset="0"/>
                <a:ea typeface="+mn-ea"/>
                <a:cs typeface="Segoe UI Semibold"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28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re success factors</a:t>
            </a:r>
            <a:endParaRPr kumimoji="0" lang="en-US" sz="2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a:lnSpc>
                <a:spcPct val="100000"/>
              </a:lnSpc>
              <a:spcBef>
                <a:spcPts val="0"/>
              </a:spcBef>
              <a:spcAft>
                <a:spcPts val="1200"/>
              </a:spcAft>
            </a:pPr>
            <a:r>
              <a:rPr lang="en-US" dirty="0"/>
              <a:t>Focus on usability, productivity, and interoperability</a:t>
            </a:r>
          </a:p>
          <a:p>
            <a:pPr>
              <a:lnSpc>
                <a:spcPct val="100000"/>
              </a:lnSpc>
              <a:spcBef>
                <a:spcPts val="0"/>
              </a:spcBef>
              <a:spcAft>
                <a:spcPts val="1200"/>
              </a:spcAft>
            </a:pPr>
            <a:r>
              <a:rPr lang="en-US" dirty="0"/>
              <a:t>Microsoft’s cloud platform (Azure)</a:t>
            </a:r>
          </a:p>
          <a:p>
            <a:pPr>
              <a:lnSpc>
                <a:spcPct val="100000"/>
              </a:lnSpc>
              <a:spcBef>
                <a:spcPts val="0"/>
              </a:spcBef>
              <a:spcAft>
                <a:spcPts val="1200"/>
              </a:spcAft>
            </a:pPr>
            <a:r>
              <a:rPr lang="en-US" dirty="0"/>
              <a:t>Lifecycle Services</a:t>
            </a:r>
          </a:p>
          <a:p>
            <a:pPr>
              <a:lnSpc>
                <a:spcPct val="100000"/>
              </a:lnSpc>
              <a:spcBef>
                <a:spcPts val="0"/>
              </a:spcBef>
              <a:spcAft>
                <a:spcPts val="1200"/>
              </a:spcAft>
            </a:pPr>
            <a:r>
              <a:rPr lang="en-US" dirty="0"/>
              <a:t>Extensibility (enabling users as well)</a:t>
            </a:r>
          </a:p>
          <a:p>
            <a:pPr>
              <a:lnSpc>
                <a:spcPct val="100000"/>
              </a:lnSpc>
              <a:spcBef>
                <a:spcPts val="0"/>
              </a:spcBef>
              <a:spcAft>
                <a:spcPts val="1200"/>
              </a:spcAft>
            </a:pPr>
            <a:r>
              <a:rPr lang="en-US" dirty="0"/>
              <a:t>Deployment options</a:t>
            </a:r>
          </a:p>
        </p:txBody>
      </p:sp>
      <p:sp>
        <p:nvSpPr>
          <p:cNvPr id="17" name="Rectangle 16">
            <a:extLst>
              <a:ext uri="{FF2B5EF4-FFF2-40B4-BE49-F238E27FC236}">
                <a16:creationId xmlns:a16="http://schemas.microsoft.com/office/drawing/2014/main" id="{86E14BD4-012E-9C4B-A98C-0EB766C5C946}"/>
              </a:ext>
            </a:extLst>
          </p:cNvPr>
          <p:cNvSpPr/>
          <p:nvPr/>
        </p:nvSpPr>
        <p:spPr bwMode="auto">
          <a:xfrm>
            <a:off x="9138383" y="6249822"/>
            <a:ext cx="2681921" cy="215444"/>
          </a:xfrm>
          <a:prstGeom prst="rect">
            <a:avLst/>
          </a:prstGeom>
        </p:spPr>
        <p:txBody>
          <a:bodyPr wrap="square">
            <a:spAutoFit/>
          </a:bodyPr>
          <a:lstStyle/>
          <a:p>
            <a:pPr algn="r"/>
            <a:r>
              <a:rPr lang="en-US" sz="800" dirty="0" err="1">
                <a:solidFill>
                  <a:srgbClr val="737373"/>
                </a:solidFill>
                <a:latin typeface="SegoeUI" charset="0"/>
              </a:rPr>
              <a:t>www.dynamics.Microsoft.com</a:t>
            </a:r>
            <a:r>
              <a:rPr lang="en-US" sz="800" dirty="0">
                <a:solidFill>
                  <a:srgbClr val="737373"/>
                </a:solidFill>
                <a:latin typeface="SegoeUI" charset="0"/>
              </a:rPr>
              <a:t>/</a:t>
            </a:r>
            <a:r>
              <a:rPr lang="en-US" sz="800" dirty="0" err="1">
                <a:solidFill>
                  <a:srgbClr val="737373"/>
                </a:solidFill>
                <a:latin typeface="SegoeUI" charset="0"/>
              </a:rPr>
              <a:t>en</a:t>
            </a:r>
            <a:r>
              <a:rPr lang="en-US" sz="800" dirty="0">
                <a:solidFill>
                  <a:srgbClr val="737373"/>
                </a:solidFill>
                <a:latin typeface="SegoeUI" charset="0"/>
              </a:rPr>
              <a:t>-us/analyst-awards</a:t>
            </a:r>
          </a:p>
        </p:txBody>
      </p:sp>
      <p:sp>
        <p:nvSpPr>
          <p:cNvPr id="18" name="Rectangle 17">
            <a:extLst>
              <a:ext uri="{FF2B5EF4-FFF2-40B4-BE49-F238E27FC236}">
                <a16:creationId xmlns:a16="http://schemas.microsoft.com/office/drawing/2014/main" id="{E55AD4FE-D136-594D-8279-BEBE4B2BC3CC}"/>
              </a:ext>
            </a:extLst>
          </p:cNvPr>
          <p:cNvSpPr/>
          <p:nvPr/>
        </p:nvSpPr>
        <p:spPr>
          <a:xfrm>
            <a:off x="7091465" y="809768"/>
            <a:ext cx="2384230" cy="492443"/>
          </a:xfrm>
          <a:prstGeom prst="rect">
            <a:avLst/>
          </a:prstGeom>
        </p:spPr>
        <p:txBody>
          <a:bodyPr wrap="square" lIns="0" tIns="0" rIns="0" bIns="0">
            <a:spAutoFit/>
          </a:bodyPr>
          <a:lstStyle/>
          <a:p>
            <a:r>
              <a:rPr lang="en-US" sz="1600" b="1" dirty="0">
                <a:latin typeface="Segoe UI Semibold" panose="020B0502040204020203" pitchFamily="34" charset="0"/>
                <a:cs typeface="Segoe UI Semibold" panose="020B0502040204020203" pitchFamily="34" charset="0"/>
              </a:rPr>
              <a:t>Nucleus Research ERP Technology Value Matrix</a:t>
            </a:r>
          </a:p>
        </p:txBody>
      </p:sp>
      <p:sp>
        <p:nvSpPr>
          <p:cNvPr id="19" name="Rectangle 18">
            <a:extLst>
              <a:ext uri="{FF2B5EF4-FFF2-40B4-BE49-F238E27FC236}">
                <a16:creationId xmlns:a16="http://schemas.microsoft.com/office/drawing/2014/main" id="{73A53292-FCAD-AF42-85D6-E3F41CA27D9E}"/>
              </a:ext>
            </a:extLst>
          </p:cNvPr>
          <p:cNvSpPr/>
          <p:nvPr/>
        </p:nvSpPr>
        <p:spPr>
          <a:xfrm>
            <a:off x="457200" y="6068401"/>
            <a:ext cx="5334000" cy="332399"/>
          </a:xfrm>
          <a:prstGeom prst="rect">
            <a:avLst/>
          </a:prstGeom>
        </p:spPr>
        <p:txBody>
          <a:bodyPr wrap="square" lIns="0" tIns="0" rIns="0" bIns="0">
            <a:spAutoFit/>
          </a:bodyPr>
          <a:lstStyle/>
          <a:p>
            <a:pPr defTabSz="914022" fontAlgn="base">
              <a:lnSpc>
                <a:spcPct val="90000"/>
              </a:lnSpc>
              <a:spcBef>
                <a:spcPct val="0"/>
              </a:spcBef>
              <a:spcAft>
                <a:spcPct val="0"/>
              </a:spcAft>
              <a:defRPr/>
            </a:pPr>
            <a:r>
              <a:rPr lang="en-US" sz="800" i="1" dirty="0">
                <a:solidFill>
                  <a:schemeClr val="accent5"/>
                </a:solidFill>
                <a:latin typeface="Segoe UI"/>
                <a:ea typeface="Segoe UI" pitchFamily="34" charset="0"/>
                <a:cs typeface="Segoe UI" pitchFamily="34" charset="0"/>
              </a:rPr>
              <a:t>The value Matrix is an assessment of the state of the market and indicates the functionality and usability of a solution. An arrow indicates future movement of a solution relative to others. Solutions without an arrow are projected to keep pace with the increase in functionality and usability expected in the overall market.</a:t>
            </a:r>
          </a:p>
        </p:txBody>
      </p:sp>
      <p:pic>
        <p:nvPicPr>
          <p:cNvPr id="20" name="Picture 19">
            <a:extLst>
              <a:ext uri="{FF2B5EF4-FFF2-40B4-BE49-F238E27FC236}">
                <a16:creationId xmlns:a16="http://schemas.microsoft.com/office/drawing/2014/main" id="{BBB4B6EB-D6DE-C741-B219-B406C9946A1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091463" y="1419944"/>
            <a:ext cx="4643337" cy="4648457"/>
          </a:xfrm>
          <a:prstGeom prst="rect">
            <a:avLst/>
          </a:prstGeom>
        </p:spPr>
      </p:pic>
    </p:spTree>
    <p:extLst>
      <p:ext uri="{BB962C8B-B14F-4D97-AF65-F5344CB8AC3E}">
        <p14:creationId xmlns:p14="http://schemas.microsoft.com/office/powerpoint/2010/main" val="40943278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15">
            <a:extLst>
              <a:ext uri="{FF2B5EF4-FFF2-40B4-BE49-F238E27FC236}">
                <a16:creationId xmlns:a16="http://schemas.microsoft.com/office/drawing/2014/main" id="{94397398-0FB7-3F45-93A2-DFFDD89A377A}"/>
              </a:ext>
            </a:extLst>
          </p:cNvPr>
          <p:cNvSpPr/>
          <p:nvPr/>
        </p:nvSpPr>
        <p:spPr>
          <a:xfrm>
            <a:off x="8532061" y="4036492"/>
            <a:ext cx="3160238" cy="1675764"/>
          </a:xfrm>
          <a:prstGeom prst="roundRect">
            <a:avLst>
              <a:gd name="adj" fmla="val 768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4">
            <a:extLst>
              <a:ext uri="{FF2B5EF4-FFF2-40B4-BE49-F238E27FC236}">
                <a16:creationId xmlns:a16="http://schemas.microsoft.com/office/drawing/2014/main" id="{0FCF36AC-5F4A-2D49-8E9C-972D90B53793}"/>
              </a:ext>
            </a:extLst>
          </p:cNvPr>
          <p:cNvSpPr/>
          <p:nvPr/>
        </p:nvSpPr>
        <p:spPr>
          <a:xfrm>
            <a:off x="464976" y="1676802"/>
            <a:ext cx="3160238" cy="1675764"/>
          </a:xfrm>
          <a:prstGeom prst="roundRect">
            <a:avLst>
              <a:gd name="adj" fmla="val 768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61244C6-247B-3143-AF70-6464DE0BF32B}"/>
              </a:ext>
            </a:extLst>
          </p:cNvPr>
          <p:cNvSpPr/>
          <p:nvPr/>
        </p:nvSpPr>
        <p:spPr>
          <a:xfrm>
            <a:off x="3908926" y="1795168"/>
            <a:ext cx="7611466" cy="1646605"/>
          </a:xfrm>
          <a:prstGeom prst="rect">
            <a:avLst/>
          </a:prstGeom>
        </p:spPr>
        <p:txBody>
          <a:bodyPr wrap="square">
            <a:spAutoFit/>
          </a:bodyPr>
          <a:lstStyle/>
          <a:p>
            <a:pPr lvl="0">
              <a:spcAft>
                <a:spcPts val="600"/>
              </a:spcAft>
            </a:pPr>
            <a:r>
              <a:rPr lang="en-US" sz="2000" dirty="0">
                <a:latin typeface="Segoe UI" panose="020B0502040204020203" pitchFamily="34" charset="0"/>
                <a:cs typeface="Segoe UI" panose="020B0502040204020203" pitchFamily="34" charset="0"/>
              </a:rPr>
              <a:t>“With best-in-class cloud offerings on Dynamics 365, we’ve become a more competitive business, because we deliver services tailored to the unique needs of these vertical markets from a suite of streamlined business applications.”</a:t>
            </a:r>
          </a:p>
          <a:p>
            <a:pPr lvl="0" algn="r"/>
            <a:r>
              <a:rPr lang="en-US" sz="1600" b="1" dirty="0">
                <a:latin typeface="Segoe UI" panose="020B0502040204020203" pitchFamily="34" charset="0"/>
                <a:cs typeface="Segoe UI" panose="020B0502040204020203" pitchFamily="34" charset="0"/>
              </a:rPr>
              <a:t>Whit McIsaac, </a:t>
            </a:r>
            <a:r>
              <a:rPr lang="en-US" sz="1600" dirty="0">
                <a:latin typeface="Segoe UI" panose="020B0502040204020203" pitchFamily="34" charset="0"/>
                <a:cs typeface="Segoe UI" panose="020B0502040204020203" pitchFamily="34" charset="0"/>
              </a:rPr>
              <a:t>CEO, Americas, </a:t>
            </a:r>
            <a:r>
              <a:rPr lang="en-US" sz="1600" dirty="0" err="1">
                <a:latin typeface="Segoe UI" panose="020B0502040204020203" pitchFamily="34" charset="0"/>
                <a:cs typeface="Segoe UI" panose="020B0502040204020203" pitchFamily="34" charset="0"/>
              </a:rPr>
              <a:t>SAGlobal</a:t>
            </a:r>
            <a:endParaRPr lang="en-US" sz="2400" dirty="0">
              <a:latin typeface="Segoe UI" panose="020B0502040204020203" pitchFamily="34" charset="0"/>
              <a:cs typeface="Segoe UI" panose="020B0502040204020203" pitchFamily="34" charset="0"/>
            </a:endParaRPr>
          </a:p>
        </p:txBody>
      </p:sp>
      <p:sp>
        <p:nvSpPr>
          <p:cNvPr id="15" name="Rectangle 14">
            <a:extLst>
              <a:ext uri="{FF2B5EF4-FFF2-40B4-BE49-F238E27FC236}">
                <a16:creationId xmlns:a16="http://schemas.microsoft.com/office/drawing/2014/main" id="{B3362BCE-6940-E942-8164-DB09B2E9065F}"/>
              </a:ext>
            </a:extLst>
          </p:cNvPr>
          <p:cNvSpPr/>
          <p:nvPr/>
        </p:nvSpPr>
        <p:spPr>
          <a:xfrm>
            <a:off x="591930" y="4108656"/>
            <a:ext cx="7611466" cy="1523494"/>
          </a:xfrm>
          <a:prstGeom prst="rect">
            <a:avLst/>
          </a:prstGeom>
        </p:spPr>
        <p:txBody>
          <a:bodyPr wrap="square">
            <a:spAutoFit/>
          </a:bodyPr>
          <a:lstStyle/>
          <a:p>
            <a:pPr>
              <a:spcAft>
                <a:spcPts val="600"/>
              </a:spcAft>
            </a:pPr>
            <a:r>
              <a:rPr lang="en-US" sz="2400" dirty="0">
                <a:latin typeface="Segoe UI" panose="020B0502040204020203" pitchFamily="34" charset="0"/>
                <a:cs typeface="Segoe UI" panose="020B0502040204020203" pitchFamily="34" charset="0"/>
              </a:rPr>
              <a:t>“The breadth of capability you get with the Microsoft platform is amazing. Between Dynamics 365, Azure, and Power Platform, you nearly have it all.”</a:t>
            </a:r>
          </a:p>
          <a:p>
            <a:pPr algn="r"/>
            <a:r>
              <a:rPr lang="en-US" sz="1600" b="1" dirty="0">
                <a:latin typeface="Segoe UI" panose="020B0502040204020203" pitchFamily="34" charset="0"/>
                <a:cs typeface="Segoe UI" panose="020B0502040204020203" pitchFamily="34" charset="0"/>
              </a:rPr>
              <a:t>John Pence, </a:t>
            </a:r>
            <a:r>
              <a:rPr lang="en-US" sz="1600" dirty="0">
                <a:latin typeface="Segoe UI" panose="020B0502040204020203" pitchFamily="34" charset="0"/>
                <a:cs typeface="Segoe UI" panose="020B0502040204020203" pitchFamily="34" charset="0"/>
              </a:rPr>
              <a:t>Founder, Sunrise Technologies</a:t>
            </a:r>
            <a:endParaRPr lang="en-US" sz="2400" dirty="0">
              <a:latin typeface="Segoe UI" panose="020B0502040204020203" pitchFamily="34" charset="0"/>
              <a:cs typeface="Segoe UI" panose="020B0502040204020203" pitchFamily="34" charset="0"/>
            </a:endParaRPr>
          </a:p>
        </p:txBody>
      </p:sp>
      <p:pic>
        <p:nvPicPr>
          <p:cNvPr id="10" name="Picture 2" descr="Image result for saglobal logo">
            <a:extLst>
              <a:ext uri="{FF2B5EF4-FFF2-40B4-BE49-F238E27FC236}">
                <a16:creationId xmlns:a16="http://schemas.microsoft.com/office/drawing/2014/main" id="{2C791644-BFF5-AF45-8717-1CB2EC16EF86}"/>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966949" y="1865638"/>
            <a:ext cx="1889024" cy="115608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Image result for sunrise technologies logo transparent">
            <a:extLst>
              <a:ext uri="{FF2B5EF4-FFF2-40B4-BE49-F238E27FC236}">
                <a16:creationId xmlns:a16="http://schemas.microsoft.com/office/drawing/2014/main" id="{E44D0868-D4FC-2D46-9582-4F04D39DD758}"/>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8938432" y="4360869"/>
            <a:ext cx="2347494" cy="1019067"/>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1">
            <a:extLst>
              <a:ext uri="{FF2B5EF4-FFF2-40B4-BE49-F238E27FC236}">
                <a16:creationId xmlns:a16="http://schemas.microsoft.com/office/drawing/2014/main" id="{F766C0FD-EEC7-3E4E-BE4D-DAE3AD472C2B}"/>
              </a:ext>
            </a:extLst>
          </p:cNvPr>
          <p:cNvSpPr txBox="1">
            <a:spLocks/>
          </p:cNvSpPr>
          <p:nvPr/>
        </p:nvSpPr>
        <p:spPr>
          <a:xfrm>
            <a:off x="464977" y="466044"/>
            <a:ext cx="7771880" cy="6096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4000" b="0" i="0" kern="1200">
                <a:solidFill>
                  <a:schemeClr val="tx1"/>
                </a:solidFill>
                <a:latin typeface="Segoe UI Semibold" panose="020B0502040204020203" pitchFamily="34" charset="0"/>
                <a:ea typeface="+mj-ea"/>
                <a:cs typeface="Segoe UI Semibold" panose="020B0502040204020203" pitchFamily="34" charset="0"/>
              </a:defRPr>
            </a:lvl1pPr>
          </a:lstStyle>
          <a:p>
            <a:r>
              <a:rPr lang="en-US"/>
              <a:t>Build on your strengths</a:t>
            </a:r>
          </a:p>
        </p:txBody>
      </p:sp>
    </p:spTree>
    <p:extLst>
      <p:ext uri="{BB962C8B-B14F-4D97-AF65-F5344CB8AC3E}">
        <p14:creationId xmlns:p14="http://schemas.microsoft.com/office/powerpoint/2010/main" val="108659779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3">
            <a:extLst>
              <a:ext uri="{FF2B5EF4-FFF2-40B4-BE49-F238E27FC236}">
                <a16:creationId xmlns:a16="http://schemas.microsoft.com/office/drawing/2014/main" id="{947144BE-0913-0A46-A402-85B5E79CE4C7}"/>
              </a:ext>
            </a:extLst>
          </p:cNvPr>
          <p:cNvSpPr txBox="1">
            <a:spLocks/>
          </p:cNvSpPr>
          <p:nvPr/>
        </p:nvSpPr>
        <p:spPr>
          <a:xfrm>
            <a:off x="457199" y="457200"/>
            <a:ext cx="6478693" cy="6096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4000" b="0" i="0" kern="1200">
                <a:solidFill>
                  <a:schemeClr val="tx1"/>
                </a:solidFill>
                <a:latin typeface="Segoe UI Semibold" panose="020B0502040204020203" pitchFamily="34" charset="0"/>
                <a:ea typeface="+mj-ea"/>
                <a:cs typeface="Segoe UI Semibold" panose="020B0502040204020203" pitchFamily="34" charset="0"/>
              </a:defRPr>
            </a:lvl1pPr>
          </a:lstStyle>
          <a:p>
            <a:r>
              <a:rPr lang="en-US"/>
              <a:t>Leverage existing skillsets</a:t>
            </a:r>
          </a:p>
        </p:txBody>
      </p:sp>
      <p:sp>
        <p:nvSpPr>
          <p:cNvPr id="72" name="Text Placeholder 1">
            <a:extLst>
              <a:ext uri="{FF2B5EF4-FFF2-40B4-BE49-F238E27FC236}">
                <a16:creationId xmlns:a16="http://schemas.microsoft.com/office/drawing/2014/main" id="{49E529C9-8E11-004B-9BC3-B7EF35B7E697}"/>
              </a:ext>
            </a:extLst>
          </p:cNvPr>
          <p:cNvSpPr txBox="1">
            <a:spLocks/>
          </p:cNvSpPr>
          <p:nvPr/>
        </p:nvSpPr>
        <p:spPr>
          <a:xfrm>
            <a:off x="964175" y="2181122"/>
            <a:ext cx="4573061" cy="2646878"/>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1" i="0" kern="1200">
                <a:solidFill>
                  <a:schemeClr val="tx1"/>
                </a:solidFill>
                <a:latin typeface="Segoe UI Semibold" panose="020B0502040204020203" pitchFamily="34" charset="0"/>
                <a:ea typeface="+mn-ea"/>
                <a:cs typeface="Segoe UI Semibold"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1" i="0" kern="1200">
                <a:solidFill>
                  <a:schemeClr val="tx1"/>
                </a:solidFill>
                <a:latin typeface="Segoe UI Semibold" panose="020B0502040204020203" pitchFamily="34" charset="0"/>
                <a:ea typeface="+mn-ea"/>
                <a:cs typeface="Segoe UI Semibold"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1"/>
                </a:solidFill>
                <a:latin typeface="Segoe UI Semibold" panose="020B0502040204020203" pitchFamily="34" charset="0"/>
                <a:ea typeface="+mn-ea"/>
                <a:cs typeface="Segoe UI Semibold"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1" i="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400"/>
              </a:spcAft>
              <a:buNone/>
            </a:pPr>
            <a:r>
              <a:rPr lang="en-US" sz="1800" b="0" dirty="0">
                <a:latin typeface="Segoe UI" panose="020B0502040204020203" pitchFamily="34" charset="0"/>
                <a:cs typeface="Segoe UI" panose="020B0502040204020203" pitchFamily="34" charset="0"/>
              </a:rPr>
              <a:t>Utilize your teams existing skills and knowledge of Microsoft tools, including Office 365, Azure IoT, and Mixed Reality</a:t>
            </a:r>
          </a:p>
          <a:p>
            <a:pPr marL="0" indent="0">
              <a:lnSpc>
                <a:spcPct val="100000"/>
              </a:lnSpc>
              <a:spcBef>
                <a:spcPts val="0"/>
              </a:spcBef>
              <a:spcAft>
                <a:spcPts val="2400"/>
              </a:spcAft>
              <a:buNone/>
            </a:pPr>
            <a:r>
              <a:rPr lang="en-US" sz="1800" b="0" dirty="0">
                <a:latin typeface="Segoe UI" panose="020B0502040204020203" pitchFamily="34" charset="0"/>
                <a:cs typeface="Segoe UI" panose="020B0502040204020203" pitchFamily="34" charset="0"/>
              </a:rPr>
              <a:t>Take advantage of a stair step approach to invest gradually and grow as you’re ready</a:t>
            </a:r>
          </a:p>
          <a:p>
            <a:pPr marL="0" indent="0">
              <a:lnSpc>
                <a:spcPct val="100000"/>
              </a:lnSpc>
              <a:spcBef>
                <a:spcPts val="0"/>
              </a:spcBef>
              <a:spcAft>
                <a:spcPts val="2400"/>
              </a:spcAft>
              <a:buNone/>
            </a:pPr>
            <a:r>
              <a:rPr lang="en-US" sz="1800" b="0" dirty="0">
                <a:latin typeface="Segoe UI" panose="020B0502040204020203" pitchFamily="34" charset="0"/>
                <a:cs typeface="Segoe UI" panose="020B0502040204020203" pitchFamily="34" charset="0"/>
              </a:rPr>
              <a:t>Differentiate your business through the Cloud Business Applications Competency</a:t>
            </a:r>
          </a:p>
        </p:txBody>
      </p:sp>
      <p:pic>
        <p:nvPicPr>
          <p:cNvPr id="73" name="Picture 72">
            <a:extLst>
              <a:ext uri="{FF2B5EF4-FFF2-40B4-BE49-F238E27FC236}">
                <a16:creationId xmlns:a16="http://schemas.microsoft.com/office/drawing/2014/main" id="{BB1116F9-CB48-8C43-8BC2-FEA791810552}"/>
              </a:ext>
            </a:extLst>
          </p:cNvPr>
          <p:cNvPicPr>
            <a:picLocks noChangeAspect="1"/>
          </p:cNvPicPr>
          <p:nvPr/>
        </p:nvPicPr>
        <p:blipFill>
          <a:blip r:embed="rId3"/>
          <a:stretch>
            <a:fillRect/>
          </a:stretch>
        </p:blipFill>
        <p:spPr>
          <a:xfrm>
            <a:off x="467802" y="2265425"/>
            <a:ext cx="274320" cy="232116"/>
          </a:xfrm>
          <a:prstGeom prst="rect">
            <a:avLst/>
          </a:prstGeom>
        </p:spPr>
      </p:pic>
      <p:pic>
        <p:nvPicPr>
          <p:cNvPr id="74" name="Picture 73">
            <a:extLst>
              <a:ext uri="{FF2B5EF4-FFF2-40B4-BE49-F238E27FC236}">
                <a16:creationId xmlns:a16="http://schemas.microsoft.com/office/drawing/2014/main" id="{251C6E54-DD96-3346-BB08-43CDB8BFF4ED}"/>
              </a:ext>
            </a:extLst>
          </p:cNvPr>
          <p:cNvPicPr>
            <a:picLocks noChangeAspect="1"/>
          </p:cNvPicPr>
          <p:nvPr/>
        </p:nvPicPr>
        <p:blipFill>
          <a:blip r:embed="rId4"/>
          <a:stretch>
            <a:fillRect/>
          </a:stretch>
        </p:blipFill>
        <p:spPr>
          <a:xfrm>
            <a:off x="467802" y="3362028"/>
            <a:ext cx="274320" cy="274320"/>
          </a:xfrm>
          <a:prstGeom prst="rect">
            <a:avLst/>
          </a:prstGeom>
        </p:spPr>
      </p:pic>
      <p:pic>
        <p:nvPicPr>
          <p:cNvPr id="75" name="Picture 74">
            <a:extLst>
              <a:ext uri="{FF2B5EF4-FFF2-40B4-BE49-F238E27FC236}">
                <a16:creationId xmlns:a16="http://schemas.microsoft.com/office/drawing/2014/main" id="{27C47225-A3B7-F147-8684-072CD065BEED}"/>
              </a:ext>
            </a:extLst>
          </p:cNvPr>
          <p:cNvPicPr>
            <a:picLocks noChangeAspect="1"/>
          </p:cNvPicPr>
          <p:nvPr/>
        </p:nvPicPr>
        <p:blipFill>
          <a:blip r:embed="rId5"/>
          <a:stretch>
            <a:fillRect/>
          </a:stretch>
        </p:blipFill>
        <p:spPr>
          <a:xfrm>
            <a:off x="467802" y="4240846"/>
            <a:ext cx="274320" cy="264159"/>
          </a:xfrm>
          <a:prstGeom prst="rect">
            <a:avLst/>
          </a:prstGeom>
        </p:spPr>
      </p:pic>
      <p:pic>
        <p:nvPicPr>
          <p:cNvPr id="12" name="Picture 11" descr="A close up of a logo&#10;&#10;Description generated with very high confidence">
            <a:extLst>
              <a:ext uri="{FF2B5EF4-FFF2-40B4-BE49-F238E27FC236}">
                <a16:creationId xmlns:a16="http://schemas.microsoft.com/office/drawing/2014/main" id="{1692F4B4-540B-0E45-88BC-A8594B7B6DF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295199" y="3706804"/>
            <a:ext cx="877991" cy="254489"/>
          </a:xfrm>
          <a:prstGeom prst="rect">
            <a:avLst/>
          </a:prstGeom>
          <a:ln>
            <a:noFill/>
          </a:ln>
        </p:spPr>
      </p:pic>
      <p:sp>
        <p:nvSpPr>
          <p:cNvPr id="13" name="Rounded Rectangle 12">
            <a:extLst>
              <a:ext uri="{FF2B5EF4-FFF2-40B4-BE49-F238E27FC236}">
                <a16:creationId xmlns:a16="http://schemas.microsoft.com/office/drawing/2014/main" id="{565A3F5E-6B1A-FD42-A9C3-ABA447BED148}"/>
              </a:ext>
            </a:extLst>
          </p:cNvPr>
          <p:cNvSpPr>
            <a:spLocks/>
          </p:cNvSpPr>
          <p:nvPr/>
        </p:nvSpPr>
        <p:spPr>
          <a:xfrm>
            <a:off x="6730154" y="4243180"/>
            <a:ext cx="3130090" cy="584820"/>
          </a:xfrm>
          <a:prstGeom prst="roundRect">
            <a:avLst>
              <a:gd name="adj" fmla="val 250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chemeClr val="bg1"/>
                </a:solidFill>
                <a:latin typeface="Segoe UI" panose="020B0502040204020203" pitchFamily="34" charset="0"/>
                <a:cs typeface="Segoe UI" panose="020B0502040204020203" pitchFamily="34" charset="0"/>
              </a:rPr>
              <a:t>Dynamics 365 for Finance and Operations</a:t>
            </a:r>
          </a:p>
        </p:txBody>
      </p:sp>
      <p:sp>
        <p:nvSpPr>
          <p:cNvPr id="14" name="Rounded Rectangle 13">
            <a:extLst>
              <a:ext uri="{FF2B5EF4-FFF2-40B4-BE49-F238E27FC236}">
                <a16:creationId xmlns:a16="http://schemas.microsoft.com/office/drawing/2014/main" id="{B83F1163-0A94-1044-AD55-DCE9EC5CA307}"/>
              </a:ext>
            </a:extLst>
          </p:cNvPr>
          <p:cNvSpPr>
            <a:spLocks/>
          </p:cNvSpPr>
          <p:nvPr/>
        </p:nvSpPr>
        <p:spPr>
          <a:xfrm>
            <a:off x="7251701" y="3555826"/>
            <a:ext cx="3130090" cy="584820"/>
          </a:xfrm>
          <a:prstGeom prst="roundRect">
            <a:avLst>
              <a:gd name="adj" fmla="val 22855"/>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000" dirty="0">
              <a:solidFill>
                <a:schemeClr val="bg1"/>
              </a:solidFill>
              <a:latin typeface="Segoe UI" panose="020B0502040204020203" pitchFamily="34" charset="0"/>
              <a:cs typeface="Segoe UI" panose="020B0502040204020203" pitchFamily="34" charset="0"/>
            </a:endParaRPr>
          </a:p>
        </p:txBody>
      </p:sp>
      <p:sp>
        <p:nvSpPr>
          <p:cNvPr id="15" name="Rounded Rectangle 14">
            <a:extLst>
              <a:ext uri="{FF2B5EF4-FFF2-40B4-BE49-F238E27FC236}">
                <a16:creationId xmlns:a16="http://schemas.microsoft.com/office/drawing/2014/main" id="{3025D06E-5C12-A14F-8D60-3696CFD603F5}"/>
              </a:ext>
            </a:extLst>
          </p:cNvPr>
          <p:cNvSpPr>
            <a:spLocks/>
          </p:cNvSpPr>
          <p:nvPr/>
        </p:nvSpPr>
        <p:spPr>
          <a:xfrm>
            <a:off x="7608145" y="2868474"/>
            <a:ext cx="3130090" cy="584820"/>
          </a:xfrm>
          <a:prstGeom prst="roundRect">
            <a:avLst>
              <a:gd name="adj" fmla="val 239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chemeClr val="bg1"/>
                </a:solidFill>
                <a:latin typeface="Segoe UI" panose="020B0502040204020203" pitchFamily="34" charset="0"/>
                <a:cs typeface="Segoe UI" panose="020B0502040204020203" pitchFamily="34" charset="0"/>
              </a:rPr>
              <a:t>Azure IoT</a:t>
            </a:r>
          </a:p>
        </p:txBody>
      </p:sp>
      <p:sp>
        <p:nvSpPr>
          <p:cNvPr id="16" name="Rounded Rectangle 15">
            <a:extLst>
              <a:ext uri="{FF2B5EF4-FFF2-40B4-BE49-F238E27FC236}">
                <a16:creationId xmlns:a16="http://schemas.microsoft.com/office/drawing/2014/main" id="{B2C204A5-6B10-A341-A283-7E98B0457CF2}"/>
              </a:ext>
            </a:extLst>
          </p:cNvPr>
          <p:cNvSpPr>
            <a:spLocks/>
          </p:cNvSpPr>
          <p:nvPr/>
        </p:nvSpPr>
        <p:spPr>
          <a:xfrm>
            <a:off x="7924800" y="2181122"/>
            <a:ext cx="3130090" cy="584820"/>
          </a:xfrm>
          <a:prstGeom prst="roundRect">
            <a:avLst>
              <a:gd name="adj" fmla="val 3045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chemeClr val="bg1"/>
                </a:solidFill>
                <a:latin typeface="Segoe UI" panose="020B0502040204020203" pitchFamily="34" charset="0"/>
                <a:cs typeface="Segoe UI" panose="020B0502040204020203" pitchFamily="34" charset="0"/>
              </a:rPr>
              <a:t>Mixed Reality</a:t>
            </a:r>
          </a:p>
        </p:txBody>
      </p:sp>
      <p:cxnSp>
        <p:nvCxnSpPr>
          <p:cNvPr id="17" name="Elbow Connector 16">
            <a:extLst>
              <a:ext uri="{FF2B5EF4-FFF2-40B4-BE49-F238E27FC236}">
                <a16:creationId xmlns:a16="http://schemas.microsoft.com/office/drawing/2014/main" id="{72E916DB-C428-7148-966C-06B0F9E90AA1}"/>
              </a:ext>
            </a:extLst>
          </p:cNvPr>
          <p:cNvCxnSpPr>
            <a:cxnSpLocks/>
            <a:stCxn id="13" idx="1"/>
            <a:endCxn id="14" idx="1"/>
          </p:cNvCxnSpPr>
          <p:nvPr/>
        </p:nvCxnSpPr>
        <p:spPr>
          <a:xfrm rot="10800000" flipH="1">
            <a:off x="6730153" y="3848236"/>
            <a:ext cx="521547" cy="687354"/>
          </a:xfrm>
          <a:prstGeom prst="bentConnector3">
            <a:avLst>
              <a:gd name="adj1" fmla="val -26786"/>
            </a:avLst>
          </a:prstGeom>
          <a:ln w="12700">
            <a:solidFill>
              <a:schemeClr val="accent5"/>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a:extLst>
              <a:ext uri="{FF2B5EF4-FFF2-40B4-BE49-F238E27FC236}">
                <a16:creationId xmlns:a16="http://schemas.microsoft.com/office/drawing/2014/main" id="{A05D0511-4147-F542-8C9C-59A50A9BAF82}"/>
              </a:ext>
            </a:extLst>
          </p:cNvPr>
          <p:cNvCxnSpPr>
            <a:cxnSpLocks/>
            <a:stCxn id="14" idx="1"/>
            <a:endCxn id="15" idx="1"/>
          </p:cNvCxnSpPr>
          <p:nvPr/>
        </p:nvCxnSpPr>
        <p:spPr>
          <a:xfrm rot="10800000" flipH="1">
            <a:off x="7251701" y="3160884"/>
            <a:ext cx="356444" cy="687352"/>
          </a:xfrm>
          <a:prstGeom prst="bentConnector3">
            <a:avLst>
              <a:gd name="adj1" fmla="val -69143"/>
            </a:avLst>
          </a:prstGeom>
          <a:ln w="12700">
            <a:solidFill>
              <a:schemeClr val="accent5"/>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a:extLst>
              <a:ext uri="{FF2B5EF4-FFF2-40B4-BE49-F238E27FC236}">
                <a16:creationId xmlns:a16="http://schemas.microsoft.com/office/drawing/2014/main" id="{9E5F7143-7877-C44C-8E23-42A13B39FBEB}"/>
              </a:ext>
            </a:extLst>
          </p:cNvPr>
          <p:cNvCxnSpPr>
            <a:cxnSpLocks/>
            <a:stCxn id="15" idx="1"/>
            <a:endCxn id="16" idx="1"/>
          </p:cNvCxnSpPr>
          <p:nvPr/>
        </p:nvCxnSpPr>
        <p:spPr>
          <a:xfrm rot="10800000" flipH="1">
            <a:off x="7608144" y="2473532"/>
            <a:ext cx="316655" cy="687352"/>
          </a:xfrm>
          <a:prstGeom prst="bentConnector3">
            <a:avLst>
              <a:gd name="adj1" fmla="val -73320"/>
            </a:avLst>
          </a:prstGeom>
          <a:ln w="12700">
            <a:solidFill>
              <a:schemeClr val="accent5"/>
            </a:solidFill>
            <a:prstDash val="soli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414497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15">
            <a:extLst>
              <a:ext uri="{FF2B5EF4-FFF2-40B4-BE49-F238E27FC236}">
                <a16:creationId xmlns:a16="http://schemas.microsoft.com/office/drawing/2014/main" id="{94397398-0FB7-3F45-93A2-DFFDD89A377A}"/>
              </a:ext>
            </a:extLst>
          </p:cNvPr>
          <p:cNvSpPr/>
          <p:nvPr/>
        </p:nvSpPr>
        <p:spPr>
          <a:xfrm>
            <a:off x="8532061" y="4036492"/>
            <a:ext cx="3160238" cy="1675764"/>
          </a:xfrm>
          <a:prstGeom prst="roundRect">
            <a:avLst>
              <a:gd name="adj" fmla="val 768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4">
            <a:extLst>
              <a:ext uri="{FF2B5EF4-FFF2-40B4-BE49-F238E27FC236}">
                <a16:creationId xmlns:a16="http://schemas.microsoft.com/office/drawing/2014/main" id="{0FCF36AC-5F4A-2D49-8E9C-972D90B53793}"/>
              </a:ext>
            </a:extLst>
          </p:cNvPr>
          <p:cNvSpPr/>
          <p:nvPr/>
        </p:nvSpPr>
        <p:spPr>
          <a:xfrm>
            <a:off x="464976" y="1676802"/>
            <a:ext cx="3160238" cy="1675764"/>
          </a:xfrm>
          <a:prstGeom prst="roundRect">
            <a:avLst>
              <a:gd name="adj" fmla="val 768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61244C6-247B-3143-AF70-6464DE0BF32B}"/>
              </a:ext>
            </a:extLst>
          </p:cNvPr>
          <p:cNvSpPr/>
          <p:nvPr/>
        </p:nvSpPr>
        <p:spPr>
          <a:xfrm>
            <a:off x="3908926" y="1795168"/>
            <a:ext cx="7611466" cy="1523494"/>
          </a:xfrm>
          <a:prstGeom prst="rect">
            <a:avLst/>
          </a:prstGeom>
        </p:spPr>
        <p:txBody>
          <a:bodyPr wrap="square">
            <a:spAutoFit/>
          </a:bodyPr>
          <a:lstStyle/>
          <a:p>
            <a:pPr lvl="0">
              <a:spcAft>
                <a:spcPts val="600"/>
              </a:spcAft>
            </a:pPr>
            <a:r>
              <a:rPr lang="en-US" sz="2400" dirty="0">
                <a:latin typeface="Segoe UI" panose="020B0502040204020203" pitchFamily="34" charset="0"/>
                <a:cs typeface="Segoe UI" panose="020B0502040204020203" pitchFamily="34" charset="0"/>
              </a:rPr>
              <a:t>“Microsoft’s support of our go-to-market efforts, both at the regional and corporate level, has been instrumental to our growth.”</a:t>
            </a:r>
          </a:p>
          <a:p>
            <a:pPr lvl="0" algn="r"/>
            <a:r>
              <a:rPr lang="en-US" sz="1600" b="1" dirty="0">
                <a:latin typeface="Segoe UI" panose="020B0502040204020203" pitchFamily="34" charset="0"/>
                <a:cs typeface="Segoe UI" panose="020B0502040204020203" pitchFamily="34" charset="0"/>
              </a:rPr>
              <a:t>Rik </a:t>
            </a:r>
            <a:r>
              <a:rPr lang="en-US" sz="1600" b="1" dirty="0" err="1">
                <a:latin typeface="Segoe UI" panose="020B0502040204020203" pitchFamily="34" charset="0"/>
                <a:cs typeface="Segoe UI" panose="020B0502040204020203" pitchFamily="34" charset="0"/>
              </a:rPr>
              <a:t>Dubbink</a:t>
            </a:r>
            <a:r>
              <a:rPr lang="en-US" sz="1600" b="1" dirty="0">
                <a:latin typeface="Segoe UI" panose="020B0502040204020203" pitchFamily="34" charset="0"/>
                <a:cs typeface="Segoe UI" panose="020B0502040204020203" pitchFamily="34" charset="0"/>
              </a:rPr>
              <a:t>, </a:t>
            </a:r>
            <a:r>
              <a:rPr lang="en-US" sz="1600" dirty="0">
                <a:latin typeface="Segoe UI" panose="020B0502040204020203" pitchFamily="34" charset="0"/>
                <a:cs typeface="Segoe UI" panose="020B0502040204020203" pitchFamily="34" charset="0"/>
              </a:rPr>
              <a:t>Partner, CRM Partners</a:t>
            </a:r>
            <a:endParaRPr lang="en-US" sz="2400" dirty="0">
              <a:latin typeface="Segoe UI" panose="020B0502040204020203" pitchFamily="34" charset="0"/>
              <a:cs typeface="Segoe UI" panose="020B0502040204020203" pitchFamily="34" charset="0"/>
            </a:endParaRPr>
          </a:p>
        </p:txBody>
      </p:sp>
      <p:sp>
        <p:nvSpPr>
          <p:cNvPr id="15" name="Rectangle 14">
            <a:extLst>
              <a:ext uri="{FF2B5EF4-FFF2-40B4-BE49-F238E27FC236}">
                <a16:creationId xmlns:a16="http://schemas.microsoft.com/office/drawing/2014/main" id="{B3362BCE-6940-E942-8164-DB09B2E9065F}"/>
              </a:ext>
            </a:extLst>
          </p:cNvPr>
          <p:cNvSpPr/>
          <p:nvPr/>
        </p:nvSpPr>
        <p:spPr>
          <a:xfrm>
            <a:off x="591930" y="4108656"/>
            <a:ext cx="7611466" cy="1646605"/>
          </a:xfrm>
          <a:prstGeom prst="rect">
            <a:avLst/>
          </a:prstGeom>
        </p:spPr>
        <p:txBody>
          <a:bodyPr wrap="square">
            <a:spAutoFit/>
          </a:bodyPr>
          <a:lstStyle/>
          <a:p>
            <a:pPr lvl="0">
              <a:spcAft>
                <a:spcPts val="600"/>
              </a:spcAft>
            </a:pPr>
            <a:r>
              <a:rPr lang="en-US" sz="2000" dirty="0">
                <a:latin typeface="Segoe UI" panose="020B0502040204020203" pitchFamily="34" charset="0"/>
                <a:cs typeface="Segoe UI" panose="020B0502040204020203" pitchFamily="34" charset="0"/>
              </a:rPr>
              <a:t>“Dynamics is the lifeblood of everything we do. It’s the beating heart of our clients’ customer experience, it’s the way they optimize their operations and increase staff productivity, all helping them stay ahead of their competition.”</a:t>
            </a:r>
          </a:p>
          <a:p>
            <a:pPr lvl="0" algn="r"/>
            <a:r>
              <a:rPr lang="en-US" sz="1600" b="1" dirty="0">
                <a:latin typeface="Segoe UI" panose="020B0502040204020203" pitchFamily="34" charset="0"/>
                <a:cs typeface="Segoe UI" panose="020B0502040204020203" pitchFamily="34" charset="0"/>
              </a:rPr>
              <a:t>Steve </a:t>
            </a:r>
            <a:r>
              <a:rPr lang="en-US" sz="1600" b="1" dirty="0" err="1">
                <a:latin typeface="Segoe UI" panose="020B0502040204020203" pitchFamily="34" charset="0"/>
                <a:cs typeface="Segoe UI" panose="020B0502040204020203" pitchFamily="34" charset="0"/>
              </a:rPr>
              <a:t>Scarbrough</a:t>
            </a:r>
            <a:r>
              <a:rPr lang="en-US" sz="1600" b="1" dirty="0">
                <a:latin typeface="Segoe UI" panose="020B0502040204020203" pitchFamily="34" charset="0"/>
                <a:cs typeface="Segoe UI" panose="020B0502040204020203" pitchFamily="34" charset="0"/>
              </a:rPr>
              <a:t>, </a:t>
            </a:r>
            <a:r>
              <a:rPr lang="en-US" sz="1600" dirty="0">
                <a:latin typeface="Segoe UI" panose="020B0502040204020203" pitchFamily="34" charset="0"/>
                <a:cs typeface="Segoe UI" panose="020B0502040204020203" pitchFamily="34" charset="0"/>
              </a:rPr>
              <a:t>General Manager, Dynamics, </a:t>
            </a:r>
            <a:r>
              <a:rPr lang="en-US" sz="1600" dirty="0" err="1">
                <a:latin typeface="Segoe UI" panose="020B0502040204020203" pitchFamily="34" charset="0"/>
                <a:cs typeface="Segoe UI" panose="020B0502040204020203" pitchFamily="34" charset="0"/>
              </a:rPr>
              <a:t>Intergen</a:t>
            </a:r>
            <a:endParaRPr lang="en-US" sz="2400" dirty="0">
              <a:latin typeface="Segoe UI" panose="020B0502040204020203" pitchFamily="34" charset="0"/>
              <a:cs typeface="Segoe UI" panose="020B0502040204020203" pitchFamily="34" charset="0"/>
            </a:endParaRPr>
          </a:p>
        </p:txBody>
      </p:sp>
      <p:sp>
        <p:nvSpPr>
          <p:cNvPr id="12" name="Title 1">
            <a:extLst>
              <a:ext uri="{FF2B5EF4-FFF2-40B4-BE49-F238E27FC236}">
                <a16:creationId xmlns:a16="http://schemas.microsoft.com/office/drawing/2014/main" id="{F766C0FD-EEC7-3E4E-BE4D-DAE3AD472C2B}"/>
              </a:ext>
            </a:extLst>
          </p:cNvPr>
          <p:cNvSpPr txBox="1">
            <a:spLocks/>
          </p:cNvSpPr>
          <p:nvPr/>
        </p:nvSpPr>
        <p:spPr>
          <a:xfrm>
            <a:off x="464977" y="466044"/>
            <a:ext cx="7771880" cy="6096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4000" b="0" i="0" kern="1200">
                <a:solidFill>
                  <a:schemeClr val="tx1"/>
                </a:solidFill>
                <a:latin typeface="Segoe UI Semibold" panose="020B0502040204020203" pitchFamily="34" charset="0"/>
                <a:ea typeface="+mj-ea"/>
                <a:cs typeface="Segoe UI Semibold" panose="020B0502040204020203" pitchFamily="34" charset="0"/>
              </a:defRPr>
            </a:lvl1pPr>
          </a:lstStyle>
          <a:p>
            <a:r>
              <a:rPr lang="en-US" dirty="0"/>
              <a:t>Broaden your reach</a:t>
            </a:r>
          </a:p>
        </p:txBody>
      </p:sp>
      <p:pic>
        <p:nvPicPr>
          <p:cNvPr id="9" name="Picture 2" descr="Image result for &quot;crm partners &quot; logo">
            <a:extLst>
              <a:ext uri="{FF2B5EF4-FFF2-40B4-BE49-F238E27FC236}">
                <a16:creationId xmlns:a16="http://schemas.microsoft.com/office/drawing/2014/main" id="{ED5E3197-945C-9940-8CF7-2D295422FCE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1736" y="2296146"/>
            <a:ext cx="2475474" cy="43707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32AB8E3F-E925-2D4D-A06B-50FB222D64B3}"/>
              </a:ext>
            </a:extLst>
          </p:cNvPr>
          <p:cNvPicPr>
            <a:picLocks noChangeAspect="1"/>
          </p:cNvPicPr>
          <p:nvPr/>
        </p:nvPicPr>
        <p:blipFill rotWithShape="1">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906924" y="4501365"/>
            <a:ext cx="2410510" cy="738075"/>
          </a:xfrm>
          <a:prstGeom prst="rect">
            <a:avLst/>
          </a:prstGeom>
        </p:spPr>
      </p:pic>
    </p:spTree>
    <p:extLst>
      <p:ext uri="{BB962C8B-B14F-4D97-AF65-F5344CB8AC3E}">
        <p14:creationId xmlns:p14="http://schemas.microsoft.com/office/powerpoint/2010/main" val="83539713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5EE44-88FE-4247-A3CD-BDDF169E2445}"/>
              </a:ext>
            </a:extLst>
          </p:cNvPr>
          <p:cNvSpPr>
            <a:spLocks noGrp="1"/>
          </p:cNvSpPr>
          <p:nvPr>
            <p:ph type="title"/>
          </p:nvPr>
        </p:nvSpPr>
        <p:spPr>
          <a:xfrm>
            <a:off x="455995" y="984260"/>
            <a:ext cx="5335205" cy="4889480"/>
          </a:xfrm>
        </p:spPr>
        <p:txBody>
          <a:bodyPr/>
          <a:lstStyle/>
          <a:p>
            <a:pPr lvl="0"/>
            <a:r>
              <a:rPr lang="en-US" sz="4300"/>
              <a:t>Modern Finance</a:t>
            </a:r>
          </a:p>
        </p:txBody>
      </p:sp>
      <p:pic>
        <p:nvPicPr>
          <p:cNvPr id="4" name="Picture 3" descr="A person standing in front of a window&#10;&#10;Description automatically generated">
            <a:extLst>
              <a:ext uri="{FF2B5EF4-FFF2-40B4-BE49-F238E27FC236}">
                <a16:creationId xmlns:a16="http://schemas.microsoft.com/office/drawing/2014/main" id="{66110536-4679-4B6D-8AA3-BF1207E1F649}"/>
              </a:ext>
            </a:extLst>
          </p:cNvPr>
          <p:cNvPicPr>
            <a:picLocks noChangeAspect="1"/>
          </p:cNvPicPr>
          <p:nvPr/>
        </p:nvPicPr>
        <p:blipFill rotWithShape="1">
          <a:blip r:embed="rId3">
            <a:extLst>
              <a:ext uri="{28A0092B-C50C-407E-A947-70E740481C1C}">
                <a14:useLocalDpi xmlns:a14="http://schemas.microsoft.com/office/drawing/2010/main" val="0"/>
              </a:ext>
            </a:extLst>
          </a:blip>
          <a:srcRect l="16558" r="22963"/>
          <a:stretch/>
        </p:blipFill>
        <p:spPr>
          <a:xfrm>
            <a:off x="5970588" y="0"/>
            <a:ext cx="6221412" cy="6858000"/>
          </a:xfrm>
          <a:prstGeom prst="rect">
            <a:avLst/>
          </a:prstGeom>
        </p:spPr>
      </p:pic>
    </p:spTree>
    <p:extLst>
      <p:ext uri="{BB962C8B-B14F-4D97-AF65-F5344CB8AC3E}">
        <p14:creationId xmlns:p14="http://schemas.microsoft.com/office/powerpoint/2010/main" val="3475927385"/>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lumMod val="50000"/>
          </a:schemeClr>
        </a:solidFill>
        <a:effectLst/>
      </p:bgPr>
    </p:bg>
    <p:spTree>
      <p:nvGrpSpPr>
        <p:cNvPr id="1" name=""/>
        <p:cNvGrpSpPr/>
        <p:nvPr/>
      </p:nvGrpSpPr>
      <p:grpSpPr>
        <a:xfrm>
          <a:off x="0" y="0"/>
          <a:ext cx="0" cy="0"/>
          <a:chOff x="0" y="0"/>
          <a:chExt cx="0" cy="0"/>
        </a:xfrm>
      </p:grpSpPr>
      <p:pic>
        <p:nvPicPr>
          <p:cNvPr id="4" name="Picture 2" descr="Dynamics 365 Finance capabilities">
            <a:extLst>
              <a:ext uri="{FF2B5EF4-FFF2-40B4-BE49-F238E27FC236}">
                <a16:creationId xmlns:a16="http://schemas.microsoft.com/office/drawing/2014/main" id="{20D3826D-AA71-4AE9-8B6D-6034CB84C8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96875"/>
            <a:ext cx="12192000" cy="6064250"/>
          </a:xfrm>
          <a:prstGeom prst="rect">
            <a:avLst/>
          </a:prstGeom>
          <a:solidFill>
            <a:schemeClr val="tx1">
              <a:lumMod val="50000"/>
            </a:schemeClr>
          </a:solidFill>
        </p:spPr>
      </p:pic>
    </p:spTree>
    <p:extLst>
      <p:ext uri="{BB962C8B-B14F-4D97-AF65-F5344CB8AC3E}">
        <p14:creationId xmlns:p14="http://schemas.microsoft.com/office/powerpoint/2010/main" val="81797201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FD40A7-1DB2-4ED2-A3D8-EA4AC9DBF2F7}"/>
              </a:ext>
            </a:extLst>
          </p:cNvPr>
          <p:cNvSpPr>
            <a:spLocks noGrp="1"/>
          </p:cNvSpPr>
          <p:nvPr>
            <p:ph type="title"/>
          </p:nvPr>
        </p:nvSpPr>
        <p:spPr>
          <a:xfrm>
            <a:off x="455996" y="336252"/>
            <a:ext cx="11306469" cy="813819"/>
          </a:xfrm>
        </p:spPr>
        <p:txBody>
          <a:bodyPr/>
          <a:lstStyle/>
          <a:p>
            <a:r>
              <a:rPr lang="en-US" sz="2800"/>
              <a:t>Traditional finance doesn’t have a digital feedback loop</a:t>
            </a:r>
          </a:p>
        </p:txBody>
      </p:sp>
      <p:sp>
        <p:nvSpPr>
          <p:cNvPr id="7" name="Rectangle 6">
            <a:extLst>
              <a:ext uri="{FF2B5EF4-FFF2-40B4-BE49-F238E27FC236}">
                <a16:creationId xmlns:a16="http://schemas.microsoft.com/office/drawing/2014/main" id="{E07A06E8-2D2C-490F-88A0-6A63EF48327A}"/>
              </a:ext>
            </a:extLst>
          </p:cNvPr>
          <p:cNvSpPr/>
          <p:nvPr/>
        </p:nvSpPr>
        <p:spPr bwMode="auto">
          <a:xfrm>
            <a:off x="1803095" y="5626972"/>
            <a:ext cx="10388905" cy="123102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Rectangle 7">
            <a:extLst>
              <a:ext uri="{FF2B5EF4-FFF2-40B4-BE49-F238E27FC236}">
                <a16:creationId xmlns:a16="http://schemas.microsoft.com/office/drawing/2014/main" id="{C14759C1-BE9C-47D9-AB85-24DA5B0CC33C}"/>
              </a:ext>
            </a:extLst>
          </p:cNvPr>
          <p:cNvSpPr/>
          <p:nvPr/>
        </p:nvSpPr>
        <p:spPr bwMode="auto">
          <a:xfrm>
            <a:off x="0" y="5626972"/>
            <a:ext cx="1803095" cy="123102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02920" tIns="0" rIns="0" bIns="0" numCol="1" spcCol="0" rtlCol="0" fromWordArt="0" anchor="ctr" anchorCtr="0" forceAA="0" compatLnSpc="1">
            <a:prstTxWarp prst="textNoShape">
              <a:avLst/>
            </a:prstTxWarp>
            <a:noAutofit/>
          </a:bodyPr>
          <a:lstStyle/>
          <a:p>
            <a:pPr marL="0" marR="0" lvl="0" indent="0" algn="l" defTabSz="1227077" rtl="0" eaLnBrk="1" fontAlgn="base"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3C3C41"/>
                </a:solidFill>
                <a:effectLst/>
                <a:uLnTx/>
                <a:uFillTx/>
                <a:latin typeface="Segoe UI Semibold" panose="020B0702040204020203" pitchFamily="34" charset="0"/>
                <a:ea typeface="Segoe UI" pitchFamily="34" charset="0"/>
                <a:cs typeface="Segoe UI Semibold" panose="020B0702040204020203" pitchFamily="34" charset="0"/>
              </a:rPr>
              <a:t>Digital hotspots</a:t>
            </a:r>
          </a:p>
        </p:txBody>
      </p:sp>
      <p:sp>
        <p:nvSpPr>
          <p:cNvPr id="10" name="Rectangle 9">
            <a:extLst>
              <a:ext uri="{FF2B5EF4-FFF2-40B4-BE49-F238E27FC236}">
                <a16:creationId xmlns:a16="http://schemas.microsoft.com/office/drawing/2014/main" id="{ACDADB92-201D-4CBD-AE78-D65181ED7F6A}"/>
              </a:ext>
            </a:extLst>
          </p:cNvPr>
          <p:cNvSpPr/>
          <p:nvPr/>
        </p:nvSpPr>
        <p:spPr>
          <a:xfrm>
            <a:off x="2431974" y="5789798"/>
            <a:ext cx="2476347" cy="905376"/>
          </a:xfrm>
          <a:prstGeom prst="rect">
            <a:avLst/>
          </a:prstGeom>
          <a:no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30E5D0"/>
                </a:solidFill>
                <a:effectLst/>
                <a:uLnTx/>
                <a:uFillTx/>
                <a:latin typeface="Segoe UI Semibold" panose="020B0702040204020203" pitchFamily="34" charset="0"/>
                <a:ea typeface="Segoe UI" pitchFamily="34" charset="0"/>
                <a:cs typeface="Segoe UI Semibold" panose="020B0702040204020203" pitchFamily="34" charset="0"/>
              </a:rPr>
              <a:t>Accounts Receivable</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Electronic Invoicing</a:t>
            </a:r>
          </a:p>
          <a:p>
            <a:pPr marL="0" marR="0" lvl="0" indent="0" algn="l" defTabSz="914400" rtl="0" eaLnBrk="1" fontAlgn="base" latinLnBrk="0" hangingPunct="1">
              <a:lnSpc>
                <a:spcPct val="100000"/>
              </a:lnSpc>
              <a:spcBef>
                <a:spcPts val="100"/>
              </a:spcBef>
              <a:spcAft>
                <a:spcPts val="200"/>
              </a:spcAft>
              <a:buClrTx/>
              <a:buSzTx/>
              <a:buFontTx/>
              <a:buNone/>
              <a:tabLst/>
              <a:defRPr/>
            </a:pPr>
            <a:r>
              <a:rPr lang="en-US" sz="1100">
                <a:solidFill>
                  <a:srgbClr val="FFFFFF"/>
                </a:solidFill>
                <a:latin typeface="Segoe UI"/>
              </a:rPr>
              <a:t>P</a:t>
            </a:r>
            <a:r>
              <a:rPr kumimoji="0" lang="en-US" sz="1100" b="0" i="0" u="none" strike="noStrike" kern="1200" cap="none" spc="0" normalizeH="0" baseline="0" noProof="0" err="1">
                <a:ln>
                  <a:noFill/>
                </a:ln>
                <a:solidFill>
                  <a:srgbClr val="FFFFFF"/>
                </a:solidFill>
                <a:effectLst/>
                <a:uLnTx/>
                <a:uFillTx/>
                <a:latin typeface="Segoe UI"/>
                <a:ea typeface="+mn-ea"/>
                <a:cs typeface="+mn-cs"/>
              </a:rPr>
              <a:t>ayment</a:t>
            </a:r>
            <a:r>
              <a:rPr kumimoji="0" lang="en-US" sz="1100" b="0" i="0" u="none" strike="noStrike" kern="1200" cap="none" spc="0" normalizeH="0" baseline="0" noProof="0">
                <a:ln>
                  <a:noFill/>
                </a:ln>
                <a:solidFill>
                  <a:srgbClr val="FFFFFF"/>
                </a:solidFill>
                <a:effectLst/>
                <a:uLnTx/>
                <a:uFillTx/>
                <a:latin typeface="Segoe UI"/>
                <a:ea typeface="+mn-ea"/>
                <a:cs typeface="+mn-cs"/>
              </a:rPr>
              <a:t> Insight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Credit checks online</a:t>
            </a:r>
          </a:p>
        </p:txBody>
      </p:sp>
      <p:sp>
        <p:nvSpPr>
          <p:cNvPr id="11" name="Rectangle 10">
            <a:extLst>
              <a:ext uri="{FF2B5EF4-FFF2-40B4-BE49-F238E27FC236}">
                <a16:creationId xmlns:a16="http://schemas.microsoft.com/office/drawing/2014/main" id="{1FE0DD09-FBCA-4D49-8929-47CD5F567EB2}"/>
              </a:ext>
            </a:extLst>
          </p:cNvPr>
          <p:cNvSpPr/>
          <p:nvPr/>
        </p:nvSpPr>
        <p:spPr>
          <a:xfrm>
            <a:off x="5078779" y="5794426"/>
            <a:ext cx="2476347" cy="905376"/>
          </a:xfrm>
          <a:prstGeom prst="rect">
            <a:avLst/>
          </a:prstGeom>
          <a:no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30E5D0"/>
                </a:solidFill>
                <a:effectLst/>
                <a:uLnTx/>
                <a:uFillTx/>
                <a:latin typeface="Segoe UI Semibold" panose="020B0702040204020203" pitchFamily="34" charset="0"/>
                <a:ea typeface="+mn-ea"/>
                <a:cs typeface="Segoe UI Semibold" panose="020B0702040204020203" pitchFamily="34" charset="0"/>
              </a:rPr>
              <a:t>Accounts Payable</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Vendor portal</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Invoicing matching</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Centralized payments</a:t>
            </a:r>
          </a:p>
        </p:txBody>
      </p:sp>
      <p:sp>
        <p:nvSpPr>
          <p:cNvPr id="12" name="Rectangle 11">
            <a:extLst>
              <a:ext uri="{FF2B5EF4-FFF2-40B4-BE49-F238E27FC236}">
                <a16:creationId xmlns:a16="http://schemas.microsoft.com/office/drawing/2014/main" id="{B7FB59FD-0751-462A-8E91-367D2867C985}"/>
              </a:ext>
            </a:extLst>
          </p:cNvPr>
          <p:cNvSpPr/>
          <p:nvPr/>
        </p:nvSpPr>
        <p:spPr>
          <a:xfrm>
            <a:off x="7725585" y="5794131"/>
            <a:ext cx="2476347" cy="905376"/>
          </a:xfrm>
          <a:prstGeom prst="rect">
            <a:avLst/>
          </a:prstGeom>
          <a:no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30E5D0"/>
                </a:solidFill>
                <a:effectLst/>
                <a:uLnTx/>
                <a:uFillTx/>
                <a:latin typeface="Segoe UI Semibold" panose="020B0702040204020203" pitchFamily="34" charset="0"/>
                <a:ea typeface="+mn-ea"/>
                <a:cs typeface="Segoe UI Semibold" panose="020B0702040204020203" pitchFamily="34" charset="0"/>
              </a:rPr>
              <a:t>Chart of Account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Regulatory and Compliance</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Business document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Tax Statements</a:t>
            </a:r>
          </a:p>
        </p:txBody>
      </p:sp>
      <p:cxnSp>
        <p:nvCxnSpPr>
          <p:cNvPr id="15" name="Straight Connector 14">
            <a:extLst>
              <a:ext uri="{FF2B5EF4-FFF2-40B4-BE49-F238E27FC236}">
                <a16:creationId xmlns:a16="http://schemas.microsoft.com/office/drawing/2014/main" id="{92991870-F6B3-48F0-8B1C-F95860F3622E}"/>
              </a:ext>
            </a:extLst>
          </p:cNvPr>
          <p:cNvCxnSpPr>
            <a:cxnSpLocks/>
          </p:cNvCxnSpPr>
          <p:nvPr/>
        </p:nvCxnSpPr>
        <p:spPr>
          <a:xfrm>
            <a:off x="1735932" y="5918200"/>
            <a:ext cx="688181" cy="0"/>
          </a:xfrm>
          <a:prstGeom prst="line">
            <a:avLst/>
          </a:prstGeom>
          <a:ln w="6350">
            <a:solidFill>
              <a:schemeClr val="accent5"/>
            </a:solidFill>
            <a:headEnd type="none"/>
            <a:tailEnd type="oval" w="sm" len="sm"/>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FCE42BB-A75C-4509-A910-CC8E1EF462DB}"/>
              </a:ext>
            </a:extLst>
          </p:cNvPr>
          <p:cNvCxnSpPr>
            <a:cxnSpLocks/>
          </p:cNvCxnSpPr>
          <p:nvPr/>
        </p:nvCxnSpPr>
        <p:spPr>
          <a:xfrm>
            <a:off x="4244009" y="5918200"/>
            <a:ext cx="834770" cy="0"/>
          </a:xfrm>
          <a:prstGeom prst="line">
            <a:avLst/>
          </a:prstGeom>
          <a:ln w="6350">
            <a:solidFill>
              <a:schemeClr val="accent5"/>
            </a:solidFill>
            <a:headEnd type="none"/>
            <a:tailEnd type="oval" w="sm" len="sm"/>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DE7984E-9A3F-4DC0-BBDD-533D30B39DAC}"/>
              </a:ext>
            </a:extLst>
          </p:cNvPr>
          <p:cNvCxnSpPr>
            <a:cxnSpLocks/>
          </p:cNvCxnSpPr>
          <p:nvPr/>
        </p:nvCxnSpPr>
        <p:spPr>
          <a:xfrm>
            <a:off x="6691793" y="5918200"/>
            <a:ext cx="945610" cy="0"/>
          </a:xfrm>
          <a:prstGeom prst="line">
            <a:avLst/>
          </a:prstGeom>
          <a:ln w="6350">
            <a:solidFill>
              <a:schemeClr val="accent5"/>
            </a:solidFill>
            <a:headEnd type="none"/>
            <a:tailEnd type="oval" w="sm" len="sm"/>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4FF07E24-A68D-4BF1-B73A-38E2B994A8D2}"/>
              </a:ext>
            </a:extLst>
          </p:cNvPr>
          <p:cNvSpPr/>
          <p:nvPr/>
        </p:nvSpPr>
        <p:spPr bwMode="auto">
          <a:xfrm>
            <a:off x="11372847" y="1063625"/>
            <a:ext cx="257178" cy="4400521"/>
          </a:xfrm>
          <a:custGeom>
            <a:avLst/>
            <a:gdLst>
              <a:gd name="connsiteX0" fmla="*/ 0 w 1781178"/>
              <a:gd name="connsiteY0" fmla="*/ 0 h 1781178"/>
              <a:gd name="connsiteX1" fmla="*/ 1781178 w 1781178"/>
              <a:gd name="connsiteY1" fmla="*/ 0 h 1781178"/>
              <a:gd name="connsiteX2" fmla="*/ 1781178 w 1781178"/>
              <a:gd name="connsiteY2" fmla="*/ 1781178 h 1781178"/>
              <a:gd name="connsiteX3" fmla="*/ 0 w 1781178"/>
              <a:gd name="connsiteY3" fmla="*/ 1781178 h 1781178"/>
              <a:gd name="connsiteX4" fmla="*/ 0 w 1781178"/>
              <a:gd name="connsiteY4" fmla="*/ 0 h 1781178"/>
              <a:gd name="connsiteX0" fmla="*/ 0 w 1781178"/>
              <a:gd name="connsiteY0" fmla="*/ 0 h 1781178"/>
              <a:gd name="connsiteX1" fmla="*/ 1781178 w 1781178"/>
              <a:gd name="connsiteY1" fmla="*/ 0 h 1781178"/>
              <a:gd name="connsiteX2" fmla="*/ 1781178 w 1781178"/>
              <a:gd name="connsiteY2" fmla="*/ 1781178 h 1781178"/>
              <a:gd name="connsiteX3" fmla="*/ 0 w 1781178"/>
              <a:gd name="connsiteY3" fmla="*/ 1781178 h 1781178"/>
              <a:gd name="connsiteX4" fmla="*/ 91440 w 1781178"/>
              <a:gd name="connsiteY4" fmla="*/ 91440 h 1781178"/>
              <a:gd name="connsiteX0" fmla="*/ 0 w 1781178"/>
              <a:gd name="connsiteY0" fmla="*/ 0 h 1781178"/>
              <a:gd name="connsiteX1" fmla="*/ 1781178 w 1781178"/>
              <a:gd name="connsiteY1" fmla="*/ 0 h 1781178"/>
              <a:gd name="connsiteX2" fmla="*/ 1781178 w 1781178"/>
              <a:gd name="connsiteY2" fmla="*/ 1781178 h 1781178"/>
              <a:gd name="connsiteX3" fmla="*/ 0 w 1781178"/>
              <a:gd name="connsiteY3" fmla="*/ 1781178 h 1781178"/>
            </a:gdLst>
            <a:ahLst/>
            <a:cxnLst>
              <a:cxn ang="0">
                <a:pos x="connsiteX0" y="connsiteY0"/>
              </a:cxn>
              <a:cxn ang="0">
                <a:pos x="connsiteX1" y="connsiteY1"/>
              </a:cxn>
              <a:cxn ang="0">
                <a:pos x="connsiteX2" y="connsiteY2"/>
              </a:cxn>
              <a:cxn ang="0">
                <a:pos x="connsiteX3" y="connsiteY3"/>
              </a:cxn>
            </a:cxnLst>
            <a:rect l="l" t="t" r="r" b="b"/>
            <a:pathLst>
              <a:path w="1781178" h="1781178">
                <a:moveTo>
                  <a:pt x="0" y="0"/>
                </a:moveTo>
                <a:lnTo>
                  <a:pt x="1781178" y="0"/>
                </a:lnTo>
                <a:lnTo>
                  <a:pt x="1781178" y="1781178"/>
                </a:lnTo>
                <a:lnTo>
                  <a:pt x="0" y="1781178"/>
                </a:lnTo>
              </a:path>
            </a:pathLst>
          </a:cu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id="{B9BA01EC-882F-4B83-8A37-73D7A5D699D2}"/>
              </a:ext>
            </a:extLst>
          </p:cNvPr>
          <p:cNvSpPr txBox="1"/>
          <p:nvPr/>
        </p:nvSpPr>
        <p:spPr>
          <a:xfrm rot="5400000">
            <a:off x="10402884" y="3117092"/>
            <a:ext cx="2454280" cy="353943"/>
          </a:xfrm>
          <a:prstGeom prst="rect">
            <a:avLst/>
          </a:prstGeom>
          <a:solidFill>
            <a:srgbClr val="F2F2F2"/>
          </a:solidFill>
        </p:spPr>
        <p:txBody>
          <a:bodyPr wrap="square" lIns="88900" tIns="38100" rIns="88900" bIns="3810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3C3C41"/>
                </a:solidFill>
                <a:effectLst/>
                <a:uLnTx/>
                <a:uFillTx/>
                <a:latin typeface="Segoe UI Semibold"/>
                <a:ea typeface="+mn-ea"/>
                <a:cs typeface="+mn-cs"/>
              </a:rPr>
              <a:t>Chart of Accounts</a:t>
            </a:r>
          </a:p>
        </p:txBody>
      </p:sp>
      <p:sp>
        <p:nvSpPr>
          <p:cNvPr id="113" name="Graphic 111">
            <a:extLst>
              <a:ext uri="{FF2B5EF4-FFF2-40B4-BE49-F238E27FC236}">
                <a16:creationId xmlns:a16="http://schemas.microsoft.com/office/drawing/2014/main" id="{449656F0-1B0A-4D67-BE02-1D10E7DCBE7B}"/>
              </a:ext>
            </a:extLst>
          </p:cNvPr>
          <p:cNvSpPr/>
          <p:nvPr/>
        </p:nvSpPr>
        <p:spPr>
          <a:xfrm>
            <a:off x="529889" y="1323554"/>
            <a:ext cx="10840908" cy="3974783"/>
          </a:xfrm>
          <a:custGeom>
            <a:avLst/>
            <a:gdLst>
              <a:gd name="connsiteX0" fmla="*/ 0 w 10840908"/>
              <a:gd name="connsiteY0" fmla="*/ 1644695 h 3974783"/>
              <a:gd name="connsiteX1" fmla="*/ 2119552 w 10840908"/>
              <a:gd name="connsiteY1" fmla="*/ 2421842 h 3974783"/>
              <a:gd name="connsiteX2" fmla="*/ 3113959 w 10840908"/>
              <a:gd name="connsiteY2" fmla="*/ 2421842 h 3974783"/>
              <a:gd name="connsiteX3" fmla="*/ 3283157 w 10840908"/>
              <a:gd name="connsiteY3" fmla="*/ 2359805 h 3974783"/>
              <a:gd name="connsiteX4" fmla="*/ 4193158 w 10840908"/>
              <a:gd name="connsiteY4" fmla="*/ 2359805 h 3974783"/>
              <a:gd name="connsiteX5" fmla="*/ 4435017 w 10840908"/>
              <a:gd name="connsiteY5" fmla="*/ 2448470 h 3974783"/>
              <a:gd name="connsiteX6" fmla="*/ 5284361 w 10840908"/>
              <a:gd name="connsiteY6" fmla="*/ 2448470 h 3974783"/>
              <a:gd name="connsiteX7" fmla="*/ 5428650 w 10840908"/>
              <a:gd name="connsiteY7" fmla="*/ 2395599 h 3974783"/>
              <a:gd name="connsiteX8" fmla="*/ 6533661 w 10840908"/>
              <a:gd name="connsiteY8" fmla="*/ 2395599 h 3974783"/>
              <a:gd name="connsiteX9" fmla="*/ 10840908 w 10840908"/>
              <a:gd name="connsiteY9" fmla="*/ 3974784 h 3974783"/>
              <a:gd name="connsiteX10" fmla="*/ 6509398 w 10840908"/>
              <a:gd name="connsiteY10" fmla="*/ 2386627 h 3974783"/>
              <a:gd name="connsiteX11" fmla="*/ 6509398 w 10840908"/>
              <a:gd name="connsiteY11" fmla="*/ 1999259 h 3974783"/>
              <a:gd name="connsiteX12" fmla="*/ 7894211 w 10840908"/>
              <a:gd name="connsiteY12" fmla="*/ 1491581 h 3974783"/>
              <a:gd name="connsiteX13" fmla="*/ 7894211 w 10840908"/>
              <a:gd name="connsiteY13" fmla="*/ 701410 h 3974783"/>
              <a:gd name="connsiteX14" fmla="*/ 7894211 w 10840908"/>
              <a:gd name="connsiteY14" fmla="*/ 701410 h 3974783"/>
              <a:gd name="connsiteX15" fmla="*/ 7058806 w 10840908"/>
              <a:gd name="connsiteY15" fmla="*/ 701410 h 3974783"/>
              <a:gd name="connsiteX16" fmla="*/ 6274380 w 10840908"/>
              <a:gd name="connsiteY16" fmla="*/ 989017 h 3974783"/>
              <a:gd name="connsiteX17" fmla="*/ 5607398 w 10840908"/>
              <a:gd name="connsiteY17" fmla="*/ 678255 h 3974783"/>
              <a:gd name="connsiteX18" fmla="*/ 5607398 w 10840908"/>
              <a:gd name="connsiteY18" fmla="*/ 678255 h 3974783"/>
              <a:gd name="connsiteX19" fmla="*/ 5286684 w 10840908"/>
              <a:gd name="connsiteY19" fmla="*/ 293589 h 3974783"/>
              <a:gd name="connsiteX20" fmla="*/ 4485866 w 10840908"/>
              <a:gd name="connsiteY20" fmla="*/ 0 h 3974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840908" h="3974783">
                <a:moveTo>
                  <a:pt x="0" y="1644695"/>
                </a:moveTo>
                <a:lnTo>
                  <a:pt x="2119552" y="2421842"/>
                </a:lnTo>
                <a:cubicBezTo>
                  <a:pt x="2433168" y="2536846"/>
                  <a:pt x="2800343" y="2536846"/>
                  <a:pt x="3113959" y="2421842"/>
                </a:cubicBezTo>
                <a:lnTo>
                  <a:pt x="3283157" y="2359805"/>
                </a:lnTo>
                <a:cubicBezTo>
                  <a:pt x="3570186" y="2254545"/>
                  <a:pt x="3906129" y="2254545"/>
                  <a:pt x="4193158" y="2359805"/>
                </a:cubicBezTo>
                <a:lnTo>
                  <a:pt x="4435017" y="2448470"/>
                </a:lnTo>
                <a:cubicBezTo>
                  <a:pt x="4702945" y="2546687"/>
                  <a:pt x="5016432" y="2546687"/>
                  <a:pt x="5284361" y="2448470"/>
                </a:cubicBezTo>
                <a:lnTo>
                  <a:pt x="5428650" y="2395599"/>
                </a:lnTo>
                <a:cubicBezTo>
                  <a:pt x="5777112" y="2267860"/>
                  <a:pt x="6185199" y="2267860"/>
                  <a:pt x="6533661" y="2395599"/>
                </a:cubicBezTo>
                <a:lnTo>
                  <a:pt x="10840908" y="3974784"/>
                </a:lnTo>
                <a:lnTo>
                  <a:pt x="6509398" y="2386627"/>
                </a:lnTo>
                <a:cubicBezTo>
                  <a:pt x="6293997" y="2307706"/>
                  <a:pt x="6293997" y="2078180"/>
                  <a:pt x="6509398" y="1999259"/>
                </a:cubicBezTo>
                <a:lnTo>
                  <a:pt x="7894211" y="1491581"/>
                </a:lnTo>
                <a:cubicBezTo>
                  <a:pt x="8333402" y="1330556"/>
                  <a:pt x="8333402" y="862435"/>
                  <a:pt x="7894211" y="701410"/>
                </a:cubicBezTo>
                <a:lnTo>
                  <a:pt x="7894211" y="701410"/>
                </a:lnTo>
                <a:cubicBezTo>
                  <a:pt x="7630670" y="604833"/>
                  <a:pt x="7322217" y="604833"/>
                  <a:pt x="7058806" y="701410"/>
                </a:cubicBezTo>
                <a:lnTo>
                  <a:pt x="6274380" y="989017"/>
                </a:lnTo>
                <a:cubicBezTo>
                  <a:pt x="5966701" y="1101802"/>
                  <a:pt x="5607398" y="934409"/>
                  <a:pt x="5607398" y="678255"/>
                </a:cubicBezTo>
                <a:lnTo>
                  <a:pt x="5607398" y="678255"/>
                </a:lnTo>
                <a:cubicBezTo>
                  <a:pt x="5607398" y="514817"/>
                  <a:pt x="5482984" y="365563"/>
                  <a:pt x="5286684" y="293589"/>
                </a:cubicBezTo>
                <a:lnTo>
                  <a:pt x="4485866" y="0"/>
                </a:lnTo>
              </a:path>
            </a:pathLst>
          </a:custGeom>
          <a:noFill/>
          <a:ln w="3810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 name="Oval 113">
            <a:extLst>
              <a:ext uri="{FF2B5EF4-FFF2-40B4-BE49-F238E27FC236}">
                <a16:creationId xmlns:a16="http://schemas.microsoft.com/office/drawing/2014/main" id="{03DF1157-F33D-49A5-A14C-ACBCAE957532}"/>
              </a:ext>
            </a:extLst>
          </p:cNvPr>
          <p:cNvSpPr/>
          <p:nvPr/>
        </p:nvSpPr>
        <p:spPr bwMode="auto">
          <a:xfrm>
            <a:off x="700921" y="2977831"/>
            <a:ext cx="160744" cy="160744"/>
          </a:xfrm>
          <a:prstGeom prst="ellipse">
            <a:avLst/>
          </a:prstGeom>
          <a:solidFill>
            <a:schemeClr val="tx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8D52CB13-5F9C-43CA-BC29-15F5237D208D}"/>
              </a:ext>
            </a:extLst>
          </p:cNvPr>
          <p:cNvSpPr/>
          <p:nvPr/>
        </p:nvSpPr>
        <p:spPr bwMode="auto">
          <a:xfrm>
            <a:off x="3949120" y="3535839"/>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10636223-8B89-4126-8906-3EDDF21FB185}"/>
              </a:ext>
            </a:extLst>
          </p:cNvPr>
          <p:cNvSpPr/>
          <p:nvPr/>
        </p:nvSpPr>
        <p:spPr bwMode="auto">
          <a:xfrm>
            <a:off x="6114587" y="3553976"/>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9D218517-C569-48CA-A6F1-A34D117E56AB}"/>
              </a:ext>
            </a:extLst>
          </p:cNvPr>
          <p:cNvSpPr/>
          <p:nvPr/>
        </p:nvSpPr>
        <p:spPr bwMode="auto">
          <a:xfrm>
            <a:off x="5031853" y="3733481"/>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Oval 117">
            <a:extLst>
              <a:ext uri="{FF2B5EF4-FFF2-40B4-BE49-F238E27FC236}">
                <a16:creationId xmlns:a16="http://schemas.microsoft.com/office/drawing/2014/main" id="{D6FB28DB-574A-48E9-BCE9-E51738A7F200}"/>
              </a:ext>
            </a:extLst>
          </p:cNvPr>
          <p:cNvSpPr/>
          <p:nvPr/>
        </p:nvSpPr>
        <p:spPr bwMode="auto">
          <a:xfrm>
            <a:off x="2866387" y="3733481"/>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A44D3BD4-A6FE-4328-9643-A9E65E39AEAE}"/>
              </a:ext>
            </a:extLst>
          </p:cNvPr>
          <p:cNvSpPr/>
          <p:nvPr/>
        </p:nvSpPr>
        <p:spPr bwMode="auto">
          <a:xfrm>
            <a:off x="1783654" y="3377881"/>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Oval 119">
            <a:extLst>
              <a:ext uri="{FF2B5EF4-FFF2-40B4-BE49-F238E27FC236}">
                <a16:creationId xmlns:a16="http://schemas.microsoft.com/office/drawing/2014/main" id="{F550C054-5156-42CA-AA9B-9B3BD3997614}"/>
              </a:ext>
            </a:extLst>
          </p:cNvPr>
          <p:cNvSpPr/>
          <p:nvPr/>
        </p:nvSpPr>
        <p:spPr bwMode="auto">
          <a:xfrm>
            <a:off x="5250598" y="1347107"/>
            <a:ext cx="160744" cy="160744"/>
          </a:xfrm>
          <a:prstGeom prst="ellipse">
            <a:avLst/>
          </a:prstGeom>
          <a:solidFill>
            <a:schemeClr val="tx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a:extLst>
              <a:ext uri="{FF2B5EF4-FFF2-40B4-BE49-F238E27FC236}">
                <a16:creationId xmlns:a16="http://schemas.microsoft.com/office/drawing/2014/main" id="{6EA9FC83-D4E3-44C0-8CA5-3C07FDE19F7E}"/>
              </a:ext>
            </a:extLst>
          </p:cNvPr>
          <p:cNvSpPr/>
          <p:nvPr/>
        </p:nvSpPr>
        <p:spPr bwMode="auto">
          <a:xfrm>
            <a:off x="6015766" y="1753462"/>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1B912DD4-19FF-4374-8B40-B0C33B2AEF0E}"/>
              </a:ext>
            </a:extLst>
          </p:cNvPr>
          <p:cNvSpPr/>
          <p:nvPr/>
        </p:nvSpPr>
        <p:spPr bwMode="auto">
          <a:xfrm>
            <a:off x="6806128" y="2175467"/>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7DF0701B-89AF-4C0B-B509-B11BF8177732}"/>
              </a:ext>
            </a:extLst>
          </p:cNvPr>
          <p:cNvSpPr/>
          <p:nvPr/>
        </p:nvSpPr>
        <p:spPr bwMode="auto">
          <a:xfrm>
            <a:off x="8011591" y="1887730"/>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5D616A80-4670-4C76-B0BF-C5ED30FCCBB7}"/>
              </a:ext>
            </a:extLst>
          </p:cNvPr>
          <p:cNvSpPr/>
          <p:nvPr/>
        </p:nvSpPr>
        <p:spPr bwMode="auto">
          <a:xfrm>
            <a:off x="7952933" y="2879010"/>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F0215C00-CE6E-4A12-9BFA-7977344D1142}"/>
              </a:ext>
            </a:extLst>
          </p:cNvPr>
          <p:cNvSpPr/>
          <p:nvPr/>
        </p:nvSpPr>
        <p:spPr bwMode="auto">
          <a:xfrm>
            <a:off x="6904393" y="3618562"/>
            <a:ext cx="160744" cy="160744"/>
          </a:xfrm>
          <a:prstGeom prst="ellipse">
            <a:avLst/>
          </a:prstGeom>
          <a:solidFill>
            <a:schemeClr val="tx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EB162DD6-5570-4510-855A-695ACC3F748E}"/>
              </a:ext>
            </a:extLst>
          </p:cNvPr>
          <p:cNvSpPr/>
          <p:nvPr/>
        </p:nvSpPr>
        <p:spPr bwMode="auto">
          <a:xfrm>
            <a:off x="7709123" y="3912777"/>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73BA19A3-9DC0-4812-A500-96884045536F}"/>
              </a:ext>
            </a:extLst>
          </p:cNvPr>
          <p:cNvSpPr/>
          <p:nvPr/>
        </p:nvSpPr>
        <p:spPr bwMode="auto">
          <a:xfrm>
            <a:off x="8577244" y="4231363"/>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A2F8D181-0388-41E8-A3C0-6281C7C35FDF}"/>
              </a:ext>
            </a:extLst>
          </p:cNvPr>
          <p:cNvSpPr/>
          <p:nvPr/>
        </p:nvSpPr>
        <p:spPr bwMode="auto">
          <a:xfrm>
            <a:off x="9387574" y="4495118"/>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6E20B2E4-1CA0-44EF-8316-98ABB0316BD2}"/>
              </a:ext>
            </a:extLst>
          </p:cNvPr>
          <p:cNvSpPr/>
          <p:nvPr/>
        </p:nvSpPr>
        <p:spPr bwMode="auto">
          <a:xfrm>
            <a:off x="10936646" y="5091745"/>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TextBox 129">
            <a:extLst>
              <a:ext uri="{FF2B5EF4-FFF2-40B4-BE49-F238E27FC236}">
                <a16:creationId xmlns:a16="http://schemas.microsoft.com/office/drawing/2014/main" id="{5A4B37C6-2883-4364-A06A-9BD068D5DACE}"/>
              </a:ext>
            </a:extLst>
          </p:cNvPr>
          <p:cNvSpPr txBox="1"/>
          <p:nvPr/>
        </p:nvSpPr>
        <p:spPr>
          <a:xfrm>
            <a:off x="4124854" y="1562933"/>
            <a:ext cx="1304937"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Customer account management</a:t>
            </a:r>
          </a:p>
        </p:txBody>
      </p:sp>
      <p:sp>
        <p:nvSpPr>
          <p:cNvPr id="131" name="TextBox 130">
            <a:extLst>
              <a:ext uri="{FF2B5EF4-FFF2-40B4-BE49-F238E27FC236}">
                <a16:creationId xmlns:a16="http://schemas.microsoft.com/office/drawing/2014/main" id="{BDB25AD0-7273-48C9-9ACD-A7DF17B97AED}"/>
              </a:ext>
            </a:extLst>
          </p:cNvPr>
          <p:cNvSpPr txBox="1"/>
          <p:nvPr/>
        </p:nvSpPr>
        <p:spPr>
          <a:xfrm>
            <a:off x="6787679" y="2383757"/>
            <a:ext cx="1116597" cy="1384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Payments</a:t>
            </a:r>
          </a:p>
        </p:txBody>
      </p:sp>
      <p:sp>
        <p:nvSpPr>
          <p:cNvPr id="132" name="TextBox 131">
            <a:extLst>
              <a:ext uri="{FF2B5EF4-FFF2-40B4-BE49-F238E27FC236}">
                <a16:creationId xmlns:a16="http://schemas.microsoft.com/office/drawing/2014/main" id="{813470AE-4604-4451-9B62-C6F28593C0AA}"/>
              </a:ext>
            </a:extLst>
          </p:cNvPr>
          <p:cNvSpPr txBox="1"/>
          <p:nvPr/>
        </p:nvSpPr>
        <p:spPr>
          <a:xfrm>
            <a:off x="6094823" y="1592801"/>
            <a:ext cx="1116597" cy="1384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000">
                <a:solidFill>
                  <a:srgbClr val="3C3C41"/>
                </a:solidFill>
                <a:latin typeface="Segoe UI Semibold"/>
              </a:rPr>
              <a:t>Invoicing</a:t>
            </a:r>
            <a:endParaRPr kumimoji="0" lang="en-US" sz="1000" b="0" i="0" u="none" strike="noStrike" kern="1200" cap="none" spc="0" normalizeH="0" baseline="0" noProof="0">
              <a:ln>
                <a:noFill/>
              </a:ln>
              <a:solidFill>
                <a:srgbClr val="3C3C41"/>
              </a:solidFill>
              <a:effectLst/>
              <a:uLnTx/>
              <a:uFillTx/>
              <a:latin typeface="Segoe UI Semibold"/>
              <a:ea typeface="+mn-ea"/>
              <a:cs typeface="+mn-cs"/>
            </a:endParaRPr>
          </a:p>
        </p:txBody>
      </p:sp>
      <p:sp>
        <p:nvSpPr>
          <p:cNvPr id="133" name="TextBox 132">
            <a:extLst>
              <a:ext uri="{FF2B5EF4-FFF2-40B4-BE49-F238E27FC236}">
                <a16:creationId xmlns:a16="http://schemas.microsoft.com/office/drawing/2014/main" id="{0E1D9DA8-40B8-4A10-BB59-9A6379646801}"/>
              </a:ext>
            </a:extLst>
          </p:cNvPr>
          <p:cNvSpPr txBox="1"/>
          <p:nvPr/>
        </p:nvSpPr>
        <p:spPr>
          <a:xfrm>
            <a:off x="8540830" y="1509674"/>
            <a:ext cx="1116597"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Credit</a:t>
            </a:r>
            <a:br>
              <a:rPr kumimoji="0" lang="en-US" sz="1000" b="0" i="0" u="none" strike="noStrike" kern="1200" cap="none" spc="0" normalizeH="0" baseline="0" noProof="0">
                <a:ln>
                  <a:noFill/>
                </a:ln>
                <a:solidFill>
                  <a:srgbClr val="3C3C41"/>
                </a:solidFill>
                <a:effectLst/>
                <a:uLnTx/>
                <a:uFillTx/>
                <a:latin typeface="Segoe UI Semibold"/>
                <a:ea typeface="+mn-ea"/>
                <a:cs typeface="+mn-cs"/>
              </a:rPr>
            </a:br>
            <a:r>
              <a:rPr kumimoji="0" lang="en-US" sz="1000" b="0" i="0" u="none" strike="noStrike" kern="1200" cap="none" spc="0" normalizeH="0" baseline="0" noProof="0">
                <a:ln>
                  <a:noFill/>
                </a:ln>
                <a:solidFill>
                  <a:srgbClr val="3C3C41"/>
                </a:solidFill>
                <a:effectLst/>
                <a:uLnTx/>
                <a:uFillTx/>
                <a:latin typeface="Segoe UI Semibold"/>
                <a:ea typeface="+mn-ea"/>
                <a:cs typeface="+mn-cs"/>
              </a:rPr>
              <a:t>collections</a:t>
            </a:r>
          </a:p>
        </p:txBody>
      </p:sp>
      <p:sp>
        <p:nvSpPr>
          <p:cNvPr id="134" name="TextBox 133">
            <a:extLst>
              <a:ext uri="{FF2B5EF4-FFF2-40B4-BE49-F238E27FC236}">
                <a16:creationId xmlns:a16="http://schemas.microsoft.com/office/drawing/2014/main" id="{47EFECCA-3970-4AC5-9135-1A596A527E30}"/>
              </a:ext>
            </a:extLst>
          </p:cNvPr>
          <p:cNvSpPr txBox="1"/>
          <p:nvPr/>
        </p:nvSpPr>
        <p:spPr>
          <a:xfrm>
            <a:off x="8155464" y="3028598"/>
            <a:ext cx="1116597" cy="1384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Recognize revenue</a:t>
            </a:r>
          </a:p>
        </p:txBody>
      </p:sp>
      <p:sp>
        <p:nvSpPr>
          <p:cNvPr id="135" name="TextBox 134">
            <a:extLst>
              <a:ext uri="{FF2B5EF4-FFF2-40B4-BE49-F238E27FC236}">
                <a16:creationId xmlns:a16="http://schemas.microsoft.com/office/drawing/2014/main" id="{B54F616B-73D2-4931-9ECB-BF31C82A3E2B}"/>
              </a:ext>
            </a:extLst>
          </p:cNvPr>
          <p:cNvSpPr txBox="1"/>
          <p:nvPr/>
        </p:nvSpPr>
        <p:spPr>
          <a:xfrm>
            <a:off x="782787" y="2654903"/>
            <a:ext cx="1116597" cy="2769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endor management</a:t>
            </a:r>
          </a:p>
        </p:txBody>
      </p:sp>
      <p:sp>
        <p:nvSpPr>
          <p:cNvPr id="136" name="TextBox 135">
            <a:extLst>
              <a:ext uri="{FF2B5EF4-FFF2-40B4-BE49-F238E27FC236}">
                <a16:creationId xmlns:a16="http://schemas.microsoft.com/office/drawing/2014/main" id="{AD76A47B-6706-4652-9998-E44D515A4BCB}"/>
              </a:ext>
            </a:extLst>
          </p:cNvPr>
          <p:cNvSpPr txBox="1"/>
          <p:nvPr/>
        </p:nvSpPr>
        <p:spPr>
          <a:xfrm>
            <a:off x="846250" y="3616211"/>
            <a:ext cx="1116597" cy="1384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Terms</a:t>
            </a:r>
          </a:p>
        </p:txBody>
      </p:sp>
      <p:sp>
        <p:nvSpPr>
          <p:cNvPr id="137" name="TextBox 136">
            <a:extLst>
              <a:ext uri="{FF2B5EF4-FFF2-40B4-BE49-F238E27FC236}">
                <a16:creationId xmlns:a16="http://schemas.microsoft.com/office/drawing/2014/main" id="{56D4F0EB-87EE-4DEB-A1B8-52A73FD77400}"/>
              </a:ext>
            </a:extLst>
          </p:cNvPr>
          <p:cNvSpPr txBox="1"/>
          <p:nvPr/>
        </p:nvSpPr>
        <p:spPr>
          <a:xfrm>
            <a:off x="2578818" y="3342164"/>
            <a:ext cx="7231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endor access</a:t>
            </a:r>
          </a:p>
        </p:txBody>
      </p:sp>
      <p:sp>
        <p:nvSpPr>
          <p:cNvPr id="138" name="TextBox 137">
            <a:extLst>
              <a:ext uri="{FF2B5EF4-FFF2-40B4-BE49-F238E27FC236}">
                <a16:creationId xmlns:a16="http://schemas.microsoft.com/office/drawing/2014/main" id="{B3DF05BD-5B7F-4856-9E41-892B9851014F}"/>
              </a:ext>
            </a:extLst>
          </p:cNvPr>
          <p:cNvSpPr txBox="1"/>
          <p:nvPr/>
        </p:nvSpPr>
        <p:spPr>
          <a:xfrm>
            <a:off x="3639383" y="3810000"/>
            <a:ext cx="780218"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endor</a:t>
            </a:r>
            <a:br>
              <a:rPr kumimoji="0" lang="en-US" sz="1000" b="0" i="0" u="none" strike="noStrike" kern="1200" cap="none" spc="0" normalizeH="0" baseline="0" noProof="0">
                <a:ln>
                  <a:noFill/>
                </a:ln>
                <a:solidFill>
                  <a:srgbClr val="3C3C41"/>
                </a:solidFill>
                <a:effectLst/>
                <a:uLnTx/>
                <a:uFillTx/>
                <a:latin typeface="Segoe UI Semibold"/>
                <a:ea typeface="+mn-ea"/>
                <a:cs typeface="+mn-cs"/>
              </a:rPr>
            </a:br>
            <a:r>
              <a:rPr kumimoji="0" lang="en-US" sz="1000" b="0" i="0" u="none" strike="noStrike" kern="1200" cap="none" spc="0" normalizeH="0" baseline="0" noProof="0">
                <a:ln>
                  <a:noFill/>
                </a:ln>
                <a:solidFill>
                  <a:srgbClr val="3C3C41"/>
                </a:solidFill>
                <a:effectLst/>
                <a:uLnTx/>
                <a:uFillTx/>
                <a:latin typeface="Segoe UI Semibold"/>
                <a:ea typeface="+mn-ea"/>
                <a:cs typeface="+mn-cs"/>
              </a:rPr>
              <a:t>payment</a:t>
            </a:r>
          </a:p>
        </p:txBody>
      </p:sp>
      <p:sp>
        <p:nvSpPr>
          <p:cNvPr id="139" name="TextBox 138">
            <a:extLst>
              <a:ext uri="{FF2B5EF4-FFF2-40B4-BE49-F238E27FC236}">
                <a16:creationId xmlns:a16="http://schemas.microsoft.com/office/drawing/2014/main" id="{F90D062D-94D1-4D2E-A551-5152A8C4E89C}"/>
              </a:ext>
            </a:extLst>
          </p:cNvPr>
          <p:cNvSpPr txBox="1"/>
          <p:nvPr/>
        </p:nvSpPr>
        <p:spPr>
          <a:xfrm>
            <a:off x="4601107" y="3547699"/>
            <a:ext cx="1116597"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djustments</a:t>
            </a:r>
          </a:p>
        </p:txBody>
      </p:sp>
      <p:sp>
        <p:nvSpPr>
          <p:cNvPr id="140" name="TextBox 139">
            <a:extLst>
              <a:ext uri="{FF2B5EF4-FFF2-40B4-BE49-F238E27FC236}">
                <a16:creationId xmlns:a16="http://schemas.microsoft.com/office/drawing/2014/main" id="{6C604266-70D6-43C5-8DAD-9049B69D544E}"/>
              </a:ext>
            </a:extLst>
          </p:cNvPr>
          <p:cNvSpPr txBox="1"/>
          <p:nvPr/>
        </p:nvSpPr>
        <p:spPr>
          <a:xfrm>
            <a:off x="5458073" y="3814755"/>
            <a:ext cx="847478" cy="2769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ccrual management </a:t>
            </a:r>
          </a:p>
        </p:txBody>
      </p:sp>
      <p:sp>
        <p:nvSpPr>
          <p:cNvPr id="143" name="TextBox 142">
            <a:extLst>
              <a:ext uri="{FF2B5EF4-FFF2-40B4-BE49-F238E27FC236}">
                <a16:creationId xmlns:a16="http://schemas.microsoft.com/office/drawing/2014/main" id="{11E8041B-65C0-473F-B490-62AB57CE714C}"/>
              </a:ext>
            </a:extLst>
          </p:cNvPr>
          <p:cNvSpPr txBox="1"/>
          <p:nvPr/>
        </p:nvSpPr>
        <p:spPr>
          <a:xfrm>
            <a:off x="7019176" y="3352645"/>
            <a:ext cx="1116597"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Cash/Bank reconciliation</a:t>
            </a:r>
          </a:p>
        </p:txBody>
      </p:sp>
      <p:sp>
        <p:nvSpPr>
          <p:cNvPr id="144" name="TextBox 143">
            <a:extLst>
              <a:ext uri="{FF2B5EF4-FFF2-40B4-BE49-F238E27FC236}">
                <a16:creationId xmlns:a16="http://schemas.microsoft.com/office/drawing/2014/main" id="{6B7C5949-038F-4232-8DFD-A1680B87D7DC}"/>
              </a:ext>
            </a:extLst>
          </p:cNvPr>
          <p:cNvSpPr txBox="1"/>
          <p:nvPr/>
        </p:nvSpPr>
        <p:spPr>
          <a:xfrm>
            <a:off x="7350295" y="4115250"/>
            <a:ext cx="574216"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Budget</a:t>
            </a:r>
            <a:br>
              <a:rPr kumimoji="0" lang="en-US" sz="1000" b="0" i="0" u="none" strike="noStrike" kern="1200" cap="none" spc="0" normalizeH="0" baseline="0" noProof="0">
                <a:ln>
                  <a:noFill/>
                </a:ln>
                <a:solidFill>
                  <a:srgbClr val="3C3C41"/>
                </a:solidFill>
                <a:effectLst/>
                <a:uLnTx/>
                <a:uFillTx/>
                <a:latin typeface="Segoe UI Semibold"/>
                <a:ea typeface="+mn-ea"/>
                <a:cs typeface="+mn-cs"/>
              </a:rPr>
            </a:br>
            <a:r>
              <a:rPr kumimoji="0" lang="en-US" sz="1000" b="0" i="0" u="none" strike="noStrike" kern="1200" cap="none" spc="0" normalizeH="0" baseline="0" noProof="0">
                <a:ln>
                  <a:noFill/>
                </a:ln>
                <a:solidFill>
                  <a:srgbClr val="3C3C41"/>
                </a:solidFill>
                <a:effectLst/>
                <a:uLnTx/>
                <a:uFillTx/>
                <a:latin typeface="Segoe UI Semibold"/>
                <a:ea typeface="+mn-ea"/>
                <a:cs typeface="+mn-cs"/>
              </a:rPr>
              <a:t>planning</a:t>
            </a:r>
          </a:p>
        </p:txBody>
      </p:sp>
      <p:sp>
        <p:nvSpPr>
          <p:cNvPr id="145" name="TextBox 144">
            <a:extLst>
              <a:ext uri="{FF2B5EF4-FFF2-40B4-BE49-F238E27FC236}">
                <a16:creationId xmlns:a16="http://schemas.microsoft.com/office/drawing/2014/main" id="{B3ED3E4E-0F5C-47AD-9D42-46E1F92177F4}"/>
              </a:ext>
            </a:extLst>
          </p:cNvPr>
          <p:cNvSpPr txBox="1"/>
          <p:nvPr/>
        </p:nvSpPr>
        <p:spPr>
          <a:xfrm>
            <a:off x="8511172" y="3906016"/>
            <a:ext cx="810630"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Cash flow forecasting</a:t>
            </a:r>
          </a:p>
        </p:txBody>
      </p:sp>
      <p:sp>
        <p:nvSpPr>
          <p:cNvPr id="146" name="TextBox 145">
            <a:extLst>
              <a:ext uri="{FF2B5EF4-FFF2-40B4-BE49-F238E27FC236}">
                <a16:creationId xmlns:a16="http://schemas.microsoft.com/office/drawing/2014/main" id="{1F37C66D-1035-43CC-BD0A-FD99F0104B6B}"/>
              </a:ext>
            </a:extLst>
          </p:cNvPr>
          <p:cNvSpPr txBox="1"/>
          <p:nvPr/>
        </p:nvSpPr>
        <p:spPr>
          <a:xfrm>
            <a:off x="8882063" y="4707142"/>
            <a:ext cx="651366"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Period</a:t>
            </a:r>
            <a:br>
              <a:rPr kumimoji="0" lang="en-US" sz="1000" b="0" i="0" u="none" strike="noStrike" kern="1200" cap="none" spc="0" normalizeH="0" baseline="0" noProof="0">
                <a:ln>
                  <a:noFill/>
                </a:ln>
                <a:solidFill>
                  <a:srgbClr val="3C3C41"/>
                </a:solidFill>
                <a:effectLst/>
                <a:uLnTx/>
                <a:uFillTx/>
                <a:latin typeface="Segoe UI Semibold"/>
                <a:ea typeface="+mn-ea"/>
                <a:cs typeface="+mn-cs"/>
              </a:rPr>
            </a:br>
            <a:r>
              <a:rPr kumimoji="0" lang="en-US" sz="1000" b="0" i="0" u="none" strike="noStrike" kern="1200" cap="none" spc="0" normalizeH="0" baseline="0" noProof="0">
                <a:ln>
                  <a:noFill/>
                </a:ln>
                <a:solidFill>
                  <a:srgbClr val="3C3C41"/>
                </a:solidFill>
                <a:effectLst/>
                <a:uLnTx/>
                <a:uFillTx/>
                <a:latin typeface="Segoe UI Semibold"/>
                <a:ea typeface="+mn-ea"/>
                <a:cs typeface="+mn-cs"/>
              </a:rPr>
              <a:t>closure</a:t>
            </a:r>
          </a:p>
        </p:txBody>
      </p:sp>
      <p:sp>
        <p:nvSpPr>
          <p:cNvPr id="147" name="TextBox 146">
            <a:extLst>
              <a:ext uri="{FF2B5EF4-FFF2-40B4-BE49-F238E27FC236}">
                <a16:creationId xmlns:a16="http://schemas.microsoft.com/office/drawing/2014/main" id="{82A16333-7E4B-4DCA-853F-D0FB02F8275D}"/>
              </a:ext>
            </a:extLst>
          </p:cNvPr>
          <p:cNvSpPr txBox="1"/>
          <p:nvPr/>
        </p:nvSpPr>
        <p:spPr>
          <a:xfrm>
            <a:off x="9756310" y="4286072"/>
            <a:ext cx="1116597" cy="15234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Semibold"/>
                <a:ea typeface="+mn-ea"/>
                <a:cs typeface="+mn-cs"/>
              </a:rPr>
              <a:t> </a:t>
            </a:r>
          </a:p>
        </p:txBody>
      </p:sp>
      <p:sp>
        <p:nvSpPr>
          <p:cNvPr id="148" name="TextBox 147">
            <a:extLst>
              <a:ext uri="{FF2B5EF4-FFF2-40B4-BE49-F238E27FC236}">
                <a16:creationId xmlns:a16="http://schemas.microsoft.com/office/drawing/2014/main" id="{2E87A7C8-9434-487B-B401-09DC1B57ECBF}"/>
              </a:ext>
            </a:extLst>
          </p:cNvPr>
          <p:cNvSpPr txBox="1"/>
          <p:nvPr/>
        </p:nvSpPr>
        <p:spPr>
          <a:xfrm>
            <a:off x="10791825" y="5323459"/>
            <a:ext cx="320839" cy="1384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P+L</a:t>
            </a:r>
          </a:p>
        </p:txBody>
      </p:sp>
      <p:sp>
        <p:nvSpPr>
          <p:cNvPr id="149" name="Oval 148">
            <a:extLst>
              <a:ext uri="{FF2B5EF4-FFF2-40B4-BE49-F238E27FC236}">
                <a16:creationId xmlns:a16="http://schemas.microsoft.com/office/drawing/2014/main" id="{A465000E-70C4-4CF7-863D-AF6C5ABFDB87}"/>
              </a:ext>
            </a:extLst>
          </p:cNvPr>
          <p:cNvSpPr/>
          <p:nvPr/>
        </p:nvSpPr>
        <p:spPr bwMode="auto">
          <a:xfrm>
            <a:off x="10079559" y="4782320"/>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TextBox 156">
            <a:extLst>
              <a:ext uri="{FF2B5EF4-FFF2-40B4-BE49-F238E27FC236}">
                <a16:creationId xmlns:a16="http://schemas.microsoft.com/office/drawing/2014/main" id="{19FB026A-0CF7-4D15-AFC6-4B0F0BB7CCC2}"/>
              </a:ext>
            </a:extLst>
          </p:cNvPr>
          <p:cNvSpPr txBox="1"/>
          <p:nvPr/>
        </p:nvSpPr>
        <p:spPr>
          <a:xfrm>
            <a:off x="4828191" y="1045822"/>
            <a:ext cx="266098" cy="2215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8272"/>
                </a:solidFill>
                <a:effectLst/>
                <a:uLnTx/>
                <a:uFillTx/>
                <a:latin typeface="Segoe UI Semibold"/>
                <a:ea typeface="+mn-ea"/>
                <a:cs typeface="+mn-cs"/>
              </a:rPr>
              <a:t>AR</a:t>
            </a:r>
          </a:p>
        </p:txBody>
      </p:sp>
      <p:sp>
        <p:nvSpPr>
          <p:cNvPr id="158" name="TextBox 157">
            <a:extLst>
              <a:ext uri="{FF2B5EF4-FFF2-40B4-BE49-F238E27FC236}">
                <a16:creationId xmlns:a16="http://schemas.microsoft.com/office/drawing/2014/main" id="{08D42DBE-B91F-425C-99CD-C0CDCB14490F}"/>
              </a:ext>
            </a:extLst>
          </p:cNvPr>
          <p:cNvSpPr txBox="1"/>
          <p:nvPr/>
        </p:nvSpPr>
        <p:spPr>
          <a:xfrm>
            <a:off x="326954" y="2667603"/>
            <a:ext cx="258084" cy="2215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8272"/>
                </a:solidFill>
                <a:effectLst/>
                <a:uLnTx/>
                <a:uFillTx/>
                <a:latin typeface="Segoe UI Semibold"/>
                <a:ea typeface="+mn-ea"/>
                <a:cs typeface="+mn-cs"/>
              </a:rPr>
              <a:t>AP</a:t>
            </a:r>
          </a:p>
        </p:txBody>
      </p:sp>
      <p:grpSp>
        <p:nvGrpSpPr>
          <p:cNvPr id="51" name="Graphic 4">
            <a:extLst>
              <a:ext uri="{FF2B5EF4-FFF2-40B4-BE49-F238E27FC236}">
                <a16:creationId xmlns:a16="http://schemas.microsoft.com/office/drawing/2014/main" id="{B7D4BA6E-54F2-45A4-857F-D82E0C031FC5}"/>
              </a:ext>
            </a:extLst>
          </p:cNvPr>
          <p:cNvGrpSpPr/>
          <p:nvPr/>
        </p:nvGrpSpPr>
        <p:grpSpPr>
          <a:xfrm>
            <a:off x="5510736" y="976675"/>
            <a:ext cx="365480" cy="463504"/>
            <a:chOff x="11323631" y="2476959"/>
            <a:chExt cx="365480" cy="463504"/>
          </a:xfrm>
          <a:solidFill>
            <a:schemeClr val="accent1"/>
          </a:solidFill>
        </p:grpSpPr>
        <p:sp>
          <p:nvSpPr>
            <p:cNvPr id="52" name="Freeform: Shape 51">
              <a:extLst>
                <a:ext uri="{FF2B5EF4-FFF2-40B4-BE49-F238E27FC236}">
                  <a16:creationId xmlns:a16="http://schemas.microsoft.com/office/drawing/2014/main" id="{3F2E6DD4-4E6B-4E54-A699-58F3EE6A2667}"/>
                </a:ext>
              </a:extLst>
            </p:cNvPr>
            <p:cNvSpPr/>
            <p:nvPr/>
          </p:nvSpPr>
          <p:spPr>
            <a:xfrm>
              <a:off x="11408438" y="2903518"/>
              <a:ext cx="62661" cy="36946"/>
            </a:xfrm>
            <a:custGeom>
              <a:avLst/>
              <a:gdLst>
                <a:gd name="connsiteX0" fmla="*/ 723 w 62661"/>
                <a:gd name="connsiteY0" fmla="*/ 20681 h 36946"/>
                <a:gd name="connsiteX1" fmla="*/ 471 w 62661"/>
                <a:gd name="connsiteY1" fmla="*/ 21937 h 36946"/>
                <a:gd name="connsiteX2" fmla="*/ 220 w 62661"/>
                <a:gd name="connsiteY2" fmla="*/ 25705 h 36946"/>
                <a:gd name="connsiteX3" fmla="*/ 1099 w 62661"/>
                <a:gd name="connsiteY3" fmla="*/ 34120 h 36946"/>
                <a:gd name="connsiteX4" fmla="*/ 21320 w 62661"/>
                <a:gd name="connsiteY4" fmla="*/ 34999 h 36946"/>
                <a:gd name="connsiteX5" fmla="*/ 23455 w 62661"/>
                <a:gd name="connsiteY5" fmla="*/ 34120 h 36946"/>
                <a:gd name="connsiteX6" fmla="*/ 26469 w 62661"/>
                <a:gd name="connsiteY6" fmla="*/ 30854 h 36946"/>
                <a:gd name="connsiteX7" fmla="*/ 30237 w 62661"/>
                <a:gd name="connsiteY7" fmla="*/ 29347 h 36946"/>
                <a:gd name="connsiteX8" fmla="*/ 33879 w 62661"/>
                <a:gd name="connsiteY8" fmla="*/ 28217 h 36946"/>
                <a:gd name="connsiteX9" fmla="*/ 36391 w 62661"/>
                <a:gd name="connsiteY9" fmla="*/ 28217 h 36946"/>
                <a:gd name="connsiteX10" fmla="*/ 41667 w 62661"/>
                <a:gd name="connsiteY10" fmla="*/ 28217 h 36946"/>
                <a:gd name="connsiteX11" fmla="*/ 60380 w 62661"/>
                <a:gd name="connsiteY11" fmla="*/ 20681 h 36946"/>
                <a:gd name="connsiteX12" fmla="*/ 62389 w 62661"/>
                <a:gd name="connsiteY12" fmla="*/ 10257 h 36946"/>
                <a:gd name="connsiteX13" fmla="*/ 45434 w 62661"/>
                <a:gd name="connsiteY13" fmla="*/ 3726 h 36946"/>
                <a:gd name="connsiteX14" fmla="*/ 27851 w 62661"/>
                <a:gd name="connsiteY14" fmla="*/ 586 h 36946"/>
                <a:gd name="connsiteX15" fmla="*/ 14161 w 62661"/>
                <a:gd name="connsiteY15" fmla="*/ 7745 h 36946"/>
                <a:gd name="connsiteX16" fmla="*/ 6375 w 62661"/>
                <a:gd name="connsiteY16" fmla="*/ 14025 h 36946"/>
                <a:gd name="connsiteX17" fmla="*/ 723 w 62661"/>
                <a:gd name="connsiteY17" fmla="*/ 20681 h 3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661" h="36946">
                  <a:moveTo>
                    <a:pt x="723" y="20681"/>
                  </a:moveTo>
                  <a:cubicBezTo>
                    <a:pt x="597" y="21058"/>
                    <a:pt x="597" y="21560"/>
                    <a:pt x="471" y="21937"/>
                  </a:cubicBezTo>
                  <a:cubicBezTo>
                    <a:pt x="346" y="23193"/>
                    <a:pt x="220" y="24449"/>
                    <a:pt x="220" y="25705"/>
                  </a:cubicBezTo>
                  <a:cubicBezTo>
                    <a:pt x="220" y="28217"/>
                    <a:pt x="-659" y="32110"/>
                    <a:pt x="1099" y="34120"/>
                  </a:cubicBezTo>
                  <a:cubicBezTo>
                    <a:pt x="5244" y="38892"/>
                    <a:pt x="16171" y="36506"/>
                    <a:pt x="21320" y="34999"/>
                  </a:cubicBezTo>
                  <a:cubicBezTo>
                    <a:pt x="22074" y="34748"/>
                    <a:pt x="22827" y="34497"/>
                    <a:pt x="23455" y="34120"/>
                  </a:cubicBezTo>
                  <a:cubicBezTo>
                    <a:pt x="24711" y="33241"/>
                    <a:pt x="25088" y="31734"/>
                    <a:pt x="26469" y="30854"/>
                  </a:cubicBezTo>
                  <a:cubicBezTo>
                    <a:pt x="27599" y="30101"/>
                    <a:pt x="28856" y="29598"/>
                    <a:pt x="30237" y="29347"/>
                  </a:cubicBezTo>
                  <a:cubicBezTo>
                    <a:pt x="31494" y="29096"/>
                    <a:pt x="32623" y="28468"/>
                    <a:pt x="33879" y="28217"/>
                  </a:cubicBezTo>
                  <a:cubicBezTo>
                    <a:pt x="34884" y="27966"/>
                    <a:pt x="35387" y="28217"/>
                    <a:pt x="36391" y="28217"/>
                  </a:cubicBezTo>
                  <a:cubicBezTo>
                    <a:pt x="38150" y="28342"/>
                    <a:pt x="39908" y="28342"/>
                    <a:pt x="41667" y="28217"/>
                  </a:cubicBezTo>
                  <a:cubicBezTo>
                    <a:pt x="47318" y="27840"/>
                    <a:pt x="56737" y="25203"/>
                    <a:pt x="60380" y="20681"/>
                  </a:cubicBezTo>
                  <a:cubicBezTo>
                    <a:pt x="62641" y="17918"/>
                    <a:pt x="63017" y="13773"/>
                    <a:pt x="62389" y="10257"/>
                  </a:cubicBezTo>
                  <a:cubicBezTo>
                    <a:pt x="61259" y="3851"/>
                    <a:pt x="50583" y="3851"/>
                    <a:pt x="45434" y="3726"/>
                  </a:cubicBezTo>
                  <a:cubicBezTo>
                    <a:pt x="40159" y="3600"/>
                    <a:pt x="32372" y="3851"/>
                    <a:pt x="27851" y="586"/>
                  </a:cubicBezTo>
                  <a:cubicBezTo>
                    <a:pt x="24083" y="-2177"/>
                    <a:pt x="16548" y="5610"/>
                    <a:pt x="14161" y="7745"/>
                  </a:cubicBezTo>
                  <a:cubicBezTo>
                    <a:pt x="11775" y="10006"/>
                    <a:pt x="9514" y="13146"/>
                    <a:pt x="6375" y="14025"/>
                  </a:cubicBezTo>
                  <a:cubicBezTo>
                    <a:pt x="2732" y="15029"/>
                    <a:pt x="1351" y="17290"/>
                    <a:pt x="723" y="20681"/>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17298DA8-BAE3-4417-A19B-9ECF06B968EE}"/>
                </a:ext>
              </a:extLst>
            </p:cNvPr>
            <p:cNvSpPr/>
            <p:nvPr/>
          </p:nvSpPr>
          <p:spPr>
            <a:xfrm>
              <a:off x="11436289" y="2904355"/>
              <a:ext cx="34664" cy="17039"/>
            </a:xfrm>
            <a:custGeom>
              <a:avLst/>
              <a:gdLst>
                <a:gd name="connsiteX0" fmla="*/ 17458 w 34664"/>
                <a:gd name="connsiteY0" fmla="*/ 2889 h 17039"/>
                <a:gd name="connsiteX1" fmla="*/ 34413 w 34664"/>
                <a:gd name="connsiteY1" fmla="*/ 9420 h 17039"/>
                <a:gd name="connsiteX2" fmla="*/ 34664 w 34664"/>
                <a:gd name="connsiteY2" fmla="*/ 12936 h 17039"/>
                <a:gd name="connsiteX3" fmla="*/ 18588 w 34664"/>
                <a:gd name="connsiteY3" fmla="*/ 16955 h 17039"/>
                <a:gd name="connsiteX4" fmla="*/ 4647 w 34664"/>
                <a:gd name="connsiteY4" fmla="*/ 13816 h 17039"/>
                <a:gd name="connsiteX5" fmla="*/ 628 w 34664"/>
                <a:gd name="connsiteY5" fmla="*/ 8666 h 17039"/>
                <a:gd name="connsiteX6" fmla="*/ 0 w 34664"/>
                <a:gd name="connsiteY6" fmla="*/ 0 h 17039"/>
                <a:gd name="connsiteX7" fmla="*/ 17458 w 34664"/>
                <a:gd name="connsiteY7" fmla="*/ 2889 h 17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64" h="17039">
                  <a:moveTo>
                    <a:pt x="17458" y="2889"/>
                  </a:moveTo>
                  <a:cubicBezTo>
                    <a:pt x="22607" y="3014"/>
                    <a:pt x="33283" y="3014"/>
                    <a:pt x="34413" y="9420"/>
                  </a:cubicBezTo>
                  <a:cubicBezTo>
                    <a:pt x="34664" y="10550"/>
                    <a:pt x="34664" y="11680"/>
                    <a:pt x="34664" y="12936"/>
                  </a:cubicBezTo>
                  <a:cubicBezTo>
                    <a:pt x="34413" y="13187"/>
                    <a:pt x="30143" y="17709"/>
                    <a:pt x="18588" y="16955"/>
                  </a:cubicBezTo>
                  <a:cubicBezTo>
                    <a:pt x="6783" y="16076"/>
                    <a:pt x="4647" y="13816"/>
                    <a:pt x="4647" y="13816"/>
                  </a:cubicBezTo>
                  <a:cubicBezTo>
                    <a:pt x="4647" y="13816"/>
                    <a:pt x="126" y="13187"/>
                    <a:pt x="628" y="8666"/>
                  </a:cubicBezTo>
                  <a:cubicBezTo>
                    <a:pt x="1005" y="5526"/>
                    <a:pt x="503" y="2010"/>
                    <a:pt x="0" y="0"/>
                  </a:cubicBezTo>
                  <a:cubicBezTo>
                    <a:pt x="4773" y="3014"/>
                    <a:pt x="12308" y="2763"/>
                    <a:pt x="17458" y="2889"/>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 name="Graphic 4">
              <a:extLst>
                <a:ext uri="{FF2B5EF4-FFF2-40B4-BE49-F238E27FC236}">
                  <a16:creationId xmlns:a16="http://schemas.microsoft.com/office/drawing/2014/main" id="{4C9E49DE-E5D0-48D9-B3BF-7C7E0F323D53}"/>
                </a:ext>
              </a:extLst>
            </p:cNvPr>
            <p:cNvGrpSpPr/>
            <p:nvPr/>
          </p:nvGrpSpPr>
          <p:grpSpPr>
            <a:xfrm>
              <a:off x="11323631" y="2476959"/>
              <a:ext cx="365480" cy="450683"/>
              <a:chOff x="11323631" y="2476959"/>
              <a:chExt cx="365480" cy="450683"/>
            </a:xfrm>
            <a:solidFill>
              <a:schemeClr val="accent1"/>
            </a:solidFill>
          </p:grpSpPr>
          <p:sp>
            <p:nvSpPr>
              <p:cNvPr id="55" name="Freeform: Shape 54">
                <a:extLst>
                  <a:ext uri="{FF2B5EF4-FFF2-40B4-BE49-F238E27FC236}">
                    <a16:creationId xmlns:a16="http://schemas.microsoft.com/office/drawing/2014/main" id="{72D33FE5-1F00-42EF-94F4-18BDD3592A22}"/>
                  </a:ext>
                </a:extLst>
              </p:cNvPr>
              <p:cNvSpPr/>
              <p:nvPr/>
            </p:nvSpPr>
            <p:spPr>
              <a:xfrm>
                <a:off x="11323631" y="2687076"/>
                <a:ext cx="82264" cy="47474"/>
              </a:xfrm>
              <a:custGeom>
                <a:avLst/>
                <a:gdLst>
                  <a:gd name="connsiteX0" fmla="*/ 82264 w 82264"/>
                  <a:gd name="connsiteY0" fmla="*/ 6782 h 47474"/>
                  <a:gd name="connsiteX1" fmla="*/ 11303 w 82264"/>
                  <a:gd name="connsiteY1" fmla="*/ 47475 h 47474"/>
                  <a:gd name="connsiteX2" fmla="*/ 0 w 82264"/>
                  <a:gd name="connsiteY2" fmla="*/ 40944 h 47474"/>
                  <a:gd name="connsiteX3" fmla="*/ 70710 w 82264"/>
                  <a:gd name="connsiteY3" fmla="*/ 0 h 47474"/>
                </a:gdLst>
                <a:ahLst/>
                <a:cxnLst>
                  <a:cxn ang="0">
                    <a:pos x="connsiteX0" y="connsiteY0"/>
                  </a:cxn>
                  <a:cxn ang="0">
                    <a:pos x="connsiteX1" y="connsiteY1"/>
                  </a:cxn>
                  <a:cxn ang="0">
                    <a:pos x="connsiteX2" y="connsiteY2"/>
                  </a:cxn>
                  <a:cxn ang="0">
                    <a:pos x="connsiteX3" y="connsiteY3"/>
                  </a:cxn>
                </a:cxnLst>
                <a:rect l="l" t="t" r="r" b="b"/>
                <a:pathLst>
                  <a:path w="82264" h="47474">
                    <a:moveTo>
                      <a:pt x="82264" y="6782"/>
                    </a:moveTo>
                    <a:lnTo>
                      <a:pt x="11303" y="47475"/>
                    </a:lnTo>
                    <a:lnTo>
                      <a:pt x="0" y="40944"/>
                    </a:lnTo>
                    <a:lnTo>
                      <a:pt x="70710" y="0"/>
                    </a:ln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D17FA955-D317-49F4-9FAD-378AE691A6BD}"/>
                  </a:ext>
                </a:extLst>
              </p:cNvPr>
              <p:cNvSpPr/>
              <p:nvPr/>
            </p:nvSpPr>
            <p:spPr>
              <a:xfrm>
                <a:off x="11323631" y="2693858"/>
                <a:ext cx="82264" cy="104620"/>
              </a:xfrm>
              <a:custGeom>
                <a:avLst/>
                <a:gdLst>
                  <a:gd name="connsiteX0" fmla="*/ 82264 w 82264"/>
                  <a:gd name="connsiteY0" fmla="*/ 63928 h 104620"/>
                  <a:gd name="connsiteX1" fmla="*/ 11303 w 82264"/>
                  <a:gd name="connsiteY1" fmla="*/ 104620 h 104620"/>
                  <a:gd name="connsiteX2" fmla="*/ 0 w 82264"/>
                  <a:gd name="connsiteY2" fmla="*/ 97964 h 104620"/>
                  <a:gd name="connsiteX3" fmla="*/ 11303 w 82264"/>
                  <a:gd name="connsiteY3" fmla="*/ 40693 h 104620"/>
                  <a:gd name="connsiteX4" fmla="*/ 82264 w 82264"/>
                  <a:gd name="connsiteY4" fmla="*/ 0 h 104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64" h="104620">
                    <a:moveTo>
                      <a:pt x="82264" y="63928"/>
                    </a:moveTo>
                    <a:lnTo>
                      <a:pt x="11303" y="104620"/>
                    </a:lnTo>
                    <a:lnTo>
                      <a:pt x="0" y="97964"/>
                    </a:lnTo>
                    <a:lnTo>
                      <a:pt x="11303" y="40693"/>
                    </a:lnTo>
                    <a:lnTo>
                      <a:pt x="82264"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CDC60A26-DC8C-44BD-AC1C-00EFC94C06B9}"/>
                  </a:ext>
                </a:extLst>
              </p:cNvPr>
              <p:cNvSpPr/>
              <p:nvPr/>
            </p:nvSpPr>
            <p:spPr>
              <a:xfrm>
                <a:off x="11323631" y="2728020"/>
                <a:ext cx="11303" cy="70458"/>
              </a:xfrm>
              <a:custGeom>
                <a:avLst/>
                <a:gdLst>
                  <a:gd name="connsiteX0" fmla="*/ 0 w 11303"/>
                  <a:gd name="connsiteY0" fmla="*/ 0 h 70458"/>
                  <a:gd name="connsiteX1" fmla="*/ 0 w 11303"/>
                  <a:gd name="connsiteY1" fmla="*/ 63802 h 70458"/>
                  <a:gd name="connsiteX2" fmla="*/ 11303 w 11303"/>
                  <a:gd name="connsiteY2" fmla="*/ 70459 h 70458"/>
                  <a:gd name="connsiteX3" fmla="*/ 11303 w 11303"/>
                  <a:gd name="connsiteY3" fmla="*/ 6531 h 70458"/>
                </a:gdLst>
                <a:ahLst/>
                <a:cxnLst>
                  <a:cxn ang="0">
                    <a:pos x="connsiteX0" y="connsiteY0"/>
                  </a:cxn>
                  <a:cxn ang="0">
                    <a:pos x="connsiteX1" y="connsiteY1"/>
                  </a:cxn>
                  <a:cxn ang="0">
                    <a:pos x="connsiteX2" y="connsiteY2"/>
                  </a:cxn>
                  <a:cxn ang="0">
                    <a:pos x="connsiteX3" y="connsiteY3"/>
                  </a:cxn>
                </a:cxnLst>
                <a:rect l="l" t="t" r="r" b="b"/>
                <a:pathLst>
                  <a:path w="11303" h="70458">
                    <a:moveTo>
                      <a:pt x="0" y="0"/>
                    </a:moveTo>
                    <a:lnTo>
                      <a:pt x="0" y="63802"/>
                    </a:lnTo>
                    <a:lnTo>
                      <a:pt x="11303" y="70459"/>
                    </a:lnTo>
                    <a:lnTo>
                      <a:pt x="11303" y="6531"/>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027C124A-3C03-4CC6-AD85-6A495E34E4E2}"/>
                  </a:ext>
                </a:extLst>
              </p:cNvPr>
              <p:cNvSpPr/>
              <p:nvPr/>
            </p:nvSpPr>
            <p:spPr>
              <a:xfrm>
                <a:off x="11353397" y="2704910"/>
                <a:ext cx="3390" cy="11931"/>
              </a:xfrm>
              <a:custGeom>
                <a:avLst/>
                <a:gdLst>
                  <a:gd name="connsiteX0" fmla="*/ 3391 w 3390"/>
                  <a:gd name="connsiteY0" fmla="*/ 2010 h 11931"/>
                  <a:gd name="connsiteX1" fmla="*/ 3391 w 3390"/>
                  <a:gd name="connsiteY1" fmla="*/ 11932 h 11931"/>
                  <a:gd name="connsiteX2" fmla="*/ 0 w 3390"/>
                  <a:gd name="connsiteY2" fmla="*/ 9922 h 11931"/>
                  <a:gd name="connsiteX3" fmla="*/ 0 w 3390"/>
                  <a:gd name="connsiteY3" fmla="*/ 0 h 11931"/>
                </a:gdLst>
                <a:ahLst/>
                <a:cxnLst>
                  <a:cxn ang="0">
                    <a:pos x="connsiteX0" y="connsiteY0"/>
                  </a:cxn>
                  <a:cxn ang="0">
                    <a:pos x="connsiteX1" y="connsiteY1"/>
                  </a:cxn>
                  <a:cxn ang="0">
                    <a:pos x="connsiteX2" y="connsiteY2"/>
                  </a:cxn>
                  <a:cxn ang="0">
                    <a:pos x="connsiteX3" y="connsiteY3"/>
                  </a:cxn>
                </a:cxnLst>
                <a:rect l="l" t="t" r="r" b="b"/>
                <a:pathLst>
                  <a:path w="3390" h="11931">
                    <a:moveTo>
                      <a:pt x="3391" y="2010"/>
                    </a:moveTo>
                    <a:lnTo>
                      <a:pt x="3391" y="11932"/>
                    </a:lnTo>
                    <a:lnTo>
                      <a:pt x="0" y="9922"/>
                    </a:lnTo>
                    <a:lnTo>
                      <a:pt x="0" y="0"/>
                    </a:lnTo>
                    <a:close/>
                  </a:path>
                </a:pathLst>
              </a:custGeom>
              <a:solidFill>
                <a:srgbClr val="BA6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7D2E2AE9-0F85-4732-B800-4715B49EE420}"/>
                  </a:ext>
                </a:extLst>
              </p:cNvPr>
              <p:cNvSpPr/>
              <p:nvPr/>
            </p:nvSpPr>
            <p:spPr>
              <a:xfrm>
                <a:off x="11377260" y="2690969"/>
                <a:ext cx="3517" cy="12057"/>
              </a:xfrm>
              <a:custGeom>
                <a:avLst/>
                <a:gdLst>
                  <a:gd name="connsiteX0" fmla="*/ 3517 w 3517"/>
                  <a:gd name="connsiteY0" fmla="*/ 2010 h 12057"/>
                  <a:gd name="connsiteX1" fmla="*/ 3517 w 3517"/>
                  <a:gd name="connsiteY1" fmla="*/ 12057 h 12057"/>
                  <a:gd name="connsiteX2" fmla="*/ 0 w 3517"/>
                  <a:gd name="connsiteY2" fmla="*/ 10048 h 12057"/>
                  <a:gd name="connsiteX3" fmla="*/ 0 w 3517"/>
                  <a:gd name="connsiteY3" fmla="*/ 0 h 12057"/>
                </a:gdLst>
                <a:ahLst/>
                <a:cxnLst>
                  <a:cxn ang="0">
                    <a:pos x="connsiteX0" y="connsiteY0"/>
                  </a:cxn>
                  <a:cxn ang="0">
                    <a:pos x="connsiteX1" y="connsiteY1"/>
                  </a:cxn>
                  <a:cxn ang="0">
                    <a:pos x="connsiteX2" y="connsiteY2"/>
                  </a:cxn>
                  <a:cxn ang="0">
                    <a:pos x="connsiteX3" y="connsiteY3"/>
                  </a:cxn>
                </a:cxnLst>
                <a:rect l="l" t="t" r="r" b="b"/>
                <a:pathLst>
                  <a:path w="3517" h="12057">
                    <a:moveTo>
                      <a:pt x="3517" y="2010"/>
                    </a:moveTo>
                    <a:lnTo>
                      <a:pt x="3517" y="12057"/>
                    </a:lnTo>
                    <a:lnTo>
                      <a:pt x="0" y="10048"/>
                    </a:lnTo>
                    <a:lnTo>
                      <a:pt x="0" y="0"/>
                    </a:lnTo>
                    <a:close/>
                  </a:path>
                </a:pathLst>
              </a:custGeom>
              <a:solidFill>
                <a:srgbClr val="BA6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2AA4F1CB-A39D-412A-9257-DB0C632B44E5}"/>
                  </a:ext>
                </a:extLst>
              </p:cNvPr>
              <p:cNvSpPr/>
              <p:nvPr/>
            </p:nvSpPr>
            <p:spPr>
              <a:xfrm>
                <a:off x="11356787" y="2691974"/>
                <a:ext cx="25872" cy="24867"/>
              </a:xfrm>
              <a:custGeom>
                <a:avLst/>
                <a:gdLst>
                  <a:gd name="connsiteX0" fmla="*/ 25748 w 25872"/>
                  <a:gd name="connsiteY0" fmla="*/ 9922 h 24867"/>
                  <a:gd name="connsiteX1" fmla="*/ 23989 w 25872"/>
                  <a:gd name="connsiteY1" fmla="*/ 11052 h 24867"/>
                  <a:gd name="connsiteX2" fmla="*/ 23989 w 25872"/>
                  <a:gd name="connsiteY2" fmla="*/ 3140 h 24867"/>
                  <a:gd name="connsiteX3" fmla="*/ 1884 w 25872"/>
                  <a:gd name="connsiteY3" fmla="*/ 15950 h 24867"/>
                  <a:gd name="connsiteX4" fmla="*/ 1759 w 25872"/>
                  <a:gd name="connsiteY4" fmla="*/ 23863 h 24867"/>
                  <a:gd name="connsiteX5" fmla="*/ 0 w 25872"/>
                  <a:gd name="connsiteY5" fmla="*/ 24868 h 24867"/>
                  <a:gd name="connsiteX6" fmla="*/ 0 w 25872"/>
                  <a:gd name="connsiteY6" fmla="*/ 14946 h 24867"/>
                  <a:gd name="connsiteX7" fmla="*/ 25873 w 25872"/>
                  <a:gd name="connsiteY7"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72" h="24867">
                    <a:moveTo>
                      <a:pt x="25748" y="9922"/>
                    </a:moveTo>
                    <a:lnTo>
                      <a:pt x="23989" y="11052"/>
                    </a:lnTo>
                    <a:lnTo>
                      <a:pt x="23989" y="3140"/>
                    </a:lnTo>
                    <a:lnTo>
                      <a:pt x="1884" y="15950"/>
                    </a:lnTo>
                    <a:lnTo>
                      <a:pt x="1759" y="23863"/>
                    </a:lnTo>
                    <a:lnTo>
                      <a:pt x="0" y="24868"/>
                    </a:lnTo>
                    <a:lnTo>
                      <a:pt x="0" y="14946"/>
                    </a:lnTo>
                    <a:lnTo>
                      <a:pt x="25873" y="0"/>
                    </a:lnTo>
                    <a:close/>
                  </a:path>
                </a:pathLst>
              </a:custGeom>
              <a:solidFill>
                <a:srgbClr val="DE9A2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5CE798D2-DFD3-4F8A-9B17-BA68B4FF2B77}"/>
                  </a:ext>
                </a:extLst>
              </p:cNvPr>
              <p:cNvSpPr/>
              <p:nvPr/>
            </p:nvSpPr>
            <p:spPr>
              <a:xfrm>
                <a:off x="11353397" y="2689964"/>
                <a:ext cx="29263" cy="16955"/>
              </a:xfrm>
              <a:custGeom>
                <a:avLst/>
                <a:gdLst>
                  <a:gd name="connsiteX0" fmla="*/ 25747 w 29263"/>
                  <a:gd name="connsiteY0" fmla="*/ 0 h 16955"/>
                  <a:gd name="connsiteX1" fmla="*/ 0 w 29263"/>
                  <a:gd name="connsiteY1" fmla="*/ 14946 h 16955"/>
                  <a:gd name="connsiteX2" fmla="*/ 3391 w 29263"/>
                  <a:gd name="connsiteY2" fmla="*/ 16955 h 16955"/>
                  <a:gd name="connsiteX3" fmla="*/ 29263 w 29263"/>
                  <a:gd name="connsiteY3" fmla="*/ 2009 h 16955"/>
                </a:gdLst>
                <a:ahLst/>
                <a:cxnLst>
                  <a:cxn ang="0">
                    <a:pos x="connsiteX0" y="connsiteY0"/>
                  </a:cxn>
                  <a:cxn ang="0">
                    <a:pos x="connsiteX1" y="connsiteY1"/>
                  </a:cxn>
                  <a:cxn ang="0">
                    <a:pos x="connsiteX2" y="connsiteY2"/>
                  </a:cxn>
                  <a:cxn ang="0">
                    <a:pos x="connsiteX3" y="connsiteY3"/>
                  </a:cxn>
                </a:cxnLst>
                <a:rect l="l" t="t" r="r" b="b"/>
                <a:pathLst>
                  <a:path w="29263" h="16955">
                    <a:moveTo>
                      <a:pt x="25747" y="0"/>
                    </a:moveTo>
                    <a:lnTo>
                      <a:pt x="0" y="14946"/>
                    </a:lnTo>
                    <a:lnTo>
                      <a:pt x="3391" y="16955"/>
                    </a:lnTo>
                    <a:lnTo>
                      <a:pt x="29263" y="2009"/>
                    </a:lnTo>
                    <a:close/>
                  </a:path>
                </a:pathLst>
              </a:custGeom>
              <a:solidFill>
                <a:srgbClr val="F87F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6640760A-AE6A-404D-A91A-FFB9F3C3AB5A}"/>
                  </a:ext>
                </a:extLst>
              </p:cNvPr>
              <p:cNvSpPr/>
              <p:nvPr/>
            </p:nvSpPr>
            <p:spPr>
              <a:xfrm>
                <a:off x="11529230" y="2632316"/>
                <a:ext cx="22732" cy="22073"/>
              </a:xfrm>
              <a:custGeom>
                <a:avLst/>
                <a:gdLst>
                  <a:gd name="connsiteX0" fmla="*/ 11052 w 22732"/>
                  <a:gd name="connsiteY0" fmla="*/ 21226 h 22073"/>
                  <a:gd name="connsiteX1" fmla="*/ 3266 w 22732"/>
                  <a:gd name="connsiteY1" fmla="*/ 17834 h 22073"/>
                  <a:gd name="connsiteX2" fmla="*/ 0 w 22732"/>
                  <a:gd name="connsiteY2" fmla="*/ 8666 h 22073"/>
                  <a:gd name="connsiteX3" fmla="*/ 14067 w 22732"/>
                  <a:gd name="connsiteY3" fmla="*/ 0 h 22073"/>
                  <a:gd name="connsiteX4" fmla="*/ 22733 w 22732"/>
                  <a:gd name="connsiteY4" fmla="*/ 4773 h 22073"/>
                  <a:gd name="connsiteX5" fmla="*/ 11052 w 22732"/>
                  <a:gd name="connsiteY5" fmla="*/ 21226 h 2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2" h="22073">
                    <a:moveTo>
                      <a:pt x="11052" y="21226"/>
                    </a:moveTo>
                    <a:cubicBezTo>
                      <a:pt x="11052" y="21226"/>
                      <a:pt x="6028" y="24617"/>
                      <a:pt x="3266" y="17834"/>
                    </a:cubicBezTo>
                    <a:cubicBezTo>
                      <a:pt x="502" y="11052"/>
                      <a:pt x="0" y="8666"/>
                      <a:pt x="0" y="8666"/>
                    </a:cubicBezTo>
                    <a:lnTo>
                      <a:pt x="14067" y="0"/>
                    </a:lnTo>
                    <a:lnTo>
                      <a:pt x="22733" y="4773"/>
                    </a:lnTo>
                    <a:lnTo>
                      <a:pt x="11052" y="21226"/>
                    </a:lnTo>
                    <a:close/>
                  </a:path>
                </a:pathLst>
              </a:custGeom>
              <a:solidFill>
                <a:srgbClr val="AD2C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9613335C-6650-4308-B5C3-9FDD1B71977D}"/>
                  </a:ext>
                </a:extLst>
              </p:cNvPr>
              <p:cNvSpPr/>
              <p:nvPr/>
            </p:nvSpPr>
            <p:spPr>
              <a:xfrm>
                <a:off x="11502007" y="2634075"/>
                <a:ext cx="44353" cy="40277"/>
              </a:xfrm>
              <a:custGeom>
                <a:avLst/>
                <a:gdLst>
                  <a:gd name="connsiteX0" fmla="*/ 12403 w 44353"/>
                  <a:gd name="connsiteY0" fmla="*/ 17332 h 40277"/>
                  <a:gd name="connsiteX1" fmla="*/ 20692 w 44353"/>
                  <a:gd name="connsiteY1" fmla="*/ 15574 h 40277"/>
                  <a:gd name="connsiteX2" fmla="*/ 27349 w 44353"/>
                  <a:gd name="connsiteY2" fmla="*/ 10550 h 40277"/>
                  <a:gd name="connsiteX3" fmla="*/ 30237 w 44353"/>
                  <a:gd name="connsiteY3" fmla="*/ 7787 h 40277"/>
                  <a:gd name="connsiteX4" fmla="*/ 31744 w 44353"/>
                  <a:gd name="connsiteY4" fmla="*/ 5778 h 40277"/>
                  <a:gd name="connsiteX5" fmla="*/ 35386 w 44353"/>
                  <a:gd name="connsiteY5" fmla="*/ 2261 h 40277"/>
                  <a:gd name="connsiteX6" fmla="*/ 38526 w 44353"/>
                  <a:gd name="connsiteY6" fmla="*/ 251 h 40277"/>
                  <a:gd name="connsiteX7" fmla="*/ 44304 w 44353"/>
                  <a:gd name="connsiteY7" fmla="*/ 4773 h 40277"/>
                  <a:gd name="connsiteX8" fmla="*/ 44052 w 44353"/>
                  <a:gd name="connsiteY8" fmla="*/ 8415 h 40277"/>
                  <a:gd name="connsiteX9" fmla="*/ 42797 w 44353"/>
                  <a:gd name="connsiteY9" fmla="*/ 12811 h 40277"/>
                  <a:gd name="connsiteX10" fmla="*/ 40912 w 44353"/>
                  <a:gd name="connsiteY10" fmla="*/ 16704 h 40277"/>
                  <a:gd name="connsiteX11" fmla="*/ 37773 w 44353"/>
                  <a:gd name="connsiteY11" fmla="*/ 18212 h 40277"/>
                  <a:gd name="connsiteX12" fmla="*/ 34633 w 44353"/>
                  <a:gd name="connsiteY12" fmla="*/ 20095 h 40277"/>
                  <a:gd name="connsiteX13" fmla="*/ 30739 w 44353"/>
                  <a:gd name="connsiteY13" fmla="*/ 23612 h 40277"/>
                  <a:gd name="connsiteX14" fmla="*/ 28479 w 44353"/>
                  <a:gd name="connsiteY14" fmla="*/ 26375 h 40277"/>
                  <a:gd name="connsiteX15" fmla="*/ 28102 w 44353"/>
                  <a:gd name="connsiteY15" fmla="*/ 27003 h 40277"/>
                  <a:gd name="connsiteX16" fmla="*/ 28227 w 44353"/>
                  <a:gd name="connsiteY16" fmla="*/ 27254 h 40277"/>
                  <a:gd name="connsiteX17" fmla="*/ 27474 w 44353"/>
                  <a:gd name="connsiteY17" fmla="*/ 27882 h 40277"/>
                  <a:gd name="connsiteX18" fmla="*/ 23957 w 44353"/>
                  <a:gd name="connsiteY18" fmla="*/ 32278 h 40277"/>
                  <a:gd name="connsiteX19" fmla="*/ 19310 w 44353"/>
                  <a:gd name="connsiteY19" fmla="*/ 34413 h 40277"/>
                  <a:gd name="connsiteX20" fmla="*/ 9639 w 44353"/>
                  <a:gd name="connsiteY20" fmla="*/ 39311 h 40277"/>
                  <a:gd name="connsiteX21" fmla="*/ 3108 w 44353"/>
                  <a:gd name="connsiteY21" fmla="*/ 37930 h 40277"/>
                  <a:gd name="connsiteX22" fmla="*/ 1350 w 44353"/>
                  <a:gd name="connsiteY22" fmla="*/ 33032 h 40277"/>
                  <a:gd name="connsiteX23" fmla="*/ 346 w 44353"/>
                  <a:gd name="connsiteY23" fmla="*/ 31399 h 40277"/>
                  <a:gd name="connsiteX24" fmla="*/ 848 w 44353"/>
                  <a:gd name="connsiteY24" fmla="*/ 29013 h 40277"/>
                  <a:gd name="connsiteX25" fmla="*/ 9639 w 44353"/>
                  <a:gd name="connsiteY25" fmla="*/ 22984 h 40277"/>
                  <a:gd name="connsiteX26" fmla="*/ 10267 w 44353"/>
                  <a:gd name="connsiteY26" fmla="*/ 21226 h 40277"/>
                  <a:gd name="connsiteX27" fmla="*/ 10644 w 44353"/>
                  <a:gd name="connsiteY27" fmla="*/ 20975 h 40277"/>
                  <a:gd name="connsiteX28" fmla="*/ 3737 w 44353"/>
                  <a:gd name="connsiteY28" fmla="*/ 17960 h 40277"/>
                  <a:gd name="connsiteX29" fmla="*/ 12403 w 44353"/>
                  <a:gd name="connsiteY29" fmla="*/ 17332 h 4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4353" h="40277">
                    <a:moveTo>
                      <a:pt x="12403" y="17332"/>
                    </a:moveTo>
                    <a:cubicBezTo>
                      <a:pt x="15166" y="16955"/>
                      <a:pt x="18054" y="16453"/>
                      <a:pt x="20692" y="15574"/>
                    </a:cubicBezTo>
                    <a:cubicBezTo>
                      <a:pt x="23330" y="14695"/>
                      <a:pt x="25213" y="12309"/>
                      <a:pt x="27349" y="10550"/>
                    </a:cubicBezTo>
                    <a:cubicBezTo>
                      <a:pt x="28353" y="9671"/>
                      <a:pt x="29358" y="8792"/>
                      <a:pt x="30237" y="7787"/>
                    </a:cubicBezTo>
                    <a:cubicBezTo>
                      <a:pt x="30739" y="7159"/>
                      <a:pt x="31242" y="6406"/>
                      <a:pt x="31744" y="5778"/>
                    </a:cubicBezTo>
                    <a:cubicBezTo>
                      <a:pt x="32749" y="4396"/>
                      <a:pt x="34131" y="3391"/>
                      <a:pt x="35386" y="2261"/>
                    </a:cubicBezTo>
                    <a:cubicBezTo>
                      <a:pt x="36391" y="1507"/>
                      <a:pt x="37270" y="628"/>
                      <a:pt x="38526" y="251"/>
                    </a:cubicBezTo>
                    <a:cubicBezTo>
                      <a:pt x="41541" y="-879"/>
                      <a:pt x="43927" y="2010"/>
                      <a:pt x="44304" y="4773"/>
                    </a:cubicBezTo>
                    <a:cubicBezTo>
                      <a:pt x="44429" y="6029"/>
                      <a:pt x="44304" y="7159"/>
                      <a:pt x="44052" y="8415"/>
                    </a:cubicBezTo>
                    <a:cubicBezTo>
                      <a:pt x="43802" y="9922"/>
                      <a:pt x="43299" y="11304"/>
                      <a:pt x="42797" y="12811"/>
                    </a:cubicBezTo>
                    <a:cubicBezTo>
                      <a:pt x="42295" y="14067"/>
                      <a:pt x="41792" y="15825"/>
                      <a:pt x="40912" y="16704"/>
                    </a:cubicBezTo>
                    <a:cubicBezTo>
                      <a:pt x="40159" y="17458"/>
                      <a:pt x="38778" y="17709"/>
                      <a:pt x="37773" y="18212"/>
                    </a:cubicBezTo>
                    <a:cubicBezTo>
                      <a:pt x="36643" y="18714"/>
                      <a:pt x="35512" y="19342"/>
                      <a:pt x="34633" y="20095"/>
                    </a:cubicBezTo>
                    <a:cubicBezTo>
                      <a:pt x="33251" y="21351"/>
                      <a:pt x="31996" y="22482"/>
                      <a:pt x="30739" y="23612"/>
                    </a:cubicBezTo>
                    <a:cubicBezTo>
                      <a:pt x="29860" y="24366"/>
                      <a:pt x="29106" y="25370"/>
                      <a:pt x="28479" y="26375"/>
                    </a:cubicBezTo>
                    <a:cubicBezTo>
                      <a:pt x="28353" y="26626"/>
                      <a:pt x="28227" y="26752"/>
                      <a:pt x="28102" y="27003"/>
                    </a:cubicBezTo>
                    <a:lnTo>
                      <a:pt x="28227" y="27254"/>
                    </a:lnTo>
                    <a:cubicBezTo>
                      <a:pt x="28227" y="27254"/>
                      <a:pt x="27977" y="27505"/>
                      <a:pt x="27474" y="27882"/>
                    </a:cubicBezTo>
                    <a:cubicBezTo>
                      <a:pt x="26469" y="29515"/>
                      <a:pt x="25464" y="31148"/>
                      <a:pt x="23957" y="32278"/>
                    </a:cubicBezTo>
                    <a:cubicBezTo>
                      <a:pt x="22073" y="33534"/>
                      <a:pt x="20818" y="34539"/>
                      <a:pt x="19310" y="34413"/>
                    </a:cubicBezTo>
                    <a:cubicBezTo>
                      <a:pt x="14664" y="37679"/>
                      <a:pt x="11900" y="38307"/>
                      <a:pt x="9639" y="39311"/>
                    </a:cubicBezTo>
                    <a:cubicBezTo>
                      <a:pt x="7253" y="40442"/>
                      <a:pt x="7881" y="41195"/>
                      <a:pt x="3108" y="37930"/>
                    </a:cubicBezTo>
                    <a:cubicBezTo>
                      <a:pt x="-1789" y="34664"/>
                      <a:pt x="1350" y="33032"/>
                      <a:pt x="1350" y="33032"/>
                    </a:cubicBezTo>
                    <a:cubicBezTo>
                      <a:pt x="1350" y="33032"/>
                      <a:pt x="1350" y="33032"/>
                      <a:pt x="346" y="31399"/>
                    </a:cubicBezTo>
                    <a:cubicBezTo>
                      <a:pt x="-659" y="29766"/>
                      <a:pt x="848" y="29013"/>
                      <a:pt x="848" y="29013"/>
                    </a:cubicBezTo>
                    <a:lnTo>
                      <a:pt x="9639" y="22984"/>
                    </a:lnTo>
                    <a:cubicBezTo>
                      <a:pt x="9765" y="22356"/>
                      <a:pt x="9891" y="21728"/>
                      <a:pt x="10267" y="21226"/>
                    </a:cubicBezTo>
                    <a:cubicBezTo>
                      <a:pt x="10393" y="21100"/>
                      <a:pt x="10519" y="21100"/>
                      <a:pt x="10644" y="20975"/>
                    </a:cubicBezTo>
                    <a:cubicBezTo>
                      <a:pt x="8132" y="20598"/>
                      <a:pt x="3863" y="19719"/>
                      <a:pt x="3737" y="17960"/>
                    </a:cubicBezTo>
                    <a:cubicBezTo>
                      <a:pt x="3234" y="15825"/>
                      <a:pt x="9639" y="17709"/>
                      <a:pt x="12403" y="17332"/>
                    </a:cubicBezTo>
                    <a:close/>
                  </a:path>
                </a:pathLst>
              </a:custGeom>
              <a:solidFill>
                <a:srgbClr val="F1B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9264ED63-8BE9-41FB-9E75-025959D216B4}"/>
                  </a:ext>
                </a:extLst>
              </p:cNvPr>
              <p:cNvSpPr/>
              <p:nvPr/>
            </p:nvSpPr>
            <p:spPr>
              <a:xfrm>
                <a:off x="11527723" y="2648518"/>
                <a:ext cx="16327" cy="14820"/>
              </a:xfrm>
              <a:custGeom>
                <a:avLst/>
                <a:gdLst>
                  <a:gd name="connsiteX0" fmla="*/ 9922 w 16327"/>
                  <a:gd name="connsiteY0" fmla="*/ 2889 h 14820"/>
                  <a:gd name="connsiteX1" fmla="*/ 13187 w 16327"/>
                  <a:gd name="connsiteY1" fmla="*/ 1256 h 14820"/>
                  <a:gd name="connsiteX2" fmla="*/ 16327 w 16327"/>
                  <a:gd name="connsiteY2" fmla="*/ 0 h 14820"/>
                  <a:gd name="connsiteX3" fmla="*/ 13313 w 16327"/>
                  <a:gd name="connsiteY3" fmla="*/ 3014 h 14820"/>
                  <a:gd name="connsiteX4" fmla="*/ 8791 w 16327"/>
                  <a:gd name="connsiteY4" fmla="*/ 5526 h 14820"/>
                  <a:gd name="connsiteX5" fmla="*/ 4898 w 16327"/>
                  <a:gd name="connsiteY5" fmla="*/ 9043 h 14820"/>
                  <a:gd name="connsiteX6" fmla="*/ 2637 w 16327"/>
                  <a:gd name="connsiteY6" fmla="*/ 11806 h 14820"/>
                  <a:gd name="connsiteX7" fmla="*/ 0 w 16327"/>
                  <a:gd name="connsiteY7" fmla="*/ 14820 h 14820"/>
                  <a:gd name="connsiteX8" fmla="*/ 2637 w 16327"/>
                  <a:gd name="connsiteY8" fmla="*/ 10048 h 14820"/>
                  <a:gd name="connsiteX9" fmla="*/ 6908 w 16327"/>
                  <a:gd name="connsiteY9" fmla="*/ 4898 h 14820"/>
                  <a:gd name="connsiteX10" fmla="*/ 9922 w 16327"/>
                  <a:gd name="connsiteY10" fmla="*/ 2889 h 14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27" h="14820">
                    <a:moveTo>
                      <a:pt x="9922" y="2889"/>
                    </a:moveTo>
                    <a:cubicBezTo>
                      <a:pt x="10927" y="2261"/>
                      <a:pt x="12057" y="1758"/>
                      <a:pt x="13187" y="1256"/>
                    </a:cubicBezTo>
                    <a:cubicBezTo>
                      <a:pt x="14317" y="754"/>
                      <a:pt x="15071" y="0"/>
                      <a:pt x="16327" y="0"/>
                    </a:cubicBezTo>
                    <a:cubicBezTo>
                      <a:pt x="15699" y="1884"/>
                      <a:pt x="15071" y="2261"/>
                      <a:pt x="13313" y="3014"/>
                    </a:cubicBezTo>
                    <a:cubicBezTo>
                      <a:pt x="11680" y="3642"/>
                      <a:pt x="10047" y="4396"/>
                      <a:pt x="8791" y="5526"/>
                    </a:cubicBezTo>
                    <a:cubicBezTo>
                      <a:pt x="7410" y="6782"/>
                      <a:pt x="6154" y="7912"/>
                      <a:pt x="4898" y="9043"/>
                    </a:cubicBezTo>
                    <a:cubicBezTo>
                      <a:pt x="4019" y="9796"/>
                      <a:pt x="3266" y="10801"/>
                      <a:pt x="2637" y="11806"/>
                    </a:cubicBezTo>
                    <a:cubicBezTo>
                      <a:pt x="1758" y="13062"/>
                      <a:pt x="1507" y="13941"/>
                      <a:pt x="0" y="14820"/>
                    </a:cubicBezTo>
                    <a:cubicBezTo>
                      <a:pt x="1256" y="14067"/>
                      <a:pt x="1758" y="11178"/>
                      <a:pt x="2637" y="10048"/>
                    </a:cubicBezTo>
                    <a:cubicBezTo>
                      <a:pt x="3893" y="8164"/>
                      <a:pt x="5023" y="6405"/>
                      <a:pt x="6908" y="4898"/>
                    </a:cubicBezTo>
                    <a:cubicBezTo>
                      <a:pt x="7913" y="4145"/>
                      <a:pt x="8917" y="3517"/>
                      <a:pt x="9922" y="2889"/>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9048AE8E-B46F-4B1E-93AD-821573ED1336}"/>
                  </a:ext>
                </a:extLst>
              </p:cNvPr>
              <p:cNvSpPr/>
              <p:nvPr/>
            </p:nvSpPr>
            <p:spPr>
              <a:xfrm>
                <a:off x="11360681" y="2867130"/>
                <a:ext cx="38027" cy="38988"/>
              </a:xfrm>
              <a:custGeom>
                <a:avLst/>
                <a:gdLst>
                  <a:gd name="connsiteX0" fmla="*/ 27255 w 38027"/>
                  <a:gd name="connsiteY0" fmla="*/ 300 h 38988"/>
                  <a:gd name="connsiteX1" fmla="*/ 33157 w 38027"/>
                  <a:gd name="connsiteY1" fmla="*/ 551 h 38988"/>
                  <a:gd name="connsiteX2" fmla="*/ 33283 w 38027"/>
                  <a:gd name="connsiteY2" fmla="*/ 18134 h 38988"/>
                  <a:gd name="connsiteX3" fmla="*/ 27757 w 38027"/>
                  <a:gd name="connsiteY3" fmla="*/ 25795 h 38988"/>
                  <a:gd name="connsiteX4" fmla="*/ 25496 w 38027"/>
                  <a:gd name="connsiteY4" fmla="*/ 32703 h 38988"/>
                  <a:gd name="connsiteX5" fmla="*/ 13816 w 38027"/>
                  <a:gd name="connsiteY5" fmla="*/ 38983 h 38988"/>
                  <a:gd name="connsiteX6" fmla="*/ 4522 w 38027"/>
                  <a:gd name="connsiteY6" fmla="*/ 36722 h 38988"/>
                  <a:gd name="connsiteX7" fmla="*/ 126 w 38027"/>
                  <a:gd name="connsiteY7" fmla="*/ 31698 h 38988"/>
                  <a:gd name="connsiteX8" fmla="*/ 0 w 38027"/>
                  <a:gd name="connsiteY8" fmla="*/ 29940 h 38988"/>
                  <a:gd name="connsiteX9" fmla="*/ 629 w 38027"/>
                  <a:gd name="connsiteY9" fmla="*/ 20897 h 38988"/>
                  <a:gd name="connsiteX10" fmla="*/ 9043 w 38027"/>
                  <a:gd name="connsiteY10" fmla="*/ 16376 h 38988"/>
                  <a:gd name="connsiteX11" fmla="*/ 15197 w 38027"/>
                  <a:gd name="connsiteY11" fmla="*/ 10598 h 38988"/>
                  <a:gd name="connsiteX12" fmla="*/ 19844 w 38027"/>
                  <a:gd name="connsiteY12" fmla="*/ 4444 h 38988"/>
                  <a:gd name="connsiteX13" fmla="*/ 26877 w 38027"/>
                  <a:gd name="connsiteY13" fmla="*/ 300 h 38988"/>
                  <a:gd name="connsiteX14" fmla="*/ 27255 w 38027"/>
                  <a:gd name="connsiteY14" fmla="*/ 300 h 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027" h="38988">
                    <a:moveTo>
                      <a:pt x="27255" y="300"/>
                    </a:moveTo>
                    <a:cubicBezTo>
                      <a:pt x="29138" y="-77"/>
                      <a:pt x="31274" y="-203"/>
                      <a:pt x="33157" y="551"/>
                    </a:cubicBezTo>
                    <a:cubicBezTo>
                      <a:pt x="40944" y="3565"/>
                      <a:pt x="38181" y="13864"/>
                      <a:pt x="33283" y="18134"/>
                    </a:cubicBezTo>
                    <a:cubicBezTo>
                      <a:pt x="30897" y="20269"/>
                      <a:pt x="29264" y="22907"/>
                      <a:pt x="27757" y="25795"/>
                    </a:cubicBezTo>
                    <a:cubicBezTo>
                      <a:pt x="26627" y="28056"/>
                      <a:pt x="26627" y="30442"/>
                      <a:pt x="25496" y="32703"/>
                    </a:cubicBezTo>
                    <a:cubicBezTo>
                      <a:pt x="23236" y="37099"/>
                      <a:pt x="18589" y="39109"/>
                      <a:pt x="13816" y="38983"/>
                    </a:cubicBezTo>
                    <a:cubicBezTo>
                      <a:pt x="10676" y="38983"/>
                      <a:pt x="7410" y="38104"/>
                      <a:pt x="4522" y="36722"/>
                    </a:cubicBezTo>
                    <a:cubicBezTo>
                      <a:pt x="2386" y="35592"/>
                      <a:pt x="879" y="34085"/>
                      <a:pt x="126" y="31698"/>
                    </a:cubicBezTo>
                    <a:cubicBezTo>
                      <a:pt x="0" y="31070"/>
                      <a:pt x="0" y="30442"/>
                      <a:pt x="0" y="29940"/>
                    </a:cubicBezTo>
                    <a:cubicBezTo>
                      <a:pt x="0" y="26926"/>
                      <a:pt x="251" y="23911"/>
                      <a:pt x="629" y="20897"/>
                    </a:cubicBezTo>
                    <a:cubicBezTo>
                      <a:pt x="1131" y="16878"/>
                      <a:pt x="6783" y="18888"/>
                      <a:pt x="9043" y="16376"/>
                    </a:cubicBezTo>
                    <a:cubicBezTo>
                      <a:pt x="11052" y="14366"/>
                      <a:pt x="12937" y="12231"/>
                      <a:pt x="15197" y="10598"/>
                    </a:cubicBezTo>
                    <a:cubicBezTo>
                      <a:pt x="17207" y="9217"/>
                      <a:pt x="18211" y="6328"/>
                      <a:pt x="19844" y="4444"/>
                    </a:cubicBezTo>
                    <a:cubicBezTo>
                      <a:pt x="21728" y="2309"/>
                      <a:pt x="24240" y="928"/>
                      <a:pt x="26877" y="300"/>
                    </a:cubicBezTo>
                    <a:cubicBezTo>
                      <a:pt x="27129" y="300"/>
                      <a:pt x="27129" y="300"/>
                      <a:pt x="27255" y="30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F25461E3-5798-4B2E-8E3A-08C02532596C}"/>
                  </a:ext>
                </a:extLst>
              </p:cNvPr>
              <p:cNvSpPr/>
              <p:nvPr/>
            </p:nvSpPr>
            <p:spPr>
              <a:xfrm>
                <a:off x="11358304" y="2710059"/>
                <a:ext cx="39479" cy="187255"/>
              </a:xfrm>
              <a:custGeom>
                <a:avLst/>
                <a:gdLst>
                  <a:gd name="connsiteX0" fmla="*/ 6899 w 39479"/>
                  <a:gd name="connsiteY0" fmla="*/ 14193 h 187255"/>
                  <a:gd name="connsiteX1" fmla="*/ 9787 w 39479"/>
                  <a:gd name="connsiteY1" fmla="*/ 17584 h 187255"/>
                  <a:gd name="connsiteX2" fmla="*/ 33399 w 39479"/>
                  <a:gd name="connsiteY2" fmla="*/ 44713 h 187255"/>
                  <a:gd name="connsiteX3" fmla="*/ 37920 w 39479"/>
                  <a:gd name="connsiteY3" fmla="*/ 61793 h 187255"/>
                  <a:gd name="connsiteX4" fmla="*/ 39427 w 39479"/>
                  <a:gd name="connsiteY4" fmla="*/ 82391 h 187255"/>
                  <a:gd name="connsiteX5" fmla="*/ 39302 w 39479"/>
                  <a:gd name="connsiteY5" fmla="*/ 94323 h 187255"/>
                  <a:gd name="connsiteX6" fmla="*/ 36539 w 39479"/>
                  <a:gd name="connsiteY6" fmla="*/ 140793 h 187255"/>
                  <a:gd name="connsiteX7" fmla="*/ 29882 w 39479"/>
                  <a:gd name="connsiteY7" fmla="*/ 181862 h 187255"/>
                  <a:gd name="connsiteX8" fmla="*/ 28124 w 39479"/>
                  <a:gd name="connsiteY8" fmla="*/ 185881 h 187255"/>
                  <a:gd name="connsiteX9" fmla="*/ 23602 w 39479"/>
                  <a:gd name="connsiteY9" fmla="*/ 186886 h 187255"/>
                  <a:gd name="connsiteX10" fmla="*/ 8908 w 39479"/>
                  <a:gd name="connsiteY10" fmla="*/ 184751 h 187255"/>
                  <a:gd name="connsiteX11" fmla="*/ 493 w 39479"/>
                  <a:gd name="connsiteY11" fmla="*/ 179727 h 187255"/>
                  <a:gd name="connsiteX12" fmla="*/ 745 w 39479"/>
                  <a:gd name="connsiteY12" fmla="*/ 172568 h 187255"/>
                  <a:gd name="connsiteX13" fmla="*/ 3382 w 39479"/>
                  <a:gd name="connsiteY13" fmla="*/ 153854 h 187255"/>
                  <a:gd name="connsiteX14" fmla="*/ 9034 w 39479"/>
                  <a:gd name="connsiteY14" fmla="*/ 103240 h 187255"/>
                  <a:gd name="connsiteX15" fmla="*/ 7149 w 39479"/>
                  <a:gd name="connsiteY15" fmla="*/ 93318 h 187255"/>
                  <a:gd name="connsiteX16" fmla="*/ 4512 w 39479"/>
                  <a:gd name="connsiteY16" fmla="*/ 77870 h 187255"/>
                  <a:gd name="connsiteX17" fmla="*/ 3005 w 39479"/>
                  <a:gd name="connsiteY17" fmla="*/ 67571 h 187255"/>
                  <a:gd name="connsiteX18" fmla="*/ 116 w 39479"/>
                  <a:gd name="connsiteY18" fmla="*/ 43080 h 187255"/>
                  <a:gd name="connsiteX19" fmla="*/ 4763 w 39479"/>
                  <a:gd name="connsiteY19" fmla="*/ 1 h 187255"/>
                  <a:gd name="connsiteX20" fmla="*/ 6899 w 39479"/>
                  <a:gd name="connsiteY20" fmla="*/ 14193 h 187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479" h="187255">
                    <a:moveTo>
                      <a:pt x="6899" y="14193"/>
                    </a:moveTo>
                    <a:cubicBezTo>
                      <a:pt x="7903" y="15323"/>
                      <a:pt x="8782" y="16454"/>
                      <a:pt x="9787" y="17584"/>
                    </a:cubicBezTo>
                    <a:cubicBezTo>
                      <a:pt x="17574" y="26627"/>
                      <a:pt x="26114" y="35293"/>
                      <a:pt x="33399" y="44713"/>
                    </a:cubicBezTo>
                    <a:cubicBezTo>
                      <a:pt x="37041" y="49485"/>
                      <a:pt x="37795" y="56016"/>
                      <a:pt x="37920" y="61793"/>
                    </a:cubicBezTo>
                    <a:cubicBezTo>
                      <a:pt x="38172" y="68701"/>
                      <a:pt x="39302" y="75483"/>
                      <a:pt x="39427" y="82391"/>
                    </a:cubicBezTo>
                    <a:cubicBezTo>
                      <a:pt x="39553" y="86410"/>
                      <a:pt x="39427" y="90303"/>
                      <a:pt x="39302" y="94323"/>
                    </a:cubicBezTo>
                    <a:cubicBezTo>
                      <a:pt x="39051" y="103616"/>
                      <a:pt x="37544" y="131624"/>
                      <a:pt x="36539" y="140793"/>
                    </a:cubicBezTo>
                    <a:cubicBezTo>
                      <a:pt x="35158" y="154608"/>
                      <a:pt x="32897" y="168298"/>
                      <a:pt x="29882" y="181862"/>
                    </a:cubicBezTo>
                    <a:cubicBezTo>
                      <a:pt x="29506" y="183620"/>
                      <a:pt x="29631" y="185002"/>
                      <a:pt x="28124" y="185881"/>
                    </a:cubicBezTo>
                    <a:cubicBezTo>
                      <a:pt x="26868" y="186509"/>
                      <a:pt x="24984" y="186635"/>
                      <a:pt x="23602" y="186886"/>
                    </a:cubicBezTo>
                    <a:cubicBezTo>
                      <a:pt x="18705" y="187639"/>
                      <a:pt x="13304" y="187388"/>
                      <a:pt x="8908" y="184751"/>
                    </a:cubicBezTo>
                    <a:cubicBezTo>
                      <a:pt x="6145" y="183118"/>
                      <a:pt x="3382" y="181108"/>
                      <a:pt x="493" y="179727"/>
                    </a:cubicBezTo>
                    <a:cubicBezTo>
                      <a:pt x="745" y="177341"/>
                      <a:pt x="493" y="174954"/>
                      <a:pt x="745" y="172568"/>
                    </a:cubicBezTo>
                    <a:cubicBezTo>
                      <a:pt x="1498" y="166414"/>
                      <a:pt x="2252" y="160009"/>
                      <a:pt x="3382" y="153854"/>
                    </a:cubicBezTo>
                    <a:cubicBezTo>
                      <a:pt x="5392" y="143430"/>
                      <a:pt x="10289" y="114041"/>
                      <a:pt x="9034" y="103240"/>
                    </a:cubicBezTo>
                    <a:cubicBezTo>
                      <a:pt x="8657" y="99849"/>
                      <a:pt x="7903" y="96583"/>
                      <a:pt x="7149" y="93318"/>
                    </a:cubicBezTo>
                    <a:cubicBezTo>
                      <a:pt x="6145" y="88168"/>
                      <a:pt x="5392" y="83019"/>
                      <a:pt x="4512" y="77870"/>
                    </a:cubicBezTo>
                    <a:cubicBezTo>
                      <a:pt x="4010" y="74479"/>
                      <a:pt x="3507" y="70962"/>
                      <a:pt x="3005" y="67571"/>
                    </a:cubicBezTo>
                    <a:cubicBezTo>
                      <a:pt x="2502" y="64431"/>
                      <a:pt x="-637" y="57523"/>
                      <a:pt x="116" y="43080"/>
                    </a:cubicBezTo>
                    <a:cubicBezTo>
                      <a:pt x="619" y="32279"/>
                      <a:pt x="2502" y="10425"/>
                      <a:pt x="4763" y="1"/>
                    </a:cubicBezTo>
                    <a:cubicBezTo>
                      <a:pt x="5015" y="-125"/>
                      <a:pt x="6899" y="14319"/>
                      <a:pt x="6899" y="14193"/>
                    </a:cubicBezTo>
                    <a:close/>
                  </a:path>
                </a:pathLst>
              </a:custGeom>
              <a:solidFill>
                <a:srgbClr val="141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1741B52C-3EE0-4687-81BE-5EF68FF586FA}"/>
                  </a:ext>
                </a:extLst>
              </p:cNvPr>
              <p:cNvSpPr/>
              <p:nvPr/>
            </p:nvSpPr>
            <p:spPr>
              <a:xfrm>
                <a:off x="11358916" y="2686197"/>
                <a:ext cx="37434" cy="211000"/>
              </a:xfrm>
              <a:custGeom>
                <a:avLst/>
                <a:gdLst>
                  <a:gd name="connsiteX0" fmla="*/ 7291 w 37434"/>
                  <a:gd name="connsiteY0" fmla="*/ 0 h 211000"/>
                  <a:gd name="connsiteX1" fmla="*/ 9553 w 37434"/>
                  <a:gd name="connsiteY1" fmla="*/ 20974 h 211000"/>
                  <a:gd name="connsiteX2" fmla="*/ 20102 w 37434"/>
                  <a:gd name="connsiteY2" fmla="*/ 48480 h 211000"/>
                  <a:gd name="connsiteX3" fmla="*/ 26256 w 37434"/>
                  <a:gd name="connsiteY3" fmla="*/ 50615 h 211000"/>
                  <a:gd name="connsiteX4" fmla="*/ 28015 w 37434"/>
                  <a:gd name="connsiteY4" fmla="*/ 53503 h 211000"/>
                  <a:gd name="connsiteX5" fmla="*/ 37434 w 37434"/>
                  <a:gd name="connsiteY5" fmla="*/ 79250 h 211000"/>
                  <a:gd name="connsiteX6" fmla="*/ 34420 w 37434"/>
                  <a:gd name="connsiteY6" fmla="*/ 90679 h 211000"/>
                  <a:gd name="connsiteX7" fmla="*/ 33541 w 37434"/>
                  <a:gd name="connsiteY7" fmla="*/ 102485 h 211000"/>
                  <a:gd name="connsiteX8" fmla="*/ 33667 w 37434"/>
                  <a:gd name="connsiteY8" fmla="*/ 108639 h 211000"/>
                  <a:gd name="connsiteX9" fmla="*/ 35048 w 37434"/>
                  <a:gd name="connsiteY9" fmla="*/ 116677 h 211000"/>
                  <a:gd name="connsiteX10" fmla="*/ 34672 w 37434"/>
                  <a:gd name="connsiteY10" fmla="*/ 128107 h 211000"/>
                  <a:gd name="connsiteX11" fmla="*/ 33290 w 37434"/>
                  <a:gd name="connsiteY11" fmla="*/ 141169 h 211000"/>
                  <a:gd name="connsiteX12" fmla="*/ 31029 w 37434"/>
                  <a:gd name="connsiteY12" fmla="*/ 170055 h 211000"/>
                  <a:gd name="connsiteX13" fmla="*/ 23870 w 37434"/>
                  <a:gd name="connsiteY13" fmla="*/ 193165 h 211000"/>
                  <a:gd name="connsiteX14" fmla="*/ 20102 w 37434"/>
                  <a:gd name="connsiteY14" fmla="*/ 203087 h 211000"/>
                  <a:gd name="connsiteX15" fmla="*/ 16837 w 37434"/>
                  <a:gd name="connsiteY15" fmla="*/ 210999 h 211000"/>
                  <a:gd name="connsiteX16" fmla="*/ 8548 w 37434"/>
                  <a:gd name="connsiteY16" fmla="*/ 208613 h 211000"/>
                  <a:gd name="connsiteX17" fmla="*/ 7 w 37434"/>
                  <a:gd name="connsiteY17" fmla="*/ 202208 h 211000"/>
                  <a:gd name="connsiteX18" fmla="*/ 1891 w 37434"/>
                  <a:gd name="connsiteY18" fmla="*/ 198942 h 211000"/>
                  <a:gd name="connsiteX19" fmla="*/ 3147 w 37434"/>
                  <a:gd name="connsiteY19" fmla="*/ 191532 h 211000"/>
                  <a:gd name="connsiteX20" fmla="*/ 5408 w 37434"/>
                  <a:gd name="connsiteY20" fmla="*/ 175581 h 211000"/>
                  <a:gd name="connsiteX21" fmla="*/ 8548 w 37434"/>
                  <a:gd name="connsiteY21" fmla="*/ 162645 h 211000"/>
                  <a:gd name="connsiteX22" fmla="*/ 12064 w 37434"/>
                  <a:gd name="connsiteY22" fmla="*/ 138029 h 211000"/>
                  <a:gd name="connsiteX23" fmla="*/ 12315 w 37434"/>
                  <a:gd name="connsiteY23" fmla="*/ 131498 h 211000"/>
                  <a:gd name="connsiteX24" fmla="*/ 8673 w 37434"/>
                  <a:gd name="connsiteY24" fmla="*/ 102360 h 211000"/>
                  <a:gd name="connsiteX25" fmla="*/ 2519 w 37434"/>
                  <a:gd name="connsiteY25" fmla="*/ 73975 h 211000"/>
                  <a:gd name="connsiteX26" fmla="*/ 7291 w 37434"/>
                  <a:gd name="connsiteY26" fmla="*/ 0 h 21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434" h="211000">
                    <a:moveTo>
                      <a:pt x="7291" y="0"/>
                    </a:moveTo>
                    <a:cubicBezTo>
                      <a:pt x="8045" y="7033"/>
                      <a:pt x="8799" y="13941"/>
                      <a:pt x="9553" y="20974"/>
                    </a:cubicBezTo>
                    <a:cubicBezTo>
                      <a:pt x="10557" y="29766"/>
                      <a:pt x="9301" y="45340"/>
                      <a:pt x="20102" y="48480"/>
                    </a:cubicBezTo>
                    <a:cubicBezTo>
                      <a:pt x="22237" y="49108"/>
                      <a:pt x="24624" y="49108"/>
                      <a:pt x="26256" y="50615"/>
                    </a:cubicBezTo>
                    <a:cubicBezTo>
                      <a:pt x="27136" y="51368"/>
                      <a:pt x="27638" y="52373"/>
                      <a:pt x="28015" y="53503"/>
                    </a:cubicBezTo>
                    <a:cubicBezTo>
                      <a:pt x="31908" y="61918"/>
                      <a:pt x="34420" y="70584"/>
                      <a:pt x="37434" y="79250"/>
                    </a:cubicBezTo>
                    <a:cubicBezTo>
                      <a:pt x="37434" y="83269"/>
                      <a:pt x="35676" y="86912"/>
                      <a:pt x="34420" y="90679"/>
                    </a:cubicBezTo>
                    <a:cubicBezTo>
                      <a:pt x="33164" y="94447"/>
                      <a:pt x="33667" y="98592"/>
                      <a:pt x="33541" y="102485"/>
                    </a:cubicBezTo>
                    <a:cubicBezTo>
                      <a:pt x="33415" y="104495"/>
                      <a:pt x="33415" y="106630"/>
                      <a:pt x="33667" y="108639"/>
                    </a:cubicBezTo>
                    <a:cubicBezTo>
                      <a:pt x="33918" y="111403"/>
                      <a:pt x="34672" y="114040"/>
                      <a:pt x="35048" y="116677"/>
                    </a:cubicBezTo>
                    <a:cubicBezTo>
                      <a:pt x="35425" y="120445"/>
                      <a:pt x="35048" y="124339"/>
                      <a:pt x="34672" y="128107"/>
                    </a:cubicBezTo>
                    <a:cubicBezTo>
                      <a:pt x="34169" y="132503"/>
                      <a:pt x="33667" y="136773"/>
                      <a:pt x="33290" y="141169"/>
                    </a:cubicBezTo>
                    <a:cubicBezTo>
                      <a:pt x="32913" y="144560"/>
                      <a:pt x="31657" y="166664"/>
                      <a:pt x="31029" y="170055"/>
                    </a:cubicBezTo>
                    <a:cubicBezTo>
                      <a:pt x="29522" y="177968"/>
                      <a:pt x="26633" y="185629"/>
                      <a:pt x="23870" y="193165"/>
                    </a:cubicBezTo>
                    <a:cubicBezTo>
                      <a:pt x="22614" y="196430"/>
                      <a:pt x="21359" y="199821"/>
                      <a:pt x="20102" y="203087"/>
                    </a:cubicBezTo>
                    <a:cubicBezTo>
                      <a:pt x="19851" y="203715"/>
                      <a:pt x="17465" y="211125"/>
                      <a:pt x="16837" y="210999"/>
                    </a:cubicBezTo>
                    <a:cubicBezTo>
                      <a:pt x="14074" y="210748"/>
                      <a:pt x="11185" y="210120"/>
                      <a:pt x="8548" y="208613"/>
                    </a:cubicBezTo>
                    <a:cubicBezTo>
                      <a:pt x="6287" y="207231"/>
                      <a:pt x="258" y="205222"/>
                      <a:pt x="7" y="202208"/>
                    </a:cubicBezTo>
                    <a:cubicBezTo>
                      <a:pt x="-118" y="200826"/>
                      <a:pt x="1389" y="200072"/>
                      <a:pt x="1891" y="198942"/>
                    </a:cubicBezTo>
                    <a:cubicBezTo>
                      <a:pt x="2770" y="196681"/>
                      <a:pt x="2896" y="193918"/>
                      <a:pt x="3147" y="191532"/>
                    </a:cubicBezTo>
                    <a:cubicBezTo>
                      <a:pt x="3901" y="186257"/>
                      <a:pt x="4654" y="180982"/>
                      <a:pt x="5408" y="175581"/>
                    </a:cubicBezTo>
                    <a:cubicBezTo>
                      <a:pt x="6036" y="171186"/>
                      <a:pt x="6664" y="166664"/>
                      <a:pt x="8548" y="162645"/>
                    </a:cubicBezTo>
                    <a:cubicBezTo>
                      <a:pt x="9427" y="160636"/>
                      <a:pt x="11562" y="140164"/>
                      <a:pt x="12064" y="138029"/>
                    </a:cubicBezTo>
                    <a:cubicBezTo>
                      <a:pt x="12567" y="135893"/>
                      <a:pt x="12441" y="133633"/>
                      <a:pt x="12315" y="131498"/>
                    </a:cubicBezTo>
                    <a:cubicBezTo>
                      <a:pt x="11562" y="121701"/>
                      <a:pt x="10306" y="112031"/>
                      <a:pt x="8673" y="102360"/>
                    </a:cubicBezTo>
                    <a:cubicBezTo>
                      <a:pt x="7041" y="92815"/>
                      <a:pt x="3775" y="83395"/>
                      <a:pt x="2519" y="73975"/>
                    </a:cubicBezTo>
                    <a:cubicBezTo>
                      <a:pt x="887" y="62797"/>
                      <a:pt x="4905" y="11052"/>
                      <a:pt x="7291" y="0"/>
                    </a:cubicBezTo>
                    <a:close/>
                  </a:path>
                </a:pathLst>
              </a:custGeom>
              <a:solidFill>
                <a:srgbClr val="2122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FACABA4D-4DDF-4A09-937D-6DA2D3F2A4B2}"/>
                  </a:ext>
                </a:extLst>
              </p:cNvPr>
              <p:cNvSpPr/>
              <p:nvPr/>
            </p:nvSpPr>
            <p:spPr>
              <a:xfrm>
                <a:off x="11381872" y="2728917"/>
                <a:ext cx="60771" cy="198725"/>
              </a:xfrm>
              <a:custGeom>
                <a:avLst/>
                <a:gdLst>
                  <a:gd name="connsiteX0" fmla="*/ 412 w 60771"/>
                  <a:gd name="connsiteY0" fmla="*/ 13295 h 198725"/>
                  <a:gd name="connsiteX1" fmla="*/ 6566 w 60771"/>
                  <a:gd name="connsiteY1" fmla="*/ 46201 h 198725"/>
                  <a:gd name="connsiteX2" fmla="*/ 15734 w 60771"/>
                  <a:gd name="connsiteY2" fmla="*/ 60393 h 198725"/>
                  <a:gd name="connsiteX3" fmla="*/ 26158 w 60771"/>
                  <a:gd name="connsiteY3" fmla="*/ 91540 h 198725"/>
                  <a:gd name="connsiteX4" fmla="*/ 28293 w 60771"/>
                  <a:gd name="connsiteY4" fmla="*/ 105984 h 198725"/>
                  <a:gd name="connsiteX5" fmla="*/ 27917 w 60771"/>
                  <a:gd name="connsiteY5" fmla="*/ 147053 h 198725"/>
                  <a:gd name="connsiteX6" fmla="*/ 27289 w 60771"/>
                  <a:gd name="connsiteY6" fmla="*/ 169158 h 198725"/>
                  <a:gd name="connsiteX7" fmla="*/ 27665 w 60771"/>
                  <a:gd name="connsiteY7" fmla="*/ 191388 h 198725"/>
                  <a:gd name="connsiteX8" fmla="*/ 36206 w 60771"/>
                  <a:gd name="connsiteY8" fmla="*/ 197668 h 198725"/>
                  <a:gd name="connsiteX9" fmla="*/ 56427 w 60771"/>
                  <a:gd name="connsiteY9" fmla="*/ 194026 h 198725"/>
                  <a:gd name="connsiteX10" fmla="*/ 57683 w 60771"/>
                  <a:gd name="connsiteY10" fmla="*/ 183727 h 198725"/>
                  <a:gd name="connsiteX11" fmla="*/ 58688 w 60771"/>
                  <a:gd name="connsiteY11" fmla="*/ 167525 h 198725"/>
                  <a:gd name="connsiteX12" fmla="*/ 59692 w 60771"/>
                  <a:gd name="connsiteY12" fmla="*/ 128214 h 198725"/>
                  <a:gd name="connsiteX13" fmla="*/ 59818 w 60771"/>
                  <a:gd name="connsiteY13" fmla="*/ 60644 h 198725"/>
                  <a:gd name="connsiteX14" fmla="*/ 55674 w 60771"/>
                  <a:gd name="connsiteY14" fmla="*/ 29496 h 198725"/>
                  <a:gd name="connsiteX15" fmla="*/ 54543 w 60771"/>
                  <a:gd name="connsiteY15" fmla="*/ 20202 h 198725"/>
                  <a:gd name="connsiteX16" fmla="*/ 53162 w 60771"/>
                  <a:gd name="connsiteY16" fmla="*/ 4754 h 198725"/>
                  <a:gd name="connsiteX17" fmla="*/ 48263 w 60771"/>
                  <a:gd name="connsiteY17" fmla="*/ 233 h 198725"/>
                  <a:gd name="connsiteX18" fmla="*/ 41230 w 60771"/>
                  <a:gd name="connsiteY18" fmla="*/ 3373 h 198725"/>
                  <a:gd name="connsiteX19" fmla="*/ 33443 w 60771"/>
                  <a:gd name="connsiteY19" fmla="*/ 3749 h 198725"/>
                  <a:gd name="connsiteX20" fmla="*/ 8450 w 60771"/>
                  <a:gd name="connsiteY20" fmla="*/ 107 h 198725"/>
                  <a:gd name="connsiteX21" fmla="*/ 1667 w 60771"/>
                  <a:gd name="connsiteY21" fmla="*/ 1866 h 198725"/>
                  <a:gd name="connsiteX22" fmla="*/ 1417 w 60771"/>
                  <a:gd name="connsiteY22" fmla="*/ 6638 h 198725"/>
                  <a:gd name="connsiteX23" fmla="*/ 412 w 60771"/>
                  <a:gd name="connsiteY23" fmla="*/ 13295 h 19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771" h="198725">
                    <a:moveTo>
                      <a:pt x="412" y="13295"/>
                    </a:moveTo>
                    <a:cubicBezTo>
                      <a:pt x="-1096" y="24724"/>
                      <a:pt x="1667" y="35902"/>
                      <a:pt x="6566" y="46201"/>
                    </a:cubicBezTo>
                    <a:cubicBezTo>
                      <a:pt x="8952" y="51350"/>
                      <a:pt x="14102" y="54741"/>
                      <a:pt x="15734" y="60393"/>
                    </a:cubicBezTo>
                    <a:cubicBezTo>
                      <a:pt x="18874" y="70943"/>
                      <a:pt x="22265" y="81241"/>
                      <a:pt x="26158" y="91540"/>
                    </a:cubicBezTo>
                    <a:cubicBezTo>
                      <a:pt x="27791" y="95936"/>
                      <a:pt x="27289" y="101337"/>
                      <a:pt x="28293" y="105984"/>
                    </a:cubicBezTo>
                    <a:cubicBezTo>
                      <a:pt x="31057" y="119799"/>
                      <a:pt x="28670" y="133112"/>
                      <a:pt x="27917" y="147053"/>
                    </a:cubicBezTo>
                    <a:cubicBezTo>
                      <a:pt x="27540" y="154338"/>
                      <a:pt x="26786" y="161873"/>
                      <a:pt x="27289" y="169158"/>
                    </a:cubicBezTo>
                    <a:cubicBezTo>
                      <a:pt x="27791" y="176317"/>
                      <a:pt x="25153" y="184355"/>
                      <a:pt x="27665" y="191388"/>
                    </a:cubicBezTo>
                    <a:cubicBezTo>
                      <a:pt x="28922" y="195030"/>
                      <a:pt x="32815" y="196412"/>
                      <a:pt x="36206" y="197668"/>
                    </a:cubicBezTo>
                    <a:cubicBezTo>
                      <a:pt x="43114" y="200180"/>
                      <a:pt x="50524" y="197919"/>
                      <a:pt x="56427" y="194026"/>
                    </a:cubicBezTo>
                    <a:cubicBezTo>
                      <a:pt x="59316" y="192142"/>
                      <a:pt x="57306" y="186615"/>
                      <a:pt x="57683" y="183727"/>
                    </a:cubicBezTo>
                    <a:cubicBezTo>
                      <a:pt x="58436" y="178452"/>
                      <a:pt x="58562" y="173051"/>
                      <a:pt x="58688" y="167525"/>
                    </a:cubicBezTo>
                    <a:cubicBezTo>
                      <a:pt x="59064" y="154463"/>
                      <a:pt x="59064" y="141276"/>
                      <a:pt x="59692" y="128214"/>
                    </a:cubicBezTo>
                    <a:cubicBezTo>
                      <a:pt x="60321" y="111887"/>
                      <a:pt x="61702" y="76846"/>
                      <a:pt x="59818" y="60644"/>
                    </a:cubicBezTo>
                    <a:cubicBezTo>
                      <a:pt x="58562" y="50220"/>
                      <a:pt x="57181" y="39921"/>
                      <a:pt x="55674" y="29496"/>
                    </a:cubicBezTo>
                    <a:cubicBezTo>
                      <a:pt x="55171" y="26357"/>
                      <a:pt x="54920" y="23342"/>
                      <a:pt x="54543" y="20202"/>
                    </a:cubicBezTo>
                    <a:cubicBezTo>
                      <a:pt x="54041" y="15053"/>
                      <a:pt x="53664" y="9904"/>
                      <a:pt x="53162" y="4754"/>
                    </a:cubicBezTo>
                    <a:cubicBezTo>
                      <a:pt x="52784" y="986"/>
                      <a:pt x="52408" y="-646"/>
                      <a:pt x="48263" y="233"/>
                    </a:cubicBezTo>
                    <a:cubicBezTo>
                      <a:pt x="45751" y="861"/>
                      <a:pt x="43993" y="2870"/>
                      <a:pt x="41230" y="3373"/>
                    </a:cubicBezTo>
                    <a:cubicBezTo>
                      <a:pt x="38718" y="3875"/>
                      <a:pt x="36081" y="3875"/>
                      <a:pt x="33443" y="3749"/>
                    </a:cubicBezTo>
                    <a:cubicBezTo>
                      <a:pt x="25028" y="3373"/>
                      <a:pt x="16864" y="358"/>
                      <a:pt x="8450" y="107"/>
                    </a:cubicBezTo>
                    <a:cubicBezTo>
                      <a:pt x="6189" y="-18"/>
                      <a:pt x="3049" y="-395"/>
                      <a:pt x="1667" y="1866"/>
                    </a:cubicBezTo>
                    <a:cubicBezTo>
                      <a:pt x="914" y="3247"/>
                      <a:pt x="1417" y="5257"/>
                      <a:pt x="1417" y="6638"/>
                    </a:cubicBezTo>
                    <a:cubicBezTo>
                      <a:pt x="1291" y="8899"/>
                      <a:pt x="663" y="11034"/>
                      <a:pt x="412" y="13295"/>
                    </a:cubicBezTo>
                    <a:close/>
                  </a:path>
                </a:pathLst>
              </a:custGeom>
              <a:solidFill>
                <a:srgbClr val="2A2C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A39E6FED-0C38-4334-8C40-284B09D24939}"/>
                  </a:ext>
                </a:extLst>
              </p:cNvPr>
              <p:cNvSpPr/>
              <p:nvPr/>
            </p:nvSpPr>
            <p:spPr>
              <a:xfrm>
                <a:off x="11424657" y="2733567"/>
                <a:ext cx="17950" cy="189878"/>
              </a:xfrm>
              <a:custGeom>
                <a:avLst/>
                <a:gdLst>
                  <a:gd name="connsiteX0" fmla="*/ 4977 w 17950"/>
                  <a:gd name="connsiteY0" fmla="*/ 607 h 189878"/>
                  <a:gd name="connsiteX1" fmla="*/ 10126 w 17950"/>
                  <a:gd name="connsiteY1" fmla="*/ 3621 h 189878"/>
                  <a:gd name="connsiteX2" fmla="*/ 11633 w 17950"/>
                  <a:gd name="connsiteY2" fmla="*/ 15302 h 189878"/>
                  <a:gd name="connsiteX3" fmla="*/ 12763 w 17950"/>
                  <a:gd name="connsiteY3" fmla="*/ 24596 h 189878"/>
                  <a:gd name="connsiteX4" fmla="*/ 16907 w 17950"/>
                  <a:gd name="connsiteY4" fmla="*/ 55743 h 189878"/>
                  <a:gd name="connsiteX5" fmla="*/ 16782 w 17950"/>
                  <a:gd name="connsiteY5" fmla="*/ 123313 h 189878"/>
                  <a:gd name="connsiteX6" fmla="*/ 15777 w 17950"/>
                  <a:gd name="connsiteY6" fmla="*/ 162625 h 189878"/>
                  <a:gd name="connsiteX7" fmla="*/ 14773 w 17950"/>
                  <a:gd name="connsiteY7" fmla="*/ 178826 h 189878"/>
                  <a:gd name="connsiteX8" fmla="*/ 13517 w 17950"/>
                  <a:gd name="connsiteY8" fmla="*/ 189125 h 189878"/>
                  <a:gd name="connsiteX9" fmla="*/ 12260 w 17950"/>
                  <a:gd name="connsiteY9" fmla="*/ 189879 h 189878"/>
                  <a:gd name="connsiteX10" fmla="*/ 9749 w 17950"/>
                  <a:gd name="connsiteY10" fmla="*/ 150065 h 189878"/>
                  <a:gd name="connsiteX11" fmla="*/ 13643 w 17950"/>
                  <a:gd name="connsiteY11" fmla="*/ 81490 h 189878"/>
                  <a:gd name="connsiteX12" fmla="*/ 13140 w 17950"/>
                  <a:gd name="connsiteY12" fmla="*/ 62274 h 189878"/>
                  <a:gd name="connsiteX13" fmla="*/ 204 w 17950"/>
                  <a:gd name="connsiteY13" fmla="*/ 2491 h 189878"/>
                  <a:gd name="connsiteX14" fmla="*/ 4977 w 17950"/>
                  <a:gd name="connsiteY14" fmla="*/ 607 h 18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50" h="189878">
                    <a:moveTo>
                      <a:pt x="4977" y="607"/>
                    </a:moveTo>
                    <a:cubicBezTo>
                      <a:pt x="7237" y="1361"/>
                      <a:pt x="9498" y="2742"/>
                      <a:pt x="10126" y="3621"/>
                    </a:cubicBezTo>
                    <a:cubicBezTo>
                      <a:pt x="12260" y="6887"/>
                      <a:pt x="11256" y="11660"/>
                      <a:pt x="11633" y="15302"/>
                    </a:cubicBezTo>
                    <a:cubicBezTo>
                      <a:pt x="11884" y="18442"/>
                      <a:pt x="12260" y="21456"/>
                      <a:pt x="12763" y="24596"/>
                    </a:cubicBezTo>
                    <a:cubicBezTo>
                      <a:pt x="14270" y="34895"/>
                      <a:pt x="15652" y="45319"/>
                      <a:pt x="16907" y="55743"/>
                    </a:cubicBezTo>
                    <a:cubicBezTo>
                      <a:pt x="18917" y="71820"/>
                      <a:pt x="17536" y="106986"/>
                      <a:pt x="16782" y="123313"/>
                    </a:cubicBezTo>
                    <a:cubicBezTo>
                      <a:pt x="16280" y="136375"/>
                      <a:pt x="16154" y="149437"/>
                      <a:pt x="15777" y="162625"/>
                    </a:cubicBezTo>
                    <a:cubicBezTo>
                      <a:pt x="15652" y="168151"/>
                      <a:pt x="15400" y="173426"/>
                      <a:pt x="14773" y="178826"/>
                    </a:cubicBezTo>
                    <a:cubicBezTo>
                      <a:pt x="14396" y="181715"/>
                      <a:pt x="16405" y="187115"/>
                      <a:pt x="13517" y="189125"/>
                    </a:cubicBezTo>
                    <a:cubicBezTo>
                      <a:pt x="13140" y="189376"/>
                      <a:pt x="12638" y="189627"/>
                      <a:pt x="12260" y="189879"/>
                    </a:cubicBezTo>
                    <a:cubicBezTo>
                      <a:pt x="10251" y="176691"/>
                      <a:pt x="9749" y="163378"/>
                      <a:pt x="9749" y="150065"/>
                    </a:cubicBezTo>
                    <a:cubicBezTo>
                      <a:pt x="9623" y="133486"/>
                      <a:pt x="13391" y="98320"/>
                      <a:pt x="13643" y="81490"/>
                    </a:cubicBezTo>
                    <a:cubicBezTo>
                      <a:pt x="13768" y="75210"/>
                      <a:pt x="14270" y="68554"/>
                      <a:pt x="13140" y="62274"/>
                    </a:cubicBezTo>
                    <a:cubicBezTo>
                      <a:pt x="9623" y="42179"/>
                      <a:pt x="6609" y="21958"/>
                      <a:pt x="204" y="2491"/>
                    </a:cubicBezTo>
                    <a:cubicBezTo>
                      <a:pt x="-801" y="-398"/>
                      <a:pt x="2087" y="-398"/>
                      <a:pt x="4977" y="607"/>
                    </a:cubicBezTo>
                    <a:close/>
                  </a:path>
                </a:pathLst>
              </a:custGeom>
              <a:solidFill>
                <a:srgbClr val="2122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827F0C2D-7880-4B1D-8105-62986DC6DCBF}"/>
                  </a:ext>
                </a:extLst>
              </p:cNvPr>
              <p:cNvSpPr/>
              <p:nvPr/>
            </p:nvSpPr>
            <p:spPr>
              <a:xfrm>
                <a:off x="11392457" y="2777060"/>
                <a:ext cx="20375" cy="144249"/>
              </a:xfrm>
              <a:custGeom>
                <a:avLst/>
                <a:gdLst>
                  <a:gd name="connsiteX0" fmla="*/ 13439 w 20375"/>
                  <a:gd name="connsiteY0" fmla="*/ 43523 h 144249"/>
                  <a:gd name="connsiteX1" fmla="*/ 5149 w 20375"/>
                  <a:gd name="connsiteY1" fmla="*/ 12124 h 144249"/>
                  <a:gd name="connsiteX2" fmla="*/ 0 w 20375"/>
                  <a:gd name="connsiteY2" fmla="*/ 5216 h 144249"/>
                  <a:gd name="connsiteX3" fmla="*/ 754 w 20375"/>
                  <a:gd name="connsiteY3" fmla="*/ 946 h 144249"/>
                  <a:gd name="connsiteX4" fmla="*/ 1256 w 20375"/>
                  <a:gd name="connsiteY4" fmla="*/ 67 h 144249"/>
                  <a:gd name="connsiteX5" fmla="*/ 2638 w 20375"/>
                  <a:gd name="connsiteY5" fmla="*/ 820 h 144249"/>
                  <a:gd name="connsiteX6" fmla="*/ 9671 w 20375"/>
                  <a:gd name="connsiteY6" fmla="*/ 13505 h 144249"/>
                  <a:gd name="connsiteX7" fmla="*/ 19970 w 20375"/>
                  <a:gd name="connsiteY7" fmla="*/ 82959 h 144249"/>
                  <a:gd name="connsiteX8" fmla="*/ 18462 w 20375"/>
                  <a:gd name="connsiteY8" fmla="*/ 93384 h 144249"/>
                  <a:gd name="connsiteX9" fmla="*/ 18086 w 20375"/>
                  <a:gd name="connsiteY9" fmla="*/ 101799 h 144249"/>
                  <a:gd name="connsiteX10" fmla="*/ 17584 w 20375"/>
                  <a:gd name="connsiteY10" fmla="*/ 144250 h 144249"/>
                  <a:gd name="connsiteX11" fmla="*/ 16955 w 20375"/>
                  <a:gd name="connsiteY11" fmla="*/ 142994 h 144249"/>
                  <a:gd name="connsiteX12" fmla="*/ 15574 w 20375"/>
                  <a:gd name="connsiteY12" fmla="*/ 117749 h 144249"/>
                  <a:gd name="connsiteX13" fmla="*/ 15825 w 20375"/>
                  <a:gd name="connsiteY13" fmla="*/ 70400 h 144249"/>
                  <a:gd name="connsiteX14" fmla="*/ 13439 w 20375"/>
                  <a:gd name="connsiteY14" fmla="*/ 43523 h 144249"/>
                  <a:gd name="connsiteX15" fmla="*/ 13439 w 20375"/>
                  <a:gd name="connsiteY15" fmla="*/ 43523 h 14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375" h="144249">
                    <a:moveTo>
                      <a:pt x="13439" y="43523"/>
                    </a:moveTo>
                    <a:cubicBezTo>
                      <a:pt x="12057" y="32721"/>
                      <a:pt x="8164" y="22548"/>
                      <a:pt x="5149" y="12124"/>
                    </a:cubicBezTo>
                    <a:cubicBezTo>
                      <a:pt x="4019" y="8230"/>
                      <a:pt x="3266" y="6472"/>
                      <a:pt x="0" y="5216"/>
                    </a:cubicBezTo>
                    <a:cubicBezTo>
                      <a:pt x="126" y="3835"/>
                      <a:pt x="377" y="2327"/>
                      <a:pt x="754" y="946"/>
                    </a:cubicBezTo>
                    <a:cubicBezTo>
                      <a:pt x="879" y="569"/>
                      <a:pt x="1005" y="318"/>
                      <a:pt x="1256" y="67"/>
                    </a:cubicBezTo>
                    <a:cubicBezTo>
                      <a:pt x="1759" y="-184"/>
                      <a:pt x="2386" y="318"/>
                      <a:pt x="2638" y="820"/>
                    </a:cubicBezTo>
                    <a:cubicBezTo>
                      <a:pt x="5778" y="4839"/>
                      <a:pt x="7661" y="8733"/>
                      <a:pt x="9671" y="13505"/>
                    </a:cubicBezTo>
                    <a:cubicBezTo>
                      <a:pt x="16201" y="29707"/>
                      <a:pt x="21979" y="65502"/>
                      <a:pt x="19970" y="82959"/>
                    </a:cubicBezTo>
                    <a:cubicBezTo>
                      <a:pt x="19593" y="86476"/>
                      <a:pt x="18839" y="89867"/>
                      <a:pt x="18462" y="93384"/>
                    </a:cubicBezTo>
                    <a:cubicBezTo>
                      <a:pt x="18211" y="96147"/>
                      <a:pt x="18086" y="99035"/>
                      <a:pt x="18086" y="101799"/>
                    </a:cubicBezTo>
                    <a:cubicBezTo>
                      <a:pt x="17960" y="115991"/>
                      <a:pt x="17709" y="130057"/>
                      <a:pt x="17584" y="144250"/>
                    </a:cubicBezTo>
                    <a:cubicBezTo>
                      <a:pt x="17332" y="143873"/>
                      <a:pt x="17081" y="143370"/>
                      <a:pt x="16955" y="142994"/>
                    </a:cubicBezTo>
                    <a:cubicBezTo>
                      <a:pt x="14318" y="135584"/>
                      <a:pt x="15825" y="125536"/>
                      <a:pt x="15574" y="117749"/>
                    </a:cubicBezTo>
                    <a:cubicBezTo>
                      <a:pt x="15197" y="101924"/>
                      <a:pt x="16579" y="86099"/>
                      <a:pt x="15825" y="70400"/>
                    </a:cubicBezTo>
                    <a:cubicBezTo>
                      <a:pt x="15574" y="61483"/>
                      <a:pt x="14569" y="52565"/>
                      <a:pt x="13439" y="43523"/>
                    </a:cubicBezTo>
                    <a:cubicBezTo>
                      <a:pt x="13439" y="43648"/>
                      <a:pt x="13439" y="43523"/>
                      <a:pt x="13439" y="43523"/>
                    </a:cubicBezTo>
                    <a:close/>
                  </a:path>
                </a:pathLst>
              </a:custGeom>
              <a:solidFill>
                <a:srgbClr val="141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0B49FE7B-51D2-40D3-9AEB-6C6AA755971D}"/>
                  </a:ext>
                </a:extLst>
              </p:cNvPr>
              <p:cNvSpPr/>
              <p:nvPr/>
            </p:nvSpPr>
            <p:spPr>
              <a:xfrm>
                <a:off x="11352880" y="2574545"/>
                <a:ext cx="37745" cy="138893"/>
              </a:xfrm>
              <a:custGeom>
                <a:avLst/>
                <a:gdLst>
                  <a:gd name="connsiteX0" fmla="*/ 28273 w 37745"/>
                  <a:gd name="connsiteY0" fmla="*/ 1254 h 138893"/>
                  <a:gd name="connsiteX1" fmla="*/ 12950 w 37745"/>
                  <a:gd name="connsiteY1" fmla="*/ 3012 h 138893"/>
                  <a:gd name="connsiteX2" fmla="*/ 5666 w 37745"/>
                  <a:gd name="connsiteY2" fmla="*/ 15446 h 138893"/>
                  <a:gd name="connsiteX3" fmla="*/ 391 w 37745"/>
                  <a:gd name="connsiteY3" fmla="*/ 36169 h 138893"/>
                  <a:gd name="connsiteX4" fmla="*/ 11192 w 37745"/>
                  <a:gd name="connsiteY4" fmla="*/ 137776 h 138893"/>
                  <a:gd name="connsiteX5" fmla="*/ 37190 w 37745"/>
                  <a:gd name="connsiteY5" fmla="*/ 91306 h 138893"/>
                  <a:gd name="connsiteX6" fmla="*/ 25761 w 37745"/>
                  <a:gd name="connsiteY6" fmla="*/ 38556 h 138893"/>
                  <a:gd name="connsiteX7" fmla="*/ 28273 w 37745"/>
                  <a:gd name="connsiteY7" fmla="*/ 1254 h 138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45" h="138893">
                    <a:moveTo>
                      <a:pt x="28273" y="1254"/>
                    </a:moveTo>
                    <a:cubicBezTo>
                      <a:pt x="28273" y="1254"/>
                      <a:pt x="19482" y="-2514"/>
                      <a:pt x="12950" y="3012"/>
                    </a:cubicBezTo>
                    <a:cubicBezTo>
                      <a:pt x="8806" y="6529"/>
                      <a:pt x="7047" y="10297"/>
                      <a:pt x="5666" y="15446"/>
                    </a:cubicBezTo>
                    <a:cubicBezTo>
                      <a:pt x="3907" y="22354"/>
                      <a:pt x="1521" y="29011"/>
                      <a:pt x="391" y="36169"/>
                    </a:cubicBezTo>
                    <a:cubicBezTo>
                      <a:pt x="-2121" y="50990"/>
                      <a:pt x="8178" y="123081"/>
                      <a:pt x="11192" y="137776"/>
                    </a:cubicBezTo>
                    <a:cubicBezTo>
                      <a:pt x="13076" y="147195"/>
                      <a:pt x="35935" y="94069"/>
                      <a:pt x="37190" y="91306"/>
                    </a:cubicBezTo>
                    <a:cubicBezTo>
                      <a:pt x="41084" y="82514"/>
                      <a:pt x="23124" y="47850"/>
                      <a:pt x="25761" y="38556"/>
                    </a:cubicBezTo>
                    <a:cubicBezTo>
                      <a:pt x="27143" y="33532"/>
                      <a:pt x="37064" y="3766"/>
                      <a:pt x="28273" y="1254"/>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34A1B297-2182-472C-8FF6-0F37409E9359}"/>
                  </a:ext>
                </a:extLst>
              </p:cNvPr>
              <p:cNvSpPr/>
              <p:nvPr/>
            </p:nvSpPr>
            <p:spPr>
              <a:xfrm>
                <a:off x="11358923" y="2574545"/>
                <a:ext cx="25244" cy="13687"/>
              </a:xfrm>
              <a:custGeom>
                <a:avLst/>
                <a:gdLst>
                  <a:gd name="connsiteX0" fmla="*/ 0 w 25244"/>
                  <a:gd name="connsiteY0" fmla="*/ 13688 h 13687"/>
                  <a:gd name="connsiteX1" fmla="*/ 6908 w 25244"/>
                  <a:gd name="connsiteY1" fmla="*/ 3012 h 13687"/>
                  <a:gd name="connsiteX2" fmla="*/ 22230 w 25244"/>
                  <a:gd name="connsiteY2" fmla="*/ 1254 h 13687"/>
                  <a:gd name="connsiteX3" fmla="*/ 25245 w 25244"/>
                  <a:gd name="connsiteY3" fmla="*/ 8915 h 13687"/>
                  <a:gd name="connsiteX4" fmla="*/ 13187 w 25244"/>
                  <a:gd name="connsiteY4" fmla="*/ 7659 h 13687"/>
                  <a:gd name="connsiteX5" fmla="*/ 1883 w 25244"/>
                  <a:gd name="connsiteY5" fmla="*/ 12055 h 13687"/>
                  <a:gd name="connsiteX6" fmla="*/ 0 w 25244"/>
                  <a:gd name="connsiteY6" fmla="*/ 13688 h 1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44" h="13687">
                    <a:moveTo>
                      <a:pt x="0" y="13688"/>
                    </a:moveTo>
                    <a:cubicBezTo>
                      <a:pt x="1130" y="9167"/>
                      <a:pt x="2888" y="6404"/>
                      <a:pt x="6908" y="3012"/>
                    </a:cubicBezTo>
                    <a:cubicBezTo>
                      <a:pt x="13439" y="-2514"/>
                      <a:pt x="22230" y="1254"/>
                      <a:pt x="22230" y="1254"/>
                    </a:cubicBezTo>
                    <a:cubicBezTo>
                      <a:pt x="24240" y="1882"/>
                      <a:pt x="25119" y="4645"/>
                      <a:pt x="25245" y="8915"/>
                    </a:cubicBezTo>
                    <a:cubicBezTo>
                      <a:pt x="21351" y="9418"/>
                      <a:pt x="16829" y="7911"/>
                      <a:pt x="13187" y="7659"/>
                    </a:cubicBezTo>
                    <a:cubicBezTo>
                      <a:pt x="9042" y="7283"/>
                      <a:pt x="5149" y="9418"/>
                      <a:pt x="1883" y="12055"/>
                    </a:cubicBezTo>
                    <a:cubicBezTo>
                      <a:pt x="1130" y="12432"/>
                      <a:pt x="628" y="13060"/>
                      <a:pt x="0" y="13688"/>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DD9D36E3-FF78-453E-ACA2-AEA4036C9193}"/>
                  </a:ext>
                </a:extLst>
              </p:cNvPr>
              <p:cNvSpPr/>
              <p:nvPr/>
            </p:nvSpPr>
            <p:spPr>
              <a:xfrm>
                <a:off x="11355133" y="2571547"/>
                <a:ext cx="87957" cy="175057"/>
              </a:xfrm>
              <a:custGeom>
                <a:avLst/>
                <a:gdLst>
                  <a:gd name="connsiteX0" fmla="*/ 45110 w 87957"/>
                  <a:gd name="connsiteY0" fmla="*/ 735 h 175057"/>
                  <a:gd name="connsiteX1" fmla="*/ 34686 w 87957"/>
                  <a:gd name="connsiteY1" fmla="*/ 609 h 175057"/>
                  <a:gd name="connsiteX2" fmla="*/ 12330 w 87957"/>
                  <a:gd name="connsiteY2" fmla="*/ 10908 h 175057"/>
                  <a:gd name="connsiteX3" fmla="*/ 2910 w 87957"/>
                  <a:gd name="connsiteY3" fmla="*/ 72324 h 175057"/>
                  <a:gd name="connsiteX4" fmla="*/ 5297 w 87957"/>
                  <a:gd name="connsiteY4" fmla="*/ 141401 h 175057"/>
                  <a:gd name="connsiteX5" fmla="*/ 4669 w 87957"/>
                  <a:gd name="connsiteY5" fmla="*/ 158608 h 175057"/>
                  <a:gd name="connsiteX6" fmla="*/ 26397 w 87957"/>
                  <a:gd name="connsiteY6" fmla="*/ 170916 h 175057"/>
                  <a:gd name="connsiteX7" fmla="*/ 70983 w 87957"/>
                  <a:gd name="connsiteY7" fmla="*/ 173930 h 175057"/>
                  <a:gd name="connsiteX8" fmla="*/ 73369 w 87957"/>
                  <a:gd name="connsiteY8" fmla="*/ 98699 h 175057"/>
                  <a:gd name="connsiteX9" fmla="*/ 79272 w 87957"/>
                  <a:gd name="connsiteY9" fmla="*/ 76469 h 175057"/>
                  <a:gd name="connsiteX10" fmla="*/ 87059 w 87957"/>
                  <a:gd name="connsiteY10" fmla="*/ 51350 h 175057"/>
                  <a:gd name="connsiteX11" fmla="*/ 83794 w 87957"/>
                  <a:gd name="connsiteY11" fmla="*/ 33892 h 175057"/>
                  <a:gd name="connsiteX12" fmla="*/ 70355 w 87957"/>
                  <a:gd name="connsiteY12" fmla="*/ 24221 h 175057"/>
                  <a:gd name="connsiteX13" fmla="*/ 58675 w 87957"/>
                  <a:gd name="connsiteY13" fmla="*/ 11159 h 175057"/>
                  <a:gd name="connsiteX14" fmla="*/ 45110 w 87957"/>
                  <a:gd name="connsiteY14" fmla="*/ 735 h 175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957" h="175057">
                    <a:moveTo>
                      <a:pt x="45110" y="735"/>
                    </a:moveTo>
                    <a:cubicBezTo>
                      <a:pt x="41845" y="-521"/>
                      <a:pt x="37951" y="107"/>
                      <a:pt x="34686" y="609"/>
                    </a:cubicBezTo>
                    <a:cubicBezTo>
                      <a:pt x="25141" y="1991"/>
                      <a:pt x="15721" y="6512"/>
                      <a:pt x="12330" y="10908"/>
                    </a:cubicBezTo>
                    <a:cubicBezTo>
                      <a:pt x="6804" y="18067"/>
                      <a:pt x="-5630" y="34520"/>
                      <a:pt x="2910" y="72324"/>
                    </a:cubicBezTo>
                    <a:cubicBezTo>
                      <a:pt x="10446" y="106109"/>
                      <a:pt x="5297" y="141401"/>
                      <a:pt x="5297" y="141401"/>
                    </a:cubicBezTo>
                    <a:cubicBezTo>
                      <a:pt x="4669" y="144290"/>
                      <a:pt x="3538" y="155970"/>
                      <a:pt x="4669" y="158608"/>
                    </a:cubicBezTo>
                    <a:cubicBezTo>
                      <a:pt x="7809" y="165767"/>
                      <a:pt x="19238" y="169534"/>
                      <a:pt x="26397" y="170916"/>
                    </a:cubicBezTo>
                    <a:cubicBezTo>
                      <a:pt x="51641" y="176065"/>
                      <a:pt x="67466" y="175563"/>
                      <a:pt x="70983" y="173930"/>
                    </a:cubicBezTo>
                    <a:cubicBezTo>
                      <a:pt x="70983" y="173930"/>
                      <a:pt x="70731" y="112640"/>
                      <a:pt x="73369" y="98699"/>
                    </a:cubicBezTo>
                    <a:cubicBezTo>
                      <a:pt x="74750" y="91163"/>
                      <a:pt x="77011" y="83879"/>
                      <a:pt x="79272" y="76469"/>
                    </a:cubicBezTo>
                    <a:cubicBezTo>
                      <a:pt x="81784" y="68179"/>
                      <a:pt x="85175" y="59764"/>
                      <a:pt x="87059" y="51350"/>
                    </a:cubicBezTo>
                    <a:cubicBezTo>
                      <a:pt x="88441" y="45070"/>
                      <a:pt x="88817" y="38790"/>
                      <a:pt x="83794" y="33892"/>
                    </a:cubicBezTo>
                    <a:cubicBezTo>
                      <a:pt x="79774" y="29999"/>
                      <a:pt x="74625" y="27738"/>
                      <a:pt x="70355" y="24221"/>
                    </a:cubicBezTo>
                    <a:cubicBezTo>
                      <a:pt x="65834" y="20453"/>
                      <a:pt x="62694" y="15430"/>
                      <a:pt x="58675" y="11159"/>
                    </a:cubicBezTo>
                    <a:cubicBezTo>
                      <a:pt x="55409" y="7894"/>
                      <a:pt x="49631" y="2493"/>
                      <a:pt x="45110" y="735"/>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A78E36A9-B9DF-4637-94DC-3A185EC1618B}"/>
                  </a:ext>
                </a:extLst>
              </p:cNvPr>
              <p:cNvSpPr/>
              <p:nvPr/>
            </p:nvSpPr>
            <p:spPr>
              <a:xfrm>
                <a:off x="11419585" y="2608705"/>
                <a:ext cx="7033" cy="5400"/>
              </a:xfrm>
              <a:custGeom>
                <a:avLst/>
                <a:gdLst>
                  <a:gd name="connsiteX0" fmla="*/ 6531 w 7033"/>
                  <a:gd name="connsiteY0" fmla="*/ 4396 h 5400"/>
                  <a:gd name="connsiteX1" fmla="*/ 7033 w 7033"/>
                  <a:gd name="connsiteY1" fmla="*/ 5401 h 5400"/>
                  <a:gd name="connsiteX2" fmla="*/ 0 w 7033"/>
                  <a:gd name="connsiteY2" fmla="*/ 0 h 5400"/>
                  <a:gd name="connsiteX3" fmla="*/ 3768 w 7033"/>
                  <a:gd name="connsiteY3" fmla="*/ 1507 h 5400"/>
                  <a:gd name="connsiteX4" fmla="*/ 6531 w 7033"/>
                  <a:gd name="connsiteY4" fmla="*/ 4396 h 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3" h="5400">
                    <a:moveTo>
                      <a:pt x="6531" y="4396"/>
                    </a:moveTo>
                    <a:cubicBezTo>
                      <a:pt x="6657" y="4647"/>
                      <a:pt x="6908" y="5024"/>
                      <a:pt x="7033" y="5401"/>
                    </a:cubicBezTo>
                    <a:lnTo>
                      <a:pt x="0" y="0"/>
                    </a:lnTo>
                    <a:cubicBezTo>
                      <a:pt x="1382" y="126"/>
                      <a:pt x="2638" y="754"/>
                      <a:pt x="3768" y="1507"/>
                    </a:cubicBezTo>
                    <a:cubicBezTo>
                      <a:pt x="4648" y="2386"/>
                      <a:pt x="5526" y="3391"/>
                      <a:pt x="6531" y="4396"/>
                    </a:cubicBez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9E4D0954-B163-4137-B02A-C6D879124C95}"/>
                  </a:ext>
                </a:extLst>
              </p:cNvPr>
              <p:cNvSpPr/>
              <p:nvPr/>
            </p:nvSpPr>
            <p:spPr>
              <a:xfrm>
                <a:off x="11368593" y="2571547"/>
                <a:ext cx="74464" cy="175249"/>
              </a:xfrm>
              <a:custGeom>
                <a:avLst/>
                <a:gdLst>
                  <a:gd name="connsiteX0" fmla="*/ 21101 w 74464"/>
                  <a:gd name="connsiteY0" fmla="*/ 609 h 175249"/>
                  <a:gd name="connsiteX1" fmla="*/ 31524 w 74464"/>
                  <a:gd name="connsiteY1" fmla="*/ 735 h 175249"/>
                  <a:gd name="connsiteX2" fmla="*/ 45215 w 74464"/>
                  <a:gd name="connsiteY2" fmla="*/ 11411 h 175249"/>
                  <a:gd name="connsiteX3" fmla="*/ 56895 w 74464"/>
                  <a:gd name="connsiteY3" fmla="*/ 24472 h 175249"/>
                  <a:gd name="connsiteX4" fmla="*/ 70334 w 74464"/>
                  <a:gd name="connsiteY4" fmla="*/ 34143 h 175249"/>
                  <a:gd name="connsiteX5" fmla="*/ 73599 w 74464"/>
                  <a:gd name="connsiteY5" fmla="*/ 51601 h 175249"/>
                  <a:gd name="connsiteX6" fmla="*/ 65812 w 74464"/>
                  <a:gd name="connsiteY6" fmla="*/ 76720 h 175249"/>
                  <a:gd name="connsiteX7" fmla="*/ 65812 w 74464"/>
                  <a:gd name="connsiteY7" fmla="*/ 104727 h 175249"/>
                  <a:gd name="connsiteX8" fmla="*/ 69580 w 74464"/>
                  <a:gd name="connsiteY8" fmla="*/ 168278 h 175249"/>
                  <a:gd name="connsiteX9" fmla="*/ 49987 w 74464"/>
                  <a:gd name="connsiteY9" fmla="*/ 175186 h 175249"/>
                  <a:gd name="connsiteX10" fmla="*/ 51745 w 74464"/>
                  <a:gd name="connsiteY10" fmla="*/ 116031 h 175249"/>
                  <a:gd name="connsiteX11" fmla="*/ 52122 w 74464"/>
                  <a:gd name="connsiteY11" fmla="*/ 77976 h 175249"/>
                  <a:gd name="connsiteX12" fmla="*/ 55136 w 74464"/>
                  <a:gd name="connsiteY12" fmla="*/ 58634 h 175249"/>
                  <a:gd name="connsiteX13" fmla="*/ 58528 w 74464"/>
                  <a:gd name="connsiteY13" fmla="*/ 44944 h 175249"/>
                  <a:gd name="connsiteX14" fmla="*/ 57774 w 74464"/>
                  <a:gd name="connsiteY14" fmla="*/ 42558 h 175249"/>
                  <a:gd name="connsiteX15" fmla="*/ 58904 w 74464"/>
                  <a:gd name="connsiteY15" fmla="*/ 43437 h 175249"/>
                  <a:gd name="connsiteX16" fmla="*/ 57271 w 74464"/>
                  <a:gd name="connsiteY16" fmla="*/ 41679 h 175249"/>
                  <a:gd name="connsiteX17" fmla="*/ 54508 w 74464"/>
                  <a:gd name="connsiteY17" fmla="*/ 38665 h 175249"/>
                  <a:gd name="connsiteX18" fmla="*/ 0 w 74464"/>
                  <a:gd name="connsiteY18" fmla="*/ 9652 h 175249"/>
                  <a:gd name="connsiteX19" fmla="*/ 21101 w 74464"/>
                  <a:gd name="connsiteY19" fmla="*/ 609 h 17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464" h="175249">
                    <a:moveTo>
                      <a:pt x="21101" y="609"/>
                    </a:moveTo>
                    <a:cubicBezTo>
                      <a:pt x="24491" y="107"/>
                      <a:pt x="28259" y="-521"/>
                      <a:pt x="31524" y="735"/>
                    </a:cubicBezTo>
                    <a:cubicBezTo>
                      <a:pt x="36046" y="2493"/>
                      <a:pt x="41823" y="7894"/>
                      <a:pt x="45215" y="11411"/>
                    </a:cubicBezTo>
                    <a:cubicBezTo>
                      <a:pt x="49234" y="15681"/>
                      <a:pt x="52374" y="20705"/>
                      <a:pt x="56895" y="24472"/>
                    </a:cubicBezTo>
                    <a:cubicBezTo>
                      <a:pt x="61165" y="28115"/>
                      <a:pt x="66314" y="30375"/>
                      <a:pt x="70334" y="34143"/>
                    </a:cubicBezTo>
                    <a:cubicBezTo>
                      <a:pt x="75232" y="38916"/>
                      <a:pt x="74981" y="45321"/>
                      <a:pt x="73599" y="51601"/>
                    </a:cubicBezTo>
                    <a:cubicBezTo>
                      <a:pt x="71715" y="60016"/>
                      <a:pt x="68449" y="68431"/>
                      <a:pt x="65812" y="76720"/>
                    </a:cubicBezTo>
                    <a:cubicBezTo>
                      <a:pt x="63551" y="84004"/>
                      <a:pt x="67319" y="97192"/>
                      <a:pt x="65812" y="104727"/>
                    </a:cubicBezTo>
                    <a:cubicBezTo>
                      <a:pt x="63175" y="118668"/>
                      <a:pt x="69706" y="167902"/>
                      <a:pt x="69580" y="168278"/>
                    </a:cubicBezTo>
                    <a:cubicBezTo>
                      <a:pt x="67947" y="171670"/>
                      <a:pt x="61040" y="175814"/>
                      <a:pt x="49987" y="175186"/>
                    </a:cubicBezTo>
                    <a:cubicBezTo>
                      <a:pt x="50238" y="171795"/>
                      <a:pt x="52624" y="122562"/>
                      <a:pt x="51745" y="116031"/>
                    </a:cubicBezTo>
                    <a:cubicBezTo>
                      <a:pt x="50238" y="103346"/>
                      <a:pt x="50615" y="90535"/>
                      <a:pt x="52122" y="77976"/>
                    </a:cubicBezTo>
                    <a:cubicBezTo>
                      <a:pt x="52876" y="71696"/>
                      <a:pt x="53253" y="64663"/>
                      <a:pt x="55136" y="58634"/>
                    </a:cubicBezTo>
                    <a:cubicBezTo>
                      <a:pt x="56518" y="54113"/>
                      <a:pt x="59155" y="49968"/>
                      <a:pt x="58528" y="44944"/>
                    </a:cubicBezTo>
                    <a:cubicBezTo>
                      <a:pt x="58402" y="44065"/>
                      <a:pt x="58150" y="43312"/>
                      <a:pt x="57774" y="42558"/>
                    </a:cubicBezTo>
                    <a:lnTo>
                      <a:pt x="58904" y="43437"/>
                    </a:lnTo>
                    <a:cubicBezTo>
                      <a:pt x="58402" y="42809"/>
                      <a:pt x="57900" y="42307"/>
                      <a:pt x="57271" y="41679"/>
                    </a:cubicBezTo>
                    <a:cubicBezTo>
                      <a:pt x="56518" y="40549"/>
                      <a:pt x="55639" y="39418"/>
                      <a:pt x="54508" y="38665"/>
                    </a:cubicBezTo>
                    <a:cubicBezTo>
                      <a:pt x="40065" y="24096"/>
                      <a:pt x="19970" y="15932"/>
                      <a:pt x="0" y="9652"/>
                    </a:cubicBezTo>
                    <a:cubicBezTo>
                      <a:pt x="4271" y="5633"/>
                      <a:pt x="12685" y="1865"/>
                      <a:pt x="21101" y="609"/>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CF82F7CE-93AA-44EB-8468-184E9E17145F}"/>
                  </a:ext>
                </a:extLst>
              </p:cNvPr>
              <p:cNvSpPr/>
              <p:nvPr/>
            </p:nvSpPr>
            <p:spPr>
              <a:xfrm>
                <a:off x="11381431" y="2571561"/>
                <a:ext cx="34304" cy="24798"/>
              </a:xfrm>
              <a:custGeom>
                <a:avLst/>
                <a:gdLst>
                  <a:gd name="connsiteX0" fmla="*/ 1480 w 34304"/>
                  <a:gd name="connsiteY0" fmla="*/ 18556 h 24798"/>
                  <a:gd name="connsiteX1" fmla="*/ 2862 w 34304"/>
                  <a:gd name="connsiteY1" fmla="*/ 19686 h 24798"/>
                  <a:gd name="connsiteX2" fmla="*/ 7886 w 34304"/>
                  <a:gd name="connsiteY2" fmla="*/ 22701 h 24798"/>
                  <a:gd name="connsiteX3" fmla="*/ 12533 w 34304"/>
                  <a:gd name="connsiteY3" fmla="*/ 23580 h 24798"/>
                  <a:gd name="connsiteX4" fmla="*/ 25846 w 34304"/>
                  <a:gd name="connsiteY4" fmla="*/ 23831 h 24798"/>
                  <a:gd name="connsiteX5" fmla="*/ 34260 w 34304"/>
                  <a:gd name="connsiteY5" fmla="*/ 17049 h 24798"/>
                  <a:gd name="connsiteX6" fmla="*/ 33256 w 34304"/>
                  <a:gd name="connsiteY6" fmla="*/ 14662 h 24798"/>
                  <a:gd name="connsiteX7" fmla="*/ 24339 w 34304"/>
                  <a:gd name="connsiteY7" fmla="*/ 2103 h 24798"/>
                  <a:gd name="connsiteX8" fmla="*/ 8137 w 34304"/>
                  <a:gd name="connsiteY8" fmla="*/ 470 h 24798"/>
                  <a:gd name="connsiteX9" fmla="*/ 3741 w 34304"/>
                  <a:gd name="connsiteY9" fmla="*/ 8131 h 24798"/>
                  <a:gd name="connsiteX10" fmla="*/ 99 w 34304"/>
                  <a:gd name="connsiteY10" fmla="*/ 14914 h 24798"/>
                  <a:gd name="connsiteX11" fmla="*/ 1480 w 34304"/>
                  <a:gd name="connsiteY11" fmla="*/ 18556 h 24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304" h="24798">
                    <a:moveTo>
                      <a:pt x="1480" y="18556"/>
                    </a:moveTo>
                    <a:cubicBezTo>
                      <a:pt x="1857" y="18933"/>
                      <a:pt x="2360" y="19309"/>
                      <a:pt x="2862" y="19686"/>
                    </a:cubicBezTo>
                    <a:cubicBezTo>
                      <a:pt x="4494" y="20817"/>
                      <a:pt x="6001" y="22073"/>
                      <a:pt x="7886" y="22701"/>
                    </a:cubicBezTo>
                    <a:cubicBezTo>
                      <a:pt x="9393" y="23203"/>
                      <a:pt x="11026" y="23454"/>
                      <a:pt x="12533" y="23580"/>
                    </a:cubicBezTo>
                    <a:cubicBezTo>
                      <a:pt x="16175" y="23956"/>
                      <a:pt x="22706" y="25966"/>
                      <a:pt x="25846" y="23831"/>
                    </a:cubicBezTo>
                    <a:cubicBezTo>
                      <a:pt x="28734" y="21696"/>
                      <a:pt x="31623" y="19435"/>
                      <a:pt x="34260" y="17049"/>
                    </a:cubicBezTo>
                    <a:cubicBezTo>
                      <a:pt x="34512" y="16798"/>
                      <a:pt x="33632" y="15039"/>
                      <a:pt x="33256" y="14662"/>
                    </a:cubicBezTo>
                    <a:cubicBezTo>
                      <a:pt x="28609" y="10895"/>
                      <a:pt x="29739" y="4740"/>
                      <a:pt x="24339" y="2103"/>
                    </a:cubicBezTo>
                    <a:cubicBezTo>
                      <a:pt x="19817" y="-158"/>
                      <a:pt x="13914" y="-409"/>
                      <a:pt x="8137" y="470"/>
                    </a:cubicBezTo>
                    <a:cubicBezTo>
                      <a:pt x="6504" y="2982"/>
                      <a:pt x="5123" y="5494"/>
                      <a:pt x="3741" y="8131"/>
                    </a:cubicBezTo>
                    <a:cubicBezTo>
                      <a:pt x="2611" y="10141"/>
                      <a:pt x="727" y="12779"/>
                      <a:pt x="99" y="14914"/>
                    </a:cubicBezTo>
                    <a:cubicBezTo>
                      <a:pt x="-278" y="16421"/>
                      <a:pt x="475" y="17551"/>
                      <a:pt x="1480" y="18556"/>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3CCD5573-C2F9-4DFE-8807-AD2606C5362E}"/>
                  </a:ext>
                </a:extLst>
              </p:cNvPr>
              <p:cNvSpPr/>
              <p:nvPr/>
            </p:nvSpPr>
            <p:spPr>
              <a:xfrm>
                <a:off x="11403197" y="2573036"/>
                <a:ext cx="14258" cy="21622"/>
              </a:xfrm>
              <a:custGeom>
                <a:avLst/>
                <a:gdLst>
                  <a:gd name="connsiteX0" fmla="*/ 814 w 14258"/>
                  <a:gd name="connsiteY0" fmla="*/ 11304 h 21622"/>
                  <a:gd name="connsiteX1" fmla="*/ 563 w 14258"/>
                  <a:gd name="connsiteY1" fmla="*/ 754 h 21622"/>
                  <a:gd name="connsiteX2" fmla="*/ 688 w 14258"/>
                  <a:gd name="connsiteY2" fmla="*/ 0 h 21622"/>
                  <a:gd name="connsiteX3" fmla="*/ 2824 w 14258"/>
                  <a:gd name="connsiteY3" fmla="*/ 754 h 21622"/>
                  <a:gd name="connsiteX4" fmla="*/ 12243 w 14258"/>
                  <a:gd name="connsiteY4" fmla="*/ 13815 h 21622"/>
                  <a:gd name="connsiteX5" fmla="*/ 14253 w 14258"/>
                  <a:gd name="connsiteY5" fmla="*/ 14067 h 21622"/>
                  <a:gd name="connsiteX6" fmla="*/ 8601 w 14258"/>
                  <a:gd name="connsiteY6" fmla="*/ 18965 h 21622"/>
                  <a:gd name="connsiteX7" fmla="*/ 1567 w 14258"/>
                  <a:gd name="connsiteY7" fmla="*/ 21351 h 21622"/>
                  <a:gd name="connsiteX8" fmla="*/ 814 w 14258"/>
                  <a:gd name="connsiteY8" fmla="*/ 11304 h 21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8" h="21622">
                    <a:moveTo>
                      <a:pt x="814" y="11304"/>
                    </a:moveTo>
                    <a:cubicBezTo>
                      <a:pt x="814" y="7787"/>
                      <a:pt x="312" y="4270"/>
                      <a:pt x="563" y="754"/>
                    </a:cubicBezTo>
                    <a:cubicBezTo>
                      <a:pt x="563" y="502"/>
                      <a:pt x="688" y="251"/>
                      <a:pt x="688" y="0"/>
                    </a:cubicBezTo>
                    <a:cubicBezTo>
                      <a:pt x="1442" y="251"/>
                      <a:pt x="2196" y="502"/>
                      <a:pt x="2824" y="754"/>
                    </a:cubicBezTo>
                    <a:cubicBezTo>
                      <a:pt x="8099" y="3391"/>
                      <a:pt x="7596" y="9922"/>
                      <a:pt x="12243" y="13815"/>
                    </a:cubicBezTo>
                    <a:cubicBezTo>
                      <a:pt x="12494" y="14067"/>
                      <a:pt x="14378" y="13941"/>
                      <a:pt x="14253" y="14067"/>
                    </a:cubicBezTo>
                    <a:cubicBezTo>
                      <a:pt x="12494" y="15825"/>
                      <a:pt x="10611" y="17458"/>
                      <a:pt x="8601" y="18965"/>
                    </a:cubicBezTo>
                    <a:cubicBezTo>
                      <a:pt x="6968" y="20346"/>
                      <a:pt x="3828" y="22356"/>
                      <a:pt x="1567" y="21351"/>
                    </a:cubicBezTo>
                    <a:cubicBezTo>
                      <a:pt x="-1447" y="19844"/>
                      <a:pt x="814" y="13815"/>
                      <a:pt x="814" y="11304"/>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FE85D1E8-D99D-4981-9398-6FD52C514E49}"/>
                  </a:ext>
                </a:extLst>
              </p:cNvPr>
              <p:cNvSpPr/>
              <p:nvPr/>
            </p:nvSpPr>
            <p:spPr>
              <a:xfrm>
                <a:off x="11379247" y="2562825"/>
                <a:ext cx="37575" cy="32991"/>
              </a:xfrm>
              <a:custGeom>
                <a:avLst/>
                <a:gdLst>
                  <a:gd name="connsiteX0" fmla="*/ 1028 w 37575"/>
                  <a:gd name="connsiteY0" fmla="*/ 12597 h 32991"/>
                  <a:gd name="connsiteX1" fmla="*/ 525 w 37575"/>
                  <a:gd name="connsiteY1" fmla="*/ 3178 h 32991"/>
                  <a:gd name="connsiteX2" fmla="*/ 37576 w 37575"/>
                  <a:gd name="connsiteY2" fmla="*/ 6820 h 32991"/>
                  <a:gd name="connsiteX3" fmla="*/ 37450 w 37575"/>
                  <a:gd name="connsiteY3" fmla="*/ 17621 h 32991"/>
                  <a:gd name="connsiteX4" fmla="*/ 35943 w 37575"/>
                  <a:gd name="connsiteY4" fmla="*/ 19003 h 32991"/>
                  <a:gd name="connsiteX5" fmla="*/ 31547 w 37575"/>
                  <a:gd name="connsiteY5" fmla="*/ 22394 h 32991"/>
                  <a:gd name="connsiteX6" fmla="*/ 28532 w 37575"/>
                  <a:gd name="connsiteY6" fmla="*/ 24278 h 32991"/>
                  <a:gd name="connsiteX7" fmla="*/ 25393 w 37575"/>
                  <a:gd name="connsiteY7" fmla="*/ 26036 h 32991"/>
                  <a:gd name="connsiteX8" fmla="*/ 23383 w 37575"/>
                  <a:gd name="connsiteY8" fmla="*/ 31939 h 32991"/>
                  <a:gd name="connsiteX9" fmla="*/ 13712 w 37575"/>
                  <a:gd name="connsiteY9" fmla="*/ 32441 h 32991"/>
                  <a:gd name="connsiteX10" fmla="*/ 3163 w 37575"/>
                  <a:gd name="connsiteY10" fmla="*/ 28548 h 32991"/>
                  <a:gd name="connsiteX11" fmla="*/ 399 w 37575"/>
                  <a:gd name="connsiteY11" fmla="*/ 23022 h 32991"/>
                  <a:gd name="connsiteX12" fmla="*/ 1028 w 37575"/>
                  <a:gd name="connsiteY12" fmla="*/ 12597 h 3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575" h="32991">
                    <a:moveTo>
                      <a:pt x="1028" y="12597"/>
                    </a:moveTo>
                    <a:cubicBezTo>
                      <a:pt x="902" y="9457"/>
                      <a:pt x="651" y="6317"/>
                      <a:pt x="525" y="3178"/>
                    </a:cubicBezTo>
                    <a:cubicBezTo>
                      <a:pt x="525" y="3178"/>
                      <a:pt x="35064" y="-5991"/>
                      <a:pt x="37576" y="6820"/>
                    </a:cubicBezTo>
                    <a:cubicBezTo>
                      <a:pt x="37576" y="6820"/>
                      <a:pt x="37450" y="17495"/>
                      <a:pt x="37450" y="17621"/>
                    </a:cubicBezTo>
                    <a:cubicBezTo>
                      <a:pt x="37450" y="17872"/>
                      <a:pt x="36194" y="18751"/>
                      <a:pt x="35943" y="19003"/>
                    </a:cubicBezTo>
                    <a:cubicBezTo>
                      <a:pt x="34562" y="20258"/>
                      <a:pt x="33054" y="21389"/>
                      <a:pt x="31547" y="22394"/>
                    </a:cubicBezTo>
                    <a:cubicBezTo>
                      <a:pt x="30542" y="23022"/>
                      <a:pt x="29537" y="23650"/>
                      <a:pt x="28532" y="24278"/>
                    </a:cubicBezTo>
                    <a:cubicBezTo>
                      <a:pt x="27528" y="24905"/>
                      <a:pt x="26147" y="25282"/>
                      <a:pt x="25393" y="26036"/>
                    </a:cubicBezTo>
                    <a:cubicBezTo>
                      <a:pt x="23635" y="27417"/>
                      <a:pt x="25393" y="30557"/>
                      <a:pt x="23383" y="31939"/>
                    </a:cubicBezTo>
                    <a:cubicBezTo>
                      <a:pt x="20997" y="33572"/>
                      <a:pt x="16224" y="32944"/>
                      <a:pt x="13712" y="32441"/>
                    </a:cubicBezTo>
                    <a:cubicBezTo>
                      <a:pt x="10070" y="31688"/>
                      <a:pt x="6553" y="30180"/>
                      <a:pt x="3163" y="28548"/>
                    </a:cubicBezTo>
                    <a:cubicBezTo>
                      <a:pt x="274" y="27292"/>
                      <a:pt x="-605" y="26036"/>
                      <a:pt x="399" y="23022"/>
                    </a:cubicBezTo>
                    <a:cubicBezTo>
                      <a:pt x="1530" y="19756"/>
                      <a:pt x="1279" y="15988"/>
                      <a:pt x="1028" y="12597"/>
                    </a:cubicBezTo>
                    <a:close/>
                  </a:path>
                </a:pathLst>
              </a:custGeom>
              <a:solidFill>
                <a:srgbClr val="DEB0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7BD5F705-3A81-40F0-98D2-42A49C9BA8AB}"/>
                  </a:ext>
                </a:extLst>
              </p:cNvPr>
              <p:cNvSpPr/>
              <p:nvPr/>
            </p:nvSpPr>
            <p:spPr>
              <a:xfrm>
                <a:off x="11403564" y="2563742"/>
                <a:ext cx="13509" cy="27882"/>
              </a:xfrm>
              <a:custGeom>
                <a:avLst/>
                <a:gdLst>
                  <a:gd name="connsiteX0" fmla="*/ 13258 w 13509"/>
                  <a:gd name="connsiteY0" fmla="*/ 5903 h 27882"/>
                  <a:gd name="connsiteX1" fmla="*/ 13509 w 13509"/>
                  <a:gd name="connsiteY1" fmla="*/ 23235 h 27882"/>
                  <a:gd name="connsiteX2" fmla="*/ 321 w 13509"/>
                  <a:gd name="connsiteY2" fmla="*/ 27882 h 27882"/>
                  <a:gd name="connsiteX3" fmla="*/ 321 w 13509"/>
                  <a:gd name="connsiteY3" fmla="*/ 20472 h 27882"/>
                  <a:gd name="connsiteX4" fmla="*/ 70 w 13509"/>
                  <a:gd name="connsiteY4" fmla="*/ 9922 h 27882"/>
                  <a:gd name="connsiteX5" fmla="*/ 2959 w 13509"/>
                  <a:gd name="connsiteY5" fmla="*/ 0 h 27882"/>
                  <a:gd name="connsiteX6" fmla="*/ 13258 w 13509"/>
                  <a:gd name="connsiteY6" fmla="*/ 5903 h 2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9" h="27882">
                    <a:moveTo>
                      <a:pt x="13258" y="5903"/>
                    </a:moveTo>
                    <a:lnTo>
                      <a:pt x="13509" y="23235"/>
                    </a:lnTo>
                    <a:cubicBezTo>
                      <a:pt x="13509" y="23235"/>
                      <a:pt x="8359" y="24114"/>
                      <a:pt x="321" y="27882"/>
                    </a:cubicBezTo>
                    <a:cubicBezTo>
                      <a:pt x="573" y="26249"/>
                      <a:pt x="321" y="22230"/>
                      <a:pt x="321" y="20472"/>
                    </a:cubicBezTo>
                    <a:cubicBezTo>
                      <a:pt x="321" y="16955"/>
                      <a:pt x="-181" y="13439"/>
                      <a:pt x="70" y="9922"/>
                    </a:cubicBezTo>
                    <a:cubicBezTo>
                      <a:pt x="321" y="6405"/>
                      <a:pt x="1829" y="3265"/>
                      <a:pt x="2959" y="0"/>
                    </a:cubicBezTo>
                    <a:cubicBezTo>
                      <a:pt x="8109" y="0"/>
                      <a:pt x="12379" y="1507"/>
                      <a:pt x="13258" y="5903"/>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20E4CC7B-EA94-4D3B-A8B7-F0ADF131383D}"/>
                  </a:ext>
                </a:extLst>
              </p:cNvPr>
              <p:cNvSpPr/>
              <p:nvPr/>
            </p:nvSpPr>
            <p:spPr>
              <a:xfrm>
                <a:off x="11369659" y="2521010"/>
                <a:ext cx="47441" cy="60491"/>
              </a:xfrm>
              <a:custGeom>
                <a:avLst/>
                <a:gdLst>
                  <a:gd name="connsiteX0" fmla="*/ 9485 w 47441"/>
                  <a:gd name="connsiteY0" fmla="*/ 51900 h 60491"/>
                  <a:gd name="connsiteX1" fmla="*/ 17900 w 47441"/>
                  <a:gd name="connsiteY1" fmla="*/ 58055 h 60491"/>
                  <a:gd name="connsiteX2" fmla="*/ 30083 w 47441"/>
                  <a:gd name="connsiteY2" fmla="*/ 60441 h 60491"/>
                  <a:gd name="connsiteX3" fmla="*/ 33976 w 47441"/>
                  <a:gd name="connsiteY3" fmla="*/ 52780 h 60491"/>
                  <a:gd name="connsiteX4" fmla="*/ 46912 w 47441"/>
                  <a:gd name="connsiteY4" fmla="*/ 18743 h 60491"/>
                  <a:gd name="connsiteX5" fmla="*/ 45782 w 47441"/>
                  <a:gd name="connsiteY5" fmla="*/ 16232 h 60491"/>
                  <a:gd name="connsiteX6" fmla="*/ 44526 w 47441"/>
                  <a:gd name="connsiteY6" fmla="*/ 14348 h 60491"/>
                  <a:gd name="connsiteX7" fmla="*/ 16770 w 47441"/>
                  <a:gd name="connsiteY7" fmla="*/ 30 h 60491"/>
                  <a:gd name="connsiteX8" fmla="*/ 4336 w 47441"/>
                  <a:gd name="connsiteY8" fmla="*/ 8445 h 60491"/>
                  <a:gd name="connsiteX9" fmla="*/ 819 w 47441"/>
                  <a:gd name="connsiteY9" fmla="*/ 15478 h 60491"/>
                  <a:gd name="connsiteX10" fmla="*/ 567 w 47441"/>
                  <a:gd name="connsiteY10" fmla="*/ 16483 h 60491"/>
                  <a:gd name="connsiteX11" fmla="*/ 1070 w 47441"/>
                  <a:gd name="connsiteY11" fmla="*/ 33940 h 60491"/>
                  <a:gd name="connsiteX12" fmla="*/ 6722 w 47441"/>
                  <a:gd name="connsiteY12" fmla="*/ 49514 h 60491"/>
                  <a:gd name="connsiteX13" fmla="*/ 9234 w 47441"/>
                  <a:gd name="connsiteY13" fmla="*/ 51775 h 60491"/>
                  <a:gd name="connsiteX14" fmla="*/ 9485 w 47441"/>
                  <a:gd name="connsiteY14" fmla="*/ 51900 h 6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441" h="60491">
                    <a:moveTo>
                      <a:pt x="9485" y="51900"/>
                    </a:moveTo>
                    <a:cubicBezTo>
                      <a:pt x="11997" y="54287"/>
                      <a:pt x="14760" y="56673"/>
                      <a:pt x="17900" y="58055"/>
                    </a:cubicBezTo>
                    <a:cubicBezTo>
                      <a:pt x="20663" y="59311"/>
                      <a:pt x="27069" y="60064"/>
                      <a:pt x="30083" y="60441"/>
                    </a:cubicBezTo>
                    <a:cubicBezTo>
                      <a:pt x="34604" y="61069"/>
                      <a:pt x="30208" y="55668"/>
                      <a:pt x="33976" y="52780"/>
                    </a:cubicBezTo>
                    <a:cubicBezTo>
                      <a:pt x="34227" y="52528"/>
                      <a:pt x="50555" y="30047"/>
                      <a:pt x="46912" y="18743"/>
                    </a:cubicBezTo>
                    <a:cubicBezTo>
                      <a:pt x="46661" y="17864"/>
                      <a:pt x="46284" y="16985"/>
                      <a:pt x="45782" y="16232"/>
                    </a:cubicBezTo>
                    <a:cubicBezTo>
                      <a:pt x="45405" y="15603"/>
                      <a:pt x="45029" y="14850"/>
                      <a:pt x="44526" y="14348"/>
                    </a:cubicBezTo>
                    <a:cubicBezTo>
                      <a:pt x="38372" y="5430"/>
                      <a:pt x="24054" y="-473"/>
                      <a:pt x="16770" y="30"/>
                    </a:cubicBezTo>
                    <a:cubicBezTo>
                      <a:pt x="11243" y="407"/>
                      <a:pt x="7224" y="4049"/>
                      <a:pt x="4336" y="8445"/>
                    </a:cubicBezTo>
                    <a:cubicBezTo>
                      <a:pt x="2828" y="10705"/>
                      <a:pt x="1698" y="13092"/>
                      <a:pt x="819" y="15478"/>
                    </a:cubicBezTo>
                    <a:cubicBezTo>
                      <a:pt x="693" y="15855"/>
                      <a:pt x="567" y="16106"/>
                      <a:pt x="567" y="16483"/>
                    </a:cubicBezTo>
                    <a:cubicBezTo>
                      <a:pt x="-688" y="22009"/>
                      <a:pt x="442" y="28414"/>
                      <a:pt x="1070" y="33940"/>
                    </a:cubicBezTo>
                    <a:cubicBezTo>
                      <a:pt x="1824" y="40095"/>
                      <a:pt x="1950" y="45118"/>
                      <a:pt x="6722" y="49514"/>
                    </a:cubicBezTo>
                    <a:cubicBezTo>
                      <a:pt x="7601" y="50268"/>
                      <a:pt x="8354" y="51021"/>
                      <a:pt x="9234" y="51775"/>
                    </a:cubicBezTo>
                    <a:cubicBezTo>
                      <a:pt x="9359" y="51775"/>
                      <a:pt x="9359" y="51775"/>
                      <a:pt x="9485" y="51900"/>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B1605172-D8D0-4F60-8000-AE06102A3910}"/>
                  </a:ext>
                </a:extLst>
              </p:cNvPr>
              <p:cNvSpPr/>
              <p:nvPr/>
            </p:nvSpPr>
            <p:spPr>
              <a:xfrm>
                <a:off x="11371483" y="2521142"/>
                <a:ext cx="58440" cy="57421"/>
              </a:xfrm>
              <a:custGeom>
                <a:avLst/>
                <a:gdLst>
                  <a:gd name="connsiteX0" fmla="*/ 126 w 58440"/>
                  <a:gd name="connsiteY0" fmla="*/ 11075 h 57421"/>
                  <a:gd name="connsiteX1" fmla="*/ 251 w 58440"/>
                  <a:gd name="connsiteY1" fmla="*/ 11201 h 57421"/>
                  <a:gd name="connsiteX2" fmla="*/ 4898 w 58440"/>
                  <a:gd name="connsiteY2" fmla="*/ 12708 h 57421"/>
                  <a:gd name="connsiteX3" fmla="*/ 18462 w 58440"/>
                  <a:gd name="connsiteY3" fmla="*/ 13587 h 57421"/>
                  <a:gd name="connsiteX4" fmla="*/ 24993 w 58440"/>
                  <a:gd name="connsiteY4" fmla="*/ 13712 h 57421"/>
                  <a:gd name="connsiteX5" fmla="*/ 28635 w 58440"/>
                  <a:gd name="connsiteY5" fmla="*/ 17480 h 57421"/>
                  <a:gd name="connsiteX6" fmla="*/ 29514 w 58440"/>
                  <a:gd name="connsiteY6" fmla="*/ 19867 h 57421"/>
                  <a:gd name="connsiteX7" fmla="*/ 27882 w 58440"/>
                  <a:gd name="connsiteY7" fmla="*/ 28407 h 57421"/>
                  <a:gd name="connsiteX8" fmla="*/ 31775 w 58440"/>
                  <a:gd name="connsiteY8" fmla="*/ 38203 h 57421"/>
                  <a:gd name="connsiteX9" fmla="*/ 33282 w 58440"/>
                  <a:gd name="connsiteY9" fmla="*/ 45111 h 57421"/>
                  <a:gd name="connsiteX10" fmla="*/ 32529 w 58440"/>
                  <a:gd name="connsiteY10" fmla="*/ 55661 h 57421"/>
                  <a:gd name="connsiteX11" fmla="*/ 41069 w 58440"/>
                  <a:gd name="connsiteY11" fmla="*/ 57419 h 57421"/>
                  <a:gd name="connsiteX12" fmla="*/ 50364 w 58440"/>
                  <a:gd name="connsiteY12" fmla="*/ 54028 h 57421"/>
                  <a:gd name="connsiteX13" fmla="*/ 53754 w 58440"/>
                  <a:gd name="connsiteY13" fmla="*/ 41092 h 57421"/>
                  <a:gd name="connsiteX14" fmla="*/ 58025 w 58440"/>
                  <a:gd name="connsiteY14" fmla="*/ 9945 h 57421"/>
                  <a:gd name="connsiteX15" fmla="*/ 57271 w 58440"/>
                  <a:gd name="connsiteY15" fmla="*/ 7558 h 57421"/>
                  <a:gd name="connsiteX16" fmla="*/ 54885 w 58440"/>
                  <a:gd name="connsiteY16" fmla="*/ 5926 h 57421"/>
                  <a:gd name="connsiteX17" fmla="*/ 41823 w 58440"/>
                  <a:gd name="connsiteY17" fmla="*/ 4921 h 57421"/>
                  <a:gd name="connsiteX18" fmla="*/ 30896 w 58440"/>
                  <a:gd name="connsiteY18" fmla="*/ 1279 h 57421"/>
                  <a:gd name="connsiteX19" fmla="*/ 21476 w 58440"/>
                  <a:gd name="connsiteY19" fmla="*/ 23 h 57421"/>
                  <a:gd name="connsiteX20" fmla="*/ 8917 w 58440"/>
                  <a:gd name="connsiteY20" fmla="*/ 1655 h 57421"/>
                  <a:gd name="connsiteX21" fmla="*/ 3516 w 58440"/>
                  <a:gd name="connsiteY21" fmla="*/ 3037 h 57421"/>
                  <a:gd name="connsiteX22" fmla="*/ 0 w 58440"/>
                  <a:gd name="connsiteY22" fmla="*/ 10070 h 57421"/>
                  <a:gd name="connsiteX23" fmla="*/ 126 w 58440"/>
                  <a:gd name="connsiteY23" fmla="*/ 11075 h 5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440" h="57421">
                    <a:moveTo>
                      <a:pt x="126" y="11075"/>
                    </a:moveTo>
                    <a:cubicBezTo>
                      <a:pt x="126" y="11201"/>
                      <a:pt x="251" y="11201"/>
                      <a:pt x="251" y="11201"/>
                    </a:cubicBezTo>
                    <a:cubicBezTo>
                      <a:pt x="1633" y="12080"/>
                      <a:pt x="3391" y="12331"/>
                      <a:pt x="4898" y="12708"/>
                    </a:cubicBezTo>
                    <a:cubicBezTo>
                      <a:pt x="9420" y="13336"/>
                      <a:pt x="13941" y="13964"/>
                      <a:pt x="18462" y="13587"/>
                    </a:cubicBezTo>
                    <a:cubicBezTo>
                      <a:pt x="20472" y="13461"/>
                      <a:pt x="23109" y="12582"/>
                      <a:pt x="24993" y="13712"/>
                    </a:cubicBezTo>
                    <a:cubicBezTo>
                      <a:pt x="26375" y="14592"/>
                      <a:pt x="27882" y="16099"/>
                      <a:pt x="28635" y="17480"/>
                    </a:cubicBezTo>
                    <a:cubicBezTo>
                      <a:pt x="29012" y="18234"/>
                      <a:pt x="29263" y="19113"/>
                      <a:pt x="29514" y="19867"/>
                    </a:cubicBezTo>
                    <a:cubicBezTo>
                      <a:pt x="30394" y="22755"/>
                      <a:pt x="28007" y="25267"/>
                      <a:pt x="27882" y="28407"/>
                    </a:cubicBezTo>
                    <a:cubicBezTo>
                      <a:pt x="27756" y="31547"/>
                      <a:pt x="31649" y="35064"/>
                      <a:pt x="31775" y="38203"/>
                    </a:cubicBezTo>
                    <a:cubicBezTo>
                      <a:pt x="31901" y="40715"/>
                      <a:pt x="32780" y="42725"/>
                      <a:pt x="33282" y="45111"/>
                    </a:cubicBezTo>
                    <a:cubicBezTo>
                      <a:pt x="34036" y="48502"/>
                      <a:pt x="33534" y="52019"/>
                      <a:pt x="32529" y="55661"/>
                    </a:cubicBezTo>
                    <a:cubicBezTo>
                      <a:pt x="33282" y="52647"/>
                      <a:pt x="39186" y="57545"/>
                      <a:pt x="41069" y="57419"/>
                    </a:cubicBezTo>
                    <a:cubicBezTo>
                      <a:pt x="44460" y="57294"/>
                      <a:pt x="47977" y="56540"/>
                      <a:pt x="50364" y="54028"/>
                    </a:cubicBezTo>
                    <a:cubicBezTo>
                      <a:pt x="52121" y="52270"/>
                      <a:pt x="53001" y="43353"/>
                      <a:pt x="53754" y="41092"/>
                    </a:cubicBezTo>
                    <a:cubicBezTo>
                      <a:pt x="57648" y="30165"/>
                      <a:pt x="59280" y="21499"/>
                      <a:pt x="58025" y="9945"/>
                    </a:cubicBezTo>
                    <a:cubicBezTo>
                      <a:pt x="57899" y="9065"/>
                      <a:pt x="57773" y="8186"/>
                      <a:pt x="57271" y="7558"/>
                    </a:cubicBezTo>
                    <a:cubicBezTo>
                      <a:pt x="56768" y="6805"/>
                      <a:pt x="55764" y="6302"/>
                      <a:pt x="54885" y="5926"/>
                    </a:cubicBezTo>
                    <a:cubicBezTo>
                      <a:pt x="50489" y="4167"/>
                      <a:pt x="46470" y="4544"/>
                      <a:pt x="41823" y="4921"/>
                    </a:cubicBezTo>
                    <a:cubicBezTo>
                      <a:pt x="38055" y="5172"/>
                      <a:pt x="34664" y="2283"/>
                      <a:pt x="30896" y="1279"/>
                    </a:cubicBezTo>
                    <a:cubicBezTo>
                      <a:pt x="27756" y="525"/>
                      <a:pt x="24616" y="148"/>
                      <a:pt x="21476" y="23"/>
                    </a:cubicBezTo>
                    <a:cubicBezTo>
                      <a:pt x="17332" y="-103"/>
                      <a:pt x="12936" y="274"/>
                      <a:pt x="8917" y="1655"/>
                    </a:cubicBezTo>
                    <a:cubicBezTo>
                      <a:pt x="7661" y="2158"/>
                      <a:pt x="5526" y="2535"/>
                      <a:pt x="3516" y="3037"/>
                    </a:cubicBezTo>
                    <a:cubicBezTo>
                      <a:pt x="2009" y="5298"/>
                      <a:pt x="879" y="7684"/>
                      <a:pt x="0" y="10070"/>
                    </a:cubicBezTo>
                    <a:cubicBezTo>
                      <a:pt x="251" y="10447"/>
                      <a:pt x="126" y="10698"/>
                      <a:pt x="126" y="11075"/>
                    </a:cubicBezTo>
                    <a:close/>
                  </a:path>
                </a:pathLst>
              </a:custGeom>
              <a:solidFill>
                <a:srgbClr val="DF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3B4478B2-41D1-4FE1-91C2-5ABCA9F624FA}"/>
                  </a:ext>
                </a:extLst>
              </p:cNvPr>
              <p:cNvSpPr/>
              <p:nvPr/>
            </p:nvSpPr>
            <p:spPr>
              <a:xfrm>
                <a:off x="11369024" y="2499856"/>
                <a:ext cx="62418" cy="79161"/>
              </a:xfrm>
              <a:custGeom>
                <a:avLst/>
                <a:gdLst>
                  <a:gd name="connsiteX0" fmla="*/ 14766 w 62418"/>
                  <a:gd name="connsiteY0" fmla="*/ 76194 h 79161"/>
                  <a:gd name="connsiteX1" fmla="*/ 35238 w 62418"/>
                  <a:gd name="connsiteY1" fmla="*/ 78203 h 79161"/>
                  <a:gd name="connsiteX2" fmla="*/ 36494 w 62418"/>
                  <a:gd name="connsiteY2" fmla="*/ 66021 h 79161"/>
                  <a:gd name="connsiteX3" fmla="*/ 33229 w 62418"/>
                  <a:gd name="connsiteY3" fmla="*/ 50949 h 79161"/>
                  <a:gd name="connsiteX4" fmla="*/ 38252 w 62418"/>
                  <a:gd name="connsiteY4" fmla="*/ 44670 h 79161"/>
                  <a:gd name="connsiteX5" fmla="*/ 45537 w 62418"/>
                  <a:gd name="connsiteY5" fmla="*/ 50824 h 79161"/>
                  <a:gd name="connsiteX6" fmla="*/ 44406 w 62418"/>
                  <a:gd name="connsiteY6" fmla="*/ 65393 h 79161"/>
                  <a:gd name="connsiteX7" fmla="*/ 51314 w 62418"/>
                  <a:gd name="connsiteY7" fmla="*/ 63132 h 79161"/>
                  <a:gd name="connsiteX8" fmla="*/ 51691 w 62418"/>
                  <a:gd name="connsiteY8" fmla="*/ 62881 h 79161"/>
                  <a:gd name="connsiteX9" fmla="*/ 51943 w 62418"/>
                  <a:gd name="connsiteY9" fmla="*/ 62253 h 79161"/>
                  <a:gd name="connsiteX10" fmla="*/ 52696 w 62418"/>
                  <a:gd name="connsiteY10" fmla="*/ 52456 h 79161"/>
                  <a:gd name="connsiteX11" fmla="*/ 54705 w 62418"/>
                  <a:gd name="connsiteY11" fmla="*/ 46679 h 79161"/>
                  <a:gd name="connsiteX12" fmla="*/ 61362 w 62418"/>
                  <a:gd name="connsiteY12" fmla="*/ 31482 h 79161"/>
                  <a:gd name="connsiteX13" fmla="*/ 59855 w 62418"/>
                  <a:gd name="connsiteY13" fmla="*/ 11638 h 79161"/>
                  <a:gd name="connsiteX14" fmla="*/ 34736 w 62418"/>
                  <a:gd name="connsiteY14" fmla="*/ 83 h 79161"/>
                  <a:gd name="connsiteX15" fmla="*/ 7859 w 62418"/>
                  <a:gd name="connsiteY15" fmla="*/ 12015 h 79161"/>
                  <a:gd name="connsiteX16" fmla="*/ 72 w 62418"/>
                  <a:gd name="connsiteY16" fmla="*/ 34873 h 79161"/>
                  <a:gd name="connsiteX17" fmla="*/ 1705 w 62418"/>
                  <a:gd name="connsiteY17" fmla="*/ 56852 h 79161"/>
                  <a:gd name="connsiteX18" fmla="*/ 3965 w 62418"/>
                  <a:gd name="connsiteY18" fmla="*/ 64890 h 79161"/>
                  <a:gd name="connsiteX19" fmla="*/ 14766 w 62418"/>
                  <a:gd name="connsiteY19" fmla="*/ 76194 h 79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2418" h="79161">
                    <a:moveTo>
                      <a:pt x="14766" y="76194"/>
                    </a:moveTo>
                    <a:cubicBezTo>
                      <a:pt x="21297" y="78831"/>
                      <a:pt x="28581" y="80213"/>
                      <a:pt x="35238" y="78203"/>
                    </a:cubicBezTo>
                    <a:cubicBezTo>
                      <a:pt x="37247" y="73933"/>
                      <a:pt x="37373" y="70668"/>
                      <a:pt x="36494" y="66021"/>
                    </a:cubicBezTo>
                    <a:cubicBezTo>
                      <a:pt x="35615" y="60871"/>
                      <a:pt x="32600" y="56224"/>
                      <a:pt x="33229" y="50949"/>
                    </a:cubicBezTo>
                    <a:cubicBezTo>
                      <a:pt x="33605" y="48186"/>
                      <a:pt x="35113" y="44921"/>
                      <a:pt x="38252" y="44670"/>
                    </a:cubicBezTo>
                    <a:cubicBezTo>
                      <a:pt x="43025" y="44167"/>
                      <a:pt x="45286" y="45800"/>
                      <a:pt x="45537" y="50824"/>
                    </a:cubicBezTo>
                    <a:cubicBezTo>
                      <a:pt x="45663" y="52708"/>
                      <a:pt x="45034" y="65141"/>
                      <a:pt x="44406" y="65393"/>
                    </a:cubicBezTo>
                    <a:cubicBezTo>
                      <a:pt x="46793" y="64639"/>
                      <a:pt x="49053" y="64137"/>
                      <a:pt x="51314" y="63132"/>
                    </a:cubicBezTo>
                    <a:cubicBezTo>
                      <a:pt x="51440" y="63006"/>
                      <a:pt x="51691" y="63006"/>
                      <a:pt x="51691" y="62881"/>
                    </a:cubicBezTo>
                    <a:cubicBezTo>
                      <a:pt x="51817" y="62755"/>
                      <a:pt x="51817" y="62504"/>
                      <a:pt x="51943" y="62253"/>
                    </a:cubicBezTo>
                    <a:cubicBezTo>
                      <a:pt x="52193" y="58987"/>
                      <a:pt x="52193" y="55722"/>
                      <a:pt x="52696" y="52456"/>
                    </a:cubicBezTo>
                    <a:cubicBezTo>
                      <a:pt x="52947" y="50447"/>
                      <a:pt x="54077" y="48689"/>
                      <a:pt x="54705" y="46679"/>
                    </a:cubicBezTo>
                    <a:cubicBezTo>
                      <a:pt x="56464" y="41404"/>
                      <a:pt x="60231" y="36883"/>
                      <a:pt x="61362" y="31482"/>
                    </a:cubicBezTo>
                    <a:cubicBezTo>
                      <a:pt x="62744" y="25328"/>
                      <a:pt x="63246" y="16787"/>
                      <a:pt x="59855" y="11638"/>
                    </a:cubicBezTo>
                    <a:cubicBezTo>
                      <a:pt x="54705" y="3726"/>
                      <a:pt x="44156" y="-670"/>
                      <a:pt x="34736" y="83"/>
                    </a:cubicBezTo>
                    <a:cubicBezTo>
                      <a:pt x="25944" y="837"/>
                      <a:pt x="17153" y="2595"/>
                      <a:pt x="7859" y="12015"/>
                    </a:cubicBezTo>
                    <a:cubicBezTo>
                      <a:pt x="2081" y="17918"/>
                      <a:pt x="700" y="26961"/>
                      <a:pt x="72" y="34873"/>
                    </a:cubicBezTo>
                    <a:cubicBezTo>
                      <a:pt x="-180" y="41278"/>
                      <a:pt x="198" y="50573"/>
                      <a:pt x="1705" y="56852"/>
                    </a:cubicBezTo>
                    <a:cubicBezTo>
                      <a:pt x="2332" y="59741"/>
                      <a:pt x="3086" y="62504"/>
                      <a:pt x="3965" y="64890"/>
                    </a:cubicBezTo>
                    <a:cubicBezTo>
                      <a:pt x="6100" y="69789"/>
                      <a:pt x="8864" y="73682"/>
                      <a:pt x="14766" y="76194"/>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36B421F7-D3B8-4851-A89F-A12BD51E793C}"/>
                  </a:ext>
                </a:extLst>
              </p:cNvPr>
              <p:cNvSpPr/>
              <p:nvPr/>
            </p:nvSpPr>
            <p:spPr>
              <a:xfrm>
                <a:off x="11497718" y="2650856"/>
                <a:ext cx="34275" cy="23581"/>
              </a:xfrm>
              <a:custGeom>
                <a:avLst/>
                <a:gdLst>
                  <a:gd name="connsiteX0" fmla="*/ 5136 w 34275"/>
                  <a:gd name="connsiteY0" fmla="*/ 21776 h 23581"/>
                  <a:gd name="connsiteX1" fmla="*/ 11039 w 34275"/>
                  <a:gd name="connsiteY1" fmla="*/ 23158 h 23581"/>
                  <a:gd name="connsiteX2" fmla="*/ 23347 w 34275"/>
                  <a:gd name="connsiteY2" fmla="*/ 18887 h 23581"/>
                  <a:gd name="connsiteX3" fmla="*/ 33898 w 34275"/>
                  <a:gd name="connsiteY3" fmla="*/ 12105 h 23581"/>
                  <a:gd name="connsiteX4" fmla="*/ 30130 w 34275"/>
                  <a:gd name="connsiteY4" fmla="*/ 5449 h 23581"/>
                  <a:gd name="connsiteX5" fmla="*/ 25985 w 34275"/>
                  <a:gd name="connsiteY5" fmla="*/ 3062 h 23581"/>
                  <a:gd name="connsiteX6" fmla="*/ 22845 w 34275"/>
                  <a:gd name="connsiteY6" fmla="*/ 3565 h 23581"/>
                  <a:gd name="connsiteX7" fmla="*/ 15812 w 34275"/>
                  <a:gd name="connsiteY7" fmla="*/ 5323 h 23581"/>
                  <a:gd name="connsiteX8" fmla="*/ 16566 w 34275"/>
                  <a:gd name="connsiteY8" fmla="*/ 3690 h 23581"/>
                  <a:gd name="connsiteX9" fmla="*/ 16942 w 34275"/>
                  <a:gd name="connsiteY9" fmla="*/ 1806 h 23581"/>
                  <a:gd name="connsiteX10" fmla="*/ 14431 w 34275"/>
                  <a:gd name="connsiteY10" fmla="*/ 48 h 23581"/>
                  <a:gd name="connsiteX11" fmla="*/ 11541 w 34275"/>
                  <a:gd name="connsiteY11" fmla="*/ 2811 h 23581"/>
                  <a:gd name="connsiteX12" fmla="*/ 9658 w 34275"/>
                  <a:gd name="connsiteY12" fmla="*/ 5700 h 23581"/>
                  <a:gd name="connsiteX13" fmla="*/ 1745 w 34275"/>
                  <a:gd name="connsiteY13" fmla="*/ 11477 h 23581"/>
                  <a:gd name="connsiteX14" fmla="*/ 5136 w 34275"/>
                  <a:gd name="connsiteY14" fmla="*/ 21776 h 2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275" h="23581">
                    <a:moveTo>
                      <a:pt x="5136" y="21776"/>
                    </a:moveTo>
                    <a:cubicBezTo>
                      <a:pt x="6643" y="23534"/>
                      <a:pt x="8904" y="24037"/>
                      <a:pt x="11039" y="23158"/>
                    </a:cubicBezTo>
                    <a:cubicBezTo>
                      <a:pt x="14053" y="21902"/>
                      <a:pt x="18826" y="20143"/>
                      <a:pt x="23347" y="18887"/>
                    </a:cubicBezTo>
                    <a:cubicBezTo>
                      <a:pt x="31134" y="16752"/>
                      <a:pt x="35655" y="16124"/>
                      <a:pt x="33898" y="12105"/>
                    </a:cubicBezTo>
                    <a:cubicBezTo>
                      <a:pt x="32767" y="9468"/>
                      <a:pt x="31134" y="6956"/>
                      <a:pt x="30130" y="5449"/>
                    </a:cubicBezTo>
                    <a:cubicBezTo>
                      <a:pt x="29125" y="4067"/>
                      <a:pt x="27618" y="3062"/>
                      <a:pt x="25985" y="3062"/>
                    </a:cubicBezTo>
                    <a:cubicBezTo>
                      <a:pt x="25106" y="3062"/>
                      <a:pt x="24101" y="3188"/>
                      <a:pt x="22845" y="3565"/>
                    </a:cubicBezTo>
                    <a:cubicBezTo>
                      <a:pt x="18198" y="4946"/>
                      <a:pt x="15812" y="5323"/>
                      <a:pt x="15812" y="5323"/>
                    </a:cubicBezTo>
                    <a:cubicBezTo>
                      <a:pt x="15938" y="5323"/>
                      <a:pt x="16440" y="3816"/>
                      <a:pt x="16566" y="3690"/>
                    </a:cubicBezTo>
                    <a:cubicBezTo>
                      <a:pt x="16816" y="3062"/>
                      <a:pt x="17068" y="2560"/>
                      <a:pt x="16942" y="1806"/>
                    </a:cubicBezTo>
                    <a:cubicBezTo>
                      <a:pt x="16816" y="550"/>
                      <a:pt x="15561" y="-203"/>
                      <a:pt x="14431" y="48"/>
                    </a:cubicBezTo>
                    <a:cubicBezTo>
                      <a:pt x="13048" y="425"/>
                      <a:pt x="12295" y="1681"/>
                      <a:pt x="11541" y="2811"/>
                    </a:cubicBezTo>
                    <a:lnTo>
                      <a:pt x="9658" y="5700"/>
                    </a:lnTo>
                    <a:cubicBezTo>
                      <a:pt x="9658" y="5700"/>
                      <a:pt x="7648" y="10598"/>
                      <a:pt x="1745" y="11477"/>
                    </a:cubicBezTo>
                    <a:cubicBezTo>
                      <a:pt x="-2525" y="11980"/>
                      <a:pt x="1996" y="18008"/>
                      <a:pt x="5136" y="21776"/>
                    </a:cubicBezTo>
                    <a:close/>
                  </a:path>
                </a:pathLst>
              </a:custGeom>
              <a:solidFill>
                <a:srgbClr val="F8CF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27DB2AF5-DCC5-4BEE-97D6-B309E1E5875E}"/>
                  </a:ext>
                </a:extLst>
              </p:cNvPr>
              <p:cNvSpPr/>
              <p:nvPr/>
            </p:nvSpPr>
            <p:spPr>
              <a:xfrm>
                <a:off x="11420134" y="2609211"/>
                <a:ext cx="91446" cy="78386"/>
              </a:xfrm>
              <a:custGeom>
                <a:avLst/>
                <a:gdLst>
                  <a:gd name="connsiteX0" fmla="*/ 79706 w 91446"/>
                  <a:gd name="connsiteY0" fmla="*/ 49104 h 78386"/>
                  <a:gd name="connsiteX1" fmla="*/ 56471 w 91446"/>
                  <a:gd name="connsiteY1" fmla="*/ 52495 h 78386"/>
                  <a:gd name="connsiteX2" fmla="*/ 47931 w 91446"/>
                  <a:gd name="connsiteY2" fmla="*/ 50611 h 78386"/>
                  <a:gd name="connsiteX3" fmla="*/ 46046 w 91446"/>
                  <a:gd name="connsiteY3" fmla="*/ 49857 h 78386"/>
                  <a:gd name="connsiteX4" fmla="*/ 44162 w 91446"/>
                  <a:gd name="connsiteY4" fmla="*/ 47346 h 78386"/>
                  <a:gd name="connsiteX5" fmla="*/ 41777 w 91446"/>
                  <a:gd name="connsiteY5" fmla="*/ 42071 h 78386"/>
                  <a:gd name="connsiteX6" fmla="*/ 39641 w 91446"/>
                  <a:gd name="connsiteY6" fmla="*/ 35540 h 78386"/>
                  <a:gd name="connsiteX7" fmla="*/ 33111 w 91446"/>
                  <a:gd name="connsiteY7" fmla="*/ 20845 h 78386"/>
                  <a:gd name="connsiteX8" fmla="*/ 26077 w 91446"/>
                  <a:gd name="connsiteY8" fmla="*/ 8537 h 78386"/>
                  <a:gd name="connsiteX9" fmla="*/ 17034 w 91446"/>
                  <a:gd name="connsiteY9" fmla="*/ 247 h 78386"/>
                  <a:gd name="connsiteX10" fmla="*/ 9624 w 91446"/>
                  <a:gd name="connsiteY10" fmla="*/ 624 h 78386"/>
                  <a:gd name="connsiteX11" fmla="*/ 3595 w 91446"/>
                  <a:gd name="connsiteY11" fmla="*/ 4643 h 78386"/>
                  <a:gd name="connsiteX12" fmla="*/ 79 w 91446"/>
                  <a:gd name="connsiteY12" fmla="*/ 17705 h 78386"/>
                  <a:gd name="connsiteX13" fmla="*/ 2842 w 91446"/>
                  <a:gd name="connsiteY13" fmla="*/ 33279 h 78386"/>
                  <a:gd name="connsiteX14" fmla="*/ 5480 w 91446"/>
                  <a:gd name="connsiteY14" fmla="*/ 41191 h 78386"/>
                  <a:gd name="connsiteX15" fmla="*/ 8996 w 91446"/>
                  <a:gd name="connsiteY15" fmla="*/ 46843 h 78386"/>
                  <a:gd name="connsiteX16" fmla="*/ 26579 w 91446"/>
                  <a:gd name="connsiteY16" fmla="*/ 69827 h 78386"/>
                  <a:gd name="connsiteX17" fmla="*/ 39139 w 91446"/>
                  <a:gd name="connsiteY17" fmla="*/ 78367 h 78386"/>
                  <a:gd name="connsiteX18" fmla="*/ 85232 w 91446"/>
                  <a:gd name="connsiteY18" fmla="*/ 71836 h 78386"/>
                  <a:gd name="connsiteX19" fmla="*/ 91010 w 91446"/>
                  <a:gd name="connsiteY19" fmla="*/ 57393 h 78386"/>
                  <a:gd name="connsiteX20" fmla="*/ 79706 w 91446"/>
                  <a:gd name="connsiteY20" fmla="*/ 49104 h 7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446" h="78386">
                    <a:moveTo>
                      <a:pt x="79706" y="49104"/>
                    </a:moveTo>
                    <a:lnTo>
                      <a:pt x="56471" y="52495"/>
                    </a:lnTo>
                    <a:cubicBezTo>
                      <a:pt x="54085" y="52997"/>
                      <a:pt x="50317" y="51239"/>
                      <a:pt x="47931" y="50611"/>
                    </a:cubicBezTo>
                    <a:cubicBezTo>
                      <a:pt x="47302" y="50485"/>
                      <a:pt x="46674" y="50234"/>
                      <a:pt x="46046" y="49857"/>
                    </a:cubicBezTo>
                    <a:cubicBezTo>
                      <a:pt x="45167" y="49229"/>
                      <a:pt x="44665" y="48225"/>
                      <a:pt x="44162" y="47346"/>
                    </a:cubicBezTo>
                    <a:cubicBezTo>
                      <a:pt x="43284" y="45587"/>
                      <a:pt x="42530" y="43955"/>
                      <a:pt x="41777" y="42071"/>
                    </a:cubicBezTo>
                    <a:cubicBezTo>
                      <a:pt x="40897" y="39935"/>
                      <a:pt x="40395" y="37675"/>
                      <a:pt x="39641" y="35540"/>
                    </a:cubicBezTo>
                    <a:cubicBezTo>
                      <a:pt x="38008" y="30390"/>
                      <a:pt x="35622" y="25618"/>
                      <a:pt x="33111" y="20845"/>
                    </a:cubicBezTo>
                    <a:cubicBezTo>
                      <a:pt x="30975" y="16700"/>
                      <a:pt x="28714" y="12556"/>
                      <a:pt x="26077" y="8537"/>
                    </a:cubicBezTo>
                    <a:cubicBezTo>
                      <a:pt x="23691" y="4769"/>
                      <a:pt x="21932" y="875"/>
                      <a:pt x="17034" y="247"/>
                    </a:cubicBezTo>
                    <a:cubicBezTo>
                      <a:pt x="14522" y="-129"/>
                      <a:pt x="12010" y="-129"/>
                      <a:pt x="9624" y="624"/>
                    </a:cubicBezTo>
                    <a:cubicBezTo>
                      <a:pt x="7238" y="1252"/>
                      <a:pt x="4977" y="2634"/>
                      <a:pt x="3595" y="4643"/>
                    </a:cubicBezTo>
                    <a:cubicBezTo>
                      <a:pt x="1083" y="8160"/>
                      <a:pt x="456" y="13560"/>
                      <a:pt x="79" y="17705"/>
                    </a:cubicBezTo>
                    <a:cubicBezTo>
                      <a:pt x="-424" y="22980"/>
                      <a:pt x="1586" y="28255"/>
                      <a:pt x="2842" y="33279"/>
                    </a:cubicBezTo>
                    <a:cubicBezTo>
                      <a:pt x="3595" y="35916"/>
                      <a:pt x="4349" y="38679"/>
                      <a:pt x="5480" y="41191"/>
                    </a:cubicBezTo>
                    <a:cubicBezTo>
                      <a:pt x="6484" y="43201"/>
                      <a:pt x="7740" y="45085"/>
                      <a:pt x="8996" y="46843"/>
                    </a:cubicBezTo>
                    <a:cubicBezTo>
                      <a:pt x="14522" y="55007"/>
                      <a:pt x="19798" y="62794"/>
                      <a:pt x="26579" y="69827"/>
                    </a:cubicBezTo>
                    <a:cubicBezTo>
                      <a:pt x="29971" y="73344"/>
                      <a:pt x="33864" y="78744"/>
                      <a:pt x="39139" y="78367"/>
                    </a:cubicBezTo>
                    <a:cubicBezTo>
                      <a:pt x="47051" y="77739"/>
                      <a:pt x="85232" y="71836"/>
                      <a:pt x="85232" y="71836"/>
                    </a:cubicBezTo>
                    <a:cubicBezTo>
                      <a:pt x="85232" y="71836"/>
                      <a:pt x="93396" y="65682"/>
                      <a:pt x="91010" y="57393"/>
                    </a:cubicBezTo>
                    <a:cubicBezTo>
                      <a:pt x="88875" y="49481"/>
                      <a:pt x="79706" y="49104"/>
                      <a:pt x="79706" y="49104"/>
                    </a:cubicBezTo>
                    <a:close/>
                  </a:path>
                </a:pathLst>
              </a:custGeom>
              <a:solidFill>
                <a:srgbClr val="57677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84C46783-0AB7-4F1C-9EE8-AA0047CF92A2}"/>
                  </a:ext>
                </a:extLst>
              </p:cNvPr>
              <p:cNvSpPr/>
              <p:nvPr/>
            </p:nvSpPr>
            <p:spPr>
              <a:xfrm>
                <a:off x="11420195" y="2617119"/>
                <a:ext cx="91324" cy="70477"/>
              </a:xfrm>
              <a:custGeom>
                <a:avLst/>
                <a:gdLst>
                  <a:gd name="connsiteX0" fmla="*/ 26644 w 91324"/>
                  <a:gd name="connsiteY0" fmla="*/ 61918 h 70477"/>
                  <a:gd name="connsiteX1" fmla="*/ 9060 w 91324"/>
                  <a:gd name="connsiteY1" fmla="*/ 38934 h 70477"/>
                  <a:gd name="connsiteX2" fmla="*/ 5544 w 91324"/>
                  <a:gd name="connsiteY2" fmla="*/ 33283 h 70477"/>
                  <a:gd name="connsiteX3" fmla="*/ 2906 w 91324"/>
                  <a:gd name="connsiteY3" fmla="*/ 25370 h 70477"/>
                  <a:gd name="connsiteX4" fmla="*/ 1901 w 91324"/>
                  <a:gd name="connsiteY4" fmla="*/ 0 h 70477"/>
                  <a:gd name="connsiteX5" fmla="*/ 18480 w 91324"/>
                  <a:gd name="connsiteY5" fmla="*/ 19342 h 70477"/>
                  <a:gd name="connsiteX6" fmla="*/ 32798 w 91324"/>
                  <a:gd name="connsiteY6" fmla="*/ 49108 h 70477"/>
                  <a:gd name="connsiteX7" fmla="*/ 47492 w 91324"/>
                  <a:gd name="connsiteY7" fmla="*/ 60913 h 70477"/>
                  <a:gd name="connsiteX8" fmla="*/ 91325 w 91324"/>
                  <a:gd name="connsiteY8" fmla="*/ 54885 h 70477"/>
                  <a:gd name="connsiteX9" fmla="*/ 91325 w 91324"/>
                  <a:gd name="connsiteY9" fmla="*/ 54885 h 70477"/>
                  <a:gd name="connsiteX10" fmla="*/ 85548 w 91324"/>
                  <a:gd name="connsiteY10" fmla="*/ 63802 h 70477"/>
                  <a:gd name="connsiteX11" fmla="*/ 85548 w 91324"/>
                  <a:gd name="connsiteY11" fmla="*/ 63802 h 70477"/>
                  <a:gd name="connsiteX12" fmla="*/ 85422 w 91324"/>
                  <a:gd name="connsiteY12" fmla="*/ 63928 h 70477"/>
                  <a:gd name="connsiteX13" fmla="*/ 57415 w 91324"/>
                  <a:gd name="connsiteY13" fmla="*/ 68072 h 70477"/>
                  <a:gd name="connsiteX14" fmla="*/ 39329 w 91324"/>
                  <a:gd name="connsiteY14" fmla="*/ 70459 h 70477"/>
                  <a:gd name="connsiteX15" fmla="*/ 26644 w 91324"/>
                  <a:gd name="connsiteY15" fmla="*/ 61918 h 70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324" h="70477">
                    <a:moveTo>
                      <a:pt x="26644" y="61918"/>
                    </a:moveTo>
                    <a:cubicBezTo>
                      <a:pt x="19861" y="54885"/>
                      <a:pt x="14587" y="46972"/>
                      <a:pt x="9060" y="38934"/>
                    </a:cubicBezTo>
                    <a:cubicBezTo>
                      <a:pt x="7805" y="37050"/>
                      <a:pt x="6548" y="35292"/>
                      <a:pt x="5544" y="33283"/>
                    </a:cubicBezTo>
                    <a:cubicBezTo>
                      <a:pt x="4288" y="30771"/>
                      <a:pt x="3660" y="28133"/>
                      <a:pt x="2906" y="25370"/>
                    </a:cubicBezTo>
                    <a:cubicBezTo>
                      <a:pt x="772" y="17709"/>
                      <a:pt x="-1866" y="12685"/>
                      <a:pt x="1901" y="0"/>
                    </a:cubicBezTo>
                    <a:cubicBezTo>
                      <a:pt x="3032" y="502"/>
                      <a:pt x="10568" y="3014"/>
                      <a:pt x="18480" y="19342"/>
                    </a:cubicBezTo>
                    <a:cubicBezTo>
                      <a:pt x="21871" y="26375"/>
                      <a:pt x="29910" y="41823"/>
                      <a:pt x="32798" y="49108"/>
                    </a:cubicBezTo>
                    <a:cubicBezTo>
                      <a:pt x="35059" y="54634"/>
                      <a:pt x="40836" y="61541"/>
                      <a:pt x="47492" y="60913"/>
                    </a:cubicBezTo>
                    <a:cubicBezTo>
                      <a:pt x="54024" y="60411"/>
                      <a:pt x="84795" y="56015"/>
                      <a:pt x="91325" y="54885"/>
                    </a:cubicBezTo>
                    <a:lnTo>
                      <a:pt x="91325" y="54885"/>
                    </a:lnTo>
                    <a:cubicBezTo>
                      <a:pt x="90321" y="59658"/>
                      <a:pt x="86552" y="63049"/>
                      <a:pt x="85548" y="63802"/>
                    </a:cubicBezTo>
                    <a:cubicBezTo>
                      <a:pt x="85548" y="63802"/>
                      <a:pt x="85548" y="63802"/>
                      <a:pt x="85548" y="63802"/>
                    </a:cubicBezTo>
                    <a:cubicBezTo>
                      <a:pt x="85422" y="63928"/>
                      <a:pt x="85422" y="63928"/>
                      <a:pt x="85422" y="63928"/>
                    </a:cubicBezTo>
                    <a:cubicBezTo>
                      <a:pt x="85422" y="63928"/>
                      <a:pt x="70477" y="66188"/>
                      <a:pt x="57415" y="68072"/>
                    </a:cubicBezTo>
                    <a:cubicBezTo>
                      <a:pt x="49502" y="69203"/>
                      <a:pt x="42343" y="70207"/>
                      <a:pt x="39329" y="70459"/>
                    </a:cubicBezTo>
                    <a:cubicBezTo>
                      <a:pt x="33928" y="70835"/>
                      <a:pt x="30035" y="65435"/>
                      <a:pt x="26644" y="61918"/>
                    </a:cubicBezTo>
                    <a:close/>
                  </a:path>
                </a:pathLst>
              </a:custGeom>
              <a:solidFill>
                <a:srgbClr val="57677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EDF38AC3-996F-44A1-9D4F-C2148E2D04C7}"/>
                  </a:ext>
                </a:extLst>
              </p:cNvPr>
              <p:cNvSpPr/>
              <p:nvPr/>
            </p:nvSpPr>
            <p:spPr>
              <a:xfrm>
                <a:off x="11653275" y="2659141"/>
                <a:ext cx="32085" cy="84528"/>
              </a:xfrm>
              <a:custGeom>
                <a:avLst/>
                <a:gdLst>
                  <a:gd name="connsiteX0" fmla="*/ 5820 w 32085"/>
                  <a:gd name="connsiteY0" fmla="*/ 64231 h 84528"/>
                  <a:gd name="connsiteX1" fmla="*/ 8332 w 32085"/>
                  <a:gd name="connsiteY1" fmla="*/ 60589 h 84528"/>
                  <a:gd name="connsiteX2" fmla="*/ 8834 w 32085"/>
                  <a:gd name="connsiteY2" fmla="*/ 59710 h 84528"/>
                  <a:gd name="connsiteX3" fmla="*/ 13104 w 32085"/>
                  <a:gd name="connsiteY3" fmla="*/ 53556 h 84528"/>
                  <a:gd name="connsiteX4" fmla="*/ 14486 w 32085"/>
                  <a:gd name="connsiteY4" fmla="*/ 46397 h 84528"/>
                  <a:gd name="connsiteX5" fmla="*/ 11723 w 32085"/>
                  <a:gd name="connsiteY5" fmla="*/ 6332 h 84528"/>
                  <a:gd name="connsiteX6" fmla="*/ 31818 w 32085"/>
                  <a:gd name="connsiteY6" fmla="*/ 1936 h 84528"/>
                  <a:gd name="connsiteX7" fmla="*/ 29181 w 32085"/>
                  <a:gd name="connsiteY7" fmla="*/ 32079 h 84528"/>
                  <a:gd name="connsiteX8" fmla="*/ 24785 w 32085"/>
                  <a:gd name="connsiteY8" fmla="*/ 59961 h 84528"/>
                  <a:gd name="connsiteX9" fmla="*/ 24659 w 32085"/>
                  <a:gd name="connsiteY9" fmla="*/ 66492 h 84528"/>
                  <a:gd name="connsiteX10" fmla="*/ 23026 w 32085"/>
                  <a:gd name="connsiteY10" fmla="*/ 71013 h 84528"/>
                  <a:gd name="connsiteX11" fmla="*/ 20515 w 32085"/>
                  <a:gd name="connsiteY11" fmla="*/ 78800 h 84528"/>
                  <a:gd name="connsiteX12" fmla="*/ 14989 w 32085"/>
                  <a:gd name="connsiteY12" fmla="*/ 83699 h 84528"/>
                  <a:gd name="connsiteX13" fmla="*/ 10090 w 32085"/>
                  <a:gd name="connsiteY13" fmla="*/ 82568 h 84528"/>
                  <a:gd name="connsiteX14" fmla="*/ 8206 w 32085"/>
                  <a:gd name="connsiteY14" fmla="*/ 82568 h 84528"/>
                  <a:gd name="connsiteX15" fmla="*/ 6825 w 32085"/>
                  <a:gd name="connsiteY15" fmla="*/ 80810 h 84528"/>
                  <a:gd name="connsiteX16" fmla="*/ 8458 w 32085"/>
                  <a:gd name="connsiteY16" fmla="*/ 69381 h 84528"/>
                  <a:gd name="connsiteX17" fmla="*/ 7830 w 32085"/>
                  <a:gd name="connsiteY17" fmla="*/ 67874 h 84528"/>
                  <a:gd name="connsiteX18" fmla="*/ 419 w 32085"/>
                  <a:gd name="connsiteY18" fmla="*/ 72521 h 84528"/>
                  <a:gd name="connsiteX19" fmla="*/ 5820 w 32085"/>
                  <a:gd name="connsiteY19" fmla="*/ 64231 h 8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085" h="84528">
                    <a:moveTo>
                      <a:pt x="5820" y="64231"/>
                    </a:moveTo>
                    <a:cubicBezTo>
                      <a:pt x="6448" y="63352"/>
                      <a:pt x="7327" y="61971"/>
                      <a:pt x="8332" y="60589"/>
                    </a:cubicBezTo>
                    <a:cubicBezTo>
                      <a:pt x="8458" y="60212"/>
                      <a:pt x="8583" y="59961"/>
                      <a:pt x="8834" y="59710"/>
                    </a:cubicBezTo>
                    <a:cubicBezTo>
                      <a:pt x="10216" y="57575"/>
                      <a:pt x="12099" y="56068"/>
                      <a:pt x="13104" y="53556"/>
                    </a:cubicBezTo>
                    <a:cubicBezTo>
                      <a:pt x="13984" y="51295"/>
                      <a:pt x="14486" y="48909"/>
                      <a:pt x="14486" y="46397"/>
                    </a:cubicBezTo>
                    <a:cubicBezTo>
                      <a:pt x="14486" y="36098"/>
                      <a:pt x="10467" y="17384"/>
                      <a:pt x="11723" y="6332"/>
                    </a:cubicBezTo>
                    <a:cubicBezTo>
                      <a:pt x="13104" y="-4595"/>
                      <a:pt x="31818" y="1936"/>
                      <a:pt x="31818" y="1936"/>
                    </a:cubicBezTo>
                    <a:cubicBezTo>
                      <a:pt x="31818" y="1936"/>
                      <a:pt x="33325" y="13491"/>
                      <a:pt x="29181" y="32079"/>
                    </a:cubicBezTo>
                    <a:cubicBezTo>
                      <a:pt x="25162" y="50542"/>
                      <a:pt x="24157" y="52551"/>
                      <a:pt x="24785" y="59961"/>
                    </a:cubicBezTo>
                    <a:cubicBezTo>
                      <a:pt x="25036" y="62473"/>
                      <a:pt x="25538" y="64106"/>
                      <a:pt x="24659" y="66492"/>
                    </a:cubicBezTo>
                    <a:cubicBezTo>
                      <a:pt x="24283" y="67622"/>
                      <a:pt x="23780" y="69632"/>
                      <a:pt x="23026" y="71013"/>
                    </a:cubicBezTo>
                    <a:cubicBezTo>
                      <a:pt x="22273" y="74656"/>
                      <a:pt x="21143" y="76791"/>
                      <a:pt x="20515" y="78800"/>
                    </a:cubicBezTo>
                    <a:cubicBezTo>
                      <a:pt x="19636" y="81438"/>
                      <a:pt x="20766" y="81312"/>
                      <a:pt x="14989" y="83699"/>
                    </a:cubicBezTo>
                    <a:cubicBezTo>
                      <a:pt x="9211" y="86085"/>
                      <a:pt x="10090" y="82568"/>
                      <a:pt x="10090" y="82568"/>
                    </a:cubicBezTo>
                    <a:cubicBezTo>
                      <a:pt x="10090" y="82568"/>
                      <a:pt x="10090" y="82568"/>
                      <a:pt x="8206" y="82568"/>
                    </a:cubicBezTo>
                    <a:cubicBezTo>
                      <a:pt x="6323" y="82568"/>
                      <a:pt x="6825" y="80810"/>
                      <a:pt x="6825" y="80810"/>
                    </a:cubicBezTo>
                    <a:lnTo>
                      <a:pt x="8458" y="69381"/>
                    </a:lnTo>
                    <a:cubicBezTo>
                      <a:pt x="8206" y="68878"/>
                      <a:pt x="7955" y="68376"/>
                      <a:pt x="7830" y="67874"/>
                    </a:cubicBezTo>
                    <a:cubicBezTo>
                      <a:pt x="5945" y="69632"/>
                      <a:pt x="1926" y="73400"/>
                      <a:pt x="419" y="72521"/>
                    </a:cubicBezTo>
                    <a:cubicBezTo>
                      <a:pt x="-1590" y="71265"/>
                      <a:pt x="4187" y="66869"/>
                      <a:pt x="5820" y="64231"/>
                    </a:cubicBezTo>
                    <a:close/>
                  </a:path>
                </a:pathLst>
              </a:custGeom>
              <a:solidFill>
                <a:srgbClr val="F1B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A5E09E07-8EF9-4388-ADE3-1F18A76B476B}"/>
                  </a:ext>
                </a:extLst>
              </p:cNvPr>
              <p:cNvSpPr/>
              <p:nvPr/>
            </p:nvSpPr>
            <p:spPr>
              <a:xfrm>
                <a:off x="11675292" y="2659445"/>
                <a:ext cx="10067" cy="64932"/>
              </a:xfrm>
              <a:custGeom>
                <a:avLst/>
                <a:gdLst>
                  <a:gd name="connsiteX0" fmla="*/ 9801 w 10067"/>
                  <a:gd name="connsiteY0" fmla="*/ 1758 h 64932"/>
                  <a:gd name="connsiteX1" fmla="*/ 7164 w 10067"/>
                  <a:gd name="connsiteY1" fmla="*/ 31901 h 64932"/>
                  <a:gd name="connsiteX2" fmla="*/ 2767 w 10067"/>
                  <a:gd name="connsiteY2" fmla="*/ 59783 h 64932"/>
                  <a:gd name="connsiteX3" fmla="*/ 3019 w 10067"/>
                  <a:gd name="connsiteY3" fmla="*/ 64932 h 64932"/>
                  <a:gd name="connsiteX4" fmla="*/ 5 w 10067"/>
                  <a:gd name="connsiteY4" fmla="*/ 54508 h 64932"/>
                  <a:gd name="connsiteX5" fmla="*/ 3521 w 10067"/>
                  <a:gd name="connsiteY5" fmla="*/ 28887 h 64932"/>
                  <a:gd name="connsiteX6" fmla="*/ 2391 w 10067"/>
                  <a:gd name="connsiteY6" fmla="*/ 0 h 64932"/>
                  <a:gd name="connsiteX7" fmla="*/ 9801 w 10067"/>
                  <a:gd name="connsiteY7" fmla="*/ 1758 h 6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67" h="64932">
                    <a:moveTo>
                      <a:pt x="9801" y="1758"/>
                    </a:moveTo>
                    <a:cubicBezTo>
                      <a:pt x="9801" y="1758"/>
                      <a:pt x="11308" y="13313"/>
                      <a:pt x="7164" y="31901"/>
                    </a:cubicBezTo>
                    <a:cubicBezTo>
                      <a:pt x="3145" y="50363"/>
                      <a:pt x="2140" y="52373"/>
                      <a:pt x="2767" y="59783"/>
                    </a:cubicBezTo>
                    <a:cubicBezTo>
                      <a:pt x="2893" y="61793"/>
                      <a:pt x="3270" y="63174"/>
                      <a:pt x="3019" y="64932"/>
                    </a:cubicBezTo>
                    <a:cubicBezTo>
                      <a:pt x="1386" y="61416"/>
                      <a:pt x="130" y="57774"/>
                      <a:pt x="5" y="54508"/>
                    </a:cubicBezTo>
                    <a:cubicBezTo>
                      <a:pt x="-121" y="45842"/>
                      <a:pt x="2265" y="37427"/>
                      <a:pt x="3521" y="28887"/>
                    </a:cubicBezTo>
                    <a:cubicBezTo>
                      <a:pt x="4902" y="19342"/>
                      <a:pt x="4652" y="9545"/>
                      <a:pt x="2391" y="0"/>
                    </a:cubicBezTo>
                    <a:cubicBezTo>
                      <a:pt x="6410" y="502"/>
                      <a:pt x="9801" y="1758"/>
                      <a:pt x="9801" y="1758"/>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05BCBFC8-91EE-4DEA-B07D-67D1FE7002F2}"/>
                  </a:ext>
                </a:extLst>
              </p:cNvPr>
              <p:cNvSpPr/>
              <p:nvPr/>
            </p:nvSpPr>
            <p:spPr>
              <a:xfrm>
                <a:off x="11561507" y="2812168"/>
                <a:ext cx="54826" cy="35040"/>
              </a:xfrm>
              <a:custGeom>
                <a:avLst/>
                <a:gdLst>
                  <a:gd name="connsiteX0" fmla="*/ 52876 w 54826"/>
                  <a:gd name="connsiteY0" fmla="*/ 6908 h 35040"/>
                  <a:gd name="connsiteX1" fmla="*/ 53881 w 54826"/>
                  <a:gd name="connsiteY1" fmla="*/ 9545 h 35040"/>
                  <a:gd name="connsiteX2" fmla="*/ 54760 w 54826"/>
                  <a:gd name="connsiteY2" fmla="*/ 14569 h 35040"/>
                  <a:gd name="connsiteX3" fmla="*/ 54132 w 54826"/>
                  <a:gd name="connsiteY3" fmla="*/ 21477 h 35040"/>
                  <a:gd name="connsiteX4" fmla="*/ 41823 w 54826"/>
                  <a:gd name="connsiteY4" fmla="*/ 26501 h 35040"/>
                  <a:gd name="connsiteX5" fmla="*/ 36549 w 54826"/>
                  <a:gd name="connsiteY5" fmla="*/ 25998 h 35040"/>
                  <a:gd name="connsiteX6" fmla="*/ 34664 w 54826"/>
                  <a:gd name="connsiteY6" fmla="*/ 27757 h 35040"/>
                  <a:gd name="connsiteX7" fmla="*/ 29139 w 54826"/>
                  <a:gd name="connsiteY7" fmla="*/ 31524 h 35040"/>
                  <a:gd name="connsiteX8" fmla="*/ 20849 w 54826"/>
                  <a:gd name="connsiteY8" fmla="*/ 34413 h 35040"/>
                  <a:gd name="connsiteX9" fmla="*/ 9545 w 54826"/>
                  <a:gd name="connsiteY9" fmla="*/ 34915 h 35040"/>
                  <a:gd name="connsiteX10" fmla="*/ 7285 w 54826"/>
                  <a:gd name="connsiteY10" fmla="*/ 34664 h 35040"/>
                  <a:gd name="connsiteX11" fmla="*/ 754 w 54826"/>
                  <a:gd name="connsiteY11" fmla="*/ 29892 h 35040"/>
                  <a:gd name="connsiteX12" fmla="*/ 2261 w 54826"/>
                  <a:gd name="connsiteY12" fmla="*/ 21854 h 35040"/>
                  <a:gd name="connsiteX13" fmla="*/ 21351 w 54826"/>
                  <a:gd name="connsiteY13" fmla="*/ 11178 h 35040"/>
                  <a:gd name="connsiteX14" fmla="*/ 25999 w 54826"/>
                  <a:gd name="connsiteY14" fmla="*/ 0 h 35040"/>
                  <a:gd name="connsiteX15" fmla="*/ 35167 w 54826"/>
                  <a:gd name="connsiteY15" fmla="*/ 2512 h 35040"/>
                  <a:gd name="connsiteX16" fmla="*/ 42703 w 54826"/>
                  <a:gd name="connsiteY16" fmla="*/ 3893 h 35040"/>
                  <a:gd name="connsiteX17" fmla="*/ 50992 w 54826"/>
                  <a:gd name="connsiteY17" fmla="*/ 3768 h 35040"/>
                  <a:gd name="connsiteX18" fmla="*/ 51494 w 54826"/>
                  <a:gd name="connsiteY18" fmla="*/ 3893 h 35040"/>
                  <a:gd name="connsiteX19" fmla="*/ 51871 w 54826"/>
                  <a:gd name="connsiteY19" fmla="*/ 4396 h 35040"/>
                  <a:gd name="connsiteX20" fmla="*/ 52876 w 54826"/>
                  <a:gd name="connsiteY20" fmla="*/ 6908 h 3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826" h="35040">
                    <a:moveTo>
                      <a:pt x="52876" y="6908"/>
                    </a:moveTo>
                    <a:cubicBezTo>
                      <a:pt x="53253" y="7787"/>
                      <a:pt x="53503" y="8666"/>
                      <a:pt x="53881" y="9545"/>
                    </a:cubicBezTo>
                    <a:cubicBezTo>
                      <a:pt x="54508" y="11178"/>
                      <a:pt x="55011" y="12811"/>
                      <a:pt x="54760" y="14569"/>
                    </a:cubicBezTo>
                    <a:cubicBezTo>
                      <a:pt x="54132" y="18588"/>
                      <a:pt x="54132" y="21477"/>
                      <a:pt x="54132" y="21477"/>
                    </a:cubicBezTo>
                    <a:lnTo>
                      <a:pt x="41823" y="26501"/>
                    </a:lnTo>
                    <a:lnTo>
                      <a:pt x="36549" y="25998"/>
                    </a:lnTo>
                    <a:cubicBezTo>
                      <a:pt x="36297" y="25998"/>
                      <a:pt x="34790" y="27631"/>
                      <a:pt x="34664" y="27757"/>
                    </a:cubicBezTo>
                    <a:cubicBezTo>
                      <a:pt x="32907" y="29138"/>
                      <a:pt x="31148" y="30520"/>
                      <a:pt x="29139" y="31524"/>
                    </a:cubicBezTo>
                    <a:cubicBezTo>
                      <a:pt x="26501" y="32906"/>
                      <a:pt x="23738" y="33785"/>
                      <a:pt x="20849" y="34413"/>
                    </a:cubicBezTo>
                    <a:cubicBezTo>
                      <a:pt x="16956" y="35418"/>
                      <a:pt x="13564" y="34915"/>
                      <a:pt x="9545" y="34915"/>
                    </a:cubicBezTo>
                    <a:cubicBezTo>
                      <a:pt x="8792" y="34915"/>
                      <a:pt x="8038" y="34915"/>
                      <a:pt x="7285" y="34664"/>
                    </a:cubicBezTo>
                    <a:cubicBezTo>
                      <a:pt x="5150" y="34036"/>
                      <a:pt x="2010" y="31650"/>
                      <a:pt x="754" y="29892"/>
                    </a:cubicBezTo>
                    <a:cubicBezTo>
                      <a:pt x="-879" y="27254"/>
                      <a:pt x="377" y="23989"/>
                      <a:pt x="2261" y="21854"/>
                    </a:cubicBezTo>
                    <a:cubicBezTo>
                      <a:pt x="8667" y="14695"/>
                      <a:pt x="21351" y="11178"/>
                      <a:pt x="21351" y="11178"/>
                    </a:cubicBezTo>
                    <a:lnTo>
                      <a:pt x="25999" y="0"/>
                    </a:lnTo>
                    <a:cubicBezTo>
                      <a:pt x="25999" y="251"/>
                      <a:pt x="34664" y="2261"/>
                      <a:pt x="35167" y="2512"/>
                    </a:cubicBezTo>
                    <a:cubicBezTo>
                      <a:pt x="37553" y="3140"/>
                      <a:pt x="40316" y="4396"/>
                      <a:pt x="42703" y="3893"/>
                    </a:cubicBezTo>
                    <a:cubicBezTo>
                      <a:pt x="45466" y="3265"/>
                      <a:pt x="48354" y="3265"/>
                      <a:pt x="50992" y="3768"/>
                    </a:cubicBezTo>
                    <a:cubicBezTo>
                      <a:pt x="51118" y="3768"/>
                      <a:pt x="51369" y="3893"/>
                      <a:pt x="51494" y="3893"/>
                    </a:cubicBezTo>
                    <a:cubicBezTo>
                      <a:pt x="51620" y="4019"/>
                      <a:pt x="51746" y="4145"/>
                      <a:pt x="51871" y="4396"/>
                    </a:cubicBezTo>
                    <a:cubicBezTo>
                      <a:pt x="52248" y="5275"/>
                      <a:pt x="52499" y="6028"/>
                      <a:pt x="52876" y="6908"/>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6341B191-9D97-43F6-9650-10624F36CF25}"/>
                  </a:ext>
                </a:extLst>
              </p:cNvPr>
              <p:cNvSpPr/>
              <p:nvPr/>
            </p:nvSpPr>
            <p:spPr>
              <a:xfrm>
                <a:off x="11563634" y="2813047"/>
                <a:ext cx="33272" cy="26249"/>
              </a:xfrm>
              <a:custGeom>
                <a:avLst/>
                <a:gdLst>
                  <a:gd name="connsiteX0" fmla="*/ 887 w 33272"/>
                  <a:gd name="connsiteY0" fmla="*/ 20221 h 26249"/>
                  <a:gd name="connsiteX1" fmla="*/ 2897 w 33272"/>
                  <a:gd name="connsiteY1" fmla="*/ 25747 h 26249"/>
                  <a:gd name="connsiteX2" fmla="*/ 6414 w 33272"/>
                  <a:gd name="connsiteY2" fmla="*/ 26249 h 26249"/>
                  <a:gd name="connsiteX3" fmla="*/ 14577 w 33272"/>
                  <a:gd name="connsiteY3" fmla="*/ 25244 h 26249"/>
                  <a:gd name="connsiteX4" fmla="*/ 20982 w 33272"/>
                  <a:gd name="connsiteY4" fmla="*/ 23486 h 26249"/>
                  <a:gd name="connsiteX5" fmla="*/ 26257 w 33272"/>
                  <a:gd name="connsiteY5" fmla="*/ 21225 h 26249"/>
                  <a:gd name="connsiteX6" fmla="*/ 29397 w 33272"/>
                  <a:gd name="connsiteY6" fmla="*/ 16076 h 26249"/>
                  <a:gd name="connsiteX7" fmla="*/ 32663 w 33272"/>
                  <a:gd name="connsiteY7" fmla="*/ 12057 h 26249"/>
                  <a:gd name="connsiteX8" fmla="*/ 32537 w 33272"/>
                  <a:gd name="connsiteY8" fmla="*/ 8289 h 26249"/>
                  <a:gd name="connsiteX9" fmla="*/ 23243 w 33272"/>
                  <a:gd name="connsiteY9" fmla="*/ 0 h 26249"/>
                  <a:gd name="connsiteX10" fmla="*/ 19099 w 33272"/>
                  <a:gd name="connsiteY10" fmla="*/ 10173 h 26249"/>
                  <a:gd name="connsiteX11" fmla="*/ 16587 w 33272"/>
                  <a:gd name="connsiteY11" fmla="*/ 10927 h 26249"/>
                  <a:gd name="connsiteX12" fmla="*/ 10809 w 33272"/>
                  <a:gd name="connsiteY12" fmla="*/ 13313 h 26249"/>
                  <a:gd name="connsiteX13" fmla="*/ 3902 w 33272"/>
                  <a:gd name="connsiteY13" fmla="*/ 17332 h 26249"/>
                  <a:gd name="connsiteX14" fmla="*/ 887 w 33272"/>
                  <a:gd name="connsiteY14" fmla="*/ 20221 h 2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272" h="26249">
                    <a:moveTo>
                      <a:pt x="887" y="20221"/>
                    </a:moveTo>
                    <a:cubicBezTo>
                      <a:pt x="-1247" y="22230"/>
                      <a:pt x="887" y="24742"/>
                      <a:pt x="2897" y="25747"/>
                    </a:cubicBezTo>
                    <a:cubicBezTo>
                      <a:pt x="4027" y="26249"/>
                      <a:pt x="5283" y="26249"/>
                      <a:pt x="6414" y="26249"/>
                    </a:cubicBezTo>
                    <a:cubicBezTo>
                      <a:pt x="9176" y="26249"/>
                      <a:pt x="11940" y="25872"/>
                      <a:pt x="14577" y="25244"/>
                    </a:cubicBezTo>
                    <a:cubicBezTo>
                      <a:pt x="16713" y="24742"/>
                      <a:pt x="18973" y="24365"/>
                      <a:pt x="20982" y="23486"/>
                    </a:cubicBezTo>
                    <a:cubicBezTo>
                      <a:pt x="22741" y="22733"/>
                      <a:pt x="24625" y="22356"/>
                      <a:pt x="26257" y="21225"/>
                    </a:cubicBezTo>
                    <a:cubicBezTo>
                      <a:pt x="28016" y="20095"/>
                      <a:pt x="28393" y="17834"/>
                      <a:pt x="29397" y="16076"/>
                    </a:cubicBezTo>
                    <a:cubicBezTo>
                      <a:pt x="30276" y="14569"/>
                      <a:pt x="31783" y="13564"/>
                      <a:pt x="32663" y="12057"/>
                    </a:cubicBezTo>
                    <a:cubicBezTo>
                      <a:pt x="33165" y="11178"/>
                      <a:pt x="33793" y="8792"/>
                      <a:pt x="32537" y="8289"/>
                    </a:cubicBezTo>
                    <a:cubicBezTo>
                      <a:pt x="28643" y="6782"/>
                      <a:pt x="26006" y="3014"/>
                      <a:pt x="23243" y="0"/>
                    </a:cubicBezTo>
                    <a:lnTo>
                      <a:pt x="19099" y="10173"/>
                    </a:lnTo>
                    <a:cubicBezTo>
                      <a:pt x="18973" y="10424"/>
                      <a:pt x="16963" y="10927"/>
                      <a:pt x="16587" y="10927"/>
                    </a:cubicBezTo>
                    <a:cubicBezTo>
                      <a:pt x="14577" y="11680"/>
                      <a:pt x="12693" y="12434"/>
                      <a:pt x="10809" y="13313"/>
                    </a:cubicBezTo>
                    <a:cubicBezTo>
                      <a:pt x="8423" y="14443"/>
                      <a:pt x="6037" y="15825"/>
                      <a:pt x="3902" y="17332"/>
                    </a:cubicBezTo>
                    <a:cubicBezTo>
                      <a:pt x="2897" y="18337"/>
                      <a:pt x="1892" y="19216"/>
                      <a:pt x="887" y="20221"/>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9EC46698-9D66-4D14-9B68-4184B39EBA95}"/>
                  </a:ext>
                </a:extLst>
              </p:cNvPr>
              <p:cNvSpPr/>
              <p:nvPr/>
            </p:nvSpPr>
            <p:spPr>
              <a:xfrm>
                <a:off x="11637869" y="2850565"/>
                <a:ext cx="37121" cy="53085"/>
              </a:xfrm>
              <a:custGeom>
                <a:avLst/>
                <a:gdLst>
                  <a:gd name="connsiteX0" fmla="*/ 1005 w 37121"/>
                  <a:gd name="connsiteY0" fmla="*/ 33820 h 53085"/>
                  <a:gd name="connsiteX1" fmla="*/ 3391 w 37121"/>
                  <a:gd name="connsiteY1" fmla="*/ 27666 h 53085"/>
                  <a:gd name="connsiteX2" fmla="*/ 8415 w 37121"/>
                  <a:gd name="connsiteY2" fmla="*/ 16613 h 53085"/>
                  <a:gd name="connsiteX3" fmla="*/ 10550 w 37121"/>
                  <a:gd name="connsiteY3" fmla="*/ 2798 h 53085"/>
                  <a:gd name="connsiteX4" fmla="*/ 10802 w 37121"/>
                  <a:gd name="connsiteY4" fmla="*/ 1919 h 53085"/>
                  <a:gd name="connsiteX5" fmla="*/ 18337 w 37121"/>
                  <a:gd name="connsiteY5" fmla="*/ 35 h 53085"/>
                  <a:gd name="connsiteX6" fmla="*/ 25370 w 37121"/>
                  <a:gd name="connsiteY6" fmla="*/ 412 h 53085"/>
                  <a:gd name="connsiteX7" fmla="*/ 33911 w 37121"/>
                  <a:gd name="connsiteY7" fmla="*/ 2923 h 53085"/>
                  <a:gd name="connsiteX8" fmla="*/ 36925 w 37121"/>
                  <a:gd name="connsiteY8" fmla="*/ 11841 h 53085"/>
                  <a:gd name="connsiteX9" fmla="*/ 36171 w 37121"/>
                  <a:gd name="connsiteY9" fmla="*/ 17618 h 53085"/>
                  <a:gd name="connsiteX10" fmla="*/ 32781 w 37121"/>
                  <a:gd name="connsiteY10" fmla="*/ 25154 h 53085"/>
                  <a:gd name="connsiteX11" fmla="*/ 31776 w 37121"/>
                  <a:gd name="connsiteY11" fmla="*/ 25154 h 53085"/>
                  <a:gd name="connsiteX12" fmla="*/ 31022 w 37121"/>
                  <a:gd name="connsiteY12" fmla="*/ 30554 h 53085"/>
                  <a:gd name="connsiteX13" fmla="*/ 28636 w 37121"/>
                  <a:gd name="connsiteY13" fmla="*/ 38341 h 53085"/>
                  <a:gd name="connsiteX14" fmla="*/ 25119 w 37121"/>
                  <a:gd name="connsiteY14" fmla="*/ 43742 h 53085"/>
                  <a:gd name="connsiteX15" fmla="*/ 15072 w 37121"/>
                  <a:gd name="connsiteY15" fmla="*/ 52408 h 53085"/>
                  <a:gd name="connsiteX16" fmla="*/ 12435 w 37121"/>
                  <a:gd name="connsiteY16" fmla="*/ 53036 h 53085"/>
                  <a:gd name="connsiteX17" fmla="*/ 7913 w 37121"/>
                  <a:gd name="connsiteY17" fmla="*/ 52785 h 53085"/>
                  <a:gd name="connsiteX18" fmla="*/ 1507 w 37121"/>
                  <a:gd name="connsiteY18" fmla="*/ 49896 h 53085"/>
                  <a:gd name="connsiteX19" fmla="*/ 0 w 37121"/>
                  <a:gd name="connsiteY19" fmla="*/ 42486 h 53085"/>
                  <a:gd name="connsiteX20" fmla="*/ 1005 w 37121"/>
                  <a:gd name="connsiteY20" fmla="*/ 33820 h 5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121" h="53085">
                    <a:moveTo>
                      <a:pt x="1005" y="33820"/>
                    </a:moveTo>
                    <a:cubicBezTo>
                      <a:pt x="1633" y="31685"/>
                      <a:pt x="2512" y="29675"/>
                      <a:pt x="3391" y="27666"/>
                    </a:cubicBezTo>
                    <a:cubicBezTo>
                      <a:pt x="5024" y="24024"/>
                      <a:pt x="6783" y="20256"/>
                      <a:pt x="8415" y="16613"/>
                    </a:cubicBezTo>
                    <a:cubicBezTo>
                      <a:pt x="10299" y="12343"/>
                      <a:pt x="9922" y="7319"/>
                      <a:pt x="10550" y="2798"/>
                    </a:cubicBezTo>
                    <a:cubicBezTo>
                      <a:pt x="10550" y="2547"/>
                      <a:pt x="10676" y="2170"/>
                      <a:pt x="10802" y="1919"/>
                    </a:cubicBezTo>
                    <a:cubicBezTo>
                      <a:pt x="11806" y="35"/>
                      <a:pt x="16579" y="-91"/>
                      <a:pt x="18337" y="35"/>
                    </a:cubicBezTo>
                    <a:cubicBezTo>
                      <a:pt x="20723" y="35"/>
                      <a:pt x="22984" y="161"/>
                      <a:pt x="25370" y="412"/>
                    </a:cubicBezTo>
                    <a:cubicBezTo>
                      <a:pt x="28259" y="788"/>
                      <a:pt x="31274" y="1542"/>
                      <a:pt x="33911" y="2923"/>
                    </a:cubicBezTo>
                    <a:cubicBezTo>
                      <a:pt x="37804" y="4933"/>
                      <a:pt x="37176" y="8073"/>
                      <a:pt x="36925" y="11841"/>
                    </a:cubicBezTo>
                    <a:cubicBezTo>
                      <a:pt x="36799" y="13850"/>
                      <a:pt x="36674" y="15734"/>
                      <a:pt x="36171" y="17618"/>
                    </a:cubicBezTo>
                    <a:cubicBezTo>
                      <a:pt x="35418" y="20256"/>
                      <a:pt x="34288" y="22642"/>
                      <a:pt x="32781" y="25154"/>
                    </a:cubicBezTo>
                    <a:cubicBezTo>
                      <a:pt x="32404" y="25154"/>
                      <a:pt x="32152" y="25154"/>
                      <a:pt x="31776" y="25154"/>
                    </a:cubicBezTo>
                    <a:cubicBezTo>
                      <a:pt x="31902" y="25154"/>
                      <a:pt x="31148" y="30178"/>
                      <a:pt x="31022" y="30554"/>
                    </a:cubicBezTo>
                    <a:cubicBezTo>
                      <a:pt x="30645" y="33443"/>
                      <a:pt x="29892" y="35704"/>
                      <a:pt x="28636" y="38341"/>
                    </a:cubicBezTo>
                    <a:cubicBezTo>
                      <a:pt x="27631" y="40351"/>
                      <a:pt x="26501" y="41983"/>
                      <a:pt x="25119" y="43742"/>
                    </a:cubicBezTo>
                    <a:cubicBezTo>
                      <a:pt x="22482" y="47259"/>
                      <a:pt x="19342" y="50775"/>
                      <a:pt x="15072" y="52408"/>
                    </a:cubicBezTo>
                    <a:cubicBezTo>
                      <a:pt x="14192" y="52659"/>
                      <a:pt x="13313" y="52910"/>
                      <a:pt x="12435" y="53036"/>
                    </a:cubicBezTo>
                    <a:cubicBezTo>
                      <a:pt x="10927" y="53161"/>
                      <a:pt x="9420" y="53036"/>
                      <a:pt x="7913" y="52785"/>
                    </a:cubicBezTo>
                    <a:cubicBezTo>
                      <a:pt x="5778" y="52408"/>
                      <a:pt x="3015" y="51654"/>
                      <a:pt x="1507" y="49896"/>
                    </a:cubicBezTo>
                    <a:cubicBezTo>
                      <a:pt x="-125" y="47886"/>
                      <a:pt x="251" y="44998"/>
                      <a:pt x="0" y="42486"/>
                    </a:cubicBezTo>
                    <a:cubicBezTo>
                      <a:pt x="0" y="39723"/>
                      <a:pt x="251" y="36709"/>
                      <a:pt x="1005" y="3382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EA26F007-B669-45A7-A0B0-EED3D59F79BF}"/>
                  </a:ext>
                </a:extLst>
              </p:cNvPr>
              <p:cNvSpPr/>
              <p:nvPr/>
            </p:nvSpPr>
            <p:spPr>
              <a:xfrm>
                <a:off x="11641198" y="2854996"/>
                <a:ext cx="25912" cy="41591"/>
              </a:xfrm>
              <a:custGeom>
                <a:avLst/>
                <a:gdLst>
                  <a:gd name="connsiteX0" fmla="*/ 16767 w 25912"/>
                  <a:gd name="connsiteY0" fmla="*/ 1382 h 41591"/>
                  <a:gd name="connsiteX1" fmla="*/ 11994 w 25912"/>
                  <a:gd name="connsiteY1" fmla="*/ 0 h 41591"/>
                  <a:gd name="connsiteX2" fmla="*/ 9356 w 25912"/>
                  <a:gd name="connsiteY2" fmla="*/ 2135 h 41591"/>
                  <a:gd name="connsiteX3" fmla="*/ 7598 w 25912"/>
                  <a:gd name="connsiteY3" fmla="*/ 10424 h 41591"/>
                  <a:gd name="connsiteX4" fmla="*/ 5966 w 25912"/>
                  <a:gd name="connsiteY4" fmla="*/ 17206 h 41591"/>
                  <a:gd name="connsiteX5" fmla="*/ 2071 w 25912"/>
                  <a:gd name="connsiteY5" fmla="*/ 26375 h 41591"/>
                  <a:gd name="connsiteX6" fmla="*/ 314 w 25912"/>
                  <a:gd name="connsiteY6" fmla="*/ 38181 h 41591"/>
                  <a:gd name="connsiteX7" fmla="*/ 690 w 25912"/>
                  <a:gd name="connsiteY7" fmla="*/ 39186 h 41591"/>
                  <a:gd name="connsiteX8" fmla="*/ 5588 w 25912"/>
                  <a:gd name="connsiteY8" fmla="*/ 41321 h 41591"/>
                  <a:gd name="connsiteX9" fmla="*/ 8603 w 25912"/>
                  <a:gd name="connsiteY9" fmla="*/ 41572 h 41591"/>
                  <a:gd name="connsiteX10" fmla="*/ 11617 w 25912"/>
                  <a:gd name="connsiteY10" fmla="*/ 41321 h 41591"/>
                  <a:gd name="connsiteX11" fmla="*/ 18525 w 25912"/>
                  <a:gd name="connsiteY11" fmla="*/ 33283 h 41591"/>
                  <a:gd name="connsiteX12" fmla="*/ 23172 w 25912"/>
                  <a:gd name="connsiteY12" fmla="*/ 23989 h 41591"/>
                  <a:gd name="connsiteX13" fmla="*/ 25307 w 25912"/>
                  <a:gd name="connsiteY13" fmla="*/ 14569 h 41591"/>
                  <a:gd name="connsiteX14" fmla="*/ 25433 w 25912"/>
                  <a:gd name="connsiteY14" fmla="*/ 6531 h 41591"/>
                  <a:gd name="connsiteX15" fmla="*/ 22293 w 25912"/>
                  <a:gd name="connsiteY15" fmla="*/ 3265 h 41591"/>
                  <a:gd name="connsiteX16" fmla="*/ 20157 w 25912"/>
                  <a:gd name="connsiteY16" fmla="*/ 2889 h 41591"/>
                  <a:gd name="connsiteX17" fmla="*/ 16767 w 25912"/>
                  <a:gd name="connsiteY17" fmla="*/ 1382 h 4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12" h="41591">
                    <a:moveTo>
                      <a:pt x="16767" y="1382"/>
                    </a:moveTo>
                    <a:cubicBezTo>
                      <a:pt x="15260" y="754"/>
                      <a:pt x="13627" y="0"/>
                      <a:pt x="11994" y="0"/>
                    </a:cubicBezTo>
                    <a:cubicBezTo>
                      <a:pt x="10487" y="126"/>
                      <a:pt x="9984" y="879"/>
                      <a:pt x="9356" y="2135"/>
                    </a:cubicBezTo>
                    <a:cubicBezTo>
                      <a:pt x="7975" y="4647"/>
                      <a:pt x="7849" y="7661"/>
                      <a:pt x="7598" y="10424"/>
                    </a:cubicBezTo>
                    <a:cubicBezTo>
                      <a:pt x="7347" y="12685"/>
                      <a:pt x="6593" y="14946"/>
                      <a:pt x="5966" y="17206"/>
                    </a:cubicBezTo>
                    <a:cubicBezTo>
                      <a:pt x="5086" y="20346"/>
                      <a:pt x="3076" y="23361"/>
                      <a:pt x="2071" y="26375"/>
                    </a:cubicBezTo>
                    <a:cubicBezTo>
                      <a:pt x="942" y="29891"/>
                      <a:pt x="-691" y="34539"/>
                      <a:pt x="314" y="38181"/>
                    </a:cubicBezTo>
                    <a:cubicBezTo>
                      <a:pt x="439" y="38558"/>
                      <a:pt x="564" y="38934"/>
                      <a:pt x="690" y="39186"/>
                    </a:cubicBezTo>
                    <a:cubicBezTo>
                      <a:pt x="1444" y="40316"/>
                      <a:pt x="4207" y="40944"/>
                      <a:pt x="5588" y="41321"/>
                    </a:cubicBezTo>
                    <a:cubicBezTo>
                      <a:pt x="6593" y="41572"/>
                      <a:pt x="7598" y="41572"/>
                      <a:pt x="8603" y="41572"/>
                    </a:cubicBezTo>
                    <a:cubicBezTo>
                      <a:pt x="9106" y="41572"/>
                      <a:pt x="11240" y="41697"/>
                      <a:pt x="11617" y="41321"/>
                    </a:cubicBezTo>
                    <a:cubicBezTo>
                      <a:pt x="14003" y="38809"/>
                      <a:pt x="16515" y="36171"/>
                      <a:pt x="18525" y="33283"/>
                    </a:cubicBezTo>
                    <a:cubicBezTo>
                      <a:pt x="20534" y="30394"/>
                      <a:pt x="21539" y="27129"/>
                      <a:pt x="23172" y="23989"/>
                    </a:cubicBezTo>
                    <a:cubicBezTo>
                      <a:pt x="24679" y="20974"/>
                      <a:pt x="24679" y="17834"/>
                      <a:pt x="25307" y="14569"/>
                    </a:cubicBezTo>
                    <a:cubicBezTo>
                      <a:pt x="25809" y="11931"/>
                      <a:pt x="26312" y="9294"/>
                      <a:pt x="25433" y="6531"/>
                    </a:cubicBezTo>
                    <a:cubicBezTo>
                      <a:pt x="24930" y="4898"/>
                      <a:pt x="23926" y="3768"/>
                      <a:pt x="22293" y="3265"/>
                    </a:cubicBezTo>
                    <a:cubicBezTo>
                      <a:pt x="21539" y="3014"/>
                      <a:pt x="20911" y="3140"/>
                      <a:pt x="20157" y="2889"/>
                    </a:cubicBezTo>
                    <a:cubicBezTo>
                      <a:pt x="18776" y="2512"/>
                      <a:pt x="17771" y="1758"/>
                      <a:pt x="16767" y="1382"/>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F7134055-C9CA-4E60-87B8-F4C6F111BB2D}"/>
                  </a:ext>
                </a:extLst>
              </p:cNvPr>
              <p:cNvSpPr/>
              <p:nvPr/>
            </p:nvSpPr>
            <p:spPr>
              <a:xfrm>
                <a:off x="11573546" y="2669869"/>
                <a:ext cx="44202" cy="150211"/>
              </a:xfrm>
              <a:custGeom>
                <a:avLst/>
                <a:gdLst>
                  <a:gd name="connsiteX0" fmla="*/ 31041 w 44202"/>
                  <a:gd name="connsiteY0" fmla="*/ 29766 h 150211"/>
                  <a:gd name="connsiteX1" fmla="*/ 41214 w 44202"/>
                  <a:gd name="connsiteY1" fmla="*/ 70082 h 150211"/>
                  <a:gd name="connsiteX2" fmla="*/ 43349 w 44202"/>
                  <a:gd name="connsiteY2" fmla="*/ 96582 h 150211"/>
                  <a:gd name="connsiteX3" fmla="*/ 39957 w 44202"/>
                  <a:gd name="connsiteY3" fmla="*/ 148202 h 150211"/>
                  <a:gd name="connsiteX4" fmla="*/ 20867 w 44202"/>
                  <a:gd name="connsiteY4" fmla="*/ 148202 h 150211"/>
                  <a:gd name="connsiteX5" fmla="*/ 12452 w 44202"/>
                  <a:gd name="connsiteY5" fmla="*/ 143680 h 150211"/>
                  <a:gd name="connsiteX6" fmla="*/ 13081 w 44202"/>
                  <a:gd name="connsiteY6" fmla="*/ 120571 h 150211"/>
                  <a:gd name="connsiteX7" fmla="*/ 13960 w 44202"/>
                  <a:gd name="connsiteY7" fmla="*/ 96834 h 150211"/>
                  <a:gd name="connsiteX8" fmla="*/ 10820 w 44202"/>
                  <a:gd name="connsiteY8" fmla="*/ 81511 h 150211"/>
                  <a:gd name="connsiteX9" fmla="*/ 1023 w 44202"/>
                  <a:gd name="connsiteY9" fmla="*/ 46973 h 150211"/>
                  <a:gd name="connsiteX10" fmla="*/ 2279 w 44202"/>
                  <a:gd name="connsiteY10" fmla="*/ 0 h 150211"/>
                  <a:gd name="connsiteX11" fmla="*/ 31041 w 44202"/>
                  <a:gd name="connsiteY11" fmla="*/ 29766 h 15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202" h="150211">
                    <a:moveTo>
                      <a:pt x="31041" y="29766"/>
                    </a:moveTo>
                    <a:cubicBezTo>
                      <a:pt x="31041" y="29766"/>
                      <a:pt x="42721" y="52624"/>
                      <a:pt x="41214" y="70082"/>
                    </a:cubicBezTo>
                    <a:cubicBezTo>
                      <a:pt x="39707" y="87414"/>
                      <a:pt x="40083" y="89172"/>
                      <a:pt x="43349" y="96582"/>
                    </a:cubicBezTo>
                    <a:cubicBezTo>
                      <a:pt x="46489" y="103992"/>
                      <a:pt x="39957" y="148202"/>
                      <a:pt x="39957" y="148202"/>
                    </a:cubicBezTo>
                    <a:cubicBezTo>
                      <a:pt x="39957" y="148202"/>
                      <a:pt x="29156" y="152723"/>
                      <a:pt x="20867" y="148202"/>
                    </a:cubicBezTo>
                    <a:cubicBezTo>
                      <a:pt x="12452" y="143680"/>
                      <a:pt x="12452" y="143680"/>
                      <a:pt x="12452" y="143680"/>
                    </a:cubicBezTo>
                    <a:cubicBezTo>
                      <a:pt x="12703" y="136019"/>
                      <a:pt x="12829" y="128358"/>
                      <a:pt x="13081" y="120571"/>
                    </a:cubicBezTo>
                    <a:cubicBezTo>
                      <a:pt x="13331" y="112659"/>
                      <a:pt x="13960" y="104746"/>
                      <a:pt x="13960" y="96834"/>
                    </a:cubicBezTo>
                    <a:cubicBezTo>
                      <a:pt x="13960" y="90931"/>
                      <a:pt x="13331" y="86660"/>
                      <a:pt x="10820" y="81511"/>
                    </a:cubicBezTo>
                    <a:cubicBezTo>
                      <a:pt x="5670" y="70710"/>
                      <a:pt x="2405" y="58904"/>
                      <a:pt x="1023" y="46973"/>
                    </a:cubicBezTo>
                    <a:cubicBezTo>
                      <a:pt x="-1865" y="22607"/>
                      <a:pt x="2279" y="0"/>
                      <a:pt x="2279" y="0"/>
                    </a:cubicBezTo>
                    <a:lnTo>
                      <a:pt x="31041" y="29766"/>
                    </a:ln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354982D1-FDE4-400B-838D-F44FACFEC947}"/>
                  </a:ext>
                </a:extLst>
              </p:cNvPr>
              <p:cNvSpPr/>
              <p:nvPr/>
            </p:nvSpPr>
            <p:spPr>
              <a:xfrm>
                <a:off x="11573672" y="2669869"/>
                <a:ext cx="36672" cy="150462"/>
              </a:xfrm>
              <a:custGeom>
                <a:avLst/>
                <a:gdLst>
                  <a:gd name="connsiteX0" fmla="*/ 2279 w 36672"/>
                  <a:gd name="connsiteY0" fmla="*/ 0 h 150462"/>
                  <a:gd name="connsiteX1" fmla="*/ 8433 w 36672"/>
                  <a:gd name="connsiteY1" fmla="*/ 6405 h 150462"/>
                  <a:gd name="connsiteX2" fmla="*/ 20992 w 36672"/>
                  <a:gd name="connsiteY2" fmla="*/ 22858 h 150462"/>
                  <a:gd name="connsiteX3" fmla="*/ 31166 w 36672"/>
                  <a:gd name="connsiteY3" fmla="*/ 30645 h 150462"/>
                  <a:gd name="connsiteX4" fmla="*/ 31794 w 36672"/>
                  <a:gd name="connsiteY4" fmla="*/ 31524 h 150462"/>
                  <a:gd name="connsiteX5" fmla="*/ 34808 w 36672"/>
                  <a:gd name="connsiteY5" fmla="*/ 38432 h 150462"/>
                  <a:gd name="connsiteX6" fmla="*/ 31794 w 36672"/>
                  <a:gd name="connsiteY6" fmla="*/ 53629 h 150462"/>
                  <a:gd name="connsiteX7" fmla="*/ 31919 w 36672"/>
                  <a:gd name="connsiteY7" fmla="*/ 61918 h 150462"/>
                  <a:gd name="connsiteX8" fmla="*/ 32548 w 36672"/>
                  <a:gd name="connsiteY8" fmla="*/ 72971 h 150462"/>
                  <a:gd name="connsiteX9" fmla="*/ 33427 w 36672"/>
                  <a:gd name="connsiteY9" fmla="*/ 83395 h 150462"/>
                  <a:gd name="connsiteX10" fmla="*/ 34305 w 36672"/>
                  <a:gd name="connsiteY10" fmla="*/ 88670 h 150462"/>
                  <a:gd name="connsiteX11" fmla="*/ 32673 w 36672"/>
                  <a:gd name="connsiteY11" fmla="*/ 91684 h 150462"/>
                  <a:gd name="connsiteX12" fmla="*/ 22499 w 36672"/>
                  <a:gd name="connsiteY12" fmla="*/ 91559 h 150462"/>
                  <a:gd name="connsiteX13" fmla="*/ 24007 w 36672"/>
                  <a:gd name="connsiteY13" fmla="*/ 92061 h 150462"/>
                  <a:gd name="connsiteX14" fmla="*/ 34683 w 36672"/>
                  <a:gd name="connsiteY14" fmla="*/ 97838 h 150462"/>
                  <a:gd name="connsiteX15" fmla="*/ 36441 w 36672"/>
                  <a:gd name="connsiteY15" fmla="*/ 108388 h 150462"/>
                  <a:gd name="connsiteX16" fmla="*/ 35436 w 36672"/>
                  <a:gd name="connsiteY16" fmla="*/ 121450 h 150462"/>
                  <a:gd name="connsiteX17" fmla="*/ 30036 w 36672"/>
                  <a:gd name="connsiteY17" fmla="*/ 147323 h 150462"/>
                  <a:gd name="connsiteX18" fmla="*/ 29031 w 36672"/>
                  <a:gd name="connsiteY18" fmla="*/ 150463 h 150462"/>
                  <a:gd name="connsiteX19" fmla="*/ 20867 w 36672"/>
                  <a:gd name="connsiteY19" fmla="*/ 148453 h 150462"/>
                  <a:gd name="connsiteX20" fmla="*/ 12452 w 36672"/>
                  <a:gd name="connsiteY20" fmla="*/ 143932 h 150462"/>
                  <a:gd name="connsiteX21" fmla="*/ 13080 w 36672"/>
                  <a:gd name="connsiteY21" fmla="*/ 120822 h 150462"/>
                  <a:gd name="connsiteX22" fmla="*/ 13959 w 36672"/>
                  <a:gd name="connsiteY22" fmla="*/ 97085 h 150462"/>
                  <a:gd name="connsiteX23" fmla="*/ 10819 w 36672"/>
                  <a:gd name="connsiteY23" fmla="*/ 81762 h 150462"/>
                  <a:gd name="connsiteX24" fmla="*/ 1023 w 36672"/>
                  <a:gd name="connsiteY24" fmla="*/ 47224 h 150462"/>
                  <a:gd name="connsiteX25" fmla="*/ 2279 w 36672"/>
                  <a:gd name="connsiteY25" fmla="*/ 0 h 15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672" h="150462">
                    <a:moveTo>
                      <a:pt x="2279" y="0"/>
                    </a:moveTo>
                    <a:lnTo>
                      <a:pt x="8433" y="6405"/>
                    </a:lnTo>
                    <a:cubicBezTo>
                      <a:pt x="12452" y="11932"/>
                      <a:pt x="15843" y="18337"/>
                      <a:pt x="20992" y="22858"/>
                    </a:cubicBezTo>
                    <a:cubicBezTo>
                      <a:pt x="24258" y="25621"/>
                      <a:pt x="28026" y="27631"/>
                      <a:pt x="31166" y="30645"/>
                    </a:cubicBezTo>
                    <a:cubicBezTo>
                      <a:pt x="31417" y="30896"/>
                      <a:pt x="31543" y="31148"/>
                      <a:pt x="31794" y="31524"/>
                    </a:cubicBezTo>
                    <a:cubicBezTo>
                      <a:pt x="32422" y="33031"/>
                      <a:pt x="33552" y="35418"/>
                      <a:pt x="34808" y="38432"/>
                    </a:cubicBezTo>
                    <a:cubicBezTo>
                      <a:pt x="35185" y="43707"/>
                      <a:pt x="32171" y="48354"/>
                      <a:pt x="31794" y="53629"/>
                    </a:cubicBezTo>
                    <a:cubicBezTo>
                      <a:pt x="31543" y="56392"/>
                      <a:pt x="31668" y="59155"/>
                      <a:pt x="31919" y="61918"/>
                    </a:cubicBezTo>
                    <a:cubicBezTo>
                      <a:pt x="32171" y="65560"/>
                      <a:pt x="32296" y="69328"/>
                      <a:pt x="32548" y="72971"/>
                    </a:cubicBezTo>
                    <a:cubicBezTo>
                      <a:pt x="32798" y="76487"/>
                      <a:pt x="32924" y="79878"/>
                      <a:pt x="33427" y="83395"/>
                    </a:cubicBezTo>
                    <a:cubicBezTo>
                      <a:pt x="33678" y="85153"/>
                      <a:pt x="33929" y="86912"/>
                      <a:pt x="34305" y="88670"/>
                    </a:cubicBezTo>
                    <a:cubicBezTo>
                      <a:pt x="34683" y="90679"/>
                      <a:pt x="34808" y="91182"/>
                      <a:pt x="32673" y="91684"/>
                    </a:cubicBezTo>
                    <a:cubicBezTo>
                      <a:pt x="29282" y="92563"/>
                      <a:pt x="25765" y="92563"/>
                      <a:pt x="22499" y="91559"/>
                    </a:cubicBezTo>
                    <a:cubicBezTo>
                      <a:pt x="23002" y="91559"/>
                      <a:pt x="23504" y="91810"/>
                      <a:pt x="24007" y="92061"/>
                    </a:cubicBezTo>
                    <a:cubicBezTo>
                      <a:pt x="27649" y="93945"/>
                      <a:pt x="31166" y="95829"/>
                      <a:pt x="34683" y="97838"/>
                    </a:cubicBezTo>
                    <a:cubicBezTo>
                      <a:pt x="37445" y="99346"/>
                      <a:pt x="36567" y="105625"/>
                      <a:pt x="36441" y="108388"/>
                    </a:cubicBezTo>
                    <a:cubicBezTo>
                      <a:pt x="36441" y="112784"/>
                      <a:pt x="36064" y="117054"/>
                      <a:pt x="35436" y="121450"/>
                    </a:cubicBezTo>
                    <a:cubicBezTo>
                      <a:pt x="34180" y="130116"/>
                      <a:pt x="32171" y="138782"/>
                      <a:pt x="30036" y="147323"/>
                    </a:cubicBezTo>
                    <a:cubicBezTo>
                      <a:pt x="29784" y="148327"/>
                      <a:pt x="29534" y="149458"/>
                      <a:pt x="29031" y="150463"/>
                    </a:cubicBezTo>
                    <a:cubicBezTo>
                      <a:pt x="26394" y="150463"/>
                      <a:pt x="23504" y="149960"/>
                      <a:pt x="20867" y="148453"/>
                    </a:cubicBezTo>
                    <a:cubicBezTo>
                      <a:pt x="12452" y="143932"/>
                      <a:pt x="12452" y="143932"/>
                      <a:pt x="12452" y="143932"/>
                    </a:cubicBezTo>
                    <a:cubicBezTo>
                      <a:pt x="12703" y="136270"/>
                      <a:pt x="12829" y="128609"/>
                      <a:pt x="13080" y="120822"/>
                    </a:cubicBezTo>
                    <a:cubicBezTo>
                      <a:pt x="13331" y="112910"/>
                      <a:pt x="13959" y="104997"/>
                      <a:pt x="13959" y="97085"/>
                    </a:cubicBezTo>
                    <a:cubicBezTo>
                      <a:pt x="13959" y="91182"/>
                      <a:pt x="13331" y="86912"/>
                      <a:pt x="10819" y="81762"/>
                    </a:cubicBezTo>
                    <a:cubicBezTo>
                      <a:pt x="5670" y="70961"/>
                      <a:pt x="2405" y="59155"/>
                      <a:pt x="1023" y="47224"/>
                    </a:cubicBezTo>
                    <a:cubicBezTo>
                      <a:pt x="-1865" y="22607"/>
                      <a:pt x="2279" y="0"/>
                      <a:pt x="2279" y="0"/>
                    </a:cubicBezTo>
                    <a:close/>
                  </a:path>
                </a:pathLst>
              </a:custGeom>
              <a:solidFill>
                <a:srgbClr val="47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7B5D0485-40BA-481A-A824-AA75448DF61F}"/>
                  </a:ext>
                </a:extLst>
              </p:cNvPr>
              <p:cNvSpPr/>
              <p:nvPr/>
            </p:nvSpPr>
            <p:spPr>
              <a:xfrm>
                <a:off x="11574655" y="2656305"/>
                <a:ext cx="101653" cy="206340"/>
              </a:xfrm>
              <a:custGeom>
                <a:avLst/>
                <a:gdLst>
                  <a:gd name="connsiteX0" fmla="*/ 100641 w 101653"/>
                  <a:gd name="connsiteY0" fmla="*/ 200952 h 206340"/>
                  <a:gd name="connsiteX1" fmla="*/ 97752 w 101653"/>
                  <a:gd name="connsiteY1" fmla="*/ 138908 h 206340"/>
                  <a:gd name="connsiteX2" fmla="*/ 88082 w 101653"/>
                  <a:gd name="connsiteY2" fmla="*/ 111277 h 206340"/>
                  <a:gd name="connsiteX3" fmla="*/ 75522 w 101653"/>
                  <a:gd name="connsiteY3" fmla="*/ 65937 h 206340"/>
                  <a:gd name="connsiteX4" fmla="*/ 74392 w 101653"/>
                  <a:gd name="connsiteY4" fmla="*/ 34162 h 206340"/>
                  <a:gd name="connsiteX5" fmla="*/ 63842 w 101653"/>
                  <a:gd name="connsiteY5" fmla="*/ 16327 h 206340"/>
                  <a:gd name="connsiteX6" fmla="*/ 26289 w 101653"/>
                  <a:gd name="connsiteY6" fmla="*/ 14192 h 206340"/>
                  <a:gd name="connsiteX7" fmla="*/ 1295 w 101653"/>
                  <a:gd name="connsiteY7" fmla="*/ 0 h 206340"/>
                  <a:gd name="connsiteX8" fmla="*/ 7952 w 101653"/>
                  <a:gd name="connsiteY8" fmla="*/ 43833 h 206340"/>
                  <a:gd name="connsiteX9" fmla="*/ 31438 w 101653"/>
                  <a:gd name="connsiteY9" fmla="*/ 63928 h 206340"/>
                  <a:gd name="connsiteX10" fmla="*/ 53920 w 101653"/>
                  <a:gd name="connsiteY10" fmla="*/ 120068 h 206340"/>
                  <a:gd name="connsiteX11" fmla="*/ 67358 w 101653"/>
                  <a:gd name="connsiteY11" fmla="*/ 142048 h 206340"/>
                  <a:gd name="connsiteX12" fmla="*/ 70247 w 101653"/>
                  <a:gd name="connsiteY12" fmla="*/ 168423 h 206340"/>
                  <a:gd name="connsiteX13" fmla="*/ 72257 w 101653"/>
                  <a:gd name="connsiteY13" fmla="*/ 199821 h 206340"/>
                  <a:gd name="connsiteX14" fmla="*/ 100641 w 101653"/>
                  <a:gd name="connsiteY14" fmla="*/ 200952 h 20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653" h="206340">
                    <a:moveTo>
                      <a:pt x="100641" y="200952"/>
                    </a:moveTo>
                    <a:cubicBezTo>
                      <a:pt x="100641" y="200952"/>
                      <a:pt x="104283" y="152598"/>
                      <a:pt x="97752" y="138908"/>
                    </a:cubicBezTo>
                    <a:cubicBezTo>
                      <a:pt x="91222" y="125218"/>
                      <a:pt x="87830" y="120571"/>
                      <a:pt x="88082" y="111277"/>
                    </a:cubicBezTo>
                    <a:cubicBezTo>
                      <a:pt x="88332" y="101983"/>
                      <a:pt x="75522" y="65937"/>
                      <a:pt x="75522" y="65937"/>
                    </a:cubicBezTo>
                    <a:cubicBezTo>
                      <a:pt x="75522" y="65937"/>
                      <a:pt x="80797" y="48856"/>
                      <a:pt x="74392" y="34162"/>
                    </a:cubicBezTo>
                    <a:cubicBezTo>
                      <a:pt x="67986" y="19342"/>
                      <a:pt x="63842" y="16327"/>
                      <a:pt x="63842" y="16327"/>
                    </a:cubicBezTo>
                    <a:cubicBezTo>
                      <a:pt x="63842" y="16327"/>
                      <a:pt x="52161" y="24617"/>
                      <a:pt x="26289" y="14192"/>
                    </a:cubicBezTo>
                    <a:cubicBezTo>
                      <a:pt x="416" y="3768"/>
                      <a:pt x="1295" y="0"/>
                      <a:pt x="1295" y="0"/>
                    </a:cubicBezTo>
                    <a:cubicBezTo>
                      <a:pt x="1295" y="0"/>
                      <a:pt x="-4357" y="26877"/>
                      <a:pt x="7952" y="43833"/>
                    </a:cubicBezTo>
                    <a:cubicBezTo>
                      <a:pt x="20134" y="60788"/>
                      <a:pt x="31438" y="63928"/>
                      <a:pt x="31438" y="63928"/>
                    </a:cubicBezTo>
                    <a:cubicBezTo>
                      <a:pt x="31438" y="63928"/>
                      <a:pt x="43244" y="104369"/>
                      <a:pt x="53920" y="120068"/>
                    </a:cubicBezTo>
                    <a:cubicBezTo>
                      <a:pt x="58692" y="126976"/>
                      <a:pt x="64720" y="134010"/>
                      <a:pt x="67358" y="142048"/>
                    </a:cubicBezTo>
                    <a:cubicBezTo>
                      <a:pt x="70122" y="150588"/>
                      <a:pt x="69745" y="159631"/>
                      <a:pt x="70247" y="168423"/>
                    </a:cubicBezTo>
                    <a:cubicBezTo>
                      <a:pt x="70875" y="178847"/>
                      <a:pt x="71503" y="189397"/>
                      <a:pt x="72257" y="199821"/>
                    </a:cubicBezTo>
                    <a:cubicBezTo>
                      <a:pt x="72257" y="199696"/>
                      <a:pt x="83058" y="213762"/>
                      <a:pt x="100641" y="200952"/>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D86C8DB2-5D66-4005-8A0B-C0872EA5823D}"/>
                  </a:ext>
                </a:extLst>
              </p:cNvPr>
              <p:cNvSpPr/>
              <p:nvPr/>
            </p:nvSpPr>
            <p:spPr>
              <a:xfrm>
                <a:off x="11630208" y="2672507"/>
                <a:ext cx="46352" cy="188517"/>
              </a:xfrm>
              <a:custGeom>
                <a:avLst/>
                <a:gdLst>
                  <a:gd name="connsiteX0" fmla="*/ 6028 w 46352"/>
                  <a:gd name="connsiteY0" fmla="*/ 12559 h 188517"/>
                  <a:gd name="connsiteX1" fmla="*/ 0 w 46352"/>
                  <a:gd name="connsiteY1" fmla="*/ 2763 h 188517"/>
                  <a:gd name="connsiteX2" fmla="*/ 8540 w 46352"/>
                  <a:gd name="connsiteY2" fmla="*/ 0 h 188517"/>
                  <a:gd name="connsiteX3" fmla="*/ 19091 w 46352"/>
                  <a:gd name="connsiteY3" fmla="*/ 17835 h 188517"/>
                  <a:gd name="connsiteX4" fmla="*/ 20221 w 46352"/>
                  <a:gd name="connsiteY4" fmla="*/ 49610 h 188517"/>
                  <a:gd name="connsiteX5" fmla="*/ 32780 w 46352"/>
                  <a:gd name="connsiteY5" fmla="*/ 94950 h 188517"/>
                  <a:gd name="connsiteX6" fmla="*/ 42451 w 46352"/>
                  <a:gd name="connsiteY6" fmla="*/ 122581 h 188517"/>
                  <a:gd name="connsiteX7" fmla="*/ 45340 w 46352"/>
                  <a:gd name="connsiteY7" fmla="*/ 184624 h 188517"/>
                  <a:gd name="connsiteX8" fmla="*/ 38306 w 46352"/>
                  <a:gd name="connsiteY8" fmla="*/ 188518 h 188517"/>
                  <a:gd name="connsiteX9" fmla="*/ 39939 w 46352"/>
                  <a:gd name="connsiteY9" fmla="*/ 176084 h 188517"/>
                  <a:gd name="connsiteX10" fmla="*/ 41070 w 46352"/>
                  <a:gd name="connsiteY10" fmla="*/ 157119 h 188517"/>
                  <a:gd name="connsiteX11" fmla="*/ 33534 w 46352"/>
                  <a:gd name="connsiteY11" fmla="*/ 121073 h 188517"/>
                  <a:gd name="connsiteX12" fmla="*/ 27003 w 46352"/>
                  <a:gd name="connsiteY12" fmla="*/ 104621 h 188517"/>
                  <a:gd name="connsiteX13" fmla="*/ 23236 w 46352"/>
                  <a:gd name="connsiteY13" fmla="*/ 94573 h 188517"/>
                  <a:gd name="connsiteX14" fmla="*/ 15072 w 46352"/>
                  <a:gd name="connsiteY14" fmla="*/ 57899 h 188517"/>
                  <a:gd name="connsiteX15" fmla="*/ 11304 w 46352"/>
                  <a:gd name="connsiteY15" fmla="*/ 45717 h 188517"/>
                  <a:gd name="connsiteX16" fmla="*/ 6028 w 46352"/>
                  <a:gd name="connsiteY16" fmla="*/ 12559 h 18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352" h="188517">
                    <a:moveTo>
                      <a:pt x="6028" y="12559"/>
                    </a:moveTo>
                    <a:cubicBezTo>
                      <a:pt x="5526" y="11304"/>
                      <a:pt x="628" y="2763"/>
                      <a:pt x="0" y="2763"/>
                    </a:cubicBezTo>
                    <a:cubicBezTo>
                      <a:pt x="5778" y="1884"/>
                      <a:pt x="8540" y="0"/>
                      <a:pt x="8540" y="0"/>
                    </a:cubicBezTo>
                    <a:cubicBezTo>
                      <a:pt x="8540" y="0"/>
                      <a:pt x="12685" y="3140"/>
                      <a:pt x="19091" y="17835"/>
                    </a:cubicBezTo>
                    <a:cubicBezTo>
                      <a:pt x="25496" y="32655"/>
                      <a:pt x="20221" y="49610"/>
                      <a:pt x="20221" y="49610"/>
                    </a:cubicBezTo>
                    <a:cubicBezTo>
                      <a:pt x="20221" y="49610"/>
                      <a:pt x="33031" y="85656"/>
                      <a:pt x="32780" y="94950"/>
                    </a:cubicBezTo>
                    <a:cubicBezTo>
                      <a:pt x="32529" y="104244"/>
                      <a:pt x="35920" y="108891"/>
                      <a:pt x="42451" y="122581"/>
                    </a:cubicBezTo>
                    <a:cubicBezTo>
                      <a:pt x="48982" y="136270"/>
                      <a:pt x="45340" y="184624"/>
                      <a:pt x="45340" y="184624"/>
                    </a:cubicBezTo>
                    <a:cubicBezTo>
                      <a:pt x="42828" y="186383"/>
                      <a:pt x="40567" y="187639"/>
                      <a:pt x="38306" y="188518"/>
                    </a:cubicBezTo>
                    <a:cubicBezTo>
                      <a:pt x="37930" y="184499"/>
                      <a:pt x="39688" y="178973"/>
                      <a:pt x="39939" y="176084"/>
                    </a:cubicBezTo>
                    <a:cubicBezTo>
                      <a:pt x="40567" y="169804"/>
                      <a:pt x="41070" y="163399"/>
                      <a:pt x="41070" y="157119"/>
                    </a:cubicBezTo>
                    <a:cubicBezTo>
                      <a:pt x="41070" y="144685"/>
                      <a:pt x="39186" y="132126"/>
                      <a:pt x="33534" y="121073"/>
                    </a:cubicBezTo>
                    <a:cubicBezTo>
                      <a:pt x="30897" y="115924"/>
                      <a:pt x="29264" y="110147"/>
                      <a:pt x="27003" y="104621"/>
                    </a:cubicBezTo>
                    <a:cubicBezTo>
                      <a:pt x="25621" y="101355"/>
                      <a:pt x="24365" y="97964"/>
                      <a:pt x="23236" y="94573"/>
                    </a:cubicBezTo>
                    <a:cubicBezTo>
                      <a:pt x="19593" y="82516"/>
                      <a:pt x="19593" y="69705"/>
                      <a:pt x="15072" y="57899"/>
                    </a:cubicBezTo>
                    <a:cubicBezTo>
                      <a:pt x="13564" y="53880"/>
                      <a:pt x="12057" y="49861"/>
                      <a:pt x="11304" y="45717"/>
                    </a:cubicBezTo>
                    <a:cubicBezTo>
                      <a:pt x="9294" y="34664"/>
                      <a:pt x="10801" y="23109"/>
                      <a:pt x="6028" y="12559"/>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BD5F17D8-CD57-4FBF-9643-11F6E42A8C1D}"/>
                  </a:ext>
                </a:extLst>
              </p:cNvPr>
              <p:cNvSpPr/>
              <p:nvPr/>
            </p:nvSpPr>
            <p:spPr>
              <a:xfrm>
                <a:off x="11529230" y="2543713"/>
                <a:ext cx="62555" cy="109703"/>
              </a:xfrm>
              <a:custGeom>
                <a:avLst/>
                <a:gdLst>
                  <a:gd name="connsiteX0" fmla="*/ 59280 w 62555"/>
                  <a:gd name="connsiteY0" fmla="*/ 938 h 109703"/>
                  <a:gd name="connsiteX1" fmla="*/ 44460 w 62555"/>
                  <a:gd name="connsiteY1" fmla="*/ 3325 h 109703"/>
                  <a:gd name="connsiteX2" fmla="*/ 37301 w 62555"/>
                  <a:gd name="connsiteY2" fmla="*/ 24927 h 109703"/>
                  <a:gd name="connsiteX3" fmla="*/ 33785 w 62555"/>
                  <a:gd name="connsiteY3" fmla="*/ 58838 h 109703"/>
                  <a:gd name="connsiteX4" fmla="*/ 29012 w 62555"/>
                  <a:gd name="connsiteY4" fmla="*/ 66248 h 109703"/>
                  <a:gd name="connsiteX5" fmla="*/ 24868 w 62555"/>
                  <a:gd name="connsiteY5" fmla="*/ 71648 h 109703"/>
                  <a:gd name="connsiteX6" fmla="*/ 13564 w 62555"/>
                  <a:gd name="connsiteY6" fmla="*/ 84836 h 109703"/>
                  <a:gd name="connsiteX7" fmla="*/ 0 w 62555"/>
                  <a:gd name="connsiteY7" fmla="*/ 97144 h 109703"/>
                  <a:gd name="connsiteX8" fmla="*/ 4647 w 62555"/>
                  <a:gd name="connsiteY8" fmla="*/ 98149 h 109703"/>
                  <a:gd name="connsiteX9" fmla="*/ 8289 w 62555"/>
                  <a:gd name="connsiteY9" fmla="*/ 100410 h 109703"/>
                  <a:gd name="connsiteX10" fmla="*/ 11178 w 62555"/>
                  <a:gd name="connsiteY10" fmla="*/ 106061 h 109703"/>
                  <a:gd name="connsiteX11" fmla="*/ 11303 w 62555"/>
                  <a:gd name="connsiteY11" fmla="*/ 108322 h 109703"/>
                  <a:gd name="connsiteX12" fmla="*/ 11052 w 62555"/>
                  <a:gd name="connsiteY12" fmla="*/ 109704 h 109703"/>
                  <a:gd name="connsiteX13" fmla="*/ 23486 w 62555"/>
                  <a:gd name="connsiteY13" fmla="*/ 100661 h 109703"/>
                  <a:gd name="connsiteX14" fmla="*/ 35292 w 62555"/>
                  <a:gd name="connsiteY14" fmla="*/ 90864 h 109703"/>
                  <a:gd name="connsiteX15" fmla="*/ 39813 w 62555"/>
                  <a:gd name="connsiteY15" fmla="*/ 86469 h 109703"/>
                  <a:gd name="connsiteX16" fmla="*/ 41823 w 62555"/>
                  <a:gd name="connsiteY16" fmla="*/ 80566 h 109703"/>
                  <a:gd name="connsiteX17" fmla="*/ 46470 w 62555"/>
                  <a:gd name="connsiteY17" fmla="*/ 72904 h 109703"/>
                  <a:gd name="connsiteX18" fmla="*/ 54257 w 62555"/>
                  <a:gd name="connsiteY18" fmla="*/ 52432 h 109703"/>
                  <a:gd name="connsiteX19" fmla="*/ 62420 w 62555"/>
                  <a:gd name="connsiteY19" fmla="*/ 8223 h 109703"/>
                  <a:gd name="connsiteX20" fmla="*/ 59280 w 62555"/>
                  <a:gd name="connsiteY20" fmla="*/ 938 h 109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555" h="109703">
                    <a:moveTo>
                      <a:pt x="59280" y="938"/>
                    </a:moveTo>
                    <a:cubicBezTo>
                      <a:pt x="59280" y="938"/>
                      <a:pt x="50489" y="-2327"/>
                      <a:pt x="44460" y="3325"/>
                    </a:cubicBezTo>
                    <a:cubicBezTo>
                      <a:pt x="38432" y="8977"/>
                      <a:pt x="37929" y="12996"/>
                      <a:pt x="37301" y="24927"/>
                    </a:cubicBezTo>
                    <a:cubicBezTo>
                      <a:pt x="36799" y="35728"/>
                      <a:pt x="38306" y="48790"/>
                      <a:pt x="33785" y="58838"/>
                    </a:cubicBezTo>
                    <a:cubicBezTo>
                      <a:pt x="32529" y="61475"/>
                      <a:pt x="30771" y="63861"/>
                      <a:pt x="29012" y="66248"/>
                    </a:cubicBezTo>
                    <a:cubicBezTo>
                      <a:pt x="27631" y="68132"/>
                      <a:pt x="26249" y="69890"/>
                      <a:pt x="24868" y="71648"/>
                    </a:cubicBezTo>
                    <a:cubicBezTo>
                      <a:pt x="21351" y="75919"/>
                      <a:pt x="17583" y="80691"/>
                      <a:pt x="13564" y="84836"/>
                    </a:cubicBezTo>
                    <a:cubicBezTo>
                      <a:pt x="9545" y="88855"/>
                      <a:pt x="3893" y="93753"/>
                      <a:pt x="0" y="97144"/>
                    </a:cubicBezTo>
                    <a:cubicBezTo>
                      <a:pt x="376" y="96516"/>
                      <a:pt x="4270" y="98023"/>
                      <a:pt x="4647" y="98149"/>
                    </a:cubicBezTo>
                    <a:cubicBezTo>
                      <a:pt x="6028" y="98651"/>
                      <a:pt x="7284" y="99405"/>
                      <a:pt x="8289" y="100410"/>
                    </a:cubicBezTo>
                    <a:cubicBezTo>
                      <a:pt x="9796" y="101917"/>
                      <a:pt x="10927" y="103926"/>
                      <a:pt x="11178" y="106061"/>
                    </a:cubicBezTo>
                    <a:cubicBezTo>
                      <a:pt x="11303" y="106815"/>
                      <a:pt x="11303" y="107568"/>
                      <a:pt x="11303" y="108322"/>
                    </a:cubicBezTo>
                    <a:cubicBezTo>
                      <a:pt x="11303" y="108950"/>
                      <a:pt x="11178" y="109201"/>
                      <a:pt x="11052" y="109704"/>
                    </a:cubicBezTo>
                    <a:cubicBezTo>
                      <a:pt x="15448" y="106940"/>
                      <a:pt x="19341" y="103675"/>
                      <a:pt x="23486" y="100661"/>
                    </a:cubicBezTo>
                    <a:cubicBezTo>
                      <a:pt x="27631" y="97646"/>
                      <a:pt x="31399" y="94130"/>
                      <a:pt x="35292" y="90864"/>
                    </a:cubicBezTo>
                    <a:cubicBezTo>
                      <a:pt x="36925" y="89608"/>
                      <a:pt x="38808" y="88352"/>
                      <a:pt x="39813" y="86469"/>
                    </a:cubicBezTo>
                    <a:cubicBezTo>
                      <a:pt x="40818" y="84710"/>
                      <a:pt x="40818" y="82450"/>
                      <a:pt x="41823" y="80566"/>
                    </a:cubicBezTo>
                    <a:cubicBezTo>
                      <a:pt x="43205" y="77928"/>
                      <a:pt x="45088" y="75667"/>
                      <a:pt x="46470" y="72904"/>
                    </a:cubicBezTo>
                    <a:cubicBezTo>
                      <a:pt x="49610" y="66373"/>
                      <a:pt x="52121" y="59340"/>
                      <a:pt x="54257" y="52432"/>
                    </a:cubicBezTo>
                    <a:cubicBezTo>
                      <a:pt x="58653" y="38617"/>
                      <a:pt x="63425" y="22792"/>
                      <a:pt x="62420" y="8223"/>
                    </a:cubicBezTo>
                    <a:cubicBezTo>
                      <a:pt x="62420" y="5711"/>
                      <a:pt x="62170" y="1943"/>
                      <a:pt x="59280" y="938"/>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61DE55F3-A25F-4C82-BCF1-51F5D1323D64}"/>
                  </a:ext>
                </a:extLst>
              </p:cNvPr>
              <p:cNvSpPr/>
              <p:nvPr/>
            </p:nvSpPr>
            <p:spPr>
              <a:xfrm>
                <a:off x="11568792" y="2540976"/>
                <a:ext cx="30268" cy="13471"/>
              </a:xfrm>
              <a:custGeom>
                <a:avLst/>
                <a:gdLst>
                  <a:gd name="connsiteX0" fmla="*/ 0 w 30268"/>
                  <a:gd name="connsiteY0" fmla="*/ 13471 h 13471"/>
                  <a:gd name="connsiteX1" fmla="*/ 7913 w 30268"/>
                  <a:gd name="connsiteY1" fmla="*/ 4177 h 13471"/>
                  <a:gd name="connsiteX2" fmla="*/ 27003 w 30268"/>
                  <a:gd name="connsiteY2" fmla="*/ 158 h 13471"/>
                  <a:gd name="connsiteX3" fmla="*/ 30269 w 30268"/>
                  <a:gd name="connsiteY3" fmla="*/ 7443 h 13471"/>
                  <a:gd name="connsiteX4" fmla="*/ 18589 w 30268"/>
                  <a:gd name="connsiteY4" fmla="*/ 6689 h 13471"/>
                  <a:gd name="connsiteX5" fmla="*/ 1633 w 30268"/>
                  <a:gd name="connsiteY5" fmla="*/ 11713 h 13471"/>
                  <a:gd name="connsiteX6" fmla="*/ 0 w 30268"/>
                  <a:gd name="connsiteY6" fmla="*/ 13471 h 1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8" h="13471">
                    <a:moveTo>
                      <a:pt x="0" y="13471"/>
                    </a:moveTo>
                    <a:cubicBezTo>
                      <a:pt x="879" y="9075"/>
                      <a:pt x="3893" y="7192"/>
                      <a:pt x="7913" y="4177"/>
                    </a:cubicBezTo>
                    <a:cubicBezTo>
                      <a:pt x="15072" y="-1223"/>
                      <a:pt x="27003" y="158"/>
                      <a:pt x="27003" y="158"/>
                    </a:cubicBezTo>
                    <a:cubicBezTo>
                      <a:pt x="29012" y="661"/>
                      <a:pt x="30017" y="3298"/>
                      <a:pt x="30269" y="7443"/>
                    </a:cubicBezTo>
                    <a:cubicBezTo>
                      <a:pt x="26501" y="8071"/>
                      <a:pt x="21979" y="6815"/>
                      <a:pt x="18589" y="6689"/>
                    </a:cubicBezTo>
                    <a:cubicBezTo>
                      <a:pt x="14444" y="6564"/>
                      <a:pt x="4773" y="9075"/>
                      <a:pt x="1633" y="11713"/>
                    </a:cubicBezTo>
                    <a:cubicBezTo>
                      <a:pt x="1131" y="12215"/>
                      <a:pt x="629" y="12843"/>
                      <a:pt x="0" y="13471"/>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8F88426-F3E8-4195-ACDF-49C5167D97AE}"/>
                  </a:ext>
                </a:extLst>
              </p:cNvPr>
              <p:cNvSpPr/>
              <p:nvPr/>
            </p:nvSpPr>
            <p:spPr>
              <a:xfrm>
                <a:off x="11573676" y="2537936"/>
                <a:ext cx="91718" cy="140045"/>
              </a:xfrm>
              <a:custGeom>
                <a:avLst/>
                <a:gdLst>
                  <a:gd name="connsiteX0" fmla="*/ 14 w 91718"/>
                  <a:gd name="connsiteY0" fmla="*/ 69513 h 140045"/>
                  <a:gd name="connsiteX1" fmla="*/ 1145 w 91718"/>
                  <a:gd name="connsiteY1" fmla="*/ 124900 h 140045"/>
                  <a:gd name="connsiteX2" fmla="*/ 69217 w 91718"/>
                  <a:gd name="connsiteY2" fmla="*/ 135450 h 140045"/>
                  <a:gd name="connsiteX3" fmla="*/ 67333 w 91718"/>
                  <a:gd name="connsiteY3" fmla="*/ 100912 h 140045"/>
                  <a:gd name="connsiteX4" fmla="*/ 90443 w 91718"/>
                  <a:gd name="connsiteY4" fmla="*/ 61349 h 140045"/>
                  <a:gd name="connsiteX5" fmla="*/ 82404 w 91718"/>
                  <a:gd name="connsiteY5" fmla="*/ 26308 h 140045"/>
                  <a:gd name="connsiteX6" fmla="*/ 63439 w 91718"/>
                  <a:gd name="connsiteY6" fmla="*/ 10232 h 140045"/>
                  <a:gd name="connsiteX7" fmla="*/ 48745 w 91718"/>
                  <a:gd name="connsiteY7" fmla="*/ 1566 h 140045"/>
                  <a:gd name="connsiteX8" fmla="*/ 32920 w 91718"/>
                  <a:gd name="connsiteY8" fmla="*/ 813 h 140045"/>
                  <a:gd name="connsiteX9" fmla="*/ 11694 w 91718"/>
                  <a:gd name="connsiteY9" fmla="*/ 11865 h 140045"/>
                  <a:gd name="connsiteX10" fmla="*/ 14 w 91718"/>
                  <a:gd name="connsiteY10" fmla="*/ 69513 h 14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718" h="140045">
                    <a:moveTo>
                      <a:pt x="14" y="69513"/>
                    </a:moveTo>
                    <a:cubicBezTo>
                      <a:pt x="391" y="103172"/>
                      <a:pt x="1145" y="124900"/>
                      <a:pt x="1145" y="124900"/>
                    </a:cubicBezTo>
                    <a:cubicBezTo>
                      <a:pt x="1145" y="124900"/>
                      <a:pt x="15965" y="150145"/>
                      <a:pt x="69217" y="135450"/>
                    </a:cubicBezTo>
                    <a:cubicBezTo>
                      <a:pt x="69217" y="135450"/>
                      <a:pt x="64444" y="106438"/>
                      <a:pt x="67333" y="100912"/>
                    </a:cubicBezTo>
                    <a:cubicBezTo>
                      <a:pt x="70348" y="95386"/>
                      <a:pt x="89312" y="74411"/>
                      <a:pt x="90443" y="61349"/>
                    </a:cubicBezTo>
                    <a:cubicBezTo>
                      <a:pt x="91573" y="48287"/>
                      <a:pt x="94964" y="37612"/>
                      <a:pt x="82404" y="26308"/>
                    </a:cubicBezTo>
                    <a:cubicBezTo>
                      <a:pt x="75371" y="19903"/>
                      <a:pt x="69469" y="14628"/>
                      <a:pt x="63439" y="10232"/>
                    </a:cubicBezTo>
                    <a:cubicBezTo>
                      <a:pt x="58793" y="6716"/>
                      <a:pt x="54020" y="3953"/>
                      <a:pt x="48745" y="1566"/>
                    </a:cubicBezTo>
                    <a:cubicBezTo>
                      <a:pt x="44224" y="-443"/>
                      <a:pt x="38572" y="-318"/>
                      <a:pt x="32920" y="813"/>
                    </a:cubicBezTo>
                    <a:cubicBezTo>
                      <a:pt x="23752" y="2696"/>
                      <a:pt x="14834" y="7469"/>
                      <a:pt x="11694" y="11865"/>
                    </a:cubicBezTo>
                    <a:cubicBezTo>
                      <a:pt x="6796" y="19275"/>
                      <a:pt x="-362" y="35854"/>
                      <a:pt x="14" y="69513"/>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91FF9944-8444-4E61-9236-9DA64D9ECF44}"/>
                  </a:ext>
                </a:extLst>
              </p:cNvPr>
              <p:cNvSpPr/>
              <p:nvPr/>
            </p:nvSpPr>
            <p:spPr>
              <a:xfrm>
                <a:off x="11587631" y="2538102"/>
                <a:ext cx="77889" cy="138800"/>
              </a:xfrm>
              <a:custGeom>
                <a:avLst/>
                <a:gdLst>
                  <a:gd name="connsiteX0" fmla="*/ 19091 w 77889"/>
                  <a:gd name="connsiteY0" fmla="*/ 771 h 138800"/>
                  <a:gd name="connsiteX1" fmla="*/ 34916 w 77889"/>
                  <a:gd name="connsiteY1" fmla="*/ 1525 h 138800"/>
                  <a:gd name="connsiteX2" fmla="*/ 49610 w 77889"/>
                  <a:gd name="connsiteY2" fmla="*/ 10191 h 138800"/>
                  <a:gd name="connsiteX3" fmla="*/ 68575 w 77889"/>
                  <a:gd name="connsiteY3" fmla="*/ 26267 h 138800"/>
                  <a:gd name="connsiteX4" fmla="*/ 76613 w 77889"/>
                  <a:gd name="connsiteY4" fmla="*/ 61308 h 138800"/>
                  <a:gd name="connsiteX5" fmla="*/ 53504 w 77889"/>
                  <a:gd name="connsiteY5" fmla="*/ 100870 h 138800"/>
                  <a:gd name="connsiteX6" fmla="*/ 55388 w 77889"/>
                  <a:gd name="connsiteY6" fmla="*/ 135409 h 138800"/>
                  <a:gd name="connsiteX7" fmla="*/ 39437 w 77889"/>
                  <a:gd name="connsiteY7" fmla="*/ 138800 h 138800"/>
                  <a:gd name="connsiteX8" fmla="*/ 40316 w 77889"/>
                  <a:gd name="connsiteY8" fmla="*/ 122850 h 138800"/>
                  <a:gd name="connsiteX9" fmla="*/ 48103 w 77889"/>
                  <a:gd name="connsiteY9" fmla="*/ 79017 h 138800"/>
                  <a:gd name="connsiteX10" fmla="*/ 60160 w 77889"/>
                  <a:gd name="connsiteY10" fmla="*/ 63066 h 138800"/>
                  <a:gd name="connsiteX11" fmla="*/ 64682 w 77889"/>
                  <a:gd name="connsiteY11" fmla="*/ 53898 h 138800"/>
                  <a:gd name="connsiteX12" fmla="*/ 67319 w 77889"/>
                  <a:gd name="connsiteY12" fmla="*/ 43097 h 138800"/>
                  <a:gd name="connsiteX13" fmla="*/ 67068 w 77889"/>
                  <a:gd name="connsiteY13" fmla="*/ 38324 h 138800"/>
                  <a:gd name="connsiteX14" fmla="*/ 64556 w 77889"/>
                  <a:gd name="connsiteY14" fmla="*/ 34431 h 138800"/>
                  <a:gd name="connsiteX15" fmla="*/ 46596 w 77889"/>
                  <a:gd name="connsiteY15" fmla="*/ 17978 h 138800"/>
                  <a:gd name="connsiteX16" fmla="*/ 23738 w 77889"/>
                  <a:gd name="connsiteY16" fmla="*/ 11698 h 138800"/>
                  <a:gd name="connsiteX17" fmla="*/ 0 w 77889"/>
                  <a:gd name="connsiteY17" fmla="*/ 9689 h 138800"/>
                  <a:gd name="connsiteX18" fmla="*/ 19091 w 77889"/>
                  <a:gd name="connsiteY18" fmla="*/ 771 h 13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889" h="138800">
                    <a:moveTo>
                      <a:pt x="19091" y="771"/>
                    </a:moveTo>
                    <a:cubicBezTo>
                      <a:pt x="24743" y="-359"/>
                      <a:pt x="30394" y="-359"/>
                      <a:pt x="34916" y="1525"/>
                    </a:cubicBezTo>
                    <a:cubicBezTo>
                      <a:pt x="40190" y="3786"/>
                      <a:pt x="44963" y="6674"/>
                      <a:pt x="49610" y="10191"/>
                    </a:cubicBezTo>
                    <a:cubicBezTo>
                      <a:pt x="55638" y="14587"/>
                      <a:pt x="61542" y="19862"/>
                      <a:pt x="68575" y="26267"/>
                    </a:cubicBezTo>
                    <a:cubicBezTo>
                      <a:pt x="81135" y="37571"/>
                      <a:pt x="77743" y="48372"/>
                      <a:pt x="76613" y="61308"/>
                    </a:cubicBezTo>
                    <a:cubicBezTo>
                      <a:pt x="75483" y="74370"/>
                      <a:pt x="56518" y="95344"/>
                      <a:pt x="53504" y="100870"/>
                    </a:cubicBezTo>
                    <a:cubicBezTo>
                      <a:pt x="50615" y="106271"/>
                      <a:pt x="55388" y="135409"/>
                      <a:pt x="55388" y="135409"/>
                    </a:cubicBezTo>
                    <a:cubicBezTo>
                      <a:pt x="49610" y="137042"/>
                      <a:pt x="44335" y="138046"/>
                      <a:pt x="39437" y="138800"/>
                    </a:cubicBezTo>
                    <a:cubicBezTo>
                      <a:pt x="38935" y="138926"/>
                      <a:pt x="40190" y="123854"/>
                      <a:pt x="40316" y="122850"/>
                    </a:cubicBezTo>
                    <a:cubicBezTo>
                      <a:pt x="41572" y="108657"/>
                      <a:pt x="41823" y="92079"/>
                      <a:pt x="48103" y="79017"/>
                    </a:cubicBezTo>
                    <a:cubicBezTo>
                      <a:pt x="50991" y="72988"/>
                      <a:pt x="55513" y="67839"/>
                      <a:pt x="60160" y="63066"/>
                    </a:cubicBezTo>
                    <a:cubicBezTo>
                      <a:pt x="62797" y="60429"/>
                      <a:pt x="63551" y="57289"/>
                      <a:pt x="64682" y="53898"/>
                    </a:cubicBezTo>
                    <a:cubicBezTo>
                      <a:pt x="65812" y="50381"/>
                      <a:pt x="66817" y="46739"/>
                      <a:pt x="67319" y="43097"/>
                    </a:cubicBezTo>
                    <a:cubicBezTo>
                      <a:pt x="67570" y="41464"/>
                      <a:pt x="67570" y="39831"/>
                      <a:pt x="67068" y="38324"/>
                    </a:cubicBezTo>
                    <a:cubicBezTo>
                      <a:pt x="66566" y="36817"/>
                      <a:pt x="65561" y="35561"/>
                      <a:pt x="64556" y="34431"/>
                    </a:cubicBezTo>
                    <a:cubicBezTo>
                      <a:pt x="59658" y="28779"/>
                      <a:pt x="53504" y="21243"/>
                      <a:pt x="46596" y="17978"/>
                    </a:cubicBezTo>
                    <a:cubicBezTo>
                      <a:pt x="39563" y="14587"/>
                      <a:pt x="31399" y="12828"/>
                      <a:pt x="23738" y="11698"/>
                    </a:cubicBezTo>
                    <a:cubicBezTo>
                      <a:pt x="15951" y="10442"/>
                      <a:pt x="7913" y="9437"/>
                      <a:pt x="0" y="9689"/>
                    </a:cubicBezTo>
                    <a:cubicBezTo>
                      <a:pt x="4145" y="5795"/>
                      <a:pt x="11555" y="2279"/>
                      <a:pt x="19091" y="771"/>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DC41F664-9A86-4290-9CED-4CC4CEE7B1D2}"/>
                  </a:ext>
                </a:extLst>
              </p:cNvPr>
              <p:cNvSpPr/>
              <p:nvPr/>
            </p:nvSpPr>
            <p:spPr>
              <a:xfrm>
                <a:off x="11641258" y="2567728"/>
                <a:ext cx="46095" cy="103783"/>
              </a:xfrm>
              <a:custGeom>
                <a:avLst/>
                <a:gdLst>
                  <a:gd name="connsiteX0" fmla="*/ 4775 w 46095"/>
                  <a:gd name="connsiteY0" fmla="*/ 3047 h 103783"/>
                  <a:gd name="connsiteX1" fmla="*/ 1007 w 46095"/>
                  <a:gd name="connsiteY1" fmla="*/ 37962 h 103783"/>
                  <a:gd name="connsiteX2" fmla="*/ 21730 w 46095"/>
                  <a:gd name="connsiteY2" fmla="*/ 82799 h 103783"/>
                  <a:gd name="connsiteX3" fmla="*/ 22107 w 46095"/>
                  <a:gd name="connsiteY3" fmla="*/ 102141 h 103783"/>
                  <a:gd name="connsiteX4" fmla="*/ 38058 w 46095"/>
                  <a:gd name="connsiteY4" fmla="*/ 103146 h 103783"/>
                  <a:gd name="connsiteX5" fmla="*/ 46095 w 46095"/>
                  <a:gd name="connsiteY5" fmla="*/ 100508 h 103783"/>
                  <a:gd name="connsiteX6" fmla="*/ 41951 w 46095"/>
                  <a:gd name="connsiteY6" fmla="*/ 73129 h 103783"/>
                  <a:gd name="connsiteX7" fmla="*/ 33034 w 46095"/>
                  <a:gd name="connsiteY7" fmla="*/ 29673 h 103783"/>
                  <a:gd name="connsiteX8" fmla="*/ 4775 w 46095"/>
                  <a:gd name="connsiteY8" fmla="*/ 3047 h 10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5" h="103783">
                    <a:moveTo>
                      <a:pt x="4775" y="3047"/>
                    </a:moveTo>
                    <a:cubicBezTo>
                      <a:pt x="4775" y="3047"/>
                      <a:pt x="-2636" y="27035"/>
                      <a:pt x="1007" y="37962"/>
                    </a:cubicBezTo>
                    <a:cubicBezTo>
                      <a:pt x="4523" y="48889"/>
                      <a:pt x="19595" y="79785"/>
                      <a:pt x="21730" y="82799"/>
                    </a:cubicBezTo>
                    <a:cubicBezTo>
                      <a:pt x="23990" y="85814"/>
                      <a:pt x="22107" y="102141"/>
                      <a:pt x="22107" y="102141"/>
                    </a:cubicBezTo>
                    <a:cubicBezTo>
                      <a:pt x="22107" y="102141"/>
                      <a:pt x="31652" y="105030"/>
                      <a:pt x="38058" y="103146"/>
                    </a:cubicBezTo>
                    <a:cubicBezTo>
                      <a:pt x="44337" y="101262"/>
                      <a:pt x="46095" y="100508"/>
                      <a:pt x="46095" y="100508"/>
                    </a:cubicBezTo>
                    <a:cubicBezTo>
                      <a:pt x="46095" y="100508"/>
                      <a:pt x="45845" y="88577"/>
                      <a:pt x="41951" y="73129"/>
                    </a:cubicBezTo>
                    <a:cubicBezTo>
                      <a:pt x="37932" y="57555"/>
                      <a:pt x="33661" y="40474"/>
                      <a:pt x="33034" y="29673"/>
                    </a:cubicBezTo>
                    <a:cubicBezTo>
                      <a:pt x="32154" y="18997"/>
                      <a:pt x="28010" y="-9262"/>
                      <a:pt x="4775" y="3047"/>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6B70177B-7B68-4D1D-BA87-98B19F0AB52B}"/>
                  </a:ext>
                </a:extLst>
              </p:cNvPr>
              <p:cNvSpPr/>
              <p:nvPr/>
            </p:nvSpPr>
            <p:spPr>
              <a:xfrm>
                <a:off x="11648545" y="2567920"/>
                <a:ext cx="38808" cy="103205"/>
              </a:xfrm>
              <a:custGeom>
                <a:avLst/>
                <a:gdLst>
                  <a:gd name="connsiteX0" fmla="*/ 3266 w 38808"/>
                  <a:gd name="connsiteY0" fmla="*/ 3357 h 103205"/>
                  <a:gd name="connsiteX1" fmla="*/ 0 w 38808"/>
                  <a:gd name="connsiteY1" fmla="*/ 1850 h 103205"/>
                  <a:gd name="connsiteX2" fmla="*/ 25621 w 38808"/>
                  <a:gd name="connsiteY2" fmla="*/ 29607 h 103205"/>
                  <a:gd name="connsiteX3" fmla="*/ 34664 w 38808"/>
                  <a:gd name="connsiteY3" fmla="*/ 73063 h 103205"/>
                  <a:gd name="connsiteX4" fmla="*/ 38808 w 38808"/>
                  <a:gd name="connsiteY4" fmla="*/ 100442 h 103205"/>
                  <a:gd name="connsiteX5" fmla="*/ 30771 w 38808"/>
                  <a:gd name="connsiteY5" fmla="*/ 103080 h 103205"/>
                  <a:gd name="connsiteX6" fmla="*/ 30017 w 38808"/>
                  <a:gd name="connsiteY6" fmla="*/ 103205 h 103205"/>
                  <a:gd name="connsiteX7" fmla="*/ 29892 w 38808"/>
                  <a:gd name="connsiteY7" fmla="*/ 101321 h 103205"/>
                  <a:gd name="connsiteX8" fmla="*/ 22105 w 38808"/>
                  <a:gd name="connsiteY8" fmla="*/ 62638 h 103205"/>
                  <a:gd name="connsiteX9" fmla="*/ 16579 w 38808"/>
                  <a:gd name="connsiteY9" fmla="*/ 36891 h 103205"/>
                  <a:gd name="connsiteX10" fmla="*/ 3266 w 38808"/>
                  <a:gd name="connsiteY10" fmla="*/ 3357 h 10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808" h="103205">
                    <a:moveTo>
                      <a:pt x="3266" y="3357"/>
                    </a:moveTo>
                    <a:cubicBezTo>
                      <a:pt x="2637" y="2981"/>
                      <a:pt x="1256" y="2478"/>
                      <a:pt x="0" y="1850"/>
                    </a:cubicBezTo>
                    <a:cubicBezTo>
                      <a:pt x="20974" y="-7192"/>
                      <a:pt x="24868" y="19308"/>
                      <a:pt x="25621" y="29607"/>
                    </a:cubicBezTo>
                    <a:cubicBezTo>
                      <a:pt x="26375" y="40282"/>
                      <a:pt x="30645" y="57489"/>
                      <a:pt x="34664" y="73063"/>
                    </a:cubicBezTo>
                    <a:cubicBezTo>
                      <a:pt x="38683" y="88636"/>
                      <a:pt x="38808" y="100442"/>
                      <a:pt x="38808" y="100442"/>
                    </a:cubicBezTo>
                    <a:cubicBezTo>
                      <a:pt x="38808" y="100442"/>
                      <a:pt x="37051" y="101070"/>
                      <a:pt x="30771" y="103080"/>
                    </a:cubicBezTo>
                    <a:cubicBezTo>
                      <a:pt x="30519" y="103205"/>
                      <a:pt x="30268" y="103205"/>
                      <a:pt x="30017" y="103205"/>
                    </a:cubicBezTo>
                    <a:cubicBezTo>
                      <a:pt x="30017" y="102577"/>
                      <a:pt x="30017" y="101949"/>
                      <a:pt x="29892" y="101321"/>
                    </a:cubicBezTo>
                    <a:cubicBezTo>
                      <a:pt x="28635" y="88260"/>
                      <a:pt x="26626" y="75072"/>
                      <a:pt x="22105" y="62638"/>
                    </a:cubicBezTo>
                    <a:cubicBezTo>
                      <a:pt x="19090" y="54349"/>
                      <a:pt x="17206" y="45683"/>
                      <a:pt x="16579" y="36891"/>
                    </a:cubicBezTo>
                    <a:cubicBezTo>
                      <a:pt x="15574" y="24457"/>
                      <a:pt x="15072" y="10391"/>
                      <a:pt x="3266" y="3357"/>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ABF20C60-D70F-41D3-ABDF-43CC1DE793BC}"/>
                  </a:ext>
                </a:extLst>
              </p:cNvPr>
              <p:cNvSpPr/>
              <p:nvPr/>
            </p:nvSpPr>
            <p:spPr>
              <a:xfrm>
                <a:off x="11596759" y="2537936"/>
                <a:ext cx="40481" cy="34181"/>
              </a:xfrm>
              <a:custGeom>
                <a:avLst/>
                <a:gdLst>
                  <a:gd name="connsiteX0" fmla="*/ 291 w 40481"/>
                  <a:gd name="connsiteY0" fmla="*/ 23168 h 34181"/>
                  <a:gd name="connsiteX1" fmla="*/ 13982 w 40481"/>
                  <a:gd name="connsiteY1" fmla="*/ 32714 h 34181"/>
                  <a:gd name="connsiteX2" fmla="*/ 24783 w 40481"/>
                  <a:gd name="connsiteY2" fmla="*/ 25178 h 34181"/>
                  <a:gd name="connsiteX3" fmla="*/ 40482 w 40481"/>
                  <a:gd name="connsiteY3" fmla="*/ 10232 h 34181"/>
                  <a:gd name="connsiteX4" fmla="*/ 25788 w 40481"/>
                  <a:gd name="connsiteY4" fmla="*/ 1566 h 34181"/>
                  <a:gd name="connsiteX5" fmla="*/ 9963 w 40481"/>
                  <a:gd name="connsiteY5" fmla="*/ 813 h 34181"/>
                  <a:gd name="connsiteX6" fmla="*/ 417 w 40481"/>
                  <a:gd name="connsiteY6" fmla="*/ 22792 h 34181"/>
                  <a:gd name="connsiteX7" fmla="*/ 291 w 40481"/>
                  <a:gd name="connsiteY7" fmla="*/ 23168 h 34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81" h="34181">
                    <a:moveTo>
                      <a:pt x="291" y="23168"/>
                    </a:moveTo>
                    <a:cubicBezTo>
                      <a:pt x="-1718" y="30955"/>
                      <a:pt x="7074" y="37110"/>
                      <a:pt x="13982" y="32714"/>
                    </a:cubicBezTo>
                    <a:cubicBezTo>
                      <a:pt x="17373" y="30579"/>
                      <a:pt x="21015" y="28067"/>
                      <a:pt x="24783" y="25178"/>
                    </a:cubicBezTo>
                    <a:cubicBezTo>
                      <a:pt x="38347" y="14879"/>
                      <a:pt x="40482" y="10232"/>
                      <a:pt x="40482" y="10232"/>
                    </a:cubicBezTo>
                    <a:cubicBezTo>
                      <a:pt x="35835" y="6716"/>
                      <a:pt x="31062" y="3953"/>
                      <a:pt x="25788" y="1566"/>
                    </a:cubicBezTo>
                    <a:cubicBezTo>
                      <a:pt x="21266" y="-443"/>
                      <a:pt x="15614" y="-318"/>
                      <a:pt x="9963" y="813"/>
                    </a:cubicBezTo>
                    <a:cubicBezTo>
                      <a:pt x="9963" y="813"/>
                      <a:pt x="2804" y="13372"/>
                      <a:pt x="417" y="22792"/>
                    </a:cubicBezTo>
                    <a:cubicBezTo>
                      <a:pt x="291" y="23043"/>
                      <a:pt x="291" y="23043"/>
                      <a:pt x="291" y="23168"/>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DE7AA494-8BFB-414D-BC4F-44F125BED8F9}"/>
                  </a:ext>
                </a:extLst>
              </p:cNvPr>
              <p:cNvSpPr/>
              <p:nvPr/>
            </p:nvSpPr>
            <p:spPr>
              <a:xfrm>
                <a:off x="11618402" y="2538874"/>
                <a:ext cx="18839" cy="26500"/>
              </a:xfrm>
              <a:custGeom>
                <a:avLst/>
                <a:gdLst>
                  <a:gd name="connsiteX0" fmla="*/ 1633 w 18839"/>
                  <a:gd name="connsiteY0" fmla="*/ 22230 h 26500"/>
                  <a:gd name="connsiteX1" fmla="*/ 2638 w 18839"/>
                  <a:gd name="connsiteY1" fmla="*/ 11052 h 26500"/>
                  <a:gd name="connsiteX2" fmla="*/ 1884 w 18839"/>
                  <a:gd name="connsiteY2" fmla="*/ 754 h 26500"/>
                  <a:gd name="connsiteX3" fmla="*/ 2010 w 18839"/>
                  <a:gd name="connsiteY3" fmla="*/ 0 h 26500"/>
                  <a:gd name="connsiteX4" fmla="*/ 4145 w 18839"/>
                  <a:gd name="connsiteY4" fmla="*/ 628 h 26500"/>
                  <a:gd name="connsiteX5" fmla="*/ 18839 w 18839"/>
                  <a:gd name="connsiteY5" fmla="*/ 9294 h 26500"/>
                  <a:gd name="connsiteX6" fmla="*/ 3140 w 18839"/>
                  <a:gd name="connsiteY6" fmla="*/ 24240 h 26500"/>
                  <a:gd name="connsiteX7" fmla="*/ 0 w 18839"/>
                  <a:gd name="connsiteY7" fmla="*/ 26501 h 26500"/>
                  <a:gd name="connsiteX8" fmla="*/ 1633 w 18839"/>
                  <a:gd name="connsiteY8" fmla="*/ 22230 h 2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39" h="26500">
                    <a:moveTo>
                      <a:pt x="1633" y="22230"/>
                    </a:moveTo>
                    <a:cubicBezTo>
                      <a:pt x="2512" y="18588"/>
                      <a:pt x="2763" y="14820"/>
                      <a:pt x="2638" y="11052"/>
                    </a:cubicBezTo>
                    <a:cubicBezTo>
                      <a:pt x="2386" y="7661"/>
                      <a:pt x="1759" y="4270"/>
                      <a:pt x="1884" y="754"/>
                    </a:cubicBezTo>
                    <a:cubicBezTo>
                      <a:pt x="1884" y="502"/>
                      <a:pt x="1884" y="251"/>
                      <a:pt x="2010" y="0"/>
                    </a:cubicBezTo>
                    <a:cubicBezTo>
                      <a:pt x="2763" y="251"/>
                      <a:pt x="3517" y="377"/>
                      <a:pt x="4145" y="628"/>
                    </a:cubicBezTo>
                    <a:cubicBezTo>
                      <a:pt x="9420" y="2889"/>
                      <a:pt x="14192" y="5777"/>
                      <a:pt x="18839" y="9294"/>
                    </a:cubicBezTo>
                    <a:cubicBezTo>
                      <a:pt x="18839" y="9294"/>
                      <a:pt x="16704" y="13941"/>
                      <a:pt x="3140" y="24240"/>
                    </a:cubicBezTo>
                    <a:cubicBezTo>
                      <a:pt x="2010" y="24993"/>
                      <a:pt x="1005" y="25747"/>
                      <a:pt x="0" y="26501"/>
                    </a:cubicBezTo>
                    <a:cubicBezTo>
                      <a:pt x="628" y="24868"/>
                      <a:pt x="1507" y="23235"/>
                      <a:pt x="1633" y="22230"/>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B60A497C-D372-4FF8-8B44-6FF5005432B7}"/>
                  </a:ext>
                </a:extLst>
              </p:cNvPr>
              <p:cNvSpPr/>
              <p:nvPr/>
            </p:nvSpPr>
            <p:spPr>
              <a:xfrm>
                <a:off x="11608571" y="2546273"/>
                <a:ext cx="34558" cy="29108"/>
              </a:xfrm>
              <a:custGeom>
                <a:avLst/>
                <a:gdLst>
                  <a:gd name="connsiteX0" fmla="*/ 26535 w 34558"/>
                  <a:gd name="connsiteY0" fmla="*/ 136 h 29108"/>
                  <a:gd name="connsiteX1" fmla="*/ 27162 w 34558"/>
                  <a:gd name="connsiteY1" fmla="*/ 11 h 29108"/>
                  <a:gd name="connsiteX2" fmla="*/ 29549 w 34558"/>
                  <a:gd name="connsiteY2" fmla="*/ 1392 h 29108"/>
                  <a:gd name="connsiteX3" fmla="*/ 33944 w 34558"/>
                  <a:gd name="connsiteY3" fmla="*/ 4658 h 29108"/>
                  <a:gd name="connsiteX4" fmla="*/ 32563 w 34558"/>
                  <a:gd name="connsiteY4" fmla="*/ 10184 h 29108"/>
                  <a:gd name="connsiteX5" fmla="*/ 28167 w 34558"/>
                  <a:gd name="connsiteY5" fmla="*/ 15961 h 29108"/>
                  <a:gd name="connsiteX6" fmla="*/ 17366 w 34558"/>
                  <a:gd name="connsiteY6" fmla="*/ 23120 h 29108"/>
                  <a:gd name="connsiteX7" fmla="*/ 8700 w 34558"/>
                  <a:gd name="connsiteY7" fmla="*/ 26637 h 29108"/>
                  <a:gd name="connsiteX8" fmla="*/ 285 w 34558"/>
                  <a:gd name="connsiteY8" fmla="*/ 28898 h 29108"/>
                  <a:gd name="connsiteX9" fmla="*/ 411 w 34558"/>
                  <a:gd name="connsiteY9" fmla="*/ 27139 h 29108"/>
                  <a:gd name="connsiteX10" fmla="*/ 285 w 34558"/>
                  <a:gd name="connsiteY10" fmla="*/ 24627 h 29108"/>
                  <a:gd name="connsiteX11" fmla="*/ 34 w 34558"/>
                  <a:gd name="connsiteY11" fmla="*/ 20106 h 29108"/>
                  <a:gd name="connsiteX12" fmla="*/ 2044 w 34558"/>
                  <a:gd name="connsiteY12" fmla="*/ 18976 h 29108"/>
                  <a:gd name="connsiteX13" fmla="*/ 10333 w 34558"/>
                  <a:gd name="connsiteY13" fmla="*/ 16087 h 29108"/>
                  <a:gd name="connsiteX14" fmla="*/ 19501 w 34558"/>
                  <a:gd name="connsiteY14" fmla="*/ 9933 h 29108"/>
                  <a:gd name="connsiteX15" fmla="*/ 25404 w 34558"/>
                  <a:gd name="connsiteY15" fmla="*/ 2020 h 29108"/>
                  <a:gd name="connsiteX16" fmla="*/ 26535 w 34558"/>
                  <a:gd name="connsiteY16" fmla="*/ 136 h 2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558" h="29108">
                    <a:moveTo>
                      <a:pt x="26535" y="136"/>
                    </a:moveTo>
                    <a:cubicBezTo>
                      <a:pt x="26660" y="11"/>
                      <a:pt x="26911" y="11"/>
                      <a:pt x="27162" y="11"/>
                    </a:cubicBezTo>
                    <a:cubicBezTo>
                      <a:pt x="28167" y="-115"/>
                      <a:pt x="28795" y="890"/>
                      <a:pt x="29549" y="1392"/>
                    </a:cubicBezTo>
                    <a:cubicBezTo>
                      <a:pt x="31056" y="2523"/>
                      <a:pt x="32437" y="3527"/>
                      <a:pt x="33944" y="4658"/>
                    </a:cubicBezTo>
                    <a:cubicBezTo>
                      <a:pt x="35703" y="5914"/>
                      <a:pt x="33191" y="8928"/>
                      <a:pt x="32563" y="10184"/>
                    </a:cubicBezTo>
                    <a:cubicBezTo>
                      <a:pt x="31307" y="12319"/>
                      <a:pt x="29800" y="14203"/>
                      <a:pt x="28167" y="15961"/>
                    </a:cubicBezTo>
                    <a:cubicBezTo>
                      <a:pt x="25153" y="18976"/>
                      <a:pt x="21134" y="21236"/>
                      <a:pt x="17366" y="23120"/>
                    </a:cubicBezTo>
                    <a:cubicBezTo>
                      <a:pt x="14603" y="24502"/>
                      <a:pt x="11715" y="25632"/>
                      <a:pt x="8700" y="26637"/>
                    </a:cubicBezTo>
                    <a:cubicBezTo>
                      <a:pt x="7570" y="27014"/>
                      <a:pt x="914" y="29902"/>
                      <a:pt x="285" y="28898"/>
                    </a:cubicBezTo>
                    <a:cubicBezTo>
                      <a:pt x="159" y="28772"/>
                      <a:pt x="411" y="27390"/>
                      <a:pt x="411" y="27139"/>
                    </a:cubicBezTo>
                    <a:cubicBezTo>
                      <a:pt x="411" y="26260"/>
                      <a:pt x="285" y="25506"/>
                      <a:pt x="285" y="24627"/>
                    </a:cubicBezTo>
                    <a:cubicBezTo>
                      <a:pt x="159" y="23120"/>
                      <a:pt x="-91" y="21613"/>
                      <a:pt x="34" y="20106"/>
                    </a:cubicBezTo>
                    <a:cubicBezTo>
                      <a:pt x="159" y="18599"/>
                      <a:pt x="914" y="19101"/>
                      <a:pt x="2044" y="18976"/>
                    </a:cubicBezTo>
                    <a:cubicBezTo>
                      <a:pt x="4807" y="18724"/>
                      <a:pt x="7821" y="17343"/>
                      <a:pt x="10333" y="16087"/>
                    </a:cubicBezTo>
                    <a:cubicBezTo>
                      <a:pt x="13598" y="14454"/>
                      <a:pt x="16613" y="12193"/>
                      <a:pt x="19501" y="9933"/>
                    </a:cubicBezTo>
                    <a:cubicBezTo>
                      <a:pt x="22013" y="7923"/>
                      <a:pt x="23771" y="4783"/>
                      <a:pt x="25404" y="2020"/>
                    </a:cubicBezTo>
                    <a:cubicBezTo>
                      <a:pt x="25404" y="1016"/>
                      <a:pt x="25781" y="388"/>
                      <a:pt x="26535" y="136"/>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8AEA99F5-C1EC-480C-AD36-46397FE952E4}"/>
                  </a:ext>
                </a:extLst>
              </p:cNvPr>
              <p:cNvSpPr/>
              <p:nvPr/>
            </p:nvSpPr>
            <p:spPr>
              <a:xfrm>
                <a:off x="11590464" y="2541914"/>
                <a:ext cx="10673" cy="28232"/>
              </a:xfrm>
              <a:custGeom>
                <a:avLst/>
                <a:gdLst>
                  <a:gd name="connsiteX0" fmla="*/ 1814 w 10673"/>
                  <a:gd name="connsiteY0" fmla="*/ 4998 h 28232"/>
                  <a:gd name="connsiteX1" fmla="*/ 4200 w 10673"/>
                  <a:gd name="connsiteY1" fmla="*/ 99 h 28232"/>
                  <a:gd name="connsiteX2" fmla="*/ 8219 w 10673"/>
                  <a:gd name="connsiteY2" fmla="*/ 1355 h 28232"/>
                  <a:gd name="connsiteX3" fmla="*/ 9224 w 10673"/>
                  <a:gd name="connsiteY3" fmla="*/ 4746 h 28232"/>
                  <a:gd name="connsiteX4" fmla="*/ 9978 w 10673"/>
                  <a:gd name="connsiteY4" fmla="*/ 15296 h 28232"/>
                  <a:gd name="connsiteX5" fmla="*/ 10605 w 10673"/>
                  <a:gd name="connsiteY5" fmla="*/ 17808 h 28232"/>
                  <a:gd name="connsiteX6" fmla="*/ 9852 w 10673"/>
                  <a:gd name="connsiteY6" fmla="*/ 19064 h 28232"/>
                  <a:gd name="connsiteX7" fmla="*/ 5331 w 10673"/>
                  <a:gd name="connsiteY7" fmla="*/ 28233 h 28232"/>
                  <a:gd name="connsiteX8" fmla="*/ 3196 w 10673"/>
                  <a:gd name="connsiteY8" fmla="*/ 24967 h 28232"/>
                  <a:gd name="connsiteX9" fmla="*/ 684 w 10673"/>
                  <a:gd name="connsiteY9" fmla="*/ 18562 h 28232"/>
                  <a:gd name="connsiteX10" fmla="*/ 56 w 10673"/>
                  <a:gd name="connsiteY10" fmla="*/ 16427 h 28232"/>
                  <a:gd name="connsiteX11" fmla="*/ 56 w 10673"/>
                  <a:gd name="connsiteY11" fmla="*/ 14040 h 28232"/>
                  <a:gd name="connsiteX12" fmla="*/ 935 w 10673"/>
                  <a:gd name="connsiteY12" fmla="*/ 9770 h 28232"/>
                  <a:gd name="connsiteX13" fmla="*/ 1814 w 10673"/>
                  <a:gd name="connsiteY13" fmla="*/ 4998 h 2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73" h="28232">
                    <a:moveTo>
                      <a:pt x="1814" y="4998"/>
                    </a:moveTo>
                    <a:cubicBezTo>
                      <a:pt x="1814" y="3114"/>
                      <a:pt x="2065" y="727"/>
                      <a:pt x="4200" y="99"/>
                    </a:cubicBezTo>
                    <a:cubicBezTo>
                      <a:pt x="5582" y="-277"/>
                      <a:pt x="7215" y="476"/>
                      <a:pt x="8219" y="1355"/>
                    </a:cubicBezTo>
                    <a:cubicBezTo>
                      <a:pt x="9601" y="2486"/>
                      <a:pt x="9726" y="3114"/>
                      <a:pt x="9224" y="4746"/>
                    </a:cubicBezTo>
                    <a:cubicBezTo>
                      <a:pt x="8345" y="8263"/>
                      <a:pt x="8471" y="12031"/>
                      <a:pt x="9978" y="15296"/>
                    </a:cubicBezTo>
                    <a:cubicBezTo>
                      <a:pt x="10355" y="16050"/>
                      <a:pt x="10857" y="16929"/>
                      <a:pt x="10605" y="17808"/>
                    </a:cubicBezTo>
                    <a:cubicBezTo>
                      <a:pt x="10480" y="18311"/>
                      <a:pt x="10103" y="18688"/>
                      <a:pt x="9852" y="19064"/>
                    </a:cubicBezTo>
                    <a:cubicBezTo>
                      <a:pt x="7717" y="21702"/>
                      <a:pt x="6336" y="24967"/>
                      <a:pt x="5331" y="28233"/>
                    </a:cubicBezTo>
                    <a:cubicBezTo>
                      <a:pt x="4200" y="27605"/>
                      <a:pt x="3698" y="26223"/>
                      <a:pt x="3196" y="24967"/>
                    </a:cubicBezTo>
                    <a:cubicBezTo>
                      <a:pt x="2316" y="22832"/>
                      <a:pt x="1563" y="20697"/>
                      <a:pt x="684" y="18562"/>
                    </a:cubicBezTo>
                    <a:cubicBezTo>
                      <a:pt x="432" y="17808"/>
                      <a:pt x="182" y="17180"/>
                      <a:pt x="56" y="16427"/>
                    </a:cubicBezTo>
                    <a:cubicBezTo>
                      <a:pt x="-70" y="15673"/>
                      <a:pt x="56" y="14794"/>
                      <a:pt x="56" y="14040"/>
                    </a:cubicBezTo>
                    <a:cubicBezTo>
                      <a:pt x="182" y="12533"/>
                      <a:pt x="432" y="11152"/>
                      <a:pt x="935" y="9770"/>
                    </a:cubicBezTo>
                    <a:cubicBezTo>
                      <a:pt x="1437" y="8263"/>
                      <a:pt x="1814" y="6630"/>
                      <a:pt x="1814" y="4998"/>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7C53FFD1-D9DB-4AC7-A5BA-4EB2637D4234}"/>
                  </a:ext>
                </a:extLst>
              </p:cNvPr>
              <p:cNvSpPr/>
              <p:nvPr/>
            </p:nvSpPr>
            <p:spPr>
              <a:xfrm>
                <a:off x="11600944" y="2529850"/>
                <a:ext cx="32277" cy="29311"/>
              </a:xfrm>
              <a:custGeom>
                <a:avLst/>
                <a:gdLst>
                  <a:gd name="connsiteX0" fmla="*/ 31902 w 32277"/>
                  <a:gd name="connsiteY0" fmla="*/ 5256 h 29311"/>
                  <a:gd name="connsiteX1" fmla="*/ 32278 w 32277"/>
                  <a:gd name="connsiteY1" fmla="*/ 15681 h 29311"/>
                  <a:gd name="connsiteX2" fmla="*/ 14569 w 32277"/>
                  <a:gd name="connsiteY2" fmla="*/ 27235 h 29311"/>
                  <a:gd name="connsiteX3" fmla="*/ 754 w 32277"/>
                  <a:gd name="connsiteY3" fmla="*/ 28491 h 29311"/>
                  <a:gd name="connsiteX4" fmla="*/ 0 w 32277"/>
                  <a:gd name="connsiteY4" fmla="*/ 5884 h 29311"/>
                  <a:gd name="connsiteX5" fmla="*/ 31902 w 32277"/>
                  <a:gd name="connsiteY5" fmla="*/ 5256 h 2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77" h="29311">
                    <a:moveTo>
                      <a:pt x="31902" y="5256"/>
                    </a:moveTo>
                    <a:lnTo>
                      <a:pt x="32278" y="15681"/>
                    </a:lnTo>
                    <a:cubicBezTo>
                      <a:pt x="32278" y="15681"/>
                      <a:pt x="25370" y="23468"/>
                      <a:pt x="14569" y="27235"/>
                    </a:cubicBezTo>
                    <a:cubicBezTo>
                      <a:pt x="3768" y="31003"/>
                      <a:pt x="754" y="28491"/>
                      <a:pt x="754" y="28491"/>
                    </a:cubicBezTo>
                    <a:lnTo>
                      <a:pt x="0" y="5884"/>
                    </a:lnTo>
                    <a:cubicBezTo>
                      <a:pt x="126" y="5884"/>
                      <a:pt x="28887" y="-6926"/>
                      <a:pt x="31902" y="5256"/>
                    </a:cubicBezTo>
                    <a:close/>
                  </a:path>
                </a:pathLst>
              </a:custGeom>
              <a:solidFill>
                <a:srgbClr val="DEB0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BDFBB9C7-7056-4CB9-8A3C-9F51A47279D8}"/>
                  </a:ext>
                </a:extLst>
              </p:cNvPr>
              <p:cNvSpPr/>
              <p:nvPr/>
            </p:nvSpPr>
            <p:spPr>
              <a:xfrm>
                <a:off x="11620269" y="2529822"/>
                <a:ext cx="12952" cy="24876"/>
              </a:xfrm>
              <a:custGeom>
                <a:avLst/>
                <a:gdLst>
                  <a:gd name="connsiteX0" fmla="*/ 12576 w 12952"/>
                  <a:gd name="connsiteY0" fmla="*/ 5284 h 24876"/>
                  <a:gd name="connsiteX1" fmla="*/ 12952 w 12952"/>
                  <a:gd name="connsiteY1" fmla="*/ 15709 h 24876"/>
                  <a:gd name="connsiteX2" fmla="*/ 644 w 12952"/>
                  <a:gd name="connsiteY2" fmla="*/ 24877 h 24876"/>
                  <a:gd name="connsiteX3" fmla="*/ 770 w 12952"/>
                  <a:gd name="connsiteY3" fmla="*/ 20104 h 24876"/>
                  <a:gd name="connsiteX4" fmla="*/ 16 w 12952"/>
                  <a:gd name="connsiteY4" fmla="*/ 9806 h 24876"/>
                  <a:gd name="connsiteX5" fmla="*/ 2277 w 12952"/>
                  <a:gd name="connsiteY5" fmla="*/ 9 h 24876"/>
                  <a:gd name="connsiteX6" fmla="*/ 12576 w 12952"/>
                  <a:gd name="connsiteY6" fmla="*/ 5284 h 24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2" h="24876">
                    <a:moveTo>
                      <a:pt x="12576" y="5284"/>
                    </a:moveTo>
                    <a:lnTo>
                      <a:pt x="12952" y="15709"/>
                    </a:lnTo>
                    <a:cubicBezTo>
                      <a:pt x="12952" y="15709"/>
                      <a:pt x="8305" y="20984"/>
                      <a:pt x="644" y="24877"/>
                    </a:cubicBezTo>
                    <a:cubicBezTo>
                      <a:pt x="770" y="23244"/>
                      <a:pt x="770" y="21611"/>
                      <a:pt x="770" y="20104"/>
                    </a:cubicBezTo>
                    <a:cubicBezTo>
                      <a:pt x="519" y="16713"/>
                      <a:pt x="-109" y="13322"/>
                      <a:pt x="16" y="9806"/>
                    </a:cubicBezTo>
                    <a:cubicBezTo>
                      <a:pt x="16" y="6414"/>
                      <a:pt x="1398" y="3275"/>
                      <a:pt x="2277" y="9"/>
                    </a:cubicBezTo>
                    <a:cubicBezTo>
                      <a:pt x="7300" y="-116"/>
                      <a:pt x="11571" y="1014"/>
                      <a:pt x="12576" y="5284"/>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61528A14-1575-4E66-9B23-1C740B5CD708}"/>
                  </a:ext>
                </a:extLst>
              </p:cNvPr>
              <p:cNvSpPr/>
              <p:nvPr/>
            </p:nvSpPr>
            <p:spPr>
              <a:xfrm>
                <a:off x="11585797" y="2489039"/>
                <a:ext cx="53214" cy="64724"/>
              </a:xfrm>
              <a:custGeom>
                <a:avLst/>
                <a:gdLst>
                  <a:gd name="connsiteX0" fmla="*/ 5853 w 53214"/>
                  <a:gd name="connsiteY0" fmla="*/ 56743 h 64724"/>
                  <a:gd name="connsiteX1" fmla="*/ 21804 w 53214"/>
                  <a:gd name="connsiteY1" fmla="*/ 64278 h 64724"/>
                  <a:gd name="connsiteX2" fmla="*/ 34112 w 53214"/>
                  <a:gd name="connsiteY2" fmla="*/ 58626 h 64724"/>
                  <a:gd name="connsiteX3" fmla="*/ 37629 w 53214"/>
                  <a:gd name="connsiteY3" fmla="*/ 55989 h 64724"/>
                  <a:gd name="connsiteX4" fmla="*/ 38508 w 53214"/>
                  <a:gd name="connsiteY4" fmla="*/ 55235 h 64724"/>
                  <a:gd name="connsiteX5" fmla="*/ 39262 w 53214"/>
                  <a:gd name="connsiteY5" fmla="*/ 54607 h 64724"/>
                  <a:gd name="connsiteX6" fmla="*/ 40141 w 53214"/>
                  <a:gd name="connsiteY6" fmla="*/ 53728 h 64724"/>
                  <a:gd name="connsiteX7" fmla="*/ 45290 w 53214"/>
                  <a:gd name="connsiteY7" fmla="*/ 16803 h 64724"/>
                  <a:gd name="connsiteX8" fmla="*/ 44034 w 53214"/>
                  <a:gd name="connsiteY8" fmla="*/ 14417 h 64724"/>
                  <a:gd name="connsiteX9" fmla="*/ 42778 w 53214"/>
                  <a:gd name="connsiteY9" fmla="*/ 12659 h 64724"/>
                  <a:gd name="connsiteX10" fmla="*/ 15147 w 53214"/>
                  <a:gd name="connsiteY10" fmla="*/ 99 h 64724"/>
                  <a:gd name="connsiteX11" fmla="*/ 3467 w 53214"/>
                  <a:gd name="connsiteY11" fmla="*/ 8891 h 64724"/>
                  <a:gd name="connsiteX12" fmla="*/ 453 w 53214"/>
                  <a:gd name="connsiteY12" fmla="*/ 15924 h 64724"/>
                  <a:gd name="connsiteX13" fmla="*/ 201 w 53214"/>
                  <a:gd name="connsiteY13" fmla="*/ 16929 h 64724"/>
                  <a:gd name="connsiteX14" fmla="*/ 5853 w 53214"/>
                  <a:gd name="connsiteY14" fmla="*/ 56743 h 6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214" h="64724">
                    <a:moveTo>
                      <a:pt x="5853" y="56743"/>
                    </a:moveTo>
                    <a:cubicBezTo>
                      <a:pt x="6732" y="63525"/>
                      <a:pt x="13138" y="65785"/>
                      <a:pt x="21804" y="64278"/>
                    </a:cubicBezTo>
                    <a:cubicBezTo>
                      <a:pt x="26074" y="63525"/>
                      <a:pt x="30596" y="61013"/>
                      <a:pt x="34112" y="58626"/>
                    </a:cubicBezTo>
                    <a:cubicBezTo>
                      <a:pt x="35493" y="57622"/>
                      <a:pt x="36750" y="56743"/>
                      <a:pt x="37629" y="55989"/>
                    </a:cubicBezTo>
                    <a:cubicBezTo>
                      <a:pt x="37880" y="55738"/>
                      <a:pt x="38257" y="55487"/>
                      <a:pt x="38508" y="55235"/>
                    </a:cubicBezTo>
                    <a:cubicBezTo>
                      <a:pt x="38759" y="54984"/>
                      <a:pt x="39010" y="54859"/>
                      <a:pt x="39262" y="54607"/>
                    </a:cubicBezTo>
                    <a:cubicBezTo>
                      <a:pt x="39890" y="54105"/>
                      <a:pt x="40141" y="53728"/>
                      <a:pt x="40141" y="53728"/>
                    </a:cubicBezTo>
                    <a:cubicBezTo>
                      <a:pt x="63250" y="30619"/>
                      <a:pt x="49561" y="27605"/>
                      <a:pt x="45290" y="16803"/>
                    </a:cubicBezTo>
                    <a:cubicBezTo>
                      <a:pt x="44913" y="15924"/>
                      <a:pt x="44536" y="15171"/>
                      <a:pt x="44034" y="14417"/>
                    </a:cubicBezTo>
                    <a:cubicBezTo>
                      <a:pt x="43657" y="13789"/>
                      <a:pt x="43281" y="13161"/>
                      <a:pt x="42778" y="12659"/>
                    </a:cubicBezTo>
                    <a:cubicBezTo>
                      <a:pt x="36373" y="4244"/>
                      <a:pt x="22180" y="-780"/>
                      <a:pt x="15147" y="99"/>
                    </a:cubicBezTo>
                    <a:cubicBezTo>
                      <a:pt x="9746" y="727"/>
                      <a:pt x="6105" y="4495"/>
                      <a:pt x="3467" y="8891"/>
                    </a:cubicBezTo>
                    <a:cubicBezTo>
                      <a:pt x="2211" y="11152"/>
                      <a:pt x="1206" y="13538"/>
                      <a:pt x="453" y="15924"/>
                    </a:cubicBezTo>
                    <a:cubicBezTo>
                      <a:pt x="327" y="16301"/>
                      <a:pt x="327" y="16552"/>
                      <a:pt x="201" y="16929"/>
                    </a:cubicBezTo>
                    <a:cubicBezTo>
                      <a:pt x="-1180" y="25218"/>
                      <a:pt x="4974" y="50337"/>
                      <a:pt x="5853" y="56743"/>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D970DF73-F5CD-48EB-A581-A9AE33BD761F}"/>
                  </a:ext>
                </a:extLst>
              </p:cNvPr>
              <p:cNvSpPr/>
              <p:nvPr/>
            </p:nvSpPr>
            <p:spPr>
              <a:xfrm>
                <a:off x="11586124" y="2493880"/>
                <a:ext cx="52761" cy="53534"/>
              </a:xfrm>
              <a:custGeom>
                <a:avLst/>
                <a:gdLst>
                  <a:gd name="connsiteX0" fmla="*/ 0 w 52761"/>
                  <a:gd name="connsiteY0" fmla="*/ 12089 h 53534"/>
                  <a:gd name="connsiteX1" fmla="*/ 126 w 52761"/>
                  <a:gd name="connsiteY1" fmla="*/ 12214 h 53534"/>
                  <a:gd name="connsiteX2" fmla="*/ 4773 w 52761"/>
                  <a:gd name="connsiteY2" fmla="*/ 13344 h 53534"/>
                  <a:gd name="connsiteX3" fmla="*/ 17960 w 52761"/>
                  <a:gd name="connsiteY3" fmla="*/ 13596 h 53534"/>
                  <a:gd name="connsiteX4" fmla="*/ 24240 w 52761"/>
                  <a:gd name="connsiteY4" fmla="*/ 13344 h 53534"/>
                  <a:gd name="connsiteX5" fmla="*/ 28008 w 52761"/>
                  <a:gd name="connsiteY5" fmla="*/ 16861 h 53534"/>
                  <a:gd name="connsiteX6" fmla="*/ 29012 w 52761"/>
                  <a:gd name="connsiteY6" fmla="*/ 19122 h 53534"/>
                  <a:gd name="connsiteX7" fmla="*/ 31524 w 52761"/>
                  <a:gd name="connsiteY7" fmla="*/ 27788 h 53534"/>
                  <a:gd name="connsiteX8" fmla="*/ 32152 w 52761"/>
                  <a:gd name="connsiteY8" fmla="*/ 36831 h 53534"/>
                  <a:gd name="connsiteX9" fmla="*/ 33911 w 52761"/>
                  <a:gd name="connsiteY9" fmla="*/ 43362 h 53534"/>
                  <a:gd name="connsiteX10" fmla="*/ 33659 w 52761"/>
                  <a:gd name="connsiteY10" fmla="*/ 53535 h 53534"/>
                  <a:gd name="connsiteX11" fmla="*/ 37176 w 52761"/>
                  <a:gd name="connsiteY11" fmla="*/ 50897 h 53534"/>
                  <a:gd name="connsiteX12" fmla="*/ 38056 w 52761"/>
                  <a:gd name="connsiteY12" fmla="*/ 50144 h 53534"/>
                  <a:gd name="connsiteX13" fmla="*/ 38809 w 52761"/>
                  <a:gd name="connsiteY13" fmla="*/ 49516 h 53534"/>
                  <a:gd name="connsiteX14" fmla="*/ 39688 w 52761"/>
                  <a:gd name="connsiteY14" fmla="*/ 48637 h 53534"/>
                  <a:gd name="connsiteX15" fmla="*/ 44837 w 52761"/>
                  <a:gd name="connsiteY15" fmla="*/ 11712 h 53534"/>
                  <a:gd name="connsiteX16" fmla="*/ 43582 w 52761"/>
                  <a:gd name="connsiteY16" fmla="*/ 9325 h 53534"/>
                  <a:gd name="connsiteX17" fmla="*/ 42325 w 52761"/>
                  <a:gd name="connsiteY17" fmla="*/ 7567 h 53534"/>
                  <a:gd name="connsiteX18" fmla="*/ 29515 w 52761"/>
                  <a:gd name="connsiteY18" fmla="*/ 785 h 53534"/>
                  <a:gd name="connsiteX19" fmla="*/ 20221 w 52761"/>
                  <a:gd name="connsiteY19" fmla="*/ 31 h 53534"/>
                  <a:gd name="connsiteX20" fmla="*/ 8164 w 52761"/>
                  <a:gd name="connsiteY20" fmla="*/ 2167 h 53534"/>
                  <a:gd name="connsiteX21" fmla="*/ 3014 w 52761"/>
                  <a:gd name="connsiteY21" fmla="*/ 3799 h 53534"/>
                  <a:gd name="connsiteX22" fmla="*/ 0 w 52761"/>
                  <a:gd name="connsiteY22" fmla="*/ 10833 h 53534"/>
                  <a:gd name="connsiteX23" fmla="*/ 0 w 52761"/>
                  <a:gd name="connsiteY23" fmla="*/ 12089 h 5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2761" h="53534">
                    <a:moveTo>
                      <a:pt x="0" y="12089"/>
                    </a:moveTo>
                    <a:cubicBezTo>
                      <a:pt x="0" y="12214"/>
                      <a:pt x="126" y="12214"/>
                      <a:pt x="126" y="12214"/>
                    </a:cubicBezTo>
                    <a:cubicBezTo>
                      <a:pt x="1507" y="12968"/>
                      <a:pt x="3140" y="13219"/>
                      <a:pt x="4773" y="13344"/>
                    </a:cubicBezTo>
                    <a:cubicBezTo>
                      <a:pt x="9169" y="13847"/>
                      <a:pt x="13690" y="14224"/>
                      <a:pt x="17960" y="13596"/>
                    </a:cubicBezTo>
                    <a:cubicBezTo>
                      <a:pt x="19844" y="13344"/>
                      <a:pt x="22482" y="12465"/>
                      <a:pt x="24240" y="13344"/>
                    </a:cubicBezTo>
                    <a:cubicBezTo>
                      <a:pt x="25622" y="14098"/>
                      <a:pt x="27255" y="15480"/>
                      <a:pt x="28008" y="16861"/>
                    </a:cubicBezTo>
                    <a:cubicBezTo>
                      <a:pt x="28385" y="17615"/>
                      <a:pt x="28762" y="18368"/>
                      <a:pt x="29012" y="19122"/>
                    </a:cubicBezTo>
                    <a:cubicBezTo>
                      <a:pt x="30017" y="21885"/>
                      <a:pt x="31399" y="24774"/>
                      <a:pt x="31524" y="27788"/>
                    </a:cubicBezTo>
                    <a:cubicBezTo>
                      <a:pt x="31650" y="30802"/>
                      <a:pt x="31902" y="33816"/>
                      <a:pt x="32152" y="36831"/>
                    </a:cubicBezTo>
                    <a:cubicBezTo>
                      <a:pt x="32404" y="39217"/>
                      <a:pt x="33283" y="41101"/>
                      <a:pt x="33911" y="43362"/>
                    </a:cubicBezTo>
                    <a:cubicBezTo>
                      <a:pt x="34790" y="46627"/>
                      <a:pt x="34413" y="50144"/>
                      <a:pt x="33659" y="53535"/>
                    </a:cubicBezTo>
                    <a:cubicBezTo>
                      <a:pt x="35041" y="52530"/>
                      <a:pt x="36297" y="51651"/>
                      <a:pt x="37176" y="50897"/>
                    </a:cubicBezTo>
                    <a:cubicBezTo>
                      <a:pt x="37428" y="50646"/>
                      <a:pt x="37804" y="50395"/>
                      <a:pt x="38056" y="50144"/>
                    </a:cubicBezTo>
                    <a:cubicBezTo>
                      <a:pt x="38306" y="49892"/>
                      <a:pt x="38558" y="49641"/>
                      <a:pt x="38809" y="49516"/>
                    </a:cubicBezTo>
                    <a:cubicBezTo>
                      <a:pt x="39437" y="49013"/>
                      <a:pt x="39688" y="48637"/>
                      <a:pt x="39688" y="48637"/>
                    </a:cubicBezTo>
                    <a:cubicBezTo>
                      <a:pt x="62797" y="25527"/>
                      <a:pt x="49108" y="22513"/>
                      <a:pt x="44837" y="11712"/>
                    </a:cubicBezTo>
                    <a:cubicBezTo>
                      <a:pt x="44461" y="10833"/>
                      <a:pt x="44084" y="10079"/>
                      <a:pt x="43582" y="9325"/>
                    </a:cubicBezTo>
                    <a:cubicBezTo>
                      <a:pt x="43205" y="8697"/>
                      <a:pt x="42828" y="8069"/>
                      <a:pt x="42325" y="7567"/>
                    </a:cubicBezTo>
                    <a:cubicBezTo>
                      <a:pt x="39186" y="3925"/>
                      <a:pt x="34288" y="1790"/>
                      <a:pt x="29515" y="785"/>
                    </a:cubicBezTo>
                    <a:cubicBezTo>
                      <a:pt x="26501" y="157"/>
                      <a:pt x="23361" y="-94"/>
                      <a:pt x="20221" y="31"/>
                    </a:cubicBezTo>
                    <a:cubicBezTo>
                      <a:pt x="16202" y="157"/>
                      <a:pt x="11932" y="659"/>
                      <a:pt x="8164" y="2167"/>
                    </a:cubicBezTo>
                    <a:cubicBezTo>
                      <a:pt x="6908" y="2669"/>
                      <a:pt x="4898" y="3171"/>
                      <a:pt x="3014" y="3799"/>
                    </a:cubicBezTo>
                    <a:cubicBezTo>
                      <a:pt x="1759" y="6060"/>
                      <a:pt x="754" y="8446"/>
                      <a:pt x="0" y="10833"/>
                    </a:cubicBezTo>
                    <a:cubicBezTo>
                      <a:pt x="126" y="11460"/>
                      <a:pt x="0" y="11712"/>
                      <a:pt x="0" y="12089"/>
                    </a:cubicBezTo>
                    <a:close/>
                  </a:path>
                </a:pathLst>
              </a:custGeom>
              <a:solidFill>
                <a:srgbClr val="DF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EE5EC158-E756-43C4-80F7-D9B70978002B}"/>
                  </a:ext>
                </a:extLst>
              </p:cNvPr>
              <p:cNvSpPr/>
              <p:nvPr/>
            </p:nvSpPr>
            <p:spPr>
              <a:xfrm>
                <a:off x="11586249" y="2476959"/>
                <a:ext cx="59041" cy="82135"/>
              </a:xfrm>
              <a:custGeom>
                <a:avLst/>
                <a:gdLst>
                  <a:gd name="connsiteX0" fmla="*/ 5652 w 59041"/>
                  <a:gd name="connsiteY0" fmla="*/ 70455 h 82135"/>
                  <a:gd name="connsiteX1" fmla="*/ 19341 w 59041"/>
                  <a:gd name="connsiteY1" fmla="*/ 82135 h 82135"/>
                  <a:gd name="connsiteX2" fmla="*/ 29766 w 59041"/>
                  <a:gd name="connsiteY2" fmla="*/ 77739 h 82135"/>
                  <a:gd name="connsiteX3" fmla="*/ 36171 w 59041"/>
                  <a:gd name="connsiteY3" fmla="*/ 68822 h 82135"/>
                  <a:gd name="connsiteX4" fmla="*/ 37302 w 59041"/>
                  <a:gd name="connsiteY4" fmla="*/ 62291 h 82135"/>
                  <a:gd name="connsiteX5" fmla="*/ 37930 w 59041"/>
                  <a:gd name="connsiteY5" fmla="*/ 55886 h 82135"/>
                  <a:gd name="connsiteX6" fmla="*/ 38056 w 59041"/>
                  <a:gd name="connsiteY6" fmla="*/ 50360 h 82135"/>
                  <a:gd name="connsiteX7" fmla="*/ 40065 w 59041"/>
                  <a:gd name="connsiteY7" fmla="*/ 43829 h 82135"/>
                  <a:gd name="connsiteX8" fmla="*/ 42577 w 59041"/>
                  <a:gd name="connsiteY8" fmla="*/ 39182 h 82135"/>
                  <a:gd name="connsiteX9" fmla="*/ 48479 w 59041"/>
                  <a:gd name="connsiteY9" fmla="*/ 39684 h 82135"/>
                  <a:gd name="connsiteX10" fmla="*/ 49233 w 59041"/>
                  <a:gd name="connsiteY10" fmla="*/ 45838 h 82135"/>
                  <a:gd name="connsiteX11" fmla="*/ 47098 w 59041"/>
                  <a:gd name="connsiteY11" fmla="*/ 49983 h 82135"/>
                  <a:gd name="connsiteX12" fmla="*/ 42577 w 59041"/>
                  <a:gd name="connsiteY12" fmla="*/ 61789 h 82135"/>
                  <a:gd name="connsiteX13" fmla="*/ 42703 w 59041"/>
                  <a:gd name="connsiteY13" fmla="*/ 64301 h 82135"/>
                  <a:gd name="connsiteX14" fmla="*/ 46470 w 59041"/>
                  <a:gd name="connsiteY14" fmla="*/ 61412 h 82135"/>
                  <a:gd name="connsiteX15" fmla="*/ 56895 w 59041"/>
                  <a:gd name="connsiteY15" fmla="*/ 45461 h 82135"/>
                  <a:gd name="connsiteX16" fmla="*/ 59030 w 59041"/>
                  <a:gd name="connsiteY16" fmla="*/ 30767 h 82135"/>
                  <a:gd name="connsiteX17" fmla="*/ 50866 w 59041"/>
                  <a:gd name="connsiteY17" fmla="*/ 8537 h 82135"/>
                  <a:gd name="connsiteX18" fmla="*/ 27380 w 59041"/>
                  <a:gd name="connsiteY18" fmla="*/ 247 h 82135"/>
                  <a:gd name="connsiteX19" fmla="*/ 5526 w 59041"/>
                  <a:gd name="connsiteY19" fmla="*/ 12681 h 82135"/>
                  <a:gd name="connsiteX20" fmla="*/ 0 w 59041"/>
                  <a:gd name="connsiteY20" fmla="*/ 27501 h 82135"/>
                  <a:gd name="connsiteX21" fmla="*/ 8540 w 59041"/>
                  <a:gd name="connsiteY21" fmla="*/ 24990 h 82135"/>
                  <a:gd name="connsiteX22" fmla="*/ 32529 w 59041"/>
                  <a:gd name="connsiteY22" fmla="*/ 37549 h 82135"/>
                  <a:gd name="connsiteX23" fmla="*/ 33659 w 59041"/>
                  <a:gd name="connsiteY23" fmla="*/ 50988 h 82135"/>
                  <a:gd name="connsiteX24" fmla="*/ 33409 w 59041"/>
                  <a:gd name="connsiteY24" fmla="*/ 57519 h 82135"/>
                  <a:gd name="connsiteX25" fmla="*/ 29640 w 59041"/>
                  <a:gd name="connsiteY25" fmla="*/ 62542 h 82135"/>
                  <a:gd name="connsiteX26" fmla="*/ 26375 w 59041"/>
                  <a:gd name="connsiteY26" fmla="*/ 64929 h 82135"/>
                  <a:gd name="connsiteX27" fmla="*/ 24993 w 59041"/>
                  <a:gd name="connsiteY27" fmla="*/ 65180 h 82135"/>
                  <a:gd name="connsiteX28" fmla="*/ 23612 w 59041"/>
                  <a:gd name="connsiteY28" fmla="*/ 64552 h 82135"/>
                  <a:gd name="connsiteX29" fmla="*/ 21603 w 59041"/>
                  <a:gd name="connsiteY29" fmla="*/ 63422 h 82135"/>
                  <a:gd name="connsiteX30" fmla="*/ 19844 w 59041"/>
                  <a:gd name="connsiteY30" fmla="*/ 62542 h 82135"/>
                  <a:gd name="connsiteX31" fmla="*/ 15699 w 59041"/>
                  <a:gd name="connsiteY31" fmla="*/ 61789 h 82135"/>
                  <a:gd name="connsiteX32" fmla="*/ 11178 w 59041"/>
                  <a:gd name="connsiteY32" fmla="*/ 60784 h 82135"/>
                  <a:gd name="connsiteX33" fmla="*/ 9043 w 59041"/>
                  <a:gd name="connsiteY33" fmla="*/ 60784 h 82135"/>
                  <a:gd name="connsiteX34" fmla="*/ 7159 w 59041"/>
                  <a:gd name="connsiteY34" fmla="*/ 61789 h 82135"/>
                  <a:gd name="connsiteX35" fmla="*/ 4647 w 59041"/>
                  <a:gd name="connsiteY35" fmla="*/ 59151 h 82135"/>
                  <a:gd name="connsiteX36" fmla="*/ 4145 w 59041"/>
                  <a:gd name="connsiteY36" fmla="*/ 64175 h 82135"/>
                  <a:gd name="connsiteX37" fmla="*/ 5652 w 59041"/>
                  <a:gd name="connsiteY37" fmla="*/ 70455 h 82135"/>
                  <a:gd name="connsiteX38" fmla="*/ 16956 w 59041"/>
                  <a:gd name="connsiteY38" fmla="*/ 65933 h 82135"/>
                  <a:gd name="connsiteX39" fmla="*/ 22733 w 59041"/>
                  <a:gd name="connsiteY39" fmla="*/ 67064 h 82135"/>
                  <a:gd name="connsiteX40" fmla="*/ 22481 w 59041"/>
                  <a:gd name="connsiteY40" fmla="*/ 70832 h 82135"/>
                  <a:gd name="connsiteX41" fmla="*/ 19844 w 59041"/>
                  <a:gd name="connsiteY41" fmla="*/ 72967 h 82135"/>
                  <a:gd name="connsiteX42" fmla="*/ 18337 w 59041"/>
                  <a:gd name="connsiteY42" fmla="*/ 73092 h 82135"/>
                  <a:gd name="connsiteX43" fmla="*/ 16579 w 59041"/>
                  <a:gd name="connsiteY43" fmla="*/ 72590 h 82135"/>
                  <a:gd name="connsiteX44" fmla="*/ 16077 w 59041"/>
                  <a:gd name="connsiteY44" fmla="*/ 70706 h 82135"/>
                  <a:gd name="connsiteX45" fmla="*/ 16579 w 59041"/>
                  <a:gd name="connsiteY45" fmla="*/ 69073 h 82135"/>
                  <a:gd name="connsiteX46" fmla="*/ 15323 w 59041"/>
                  <a:gd name="connsiteY46" fmla="*/ 67817 h 82135"/>
                  <a:gd name="connsiteX47" fmla="*/ 13439 w 59041"/>
                  <a:gd name="connsiteY47" fmla="*/ 67315 h 82135"/>
                  <a:gd name="connsiteX48" fmla="*/ 12434 w 59041"/>
                  <a:gd name="connsiteY48" fmla="*/ 69199 h 82135"/>
                  <a:gd name="connsiteX49" fmla="*/ 12685 w 59041"/>
                  <a:gd name="connsiteY49" fmla="*/ 70329 h 82135"/>
                  <a:gd name="connsiteX50" fmla="*/ 10299 w 59041"/>
                  <a:gd name="connsiteY50" fmla="*/ 69827 h 82135"/>
                  <a:gd name="connsiteX51" fmla="*/ 8540 w 59041"/>
                  <a:gd name="connsiteY51" fmla="*/ 63673 h 82135"/>
                  <a:gd name="connsiteX52" fmla="*/ 9671 w 59041"/>
                  <a:gd name="connsiteY52" fmla="*/ 63673 h 82135"/>
                  <a:gd name="connsiteX53" fmla="*/ 10047 w 59041"/>
                  <a:gd name="connsiteY53" fmla="*/ 63798 h 82135"/>
                  <a:gd name="connsiteX54" fmla="*/ 16956 w 59041"/>
                  <a:gd name="connsiteY54" fmla="*/ 65933 h 8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9041" h="82135">
                    <a:moveTo>
                      <a:pt x="5652" y="70455"/>
                    </a:moveTo>
                    <a:cubicBezTo>
                      <a:pt x="7661" y="76735"/>
                      <a:pt x="12308" y="82135"/>
                      <a:pt x="19341" y="82135"/>
                    </a:cubicBezTo>
                    <a:cubicBezTo>
                      <a:pt x="23236" y="82135"/>
                      <a:pt x="27003" y="80502"/>
                      <a:pt x="29766" y="77739"/>
                    </a:cubicBezTo>
                    <a:cubicBezTo>
                      <a:pt x="32529" y="75102"/>
                      <a:pt x="34916" y="72590"/>
                      <a:pt x="36171" y="68822"/>
                    </a:cubicBezTo>
                    <a:cubicBezTo>
                      <a:pt x="36925" y="66687"/>
                      <a:pt x="37176" y="64426"/>
                      <a:pt x="37302" y="62291"/>
                    </a:cubicBezTo>
                    <a:cubicBezTo>
                      <a:pt x="37427" y="60156"/>
                      <a:pt x="37930" y="58021"/>
                      <a:pt x="37930" y="55886"/>
                    </a:cubicBezTo>
                    <a:cubicBezTo>
                      <a:pt x="37930" y="54002"/>
                      <a:pt x="37553" y="52244"/>
                      <a:pt x="38056" y="50360"/>
                    </a:cubicBezTo>
                    <a:cubicBezTo>
                      <a:pt x="38683" y="48099"/>
                      <a:pt x="39311" y="45964"/>
                      <a:pt x="40065" y="43829"/>
                    </a:cubicBezTo>
                    <a:cubicBezTo>
                      <a:pt x="40693" y="42196"/>
                      <a:pt x="41320" y="40438"/>
                      <a:pt x="42577" y="39182"/>
                    </a:cubicBezTo>
                    <a:cubicBezTo>
                      <a:pt x="44210" y="37549"/>
                      <a:pt x="47098" y="37675"/>
                      <a:pt x="48479" y="39684"/>
                    </a:cubicBezTo>
                    <a:cubicBezTo>
                      <a:pt x="49484" y="41191"/>
                      <a:pt x="49736" y="44080"/>
                      <a:pt x="49233" y="45838"/>
                    </a:cubicBezTo>
                    <a:cubicBezTo>
                      <a:pt x="48857" y="47345"/>
                      <a:pt x="47977" y="48727"/>
                      <a:pt x="47098" y="49983"/>
                    </a:cubicBezTo>
                    <a:cubicBezTo>
                      <a:pt x="44837" y="53625"/>
                      <a:pt x="42703" y="57267"/>
                      <a:pt x="42577" y="61789"/>
                    </a:cubicBezTo>
                    <a:cubicBezTo>
                      <a:pt x="42577" y="62166"/>
                      <a:pt x="42828" y="63924"/>
                      <a:pt x="42703" y="64301"/>
                    </a:cubicBezTo>
                    <a:cubicBezTo>
                      <a:pt x="44084" y="63422"/>
                      <a:pt x="45340" y="62417"/>
                      <a:pt x="46470" y="61412"/>
                    </a:cubicBezTo>
                    <a:cubicBezTo>
                      <a:pt x="51494" y="57267"/>
                      <a:pt x="55011" y="51616"/>
                      <a:pt x="56895" y="45461"/>
                    </a:cubicBezTo>
                    <a:cubicBezTo>
                      <a:pt x="58276" y="40689"/>
                      <a:pt x="59155" y="35791"/>
                      <a:pt x="59030" y="30767"/>
                    </a:cubicBezTo>
                    <a:cubicBezTo>
                      <a:pt x="58778" y="23357"/>
                      <a:pt x="56643" y="13686"/>
                      <a:pt x="50866" y="8537"/>
                    </a:cubicBezTo>
                    <a:cubicBezTo>
                      <a:pt x="44210" y="2634"/>
                      <a:pt x="36549" y="-1009"/>
                      <a:pt x="27380" y="247"/>
                    </a:cubicBezTo>
                    <a:cubicBezTo>
                      <a:pt x="18839" y="1378"/>
                      <a:pt x="11430" y="6778"/>
                      <a:pt x="5526" y="12681"/>
                    </a:cubicBezTo>
                    <a:cubicBezTo>
                      <a:pt x="1884" y="16324"/>
                      <a:pt x="377" y="21598"/>
                      <a:pt x="0" y="27501"/>
                    </a:cubicBezTo>
                    <a:cubicBezTo>
                      <a:pt x="2010" y="25869"/>
                      <a:pt x="3391" y="24864"/>
                      <a:pt x="8540" y="24990"/>
                    </a:cubicBezTo>
                    <a:cubicBezTo>
                      <a:pt x="23486" y="25241"/>
                      <a:pt x="31901" y="28632"/>
                      <a:pt x="32529" y="37549"/>
                    </a:cubicBezTo>
                    <a:cubicBezTo>
                      <a:pt x="32780" y="42070"/>
                      <a:pt x="33534" y="46466"/>
                      <a:pt x="33659" y="50988"/>
                    </a:cubicBezTo>
                    <a:cubicBezTo>
                      <a:pt x="33785" y="53123"/>
                      <a:pt x="34162" y="55383"/>
                      <a:pt x="33409" y="57519"/>
                    </a:cubicBezTo>
                    <a:cubicBezTo>
                      <a:pt x="32780" y="59528"/>
                      <a:pt x="31147" y="61161"/>
                      <a:pt x="29640" y="62542"/>
                    </a:cubicBezTo>
                    <a:cubicBezTo>
                      <a:pt x="28636" y="63422"/>
                      <a:pt x="27631" y="64301"/>
                      <a:pt x="26375" y="64929"/>
                    </a:cubicBezTo>
                    <a:cubicBezTo>
                      <a:pt x="25998" y="65054"/>
                      <a:pt x="25496" y="65305"/>
                      <a:pt x="24993" y="65180"/>
                    </a:cubicBezTo>
                    <a:cubicBezTo>
                      <a:pt x="24491" y="65180"/>
                      <a:pt x="24114" y="64803"/>
                      <a:pt x="23612" y="64552"/>
                    </a:cubicBezTo>
                    <a:cubicBezTo>
                      <a:pt x="22984" y="64175"/>
                      <a:pt x="22231" y="63798"/>
                      <a:pt x="21603" y="63422"/>
                    </a:cubicBezTo>
                    <a:cubicBezTo>
                      <a:pt x="20974" y="63170"/>
                      <a:pt x="20472" y="62794"/>
                      <a:pt x="19844" y="62542"/>
                    </a:cubicBezTo>
                    <a:cubicBezTo>
                      <a:pt x="18463" y="61914"/>
                      <a:pt x="17206" y="62040"/>
                      <a:pt x="15699" y="61789"/>
                    </a:cubicBezTo>
                    <a:cubicBezTo>
                      <a:pt x="14192" y="61538"/>
                      <a:pt x="12685" y="61035"/>
                      <a:pt x="11178" y="60784"/>
                    </a:cubicBezTo>
                    <a:cubicBezTo>
                      <a:pt x="10425" y="60658"/>
                      <a:pt x="9671" y="60533"/>
                      <a:pt x="9043" y="60784"/>
                    </a:cubicBezTo>
                    <a:cubicBezTo>
                      <a:pt x="8415" y="61035"/>
                      <a:pt x="7787" y="61538"/>
                      <a:pt x="7159" y="61789"/>
                    </a:cubicBezTo>
                    <a:cubicBezTo>
                      <a:pt x="5652" y="62417"/>
                      <a:pt x="5024" y="60282"/>
                      <a:pt x="4647" y="59151"/>
                    </a:cubicBezTo>
                    <a:cubicBezTo>
                      <a:pt x="4019" y="60784"/>
                      <a:pt x="4145" y="62417"/>
                      <a:pt x="4145" y="64175"/>
                    </a:cubicBezTo>
                    <a:cubicBezTo>
                      <a:pt x="4521" y="66185"/>
                      <a:pt x="4898" y="68445"/>
                      <a:pt x="5652" y="70455"/>
                    </a:cubicBezTo>
                    <a:close/>
                    <a:moveTo>
                      <a:pt x="16956" y="65933"/>
                    </a:moveTo>
                    <a:cubicBezTo>
                      <a:pt x="18463" y="66059"/>
                      <a:pt x="21853" y="65180"/>
                      <a:pt x="22733" y="67064"/>
                    </a:cubicBezTo>
                    <a:cubicBezTo>
                      <a:pt x="23360" y="68571"/>
                      <a:pt x="23236" y="69450"/>
                      <a:pt x="22481" y="70832"/>
                    </a:cubicBezTo>
                    <a:cubicBezTo>
                      <a:pt x="21979" y="71836"/>
                      <a:pt x="20974" y="72716"/>
                      <a:pt x="19844" y="72967"/>
                    </a:cubicBezTo>
                    <a:cubicBezTo>
                      <a:pt x="19341" y="73092"/>
                      <a:pt x="18839" y="73092"/>
                      <a:pt x="18337" y="73092"/>
                    </a:cubicBezTo>
                    <a:cubicBezTo>
                      <a:pt x="17709" y="73092"/>
                      <a:pt x="17081" y="73092"/>
                      <a:pt x="16579" y="72590"/>
                    </a:cubicBezTo>
                    <a:cubicBezTo>
                      <a:pt x="16077" y="72088"/>
                      <a:pt x="15951" y="71334"/>
                      <a:pt x="16077" y="70706"/>
                    </a:cubicBezTo>
                    <a:cubicBezTo>
                      <a:pt x="16201" y="70204"/>
                      <a:pt x="16579" y="69701"/>
                      <a:pt x="16579" y="69073"/>
                    </a:cubicBezTo>
                    <a:cubicBezTo>
                      <a:pt x="16453" y="68445"/>
                      <a:pt x="15825" y="68069"/>
                      <a:pt x="15323" y="67817"/>
                    </a:cubicBezTo>
                    <a:cubicBezTo>
                      <a:pt x="14694" y="67566"/>
                      <a:pt x="14067" y="67441"/>
                      <a:pt x="13439" y="67315"/>
                    </a:cubicBezTo>
                    <a:cubicBezTo>
                      <a:pt x="12183" y="67189"/>
                      <a:pt x="12183" y="68320"/>
                      <a:pt x="12434" y="69199"/>
                    </a:cubicBezTo>
                    <a:cubicBezTo>
                      <a:pt x="12559" y="69576"/>
                      <a:pt x="12559" y="69952"/>
                      <a:pt x="12685" y="70329"/>
                    </a:cubicBezTo>
                    <a:cubicBezTo>
                      <a:pt x="13062" y="72339"/>
                      <a:pt x="10801" y="70204"/>
                      <a:pt x="10299" y="69827"/>
                    </a:cubicBezTo>
                    <a:cubicBezTo>
                      <a:pt x="9168" y="68822"/>
                      <a:pt x="6782" y="64803"/>
                      <a:pt x="8540" y="63673"/>
                    </a:cubicBezTo>
                    <a:cubicBezTo>
                      <a:pt x="8918" y="63422"/>
                      <a:pt x="9294" y="63547"/>
                      <a:pt x="9671" y="63673"/>
                    </a:cubicBezTo>
                    <a:cubicBezTo>
                      <a:pt x="9797" y="63673"/>
                      <a:pt x="9922" y="63798"/>
                      <a:pt x="10047" y="63798"/>
                    </a:cubicBezTo>
                    <a:cubicBezTo>
                      <a:pt x="12308" y="64677"/>
                      <a:pt x="14444" y="65682"/>
                      <a:pt x="16956" y="65933"/>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280CA45B-5B91-46C0-AE43-B0839E15A526}"/>
                  </a:ext>
                </a:extLst>
              </p:cNvPr>
              <p:cNvSpPr/>
              <p:nvPr/>
            </p:nvSpPr>
            <p:spPr>
              <a:xfrm>
                <a:off x="11595041" y="2476959"/>
                <a:ext cx="50375" cy="58900"/>
              </a:xfrm>
              <a:custGeom>
                <a:avLst/>
                <a:gdLst>
                  <a:gd name="connsiteX0" fmla="*/ 13439 w 50375"/>
                  <a:gd name="connsiteY0" fmla="*/ 5020 h 58900"/>
                  <a:gd name="connsiteX1" fmla="*/ 4396 w 50375"/>
                  <a:gd name="connsiteY1" fmla="*/ 7909 h 58900"/>
                  <a:gd name="connsiteX2" fmla="*/ 2009 w 50375"/>
                  <a:gd name="connsiteY2" fmla="*/ 8913 h 58900"/>
                  <a:gd name="connsiteX3" fmla="*/ 0 w 50375"/>
                  <a:gd name="connsiteY3" fmla="*/ 9793 h 58900"/>
                  <a:gd name="connsiteX4" fmla="*/ 18714 w 50375"/>
                  <a:gd name="connsiteY4" fmla="*/ 247 h 58900"/>
                  <a:gd name="connsiteX5" fmla="*/ 42200 w 50375"/>
                  <a:gd name="connsiteY5" fmla="*/ 8537 h 58900"/>
                  <a:gd name="connsiteX6" fmla="*/ 50364 w 50375"/>
                  <a:gd name="connsiteY6" fmla="*/ 30767 h 58900"/>
                  <a:gd name="connsiteX7" fmla="*/ 48228 w 50375"/>
                  <a:gd name="connsiteY7" fmla="*/ 45461 h 58900"/>
                  <a:gd name="connsiteX8" fmla="*/ 40441 w 50375"/>
                  <a:gd name="connsiteY8" fmla="*/ 58900 h 58900"/>
                  <a:gd name="connsiteX9" fmla="*/ 41070 w 50375"/>
                  <a:gd name="connsiteY9" fmla="*/ 56765 h 58900"/>
                  <a:gd name="connsiteX10" fmla="*/ 43330 w 50375"/>
                  <a:gd name="connsiteY10" fmla="*/ 45713 h 58900"/>
                  <a:gd name="connsiteX11" fmla="*/ 43707 w 50375"/>
                  <a:gd name="connsiteY11" fmla="*/ 26497 h 58900"/>
                  <a:gd name="connsiteX12" fmla="*/ 22355 w 50375"/>
                  <a:gd name="connsiteY12" fmla="*/ 4894 h 58900"/>
                  <a:gd name="connsiteX13" fmla="*/ 13439 w 50375"/>
                  <a:gd name="connsiteY13" fmla="*/ 5020 h 5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375" h="58900">
                    <a:moveTo>
                      <a:pt x="13439" y="5020"/>
                    </a:moveTo>
                    <a:cubicBezTo>
                      <a:pt x="10425" y="5648"/>
                      <a:pt x="7285" y="6778"/>
                      <a:pt x="4396" y="7909"/>
                    </a:cubicBezTo>
                    <a:cubicBezTo>
                      <a:pt x="3516" y="8285"/>
                      <a:pt x="2763" y="8537"/>
                      <a:pt x="2009" y="8913"/>
                    </a:cubicBezTo>
                    <a:cubicBezTo>
                      <a:pt x="1381" y="9165"/>
                      <a:pt x="628" y="9541"/>
                      <a:pt x="0" y="9793"/>
                    </a:cubicBezTo>
                    <a:cubicBezTo>
                      <a:pt x="5400" y="5146"/>
                      <a:pt x="11680" y="1127"/>
                      <a:pt x="18714" y="247"/>
                    </a:cubicBezTo>
                    <a:cubicBezTo>
                      <a:pt x="27757" y="-1009"/>
                      <a:pt x="35544" y="2634"/>
                      <a:pt x="42200" y="8537"/>
                    </a:cubicBezTo>
                    <a:cubicBezTo>
                      <a:pt x="47977" y="13686"/>
                      <a:pt x="50238" y="23357"/>
                      <a:pt x="50364" y="30767"/>
                    </a:cubicBezTo>
                    <a:cubicBezTo>
                      <a:pt x="50489" y="35791"/>
                      <a:pt x="49610" y="40689"/>
                      <a:pt x="48228" y="45461"/>
                    </a:cubicBezTo>
                    <a:cubicBezTo>
                      <a:pt x="46721" y="50485"/>
                      <a:pt x="44084" y="55132"/>
                      <a:pt x="40441" y="58900"/>
                    </a:cubicBezTo>
                    <a:cubicBezTo>
                      <a:pt x="40693" y="58147"/>
                      <a:pt x="40944" y="57393"/>
                      <a:pt x="41070" y="56765"/>
                    </a:cubicBezTo>
                    <a:cubicBezTo>
                      <a:pt x="42074" y="53123"/>
                      <a:pt x="42827" y="49481"/>
                      <a:pt x="43330" y="45713"/>
                    </a:cubicBezTo>
                    <a:cubicBezTo>
                      <a:pt x="44335" y="39307"/>
                      <a:pt x="44460" y="32902"/>
                      <a:pt x="43707" y="26497"/>
                    </a:cubicBezTo>
                    <a:cubicBezTo>
                      <a:pt x="42577" y="15068"/>
                      <a:pt x="33157" y="7406"/>
                      <a:pt x="22355" y="4894"/>
                    </a:cubicBezTo>
                    <a:cubicBezTo>
                      <a:pt x="19341" y="4266"/>
                      <a:pt x="16453" y="4392"/>
                      <a:pt x="13439" y="5020"/>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D76900C-F90D-4F19-B53F-84A3A45F740F}"/>
                  </a:ext>
                </a:extLst>
              </p:cNvPr>
              <p:cNvSpPr/>
              <p:nvPr/>
            </p:nvSpPr>
            <p:spPr>
              <a:xfrm>
                <a:off x="11590520" y="2533222"/>
                <a:ext cx="29514" cy="10776"/>
              </a:xfrm>
              <a:custGeom>
                <a:avLst/>
                <a:gdLst>
                  <a:gd name="connsiteX0" fmla="*/ 0 w 29514"/>
                  <a:gd name="connsiteY0" fmla="*/ 5777 h 10776"/>
                  <a:gd name="connsiteX1" fmla="*/ 502 w 29514"/>
                  <a:gd name="connsiteY1" fmla="*/ 2763 h 10776"/>
                  <a:gd name="connsiteX2" fmla="*/ 3014 w 29514"/>
                  <a:gd name="connsiteY2" fmla="*/ 5401 h 10776"/>
                  <a:gd name="connsiteX3" fmla="*/ 4898 w 29514"/>
                  <a:gd name="connsiteY3" fmla="*/ 4396 h 10776"/>
                  <a:gd name="connsiteX4" fmla="*/ 7033 w 29514"/>
                  <a:gd name="connsiteY4" fmla="*/ 4396 h 10776"/>
                  <a:gd name="connsiteX5" fmla="*/ 11555 w 29514"/>
                  <a:gd name="connsiteY5" fmla="*/ 5401 h 10776"/>
                  <a:gd name="connsiteX6" fmla="*/ 15699 w 29514"/>
                  <a:gd name="connsiteY6" fmla="*/ 6154 h 10776"/>
                  <a:gd name="connsiteX7" fmla="*/ 17457 w 29514"/>
                  <a:gd name="connsiteY7" fmla="*/ 7033 h 10776"/>
                  <a:gd name="connsiteX8" fmla="*/ 19467 w 29514"/>
                  <a:gd name="connsiteY8" fmla="*/ 8164 h 10776"/>
                  <a:gd name="connsiteX9" fmla="*/ 20848 w 29514"/>
                  <a:gd name="connsiteY9" fmla="*/ 8792 h 10776"/>
                  <a:gd name="connsiteX10" fmla="*/ 22230 w 29514"/>
                  <a:gd name="connsiteY10" fmla="*/ 8540 h 10776"/>
                  <a:gd name="connsiteX11" fmla="*/ 25495 w 29514"/>
                  <a:gd name="connsiteY11" fmla="*/ 6154 h 10776"/>
                  <a:gd name="connsiteX12" fmla="*/ 29263 w 29514"/>
                  <a:gd name="connsiteY12" fmla="*/ 1130 h 10776"/>
                  <a:gd name="connsiteX13" fmla="*/ 29514 w 29514"/>
                  <a:gd name="connsiteY13" fmla="*/ 0 h 10776"/>
                  <a:gd name="connsiteX14" fmla="*/ 28133 w 29514"/>
                  <a:gd name="connsiteY14" fmla="*/ 5275 h 10776"/>
                  <a:gd name="connsiteX15" fmla="*/ 26877 w 29514"/>
                  <a:gd name="connsiteY15" fmla="*/ 6782 h 10776"/>
                  <a:gd name="connsiteX16" fmla="*/ 23235 w 29514"/>
                  <a:gd name="connsiteY16" fmla="*/ 9796 h 10776"/>
                  <a:gd name="connsiteX17" fmla="*/ 21602 w 29514"/>
                  <a:gd name="connsiteY17" fmla="*/ 10676 h 10776"/>
                  <a:gd name="connsiteX18" fmla="*/ 19969 w 29514"/>
                  <a:gd name="connsiteY18" fmla="*/ 10299 h 10776"/>
                  <a:gd name="connsiteX19" fmla="*/ 16579 w 29514"/>
                  <a:gd name="connsiteY19" fmla="*/ 7912 h 10776"/>
                  <a:gd name="connsiteX20" fmla="*/ 14946 w 29514"/>
                  <a:gd name="connsiteY20" fmla="*/ 7033 h 10776"/>
                  <a:gd name="connsiteX21" fmla="*/ 12936 w 29514"/>
                  <a:gd name="connsiteY21" fmla="*/ 6531 h 10776"/>
                  <a:gd name="connsiteX22" fmla="*/ 8666 w 29514"/>
                  <a:gd name="connsiteY22" fmla="*/ 5652 h 10776"/>
                  <a:gd name="connsiteX23" fmla="*/ 4270 w 29514"/>
                  <a:gd name="connsiteY23" fmla="*/ 5903 h 10776"/>
                  <a:gd name="connsiteX24" fmla="*/ 3014 w 29514"/>
                  <a:gd name="connsiteY24" fmla="*/ 6657 h 10776"/>
                  <a:gd name="connsiteX25" fmla="*/ 0 w 29514"/>
                  <a:gd name="connsiteY25" fmla="*/ 5777 h 10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514" h="10776">
                    <a:moveTo>
                      <a:pt x="0" y="5777"/>
                    </a:moveTo>
                    <a:cubicBezTo>
                      <a:pt x="0" y="4773"/>
                      <a:pt x="126" y="3768"/>
                      <a:pt x="502" y="2763"/>
                    </a:cubicBezTo>
                    <a:cubicBezTo>
                      <a:pt x="754" y="3893"/>
                      <a:pt x="1381" y="6029"/>
                      <a:pt x="3014" y="5401"/>
                    </a:cubicBezTo>
                    <a:cubicBezTo>
                      <a:pt x="3642" y="5149"/>
                      <a:pt x="4144" y="4647"/>
                      <a:pt x="4898" y="4396"/>
                    </a:cubicBezTo>
                    <a:cubicBezTo>
                      <a:pt x="5651" y="4145"/>
                      <a:pt x="6405" y="4270"/>
                      <a:pt x="7033" y="4396"/>
                    </a:cubicBezTo>
                    <a:cubicBezTo>
                      <a:pt x="8540" y="4773"/>
                      <a:pt x="10047" y="5275"/>
                      <a:pt x="11555" y="5401"/>
                    </a:cubicBezTo>
                    <a:cubicBezTo>
                      <a:pt x="12936" y="5652"/>
                      <a:pt x="14317" y="5526"/>
                      <a:pt x="15699" y="6154"/>
                    </a:cubicBezTo>
                    <a:cubicBezTo>
                      <a:pt x="16327" y="6405"/>
                      <a:pt x="16829" y="6782"/>
                      <a:pt x="17457" y="7033"/>
                    </a:cubicBezTo>
                    <a:cubicBezTo>
                      <a:pt x="18211" y="7410"/>
                      <a:pt x="18839" y="7787"/>
                      <a:pt x="19467" y="8164"/>
                    </a:cubicBezTo>
                    <a:cubicBezTo>
                      <a:pt x="19843" y="8415"/>
                      <a:pt x="20346" y="8666"/>
                      <a:pt x="20848" y="8792"/>
                    </a:cubicBezTo>
                    <a:cubicBezTo>
                      <a:pt x="21351" y="8792"/>
                      <a:pt x="21728" y="8666"/>
                      <a:pt x="22230" y="8540"/>
                    </a:cubicBezTo>
                    <a:cubicBezTo>
                      <a:pt x="23486" y="8038"/>
                      <a:pt x="24490" y="7159"/>
                      <a:pt x="25495" y="6154"/>
                    </a:cubicBezTo>
                    <a:cubicBezTo>
                      <a:pt x="27002" y="4773"/>
                      <a:pt x="28635" y="3140"/>
                      <a:pt x="29263" y="1130"/>
                    </a:cubicBezTo>
                    <a:cubicBezTo>
                      <a:pt x="29389" y="754"/>
                      <a:pt x="29389" y="377"/>
                      <a:pt x="29514" y="0"/>
                    </a:cubicBezTo>
                    <a:cubicBezTo>
                      <a:pt x="29514" y="1884"/>
                      <a:pt x="29138" y="3768"/>
                      <a:pt x="28133" y="5275"/>
                    </a:cubicBezTo>
                    <a:cubicBezTo>
                      <a:pt x="27756" y="5777"/>
                      <a:pt x="27254" y="6280"/>
                      <a:pt x="26877" y="6782"/>
                    </a:cubicBezTo>
                    <a:cubicBezTo>
                      <a:pt x="25747" y="7912"/>
                      <a:pt x="24490" y="8917"/>
                      <a:pt x="23235" y="9796"/>
                    </a:cubicBezTo>
                    <a:cubicBezTo>
                      <a:pt x="22733" y="10173"/>
                      <a:pt x="22230" y="10424"/>
                      <a:pt x="21602" y="10676"/>
                    </a:cubicBezTo>
                    <a:cubicBezTo>
                      <a:pt x="20848" y="10927"/>
                      <a:pt x="20597" y="10676"/>
                      <a:pt x="19969" y="10299"/>
                    </a:cubicBezTo>
                    <a:cubicBezTo>
                      <a:pt x="18839" y="9420"/>
                      <a:pt x="17709" y="8666"/>
                      <a:pt x="16579" y="7912"/>
                    </a:cubicBezTo>
                    <a:cubicBezTo>
                      <a:pt x="16076" y="7536"/>
                      <a:pt x="15574" y="7285"/>
                      <a:pt x="14946" y="7033"/>
                    </a:cubicBezTo>
                    <a:cubicBezTo>
                      <a:pt x="14317" y="6782"/>
                      <a:pt x="13564" y="6657"/>
                      <a:pt x="12936" y="6531"/>
                    </a:cubicBezTo>
                    <a:cubicBezTo>
                      <a:pt x="11555" y="6280"/>
                      <a:pt x="10047" y="6029"/>
                      <a:pt x="8666" y="5652"/>
                    </a:cubicBezTo>
                    <a:cubicBezTo>
                      <a:pt x="7159" y="5401"/>
                      <a:pt x="5526" y="5149"/>
                      <a:pt x="4270" y="5903"/>
                    </a:cubicBezTo>
                    <a:cubicBezTo>
                      <a:pt x="3893" y="6154"/>
                      <a:pt x="3516" y="6531"/>
                      <a:pt x="3014" y="6657"/>
                    </a:cubicBezTo>
                    <a:cubicBezTo>
                      <a:pt x="2009" y="7159"/>
                      <a:pt x="754" y="6657"/>
                      <a:pt x="0" y="5777"/>
                    </a:cubicBezTo>
                    <a:close/>
                  </a:path>
                </a:pathLst>
              </a:custGeom>
              <a:solidFill>
                <a:srgbClr val="703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870B20C1-5CB0-41FA-BFCB-A7B34CF677D5}"/>
                  </a:ext>
                </a:extLst>
              </p:cNvPr>
              <p:cNvSpPr/>
              <p:nvPr/>
            </p:nvSpPr>
            <p:spPr>
              <a:xfrm>
                <a:off x="11590896" y="2518779"/>
                <a:ext cx="36171" cy="40441"/>
              </a:xfrm>
              <a:custGeom>
                <a:avLst/>
                <a:gdLst>
                  <a:gd name="connsiteX0" fmla="*/ 25119 w 36171"/>
                  <a:gd name="connsiteY0" fmla="*/ 36046 h 40441"/>
                  <a:gd name="connsiteX1" fmla="*/ 14694 w 36171"/>
                  <a:gd name="connsiteY1" fmla="*/ 40442 h 40441"/>
                  <a:gd name="connsiteX2" fmla="*/ 1005 w 36171"/>
                  <a:gd name="connsiteY2" fmla="*/ 28761 h 40441"/>
                  <a:gd name="connsiteX3" fmla="*/ 0 w 36171"/>
                  <a:gd name="connsiteY3" fmla="*/ 23612 h 40441"/>
                  <a:gd name="connsiteX4" fmla="*/ 628 w 36171"/>
                  <a:gd name="connsiteY4" fmla="*/ 26375 h 40441"/>
                  <a:gd name="connsiteX5" fmla="*/ 4019 w 36171"/>
                  <a:gd name="connsiteY5" fmla="*/ 32655 h 40441"/>
                  <a:gd name="connsiteX6" fmla="*/ 18211 w 36171"/>
                  <a:gd name="connsiteY6" fmla="*/ 36171 h 40441"/>
                  <a:gd name="connsiteX7" fmla="*/ 30394 w 36171"/>
                  <a:gd name="connsiteY7" fmla="*/ 23737 h 40441"/>
                  <a:gd name="connsiteX8" fmla="*/ 30645 w 36171"/>
                  <a:gd name="connsiteY8" fmla="*/ 18211 h 40441"/>
                  <a:gd name="connsiteX9" fmla="*/ 31022 w 36171"/>
                  <a:gd name="connsiteY9" fmla="*/ 11806 h 40441"/>
                  <a:gd name="connsiteX10" fmla="*/ 32404 w 36171"/>
                  <a:gd name="connsiteY10" fmla="*/ 5401 h 40441"/>
                  <a:gd name="connsiteX11" fmla="*/ 36171 w 36171"/>
                  <a:gd name="connsiteY11" fmla="*/ 0 h 40441"/>
                  <a:gd name="connsiteX12" fmla="*/ 35292 w 36171"/>
                  <a:gd name="connsiteY12" fmla="*/ 2261 h 40441"/>
                  <a:gd name="connsiteX13" fmla="*/ 33283 w 36171"/>
                  <a:gd name="connsiteY13" fmla="*/ 8792 h 40441"/>
                  <a:gd name="connsiteX14" fmla="*/ 33157 w 36171"/>
                  <a:gd name="connsiteY14" fmla="*/ 14318 h 40441"/>
                  <a:gd name="connsiteX15" fmla="*/ 32529 w 36171"/>
                  <a:gd name="connsiteY15" fmla="*/ 20723 h 40441"/>
                  <a:gd name="connsiteX16" fmla="*/ 31399 w 36171"/>
                  <a:gd name="connsiteY16" fmla="*/ 27254 h 40441"/>
                  <a:gd name="connsiteX17" fmla="*/ 25119 w 36171"/>
                  <a:gd name="connsiteY17" fmla="*/ 36046 h 4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171" h="40441">
                    <a:moveTo>
                      <a:pt x="25119" y="36046"/>
                    </a:moveTo>
                    <a:cubicBezTo>
                      <a:pt x="22356" y="38683"/>
                      <a:pt x="18589" y="40442"/>
                      <a:pt x="14694" y="40442"/>
                    </a:cubicBezTo>
                    <a:cubicBezTo>
                      <a:pt x="7661" y="40442"/>
                      <a:pt x="3014" y="34915"/>
                      <a:pt x="1005" y="28761"/>
                    </a:cubicBezTo>
                    <a:cubicBezTo>
                      <a:pt x="503" y="27129"/>
                      <a:pt x="126" y="25370"/>
                      <a:pt x="0" y="23612"/>
                    </a:cubicBezTo>
                    <a:cubicBezTo>
                      <a:pt x="251" y="24491"/>
                      <a:pt x="377" y="25496"/>
                      <a:pt x="628" y="26375"/>
                    </a:cubicBezTo>
                    <a:cubicBezTo>
                      <a:pt x="1256" y="28636"/>
                      <a:pt x="2135" y="31148"/>
                      <a:pt x="4019" y="32655"/>
                    </a:cubicBezTo>
                    <a:cubicBezTo>
                      <a:pt x="7913" y="35794"/>
                      <a:pt x="13313" y="37427"/>
                      <a:pt x="18211" y="36171"/>
                    </a:cubicBezTo>
                    <a:cubicBezTo>
                      <a:pt x="23612" y="34790"/>
                      <a:pt x="29390" y="29264"/>
                      <a:pt x="30394" y="23737"/>
                    </a:cubicBezTo>
                    <a:cubicBezTo>
                      <a:pt x="30771" y="21979"/>
                      <a:pt x="30645" y="20095"/>
                      <a:pt x="30645" y="18211"/>
                    </a:cubicBezTo>
                    <a:cubicBezTo>
                      <a:pt x="30645" y="16076"/>
                      <a:pt x="30771" y="13941"/>
                      <a:pt x="31022" y="11806"/>
                    </a:cubicBezTo>
                    <a:cubicBezTo>
                      <a:pt x="31273" y="9545"/>
                      <a:pt x="31776" y="7410"/>
                      <a:pt x="32404" y="5401"/>
                    </a:cubicBezTo>
                    <a:cubicBezTo>
                      <a:pt x="32780" y="4270"/>
                      <a:pt x="34539" y="754"/>
                      <a:pt x="36171" y="0"/>
                    </a:cubicBezTo>
                    <a:cubicBezTo>
                      <a:pt x="35795" y="754"/>
                      <a:pt x="35544" y="1507"/>
                      <a:pt x="35292" y="2261"/>
                    </a:cubicBezTo>
                    <a:cubicBezTo>
                      <a:pt x="34413" y="4396"/>
                      <a:pt x="33785" y="6657"/>
                      <a:pt x="33283" y="8792"/>
                    </a:cubicBezTo>
                    <a:cubicBezTo>
                      <a:pt x="32780" y="10676"/>
                      <a:pt x="33157" y="12434"/>
                      <a:pt x="33157" y="14318"/>
                    </a:cubicBezTo>
                    <a:cubicBezTo>
                      <a:pt x="33157" y="16453"/>
                      <a:pt x="32655" y="18588"/>
                      <a:pt x="32529" y="20723"/>
                    </a:cubicBezTo>
                    <a:cubicBezTo>
                      <a:pt x="32404" y="22984"/>
                      <a:pt x="32152" y="25119"/>
                      <a:pt x="31399" y="27254"/>
                    </a:cubicBezTo>
                    <a:cubicBezTo>
                      <a:pt x="30269" y="30896"/>
                      <a:pt x="27882" y="33408"/>
                      <a:pt x="25119" y="36046"/>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F3C24B2A-52F7-4CC7-8674-6E9F5CDAF68C}"/>
                  </a:ext>
                </a:extLst>
              </p:cNvPr>
              <p:cNvSpPr/>
              <p:nvPr/>
            </p:nvSpPr>
            <p:spPr>
              <a:xfrm>
                <a:off x="11660327" y="2654170"/>
                <a:ext cx="28785" cy="18315"/>
              </a:xfrm>
              <a:custGeom>
                <a:avLst/>
                <a:gdLst>
                  <a:gd name="connsiteX0" fmla="*/ 27780 w 28785"/>
                  <a:gd name="connsiteY0" fmla="*/ 9294 h 18315"/>
                  <a:gd name="connsiteX1" fmla="*/ 27655 w 28785"/>
                  <a:gd name="connsiteY1" fmla="*/ 12183 h 18315"/>
                  <a:gd name="connsiteX2" fmla="*/ 18486 w 28785"/>
                  <a:gd name="connsiteY2" fmla="*/ 18211 h 18315"/>
                  <a:gd name="connsiteX3" fmla="*/ 2661 w 28785"/>
                  <a:gd name="connsiteY3" fmla="*/ 16076 h 18315"/>
                  <a:gd name="connsiteX4" fmla="*/ 2033 w 28785"/>
                  <a:gd name="connsiteY4" fmla="*/ 11429 h 18315"/>
                  <a:gd name="connsiteX5" fmla="*/ 2033 w 28785"/>
                  <a:gd name="connsiteY5" fmla="*/ 10048 h 18315"/>
                  <a:gd name="connsiteX6" fmla="*/ 24 w 28785"/>
                  <a:gd name="connsiteY6" fmla="*/ 4898 h 18315"/>
                  <a:gd name="connsiteX7" fmla="*/ 903 w 28785"/>
                  <a:gd name="connsiteY7" fmla="*/ 3014 h 18315"/>
                  <a:gd name="connsiteX8" fmla="*/ 3792 w 28785"/>
                  <a:gd name="connsiteY8" fmla="*/ 1382 h 18315"/>
                  <a:gd name="connsiteX9" fmla="*/ 3792 w 28785"/>
                  <a:gd name="connsiteY9" fmla="*/ 3391 h 18315"/>
                  <a:gd name="connsiteX10" fmla="*/ 21877 w 28785"/>
                  <a:gd name="connsiteY10" fmla="*/ 4773 h 18315"/>
                  <a:gd name="connsiteX11" fmla="*/ 25143 w 28785"/>
                  <a:gd name="connsiteY11" fmla="*/ 0 h 18315"/>
                  <a:gd name="connsiteX12" fmla="*/ 28785 w 28785"/>
                  <a:gd name="connsiteY12" fmla="*/ 3894 h 18315"/>
                  <a:gd name="connsiteX13" fmla="*/ 27780 w 28785"/>
                  <a:gd name="connsiteY13" fmla="*/ 9294 h 18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85" h="18315">
                    <a:moveTo>
                      <a:pt x="27780" y="9294"/>
                    </a:moveTo>
                    <a:cubicBezTo>
                      <a:pt x="27780" y="10299"/>
                      <a:pt x="27780" y="11304"/>
                      <a:pt x="27655" y="12183"/>
                    </a:cubicBezTo>
                    <a:cubicBezTo>
                      <a:pt x="27278" y="16704"/>
                      <a:pt x="22254" y="17960"/>
                      <a:pt x="18486" y="18211"/>
                    </a:cubicBezTo>
                    <a:cubicBezTo>
                      <a:pt x="12834" y="18588"/>
                      <a:pt x="8062" y="17960"/>
                      <a:pt x="2661" y="16076"/>
                    </a:cubicBezTo>
                    <a:cubicBezTo>
                      <a:pt x="903" y="15448"/>
                      <a:pt x="1908" y="12811"/>
                      <a:pt x="2033" y="11429"/>
                    </a:cubicBezTo>
                    <a:cubicBezTo>
                      <a:pt x="2033" y="10927"/>
                      <a:pt x="2033" y="10550"/>
                      <a:pt x="2033" y="10048"/>
                    </a:cubicBezTo>
                    <a:cubicBezTo>
                      <a:pt x="1782" y="8164"/>
                      <a:pt x="150" y="6531"/>
                      <a:pt x="24" y="4898"/>
                    </a:cubicBezTo>
                    <a:cubicBezTo>
                      <a:pt x="-102" y="4019"/>
                      <a:pt x="275" y="3642"/>
                      <a:pt x="903" y="3014"/>
                    </a:cubicBezTo>
                    <a:cubicBezTo>
                      <a:pt x="1280" y="2763"/>
                      <a:pt x="3792" y="1633"/>
                      <a:pt x="3792" y="1382"/>
                    </a:cubicBezTo>
                    <a:cubicBezTo>
                      <a:pt x="3792" y="2010"/>
                      <a:pt x="3792" y="2763"/>
                      <a:pt x="3792" y="3391"/>
                    </a:cubicBezTo>
                    <a:cubicBezTo>
                      <a:pt x="3666" y="8415"/>
                      <a:pt x="18989" y="5526"/>
                      <a:pt x="21877" y="4773"/>
                    </a:cubicBezTo>
                    <a:cubicBezTo>
                      <a:pt x="24640" y="4019"/>
                      <a:pt x="26650" y="3391"/>
                      <a:pt x="25143" y="0"/>
                    </a:cubicBezTo>
                    <a:cubicBezTo>
                      <a:pt x="27027" y="754"/>
                      <a:pt x="28785" y="1633"/>
                      <a:pt x="28785" y="3894"/>
                    </a:cubicBezTo>
                    <a:cubicBezTo>
                      <a:pt x="28659" y="5777"/>
                      <a:pt x="27906" y="7536"/>
                      <a:pt x="27780" y="9294"/>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40A81008-F5DE-4EF8-8E2B-D6FB7AD43F52}"/>
                  </a:ext>
                </a:extLst>
              </p:cNvPr>
              <p:cNvSpPr/>
              <p:nvPr/>
            </p:nvSpPr>
            <p:spPr>
              <a:xfrm>
                <a:off x="11378642" y="2505741"/>
                <a:ext cx="46669" cy="33635"/>
              </a:xfrm>
              <a:custGeom>
                <a:avLst/>
                <a:gdLst>
                  <a:gd name="connsiteX0" fmla="*/ 0 w 46669"/>
                  <a:gd name="connsiteY0" fmla="*/ 6381 h 33635"/>
                  <a:gd name="connsiteX1" fmla="*/ 17960 w 46669"/>
                  <a:gd name="connsiteY1" fmla="*/ 227 h 33635"/>
                  <a:gd name="connsiteX2" fmla="*/ 43581 w 46669"/>
                  <a:gd name="connsiteY2" fmla="*/ 10526 h 33635"/>
                  <a:gd name="connsiteX3" fmla="*/ 45967 w 46669"/>
                  <a:gd name="connsiteY3" fmla="*/ 30244 h 33635"/>
                  <a:gd name="connsiteX4" fmla="*/ 45716 w 46669"/>
                  <a:gd name="connsiteY4" fmla="*/ 31626 h 33635"/>
                  <a:gd name="connsiteX5" fmla="*/ 44712 w 46669"/>
                  <a:gd name="connsiteY5" fmla="*/ 33635 h 33635"/>
                  <a:gd name="connsiteX6" fmla="*/ 44335 w 46669"/>
                  <a:gd name="connsiteY6" fmla="*/ 23713 h 33635"/>
                  <a:gd name="connsiteX7" fmla="*/ 22355 w 46669"/>
                  <a:gd name="connsiteY7" fmla="*/ 1483 h 33635"/>
                  <a:gd name="connsiteX8" fmla="*/ 13187 w 46669"/>
                  <a:gd name="connsiteY8" fmla="*/ 1609 h 33635"/>
                  <a:gd name="connsiteX9" fmla="*/ 3893 w 46669"/>
                  <a:gd name="connsiteY9" fmla="*/ 4623 h 33635"/>
                  <a:gd name="connsiteX10" fmla="*/ 1381 w 46669"/>
                  <a:gd name="connsiteY10" fmla="*/ 5628 h 33635"/>
                  <a:gd name="connsiteX11" fmla="*/ 0 w 46669"/>
                  <a:gd name="connsiteY11" fmla="*/ 6381 h 3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69" h="33635">
                    <a:moveTo>
                      <a:pt x="0" y="6381"/>
                    </a:moveTo>
                    <a:cubicBezTo>
                      <a:pt x="6028" y="2488"/>
                      <a:pt x="11931" y="1106"/>
                      <a:pt x="17960" y="227"/>
                    </a:cubicBezTo>
                    <a:cubicBezTo>
                      <a:pt x="27254" y="-1029"/>
                      <a:pt x="38055" y="2990"/>
                      <a:pt x="43581" y="10526"/>
                    </a:cubicBezTo>
                    <a:cubicBezTo>
                      <a:pt x="47223" y="15550"/>
                      <a:pt x="47098" y="24090"/>
                      <a:pt x="45967" y="30244"/>
                    </a:cubicBezTo>
                    <a:cubicBezTo>
                      <a:pt x="45842" y="30747"/>
                      <a:pt x="45716" y="31124"/>
                      <a:pt x="45716" y="31626"/>
                    </a:cubicBezTo>
                    <a:cubicBezTo>
                      <a:pt x="45340" y="32254"/>
                      <a:pt x="45088" y="33008"/>
                      <a:pt x="44712" y="33635"/>
                    </a:cubicBezTo>
                    <a:cubicBezTo>
                      <a:pt x="44712" y="30370"/>
                      <a:pt x="44586" y="27105"/>
                      <a:pt x="44335" y="23713"/>
                    </a:cubicBezTo>
                    <a:cubicBezTo>
                      <a:pt x="43205" y="12033"/>
                      <a:pt x="33534" y="3995"/>
                      <a:pt x="22355" y="1483"/>
                    </a:cubicBezTo>
                    <a:cubicBezTo>
                      <a:pt x="19216" y="730"/>
                      <a:pt x="16327" y="981"/>
                      <a:pt x="13187" y="1609"/>
                    </a:cubicBezTo>
                    <a:cubicBezTo>
                      <a:pt x="10047" y="2237"/>
                      <a:pt x="6908" y="3367"/>
                      <a:pt x="3893" y="4623"/>
                    </a:cubicBezTo>
                    <a:cubicBezTo>
                      <a:pt x="3014" y="5000"/>
                      <a:pt x="2261" y="5251"/>
                      <a:pt x="1381" y="5628"/>
                    </a:cubicBezTo>
                    <a:cubicBezTo>
                      <a:pt x="878" y="5879"/>
                      <a:pt x="376" y="6130"/>
                      <a:pt x="0" y="6381"/>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647E8414-FCA8-47DD-BD6F-21632DD8ECD5}"/>
                  </a:ext>
                </a:extLst>
              </p:cNvPr>
              <p:cNvSpPr/>
              <p:nvPr/>
            </p:nvSpPr>
            <p:spPr>
              <a:xfrm>
                <a:off x="11370822" y="2580818"/>
                <a:ext cx="52643" cy="23872"/>
              </a:xfrm>
              <a:custGeom>
                <a:avLst/>
                <a:gdLst>
                  <a:gd name="connsiteX0" fmla="*/ 2042 w 52643"/>
                  <a:gd name="connsiteY0" fmla="*/ 13820 h 23872"/>
                  <a:gd name="connsiteX1" fmla="*/ 33 w 52643"/>
                  <a:gd name="connsiteY1" fmla="*/ 6536 h 23872"/>
                  <a:gd name="connsiteX2" fmla="*/ 6689 w 52643"/>
                  <a:gd name="connsiteY2" fmla="*/ 1261 h 23872"/>
                  <a:gd name="connsiteX3" fmla="*/ 23268 w 52643"/>
                  <a:gd name="connsiteY3" fmla="*/ 14699 h 23872"/>
                  <a:gd name="connsiteX4" fmla="*/ 35450 w 52643"/>
                  <a:gd name="connsiteY4" fmla="*/ 12187 h 23872"/>
                  <a:gd name="connsiteX5" fmla="*/ 41102 w 52643"/>
                  <a:gd name="connsiteY5" fmla="*/ 8922 h 23872"/>
                  <a:gd name="connsiteX6" fmla="*/ 44493 w 52643"/>
                  <a:gd name="connsiteY6" fmla="*/ 5782 h 23872"/>
                  <a:gd name="connsiteX7" fmla="*/ 45121 w 52643"/>
                  <a:gd name="connsiteY7" fmla="*/ 5656 h 23872"/>
                  <a:gd name="connsiteX8" fmla="*/ 47508 w 52643"/>
                  <a:gd name="connsiteY8" fmla="*/ 7038 h 23872"/>
                  <a:gd name="connsiteX9" fmla="*/ 52029 w 52643"/>
                  <a:gd name="connsiteY9" fmla="*/ 10303 h 23872"/>
                  <a:gd name="connsiteX10" fmla="*/ 50647 w 52643"/>
                  <a:gd name="connsiteY10" fmla="*/ 15955 h 23872"/>
                  <a:gd name="connsiteX11" fmla="*/ 42609 w 52643"/>
                  <a:gd name="connsiteY11" fmla="*/ 20853 h 23872"/>
                  <a:gd name="connsiteX12" fmla="*/ 32436 w 52643"/>
                  <a:gd name="connsiteY12" fmla="*/ 23491 h 23872"/>
                  <a:gd name="connsiteX13" fmla="*/ 11964 w 52643"/>
                  <a:gd name="connsiteY13" fmla="*/ 21481 h 23872"/>
                  <a:gd name="connsiteX14" fmla="*/ 6187 w 52643"/>
                  <a:gd name="connsiteY14" fmla="*/ 18593 h 23872"/>
                  <a:gd name="connsiteX15" fmla="*/ 2042 w 52643"/>
                  <a:gd name="connsiteY15" fmla="*/ 13820 h 2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643" h="23872">
                    <a:moveTo>
                      <a:pt x="2042" y="13820"/>
                    </a:moveTo>
                    <a:cubicBezTo>
                      <a:pt x="912" y="11559"/>
                      <a:pt x="409" y="9048"/>
                      <a:pt x="33" y="6536"/>
                    </a:cubicBezTo>
                    <a:cubicBezTo>
                      <a:pt x="-344" y="2642"/>
                      <a:pt x="2544" y="-2382"/>
                      <a:pt x="6689" y="1261"/>
                    </a:cubicBezTo>
                    <a:cubicBezTo>
                      <a:pt x="2419" y="9424"/>
                      <a:pt x="17239" y="14448"/>
                      <a:pt x="23268" y="14699"/>
                    </a:cubicBezTo>
                    <a:cubicBezTo>
                      <a:pt x="27413" y="14825"/>
                      <a:pt x="31682" y="13820"/>
                      <a:pt x="35450" y="12187"/>
                    </a:cubicBezTo>
                    <a:cubicBezTo>
                      <a:pt x="37460" y="11308"/>
                      <a:pt x="39219" y="10178"/>
                      <a:pt x="41102" y="8922"/>
                    </a:cubicBezTo>
                    <a:cubicBezTo>
                      <a:pt x="42233" y="8168"/>
                      <a:pt x="43237" y="6284"/>
                      <a:pt x="44493" y="5782"/>
                    </a:cubicBezTo>
                    <a:cubicBezTo>
                      <a:pt x="44619" y="5656"/>
                      <a:pt x="44870" y="5656"/>
                      <a:pt x="45121" y="5656"/>
                    </a:cubicBezTo>
                    <a:cubicBezTo>
                      <a:pt x="46126" y="5531"/>
                      <a:pt x="46754" y="6536"/>
                      <a:pt x="47508" y="7038"/>
                    </a:cubicBezTo>
                    <a:cubicBezTo>
                      <a:pt x="49015" y="8168"/>
                      <a:pt x="50522" y="9299"/>
                      <a:pt x="52029" y="10303"/>
                    </a:cubicBezTo>
                    <a:cubicBezTo>
                      <a:pt x="53787" y="11559"/>
                      <a:pt x="51275" y="14699"/>
                      <a:pt x="50647" y="15955"/>
                    </a:cubicBezTo>
                    <a:cubicBezTo>
                      <a:pt x="49140" y="18593"/>
                      <a:pt x="45247" y="19849"/>
                      <a:pt x="42609" y="20853"/>
                    </a:cubicBezTo>
                    <a:cubicBezTo>
                      <a:pt x="39344" y="22109"/>
                      <a:pt x="35953" y="22989"/>
                      <a:pt x="32436" y="23491"/>
                    </a:cubicBezTo>
                    <a:cubicBezTo>
                      <a:pt x="25654" y="24370"/>
                      <a:pt x="18495" y="23742"/>
                      <a:pt x="11964" y="21481"/>
                    </a:cubicBezTo>
                    <a:cubicBezTo>
                      <a:pt x="9955" y="20728"/>
                      <a:pt x="7945" y="19849"/>
                      <a:pt x="6187" y="18593"/>
                    </a:cubicBezTo>
                    <a:cubicBezTo>
                      <a:pt x="4177" y="17211"/>
                      <a:pt x="2922" y="15578"/>
                      <a:pt x="2042" y="13820"/>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pic>
        <p:nvPicPr>
          <p:cNvPr id="4" name="Graphic 3">
            <a:extLst>
              <a:ext uri="{FF2B5EF4-FFF2-40B4-BE49-F238E27FC236}">
                <a16:creationId xmlns:a16="http://schemas.microsoft.com/office/drawing/2014/main" id="{A6AE4944-3376-4C42-AB75-504E6B82CC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000" y="2971800"/>
            <a:ext cx="461962" cy="872595"/>
          </a:xfrm>
          <a:prstGeom prst="rect">
            <a:avLst/>
          </a:prstGeom>
        </p:spPr>
      </p:pic>
      <p:grpSp>
        <p:nvGrpSpPr>
          <p:cNvPr id="9" name="Graphic 5">
            <a:extLst>
              <a:ext uri="{FF2B5EF4-FFF2-40B4-BE49-F238E27FC236}">
                <a16:creationId xmlns:a16="http://schemas.microsoft.com/office/drawing/2014/main" id="{0D72B476-85A1-4A6D-8BBD-4F407666F094}"/>
              </a:ext>
            </a:extLst>
          </p:cNvPr>
          <p:cNvGrpSpPr/>
          <p:nvPr/>
        </p:nvGrpSpPr>
        <p:grpSpPr>
          <a:xfrm>
            <a:off x="1809751" y="2675194"/>
            <a:ext cx="426865" cy="747489"/>
            <a:chOff x="1828801" y="2694244"/>
            <a:chExt cx="426865" cy="747489"/>
          </a:xfrm>
          <a:solidFill>
            <a:schemeClr val="accent1"/>
          </a:solidFill>
        </p:grpSpPr>
        <p:sp>
          <p:nvSpPr>
            <p:cNvPr id="13" name="Freeform: Shape 12">
              <a:extLst>
                <a:ext uri="{FF2B5EF4-FFF2-40B4-BE49-F238E27FC236}">
                  <a16:creationId xmlns:a16="http://schemas.microsoft.com/office/drawing/2014/main" id="{99E514EC-8A5C-493C-AB33-CAC3EEBA08C3}"/>
                </a:ext>
              </a:extLst>
            </p:cNvPr>
            <p:cNvSpPr/>
            <p:nvPr/>
          </p:nvSpPr>
          <p:spPr>
            <a:xfrm>
              <a:off x="2236978" y="2881665"/>
              <a:ext cx="18687" cy="505214"/>
            </a:xfrm>
            <a:custGeom>
              <a:avLst/>
              <a:gdLst>
                <a:gd name="connsiteX0" fmla="*/ 0 w 18687"/>
                <a:gd name="connsiteY0" fmla="*/ 505215 h 505214"/>
                <a:gd name="connsiteX1" fmla="*/ 17258 w 18687"/>
                <a:gd name="connsiteY1" fmla="*/ 495102 h 505214"/>
                <a:gd name="connsiteX2" fmla="*/ 18687 w 18687"/>
                <a:gd name="connsiteY2" fmla="*/ 0 h 505214"/>
                <a:gd name="connsiteX3" fmla="*/ 1319 w 18687"/>
                <a:gd name="connsiteY3" fmla="*/ 10113 h 505214"/>
              </a:gdLst>
              <a:ahLst/>
              <a:cxnLst>
                <a:cxn ang="0">
                  <a:pos x="connsiteX0" y="connsiteY0"/>
                </a:cxn>
                <a:cxn ang="0">
                  <a:pos x="connsiteX1" y="connsiteY1"/>
                </a:cxn>
                <a:cxn ang="0">
                  <a:pos x="connsiteX2" y="connsiteY2"/>
                </a:cxn>
                <a:cxn ang="0">
                  <a:pos x="connsiteX3" y="connsiteY3"/>
                </a:cxn>
              </a:cxnLst>
              <a:rect l="l" t="t" r="r" b="b"/>
              <a:pathLst>
                <a:path w="18687" h="505214">
                  <a:moveTo>
                    <a:pt x="0" y="505215"/>
                  </a:moveTo>
                  <a:lnTo>
                    <a:pt x="17258" y="495102"/>
                  </a:lnTo>
                  <a:lnTo>
                    <a:pt x="18687" y="0"/>
                  </a:lnTo>
                  <a:lnTo>
                    <a:pt x="1319" y="10113"/>
                  </a:lnTo>
                  <a:close/>
                </a:path>
              </a:pathLst>
            </a:custGeom>
            <a:solidFill>
              <a:srgbClr val="9CB5CC"/>
            </a:solidFill>
            <a:ln w="10990" cap="flat">
              <a:noFill/>
              <a:prstDash val="solid"/>
              <a:miter/>
            </a:ln>
          </p:spPr>
          <p:txBody>
            <a:bodyPr rtlCol="0" anchor="ctr"/>
            <a:lstStyle/>
            <a:p>
              <a:endParaRPr lang="en-IN"/>
            </a:p>
          </p:txBody>
        </p:sp>
        <p:sp>
          <p:nvSpPr>
            <p:cNvPr id="14" name="Freeform: Shape 13">
              <a:extLst>
                <a:ext uri="{FF2B5EF4-FFF2-40B4-BE49-F238E27FC236}">
                  <a16:creationId xmlns:a16="http://schemas.microsoft.com/office/drawing/2014/main" id="{B8EAF6AB-B884-4475-B7F8-F9E6505A9386}"/>
                </a:ext>
              </a:extLst>
            </p:cNvPr>
            <p:cNvSpPr/>
            <p:nvPr/>
          </p:nvSpPr>
          <p:spPr>
            <a:xfrm>
              <a:off x="1913689" y="2694244"/>
              <a:ext cx="341976" cy="197534"/>
            </a:xfrm>
            <a:custGeom>
              <a:avLst/>
              <a:gdLst>
                <a:gd name="connsiteX0" fmla="*/ 324608 w 341976"/>
                <a:gd name="connsiteY0" fmla="*/ 197535 h 197534"/>
                <a:gd name="connsiteX1" fmla="*/ 341976 w 341976"/>
                <a:gd name="connsiteY1" fmla="*/ 187422 h 197534"/>
                <a:gd name="connsiteX2" fmla="*/ 17258 w 341976"/>
                <a:gd name="connsiteY2" fmla="*/ 0 h 197534"/>
                <a:gd name="connsiteX3" fmla="*/ 0 w 341976"/>
                <a:gd name="connsiteY3" fmla="*/ 10113 h 197534"/>
              </a:gdLst>
              <a:ahLst/>
              <a:cxnLst>
                <a:cxn ang="0">
                  <a:pos x="connsiteX0" y="connsiteY0"/>
                </a:cxn>
                <a:cxn ang="0">
                  <a:pos x="connsiteX1" y="connsiteY1"/>
                </a:cxn>
                <a:cxn ang="0">
                  <a:pos x="connsiteX2" y="connsiteY2"/>
                </a:cxn>
                <a:cxn ang="0">
                  <a:pos x="connsiteX3" y="connsiteY3"/>
                </a:cxn>
              </a:cxnLst>
              <a:rect l="l" t="t" r="r" b="b"/>
              <a:pathLst>
                <a:path w="341976" h="197534">
                  <a:moveTo>
                    <a:pt x="324608" y="197535"/>
                  </a:moveTo>
                  <a:lnTo>
                    <a:pt x="341976" y="187422"/>
                  </a:lnTo>
                  <a:lnTo>
                    <a:pt x="17258" y="0"/>
                  </a:lnTo>
                  <a:lnTo>
                    <a:pt x="0" y="10113"/>
                  </a:lnTo>
                  <a:close/>
                </a:path>
              </a:pathLst>
            </a:custGeom>
            <a:solidFill>
              <a:srgbClr val="D7E7F7"/>
            </a:solidFill>
            <a:ln w="10990" cap="flat">
              <a:noFill/>
              <a:prstDash val="solid"/>
              <a:miter/>
            </a:ln>
          </p:spPr>
          <p:txBody>
            <a:bodyPr rtlCol="0" anchor="ctr"/>
            <a:lstStyle/>
            <a:p>
              <a:endParaRPr lang="en-IN"/>
            </a:p>
          </p:txBody>
        </p:sp>
        <p:sp>
          <p:nvSpPr>
            <p:cNvPr id="16" name="Freeform: Shape 15">
              <a:extLst>
                <a:ext uri="{FF2B5EF4-FFF2-40B4-BE49-F238E27FC236}">
                  <a16:creationId xmlns:a16="http://schemas.microsoft.com/office/drawing/2014/main" id="{C41A0F9A-1647-4251-A8BF-1198762B4C66}"/>
                </a:ext>
              </a:extLst>
            </p:cNvPr>
            <p:cNvSpPr/>
            <p:nvPr/>
          </p:nvSpPr>
          <p:spPr>
            <a:xfrm>
              <a:off x="1912260" y="2704357"/>
              <a:ext cx="326037" cy="682523"/>
            </a:xfrm>
            <a:custGeom>
              <a:avLst/>
              <a:gdLst>
                <a:gd name="connsiteX0" fmla="*/ 1429 w 326037"/>
                <a:gd name="connsiteY0" fmla="*/ 0 h 682523"/>
                <a:gd name="connsiteX1" fmla="*/ 0 w 326037"/>
                <a:gd name="connsiteY1" fmla="*/ 494992 h 682523"/>
                <a:gd name="connsiteX2" fmla="*/ 324718 w 326037"/>
                <a:gd name="connsiteY2" fmla="*/ 682523 h 682523"/>
                <a:gd name="connsiteX3" fmla="*/ 326037 w 326037"/>
                <a:gd name="connsiteY3" fmla="*/ 187422 h 682523"/>
              </a:gdLst>
              <a:ahLst/>
              <a:cxnLst>
                <a:cxn ang="0">
                  <a:pos x="connsiteX0" y="connsiteY0"/>
                </a:cxn>
                <a:cxn ang="0">
                  <a:pos x="connsiteX1" y="connsiteY1"/>
                </a:cxn>
                <a:cxn ang="0">
                  <a:pos x="connsiteX2" y="connsiteY2"/>
                </a:cxn>
                <a:cxn ang="0">
                  <a:pos x="connsiteX3" y="connsiteY3"/>
                </a:cxn>
              </a:cxnLst>
              <a:rect l="l" t="t" r="r" b="b"/>
              <a:pathLst>
                <a:path w="326037" h="682523">
                  <a:moveTo>
                    <a:pt x="1429" y="0"/>
                  </a:moveTo>
                  <a:lnTo>
                    <a:pt x="0" y="494992"/>
                  </a:lnTo>
                  <a:lnTo>
                    <a:pt x="324718" y="682523"/>
                  </a:lnTo>
                  <a:lnTo>
                    <a:pt x="326037" y="187422"/>
                  </a:lnTo>
                  <a:close/>
                </a:path>
              </a:pathLst>
            </a:custGeom>
            <a:solidFill>
              <a:schemeClr val="bg1"/>
            </a:solidFill>
            <a:ln w="1099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17" name="Freeform: Shape 16">
              <a:extLst>
                <a:ext uri="{FF2B5EF4-FFF2-40B4-BE49-F238E27FC236}">
                  <a16:creationId xmlns:a16="http://schemas.microsoft.com/office/drawing/2014/main" id="{7C54EA3D-7935-419E-88B9-B7242ED6460E}"/>
                </a:ext>
              </a:extLst>
            </p:cNvPr>
            <p:cNvSpPr/>
            <p:nvPr/>
          </p:nvSpPr>
          <p:spPr>
            <a:xfrm>
              <a:off x="2200154" y="2906289"/>
              <a:ext cx="18687" cy="505104"/>
            </a:xfrm>
            <a:custGeom>
              <a:avLst/>
              <a:gdLst>
                <a:gd name="connsiteX0" fmla="*/ 0 w 18687"/>
                <a:gd name="connsiteY0" fmla="*/ 505105 h 505104"/>
                <a:gd name="connsiteX1" fmla="*/ 17258 w 18687"/>
                <a:gd name="connsiteY1" fmla="*/ 495102 h 505104"/>
                <a:gd name="connsiteX2" fmla="*/ 18687 w 18687"/>
                <a:gd name="connsiteY2" fmla="*/ 0 h 505104"/>
                <a:gd name="connsiteX3" fmla="*/ 1319 w 18687"/>
                <a:gd name="connsiteY3" fmla="*/ 10003 h 505104"/>
              </a:gdLst>
              <a:ahLst/>
              <a:cxnLst>
                <a:cxn ang="0">
                  <a:pos x="connsiteX0" y="connsiteY0"/>
                </a:cxn>
                <a:cxn ang="0">
                  <a:pos x="connsiteX1" y="connsiteY1"/>
                </a:cxn>
                <a:cxn ang="0">
                  <a:pos x="connsiteX2" y="connsiteY2"/>
                </a:cxn>
                <a:cxn ang="0">
                  <a:pos x="connsiteX3" y="connsiteY3"/>
                </a:cxn>
              </a:cxnLst>
              <a:rect l="l" t="t" r="r" b="b"/>
              <a:pathLst>
                <a:path w="18687" h="505104">
                  <a:moveTo>
                    <a:pt x="0" y="505105"/>
                  </a:moveTo>
                  <a:lnTo>
                    <a:pt x="17258" y="495102"/>
                  </a:lnTo>
                  <a:lnTo>
                    <a:pt x="18687" y="0"/>
                  </a:lnTo>
                  <a:lnTo>
                    <a:pt x="1319" y="10003"/>
                  </a:lnTo>
                  <a:close/>
                </a:path>
              </a:pathLst>
            </a:custGeom>
            <a:solidFill>
              <a:srgbClr val="9CB5CC"/>
            </a:solidFill>
            <a:ln w="10990" cap="flat">
              <a:noFill/>
              <a:prstDash val="solid"/>
              <a:miter/>
            </a:ln>
          </p:spPr>
          <p:txBody>
            <a:bodyPr rtlCol="0" anchor="ctr"/>
            <a:lstStyle/>
            <a:p>
              <a:endParaRPr lang="en-IN"/>
            </a:p>
          </p:txBody>
        </p:sp>
        <p:sp>
          <p:nvSpPr>
            <p:cNvPr id="18" name="Freeform: Shape 17">
              <a:extLst>
                <a:ext uri="{FF2B5EF4-FFF2-40B4-BE49-F238E27FC236}">
                  <a16:creationId xmlns:a16="http://schemas.microsoft.com/office/drawing/2014/main" id="{628249F0-C699-408C-9906-142D9471FA5C}"/>
                </a:ext>
              </a:extLst>
            </p:cNvPr>
            <p:cNvSpPr/>
            <p:nvPr/>
          </p:nvSpPr>
          <p:spPr>
            <a:xfrm>
              <a:off x="1876865" y="2718757"/>
              <a:ext cx="341976" cy="197534"/>
            </a:xfrm>
            <a:custGeom>
              <a:avLst/>
              <a:gdLst>
                <a:gd name="connsiteX0" fmla="*/ 324608 w 341976"/>
                <a:gd name="connsiteY0" fmla="*/ 197535 h 197534"/>
                <a:gd name="connsiteX1" fmla="*/ 341976 w 341976"/>
                <a:gd name="connsiteY1" fmla="*/ 187532 h 197534"/>
                <a:gd name="connsiteX2" fmla="*/ 17258 w 341976"/>
                <a:gd name="connsiteY2" fmla="*/ 0 h 197534"/>
                <a:gd name="connsiteX3" fmla="*/ 0 w 341976"/>
                <a:gd name="connsiteY3" fmla="*/ 10113 h 197534"/>
              </a:gdLst>
              <a:ahLst/>
              <a:cxnLst>
                <a:cxn ang="0">
                  <a:pos x="connsiteX0" y="connsiteY0"/>
                </a:cxn>
                <a:cxn ang="0">
                  <a:pos x="connsiteX1" y="connsiteY1"/>
                </a:cxn>
                <a:cxn ang="0">
                  <a:pos x="connsiteX2" y="connsiteY2"/>
                </a:cxn>
                <a:cxn ang="0">
                  <a:pos x="connsiteX3" y="connsiteY3"/>
                </a:cxn>
              </a:cxnLst>
              <a:rect l="l" t="t" r="r" b="b"/>
              <a:pathLst>
                <a:path w="341976" h="197534">
                  <a:moveTo>
                    <a:pt x="324608" y="197535"/>
                  </a:moveTo>
                  <a:lnTo>
                    <a:pt x="341976" y="187532"/>
                  </a:lnTo>
                  <a:lnTo>
                    <a:pt x="17258" y="0"/>
                  </a:lnTo>
                  <a:lnTo>
                    <a:pt x="0" y="10113"/>
                  </a:lnTo>
                  <a:close/>
                </a:path>
              </a:pathLst>
            </a:custGeom>
            <a:solidFill>
              <a:srgbClr val="D7E7F7"/>
            </a:solidFill>
            <a:ln w="10990" cap="flat">
              <a:noFill/>
              <a:prstDash val="solid"/>
              <a:miter/>
            </a:ln>
          </p:spPr>
          <p:txBody>
            <a:bodyPr rtlCol="0" anchor="ctr"/>
            <a:lstStyle/>
            <a:p>
              <a:endParaRPr lang="en-IN"/>
            </a:p>
          </p:txBody>
        </p:sp>
        <p:sp>
          <p:nvSpPr>
            <p:cNvPr id="20" name="Freeform: Shape 19">
              <a:extLst>
                <a:ext uri="{FF2B5EF4-FFF2-40B4-BE49-F238E27FC236}">
                  <a16:creationId xmlns:a16="http://schemas.microsoft.com/office/drawing/2014/main" id="{8CC15ECA-26E2-41C6-987D-8F854E748E1F}"/>
                </a:ext>
              </a:extLst>
            </p:cNvPr>
            <p:cNvSpPr/>
            <p:nvPr/>
          </p:nvSpPr>
          <p:spPr>
            <a:xfrm>
              <a:off x="1875436" y="2728870"/>
              <a:ext cx="326037" cy="682523"/>
            </a:xfrm>
            <a:custGeom>
              <a:avLst/>
              <a:gdLst>
                <a:gd name="connsiteX0" fmla="*/ 1429 w 326037"/>
                <a:gd name="connsiteY0" fmla="*/ 0 h 682523"/>
                <a:gd name="connsiteX1" fmla="*/ 0 w 326037"/>
                <a:gd name="connsiteY1" fmla="*/ 495102 h 682523"/>
                <a:gd name="connsiteX2" fmla="*/ 324718 w 326037"/>
                <a:gd name="connsiteY2" fmla="*/ 682523 h 682523"/>
                <a:gd name="connsiteX3" fmla="*/ 326037 w 326037"/>
                <a:gd name="connsiteY3" fmla="*/ 187422 h 682523"/>
              </a:gdLst>
              <a:ahLst/>
              <a:cxnLst>
                <a:cxn ang="0">
                  <a:pos x="connsiteX0" y="connsiteY0"/>
                </a:cxn>
                <a:cxn ang="0">
                  <a:pos x="connsiteX1" y="connsiteY1"/>
                </a:cxn>
                <a:cxn ang="0">
                  <a:pos x="connsiteX2" y="connsiteY2"/>
                </a:cxn>
                <a:cxn ang="0">
                  <a:pos x="connsiteX3" y="connsiteY3"/>
                </a:cxn>
              </a:cxnLst>
              <a:rect l="l" t="t" r="r" b="b"/>
              <a:pathLst>
                <a:path w="326037" h="682523">
                  <a:moveTo>
                    <a:pt x="1429" y="0"/>
                  </a:moveTo>
                  <a:lnTo>
                    <a:pt x="0" y="495102"/>
                  </a:lnTo>
                  <a:lnTo>
                    <a:pt x="324718" y="682523"/>
                  </a:lnTo>
                  <a:lnTo>
                    <a:pt x="326037" y="187422"/>
                  </a:lnTo>
                  <a:close/>
                </a:path>
              </a:pathLst>
            </a:custGeom>
            <a:solidFill>
              <a:schemeClr val="bg1"/>
            </a:solidFill>
            <a:ln w="1099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22" name="Freeform: Shape 21">
              <a:extLst>
                <a:ext uri="{FF2B5EF4-FFF2-40B4-BE49-F238E27FC236}">
                  <a16:creationId xmlns:a16="http://schemas.microsoft.com/office/drawing/2014/main" id="{4C3E7531-EEE2-4E47-80E0-D51D4D382292}"/>
                </a:ext>
              </a:extLst>
            </p:cNvPr>
            <p:cNvSpPr/>
            <p:nvPr/>
          </p:nvSpPr>
          <p:spPr>
            <a:xfrm>
              <a:off x="2161900" y="2936628"/>
              <a:ext cx="18687" cy="505104"/>
            </a:xfrm>
            <a:custGeom>
              <a:avLst/>
              <a:gdLst>
                <a:gd name="connsiteX0" fmla="*/ 0 w 18687"/>
                <a:gd name="connsiteY0" fmla="*/ 505105 h 505104"/>
                <a:gd name="connsiteX1" fmla="*/ 17258 w 18687"/>
                <a:gd name="connsiteY1" fmla="*/ 494992 h 505104"/>
                <a:gd name="connsiteX2" fmla="*/ 18687 w 18687"/>
                <a:gd name="connsiteY2" fmla="*/ 0 h 505104"/>
                <a:gd name="connsiteX3" fmla="*/ 1429 w 18687"/>
                <a:gd name="connsiteY3" fmla="*/ 10003 h 505104"/>
              </a:gdLst>
              <a:ahLst/>
              <a:cxnLst>
                <a:cxn ang="0">
                  <a:pos x="connsiteX0" y="connsiteY0"/>
                </a:cxn>
                <a:cxn ang="0">
                  <a:pos x="connsiteX1" y="connsiteY1"/>
                </a:cxn>
                <a:cxn ang="0">
                  <a:pos x="connsiteX2" y="connsiteY2"/>
                </a:cxn>
                <a:cxn ang="0">
                  <a:pos x="connsiteX3" y="connsiteY3"/>
                </a:cxn>
              </a:cxnLst>
              <a:rect l="l" t="t" r="r" b="b"/>
              <a:pathLst>
                <a:path w="18687" h="505104">
                  <a:moveTo>
                    <a:pt x="0" y="505105"/>
                  </a:moveTo>
                  <a:lnTo>
                    <a:pt x="17258" y="494992"/>
                  </a:lnTo>
                  <a:lnTo>
                    <a:pt x="18687" y="0"/>
                  </a:lnTo>
                  <a:lnTo>
                    <a:pt x="1429" y="10003"/>
                  </a:lnTo>
                  <a:close/>
                </a:path>
              </a:pathLst>
            </a:custGeom>
            <a:solidFill>
              <a:srgbClr val="9CB5CC"/>
            </a:solidFill>
            <a:ln w="10990" cap="flat">
              <a:noFill/>
              <a:prstDash val="solid"/>
              <a:miter/>
            </a:ln>
          </p:spPr>
          <p:txBody>
            <a:bodyPr rtlCol="0" anchor="ctr"/>
            <a:lstStyle/>
            <a:p>
              <a:endParaRPr lang="en-IN"/>
            </a:p>
          </p:txBody>
        </p:sp>
        <p:sp>
          <p:nvSpPr>
            <p:cNvPr id="25" name="Freeform: Shape 24">
              <a:extLst>
                <a:ext uri="{FF2B5EF4-FFF2-40B4-BE49-F238E27FC236}">
                  <a16:creationId xmlns:a16="http://schemas.microsoft.com/office/drawing/2014/main" id="{06E4085F-E25B-4E97-BB1D-570304F33E83}"/>
                </a:ext>
              </a:extLst>
            </p:cNvPr>
            <p:cNvSpPr/>
            <p:nvPr/>
          </p:nvSpPr>
          <p:spPr>
            <a:xfrm>
              <a:off x="1838611" y="2749096"/>
              <a:ext cx="341976" cy="197534"/>
            </a:xfrm>
            <a:custGeom>
              <a:avLst/>
              <a:gdLst>
                <a:gd name="connsiteX0" fmla="*/ 324718 w 341976"/>
                <a:gd name="connsiteY0" fmla="*/ 197535 h 197534"/>
                <a:gd name="connsiteX1" fmla="*/ 341976 w 341976"/>
                <a:gd name="connsiteY1" fmla="*/ 187532 h 197534"/>
                <a:gd name="connsiteX2" fmla="*/ 17368 w 341976"/>
                <a:gd name="connsiteY2" fmla="*/ 0 h 197534"/>
                <a:gd name="connsiteX3" fmla="*/ 0 w 341976"/>
                <a:gd name="connsiteY3" fmla="*/ 10113 h 197534"/>
              </a:gdLst>
              <a:ahLst/>
              <a:cxnLst>
                <a:cxn ang="0">
                  <a:pos x="connsiteX0" y="connsiteY0"/>
                </a:cxn>
                <a:cxn ang="0">
                  <a:pos x="connsiteX1" y="connsiteY1"/>
                </a:cxn>
                <a:cxn ang="0">
                  <a:pos x="connsiteX2" y="connsiteY2"/>
                </a:cxn>
                <a:cxn ang="0">
                  <a:pos x="connsiteX3" y="connsiteY3"/>
                </a:cxn>
              </a:cxnLst>
              <a:rect l="l" t="t" r="r" b="b"/>
              <a:pathLst>
                <a:path w="341976" h="197534">
                  <a:moveTo>
                    <a:pt x="324718" y="197535"/>
                  </a:moveTo>
                  <a:lnTo>
                    <a:pt x="341976" y="187532"/>
                  </a:lnTo>
                  <a:lnTo>
                    <a:pt x="17368" y="0"/>
                  </a:lnTo>
                  <a:lnTo>
                    <a:pt x="0" y="10113"/>
                  </a:lnTo>
                  <a:close/>
                </a:path>
              </a:pathLst>
            </a:custGeom>
            <a:solidFill>
              <a:srgbClr val="D7E7F7"/>
            </a:solidFill>
            <a:ln w="10990" cap="flat">
              <a:noFill/>
              <a:prstDash val="solid"/>
              <a:miter/>
            </a:ln>
          </p:spPr>
          <p:txBody>
            <a:bodyPr rtlCol="0" anchor="ctr"/>
            <a:lstStyle/>
            <a:p>
              <a:endParaRPr lang="en-IN"/>
            </a:p>
          </p:txBody>
        </p:sp>
        <p:sp>
          <p:nvSpPr>
            <p:cNvPr id="26" name="Freeform: Shape 25">
              <a:extLst>
                <a:ext uri="{FF2B5EF4-FFF2-40B4-BE49-F238E27FC236}">
                  <a16:creationId xmlns:a16="http://schemas.microsoft.com/office/drawing/2014/main" id="{EF256D72-28AC-4D05-9AC5-D32FB1E41685}"/>
                </a:ext>
              </a:extLst>
            </p:cNvPr>
            <p:cNvSpPr/>
            <p:nvPr/>
          </p:nvSpPr>
          <p:spPr>
            <a:xfrm>
              <a:off x="1837182" y="2759209"/>
              <a:ext cx="326147" cy="682523"/>
            </a:xfrm>
            <a:custGeom>
              <a:avLst/>
              <a:gdLst>
                <a:gd name="connsiteX0" fmla="*/ 1429 w 326147"/>
                <a:gd name="connsiteY0" fmla="*/ 0 h 682523"/>
                <a:gd name="connsiteX1" fmla="*/ 0 w 326147"/>
                <a:gd name="connsiteY1" fmla="*/ 495102 h 682523"/>
                <a:gd name="connsiteX2" fmla="*/ 324718 w 326147"/>
                <a:gd name="connsiteY2" fmla="*/ 682523 h 682523"/>
                <a:gd name="connsiteX3" fmla="*/ 326147 w 326147"/>
                <a:gd name="connsiteY3" fmla="*/ 187422 h 682523"/>
              </a:gdLst>
              <a:ahLst/>
              <a:cxnLst>
                <a:cxn ang="0">
                  <a:pos x="connsiteX0" y="connsiteY0"/>
                </a:cxn>
                <a:cxn ang="0">
                  <a:pos x="connsiteX1" y="connsiteY1"/>
                </a:cxn>
                <a:cxn ang="0">
                  <a:pos x="connsiteX2" y="connsiteY2"/>
                </a:cxn>
                <a:cxn ang="0">
                  <a:pos x="connsiteX3" y="connsiteY3"/>
                </a:cxn>
              </a:cxnLst>
              <a:rect l="l" t="t" r="r" b="b"/>
              <a:pathLst>
                <a:path w="326147" h="682523">
                  <a:moveTo>
                    <a:pt x="1429" y="0"/>
                  </a:moveTo>
                  <a:lnTo>
                    <a:pt x="0" y="495102"/>
                  </a:lnTo>
                  <a:lnTo>
                    <a:pt x="324718" y="682523"/>
                  </a:lnTo>
                  <a:lnTo>
                    <a:pt x="326147" y="187422"/>
                  </a:lnTo>
                  <a:close/>
                </a:path>
              </a:pathLst>
            </a:custGeom>
            <a:solidFill>
              <a:srgbClr val="F8F9FC"/>
            </a:solidFill>
            <a:ln w="10990" cap="flat">
              <a:noFill/>
              <a:prstDash val="solid"/>
              <a:miter/>
            </a:ln>
          </p:spPr>
          <p:txBody>
            <a:bodyPr rtlCol="0" anchor="ctr"/>
            <a:lstStyle/>
            <a:p>
              <a:endParaRPr lang="en-IN"/>
            </a:p>
          </p:txBody>
        </p:sp>
        <p:grpSp>
          <p:nvGrpSpPr>
            <p:cNvPr id="27" name="Graphic 5">
              <a:extLst>
                <a:ext uri="{FF2B5EF4-FFF2-40B4-BE49-F238E27FC236}">
                  <a16:creationId xmlns:a16="http://schemas.microsoft.com/office/drawing/2014/main" id="{0D72B476-85A1-4A6D-8BBD-4F407666F094}"/>
                </a:ext>
              </a:extLst>
            </p:cNvPr>
            <p:cNvGrpSpPr/>
            <p:nvPr/>
          </p:nvGrpSpPr>
          <p:grpSpPr>
            <a:xfrm>
              <a:off x="1849164" y="2777786"/>
              <a:ext cx="300314" cy="613820"/>
              <a:chOff x="1849164" y="2777786"/>
              <a:chExt cx="300314" cy="613820"/>
            </a:xfrm>
            <a:solidFill>
              <a:schemeClr val="accent1"/>
            </a:solidFill>
          </p:grpSpPr>
          <p:sp>
            <p:nvSpPr>
              <p:cNvPr id="29" name="Freeform: Shape 28">
                <a:extLst>
                  <a:ext uri="{FF2B5EF4-FFF2-40B4-BE49-F238E27FC236}">
                    <a16:creationId xmlns:a16="http://schemas.microsoft.com/office/drawing/2014/main" id="{94378AC5-7AF9-4FAF-B8D0-C0DE1819144F}"/>
                  </a:ext>
                </a:extLst>
              </p:cNvPr>
              <p:cNvSpPr/>
              <p:nvPr/>
            </p:nvSpPr>
            <p:spPr>
              <a:xfrm>
                <a:off x="1849164" y="2777786"/>
                <a:ext cx="300314" cy="613820"/>
              </a:xfrm>
              <a:custGeom>
                <a:avLst/>
                <a:gdLst>
                  <a:gd name="connsiteX0" fmla="*/ 201602 w 300314"/>
                  <a:gd name="connsiteY0" fmla="*/ 519395 h 613820"/>
                  <a:gd name="connsiteX1" fmla="*/ 195007 w 300314"/>
                  <a:gd name="connsiteY1" fmla="*/ 507963 h 613820"/>
                  <a:gd name="connsiteX2" fmla="*/ 201602 w 300314"/>
                  <a:gd name="connsiteY2" fmla="*/ 504225 h 613820"/>
                  <a:gd name="connsiteX3" fmla="*/ 271075 w 300314"/>
                  <a:gd name="connsiteY3" fmla="*/ 544348 h 613820"/>
                  <a:gd name="connsiteX4" fmla="*/ 277670 w 300314"/>
                  <a:gd name="connsiteY4" fmla="*/ 555780 h 613820"/>
                  <a:gd name="connsiteX5" fmla="*/ 271075 w 300314"/>
                  <a:gd name="connsiteY5" fmla="*/ 559627 h 613820"/>
                  <a:gd name="connsiteX6" fmla="*/ 201602 w 300314"/>
                  <a:gd name="connsiteY6" fmla="*/ 519395 h 613820"/>
                  <a:gd name="connsiteX7" fmla="*/ 19677 w 300314"/>
                  <a:gd name="connsiteY7" fmla="*/ 372535 h 613820"/>
                  <a:gd name="connsiteX8" fmla="*/ 13081 w 300314"/>
                  <a:gd name="connsiteY8" fmla="*/ 361103 h 613820"/>
                  <a:gd name="connsiteX9" fmla="*/ 19677 w 300314"/>
                  <a:gd name="connsiteY9" fmla="*/ 357366 h 613820"/>
                  <a:gd name="connsiteX10" fmla="*/ 271185 w 300314"/>
                  <a:gd name="connsiteY10" fmla="*/ 502576 h 613820"/>
                  <a:gd name="connsiteX11" fmla="*/ 277780 w 300314"/>
                  <a:gd name="connsiteY11" fmla="*/ 514009 h 613820"/>
                  <a:gd name="connsiteX12" fmla="*/ 271185 w 300314"/>
                  <a:gd name="connsiteY12" fmla="*/ 517746 h 613820"/>
                  <a:gd name="connsiteX13" fmla="*/ 19677 w 300314"/>
                  <a:gd name="connsiteY13" fmla="*/ 372535 h 613820"/>
                  <a:gd name="connsiteX14" fmla="*/ 20336 w 300314"/>
                  <a:gd name="connsiteY14" fmla="*/ 334831 h 613820"/>
                  <a:gd name="connsiteX15" fmla="*/ 13741 w 300314"/>
                  <a:gd name="connsiteY15" fmla="*/ 323399 h 613820"/>
                  <a:gd name="connsiteX16" fmla="*/ 20336 w 300314"/>
                  <a:gd name="connsiteY16" fmla="*/ 319661 h 613820"/>
                  <a:gd name="connsiteX17" fmla="*/ 271954 w 300314"/>
                  <a:gd name="connsiteY17" fmla="*/ 464872 h 613820"/>
                  <a:gd name="connsiteX18" fmla="*/ 278550 w 300314"/>
                  <a:gd name="connsiteY18" fmla="*/ 476304 h 613820"/>
                  <a:gd name="connsiteX19" fmla="*/ 271954 w 300314"/>
                  <a:gd name="connsiteY19" fmla="*/ 480042 h 613820"/>
                  <a:gd name="connsiteX20" fmla="*/ 20336 w 300314"/>
                  <a:gd name="connsiteY20" fmla="*/ 334831 h 613820"/>
                  <a:gd name="connsiteX21" fmla="*/ 21106 w 300314"/>
                  <a:gd name="connsiteY21" fmla="*/ 297127 h 613820"/>
                  <a:gd name="connsiteX22" fmla="*/ 14510 w 300314"/>
                  <a:gd name="connsiteY22" fmla="*/ 285695 h 613820"/>
                  <a:gd name="connsiteX23" fmla="*/ 21106 w 300314"/>
                  <a:gd name="connsiteY23" fmla="*/ 281957 h 613820"/>
                  <a:gd name="connsiteX24" fmla="*/ 272614 w 300314"/>
                  <a:gd name="connsiteY24" fmla="*/ 427168 h 613820"/>
                  <a:gd name="connsiteX25" fmla="*/ 279209 w 300314"/>
                  <a:gd name="connsiteY25" fmla="*/ 438600 h 613820"/>
                  <a:gd name="connsiteX26" fmla="*/ 272614 w 300314"/>
                  <a:gd name="connsiteY26" fmla="*/ 442338 h 613820"/>
                  <a:gd name="connsiteX27" fmla="*/ 21106 w 300314"/>
                  <a:gd name="connsiteY27" fmla="*/ 297127 h 613820"/>
                  <a:gd name="connsiteX28" fmla="*/ 21875 w 300314"/>
                  <a:gd name="connsiteY28" fmla="*/ 259533 h 613820"/>
                  <a:gd name="connsiteX29" fmla="*/ 15280 w 300314"/>
                  <a:gd name="connsiteY29" fmla="*/ 248100 h 613820"/>
                  <a:gd name="connsiteX30" fmla="*/ 21875 w 300314"/>
                  <a:gd name="connsiteY30" fmla="*/ 244363 h 613820"/>
                  <a:gd name="connsiteX31" fmla="*/ 273383 w 300314"/>
                  <a:gd name="connsiteY31" fmla="*/ 389574 h 613820"/>
                  <a:gd name="connsiteX32" fmla="*/ 279979 w 300314"/>
                  <a:gd name="connsiteY32" fmla="*/ 401006 h 613820"/>
                  <a:gd name="connsiteX33" fmla="*/ 273383 w 300314"/>
                  <a:gd name="connsiteY33" fmla="*/ 404743 h 613820"/>
                  <a:gd name="connsiteX34" fmla="*/ 21875 w 300314"/>
                  <a:gd name="connsiteY34" fmla="*/ 259533 h 613820"/>
                  <a:gd name="connsiteX35" fmla="*/ 22535 w 300314"/>
                  <a:gd name="connsiteY35" fmla="*/ 221828 h 613820"/>
                  <a:gd name="connsiteX36" fmla="*/ 15939 w 300314"/>
                  <a:gd name="connsiteY36" fmla="*/ 210396 h 613820"/>
                  <a:gd name="connsiteX37" fmla="*/ 22535 w 300314"/>
                  <a:gd name="connsiteY37" fmla="*/ 206549 h 613820"/>
                  <a:gd name="connsiteX38" fmla="*/ 274153 w 300314"/>
                  <a:gd name="connsiteY38" fmla="*/ 351760 h 613820"/>
                  <a:gd name="connsiteX39" fmla="*/ 280748 w 300314"/>
                  <a:gd name="connsiteY39" fmla="*/ 363192 h 613820"/>
                  <a:gd name="connsiteX40" fmla="*/ 274153 w 300314"/>
                  <a:gd name="connsiteY40" fmla="*/ 366929 h 613820"/>
                  <a:gd name="connsiteX41" fmla="*/ 22535 w 300314"/>
                  <a:gd name="connsiteY41" fmla="*/ 221828 h 613820"/>
                  <a:gd name="connsiteX42" fmla="*/ 23304 w 300314"/>
                  <a:gd name="connsiteY42" fmla="*/ 184124 h 613820"/>
                  <a:gd name="connsiteX43" fmla="*/ 16709 w 300314"/>
                  <a:gd name="connsiteY43" fmla="*/ 172692 h 613820"/>
                  <a:gd name="connsiteX44" fmla="*/ 23304 w 300314"/>
                  <a:gd name="connsiteY44" fmla="*/ 168845 h 613820"/>
                  <a:gd name="connsiteX45" fmla="*/ 274812 w 300314"/>
                  <a:gd name="connsiteY45" fmla="*/ 314055 h 613820"/>
                  <a:gd name="connsiteX46" fmla="*/ 281408 w 300314"/>
                  <a:gd name="connsiteY46" fmla="*/ 325487 h 613820"/>
                  <a:gd name="connsiteX47" fmla="*/ 274812 w 300314"/>
                  <a:gd name="connsiteY47" fmla="*/ 329225 h 613820"/>
                  <a:gd name="connsiteX48" fmla="*/ 23304 w 300314"/>
                  <a:gd name="connsiteY48" fmla="*/ 184124 h 613820"/>
                  <a:gd name="connsiteX49" fmla="*/ 23964 w 300314"/>
                  <a:gd name="connsiteY49" fmla="*/ 146530 h 613820"/>
                  <a:gd name="connsiteX50" fmla="*/ 17368 w 300314"/>
                  <a:gd name="connsiteY50" fmla="*/ 135098 h 613820"/>
                  <a:gd name="connsiteX51" fmla="*/ 23964 w 300314"/>
                  <a:gd name="connsiteY51" fmla="*/ 131360 h 613820"/>
                  <a:gd name="connsiteX52" fmla="*/ 275472 w 300314"/>
                  <a:gd name="connsiteY52" fmla="*/ 276571 h 613820"/>
                  <a:gd name="connsiteX53" fmla="*/ 282067 w 300314"/>
                  <a:gd name="connsiteY53" fmla="*/ 288003 h 613820"/>
                  <a:gd name="connsiteX54" fmla="*/ 275472 w 300314"/>
                  <a:gd name="connsiteY54" fmla="*/ 291851 h 613820"/>
                  <a:gd name="connsiteX55" fmla="*/ 23964 w 300314"/>
                  <a:gd name="connsiteY55" fmla="*/ 146530 h 613820"/>
                  <a:gd name="connsiteX56" fmla="*/ 24733 w 300314"/>
                  <a:gd name="connsiteY56" fmla="*/ 108826 h 613820"/>
                  <a:gd name="connsiteX57" fmla="*/ 18138 w 300314"/>
                  <a:gd name="connsiteY57" fmla="*/ 97393 h 613820"/>
                  <a:gd name="connsiteX58" fmla="*/ 24733 w 300314"/>
                  <a:gd name="connsiteY58" fmla="*/ 93656 h 613820"/>
                  <a:gd name="connsiteX59" fmla="*/ 276241 w 300314"/>
                  <a:gd name="connsiteY59" fmla="*/ 238867 h 613820"/>
                  <a:gd name="connsiteX60" fmla="*/ 282837 w 300314"/>
                  <a:gd name="connsiteY60" fmla="*/ 250299 h 613820"/>
                  <a:gd name="connsiteX61" fmla="*/ 276241 w 300314"/>
                  <a:gd name="connsiteY61" fmla="*/ 254146 h 613820"/>
                  <a:gd name="connsiteX62" fmla="*/ 24733 w 300314"/>
                  <a:gd name="connsiteY62" fmla="*/ 108826 h 613820"/>
                  <a:gd name="connsiteX63" fmla="*/ 24183 w 300314"/>
                  <a:gd name="connsiteY63" fmla="*/ 70462 h 613820"/>
                  <a:gd name="connsiteX64" fmla="*/ 17588 w 300314"/>
                  <a:gd name="connsiteY64" fmla="*/ 59030 h 613820"/>
                  <a:gd name="connsiteX65" fmla="*/ 24183 w 300314"/>
                  <a:gd name="connsiteY65" fmla="*/ 55292 h 613820"/>
                  <a:gd name="connsiteX66" fmla="*/ 93656 w 300314"/>
                  <a:gd name="connsiteY66" fmla="*/ 95415 h 613820"/>
                  <a:gd name="connsiteX67" fmla="*/ 100251 w 300314"/>
                  <a:gd name="connsiteY67" fmla="*/ 106847 h 613820"/>
                  <a:gd name="connsiteX68" fmla="*/ 93656 w 300314"/>
                  <a:gd name="connsiteY68" fmla="*/ 110584 h 613820"/>
                  <a:gd name="connsiteX69" fmla="*/ 24183 w 300314"/>
                  <a:gd name="connsiteY69" fmla="*/ 70462 h 613820"/>
                  <a:gd name="connsiteX70" fmla="*/ 300315 w 300314"/>
                  <a:gd name="connsiteY70" fmla="*/ 172692 h 613820"/>
                  <a:gd name="connsiteX71" fmla="*/ 1209 w 300314"/>
                  <a:gd name="connsiteY71" fmla="*/ 0 h 613820"/>
                  <a:gd name="connsiteX72" fmla="*/ 0 w 300314"/>
                  <a:gd name="connsiteY72" fmla="*/ 441128 h 613820"/>
                  <a:gd name="connsiteX73" fmla="*/ 299106 w 300314"/>
                  <a:gd name="connsiteY73" fmla="*/ 613820 h 613820"/>
                  <a:gd name="connsiteX74" fmla="*/ 300315 w 300314"/>
                  <a:gd name="connsiteY74" fmla="*/ 172692 h 61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00314" h="613820">
                    <a:moveTo>
                      <a:pt x="201602" y="519395"/>
                    </a:moveTo>
                    <a:cubicBezTo>
                      <a:pt x="197975" y="517306"/>
                      <a:pt x="195007" y="512140"/>
                      <a:pt x="195007" y="507963"/>
                    </a:cubicBezTo>
                    <a:cubicBezTo>
                      <a:pt x="195007" y="503786"/>
                      <a:pt x="197975" y="502027"/>
                      <a:pt x="201602" y="504225"/>
                    </a:cubicBezTo>
                    <a:lnTo>
                      <a:pt x="271075" y="544348"/>
                    </a:lnTo>
                    <a:cubicBezTo>
                      <a:pt x="274702" y="546436"/>
                      <a:pt x="277670" y="551603"/>
                      <a:pt x="277670" y="555780"/>
                    </a:cubicBezTo>
                    <a:cubicBezTo>
                      <a:pt x="277670" y="559957"/>
                      <a:pt x="274702" y="561716"/>
                      <a:pt x="271075" y="559627"/>
                    </a:cubicBezTo>
                    <a:lnTo>
                      <a:pt x="201602" y="519395"/>
                    </a:lnTo>
                    <a:moveTo>
                      <a:pt x="19677" y="372535"/>
                    </a:moveTo>
                    <a:cubicBezTo>
                      <a:pt x="16049" y="370447"/>
                      <a:pt x="13081" y="365280"/>
                      <a:pt x="13081" y="361103"/>
                    </a:cubicBezTo>
                    <a:cubicBezTo>
                      <a:pt x="13081" y="356926"/>
                      <a:pt x="16049" y="355167"/>
                      <a:pt x="19677" y="357366"/>
                    </a:cubicBezTo>
                    <a:lnTo>
                      <a:pt x="271185" y="502576"/>
                    </a:lnTo>
                    <a:cubicBezTo>
                      <a:pt x="274812" y="504665"/>
                      <a:pt x="277780" y="509831"/>
                      <a:pt x="277780" y="514009"/>
                    </a:cubicBezTo>
                    <a:cubicBezTo>
                      <a:pt x="277780" y="518186"/>
                      <a:pt x="274812" y="519945"/>
                      <a:pt x="271185" y="517746"/>
                    </a:cubicBezTo>
                    <a:lnTo>
                      <a:pt x="19677" y="372535"/>
                    </a:lnTo>
                    <a:moveTo>
                      <a:pt x="20336" y="334831"/>
                    </a:moveTo>
                    <a:cubicBezTo>
                      <a:pt x="16709" y="332743"/>
                      <a:pt x="13741" y="327576"/>
                      <a:pt x="13741" y="323399"/>
                    </a:cubicBezTo>
                    <a:cubicBezTo>
                      <a:pt x="13741" y="319222"/>
                      <a:pt x="16709" y="317573"/>
                      <a:pt x="20336" y="319661"/>
                    </a:cubicBezTo>
                    <a:lnTo>
                      <a:pt x="271954" y="464872"/>
                    </a:lnTo>
                    <a:cubicBezTo>
                      <a:pt x="275582" y="466961"/>
                      <a:pt x="278550" y="472127"/>
                      <a:pt x="278550" y="476304"/>
                    </a:cubicBezTo>
                    <a:cubicBezTo>
                      <a:pt x="278550" y="480482"/>
                      <a:pt x="275582" y="482240"/>
                      <a:pt x="271954" y="480042"/>
                    </a:cubicBezTo>
                    <a:lnTo>
                      <a:pt x="20336" y="334831"/>
                    </a:lnTo>
                    <a:moveTo>
                      <a:pt x="21106" y="297127"/>
                    </a:moveTo>
                    <a:cubicBezTo>
                      <a:pt x="17478" y="295038"/>
                      <a:pt x="14510" y="289872"/>
                      <a:pt x="14510" y="285695"/>
                    </a:cubicBezTo>
                    <a:cubicBezTo>
                      <a:pt x="14510" y="281518"/>
                      <a:pt x="17478" y="279759"/>
                      <a:pt x="21106" y="281957"/>
                    </a:cubicBezTo>
                    <a:lnTo>
                      <a:pt x="272614" y="427168"/>
                    </a:lnTo>
                    <a:cubicBezTo>
                      <a:pt x="276241" y="429257"/>
                      <a:pt x="279209" y="434423"/>
                      <a:pt x="279209" y="438600"/>
                    </a:cubicBezTo>
                    <a:cubicBezTo>
                      <a:pt x="279209" y="442777"/>
                      <a:pt x="276241" y="444426"/>
                      <a:pt x="272614" y="442338"/>
                    </a:cubicBezTo>
                    <a:lnTo>
                      <a:pt x="21106" y="297127"/>
                    </a:lnTo>
                    <a:moveTo>
                      <a:pt x="21875" y="259533"/>
                    </a:moveTo>
                    <a:cubicBezTo>
                      <a:pt x="18248" y="257444"/>
                      <a:pt x="15280" y="252278"/>
                      <a:pt x="15280" y="248100"/>
                    </a:cubicBezTo>
                    <a:cubicBezTo>
                      <a:pt x="15280" y="243923"/>
                      <a:pt x="18248" y="242164"/>
                      <a:pt x="21875" y="244363"/>
                    </a:cubicBezTo>
                    <a:lnTo>
                      <a:pt x="273383" y="389574"/>
                    </a:lnTo>
                    <a:cubicBezTo>
                      <a:pt x="277011" y="391662"/>
                      <a:pt x="279979" y="396829"/>
                      <a:pt x="279979" y="401006"/>
                    </a:cubicBezTo>
                    <a:cubicBezTo>
                      <a:pt x="279979" y="405183"/>
                      <a:pt x="277011" y="406942"/>
                      <a:pt x="273383" y="404743"/>
                    </a:cubicBezTo>
                    <a:lnTo>
                      <a:pt x="21875" y="259533"/>
                    </a:lnTo>
                    <a:moveTo>
                      <a:pt x="22535" y="221828"/>
                    </a:moveTo>
                    <a:cubicBezTo>
                      <a:pt x="18907" y="219740"/>
                      <a:pt x="15939" y="214573"/>
                      <a:pt x="15939" y="210396"/>
                    </a:cubicBezTo>
                    <a:cubicBezTo>
                      <a:pt x="15939" y="206219"/>
                      <a:pt x="18907" y="204460"/>
                      <a:pt x="22535" y="206549"/>
                    </a:cubicBezTo>
                    <a:lnTo>
                      <a:pt x="274153" y="351760"/>
                    </a:lnTo>
                    <a:cubicBezTo>
                      <a:pt x="277780" y="353848"/>
                      <a:pt x="280748" y="359015"/>
                      <a:pt x="280748" y="363192"/>
                    </a:cubicBezTo>
                    <a:cubicBezTo>
                      <a:pt x="280748" y="367369"/>
                      <a:pt x="277780" y="369128"/>
                      <a:pt x="274153" y="366929"/>
                    </a:cubicBezTo>
                    <a:lnTo>
                      <a:pt x="22535" y="221828"/>
                    </a:lnTo>
                    <a:moveTo>
                      <a:pt x="23304" y="184124"/>
                    </a:moveTo>
                    <a:cubicBezTo>
                      <a:pt x="19677" y="182036"/>
                      <a:pt x="16709" y="176869"/>
                      <a:pt x="16709" y="172692"/>
                    </a:cubicBezTo>
                    <a:cubicBezTo>
                      <a:pt x="16709" y="168515"/>
                      <a:pt x="19677" y="166756"/>
                      <a:pt x="23304" y="168845"/>
                    </a:cubicBezTo>
                    <a:lnTo>
                      <a:pt x="274812" y="314055"/>
                    </a:lnTo>
                    <a:cubicBezTo>
                      <a:pt x="278440" y="316144"/>
                      <a:pt x="281408" y="321310"/>
                      <a:pt x="281408" y="325487"/>
                    </a:cubicBezTo>
                    <a:cubicBezTo>
                      <a:pt x="281408" y="329665"/>
                      <a:pt x="278440" y="331314"/>
                      <a:pt x="274812" y="329225"/>
                    </a:cubicBezTo>
                    <a:lnTo>
                      <a:pt x="23304" y="184124"/>
                    </a:lnTo>
                    <a:moveTo>
                      <a:pt x="23964" y="146530"/>
                    </a:moveTo>
                    <a:cubicBezTo>
                      <a:pt x="20336" y="144441"/>
                      <a:pt x="17368" y="139275"/>
                      <a:pt x="17368" y="135098"/>
                    </a:cubicBezTo>
                    <a:cubicBezTo>
                      <a:pt x="17368" y="130921"/>
                      <a:pt x="20336" y="129162"/>
                      <a:pt x="23964" y="131360"/>
                    </a:cubicBezTo>
                    <a:lnTo>
                      <a:pt x="275472" y="276571"/>
                    </a:lnTo>
                    <a:cubicBezTo>
                      <a:pt x="279099" y="278660"/>
                      <a:pt x="282067" y="283826"/>
                      <a:pt x="282067" y="288003"/>
                    </a:cubicBezTo>
                    <a:cubicBezTo>
                      <a:pt x="282067" y="292180"/>
                      <a:pt x="279099" y="293939"/>
                      <a:pt x="275472" y="291851"/>
                    </a:cubicBezTo>
                    <a:lnTo>
                      <a:pt x="23964" y="146530"/>
                    </a:lnTo>
                    <a:moveTo>
                      <a:pt x="24733" y="108826"/>
                    </a:moveTo>
                    <a:cubicBezTo>
                      <a:pt x="21106" y="106737"/>
                      <a:pt x="18138" y="101571"/>
                      <a:pt x="18138" y="97393"/>
                    </a:cubicBezTo>
                    <a:cubicBezTo>
                      <a:pt x="18138" y="93216"/>
                      <a:pt x="21106" y="91567"/>
                      <a:pt x="24733" y="93656"/>
                    </a:cubicBezTo>
                    <a:lnTo>
                      <a:pt x="276241" y="238867"/>
                    </a:lnTo>
                    <a:cubicBezTo>
                      <a:pt x="279869" y="240955"/>
                      <a:pt x="282837" y="246122"/>
                      <a:pt x="282837" y="250299"/>
                    </a:cubicBezTo>
                    <a:cubicBezTo>
                      <a:pt x="282837" y="254476"/>
                      <a:pt x="279869" y="256235"/>
                      <a:pt x="276241" y="254146"/>
                    </a:cubicBezTo>
                    <a:lnTo>
                      <a:pt x="24733" y="108826"/>
                    </a:lnTo>
                    <a:moveTo>
                      <a:pt x="24183" y="70462"/>
                    </a:moveTo>
                    <a:cubicBezTo>
                      <a:pt x="20556" y="68373"/>
                      <a:pt x="17588" y="63207"/>
                      <a:pt x="17588" y="59030"/>
                    </a:cubicBezTo>
                    <a:cubicBezTo>
                      <a:pt x="17588" y="54853"/>
                      <a:pt x="20556" y="53094"/>
                      <a:pt x="24183" y="55292"/>
                    </a:cubicBezTo>
                    <a:lnTo>
                      <a:pt x="93656" y="95415"/>
                    </a:lnTo>
                    <a:cubicBezTo>
                      <a:pt x="97284" y="97503"/>
                      <a:pt x="100251" y="102670"/>
                      <a:pt x="100251" y="106847"/>
                    </a:cubicBezTo>
                    <a:cubicBezTo>
                      <a:pt x="100251" y="111024"/>
                      <a:pt x="97284" y="112783"/>
                      <a:pt x="93656" y="110584"/>
                    </a:cubicBezTo>
                    <a:lnTo>
                      <a:pt x="24183" y="70462"/>
                    </a:lnTo>
                    <a:moveTo>
                      <a:pt x="300315" y="172692"/>
                    </a:moveTo>
                    <a:lnTo>
                      <a:pt x="1209" y="0"/>
                    </a:lnTo>
                    <a:lnTo>
                      <a:pt x="0" y="441128"/>
                    </a:lnTo>
                    <a:lnTo>
                      <a:pt x="299106" y="613820"/>
                    </a:lnTo>
                    <a:lnTo>
                      <a:pt x="300315" y="172692"/>
                    </a:lnTo>
                  </a:path>
                </a:pathLst>
              </a:custGeom>
              <a:solidFill>
                <a:schemeClr val="bg1"/>
              </a:solidFill>
              <a:ln w="10990" cap="flat">
                <a:noFill/>
                <a:prstDash val="solid"/>
                <a:miter/>
              </a:ln>
            </p:spPr>
            <p:txBody>
              <a:bodyPr rtlCol="0" anchor="ctr"/>
              <a:lstStyle/>
              <a:p>
                <a:endParaRPr lang="en-IN"/>
              </a:p>
            </p:txBody>
          </p:sp>
          <p:sp>
            <p:nvSpPr>
              <p:cNvPr id="30" name="Freeform: Shape 29">
                <a:extLst>
                  <a:ext uri="{FF2B5EF4-FFF2-40B4-BE49-F238E27FC236}">
                    <a16:creationId xmlns:a16="http://schemas.microsoft.com/office/drawing/2014/main" id="{3DA3C969-86D3-4F44-820A-B9279CEBC239}"/>
                  </a:ext>
                </a:extLst>
              </p:cNvPr>
              <p:cNvSpPr/>
              <p:nvPr/>
            </p:nvSpPr>
            <p:spPr>
              <a:xfrm>
                <a:off x="1866861" y="2832065"/>
                <a:ext cx="82663" cy="57099"/>
              </a:xfrm>
              <a:custGeom>
                <a:avLst/>
                <a:gdLst>
                  <a:gd name="connsiteX0" fmla="*/ 76068 w 82663"/>
                  <a:gd name="connsiteY0" fmla="*/ 41026 h 57099"/>
                  <a:gd name="connsiteX1" fmla="*/ 6595 w 82663"/>
                  <a:gd name="connsiteY1" fmla="*/ 904 h 57099"/>
                  <a:gd name="connsiteX2" fmla="*/ 0 w 82663"/>
                  <a:gd name="connsiteY2" fmla="*/ 4641 h 57099"/>
                  <a:gd name="connsiteX3" fmla="*/ 6595 w 82663"/>
                  <a:gd name="connsiteY3" fmla="*/ 16073 h 57099"/>
                  <a:gd name="connsiteX4" fmla="*/ 76068 w 82663"/>
                  <a:gd name="connsiteY4" fmla="*/ 56196 h 57099"/>
                  <a:gd name="connsiteX5" fmla="*/ 82664 w 82663"/>
                  <a:gd name="connsiteY5" fmla="*/ 52458 h 57099"/>
                  <a:gd name="connsiteX6" fmla="*/ 76068 w 82663"/>
                  <a:gd name="connsiteY6" fmla="*/ 41026 h 57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663" h="57099">
                    <a:moveTo>
                      <a:pt x="76068" y="41026"/>
                    </a:moveTo>
                    <a:lnTo>
                      <a:pt x="6595" y="904"/>
                    </a:lnTo>
                    <a:cubicBezTo>
                      <a:pt x="2968" y="-1185"/>
                      <a:pt x="0" y="464"/>
                      <a:pt x="0" y="4641"/>
                    </a:cubicBezTo>
                    <a:cubicBezTo>
                      <a:pt x="0" y="8818"/>
                      <a:pt x="2968" y="13985"/>
                      <a:pt x="6595" y="16073"/>
                    </a:cubicBezTo>
                    <a:lnTo>
                      <a:pt x="76068" y="56196"/>
                    </a:lnTo>
                    <a:cubicBezTo>
                      <a:pt x="79696" y="58284"/>
                      <a:pt x="82664" y="56636"/>
                      <a:pt x="82664" y="52458"/>
                    </a:cubicBezTo>
                    <a:cubicBezTo>
                      <a:pt x="82664" y="48281"/>
                      <a:pt x="79696" y="43225"/>
                      <a:pt x="76068" y="41026"/>
                    </a:cubicBezTo>
                  </a:path>
                </a:pathLst>
              </a:custGeom>
              <a:solidFill>
                <a:srgbClr val="CDCED1"/>
              </a:solidFill>
              <a:ln w="10990" cap="flat">
                <a:noFill/>
                <a:prstDash val="solid"/>
                <a:miter/>
              </a:ln>
            </p:spPr>
            <p:txBody>
              <a:bodyPr rtlCol="0" anchor="ctr"/>
              <a:lstStyle/>
              <a:p>
                <a:endParaRPr lang="en-IN"/>
              </a:p>
            </p:txBody>
          </p:sp>
          <p:sp>
            <p:nvSpPr>
              <p:cNvPr id="31" name="Freeform: Shape 30">
                <a:extLst>
                  <a:ext uri="{FF2B5EF4-FFF2-40B4-BE49-F238E27FC236}">
                    <a16:creationId xmlns:a16="http://schemas.microsoft.com/office/drawing/2014/main" id="{AD41C1F7-B327-42C0-8959-2ED416C17329}"/>
                  </a:ext>
                </a:extLst>
              </p:cNvPr>
              <p:cNvSpPr/>
              <p:nvPr/>
            </p:nvSpPr>
            <p:spPr>
              <a:xfrm>
                <a:off x="2044170" y="3281108"/>
                <a:ext cx="82663" cy="57096"/>
              </a:xfrm>
              <a:custGeom>
                <a:avLst/>
                <a:gdLst>
                  <a:gd name="connsiteX0" fmla="*/ 76068 w 82663"/>
                  <a:gd name="connsiteY0" fmla="*/ 41026 h 57096"/>
                  <a:gd name="connsiteX1" fmla="*/ 6595 w 82663"/>
                  <a:gd name="connsiteY1" fmla="*/ 904 h 57096"/>
                  <a:gd name="connsiteX2" fmla="*/ 0 w 82663"/>
                  <a:gd name="connsiteY2" fmla="*/ 4641 h 57096"/>
                  <a:gd name="connsiteX3" fmla="*/ 6595 w 82663"/>
                  <a:gd name="connsiteY3" fmla="*/ 16073 h 57096"/>
                  <a:gd name="connsiteX4" fmla="*/ 76068 w 82663"/>
                  <a:gd name="connsiteY4" fmla="*/ 56196 h 57096"/>
                  <a:gd name="connsiteX5" fmla="*/ 82664 w 82663"/>
                  <a:gd name="connsiteY5" fmla="*/ 52349 h 57096"/>
                  <a:gd name="connsiteX6" fmla="*/ 76068 w 82663"/>
                  <a:gd name="connsiteY6" fmla="*/ 41026 h 5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663" h="57096">
                    <a:moveTo>
                      <a:pt x="76068" y="41026"/>
                    </a:moveTo>
                    <a:lnTo>
                      <a:pt x="6595" y="904"/>
                    </a:lnTo>
                    <a:cubicBezTo>
                      <a:pt x="2968" y="-1185"/>
                      <a:pt x="0" y="464"/>
                      <a:pt x="0" y="4641"/>
                    </a:cubicBezTo>
                    <a:cubicBezTo>
                      <a:pt x="0" y="8818"/>
                      <a:pt x="2968" y="13985"/>
                      <a:pt x="6595" y="16073"/>
                    </a:cubicBezTo>
                    <a:lnTo>
                      <a:pt x="76068" y="56196"/>
                    </a:lnTo>
                    <a:cubicBezTo>
                      <a:pt x="79696" y="58284"/>
                      <a:pt x="82664" y="56636"/>
                      <a:pt x="82664" y="52349"/>
                    </a:cubicBezTo>
                    <a:cubicBezTo>
                      <a:pt x="82664" y="48281"/>
                      <a:pt x="79696" y="43115"/>
                      <a:pt x="76068" y="41026"/>
                    </a:cubicBezTo>
                  </a:path>
                </a:pathLst>
              </a:custGeom>
              <a:solidFill>
                <a:srgbClr val="CDCED1"/>
              </a:solidFill>
              <a:ln w="10990" cap="flat">
                <a:noFill/>
                <a:prstDash val="solid"/>
                <a:miter/>
              </a:ln>
            </p:spPr>
            <p:txBody>
              <a:bodyPr rtlCol="0" anchor="ctr"/>
              <a:lstStyle/>
              <a:p>
                <a:endParaRPr lang="en-IN"/>
              </a:p>
            </p:txBody>
          </p:sp>
          <p:sp>
            <p:nvSpPr>
              <p:cNvPr id="32" name="Freeform: Shape 31">
                <a:extLst>
                  <a:ext uri="{FF2B5EF4-FFF2-40B4-BE49-F238E27FC236}">
                    <a16:creationId xmlns:a16="http://schemas.microsoft.com/office/drawing/2014/main" id="{28A2E00D-2319-4F8B-B15D-24FF302F08F5}"/>
                  </a:ext>
                </a:extLst>
              </p:cNvPr>
              <p:cNvSpPr/>
              <p:nvPr/>
            </p:nvSpPr>
            <p:spPr>
              <a:xfrm>
                <a:off x="1867301" y="2870429"/>
                <a:ext cx="264699" cy="162185"/>
              </a:xfrm>
              <a:custGeom>
                <a:avLst/>
                <a:gdLst>
                  <a:gd name="connsiteX0" fmla="*/ 258104 w 264699"/>
                  <a:gd name="connsiteY0" fmla="*/ 146114 h 162185"/>
                  <a:gd name="connsiteX1" fmla="*/ 6595 w 264699"/>
                  <a:gd name="connsiteY1" fmla="*/ 904 h 162185"/>
                  <a:gd name="connsiteX2" fmla="*/ 0 w 264699"/>
                  <a:gd name="connsiteY2" fmla="*/ 4641 h 162185"/>
                  <a:gd name="connsiteX3" fmla="*/ 6595 w 264699"/>
                  <a:gd name="connsiteY3" fmla="*/ 16073 h 162185"/>
                  <a:gd name="connsiteX4" fmla="*/ 258104 w 264699"/>
                  <a:gd name="connsiteY4" fmla="*/ 161284 h 162185"/>
                  <a:gd name="connsiteX5" fmla="*/ 264699 w 264699"/>
                  <a:gd name="connsiteY5" fmla="*/ 157437 h 162185"/>
                  <a:gd name="connsiteX6" fmla="*/ 258104 w 264699"/>
                  <a:gd name="connsiteY6" fmla="*/ 146114 h 162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185">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437"/>
                    </a:cubicBezTo>
                    <a:cubicBezTo>
                      <a:pt x="264699" y="153369"/>
                      <a:pt x="261841" y="148313"/>
                      <a:pt x="258104" y="146114"/>
                    </a:cubicBezTo>
                  </a:path>
                </a:pathLst>
              </a:custGeom>
              <a:solidFill>
                <a:srgbClr val="CDCED1"/>
              </a:solidFill>
              <a:ln w="10990" cap="flat">
                <a:noFill/>
                <a:prstDash val="solid"/>
                <a:miter/>
              </a:ln>
            </p:spPr>
            <p:txBody>
              <a:bodyPr rtlCol="0" anchor="ctr"/>
              <a:lstStyle/>
              <a:p>
                <a:endParaRPr lang="en-IN"/>
              </a:p>
            </p:txBody>
          </p:sp>
          <p:sp>
            <p:nvSpPr>
              <p:cNvPr id="33" name="Freeform: Shape 32">
                <a:extLst>
                  <a:ext uri="{FF2B5EF4-FFF2-40B4-BE49-F238E27FC236}">
                    <a16:creationId xmlns:a16="http://schemas.microsoft.com/office/drawing/2014/main" id="{DF449A63-7947-4BE0-B154-95C849724809}"/>
                  </a:ext>
                </a:extLst>
              </p:cNvPr>
              <p:cNvSpPr/>
              <p:nvPr/>
            </p:nvSpPr>
            <p:spPr>
              <a:xfrm>
                <a:off x="1866642" y="2908133"/>
                <a:ext cx="264699" cy="162185"/>
              </a:xfrm>
              <a:custGeom>
                <a:avLst/>
                <a:gdLst>
                  <a:gd name="connsiteX0" fmla="*/ 258104 w 264699"/>
                  <a:gd name="connsiteY0" fmla="*/ 146114 h 162185"/>
                  <a:gd name="connsiteX1" fmla="*/ 6595 w 264699"/>
                  <a:gd name="connsiteY1" fmla="*/ 904 h 162185"/>
                  <a:gd name="connsiteX2" fmla="*/ 0 w 264699"/>
                  <a:gd name="connsiteY2" fmla="*/ 4641 h 162185"/>
                  <a:gd name="connsiteX3" fmla="*/ 6595 w 264699"/>
                  <a:gd name="connsiteY3" fmla="*/ 16073 h 162185"/>
                  <a:gd name="connsiteX4" fmla="*/ 258104 w 264699"/>
                  <a:gd name="connsiteY4" fmla="*/ 161284 h 162185"/>
                  <a:gd name="connsiteX5" fmla="*/ 264699 w 264699"/>
                  <a:gd name="connsiteY5" fmla="*/ 157437 h 162185"/>
                  <a:gd name="connsiteX6" fmla="*/ 258104 w 264699"/>
                  <a:gd name="connsiteY6" fmla="*/ 146114 h 162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185">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437"/>
                    </a:cubicBezTo>
                    <a:cubicBezTo>
                      <a:pt x="264699" y="153369"/>
                      <a:pt x="261731" y="148203"/>
                      <a:pt x="258104" y="146114"/>
                    </a:cubicBezTo>
                  </a:path>
                </a:pathLst>
              </a:custGeom>
              <a:solidFill>
                <a:srgbClr val="CDCED1"/>
              </a:solidFill>
              <a:ln w="10990" cap="flat">
                <a:noFill/>
                <a:prstDash val="solid"/>
                <a:miter/>
              </a:ln>
            </p:spPr>
            <p:txBody>
              <a:bodyPr rtlCol="0" anchor="ctr"/>
              <a:lstStyle/>
              <a:p>
                <a:endParaRPr lang="en-IN"/>
              </a:p>
            </p:txBody>
          </p:sp>
          <p:sp>
            <p:nvSpPr>
              <p:cNvPr id="34" name="Freeform: Shape 33">
                <a:extLst>
                  <a:ext uri="{FF2B5EF4-FFF2-40B4-BE49-F238E27FC236}">
                    <a16:creationId xmlns:a16="http://schemas.microsoft.com/office/drawing/2014/main" id="{ACA7A1C7-494F-4A0A-8CD1-DBF8BA09CF78}"/>
                  </a:ext>
                </a:extLst>
              </p:cNvPr>
              <p:cNvSpPr/>
              <p:nvPr/>
            </p:nvSpPr>
            <p:spPr>
              <a:xfrm>
                <a:off x="1865872" y="2945840"/>
                <a:ext cx="264699" cy="162294"/>
              </a:xfrm>
              <a:custGeom>
                <a:avLst/>
                <a:gdLst>
                  <a:gd name="connsiteX0" fmla="*/ 258104 w 264699"/>
                  <a:gd name="connsiteY0" fmla="*/ 146112 h 162294"/>
                  <a:gd name="connsiteX1" fmla="*/ 6595 w 264699"/>
                  <a:gd name="connsiteY1" fmla="*/ 901 h 162294"/>
                  <a:gd name="connsiteX2" fmla="*/ 0 w 264699"/>
                  <a:gd name="connsiteY2" fmla="*/ 4748 h 162294"/>
                  <a:gd name="connsiteX3" fmla="*/ 6595 w 264699"/>
                  <a:gd name="connsiteY3" fmla="*/ 16181 h 162294"/>
                  <a:gd name="connsiteX4" fmla="*/ 258104 w 264699"/>
                  <a:gd name="connsiteY4" fmla="*/ 161391 h 162294"/>
                  <a:gd name="connsiteX5" fmla="*/ 264699 w 264699"/>
                  <a:gd name="connsiteY5" fmla="*/ 157654 h 162294"/>
                  <a:gd name="connsiteX6" fmla="*/ 258104 w 264699"/>
                  <a:gd name="connsiteY6" fmla="*/ 146112 h 162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294">
                    <a:moveTo>
                      <a:pt x="258104" y="146112"/>
                    </a:moveTo>
                    <a:lnTo>
                      <a:pt x="6595" y="901"/>
                    </a:lnTo>
                    <a:cubicBezTo>
                      <a:pt x="2968" y="-1188"/>
                      <a:pt x="0" y="461"/>
                      <a:pt x="0" y="4748"/>
                    </a:cubicBezTo>
                    <a:cubicBezTo>
                      <a:pt x="0" y="8925"/>
                      <a:pt x="2968" y="14092"/>
                      <a:pt x="6595" y="16181"/>
                    </a:cubicBezTo>
                    <a:lnTo>
                      <a:pt x="258104" y="161391"/>
                    </a:lnTo>
                    <a:cubicBezTo>
                      <a:pt x="261731" y="163480"/>
                      <a:pt x="264699" y="161831"/>
                      <a:pt x="264699" y="157654"/>
                    </a:cubicBezTo>
                    <a:cubicBezTo>
                      <a:pt x="264699" y="153367"/>
                      <a:pt x="261731" y="148200"/>
                      <a:pt x="258104" y="146112"/>
                    </a:cubicBezTo>
                  </a:path>
                </a:pathLst>
              </a:custGeom>
              <a:solidFill>
                <a:srgbClr val="CDCED1"/>
              </a:solidFill>
              <a:ln w="10990" cap="flat">
                <a:noFill/>
                <a:prstDash val="solid"/>
                <a:miter/>
              </a:ln>
            </p:spPr>
            <p:txBody>
              <a:bodyPr rtlCol="0" anchor="ctr"/>
              <a:lstStyle/>
              <a:p>
                <a:endParaRPr lang="en-IN"/>
              </a:p>
            </p:txBody>
          </p:sp>
          <p:sp>
            <p:nvSpPr>
              <p:cNvPr id="35" name="Freeform: Shape 34">
                <a:extLst>
                  <a:ext uri="{FF2B5EF4-FFF2-40B4-BE49-F238E27FC236}">
                    <a16:creationId xmlns:a16="http://schemas.microsoft.com/office/drawing/2014/main" id="{9BF6DF4C-4780-4827-B75B-B7B73FBDAD38}"/>
                  </a:ext>
                </a:extLst>
              </p:cNvPr>
              <p:cNvSpPr/>
              <p:nvPr/>
            </p:nvSpPr>
            <p:spPr>
              <a:xfrm>
                <a:off x="1865103" y="2983434"/>
                <a:ext cx="264702" cy="162294"/>
              </a:xfrm>
              <a:custGeom>
                <a:avLst/>
                <a:gdLst>
                  <a:gd name="connsiteX0" fmla="*/ 258214 w 264702"/>
                  <a:gd name="connsiteY0" fmla="*/ 146112 h 162294"/>
                  <a:gd name="connsiteX1" fmla="*/ 6595 w 264702"/>
                  <a:gd name="connsiteY1" fmla="*/ 901 h 162294"/>
                  <a:gd name="connsiteX2" fmla="*/ 0 w 264702"/>
                  <a:gd name="connsiteY2" fmla="*/ 4748 h 162294"/>
                  <a:gd name="connsiteX3" fmla="*/ 6595 w 264702"/>
                  <a:gd name="connsiteY3" fmla="*/ 16181 h 162294"/>
                  <a:gd name="connsiteX4" fmla="*/ 258104 w 264702"/>
                  <a:gd name="connsiteY4" fmla="*/ 161391 h 162294"/>
                  <a:gd name="connsiteX5" fmla="*/ 264699 w 264702"/>
                  <a:gd name="connsiteY5" fmla="*/ 157654 h 162294"/>
                  <a:gd name="connsiteX6" fmla="*/ 258214 w 264702"/>
                  <a:gd name="connsiteY6" fmla="*/ 146112 h 162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702" h="162294">
                    <a:moveTo>
                      <a:pt x="258214" y="146112"/>
                    </a:moveTo>
                    <a:lnTo>
                      <a:pt x="6595" y="901"/>
                    </a:lnTo>
                    <a:cubicBezTo>
                      <a:pt x="2968" y="-1188"/>
                      <a:pt x="0" y="461"/>
                      <a:pt x="0" y="4748"/>
                    </a:cubicBezTo>
                    <a:cubicBezTo>
                      <a:pt x="0" y="8925"/>
                      <a:pt x="2968" y="14092"/>
                      <a:pt x="6595" y="16181"/>
                    </a:cubicBezTo>
                    <a:lnTo>
                      <a:pt x="258104" y="161391"/>
                    </a:lnTo>
                    <a:cubicBezTo>
                      <a:pt x="261731" y="163480"/>
                      <a:pt x="264699" y="161831"/>
                      <a:pt x="264699" y="157654"/>
                    </a:cubicBezTo>
                    <a:cubicBezTo>
                      <a:pt x="264809" y="153367"/>
                      <a:pt x="261841" y="148310"/>
                      <a:pt x="258214" y="146112"/>
                    </a:cubicBezTo>
                  </a:path>
                </a:pathLst>
              </a:custGeom>
              <a:solidFill>
                <a:srgbClr val="CDCED1"/>
              </a:solidFill>
              <a:ln w="10990" cap="flat">
                <a:noFill/>
                <a:prstDash val="solid"/>
                <a:miter/>
              </a:ln>
            </p:spPr>
            <p:txBody>
              <a:bodyPr rtlCol="0" anchor="ctr"/>
              <a:lstStyle/>
              <a:p>
                <a:endParaRPr lang="en-IN"/>
              </a:p>
            </p:txBody>
          </p:sp>
          <p:sp>
            <p:nvSpPr>
              <p:cNvPr id="36" name="Freeform: Shape 35">
                <a:extLst>
                  <a:ext uri="{FF2B5EF4-FFF2-40B4-BE49-F238E27FC236}">
                    <a16:creationId xmlns:a16="http://schemas.microsoft.com/office/drawing/2014/main" id="{33A24CE2-E164-4249-A8EA-AAE19846BA3A}"/>
                  </a:ext>
                </a:extLst>
              </p:cNvPr>
              <p:cNvSpPr/>
              <p:nvPr/>
            </p:nvSpPr>
            <p:spPr>
              <a:xfrm>
                <a:off x="1864443" y="3021136"/>
                <a:ext cx="264699" cy="162187"/>
              </a:xfrm>
              <a:custGeom>
                <a:avLst/>
                <a:gdLst>
                  <a:gd name="connsiteX0" fmla="*/ 258104 w 264699"/>
                  <a:gd name="connsiteY0" fmla="*/ 146114 h 162187"/>
                  <a:gd name="connsiteX1" fmla="*/ 6595 w 264699"/>
                  <a:gd name="connsiteY1" fmla="*/ 904 h 162187"/>
                  <a:gd name="connsiteX2" fmla="*/ 0 w 264699"/>
                  <a:gd name="connsiteY2" fmla="*/ 4641 h 162187"/>
                  <a:gd name="connsiteX3" fmla="*/ 6595 w 264699"/>
                  <a:gd name="connsiteY3" fmla="*/ 16073 h 162187"/>
                  <a:gd name="connsiteX4" fmla="*/ 258104 w 264699"/>
                  <a:gd name="connsiteY4" fmla="*/ 161284 h 162187"/>
                  <a:gd name="connsiteX5" fmla="*/ 264699 w 264699"/>
                  <a:gd name="connsiteY5" fmla="*/ 157547 h 162187"/>
                  <a:gd name="connsiteX6" fmla="*/ 258104 w 264699"/>
                  <a:gd name="connsiteY6" fmla="*/ 146114 h 16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187">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547"/>
                    </a:cubicBezTo>
                    <a:cubicBezTo>
                      <a:pt x="264699" y="153369"/>
                      <a:pt x="261731" y="148313"/>
                      <a:pt x="258104" y="146114"/>
                    </a:cubicBezTo>
                  </a:path>
                </a:pathLst>
              </a:custGeom>
              <a:solidFill>
                <a:srgbClr val="CDCED1"/>
              </a:solidFill>
              <a:ln w="10990" cap="flat">
                <a:noFill/>
                <a:prstDash val="solid"/>
                <a:miter/>
              </a:ln>
            </p:spPr>
            <p:txBody>
              <a:bodyPr rtlCol="0" anchor="ctr"/>
              <a:lstStyle/>
              <a:p>
                <a:endParaRPr lang="en-IN"/>
              </a:p>
            </p:txBody>
          </p:sp>
          <p:sp>
            <p:nvSpPr>
              <p:cNvPr id="37" name="Freeform: Shape 36">
                <a:extLst>
                  <a:ext uri="{FF2B5EF4-FFF2-40B4-BE49-F238E27FC236}">
                    <a16:creationId xmlns:a16="http://schemas.microsoft.com/office/drawing/2014/main" id="{7569D919-E292-4D0F-93EE-4C6756F7FCD8}"/>
                  </a:ext>
                </a:extLst>
              </p:cNvPr>
              <p:cNvSpPr/>
              <p:nvPr/>
            </p:nvSpPr>
            <p:spPr>
              <a:xfrm>
                <a:off x="1863674" y="3058840"/>
                <a:ext cx="264702" cy="162187"/>
              </a:xfrm>
              <a:custGeom>
                <a:avLst/>
                <a:gdLst>
                  <a:gd name="connsiteX0" fmla="*/ 258104 w 264702"/>
                  <a:gd name="connsiteY0" fmla="*/ 146114 h 162187"/>
                  <a:gd name="connsiteX1" fmla="*/ 6595 w 264702"/>
                  <a:gd name="connsiteY1" fmla="*/ 904 h 162187"/>
                  <a:gd name="connsiteX2" fmla="*/ 0 w 264702"/>
                  <a:gd name="connsiteY2" fmla="*/ 4641 h 162187"/>
                  <a:gd name="connsiteX3" fmla="*/ 6595 w 264702"/>
                  <a:gd name="connsiteY3" fmla="*/ 16073 h 162187"/>
                  <a:gd name="connsiteX4" fmla="*/ 258104 w 264702"/>
                  <a:gd name="connsiteY4" fmla="*/ 161284 h 162187"/>
                  <a:gd name="connsiteX5" fmla="*/ 264699 w 264702"/>
                  <a:gd name="connsiteY5" fmla="*/ 157547 h 162187"/>
                  <a:gd name="connsiteX6" fmla="*/ 258104 w 264702"/>
                  <a:gd name="connsiteY6" fmla="*/ 146114 h 16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702" h="162187">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547"/>
                    </a:cubicBezTo>
                    <a:cubicBezTo>
                      <a:pt x="264809" y="153369"/>
                      <a:pt x="261841" y="148203"/>
                      <a:pt x="258104" y="146114"/>
                    </a:cubicBezTo>
                  </a:path>
                </a:pathLst>
              </a:custGeom>
              <a:solidFill>
                <a:srgbClr val="CDCED1"/>
              </a:solidFill>
              <a:ln w="10990" cap="flat">
                <a:noFill/>
                <a:prstDash val="solid"/>
                <a:miter/>
              </a:ln>
            </p:spPr>
            <p:txBody>
              <a:bodyPr rtlCol="0" anchor="ctr"/>
              <a:lstStyle/>
              <a:p>
                <a:endParaRPr lang="en-IN"/>
              </a:p>
            </p:txBody>
          </p:sp>
          <p:sp>
            <p:nvSpPr>
              <p:cNvPr id="38" name="Freeform: Shape 37">
                <a:extLst>
                  <a:ext uri="{FF2B5EF4-FFF2-40B4-BE49-F238E27FC236}">
                    <a16:creationId xmlns:a16="http://schemas.microsoft.com/office/drawing/2014/main" id="{67855C03-E674-4E81-BCE4-776A71AD818C}"/>
                  </a:ext>
                </a:extLst>
              </p:cNvPr>
              <p:cNvSpPr/>
              <p:nvPr/>
            </p:nvSpPr>
            <p:spPr>
              <a:xfrm>
                <a:off x="1863014" y="3096544"/>
                <a:ext cx="264699" cy="162187"/>
              </a:xfrm>
              <a:custGeom>
                <a:avLst/>
                <a:gdLst>
                  <a:gd name="connsiteX0" fmla="*/ 258104 w 264699"/>
                  <a:gd name="connsiteY0" fmla="*/ 146114 h 162187"/>
                  <a:gd name="connsiteX1" fmla="*/ 6595 w 264699"/>
                  <a:gd name="connsiteY1" fmla="*/ 904 h 162187"/>
                  <a:gd name="connsiteX2" fmla="*/ 0 w 264699"/>
                  <a:gd name="connsiteY2" fmla="*/ 4641 h 162187"/>
                  <a:gd name="connsiteX3" fmla="*/ 6595 w 264699"/>
                  <a:gd name="connsiteY3" fmla="*/ 16073 h 162187"/>
                  <a:gd name="connsiteX4" fmla="*/ 258104 w 264699"/>
                  <a:gd name="connsiteY4" fmla="*/ 161284 h 162187"/>
                  <a:gd name="connsiteX5" fmla="*/ 264699 w 264699"/>
                  <a:gd name="connsiteY5" fmla="*/ 157547 h 162187"/>
                  <a:gd name="connsiteX6" fmla="*/ 258104 w 264699"/>
                  <a:gd name="connsiteY6" fmla="*/ 146114 h 16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187">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547"/>
                    </a:cubicBezTo>
                    <a:cubicBezTo>
                      <a:pt x="264699" y="153369"/>
                      <a:pt x="261731" y="148203"/>
                      <a:pt x="258104" y="146114"/>
                    </a:cubicBezTo>
                  </a:path>
                </a:pathLst>
              </a:custGeom>
              <a:solidFill>
                <a:srgbClr val="CDCED1"/>
              </a:solidFill>
              <a:ln w="10990" cap="flat">
                <a:noFill/>
                <a:prstDash val="solid"/>
                <a:miter/>
              </a:ln>
            </p:spPr>
            <p:txBody>
              <a:bodyPr rtlCol="0" anchor="ctr"/>
              <a:lstStyle/>
              <a:p>
                <a:endParaRPr lang="en-IN"/>
              </a:p>
            </p:txBody>
          </p:sp>
          <p:sp>
            <p:nvSpPr>
              <p:cNvPr id="39" name="Freeform: Shape 38">
                <a:extLst>
                  <a:ext uri="{FF2B5EF4-FFF2-40B4-BE49-F238E27FC236}">
                    <a16:creationId xmlns:a16="http://schemas.microsoft.com/office/drawing/2014/main" id="{FBAD5705-5E0F-484C-B825-7C2B6C89EA13}"/>
                  </a:ext>
                </a:extLst>
              </p:cNvPr>
              <p:cNvSpPr/>
              <p:nvPr/>
            </p:nvSpPr>
            <p:spPr>
              <a:xfrm>
                <a:off x="1862245" y="3134138"/>
                <a:ext cx="264699" cy="162297"/>
              </a:xfrm>
              <a:custGeom>
                <a:avLst/>
                <a:gdLst>
                  <a:gd name="connsiteX0" fmla="*/ 258104 w 264699"/>
                  <a:gd name="connsiteY0" fmla="*/ 146114 h 162297"/>
                  <a:gd name="connsiteX1" fmla="*/ 6595 w 264699"/>
                  <a:gd name="connsiteY1" fmla="*/ 904 h 162297"/>
                  <a:gd name="connsiteX2" fmla="*/ 0 w 264699"/>
                  <a:gd name="connsiteY2" fmla="*/ 4641 h 162297"/>
                  <a:gd name="connsiteX3" fmla="*/ 6595 w 264699"/>
                  <a:gd name="connsiteY3" fmla="*/ 16073 h 162297"/>
                  <a:gd name="connsiteX4" fmla="*/ 258104 w 264699"/>
                  <a:gd name="connsiteY4" fmla="*/ 161394 h 162297"/>
                  <a:gd name="connsiteX5" fmla="*/ 264699 w 264699"/>
                  <a:gd name="connsiteY5" fmla="*/ 157657 h 162297"/>
                  <a:gd name="connsiteX6" fmla="*/ 258104 w 264699"/>
                  <a:gd name="connsiteY6" fmla="*/ 146114 h 16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297">
                    <a:moveTo>
                      <a:pt x="258104" y="146114"/>
                    </a:moveTo>
                    <a:lnTo>
                      <a:pt x="6595" y="904"/>
                    </a:lnTo>
                    <a:cubicBezTo>
                      <a:pt x="2968" y="-1185"/>
                      <a:pt x="0" y="464"/>
                      <a:pt x="0" y="4641"/>
                    </a:cubicBezTo>
                    <a:cubicBezTo>
                      <a:pt x="0" y="8818"/>
                      <a:pt x="2968" y="13985"/>
                      <a:pt x="6595" y="16073"/>
                    </a:cubicBezTo>
                    <a:lnTo>
                      <a:pt x="258104" y="161394"/>
                    </a:lnTo>
                    <a:cubicBezTo>
                      <a:pt x="261731" y="163483"/>
                      <a:pt x="264699" y="161834"/>
                      <a:pt x="264699" y="157657"/>
                    </a:cubicBezTo>
                    <a:cubicBezTo>
                      <a:pt x="264699" y="153370"/>
                      <a:pt x="261731" y="148313"/>
                      <a:pt x="258104" y="146114"/>
                    </a:cubicBezTo>
                  </a:path>
                </a:pathLst>
              </a:custGeom>
              <a:solidFill>
                <a:srgbClr val="CDCED1"/>
              </a:solidFill>
              <a:ln w="10990" cap="flat">
                <a:noFill/>
                <a:prstDash val="solid"/>
                <a:miter/>
              </a:ln>
            </p:spPr>
            <p:txBody>
              <a:bodyPr rtlCol="0" anchor="ctr"/>
              <a:lstStyle/>
              <a:p>
                <a:endParaRPr lang="en-IN"/>
              </a:p>
            </p:txBody>
          </p:sp>
        </p:grpSp>
        <p:grpSp>
          <p:nvGrpSpPr>
            <p:cNvPr id="40" name="Graphic 5">
              <a:extLst>
                <a:ext uri="{FF2B5EF4-FFF2-40B4-BE49-F238E27FC236}">
                  <a16:creationId xmlns:a16="http://schemas.microsoft.com/office/drawing/2014/main" id="{0D72B476-85A1-4A6D-8BBD-4F407666F094}"/>
                </a:ext>
              </a:extLst>
            </p:cNvPr>
            <p:cNvGrpSpPr/>
            <p:nvPr/>
          </p:nvGrpSpPr>
          <p:grpSpPr>
            <a:xfrm>
              <a:off x="1828801" y="2902665"/>
              <a:ext cx="319911" cy="484598"/>
              <a:chOff x="1828801" y="2902665"/>
              <a:chExt cx="319911" cy="484598"/>
            </a:xfrm>
            <a:solidFill>
              <a:schemeClr val="accent1"/>
            </a:solidFill>
          </p:grpSpPr>
          <p:sp>
            <p:nvSpPr>
              <p:cNvPr id="41" name="Freeform: Shape 40">
                <a:extLst>
                  <a:ext uri="{FF2B5EF4-FFF2-40B4-BE49-F238E27FC236}">
                    <a16:creationId xmlns:a16="http://schemas.microsoft.com/office/drawing/2014/main" id="{5683F468-6508-4003-A41C-478E2BE9AC1E}"/>
                  </a:ext>
                </a:extLst>
              </p:cNvPr>
              <p:cNvSpPr/>
              <p:nvPr/>
            </p:nvSpPr>
            <p:spPr>
              <a:xfrm>
                <a:off x="1842289" y="2925635"/>
                <a:ext cx="157910" cy="213356"/>
              </a:xfrm>
              <a:custGeom>
                <a:avLst/>
                <a:gdLst>
                  <a:gd name="connsiteX0" fmla="*/ 23253 w 157910"/>
                  <a:gd name="connsiteY0" fmla="*/ 13960 h 213356"/>
                  <a:gd name="connsiteX1" fmla="*/ 47217 w 157910"/>
                  <a:gd name="connsiteY1" fmla="*/ 0 h 213356"/>
                  <a:gd name="connsiteX2" fmla="*/ 26990 w 157910"/>
                  <a:gd name="connsiteY2" fmla="*/ 28141 h 213356"/>
                  <a:gd name="connsiteX3" fmla="*/ 45458 w 157910"/>
                  <a:gd name="connsiteY3" fmla="*/ 126304 h 213356"/>
                  <a:gd name="connsiteX4" fmla="*/ 103278 w 157910"/>
                  <a:gd name="connsiteY4" fmla="*/ 188521 h 213356"/>
                  <a:gd name="connsiteX5" fmla="*/ 134497 w 157910"/>
                  <a:gd name="connsiteY5" fmla="*/ 199184 h 213356"/>
                  <a:gd name="connsiteX6" fmla="*/ 157911 w 157910"/>
                  <a:gd name="connsiteY6" fmla="*/ 195117 h 213356"/>
                  <a:gd name="connsiteX7" fmla="*/ 133947 w 157910"/>
                  <a:gd name="connsiteY7" fmla="*/ 209077 h 213356"/>
                  <a:gd name="connsiteX8" fmla="*/ 110533 w 157910"/>
                  <a:gd name="connsiteY8" fmla="*/ 213144 h 213356"/>
                  <a:gd name="connsiteX9" fmla="*/ 79315 w 157910"/>
                  <a:gd name="connsiteY9" fmla="*/ 202482 h 213356"/>
                  <a:gd name="connsiteX10" fmla="*/ 21494 w 157910"/>
                  <a:gd name="connsiteY10" fmla="*/ 140264 h 213356"/>
                  <a:gd name="connsiteX11" fmla="*/ 3027 w 157910"/>
                  <a:gd name="connsiteY11" fmla="*/ 42101 h 213356"/>
                  <a:gd name="connsiteX12" fmla="*/ 23253 w 157910"/>
                  <a:gd name="connsiteY12" fmla="*/ 13960 h 21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910" h="213356">
                    <a:moveTo>
                      <a:pt x="23253" y="13960"/>
                    </a:moveTo>
                    <a:lnTo>
                      <a:pt x="47217" y="0"/>
                    </a:lnTo>
                    <a:cubicBezTo>
                      <a:pt x="37323" y="5716"/>
                      <a:pt x="30618" y="15609"/>
                      <a:pt x="26990" y="28141"/>
                    </a:cubicBezTo>
                    <a:cubicBezTo>
                      <a:pt x="19735" y="53863"/>
                      <a:pt x="25781" y="90688"/>
                      <a:pt x="45458" y="126304"/>
                    </a:cubicBezTo>
                    <a:cubicBezTo>
                      <a:pt x="61067" y="154444"/>
                      <a:pt x="82173" y="176210"/>
                      <a:pt x="103278" y="188521"/>
                    </a:cubicBezTo>
                    <a:cubicBezTo>
                      <a:pt x="113941" y="194677"/>
                      <a:pt x="124604" y="198414"/>
                      <a:pt x="134497" y="199184"/>
                    </a:cubicBezTo>
                    <a:cubicBezTo>
                      <a:pt x="142961" y="199953"/>
                      <a:pt x="150876" y="198634"/>
                      <a:pt x="157911" y="195117"/>
                    </a:cubicBezTo>
                    <a:lnTo>
                      <a:pt x="133947" y="209077"/>
                    </a:lnTo>
                    <a:cubicBezTo>
                      <a:pt x="126912" y="212595"/>
                      <a:pt x="118997" y="213914"/>
                      <a:pt x="110533" y="213144"/>
                    </a:cubicBezTo>
                    <a:cubicBezTo>
                      <a:pt x="100530" y="212265"/>
                      <a:pt x="89867" y="208527"/>
                      <a:pt x="79315" y="202482"/>
                    </a:cubicBezTo>
                    <a:cubicBezTo>
                      <a:pt x="58209" y="190280"/>
                      <a:pt x="37103" y="168405"/>
                      <a:pt x="21494" y="140264"/>
                    </a:cubicBezTo>
                    <a:cubicBezTo>
                      <a:pt x="1708" y="104648"/>
                      <a:pt x="-4338" y="67824"/>
                      <a:pt x="3027" y="42101"/>
                    </a:cubicBezTo>
                    <a:cubicBezTo>
                      <a:pt x="6654" y="29570"/>
                      <a:pt x="13360" y="19677"/>
                      <a:pt x="23253" y="13960"/>
                    </a:cubicBezTo>
                    <a:close/>
                  </a:path>
                </a:pathLst>
              </a:custGeom>
              <a:solidFill>
                <a:srgbClr val="A80000"/>
              </a:solidFill>
              <a:ln w="10990" cap="flat">
                <a:noFill/>
                <a:prstDash val="solid"/>
                <a:miter/>
              </a:ln>
            </p:spPr>
            <p:txBody>
              <a:bodyPr rtlCol="0" anchor="ctr"/>
              <a:lstStyle/>
              <a:p>
                <a:endParaRPr lang="en-IN"/>
              </a:p>
            </p:txBody>
          </p:sp>
          <p:sp>
            <p:nvSpPr>
              <p:cNvPr id="42" name="Freeform: Shape 41">
                <a:extLst>
                  <a:ext uri="{FF2B5EF4-FFF2-40B4-BE49-F238E27FC236}">
                    <a16:creationId xmlns:a16="http://schemas.microsoft.com/office/drawing/2014/main" id="{876B10A4-13C4-441F-AAD3-725265C33A08}"/>
                  </a:ext>
                </a:extLst>
              </p:cNvPr>
              <p:cNvSpPr/>
              <p:nvPr/>
            </p:nvSpPr>
            <p:spPr>
              <a:xfrm>
                <a:off x="1976347" y="3119653"/>
                <a:ext cx="25942" cy="15059"/>
              </a:xfrm>
              <a:custGeom>
                <a:avLst/>
                <a:gdLst>
                  <a:gd name="connsiteX0" fmla="*/ 25942 w 25942"/>
                  <a:gd name="connsiteY0" fmla="*/ 0 h 15059"/>
                  <a:gd name="connsiteX1" fmla="*/ 1979 w 25942"/>
                  <a:gd name="connsiteY1" fmla="*/ 13960 h 15059"/>
                  <a:gd name="connsiteX2" fmla="*/ 0 w 25942"/>
                  <a:gd name="connsiteY2" fmla="*/ 15060 h 15059"/>
                  <a:gd name="connsiteX3" fmla="*/ 23964 w 25942"/>
                  <a:gd name="connsiteY3" fmla="*/ 1099 h 15059"/>
                  <a:gd name="connsiteX4" fmla="*/ 25942 w 25942"/>
                  <a:gd name="connsiteY4" fmla="*/ 0 h 15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42" h="15059">
                    <a:moveTo>
                      <a:pt x="25942" y="0"/>
                    </a:moveTo>
                    <a:lnTo>
                      <a:pt x="1979" y="13960"/>
                    </a:lnTo>
                    <a:cubicBezTo>
                      <a:pt x="1319" y="14290"/>
                      <a:pt x="660" y="14730"/>
                      <a:pt x="0" y="15060"/>
                    </a:cubicBezTo>
                    <a:lnTo>
                      <a:pt x="23964" y="1099"/>
                    </a:lnTo>
                    <a:cubicBezTo>
                      <a:pt x="24623" y="769"/>
                      <a:pt x="25283" y="330"/>
                      <a:pt x="25942" y="0"/>
                    </a:cubicBezTo>
                    <a:close/>
                  </a:path>
                </a:pathLst>
              </a:custGeom>
              <a:solidFill>
                <a:srgbClr val="E84942"/>
              </a:solidFill>
              <a:ln w="10990" cap="flat">
                <a:noFill/>
                <a:prstDash val="solid"/>
                <a:miter/>
              </a:ln>
            </p:spPr>
            <p:txBody>
              <a:bodyPr rtlCol="0" anchor="ctr"/>
              <a:lstStyle/>
              <a:p>
                <a:endParaRPr lang="en-IN"/>
              </a:p>
            </p:txBody>
          </p:sp>
          <p:sp>
            <p:nvSpPr>
              <p:cNvPr id="43" name="Freeform: Shape 42">
                <a:extLst>
                  <a:ext uri="{FF2B5EF4-FFF2-40B4-BE49-F238E27FC236}">
                    <a16:creationId xmlns:a16="http://schemas.microsoft.com/office/drawing/2014/main" id="{1D85373C-67FD-41B3-AB20-00DE69576F3F}"/>
                  </a:ext>
                </a:extLst>
              </p:cNvPr>
              <p:cNvSpPr/>
              <p:nvPr/>
            </p:nvSpPr>
            <p:spPr>
              <a:xfrm>
                <a:off x="1993055" y="3132734"/>
                <a:ext cx="52544" cy="65515"/>
              </a:xfrm>
              <a:custGeom>
                <a:avLst/>
                <a:gdLst>
                  <a:gd name="connsiteX0" fmla="*/ 0 w 52544"/>
                  <a:gd name="connsiteY0" fmla="*/ 13960 h 65515"/>
                  <a:gd name="connsiteX1" fmla="*/ 23964 w 52544"/>
                  <a:gd name="connsiteY1" fmla="*/ 0 h 65515"/>
                  <a:gd name="connsiteX2" fmla="*/ 52544 w 52544"/>
                  <a:gd name="connsiteY2" fmla="*/ 51665 h 65515"/>
                  <a:gd name="connsiteX3" fmla="*/ 28580 w 52544"/>
                  <a:gd name="connsiteY3" fmla="*/ 65515 h 65515"/>
                </a:gdLst>
                <a:ahLst/>
                <a:cxnLst>
                  <a:cxn ang="0">
                    <a:pos x="connsiteX0" y="connsiteY0"/>
                  </a:cxn>
                  <a:cxn ang="0">
                    <a:pos x="connsiteX1" y="connsiteY1"/>
                  </a:cxn>
                  <a:cxn ang="0">
                    <a:pos x="connsiteX2" y="connsiteY2"/>
                  </a:cxn>
                  <a:cxn ang="0">
                    <a:pos x="connsiteX3" y="connsiteY3"/>
                  </a:cxn>
                </a:cxnLst>
                <a:rect l="l" t="t" r="r" b="b"/>
                <a:pathLst>
                  <a:path w="52544" h="65515">
                    <a:moveTo>
                      <a:pt x="0" y="13960"/>
                    </a:moveTo>
                    <a:lnTo>
                      <a:pt x="23964" y="0"/>
                    </a:lnTo>
                    <a:lnTo>
                      <a:pt x="52544" y="51665"/>
                    </a:lnTo>
                    <a:lnTo>
                      <a:pt x="28580" y="65515"/>
                    </a:lnTo>
                    <a:close/>
                  </a:path>
                </a:pathLst>
              </a:custGeom>
              <a:solidFill>
                <a:srgbClr val="DC3C36"/>
              </a:solidFill>
              <a:ln w="10990" cap="flat">
                <a:noFill/>
                <a:prstDash val="solid"/>
                <a:miter/>
              </a:ln>
            </p:spPr>
            <p:txBody>
              <a:bodyPr rtlCol="0" anchor="ctr"/>
              <a:lstStyle/>
              <a:p>
                <a:endParaRPr lang="en-IN"/>
              </a:p>
            </p:txBody>
          </p:sp>
          <p:sp>
            <p:nvSpPr>
              <p:cNvPr id="44" name="Freeform: Shape 43">
                <a:extLst>
                  <a:ext uri="{FF2B5EF4-FFF2-40B4-BE49-F238E27FC236}">
                    <a16:creationId xmlns:a16="http://schemas.microsoft.com/office/drawing/2014/main" id="{F184C291-71FD-4F39-B135-6B03BA5C9610}"/>
                  </a:ext>
                </a:extLst>
              </p:cNvPr>
              <p:cNvSpPr/>
              <p:nvPr/>
            </p:nvSpPr>
            <p:spPr>
              <a:xfrm>
                <a:off x="2021636" y="3184398"/>
                <a:ext cx="127076" cy="200942"/>
              </a:xfrm>
              <a:custGeom>
                <a:avLst/>
                <a:gdLst>
                  <a:gd name="connsiteX0" fmla="*/ 119268 w 127076"/>
                  <a:gd name="connsiteY0" fmla="*/ 141253 h 200942"/>
                  <a:gd name="connsiteX1" fmla="*/ 55512 w 127076"/>
                  <a:gd name="connsiteY1" fmla="*/ 26272 h 200942"/>
                  <a:gd name="connsiteX2" fmla="*/ 34626 w 127076"/>
                  <a:gd name="connsiteY2" fmla="*/ 3847 h 200942"/>
                  <a:gd name="connsiteX3" fmla="*/ 23964 w 127076"/>
                  <a:gd name="connsiteY3" fmla="*/ 0 h 200942"/>
                  <a:gd name="connsiteX4" fmla="*/ 0 w 127076"/>
                  <a:gd name="connsiteY4" fmla="*/ 13960 h 200942"/>
                  <a:gd name="connsiteX5" fmla="*/ 10663 w 127076"/>
                  <a:gd name="connsiteY5" fmla="*/ 17808 h 200942"/>
                  <a:gd name="connsiteX6" fmla="*/ 31548 w 127076"/>
                  <a:gd name="connsiteY6" fmla="*/ 40232 h 200942"/>
                  <a:gd name="connsiteX7" fmla="*/ 95305 w 127076"/>
                  <a:gd name="connsiteY7" fmla="*/ 155214 h 200942"/>
                  <a:gd name="connsiteX8" fmla="*/ 94755 w 127076"/>
                  <a:gd name="connsiteY8" fmla="*/ 200943 h 200942"/>
                  <a:gd name="connsiteX9" fmla="*/ 118719 w 127076"/>
                  <a:gd name="connsiteY9" fmla="*/ 186982 h 200942"/>
                  <a:gd name="connsiteX10" fmla="*/ 119268 w 127076"/>
                  <a:gd name="connsiteY10" fmla="*/ 141253 h 200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076" h="200942">
                    <a:moveTo>
                      <a:pt x="119268" y="141253"/>
                    </a:moveTo>
                    <a:lnTo>
                      <a:pt x="55512" y="26272"/>
                    </a:lnTo>
                    <a:cubicBezTo>
                      <a:pt x="49906" y="16159"/>
                      <a:pt x="42321" y="8244"/>
                      <a:pt x="34626" y="3847"/>
                    </a:cubicBezTo>
                    <a:cubicBezTo>
                      <a:pt x="30999" y="1759"/>
                      <a:pt x="27371" y="440"/>
                      <a:pt x="23964" y="0"/>
                    </a:cubicBezTo>
                    <a:lnTo>
                      <a:pt x="0" y="13960"/>
                    </a:lnTo>
                    <a:cubicBezTo>
                      <a:pt x="3408" y="14400"/>
                      <a:pt x="7035" y="15719"/>
                      <a:pt x="10663" y="17808"/>
                    </a:cubicBezTo>
                    <a:cubicBezTo>
                      <a:pt x="18357" y="22205"/>
                      <a:pt x="25942" y="30119"/>
                      <a:pt x="31548" y="40232"/>
                    </a:cubicBezTo>
                    <a:lnTo>
                      <a:pt x="95305" y="155214"/>
                    </a:lnTo>
                    <a:cubicBezTo>
                      <a:pt x="105968" y="174341"/>
                      <a:pt x="105638" y="194567"/>
                      <a:pt x="94755" y="200943"/>
                    </a:cubicBezTo>
                    <a:lnTo>
                      <a:pt x="118719" y="186982"/>
                    </a:lnTo>
                    <a:cubicBezTo>
                      <a:pt x="129601" y="180607"/>
                      <a:pt x="129931" y="160380"/>
                      <a:pt x="119268" y="141253"/>
                    </a:cubicBezTo>
                    <a:close/>
                  </a:path>
                </a:pathLst>
              </a:custGeom>
              <a:solidFill>
                <a:srgbClr val="0078D7"/>
              </a:solidFill>
              <a:ln w="10990" cap="flat">
                <a:noFill/>
                <a:prstDash val="solid"/>
                <a:miter/>
              </a:ln>
            </p:spPr>
            <p:txBody>
              <a:bodyPr rtlCol="0" anchor="ctr"/>
              <a:lstStyle/>
              <a:p>
                <a:endParaRPr lang="en-IN"/>
              </a:p>
            </p:txBody>
          </p:sp>
          <p:sp>
            <p:nvSpPr>
              <p:cNvPr id="45" name="Freeform: Shape 44">
                <a:extLst>
                  <a:ext uri="{FF2B5EF4-FFF2-40B4-BE49-F238E27FC236}">
                    <a16:creationId xmlns:a16="http://schemas.microsoft.com/office/drawing/2014/main" id="{46C5ACB1-5844-42B7-8869-D9975CFA63B7}"/>
                  </a:ext>
                </a:extLst>
              </p:cNvPr>
              <p:cNvSpPr/>
              <p:nvPr/>
            </p:nvSpPr>
            <p:spPr>
              <a:xfrm>
                <a:off x="1828801" y="2916625"/>
                <a:ext cx="295945" cy="470637"/>
              </a:xfrm>
              <a:custGeom>
                <a:avLst/>
                <a:gdLst>
                  <a:gd name="connsiteX0" fmla="*/ 288140 w 295945"/>
                  <a:gd name="connsiteY0" fmla="*/ 422877 h 470637"/>
                  <a:gd name="connsiteX1" fmla="*/ 286821 w 295945"/>
                  <a:gd name="connsiteY1" fmla="*/ 469046 h 470637"/>
                  <a:gd name="connsiteX2" fmla="*/ 267034 w 295945"/>
                  <a:gd name="connsiteY2" fmla="*/ 466627 h 470637"/>
                  <a:gd name="connsiteX3" fmla="*/ 246149 w 295945"/>
                  <a:gd name="connsiteY3" fmla="*/ 444093 h 470637"/>
                  <a:gd name="connsiteX4" fmla="*/ 182282 w 295945"/>
                  <a:gd name="connsiteY4" fmla="*/ 329111 h 470637"/>
                  <a:gd name="connsiteX5" fmla="*/ 177226 w 295945"/>
                  <a:gd name="connsiteY5" fmla="*/ 289538 h 470637"/>
                  <a:gd name="connsiteX6" fmla="*/ 148645 w 295945"/>
                  <a:gd name="connsiteY6" fmla="*/ 237984 h 470637"/>
                  <a:gd name="connsiteX7" fmla="*/ 124132 w 295945"/>
                  <a:gd name="connsiteY7" fmla="*/ 238863 h 470637"/>
                  <a:gd name="connsiteX8" fmla="*/ 92803 w 295945"/>
                  <a:gd name="connsiteY8" fmla="*/ 226991 h 470637"/>
                  <a:gd name="connsiteX9" fmla="*/ 25200 w 295945"/>
                  <a:gd name="connsiteY9" fmla="*/ 154331 h 470637"/>
                  <a:gd name="connsiteX10" fmla="*/ 2555 w 295945"/>
                  <a:gd name="connsiteY10" fmla="*/ 42977 h 470637"/>
                  <a:gd name="connsiteX11" fmla="*/ 29487 w 295945"/>
                  <a:gd name="connsiteY11" fmla="*/ 5053 h 470637"/>
                  <a:gd name="connsiteX12" fmla="*/ 93573 w 295945"/>
                  <a:gd name="connsiteY12" fmla="*/ 12748 h 470637"/>
                  <a:gd name="connsiteX13" fmla="*/ 161287 w 295945"/>
                  <a:gd name="connsiteY13" fmla="*/ 85518 h 470637"/>
                  <a:gd name="connsiteX14" fmla="*/ 164365 w 295945"/>
                  <a:gd name="connsiteY14" fmla="*/ 229959 h 470637"/>
                  <a:gd name="connsiteX15" fmla="*/ 192945 w 295945"/>
                  <a:gd name="connsiteY15" fmla="*/ 281514 h 470637"/>
                  <a:gd name="connsiteX16" fmla="*/ 203608 w 295945"/>
                  <a:gd name="connsiteY16" fmla="*/ 285361 h 470637"/>
                  <a:gd name="connsiteX17" fmla="*/ 224493 w 295945"/>
                  <a:gd name="connsiteY17" fmla="*/ 307786 h 470637"/>
                  <a:gd name="connsiteX18" fmla="*/ 288140 w 295945"/>
                  <a:gd name="connsiteY18" fmla="*/ 422877 h 470637"/>
                  <a:gd name="connsiteX19" fmla="*/ 147546 w 295945"/>
                  <a:gd name="connsiteY19" fmla="*/ 217977 h 470637"/>
                  <a:gd name="connsiteX20" fmla="*/ 151174 w 295945"/>
                  <a:gd name="connsiteY20" fmla="*/ 90574 h 470637"/>
                  <a:gd name="connsiteX21" fmla="*/ 93353 w 295945"/>
                  <a:gd name="connsiteY21" fmla="*/ 28467 h 470637"/>
                  <a:gd name="connsiteX22" fmla="*/ 38720 w 295945"/>
                  <a:gd name="connsiteY22" fmla="*/ 21871 h 470637"/>
                  <a:gd name="connsiteX23" fmla="*/ 16516 w 295945"/>
                  <a:gd name="connsiteY23" fmla="*/ 51111 h 470637"/>
                  <a:gd name="connsiteX24" fmla="*/ 34983 w 295945"/>
                  <a:gd name="connsiteY24" fmla="*/ 149274 h 470637"/>
                  <a:gd name="connsiteX25" fmla="*/ 92803 w 295945"/>
                  <a:gd name="connsiteY25" fmla="*/ 211492 h 470637"/>
                  <a:gd name="connsiteX26" fmla="*/ 124022 w 295945"/>
                  <a:gd name="connsiteY26" fmla="*/ 222154 h 470637"/>
                  <a:gd name="connsiteX27" fmla="*/ 147546 w 295945"/>
                  <a:gd name="connsiteY27" fmla="*/ 217977 h 4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5945" h="470637">
                    <a:moveTo>
                      <a:pt x="288140" y="422877"/>
                    </a:moveTo>
                    <a:cubicBezTo>
                      <a:pt x="299023" y="442444"/>
                      <a:pt x="298473" y="463110"/>
                      <a:pt x="286821" y="469046"/>
                    </a:cubicBezTo>
                    <a:cubicBezTo>
                      <a:pt x="281215" y="471904"/>
                      <a:pt x="274070" y="470805"/>
                      <a:pt x="267034" y="466627"/>
                    </a:cubicBezTo>
                    <a:cubicBezTo>
                      <a:pt x="259340" y="462230"/>
                      <a:pt x="251755" y="454316"/>
                      <a:pt x="246149" y="444093"/>
                    </a:cubicBezTo>
                    <a:lnTo>
                      <a:pt x="182282" y="329111"/>
                    </a:lnTo>
                    <a:cubicBezTo>
                      <a:pt x="174038" y="314162"/>
                      <a:pt x="172389" y="298662"/>
                      <a:pt x="177226" y="289538"/>
                    </a:cubicBezTo>
                    <a:lnTo>
                      <a:pt x="148645" y="237984"/>
                    </a:lnTo>
                    <a:cubicBezTo>
                      <a:pt x="141060" y="240182"/>
                      <a:pt x="132706" y="240292"/>
                      <a:pt x="124132" y="238863"/>
                    </a:cubicBezTo>
                    <a:cubicBezTo>
                      <a:pt x="114019" y="237214"/>
                      <a:pt x="103356" y="233147"/>
                      <a:pt x="92803" y="226991"/>
                    </a:cubicBezTo>
                    <a:cubicBezTo>
                      <a:pt x="68070" y="212701"/>
                      <a:pt x="43447" y="187198"/>
                      <a:pt x="25200" y="154331"/>
                    </a:cubicBezTo>
                    <a:cubicBezTo>
                      <a:pt x="2995" y="114208"/>
                      <a:pt x="-4480" y="72877"/>
                      <a:pt x="2555" y="42977"/>
                    </a:cubicBezTo>
                    <a:cubicBezTo>
                      <a:pt x="6622" y="25609"/>
                      <a:pt x="15636" y="12088"/>
                      <a:pt x="29487" y="5053"/>
                    </a:cubicBezTo>
                    <a:cubicBezTo>
                      <a:pt x="47514" y="-4071"/>
                      <a:pt x="70599" y="-443"/>
                      <a:pt x="93573" y="12748"/>
                    </a:cubicBezTo>
                    <a:cubicBezTo>
                      <a:pt x="118306" y="27038"/>
                      <a:pt x="143039" y="52650"/>
                      <a:pt x="161287" y="85518"/>
                    </a:cubicBezTo>
                    <a:cubicBezTo>
                      <a:pt x="194044" y="144548"/>
                      <a:pt x="194594" y="206325"/>
                      <a:pt x="164365" y="229959"/>
                    </a:cubicBezTo>
                    <a:lnTo>
                      <a:pt x="192945" y="281514"/>
                    </a:lnTo>
                    <a:cubicBezTo>
                      <a:pt x="196353" y="281954"/>
                      <a:pt x="199980" y="283273"/>
                      <a:pt x="203608" y="285361"/>
                    </a:cubicBezTo>
                    <a:cubicBezTo>
                      <a:pt x="211302" y="289758"/>
                      <a:pt x="218887" y="297673"/>
                      <a:pt x="224493" y="307786"/>
                    </a:cubicBezTo>
                    <a:lnTo>
                      <a:pt x="288140" y="422877"/>
                    </a:lnTo>
                    <a:close/>
                    <a:moveTo>
                      <a:pt x="147546" y="217977"/>
                    </a:moveTo>
                    <a:cubicBezTo>
                      <a:pt x="179644" y="201818"/>
                      <a:pt x="181293" y="144767"/>
                      <a:pt x="151174" y="90574"/>
                    </a:cubicBezTo>
                    <a:cubicBezTo>
                      <a:pt x="135564" y="62434"/>
                      <a:pt x="114459" y="40669"/>
                      <a:pt x="93353" y="28467"/>
                    </a:cubicBezTo>
                    <a:cubicBezTo>
                      <a:pt x="73786" y="17145"/>
                      <a:pt x="54110" y="14067"/>
                      <a:pt x="38720" y="21871"/>
                    </a:cubicBezTo>
                    <a:cubicBezTo>
                      <a:pt x="27728" y="27368"/>
                      <a:pt x="20363" y="37701"/>
                      <a:pt x="16516" y="51111"/>
                    </a:cubicBezTo>
                    <a:cubicBezTo>
                      <a:pt x="9261" y="76834"/>
                      <a:pt x="15306" y="113659"/>
                      <a:pt x="34983" y="149274"/>
                    </a:cubicBezTo>
                    <a:cubicBezTo>
                      <a:pt x="50592" y="177415"/>
                      <a:pt x="71698" y="199180"/>
                      <a:pt x="92803" y="211492"/>
                    </a:cubicBezTo>
                    <a:cubicBezTo>
                      <a:pt x="103466" y="217648"/>
                      <a:pt x="114129" y="221385"/>
                      <a:pt x="124022" y="222154"/>
                    </a:cubicBezTo>
                    <a:cubicBezTo>
                      <a:pt x="132596" y="222814"/>
                      <a:pt x="140511" y="221605"/>
                      <a:pt x="147546" y="217977"/>
                    </a:cubicBezTo>
                  </a:path>
                </a:pathLst>
              </a:custGeom>
              <a:solidFill>
                <a:srgbClr val="E81123"/>
              </a:solidFill>
              <a:ln w="10990" cap="flat">
                <a:noFill/>
                <a:prstDash val="solid"/>
                <a:miter/>
              </a:ln>
            </p:spPr>
            <p:txBody>
              <a:bodyPr rtlCol="0" anchor="ctr"/>
              <a:lstStyle/>
              <a:p>
                <a:endParaRPr lang="en-IN"/>
              </a:p>
            </p:txBody>
          </p:sp>
          <p:sp>
            <p:nvSpPr>
              <p:cNvPr id="46" name="Freeform: Shape 45">
                <a:extLst>
                  <a:ext uri="{FF2B5EF4-FFF2-40B4-BE49-F238E27FC236}">
                    <a16:creationId xmlns:a16="http://schemas.microsoft.com/office/drawing/2014/main" id="{946612DB-C803-46B8-97DC-D3E86998FAC0}"/>
                  </a:ext>
                </a:extLst>
              </p:cNvPr>
              <p:cNvSpPr/>
              <p:nvPr/>
            </p:nvSpPr>
            <p:spPr>
              <a:xfrm>
                <a:off x="2003298" y="3198249"/>
                <a:ext cx="121448" cy="188936"/>
              </a:xfrm>
              <a:custGeom>
                <a:avLst/>
                <a:gdLst>
                  <a:gd name="connsiteX0" fmla="*/ 113643 w 121448"/>
                  <a:gd name="connsiteY0" fmla="*/ 141253 h 188936"/>
                  <a:gd name="connsiteX1" fmla="*/ 49886 w 121448"/>
                  <a:gd name="connsiteY1" fmla="*/ 26272 h 188936"/>
                  <a:gd name="connsiteX2" fmla="*/ 29000 w 121448"/>
                  <a:gd name="connsiteY2" fmla="*/ 3847 h 188936"/>
                  <a:gd name="connsiteX3" fmla="*/ 18338 w 121448"/>
                  <a:gd name="connsiteY3" fmla="*/ 0 h 188936"/>
                  <a:gd name="connsiteX4" fmla="*/ 2728 w 121448"/>
                  <a:gd name="connsiteY4" fmla="*/ 7915 h 188936"/>
                  <a:gd name="connsiteX5" fmla="*/ 7785 w 121448"/>
                  <a:gd name="connsiteY5" fmla="*/ 47488 h 188936"/>
                  <a:gd name="connsiteX6" fmla="*/ 71651 w 121448"/>
                  <a:gd name="connsiteY6" fmla="*/ 162469 h 188936"/>
                  <a:gd name="connsiteX7" fmla="*/ 92537 w 121448"/>
                  <a:gd name="connsiteY7" fmla="*/ 185004 h 188936"/>
                  <a:gd name="connsiteX8" fmla="*/ 112323 w 121448"/>
                  <a:gd name="connsiteY8" fmla="*/ 187422 h 188936"/>
                  <a:gd name="connsiteX9" fmla="*/ 113643 w 121448"/>
                  <a:gd name="connsiteY9" fmla="*/ 141253 h 188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448" h="188936">
                    <a:moveTo>
                      <a:pt x="113643" y="141253"/>
                    </a:moveTo>
                    <a:lnTo>
                      <a:pt x="49886" y="26272"/>
                    </a:lnTo>
                    <a:cubicBezTo>
                      <a:pt x="44280" y="16159"/>
                      <a:pt x="36695" y="8244"/>
                      <a:pt x="29000" y="3847"/>
                    </a:cubicBezTo>
                    <a:cubicBezTo>
                      <a:pt x="25373" y="1759"/>
                      <a:pt x="21745" y="440"/>
                      <a:pt x="18338" y="0"/>
                    </a:cubicBezTo>
                    <a:lnTo>
                      <a:pt x="2728" y="7915"/>
                    </a:lnTo>
                    <a:cubicBezTo>
                      <a:pt x="-2108" y="17038"/>
                      <a:pt x="-569" y="32538"/>
                      <a:pt x="7785" y="47488"/>
                    </a:cubicBezTo>
                    <a:lnTo>
                      <a:pt x="71651" y="162469"/>
                    </a:lnTo>
                    <a:cubicBezTo>
                      <a:pt x="77257" y="172692"/>
                      <a:pt x="84952" y="180607"/>
                      <a:pt x="92537" y="185004"/>
                    </a:cubicBezTo>
                    <a:cubicBezTo>
                      <a:pt x="99682" y="189071"/>
                      <a:pt x="106717" y="190170"/>
                      <a:pt x="112323" y="187422"/>
                    </a:cubicBezTo>
                    <a:cubicBezTo>
                      <a:pt x="123976" y="181596"/>
                      <a:pt x="124525" y="160930"/>
                      <a:pt x="113643" y="141253"/>
                    </a:cubicBezTo>
                    <a:close/>
                  </a:path>
                </a:pathLst>
              </a:custGeom>
              <a:solidFill>
                <a:srgbClr val="001890"/>
              </a:solidFill>
              <a:ln w="10990" cap="flat">
                <a:noFill/>
                <a:prstDash val="solid"/>
                <a:miter/>
              </a:ln>
            </p:spPr>
            <p:txBody>
              <a:bodyPr rtlCol="0" anchor="ctr"/>
              <a:lstStyle/>
              <a:p>
                <a:endParaRPr lang="en-IN"/>
              </a:p>
            </p:txBody>
          </p:sp>
          <p:sp>
            <p:nvSpPr>
              <p:cNvPr id="47" name="Freeform: Shape 46">
                <a:extLst>
                  <a:ext uri="{FF2B5EF4-FFF2-40B4-BE49-F238E27FC236}">
                    <a16:creationId xmlns:a16="http://schemas.microsoft.com/office/drawing/2014/main" id="{6E6C6010-EE4C-4001-86E0-5CD82BE830B8}"/>
                  </a:ext>
                </a:extLst>
              </p:cNvPr>
              <p:cNvSpPr/>
              <p:nvPr/>
            </p:nvSpPr>
            <p:spPr>
              <a:xfrm>
                <a:off x="1855869" y="2902665"/>
                <a:ext cx="183250" cy="243919"/>
              </a:xfrm>
              <a:custGeom>
                <a:avLst/>
                <a:gdLst>
                  <a:gd name="connsiteX0" fmla="*/ 0 w 183250"/>
                  <a:gd name="connsiteY0" fmla="*/ 20332 h 243919"/>
                  <a:gd name="connsiteX1" fmla="*/ 23964 w 183250"/>
                  <a:gd name="connsiteY1" fmla="*/ 6372 h 243919"/>
                  <a:gd name="connsiteX2" fmla="*/ 26272 w 183250"/>
                  <a:gd name="connsiteY2" fmla="*/ 5053 h 243919"/>
                  <a:gd name="connsiteX3" fmla="*/ 90358 w 183250"/>
                  <a:gd name="connsiteY3" fmla="*/ 12748 h 243919"/>
                  <a:gd name="connsiteX4" fmla="*/ 158072 w 183250"/>
                  <a:gd name="connsiteY4" fmla="*/ 85518 h 243919"/>
                  <a:gd name="connsiteX5" fmla="*/ 161150 w 183250"/>
                  <a:gd name="connsiteY5" fmla="*/ 229959 h 243919"/>
                  <a:gd name="connsiteX6" fmla="*/ 137186 w 183250"/>
                  <a:gd name="connsiteY6" fmla="*/ 243920 h 243919"/>
                  <a:gd name="connsiteX7" fmla="*/ 134108 w 183250"/>
                  <a:gd name="connsiteY7" fmla="*/ 99478 h 243919"/>
                  <a:gd name="connsiteX8" fmla="*/ 66395 w 183250"/>
                  <a:gd name="connsiteY8" fmla="*/ 26708 h 243919"/>
                  <a:gd name="connsiteX9" fmla="*/ 2308 w 183250"/>
                  <a:gd name="connsiteY9" fmla="*/ 19013 h 243919"/>
                  <a:gd name="connsiteX10" fmla="*/ 0 w 183250"/>
                  <a:gd name="connsiteY10" fmla="*/ 20332 h 24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3250" h="243919">
                    <a:moveTo>
                      <a:pt x="0" y="20332"/>
                    </a:moveTo>
                    <a:lnTo>
                      <a:pt x="23964" y="6372"/>
                    </a:lnTo>
                    <a:cubicBezTo>
                      <a:pt x="24733" y="5932"/>
                      <a:pt x="25503" y="5493"/>
                      <a:pt x="26272" y="5053"/>
                    </a:cubicBezTo>
                    <a:cubicBezTo>
                      <a:pt x="44300" y="-4071"/>
                      <a:pt x="67384" y="-443"/>
                      <a:pt x="90358" y="12748"/>
                    </a:cubicBezTo>
                    <a:cubicBezTo>
                      <a:pt x="115091" y="27038"/>
                      <a:pt x="139824" y="52650"/>
                      <a:pt x="158072" y="85518"/>
                    </a:cubicBezTo>
                    <a:cubicBezTo>
                      <a:pt x="190830" y="144548"/>
                      <a:pt x="191379" y="206325"/>
                      <a:pt x="161150" y="229959"/>
                    </a:cubicBezTo>
                    <a:lnTo>
                      <a:pt x="137186" y="243920"/>
                    </a:lnTo>
                    <a:cubicBezTo>
                      <a:pt x="167416" y="220286"/>
                      <a:pt x="166866" y="158398"/>
                      <a:pt x="134108" y="99478"/>
                    </a:cubicBezTo>
                    <a:cubicBezTo>
                      <a:pt x="115861" y="66501"/>
                      <a:pt x="91128" y="40998"/>
                      <a:pt x="66395" y="26708"/>
                    </a:cubicBezTo>
                    <a:cubicBezTo>
                      <a:pt x="43420" y="13407"/>
                      <a:pt x="20446" y="9890"/>
                      <a:pt x="2308" y="19013"/>
                    </a:cubicBezTo>
                    <a:cubicBezTo>
                      <a:pt x="1539" y="19453"/>
                      <a:pt x="769" y="19893"/>
                      <a:pt x="0" y="20332"/>
                    </a:cubicBezTo>
                    <a:close/>
                  </a:path>
                </a:pathLst>
              </a:custGeom>
              <a:solidFill>
                <a:srgbClr val="A80000"/>
              </a:solidFill>
              <a:ln w="10990" cap="flat">
                <a:noFill/>
                <a:prstDash val="solid"/>
                <a:miter/>
              </a:ln>
            </p:spPr>
            <p:txBody>
              <a:bodyPr rtlCol="0" anchor="ctr"/>
              <a:lstStyle/>
              <a:p>
                <a:endParaRPr lang="en-IN"/>
              </a:p>
            </p:txBody>
          </p:sp>
        </p:grpSp>
      </p:grpSp>
      <p:pic>
        <p:nvPicPr>
          <p:cNvPr id="48" name="Graphic 47">
            <a:extLst>
              <a:ext uri="{FF2B5EF4-FFF2-40B4-BE49-F238E27FC236}">
                <a16:creationId xmlns:a16="http://schemas.microsoft.com/office/drawing/2014/main" id="{57EE8C5E-9D57-4BDF-B32C-4D6E74FCD8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19376" y="3911599"/>
            <a:ext cx="525462" cy="537139"/>
          </a:xfrm>
          <a:prstGeom prst="rect">
            <a:avLst/>
          </a:prstGeom>
        </p:spPr>
      </p:pic>
      <p:pic>
        <p:nvPicPr>
          <p:cNvPr id="49" name="Graphic 48">
            <a:extLst>
              <a:ext uri="{FF2B5EF4-FFF2-40B4-BE49-F238E27FC236}">
                <a16:creationId xmlns:a16="http://schemas.microsoft.com/office/drawing/2014/main" id="{936F87F9-AD7A-45F0-AD6C-EE84E092FDF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89350" y="2881435"/>
            <a:ext cx="490537" cy="666627"/>
          </a:xfrm>
          <a:prstGeom prst="rect">
            <a:avLst/>
          </a:prstGeom>
        </p:spPr>
      </p:pic>
      <p:pic>
        <p:nvPicPr>
          <p:cNvPr id="50" name="Graphic 49">
            <a:extLst>
              <a:ext uri="{FF2B5EF4-FFF2-40B4-BE49-F238E27FC236}">
                <a16:creationId xmlns:a16="http://schemas.microsoft.com/office/drawing/2014/main" id="{9B679793-620E-45AB-A14F-F068B9CD60E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68849" y="3863974"/>
            <a:ext cx="546327" cy="695325"/>
          </a:xfrm>
          <a:prstGeom prst="rect">
            <a:avLst/>
          </a:prstGeom>
        </p:spPr>
      </p:pic>
      <p:grpSp>
        <p:nvGrpSpPr>
          <p:cNvPr id="4097" name="Graphic 4095">
            <a:extLst>
              <a:ext uri="{FF2B5EF4-FFF2-40B4-BE49-F238E27FC236}">
                <a16:creationId xmlns:a16="http://schemas.microsoft.com/office/drawing/2014/main" id="{81321DA2-88AD-4102-A36E-0A06F1BE9958}"/>
              </a:ext>
            </a:extLst>
          </p:cNvPr>
          <p:cNvGrpSpPr/>
          <p:nvPr/>
        </p:nvGrpSpPr>
        <p:grpSpPr>
          <a:xfrm>
            <a:off x="5834557" y="3136901"/>
            <a:ext cx="517327" cy="495270"/>
            <a:chOff x="5820270" y="3191011"/>
            <a:chExt cx="455003" cy="435603"/>
          </a:xfrm>
          <a:solidFill>
            <a:schemeClr val="accent1"/>
          </a:solidFill>
        </p:grpSpPr>
        <p:grpSp>
          <p:nvGrpSpPr>
            <p:cNvPr id="4099" name="Graphic 4095">
              <a:extLst>
                <a:ext uri="{FF2B5EF4-FFF2-40B4-BE49-F238E27FC236}">
                  <a16:creationId xmlns:a16="http://schemas.microsoft.com/office/drawing/2014/main" id="{81321DA2-88AD-4102-A36E-0A06F1BE9958}"/>
                </a:ext>
              </a:extLst>
            </p:cNvPr>
            <p:cNvGrpSpPr/>
            <p:nvPr/>
          </p:nvGrpSpPr>
          <p:grpSpPr>
            <a:xfrm>
              <a:off x="5820270" y="3191011"/>
              <a:ext cx="383231" cy="435603"/>
              <a:chOff x="5820270" y="3191011"/>
              <a:chExt cx="383231" cy="435603"/>
            </a:xfrm>
            <a:solidFill>
              <a:schemeClr val="accent1"/>
            </a:solidFill>
          </p:grpSpPr>
          <p:sp>
            <p:nvSpPr>
              <p:cNvPr id="4101" name="Freeform: Shape 4100">
                <a:extLst>
                  <a:ext uri="{FF2B5EF4-FFF2-40B4-BE49-F238E27FC236}">
                    <a16:creationId xmlns:a16="http://schemas.microsoft.com/office/drawing/2014/main" id="{5A72244B-36B7-49F4-BCB3-48E7EE803A79}"/>
                  </a:ext>
                </a:extLst>
              </p:cNvPr>
              <p:cNvSpPr/>
              <p:nvPr/>
            </p:nvSpPr>
            <p:spPr>
              <a:xfrm>
                <a:off x="5820270" y="3191107"/>
                <a:ext cx="339746" cy="382419"/>
              </a:xfrm>
              <a:custGeom>
                <a:avLst/>
                <a:gdLst>
                  <a:gd name="connsiteX0" fmla="*/ 2090 w 339746"/>
                  <a:gd name="connsiteY0" fmla="*/ 381822 h 382419"/>
                  <a:gd name="connsiteX1" fmla="*/ 90 w 339746"/>
                  <a:gd name="connsiteY1" fmla="*/ 376964 h 382419"/>
                  <a:gd name="connsiteX2" fmla="*/ 47334 w 339746"/>
                  <a:gd name="connsiteY2" fmla="*/ 167891 h 382419"/>
                  <a:gd name="connsiteX3" fmla="*/ 50954 w 339746"/>
                  <a:gd name="connsiteY3" fmla="*/ 162938 h 382419"/>
                  <a:gd name="connsiteX4" fmla="*/ 332036 w 339746"/>
                  <a:gd name="connsiteY4" fmla="*/ 727 h 382419"/>
                  <a:gd name="connsiteX5" fmla="*/ 337656 w 339746"/>
                  <a:gd name="connsiteY5" fmla="*/ 632 h 382419"/>
                  <a:gd name="connsiteX6" fmla="*/ 339656 w 339746"/>
                  <a:gd name="connsiteY6" fmla="*/ 5489 h 382419"/>
                  <a:gd name="connsiteX7" fmla="*/ 292412 w 339746"/>
                  <a:gd name="connsiteY7" fmla="*/ 214563 h 382419"/>
                  <a:gd name="connsiteX8" fmla="*/ 288793 w 339746"/>
                  <a:gd name="connsiteY8" fmla="*/ 219516 h 382419"/>
                  <a:gd name="connsiteX9" fmla="*/ 7615 w 339746"/>
                  <a:gd name="connsiteY9" fmla="*/ 381727 h 382419"/>
                  <a:gd name="connsiteX10" fmla="*/ 2090 w 339746"/>
                  <a:gd name="connsiteY10" fmla="*/ 381822 h 38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9746" h="382419">
                    <a:moveTo>
                      <a:pt x="2090" y="381822"/>
                    </a:moveTo>
                    <a:cubicBezTo>
                      <a:pt x="566" y="380965"/>
                      <a:pt x="-291" y="378774"/>
                      <a:pt x="90" y="376964"/>
                    </a:cubicBezTo>
                    <a:lnTo>
                      <a:pt x="47334" y="167891"/>
                    </a:lnTo>
                    <a:cubicBezTo>
                      <a:pt x="47715" y="166081"/>
                      <a:pt x="49334" y="163890"/>
                      <a:pt x="50954" y="162938"/>
                    </a:cubicBezTo>
                    <a:lnTo>
                      <a:pt x="332036" y="727"/>
                    </a:lnTo>
                    <a:cubicBezTo>
                      <a:pt x="333656" y="-226"/>
                      <a:pt x="336132" y="-226"/>
                      <a:pt x="337656" y="632"/>
                    </a:cubicBezTo>
                    <a:cubicBezTo>
                      <a:pt x="339180" y="1489"/>
                      <a:pt x="340037" y="3680"/>
                      <a:pt x="339656" y="5489"/>
                    </a:cubicBezTo>
                    <a:lnTo>
                      <a:pt x="292412" y="214563"/>
                    </a:lnTo>
                    <a:cubicBezTo>
                      <a:pt x="292031" y="216373"/>
                      <a:pt x="290412" y="218564"/>
                      <a:pt x="288793" y="219516"/>
                    </a:cubicBezTo>
                    <a:lnTo>
                      <a:pt x="7615" y="381727"/>
                    </a:lnTo>
                    <a:cubicBezTo>
                      <a:pt x="6091" y="382584"/>
                      <a:pt x="3519" y="382679"/>
                      <a:pt x="2090" y="381822"/>
                    </a:cubicBezTo>
                    <a:close/>
                  </a:path>
                </a:pathLst>
              </a:custGeom>
              <a:solidFill>
                <a:srgbClr val="F0F0F0"/>
              </a:solidFill>
              <a:ln w="9525" cap="flat">
                <a:noFill/>
                <a:prstDash val="solid"/>
                <a:miter/>
              </a:ln>
            </p:spPr>
            <p:txBody>
              <a:bodyPr rtlCol="0" anchor="ctr"/>
              <a:lstStyle/>
              <a:p>
                <a:endParaRPr lang="en-IN"/>
              </a:p>
            </p:txBody>
          </p:sp>
          <p:sp>
            <p:nvSpPr>
              <p:cNvPr id="4103" name="Freeform: Shape 4102">
                <a:extLst>
                  <a:ext uri="{FF2B5EF4-FFF2-40B4-BE49-F238E27FC236}">
                    <a16:creationId xmlns:a16="http://schemas.microsoft.com/office/drawing/2014/main" id="{CDC1291E-FB18-48F9-985C-CF1BAE985444}"/>
                  </a:ext>
                </a:extLst>
              </p:cNvPr>
              <p:cNvSpPr/>
              <p:nvPr/>
            </p:nvSpPr>
            <p:spPr>
              <a:xfrm>
                <a:off x="5825705" y="3194511"/>
                <a:ext cx="334304" cy="378693"/>
              </a:xfrm>
              <a:custGeom>
                <a:avLst/>
                <a:gdLst>
                  <a:gd name="connsiteX0" fmla="*/ 47328 w 334304"/>
                  <a:gd name="connsiteY0" fmla="*/ 167630 h 378693"/>
                  <a:gd name="connsiteX1" fmla="*/ 84 w 334304"/>
                  <a:gd name="connsiteY1" fmla="*/ 376703 h 378693"/>
                  <a:gd name="connsiteX2" fmla="*/ 2274 w 334304"/>
                  <a:gd name="connsiteY2" fmla="*/ 378323 h 378693"/>
                  <a:gd name="connsiteX3" fmla="*/ 283357 w 334304"/>
                  <a:gd name="connsiteY3" fmla="*/ 216017 h 378693"/>
                  <a:gd name="connsiteX4" fmla="*/ 286977 w 334304"/>
                  <a:gd name="connsiteY4" fmla="*/ 211064 h 378693"/>
                  <a:gd name="connsiteX5" fmla="*/ 334221 w 334304"/>
                  <a:gd name="connsiteY5" fmla="*/ 1990 h 378693"/>
                  <a:gd name="connsiteX6" fmla="*/ 332030 w 334304"/>
                  <a:gd name="connsiteY6" fmla="*/ 371 h 378693"/>
                  <a:gd name="connsiteX7" fmla="*/ 50947 w 334304"/>
                  <a:gd name="connsiteY7" fmla="*/ 162677 h 378693"/>
                  <a:gd name="connsiteX8" fmla="*/ 47328 w 334304"/>
                  <a:gd name="connsiteY8" fmla="*/ 167630 h 378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4304" h="378693">
                    <a:moveTo>
                      <a:pt x="47328" y="167630"/>
                    </a:moveTo>
                    <a:lnTo>
                      <a:pt x="84" y="376703"/>
                    </a:lnTo>
                    <a:cubicBezTo>
                      <a:pt x="-297" y="378513"/>
                      <a:pt x="655" y="379180"/>
                      <a:pt x="2274" y="378323"/>
                    </a:cubicBezTo>
                    <a:lnTo>
                      <a:pt x="283357" y="216017"/>
                    </a:lnTo>
                    <a:cubicBezTo>
                      <a:pt x="284976" y="215064"/>
                      <a:pt x="286596" y="212873"/>
                      <a:pt x="286977" y="211064"/>
                    </a:cubicBezTo>
                    <a:lnTo>
                      <a:pt x="334221" y="1990"/>
                    </a:lnTo>
                    <a:cubicBezTo>
                      <a:pt x="334602" y="180"/>
                      <a:pt x="333649" y="-487"/>
                      <a:pt x="332030" y="371"/>
                    </a:cubicBezTo>
                    <a:lnTo>
                      <a:pt x="50947" y="162677"/>
                    </a:lnTo>
                    <a:cubicBezTo>
                      <a:pt x="49328" y="163629"/>
                      <a:pt x="47709" y="165820"/>
                      <a:pt x="47328" y="167630"/>
                    </a:cubicBezTo>
                    <a:close/>
                  </a:path>
                </a:pathLst>
              </a:custGeom>
              <a:solidFill>
                <a:schemeClr val="bg1">
                  <a:lumMod val="75000"/>
                </a:schemeClr>
              </a:solidFill>
              <a:ln w="9525" cap="flat">
                <a:noFill/>
                <a:prstDash val="solid"/>
                <a:miter/>
              </a:ln>
            </p:spPr>
            <p:txBody>
              <a:bodyPr rtlCol="0" anchor="ctr"/>
              <a:lstStyle/>
              <a:p>
                <a:endParaRPr lang="en-IN"/>
              </a:p>
            </p:txBody>
          </p:sp>
          <p:sp>
            <p:nvSpPr>
              <p:cNvPr id="4105" name="Freeform: Shape 4104">
                <a:extLst>
                  <a:ext uri="{FF2B5EF4-FFF2-40B4-BE49-F238E27FC236}">
                    <a16:creationId xmlns:a16="http://schemas.microsoft.com/office/drawing/2014/main" id="{56DB9E6B-585D-49EC-9E56-C13928989042}"/>
                  </a:ext>
                </a:extLst>
              </p:cNvPr>
              <p:cNvSpPr/>
              <p:nvPr/>
            </p:nvSpPr>
            <p:spPr>
              <a:xfrm>
                <a:off x="5874224" y="3194155"/>
                <a:ext cx="329277" cy="432459"/>
              </a:xfrm>
              <a:custGeom>
                <a:avLst/>
                <a:gdLst>
                  <a:gd name="connsiteX0" fmla="*/ 289035 w 329277"/>
                  <a:gd name="connsiteY0" fmla="*/ 632 h 432459"/>
                  <a:gd name="connsiteX1" fmla="*/ 283416 w 329277"/>
                  <a:gd name="connsiteY1" fmla="*/ 727 h 432459"/>
                  <a:gd name="connsiteX2" fmla="*/ 2428 w 329277"/>
                  <a:gd name="connsiteY2" fmla="*/ 163033 h 432459"/>
                  <a:gd name="connsiteX3" fmla="*/ 47 w 329277"/>
                  <a:gd name="connsiteY3" fmla="*/ 167986 h 432459"/>
                  <a:gd name="connsiteX4" fmla="*/ 37004 w 329277"/>
                  <a:gd name="connsiteY4" fmla="*/ 426971 h 432459"/>
                  <a:gd name="connsiteX5" fmla="*/ 40147 w 329277"/>
                  <a:gd name="connsiteY5" fmla="*/ 431828 h 432459"/>
                  <a:gd name="connsiteX6" fmla="*/ 45767 w 329277"/>
                  <a:gd name="connsiteY6" fmla="*/ 431733 h 432459"/>
                  <a:gd name="connsiteX7" fmla="*/ 326850 w 329277"/>
                  <a:gd name="connsiteY7" fmla="*/ 269427 h 432459"/>
                  <a:gd name="connsiteX8" fmla="*/ 329231 w 329277"/>
                  <a:gd name="connsiteY8" fmla="*/ 264474 h 432459"/>
                  <a:gd name="connsiteX9" fmla="*/ 292274 w 329277"/>
                  <a:gd name="connsiteY9" fmla="*/ 5489 h 432459"/>
                  <a:gd name="connsiteX10" fmla="*/ 289035 w 329277"/>
                  <a:gd name="connsiteY10" fmla="*/ 632 h 432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9277" h="432459">
                    <a:moveTo>
                      <a:pt x="289035" y="632"/>
                    </a:moveTo>
                    <a:cubicBezTo>
                      <a:pt x="287511" y="-226"/>
                      <a:pt x="285035" y="-226"/>
                      <a:pt x="283416" y="727"/>
                    </a:cubicBezTo>
                    <a:lnTo>
                      <a:pt x="2428" y="163033"/>
                    </a:lnTo>
                    <a:cubicBezTo>
                      <a:pt x="809" y="163985"/>
                      <a:pt x="-239" y="166176"/>
                      <a:pt x="47" y="167986"/>
                    </a:cubicBezTo>
                    <a:lnTo>
                      <a:pt x="37004" y="426971"/>
                    </a:lnTo>
                    <a:cubicBezTo>
                      <a:pt x="37290" y="428780"/>
                      <a:pt x="38718" y="430971"/>
                      <a:pt x="40147" y="431828"/>
                    </a:cubicBezTo>
                    <a:cubicBezTo>
                      <a:pt x="41671" y="432686"/>
                      <a:pt x="44148" y="432686"/>
                      <a:pt x="45767" y="431733"/>
                    </a:cubicBezTo>
                    <a:lnTo>
                      <a:pt x="326850" y="269427"/>
                    </a:lnTo>
                    <a:cubicBezTo>
                      <a:pt x="328469" y="268475"/>
                      <a:pt x="329517" y="266284"/>
                      <a:pt x="329231" y="264474"/>
                    </a:cubicBezTo>
                    <a:lnTo>
                      <a:pt x="292274" y="5489"/>
                    </a:lnTo>
                    <a:cubicBezTo>
                      <a:pt x="291988" y="3680"/>
                      <a:pt x="290559" y="1489"/>
                      <a:pt x="289035" y="632"/>
                    </a:cubicBezTo>
                    <a:close/>
                  </a:path>
                </a:pathLst>
              </a:custGeom>
              <a:solidFill>
                <a:srgbClr val="F0F0F0"/>
              </a:solidFill>
              <a:ln w="9525" cap="flat">
                <a:noFill/>
                <a:prstDash val="solid"/>
                <a:miter/>
              </a:ln>
            </p:spPr>
            <p:txBody>
              <a:bodyPr rtlCol="0" anchor="ctr"/>
              <a:lstStyle/>
              <a:p>
                <a:endParaRPr lang="en-IN"/>
              </a:p>
            </p:txBody>
          </p:sp>
          <p:sp>
            <p:nvSpPr>
              <p:cNvPr id="4107" name="Freeform: Shape 4106">
                <a:extLst>
                  <a:ext uri="{FF2B5EF4-FFF2-40B4-BE49-F238E27FC236}">
                    <a16:creationId xmlns:a16="http://schemas.microsoft.com/office/drawing/2014/main" id="{662F16B4-340F-4E18-863E-82C641C19FF3}"/>
                  </a:ext>
                </a:extLst>
              </p:cNvPr>
              <p:cNvSpPr/>
              <p:nvPr/>
            </p:nvSpPr>
            <p:spPr>
              <a:xfrm>
                <a:off x="5879583" y="3197612"/>
                <a:ext cx="323823" cy="428687"/>
              </a:xfrm>
              <a:custGeom>
                <a:avLst/>
                <a:gdLst>
                  <a:gd name="connsiteX0" fmla="*/ 22 w 323823"/>
                  <a:gd name="connsiteY0" fmla="*/ 167671 h 428687"/>
                  <a:gd name="connsiteX1" fmla="*/ 36979 w 323823"/>
                  <a:gd name="connsiteY1" fmla="*/ 426656 h 428687"/>
                  <a:gd name="connsiteX2" fmla="*/ 40313 w 323823"/>
                  <a:gd name="connsiteY2" fmla="*/ 428275 h 428687"/>
                  <a:gd name="connsiteX3" fmla="*/ 321396 w 323823"/>
                  <a:gd name="connsiteY3" fmla="*/ 265969 h 428687"/>
                  <a:gd name="connsiteX4" fmla="*/ 323777 w 323823"/>
                  <a:gd name="connsiteY4" fmla="*/ 261016 h 428687"/>
                  <a:gd name="connsiteX5" fmla="*/ 286915 w 323823"/>
                  <a:gd name="connsiteY5" fmla="*/ 2032 h 428687"/>
                  <a:gd name="connsiteX6" fmla="*/ 283582 w 323823"/>
                  <a:gd name="connsiteY6" fmla="*/ 412 h 428687"/>
                  <a:gd name="connsiteX7" fmla="*/ 2499 w 323823"/>
                  <a:gd name="connsiteY7" fmla="*/ 162718 h 428687"/>
                  <a:gd name="connsiteX8" fmla="*/ 22 w 323823"/>
                  <a:gd name="connsiteY8" fmla="*/ 167671 h 428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823" h="428687">
                    <a:moveTo>
                      <a:pt x="22" y="167671"/>
                    </a:moveTo>
                    <a:lnTo>
                      <a:pt x="36979" y="426656"/>
                    </a:lnTo>
                    <a:cubicBezTo>
                      <a:pt x="37265" y="428466"/>
                      <a:pt x="38694" y="429228"/>
                      <a:pt x="40313" y="428275"/>
                    </a:cubicBezTo>
                    <a:lnTo>
                      <a:pt x="321396" y="265969"/>
                    </a:lnTo>
                    <a:cubicBezTo>
                      <a:pt x="323015" y="265017"/>
                      <a:pt x="324063" y="262826"/>
                      <a:pt x="323777" y="261016"/>
                    </a:cubicBezTo>
                    <a:lnTo>
                      <a:pt x="286915" y="2032"/>
                    </a:lnTo>
                    <a:cubicBezTo>
                      <a:pt x="286630" y="222"/>
                      <a:pt x="285201" y="-540"/>
                      <a:pt x="283582" y="412"/>
                    </a:cubicBezTo>
                    <a:lnTo>
                      <a:pt x="2499" y="162718"/>
                    </a:lnTo>
                    <a:cubicBezTo>
                      <a:pt x="880" y="163671"/>
                      <a:pt x="-168" y="165862"/>
                      <a:pt x="22" y="167671"/>
                    </a:cubicBezTo>
                    <a:close/>
                  </a:path>
                </a:pathLst>
              </a:custGeom>
              <a:solidFill>
                <a:schemeClr val="accent5"/>
              </a:solidFill>
              <a:ln w="9525" cap="flat">
                <a:noFill/>
                <a:prstDash val="solid"/>
                <a:miter/>
              </a:ln>
            </p:spPr>
            <p:txBody>
              <a:bodyPr rtlCol="0" anchor="ctr"/>
              <a:lstStyle/>
              <a:p>
                <a:endParaRPr lang="en-IN"/>
              </a:p>
            </p:txBody>
          </p:sp>
          <p:sp>
            <p:nvSpPr>
              <p:cNvPr id="4109" name="Freeform: Shape 4108">
                <a:extLst>
                  <a:ext uri="{FF2B5EF4-FFF2-40B4-BE49-F238E27FC236}">
                    <a16:creationId xmlns:a16="http://schemas.microsoft.com/office/drawing/2014/main" id="{1A4914C0-42B7-4705-8EC7-67A8CE0E5D75}"/>
                  </a:ext>
                </a:extLst>
              </p:cNvPr>
              <p:cNvSpPr/>
              <p:nvPr/>
            </p:nvSpPr>
            <p:spPr>
              <a:xfrm>
                <a:off x="5825980" y="3528542"/>
                <a:ext cx="74104" cy="41529"/>
              </a:xfrm>
              <a:custGeom>
                <a:avLst/>
                <a:gdLst>
                  <a:gd name="connsiteX0" fmla="*/ 0 w 74104"/>
                  <a:gd name="connsiteY0" fmla="*/ 41529 h 41529"/>
                  <a:gd name="connsiteX1" fmla="*/ 71914 w 74104"/>
                  <a:gd name="connsiteY1" fmla="*/ 0 h 41529"/>
                  <a:gd name="connsiteX2" fmla="*/ 74105 w 74104"/>
                  <a:gd name="connsiteY2" fmla="*/ 15049 h 41529"/>
                  <a:gd name="connsiteX3" fmla="*/ 41148 w 74104"/>
                  <a:gd name="connsiteY3" fmla="*/ 34099 h 41529"/>
                  <a:gd name="connsiteX4" fmla="*/ 28861 w 74104"/>
                  <a:gd name="connsiteY4" fmla="*/ 38100 h 41529"/>
                  <a:gd name="connsiteX5" fmla="*/ 0 w 74104"/>
                  <a:gd name="connsiteY5" fmla="*/ 41529 h 4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104" h="41529">
                    <a:moveTo>
                      <a:pt x="0" y="41529"/>
                    </a:moveTo>
                    <a:lnTo>
                      <a:pt x="71914" y="0"/>
                    </a:lnTo>
                    <a:lnTo>
                      <a:pt x="74105" y="15049"/>
                    </a:lnTo>
                    <a:lnTo>
                      <a:pt x="41148" y="34099"/>
                    </a:lnTo>
                    <a:cubicBezTo>
                      <a:pt x="41148" y="34099"/>
                      <a:pt x="32385" y="37243"/>
                      <a:pt x="28861" y="38100"/>
                    </a:cubicBezTo>
                    <a:cubicBezTo>
                      <a:pt x="25337" y="38957"/>
                      <a:pt x="0" y="41529"/>
                      <a:pt x="0" y="41529"/>
                    </a:cubicBezTo>
                    <a:close/>
                  </a:path>
                </a:pathLst>
              </a:custGeom>
              <a:solidFill>
                <a:srgbClr val="E1E1E1"/>
              </a:solidFill>
              <a:ln w="9525" cap="flat">
                <a:noFill/>
                <a:prstDash val="solid"/>
                <a:miter/>
              </a:ln>
            </p:spPr>
            <p:txBody>
              <a:bodyPr rtlCol="0" anchor="ctr"/>
              <a:lstStyle/>
              <a:p>
                <a:endParaRPr lang="en-IN"/>
              </a:p>
            </p:txBody>
          </p:sp>
          <p:sp>
            <p:nvSpPr>
              <p:cNvPr id="4111" name="Freeform: Shape 4110">
                <a:extLst>
                  <a:ext uri="{FF2B5EF4-FFF2-40B4-BE49-F238E27FC236}">
                    <a16:creationId xmlns:a16="http://schemas.microsoft.com/office/drawing/2014/main" id="{9E4CABED-9E61-4143-8BA3-C968A20B4EA6}"/>
                  </a:ext>
                </a:extLst>
              </p:cNvPr>
              <p:cNvSpPr/>
              <p:nvPr/>
            </p:nvSpPr>
            <p:spPr>
              <a:xfrm>
                <a:off x="5867128" y="3543592"/>
                <a:ext cx="43815" cy="75723"/>
              </a:xfrm>
              <a:custGeom>
                <a:avLst/>
                <a:gdLst>
                  <a:gd name="connsiteX0" fmla="*/ 32957 w 43815"/>
                  <a:gd name="connsiteY0" fmla="*/ 0 h 75723"/>
                  <a:gd name="connsiteX1" fmla="*/ 43815 w 43815"/>
                  <a:gd name="connsiteY1" fmla="*/ 75724 h 75723"/>
                  <a:gd name="connsiteX2" fmla="*/ 0 w 43815"/>
                  <a:gd name="connsiteY2" fmla="*/ 19050 h 75723"/>
                </a:gdLst>
                <a:ahLst/>
                <a:cxnLst>
                  <a:cxn ang="0">
                    <a:pos x="connsiteX0" y="connsiteY0"/>
                  </a:cxn>
                  <a:cxn ang="0">
                    <a:pos x="connsiteX1" y="connsiteY1"/>
                  </a:cxn>
                  <a:cxn ang="0">
                    <a:pos x="connsiteX2" y="connsiteY2"/>
                  </a:cxn>
                </a:cxnLst>
                <a:rect l="l" t="t" r="r" b="b"/>
                <a:pathLst>
                  <a:path w="43815" h="75723">
                    <a:moveTo>
                      <a:pt x="32957" y="0"/>
                    </a:moveTo>
                    <a:lnTo>
                      <a:pt x="43815" y="75724"/>
                    </a:lnTo>
                    <a:lnTo>
                      <a:pt x="0" y="19050"/>
                    </a:lnTo>
                    <a:close/>
                  </a:path>
                </a:pathLst>
              </a:custGeom>
              <a:solidFill>
                <a:srgbClr val="E7E7E7"/>
              </a:solidFill>
              <a:ln w="9525" cap="flat">
                <a:noFill/>
                <a:prstDash val="solid"/>
                <a:miter/>
              </a:ln>
            </p:spPr>
            <p:txBody>
              <a:bodyPr rtlCol="0" anchor="ctr"/>
              <a:lstStyle/>
              <a:p>
                <a:endParaRPr lang="en-IN"/>
              </a:p>
            </p:txBody>
          </p:sp>
          <p:sp>
            <p:nvSpPr>
              <p:cNvPr id="4113" name="Freeform: Shape 4112">
                <a:extLst>
                  <a:ext uri="{FF2B5EF4-FFF2-40B4-BE49-F238E27FC236}">
                    <a16:creationId xmlns:a16="http://schemas.microsoft.com/office/drawing/2014/main" id="{D29B8922-C504-4B10-8160-C4E13939747E}"/>
                  </a:ext>
                </a:extLst>
              </p:cNvPr>
              <p:cNvSpPr/>
              <p:nvPr/>
            </p:nvSpPr>
            <p:spPr>
              <a:xfrm>
                <a:off x="5821375" y="3562462"/>
                <a:ext cx="94327" cy="63944"/>
              </a:xfrm>
              <a:custGeom>
                <a:avLst/>
                <a:gdLst>
                  <a:gd name="connsiteX0" fmla="*/ 88234 w 94327"/>
                  <a:gd name="connsiteY0" fmla="*/ 59330 h 63944"/>
                  <a:gd name="connsiteX1" fmla="*/ 48991 w 94327"/>
                  <a:gd name="connsiteY1" fmla="*/ 8371 h 63944"/>
                  <a:gd name="connsiteX2" fmla="*/ 43657 w 94327"/>
                  <a:gd name="connsiteY2" fmla="*/ 6180 h 63944"/>
                  <a:gd name="connsiteX3" fmla="*/ 6986 w 94327"/>
                  <a:gd name="connsiteY3" fmla="*/ 11514 h 63944"/>
                  <a:gd name="connsiteX4" fmla="*/ 985 w 94327"/>
                  <a:gd name="connsiteY4" fmla="*/ 10467 h 63944"/>
                  <a:gd name="connsiteX5" fmla="*/ 1556 w 94327"/>
                  <a:gd name="connsiteY5" fmla="*/ 8276 h 63944"/>
                  <a:gd name="connsiteX6" fmla="*/ 43657 w 94327"/>
                  <a:gd name="connsiteY6" fmla="*/ 84 h 63944"/>
                  <a:gd name="connsiteX7" fmla="*/ 48896 w 94327"/>
                  <a:gd name="connsiteY7" fmla="*/ 2085 h 63944"/>
                  <a:gd name="connsiteX8" fmla="*/ 93663 w 94327"/>
                  <a:gd name="connsiteY8" fmla="*/ 62378 h 63944"/>
                  <a:gd name="connsiteX9" fmla="*/ 92901 w 94327"/>
                  <a:gd name="connsiteY9" fmla="*/ 63521 h 63944"/>
                  <a:gd name="connsiteX10" fmla="*/ 88234 w 94327"/>
                  <a:gd name="connsiteY10" fmla="*/ 59330 h 6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327" h="63944">
                    <a:moveTo>
                      <a:pt x="88234" y="59330"/>
                    </a:moveTo>
                    <a:lnTo>
                      <a:pt x="48991" y="8371"/>
                    </a:lnTo>
                    <a:cubicBezTo>
                      <a:pt x="47848" y="6942"/>
                      <a:pt x="45467" y="5990"/>
                      <a:pt x="43657" y="6180"/>
                    </a:cubicBezTo>
                    <a:lnTo>
                      <a:pt x="6986" y="11514"/>
                    </a:lnTo>
                    <a:cubicBezTo>
                      <a:pt x="5176" y="11800"/>
                      <a:pt x="2509" y="11324"/>
                      <a:pt x="985" y="10467"/>
                    </a:cubicBezTo>
                    <a:cubicBezTo>
                      <a:pt x="-539" y="9609"/>
                      <a:pt x="-253" y="8562"/>
                      <a:pt x="1556" y="8276"/>
                    </a:cubicBezTo>
                    <a:lnTo>
                      <a:pt x="43657" y="84"/>
                    </a:lnTo>
                    <a:cubicBezTo>
                      <a:pt x="45467" y="-297"/>
                      <a:pt x="47848" y="656"/>
                      <a:pt x="48896" y="2085"/>
                    </a:cubicBezTo>
                    <a:lnTo>
                      <a:pt x="93663" y="62378"/>
                    </a:lnTo>
                    <a:cubicBezTo>
                      <a:pt x="94806" y="63902"/>
                      <a:pt x="94425" y="64378"/>
                      <a:pt x="92901" y="63521"/>
                    </a:cubicBezTo>
                    <a:cubicBezTo>
                      <a:pt x="91473" y="62664"/>
                      <a:pt x="89377" y="60854"/>
                      <a:pt x="88234" y="59330"/>
                    </a:cubicBezTo>
                    <a:close/>
                  </a:path>
                </a:pathLst>
              </a:custGeom>
              <a:solidFill>
                <a:srgbClr val="E1E1E1"/>
              </a:solidFill>
              <a:ln w="9525" cap="flat">
                <a:noFill/>
                <a:prstDash val="solid"/>
                <a:miter/>
              </a:ln>
            </p:spPr>
            <p:txBody>
              <a:bodyPr rtlCol="0" anchor="ctr"/>
              <a:lstStyle/>
              <a:p>
                <a:endParaRPr lang="en-IN"/>
              </a:p>
            </p:txBody>
          </p:sp>
          <p:sp>
            <p:nvSpPr>
              <p:cNvPr id="4114" name="Freeform: Shape 4113">
                <a:extLst>
                  <a:ext uri="{FF2B5EF4-FFF2-40B4-BE49-F238E27FC236}">
                    <a16:creationId xmlns:a16="http://schemas.microsoft.com/office/drawing/2014/main" id="{48158708-C447-47A8-8904-5125E16A8DEE}"/>
                  </a:ext>
                </a:extLst>
              </p:cNvPr>
              <p:cNvSpPr/>
              <p:nvPr/>
            </p:nvSpPr>
            <p:spPr>
              <a:xfrm>
                <a:off x="5860936" y="3191011"/>
                <a:ext cx="298989" cy="200656"/>
              </a:xfrm>
              <a:custGeom>
                <a:avLst/>
                <a:gdLst>
                  <a:gd name="connsiteX0" fmla="*/ 298990 w 298989"/>
                  <a:gd name="connsiteY0" fmla="*/ 4442 h 200656"/>
                  <a:gd name="connsiteX1" fmla="*/ 296894 w 298989"/>
                  <a:gd name="connsiteY1" fmla="*/ 632 h 200656"/>
                  <a:gd name="connsiteX2" fmla="*/ 291275 w 298989"/>
                  <a:gd name="connsiteY2" fmla="*/ 727 h 200656"/>
                  <a:gd name="connsiteX3" fmla="*/ 10287 w 298989"/>
                  <a:gd name="connsiteY3" fmla="*/ 163033 h 200656"/>
                  <a:gd name="connsiteX4" fmla="*/ 8096 w 298989"/>
                  <a:gd name="connsiteY4" fmla="*/ 165128 h 200656"/>
                  <a:gd name="connsiteX5" fmla="*/ 6667 w 298989"/>
                  <a:gd name="connsiteY5" fmla="*/ 167986 h 200656"/>
                  <a:gd name="connsiteX6" fmla="*/ 0 w 298989"/>
                  <a:gd name="connsiteY6" fmla="*/ 197513 h 200656"/>
                  <a:gd name="connsiteX7" fmla="*/ 5429 w 298989"/>
                  <a:gd name="connsiteY7" fmla="*/ 200657 h 200656"/>
                  <a:gd name="connsiteX8" fmla="*/ 292227 w 298989"/>
                  <a:gd name="connsiteY8" fmla="*/ 35017 h 200656"/>
                  <a:gd name="connsiteX9" fmla="*/ 298895 w 298989"/>
                  <a:gd name="connsiteY9" fmla="*/ 5489 h 200656"/>
                  <a:gd name="connsiteX10" fmla="*/ 298990 w 298989"/>
                  <a:gd name="connsiteY10" fmla="*/ 4442 h 200656"/>
                  <a:gd name="connsiteX11" fmla="*/ 298990 w 298989"/>
                  <a:gd name="connsiteY11" fmla="*/ 4442 h 20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989" h="200656">
                    <a:moveTo>
                      <a:pt x="298990" y="4442"/>
                    </a:moveTo>
                    <a:cubicBezTo>
                      <a:pt x="298990" y="2918"/>
                      <a:pt x="298133" y="1394"/>
                      <a:pt x="296894" y="632"/>
                    </a:cubicBezTo>
                    <a:cubicBezTo>
                      <a:pt x="295370" y="-226"/>
                      <a:pt x="292894" y="-226"/>
                      <a:pt x="291275" y="727"/>
                    </a:cubicBezTo>
                    <a:lnTo>
                      <a:pt x="10287" y="163033"/>
                    </a:lnTo>
                    <a:cubicBezTo>
                      <a:pt x="9525" y="163509"/>
                      <a:pt x="8763" y="164271"/>
                      <a:pt x="8096" y="165128"/>
                    </a:cubicBezTo>
                    <a:cubicBezTo>
                      <a:pt x="7430" y="166081"/>
                      <a:pt x="6858" y="167033"/>
                      <a:pt x="6667" y="167986"/>
                    </a:cubicBezTo>
                    <a:lnTo>
                      <a:pt x="0" y="197513"/>
                    </a:lnTo>
                    <a:lnTo>
                      <a:pt x="5429" y="200657"/>
                    </a:lnTo>
                    <a:lnTo>
                      <a:pt x="292227" y="35017"/>
                    </a:lnTo>
                    <a:lnTo>
                      <a:pt x="298895" y="5489"/>
                    </a:lnTo>
                    <a:cubicBezTo>
                      <a:pt x="298990" y="5108"/>
                      <a:pt x="298990" y="4727"/>
                      <a:pt x="298990" y="4442"/>
                    </a:cubicBezTo>
                    <a:lnTo>
                      <a:pt x="298990" y="4442"/>
                    </a:lnTo>
                    <a:close/>
                  </a:path>
                </a:pathLst>
              </a:custGeom>
              <a:solidFill>
                <a:srgbClr val="00B293"/>
              </a:solidFill>
              <a:ln w="9525" cap="flat">
                <a:noFill/>
                <a:prstDash val="solid"/>
                <a:miter/>
              </a:ln>
            </p:spPr>
            <p:txBody>
              <a:bodyPr rtlCol="0" anchor="ctr"/>
              <a:lstStyle/>
              <a:p>
                <a:endParaRPr lang="en-IN"/>
              </a:p>
            </p:txBody>
          </p:sp>
          <p:sp>
            <p:nvSpPr>
              <p:cNvPr id="4115" name="Freeform: Shape 4114">
                <a:extLst>
                  <a:ext uri="{FF2B5EF4-FFF2-40B4-BE49-F238E27FC236}">
                    <a16:creationId xmlns:a16="http://schemas.microsoft.com/office/drawing/2014/main" id="{84B18785-DA89-4544-871D-4164EF7FAD7B}"/>
                  </a:ext>
                </a:extLst>
              </p:cNvPr>
              <p:cNvSpPr/>
              <p:nvPr/>
            </p:nvSpPr>
            <p:spPr>
              <a:xfrm>
                <a:off x="5866366" y="3194511"/>
                <a:ext cx="293548" cy="197157"/>
              </a:xfrm>
              <a:custGeom>
                <a:avLst/>
                <a:gdLst>
                  <a:gd name="connsiteX0" fmla="*/ 293465 w 293548"/>
                  <a:gd name="connsiteY0" fmla="*/ 1990 h 197157"/>
                  <a:gd name="connsiteX1" fmla="*/ 291274 w 293548"/>
                  <a:gd name="connsiteY1" fmla="*/ 371 h 197157"/>
                  <a:gd name="connsiteX2" fmla="*/ 10287 w 293548"/>
                  <a:gd name="connsiteY2" fmla="*/ 162677 h 197157"/>
                  <a:gd name="connsiteX3" fmla="*/ 6667 w 293548"/>
                  <a:gd name="connsiteY3" fmla="*/ 167630 h 197157"/>
                  <a:gd name="connsiteX4" fmla="*/ 0 w 293548"/>
                  <a:gd name="connsiteY4" fmla="*/ 197157 h 197157"/>
                  <a:gd name="connsiteX5" fmla="*/ 286798 w 293548"/>
                  <a:gd name="connsiteY5" fmla="*/ 31517 h 197157"/>
                  <a:gd name="connsiteX6" fmla="*/ 293465 w 293548"/>
                  <a:gd name="connsiteY6" fmla="*/ 1990 h 197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548" h="197157">
                    <a:moveTo>
                      <a:pt x="293465" y="1990"/>
                    </a:moveTo>
                    <a:cubicBezTo>
                      <a:pt x="293846" y="180"/>
                      <a:pt x="292894" y="-487"/>
                      <a:pt x="291274" y="371"/>
                    </a:cubicBezTo>
                    <a:lnTo>
                      <a:pt x="10287" y="162677"/>
                    </a:lnTo>
                    <a:cubicBezTo>
                      <a:pt x="8668" y="163629"/>
                      <a:pt x="7048" y="165820"/>
                      <a:pt x="6667" y="167630"/>
                    </a:cubicBezTo>
                    <a:lnTo>
                      <a:pt x="0" y="197157"/>
                    </a:lnTo>
                    <a:lnTo>
                      <a:pt x="286798" y="31517"/>
                    </a:lnTo>
                    <a:lnTo>
                      <a:pt x="293465" y="1990"/>
                    </a:lnTo>
                    <a:close/>
                  </a:path>
                </a:pathLst>
              </a:custGeom>
              <a:solidFill>
                <a:srgbClr val="2FC1A5">
                  <a:alpha val="20000"/>
                </a:srgbClr>
              </a:solidFill>
              <a:ln w="9525" cap="flat">
                <a:noFill/>
                <a:prstDash val="solid"/>
                <a:miter/>
              </a:ln>
            </p:spPr>
            <p:txBody>
              <a:bodyPr rtlCol="0" anchor="ctr"/>
              <a:lstStyle/>
              <a:p>
                <a:endParaRPr lang="en-IN"/>
              </a:p>
            </p:txBody>
          </p:sp>
          <p:sp>
            <p:nvSpPr>
              <p:cNvPr id="4116" name="Freeform: Shape 4115">
                <a:extLst>
                  <a:ext uri="{FF2B5EF4-FFF2-40B4-BE49-F238E27FC236}">
                    <a16:creationId xmlns:a16="http://schemas.microsoft.com/office/drawing/2014/main" id="{F3579EAD-7C4D-43C1-852B-3B6E6B9BA4FE}"/>
                  </a:ext>
                </a:extLst>
              </p:cNvPr>
              <p:cNvSpPr/>
              <p:nvPr/>
            </p:nvSpPr>
            <p:spPr>
              <a:xfrm>
                <a:off x="5860936" y="3356140"/>
                <a:ext cx="13525" cy="35528"/>
              </a:xfrm>
              <a:custGeom>
                <a:avLst/>
                <a:gdLst>
                  <a:gd name="connsiteX0" fmla="*/ 13526 w 13525"/>
                  <a:gd name="connsiteY0" fmla="*/ 3143 h 35528"/>
                  <a:gd name="connsiteX1" fmla="*/ 12097 w 13525"/>
                  <a:gd name="connsiteY1" fmla="*/ 6001 h 35528"/>
                  <a:gd name="connsiteX2" fmla="*/ 5429 w 13525"/>
                  <a:gd name="connsiteY2" fmla="*/ 35528 h 35528"/>
                  <a:gd name="connsiteX3" fmla="*/ 0 w 13525"/>
                  <a:gd name="connsiteY3" fmla="*/ 32385 h 35528"/>
                  <a:gd name="connsiteX4" fmla="*/ 6667 w 13525"/>
                  <a:gd name="connsiteY4" fmla="*/ 2857 h 35528"/>
                  <a:gd name="connsiteX5" fmla="*/ 8096 w 13525"/>
                  <a:gd name="connsiteY5" fmla="*/ 0 h 35528"/>
                  <a:gd name="connsiteX6" fmla="*/ 13526 w 13525"/>
                  <a:gd name="connsiteY6" fmla="*/ 3143 h 3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25" h="35528">
                    <a:moveTo>
                      <a:pt x="13526" y="3143"/>
                    </a:moveTo>
                    <a:cubicBezTo>
                      <a:pt x="12859" y="4096"/>
                      <a:pt x="12287" y="5048"/>
                      <a:pt x="12097" y="6001"/>
                    </a:cubicBezTo>
                    <a:lnTo>
                      <a:pt x="5429" y="35528"/>
                    </a:lnTo>
                    <a:lnTo>
                      <a:pt x="0" y="32385"/>
                    </a:lnTo>
                    <a:lnTo>
                      <a:pt x="6667" y="2857"/>
                    </a:lnTo>
                    <a:cubicBezTo>
                      <a:pt x="6858" y="1905"/>
                      <a:pt x="7430" y="857"/>
                      <a:pt x="8096" y="0"/>
                    </a:cubicBezTo>
                    <a:lnTo>
                      <a:pt x="13526" y="3143"/>
                    </a:lnTo>
                    <a:close/>
                  </a:path>
                </a:pathLst>
              </a:custGeom>
              <a:solidFill>
                <a:srgbClr val="00B293">
                  <a:alpha val="10000"/>
                </a:srgbClr>
              </a:solidFill>
              <a:ln w="9525" cap="flat">
                <a:noFill/>
                <a:prstDash val="solid"/>
                <a:miter/>
              </a:ln>
            </p:spPr>
            <p:txBody>
              <a:bodyPr rtlCol="0" anchor="ctr"/>
              <a:lstStyle/>
              <a:p>
                <a:endParaRPr lang="en-IN"/>
              </a:p>
            </p:txBody>
          </p:sp>
          <p:sp>
            <p:nvSpPr>
              <p:cNvPr id="4117" name="Freeform: Shape 4116">
                <a:extLst>
                  <a:ext uri="{FF2B5EF4-FFF2-40B4-BE49-F238E27FC236}">
                    <a16:creationId xmlns:a16="http://schemas.microsoft.com/office/drawing/2014/main" id="{37222B90-76DE-4C68-977D-4897D01A4AD9}"/>
                  </a:ext>
                </a:extLst>
              </p:cNvPr>
              <p:cNvSpPr/>
              <p:nvPr/>
            </p:nvSpPr>
            <p:spPr>
              <a:xfrm>
                <a:off x="5869032" y="3191107"/>
                <a:ext cx="290893" cy="168176"/>
              </a:xfrm>
              <a:custGeom>
                <a:avLst/>
                <a:gdLst>
                  <a:gd name="connsiteX0" fmla="*/ 290894 w 290893"/>
                  <a:gd name="connsiteY0" fmla="*/ 4346 h 168176"/>
                  <a:gd name="connsiteX1" fmla="*/ 288607 w 290893"/>
                  <a:gd name="connsiteY1" fmla="*/ 3775 h 168176"/>
                  <a:gd name="connsiteX2" fmla="*/ 7620 w 290893"/>
                  <a:gd name="connsiteY2" fmla="*/ 166081 h 168176"/>
                  <a:gd name="connsiteX3" fmla="*/ 5429 w 290893"/>
                  <a:gd name="connsiteY3" fmla="*/ 168176 h 168176"/>
                  <a:gd name="connsiteX4" fmla="*/ 0 w 290893"/>
                  <a:gd name="connsiteY4" fmla="*/ 165033 h 168176"/>
                  <a:gd name="connsiteX5" fmla="*/ 2191 w 290893"/>
                  <a:gd name="connsiteY5" fmla="*/ 162938 h 168176"/>
                  <a:gd name="connsiteX6" fmla="*/ 283274 w 290893"/>
                  <a:gd name="connsiteY6" fmla="*/ 727 h 168176"/>
                  <a:gd name="connsiteX7" fmla="*/ 288893 w 290893"/>
                  <a:gd name="connsiteY7" fmla="*/ 632 h 168176"/>
                  <a:gd name="connsiteX8" fmla="*/ 290894 w 290893"/>
                  <a:gd name="connsiteY8" fmla="*/ 4346 h 16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0893" h="168176">
                    <a:moveTo>
                      <a:pt x="290894" y="4346"/>
                    </a:moveTo>
                    <a:cubicBezTo>
                      <a:pt x="290798" y="3394"/>
                      <a:pt x="289941" y="3108"/>
                      <a:pt x="288607" y="3775"/>
                    </a:cubicBezTo>
                    <a:lnTo>
                      <a:pt x="7620" y="166081"/>
                    </a:lnTo>
                    <a:cubicBezTo>
                      <a:pt x="6858" y="166557"/>
                      <a:pt x="6096" y="167319"/>
                      <a:pt x="5429" y="168176"/>
                    </a:cubicBezTo>
                    <a:lnTo>
                      <a:pt x="0" y="165033"/>
                    </a:lnTo>
                    <a:cubicBezTo>
                      <a:pt x="667" y="164176"/>
                      <a:pt x="1429" y="163414"/>
                      <a:pt x="2191" y="162938"/>
                    </a:cubicBezTo>
                    <a:lnTo>
                      <a:pt x="283274" y="727"/>
                    </a:lnTo>
                    <a:cubicBezTo>
                      <a:pt x="284893" y="-226"/>
                      <a:pt x="287369" y="-226"/>
                      <a:pt x="288893" y="632"/>
                    </a:cubicBezTo>
                    <a:cubicBezTo>
                      <a:pt x="290036" y="1298"/>
                      <a:pt x="290894" y="2822"/>
                      <a:pt x="290894" y="4346"/>
                    </a:cubicBezTo>
                    <a:close/>
                  </a:path>
                </a:pathLst>
              </a:custGeom>
              <a:solidFill>
                <a:srgbClr val="00B293"/>
              </a:solidFill>
              <a:ln w="9525" cap="flat">
                <a:noFill/>
                <a:prstDash val="solid"/>
                <a:miter/>
              </a:ln>
            </p:spPr>
            <p:txBody>
              <a:bodyPr rtlCol="0" anchor="ctr"/>
              <a:lstStyle/>
              <a:p>
                <a:endParaRPr lang="en-IN"/>
              </a:p>
            </p:txBody>
          </p:sp>
          <p:sp>
            <p:nvSpPr>
              <p:cNvPr id="4119" name="Freeform: Shape 4118">
                <a:extLst>
                  <a:ext uri="{FF2B5EF4-FFF2-40B4-BE49-F238E27FC236}">
                    <a16:creationId xmlns:a16="http://schemas.microsoft.com/office/drawing/2014/main" id="{2F61AB8F-A573-46F5-B760-D9035496BE3C}"/>
                  </a:ext>
                </a:extLst>
              </p:cNvPr>
              <p:cNvSpPr/>
              <p:nvPr/>
            </p:nvSpPr>
            <p:spPr>
              <a:xfrm>
                <a:off x="5874247" y="3194155"/>
                <a:ext cx="297490" cy="208276"/>
              </a:xfrm>
              <a:custGeom>
                <a:avLst/>
                <a:gdLst>
                  <a:gd name="connsiteX0" fmla="*/ 292537 w 297490"/>
                  <a:gd name="connsiteY0" fmla="*/ 7966 h 208276"/>
                  <a:gd name="connsiteX1" fmla="*/ 292537 w 297490"/>
                  <a:gd name="connsiteY1" fmla="*/ 7966 h 208276"/>
                  <a:gd name="connsiteX2" fmla="*/ 292251 w 297490"/>
                  <a:gd name="connsiteY2" fmla="*/ 5489 h 208276"/>
                  <a:gd name="connsiteX3" fmla="*/ 292156 w 297490"/>
                  <a:gd name="connsiteY3" fmla="*/ 5108 h 208276"/>
                  <a:gd name="connsiteX4" fmla="*/ 292156 w 297490"/>
                  <a:gd name="connsiteY4" fmla="*/ 5013 h 208276"/>
                  <a:gd name="connsiteX5" fmla="*/ 292156 w 297490"/>
                  <a:gd name="connsiteY5" fmla="*/ 5013 h 208276"/>
                  <a:gd name="connsiteX6" fmla="*/ 289108 w 297490"/>
                  <a:gd name="connsiteY6" fmla="*/ 632 h 208276"/>
                  <a:gd name="connsiteX7" fmla="*/ 283488 w 297490"/>
                  <a:gd name="connsiteY7" fmla="*/ 727 h 208276"/>
                  <a:gd name="connsiteX8" fmla="*/ 2406 w 297490"/>
                  <a:gd name="connsiteY8" fmla="*/ 163033 h 208276"/>
                  <a:gd name="connsiteX9" fmla="*/ 501 w 297490"/>
                  <a:gd name="connsiteY9" fmla="*/ 165224 h 208276"/>
                  <a:gd name="connsiteX10" fmla="*/ 501 w 297490"/>
                  <a:gd name="connsiteY10" fmla="*/ 165224 h 208276"/>
                  <a:gd name="connsiteX11" fmla="*/ 24 w 297490"/>
                  <a:gd name="connsiteY11" fmla="*/ 167986 h 208276"/>
                  <a:gd name="connsiteX12" fmla="*/ 5358 w 297490"/>
                  <a:gd name="connsiteY12" fmla="*/ 205133 h 208276"/>
                  <a:gd name="connsiteX13" fmla="*/ 10788 w 297490"/>
                  <a:gd name="connsiteY13" fmla="*/ 208277 h 208276"/>
                  <a:gd name="connsiteX14" fmla="*/ 297490 w 297490"/>
                  <a:gd name="connsiteY14" fmla="*/ 42637 h 208276"/>
                  <a:gd name="connsiteX15" fmla="*/ 292537 w 297490"/>
                  <a:gd name="connsiteY15" fmla="*/ 7966 h 208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7490" h="208276">
                    <a:moveTo>
                      <a:pt x="292537" y="7966"/>
                    </a:moveTo>
                    <a:lnTo>
                      <a:pt x="292537" y="7966"/>
                    </a:lnTo>
                    <a:lnTo>
                      <a:pt x="292251" y="5489"/>
                    </a:lnTo>
                    <a:cubicBezTo>
                      <a:pt x="292251" y="5394"/>
                      <a:pt x="292156" y="5204"/>
                      <a:pt x="292156" y="5108"/>
                    </a:cubicBezTo>
                    <a:cubicBezTo>
                      <a:pt x="292156" y="5108"/>
                      <a:pt x="292156" y="5013"/>
                      <a:pt x="292156" y="5013"/>
                    </a:cubicBezTo>
                    <a:cubicBezTo>
                      <a:pt x="292156" y="5013"/>
                      <a:pt x="292156" y="5013"/>
                      <a:pt x="292156" y="5013"/>
                    </a:cubicBezTo>
                    <a:cubicBezTo>
                      <a:pt x="291775" y="3299"/>
                      <a:pt x="290442" y="1394"/>
                      <a:pt x="289108" y="632"/>
                    </a:cubicBezTo>
                    <a:cubicBezTo>
                      <a:pt x="287584" y="-226"/>
                      <a:pt x="285108" y="-226"/>
                      <a:pt x="283488" y="727"/>
                    </a:cubicBezTo>
                    <a:lnTo>
                      <a:pt x="2406" y="163033"/>
                    </a:lnTo>
                    <a:cubicBezTo>
                      <a:pt x="1548" y="163509"/>
                      <a:pt x="882" y="164366"/>
                      <a:pt x="501" y="165224"/>
                    </a:cubicBezTo>
                    <a:lnTo>
                      <a:pt x="501" y="165224"/>
                    </a:lnTo>
                    <a:cubicBezTo>
                      <a:pt x="120" y="166081"/>
                      <a:pt x="-71" y="167033"/>
                      <a:pt x="24" y="167986"/>
                    </a:cubicBezTo>
                    <a:lnTo>
                      <a:pt x="5358" y="205133"/>
                    </a:lnTo>
                    <a:lnTo>
                      <a:pt x="10788" y="208277"/>
                    </a:lnTo>
                    <a:lnTo>
                      <a:pt x="297490" y="42637"/>
                    </a:lnTo>
                    <a:lnTo>
                      <a:pt x="292537" y="7966"/>
                    </a:lnTo>
                    <a:close/>
                  </a:path>
                </a:pathLst>
              </a:custGeom>
              <a:solidFill>
                <a:srgbClr val="008272"/>
              </a:solidFill>
              <a:ln w="9525" cap="flat">
                <a:noFill/>
                <a:prstDash val="solid"/>
                <a:miter/>
              </a:ln>
            </p:spPr>
            <p:txBody>
              <a:bodyPr rtlCol="0" anchor="ctr"/>
              <a:lstStyle/>
              <a:p>
                <a:endParaRPr lang="en-IN"/>
              </a:p>
            </p:txBody>
          </p:sp>
          <p:sp>
            <p:nvSpPr>
              <p:cNvPr id="4121" name="Freeform: Shape 4120">
                <a:extLst>
                  <a:ext uri="{FF2B5EF4-FFF2-40B4-BE49-F238E27FC236}">
                    <a16:creationId xmlns:a16="http://schemas.microsoft.com/office/drawing/2014/main" id="{A06279F2-2EBB-4C29-9EFC-2CE2BE565405}"/>
                  </a:ext>
                </a:extLst>
              </p:cNvPr>
              <p:cNvSpPr/>
              <p:nvPr/>
            </p:nvSpPr>
            <p:spPr>
              <a:xfrm>
                <a:off x="5874152" y="3359378"/>
                <a:ext cx="10787" cy="43053"/>
              </a:xfrm>
              <a:custGeom>
                <a:avLst/>
                <a:gdLst>
                  <a:gd name="connsiteX0" fmla="*/ 10788 w 10787"/>
                  <a:gd name="connsiteY0" fmla="*/ 43053 h 43053"/>
                  <a:gd name="connsiteX1" fmla="*/ 5358 w 10787"/>
                  <a:gd name="connsiteY1" fmla="*/ 39910 h 43053"/>
                  <a:gd name="connsiteX2" fmla="*/ 24 w 10787"/>
                  <a:gd name="connsiteY2" fmla="*/ 2762 h 43053"/>
                  <a:gd name="connsiteX3" fmla="*/ 501 w 10787"/>
                  <a:gd name="connsiteY3" fmla="*/ 0 h 43053"/>
                  <a:gd name="connsiteX4" fmla="*/ 5930 w 10787"/>
                  <a:gd name="connsiteY4" fmla="*/ 3143 h 43053"/>
                  <a:gd name="connsiteX5" fmla="*/ 5454 w 10787"/>
                  <a:gd name="connsiteY5" fmla="*/ 5906 h 43053"/>
                  <a:gd name="connsiteX6" fmla="*/ 10788 w 10787"/>
                  <a:gd name="connsiteY6" fmla="*/ 43053 h 43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87" h="43053">
                    <a:moveTo>
                      <a:pt x="10788" y="43053"/>
                    </a:moveTo>
                    <a:lnTo>
                      <a:pt x="5358" y="39910"/>
                    </a:lnTo>
                    <a:lnTo>
                      <a:pt x="24" y="2762"/>
                    </a:lnTo>
                    <a:cubicBezTo>
                      <a:pt x="-71" y="1905"/>
                      <a:pt x="120" y="857"/>
                      <a:pt x="501" y="0"/>
                    </a:cubicBezTo>
                    <a:lnTo>
                      <a:pt x="5930" y="3143"/>
                    </a:lnTo>
                    <a:cubicBezTo>
                      <a:pt x="5549" y="4001"/>
                      <a:pt x="5358" y="5048"/>
                      <a:pt x="5454" y="5906"/>
                    </a:cubicBezTo>
                    <a:lnTo>
                      <a:pt x="10788" y="43053"/>
                    </a:lnTo>
                    <a:close/>
                  </a:path>
                </a:pathLst>
              </a:custGeom>
              <a:solidFill>
                <a:srgbClr val="008272">
                  <a:alpha val="10000"/>
                </a:srgbClr>
              </a:solidFill>
              <a:ln w="9525" cap="flat">
                <a:noFill/>
                <a:prstDash val="solid"/>
                <a:miter/>
              </a:ln>
            </p:spPr>
            <p:txBody>
              <a:bodyPr rtlCol="0" anchor="ctr"/>
              <a:lstStyle/>
              <a:p>
                <a:endParaRPr lang="en-IN"/>
              </a:p>
            </p:txBody>
          </p:sp>
          <p:sp>
            <p:nvSpPr>
              <p:cNvPr id="4123" name="Freeform: Shape 4122">
                <a:extLst>
                  <a:ext uri="{FF2B5EF4-FFF2-40B4-BE49-F238E27FC236}">
                    <a16:creationId xmlns:a16="http://schemas.microsoft.com/office/drawing/2014/main" id="{AEF83E6A-D07B-446E-9931-C6CD3EE889D0}"/>
                  </a:ext>
                </a:extLst>
              </p:cNvPr>
              <p:cNvSpPr/>
              <p:nvPr/>
            </p:nvSpPr>
            <p:spPr>
              <a:xfrm>
                <a:off x="5874652" y="3194155"/>
                <a:ext cx="291750" cy="168366"/>
              </a:xfrm>
              <a:custGeom>
                <a:avLst/>
                <a:gdLst>
                  <a:gd name="connsiteX0" fmla="*/ 291751 w 291750"/>
                  <a:gd name="connsiteY0" fmla="*/ 5013 h 168366"/>
                  <a:gd name="connsiteX1" fmla="*/ 288512 w 291750"/>
                  <a:gd name="connsiteY1" fmla="*/ 3870 h 168366"/>
                  <a:gd name="connsiteX2" fmla="*/ 7429 w 291750"/>
                  <a:gd name="connsiteY2" fmla="*/ 166176 h 168366"/>
                  <a:gd name="connsiteX3" fmla="*/ 5429 w 291750"/>
                  <a:gd name="connsiteY3" fmla="*/ 168367 h 168366"/>
                  <a:gd name="connsiteX4" fmla="*/ 0 w 291750"/>
                  <a:gd name="connsiteY4" fmla="*/ 165224 h 168366"/>
                  <a:gd name="connsiteX5" fmla="*/ 1905 w 291750"/>
                  <a:gd name="connsiteY5" fmla="*/ 163033 h 168366"/>
                  <a:gd name="connsiteX6" fmla="*/ 283083 w 291750"/>
                  <a:gd name="connsiteY6" fmla="*/ 727 h 168366"/>
                  <a:gd name="connsiteX7" fmla="*/ 288703 w 291750"/>
                  <a:gd name="connsiteY7" fmla="*/ 632 h 168366"/>
                  <a:gd name="connsiteX8" fmla="*/ 291751 w 291750"/>
                  <a:gd name="connsiteY8" fmla="*/ 5013 h 168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750" h="168366">
                    <a:moveTo>
                      <a:pt x="291751" y="5013"/>
                    </a:moveTo>
                    <a:cubicBezTo>
                      <a:pt x="291275" y="3584"/>
                      <a:pt x="289941" y="3013"/>
                      <a:pt x="288512" y="3870"/>
                    </a:cubicBezTo>
                    <a:lnTo>
                      <a:pt x="7429" y="166176"/>
                    </a:lnTo>
                    <a:cubicBezTo>
                      <a:pt x="6572" y="166652"/>
                      <a:pt x="5905" y="167414"/>
                      <a:pt x="5429" y="168367"/>
                    </a:cubicBezTo>
                    <a:lnTo>
                      <a:pt x="0" y="165224"/>
                    </a:lnTo>
                    <a:cubicBezTo>
                      <a:pt x="476" y="164271"/>
                      <a:pt x="1143" y="163509"/>
                      <a:pt x="1905" y="163033"/>
                    </a:cubicBezTo>
                    <a:lnTo>
                      <a:pt x="283083" y="727"/>
                    </a:lnTo>
                    <a:cubicBezTo>
                      <a:pt x="284702" y="-226"/>
                      <a:pt x="287179" y="-226"/>
                      <a:pt x="288703" y="632"/>
                    </a:cubicBezTo>
                    <a:cubicBezTo>
                      <a:pt x="290036" y="1489"/>
                      <a:pt x="291275" y="3299"/>
                      <a:pt x="291751" y="5013"/>
                    </a:cubicBezTo>
                    <a:close/>
                  </a:path>
                </a:pathLst>
              </a:custGeom>
              <a:solidFill>
                <a:srgbClr val="008272">
                  <a:alpha val="40000"/>
                </a:srgbClr>
              </a:solidFill>
              <a:ln w="9525" cap="flat">
                <a:noFill/>
                <a:prstDash val="solid"/>
                <a:miter/>
              </a:ln>
            </p:spPr>
            <p:txBody>
              <a:bodyPr rtlCol="0" anchor="ctr"/>
              <a:lstStyle/>
              <a:p>
                <a:endParaRPr lang="en-IN"/>
              </a:p>
            </p:txBody>
          </p:sp>
          <p:sp>
            <p:nvSpPr>
              <p:cNvPr id="4125" name="Freeform: Shape 4124">
                <a:extLst>
                  <a:ext uri="{FF2B5EF4-FFF2-40B4-BE49-F238E27FC236}">
                    <a16:creationId xmlns:a16="http://schemas.microsoft.com/office/drawing/2014/main" id="{DD2F3384-4010-451C-A962-73FF7431061F}"/>
                  </a:ext>
                </a:extLst>
              </p:cNvPr>
              <p:cNvSpPr/>
              <p:nvPr/>
            </p:nvSpPr>
            <p:spPr>
              <a:xfrm>
                <a:off x="5927109" y="3556173"/>
                <a:ext cx="32462" cy="43702"/>
              </a:xfrm>
              <a:custGeom>
                <a:avLst/>
                <a:gdLst>
                  <a:gd name="connsiteX0" fmla="*/ 32411 w 32462"/>
                  <a:gd name="connsiteY0" fmla="*/ 25233 h 43702"/>
                  <a:gd name="connsiteX1" fmla="*/ 29078 w 32462"/>
                  <a:gd name="connsiteY1" fmla="*/ 1611 h 43702"/>
                  <a:gd name="connsiteX2" fmla="*/ 26411 w 32462"/>
                  <a:gd name="connsiteY2" fmla="*/ 277 h 43702"/>
                  <a:gd name="connsiteX3" fmla="*/ 1932 w 32462"/>
                  <a:gd name="connsiteY3" fmla="*/ 14469 h 43702"/>
                  <a:gd name="connsiteX4" fmla="*/ 27 w 32462"/>
                  <a:gd name="connsiteY4" fmla="*/ 18470 h 43702"/>
                  <a:gd name="connsiteX5" fmla="*/ 3360 w 32462"/>
                  <a:gd name="connsiteY5" fmla="*/ 42092 h 43702"/>
                  <a:gd name="connsiteX6" fmla="*/ 6027 w 32462"/>
                  <a:gd name="connsiteY6" fmla="*/ 43425 h 43702"/>
                  <a:gd name="connsiteX7" fmla="*/ 30507 w 32462"/>
                  <a:gd name="connsiteY7" fmla="*/ 29233 h 43702"/>
                  <a:gd name="connsiteX8" fmla="*/ 32411 w 32462"/>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2"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97" y="26661"/>
                      <a:pt x="32411" y="25233"/>
                    </a:cubicBezTo>
                    <a:close/>
                  </a:path>
                </a:pathLst>
              </a:custGeom>
              <a:solidFill>
                <a:srgbClr val="008272"/>
              </a:solidFill>
              <a:ln w="9525" cap="flat">
                <a:noFill/>
                <a:prstDash val="solid"/>
                <a:miter/>
              </a:ln>
            </p:spPr>
            <p:txBody>
              <a:bodyPr rtlCol="0" anchor="ctr"/>
              <a:lstStyle/>
              <a:p>
                <a:endParaRPr lang="en-IN"/>
              </a:p>
            </p:txBody>
          </p:sp>
          <p:sp>
            <p:nvSpPr>
              <p:cNvPr id="4127" name="Freeform: Shape 4126">
                <a:extLst>
                  <a:ext uri="{FF2B5EF4-FFF2-40B4-BE49-F238E27FC236}">
                    <a16:creationId xmlns:a16="http://schemas.microsoft.com/office/drawing/2014/main" id="{432C7C7C-3579-4244-BD48-79B1DD7B9181}"/>
                  </a:ext>
                </a:extLst>
              </p:cNvPr>
              <p:cNvSpPr/>
              <p:nvPr/>
            </p:nvSpPr>
            <p:spPr>
              <a:xfrm>
                <a:off x="5965018" y="3534266"/>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1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757"/>
                      <a:pt x="32412" y="25233"/>
                    </a:cubicBezTo>
                    <a:close/>
                  </a:path>
                </a:pathLst>
              </a:custGeom>
              <a:solidFill>
                <a:srgbClr val="ECECEC"/>
              </a:solidFill>
              <a:ln w="9525" cap="flat">
                <a:noFill/>
                <a:prstDash val="solid"/>
                <a:miter/>
              </a:ln>
            </p:spPr>
            <p:txBody>
              <a:bodyPr rtlCol="0" anchor="ctr"/>
              <a:lstStyle/>
              <a:p>
                <a:endParaRPr lang="en-IN"/>
              </a:p>
            </p:txBody>
          </p:sp>
          <p:sp>
            <p:nvSpPr>
              <p:cNvPr id="4129" name="Freeform: Shape 4128">
                <a:extLst>
                  <a:ext uri="{FF2B5EF4-FFF2-40B4-BE49-F238E27FC236}">
                    <a16:creationId xmlns:a16="http://schemas.microsoft.com/office/drawing/2014/main" id="{B6FA3D79-C62F-404A-8E49-C41A26A235EB}"/>
                  </a:ext>
                </a:extLst>
              </p:cNvPr>
              <p:cNvSpPr/>
              <p:nvPr/>
            </p:nvSpPr>
            <p:spPr>
              <a:xfrm>
                <a:off x="6002928" y="3512454"/>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1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31" name="Freeform: Shape 4130">
                <a:extLst>
                  <a:ext uri="{FF2B5EF4-FFF2-40B4-BE49-F238E27FC236}">
                    <a16:creationId xmlns:a16="http://schemas.microsoft.com/office/drawing/2014/main" id="{1641FA49-57FA-4092-86A6-318F97D2E5F7}"/>
                  </a:ext>
                </a:extLst>
              </p:cNvPr>
              <p:cNvSpPr/>
              <p:nvPr/>
            </p:nvSpPr>
            <p:spPr>
              <a:xfrm>
                <a:off x="6040837" y="3490546"/>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757"/>
                      <a:pt x="32411" y="25233"/>
                    </a:cubicBezTo>
                    <a:close/>
                  </a:path>
                </a:pathLst>
              </a:custGeom>
              <a:solidFill>
                <a:srgbClr val="ECECEC"/>
              </a:solidFill>
              <a:ln w="9525" cap="flat">
                <a:noFill/>
                <a:prstDash val="solid"/>
                <a:miter/>
              </a:ln>
            </p:spPr>
            <p:txBody>
              <a:bodyPr rtlCol="0" anchor="ctr"/>
              <a:lstStyle/>
              <a:p>
                <a:endParaRPr lang="en-IN"/>
              </a:p>
            </p:txBody>
          </p:sp>
          <p:sp>
            <p:nvSpPr>
              <p:cNvPr id="4133" name="Freeform: Shape 4132">
                <a:extLst>
                  <a:ext uri="{FF2B5EF4-FFF2-40B4-BE49-F238E27FC236}">
                    <a16:creationId xmlns:a16="http://schemas.microsoft.com/office/drawing/2014/main" id="{51EC1BDB-0CD6-416C-9040-DAFDB883DE27}"/>
                  </a:ext>
                </a:extLst>
              </p:cNvPr>
              <p:cNvSpPr/>
              <p:nvPr/>
            </p:nvSpPr>
            <p:spPr>
              <a:xfrm>
                <a:off x="6078746" y="3468734"/>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6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6" y="18470"/>
                    </a:cubicBezTo>
                    <a:lnTo>
                      <a:pt x="3360" y="42092"/>
                    </a:lnTo>
                    <a:cubicBezTo>
                      <a:pt x="3551" y="43521"/>
                      <a:pt x="4789" y="44092"/>
                      <a:pt x="6027" y="43425"/>
                    </a:cubicBezTo>
                    <a:lnTo>
                      <a:pt x="30507" y="29233"/>
                    </a:lnTo>
                    <a:cubicBezTo>
                      <a:pt x="31745" y="28471"/>
                      <a:pt x="32602" y="26661"/>
                      <a:pt x="32412" y="25233"/>
                    </a:cubicBezTo>
                    <a:close/>
                  </a:path>
                </a:pathLst>
              </a:custGeom>
              <a:solidFill>
                <a:srgbClr val="ECECEC"/>
              </a:solidFill>
              <a:ln w="9525" cap="flat">
                <a:noFill/>
                <a:prstDash val="solid"/>
                <a:miter/>
              </a:ln>
            </p:spPr>
            <p:txBody>
              <a:bodyPr rtlCol="0" anchor="ctr"/>
              <a:lstStyle/>
              <a:p>
                <a:endParaRPr lang="en-IN"/>
              </a:p>
            </p:txBody>
          </p:sp>
          <p:sp>
            <p:nvSpPr>
              <p:cNvPr id="4134" name="Freeform: Shape 4133">
                <a:extLst>
                  <a:ext uri="{FF2B5EF4-FFF2-40B4-BE49-F238E27FC236}">
                    <a16:creationId xmlns:a16="http://schemas.microsoft.com/office/drawing/2014/main" id="{C144E643-E827-4750-85CE-0DBAAFB7F90E}"/>
                  </a:ext>
                </a:extLst>
              </p:cNvPr>
              <p:cNvSpPr/>
              <p:nvPr/>
            </p:nvSpPr>
            <p:spPr>
              <a:xfrm>
                <a:off x="6116561" y="3446922"/>
                <a:ext cx="32466" cy="43702"/>
              </a:xfrm>
              <a:custGeom>
                <a:avLst/>
                <a:gdLst>
                  <a:gd name="connsiteX0" fmla="*/ 32411 w 32466"/>
                  <a:gd name="connsiteY0" fmla="*/ 25233 h 43702"/>
                  <a:gd name="connsiteX1" fmla="*/ 29078 w 32466"/>
                  <a:gd name="connsiteY1" fmla="*/ 1611 h 43702"/>
                  <a:gd name="connsiteX2" fmla="*/ 26411 w 32466"/>
                  <a:gd name="connsiteY2" fmla="*/ 277 h 43702"/>
                  <a:gd name="connsiteX3" fmla="*/ 1931 w 32466"/>
                  <a:gd name="connsiteY3" fmla="*/ 14469 h 43702"/>
                  <a:gd name="connsiteX4" fmla="*/ 27 w 32466"/>
                  <a:gd name="connsiteY4" fmla="*/ 18470 h 43702"/>
                  <a:gd name="connsiteX5" fmla="*/ 3360 w 32466"/>
                  <a:gd name="connsiteY5" fmla="*/ 42092 h 43702"/>
                  <a:gd name="connsiteX6" fmla="*/ 6027 w 32466"/>
                  <a:gd name="connsiteY6" fmla="*/ 43425 h 43702"/>
                  <a:gd name="connsiteX7" fmla="*/ 30507 w 32466"/>
                  <a:gd name="connsiteY7" fmla="*/ 29233 h 43702"/>
                  <a:gd name="connsiteX8" fmla="*/ 32411 w 32466"/>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6"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7" y="29233"/>
                    </a:lnTo>
                    <a:cubicBezTo>
                      <a:pt x="31840" y="28471"/>
                      <a:pt x="32697" y="26661"/>
                      <a:pt x="32411" y="25233"/>
                    </a:cubicBezTo>
                    <a:close/>
                  </a:path>
                </a:pathLst>
              </a:custGeom>
              <a:solidFill>
                <a:srgbClr val="ECECEC"/>
              </a:solidFill>
              <a:ln w="9525" cap="flat">
                <a:noFill/>
                <a:prstDash val="solid"/>
                <a:miter/>
              </a:ln>
            </p:spPr>
            <p:txBody>
              <a:bodyPr rtlCol="0" anchor="ctr"/>
              <a:lstStyle/>
              <a:p>
                <a:endParaRPr lang="en-IN"/>
              </a:p>
            </p:txBody>
          </p:sp>
          <p:sp>
            <p:nvSpPr>
              <p:cNvPr id="4135" name="Freeform: Shape 4134">
                <a:extLst>
                  <a:ext uri="{FF2B5EF4-FFF2-40B4-BE49-F238E27FC236}">
                    <a16:creationId xmlns:a16="http://schemas.microsoft.com/office/drawing/2014/main" id="{0AF63FB0-938A-4386-A024-8B578636165A}"/>
                  </a:ext>
                </a:extLst>
              </p:cNvPr>
              <p:cNvSpPr/>
              <p:nvPr/>
            </p:nvSpPr>
            <p:spPr>
              <a:xfrm>
                <a:off x="6154470" y="3425014"/>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757"/>
                      <a:pt x="32412" y="25233"/>
                    </a:cubicBezTo>
                    <a:close/>
                  </a:path>
                </a:pathLst>
              </a:custGeom>
              <a:solidFill>
                <a:srgbClr val="ECECEC"/>
              </a:solidFill>
              <a:ln w="9525" cap="flat">
                <a:noFill/>
                <a:prstDash val="solid"/>
                <a:miter/>
              </a:ln>
            </p:spPr>
            <p:txBody>
              <a:bodyPr rtlCol="0" anchor="ctr"/>
              <a:lstStyle/>
              <a:p>
                <a:endParaRPr lang="en-IN"/>
              </a:p>
            </p:txBody>
          </p:sp>
          <p:sp>
            <p:nvSpPr>
              <p:cNvPr id="4136" name="Freeform: Shape 4135">
                <a:extLst>
                  <a:ext uri="{FF2B5EF4-FFF2-40B4-BE49-F238E27FC236}">
                    <a16:creationId xmlns:a16="http://schemas.microsoft.com/office/drawing/2014/main" id="{94407EDA-AA6F-48C9-ADD8-F856738783E6}"/>
                  </a:ext>
                </a:extLst>
              </p:cNvPr>
              <p:cNvSpPr/>
              <p:nvPr/>
            </p:nvSpPr>
            <p:spPr>
              <a:xfrm>
                <a:off x="5920441" y="3509977"/>
                <a:ext cx="32533" cy="43702"/>
              </a:xfrm>
              <a:custGeom>
                <a:avLst/>
                <a:gdLst>
                  <a:gd name="connsiteX0" fmla="*/ 32507 w 32533"/>
                  <a:gd name="connsiteY0" fmla="*/ 25233 h 43702"/>
                  <a:gd name="connsiteX1" fmla="*/ 29173 w 32533"/>
                  <a:gd name="connsiteY1" fmla="*/ 1611 h 43702"/>
                  <a:gd name="connsiteX2" fmla="*/ 26506 w 32533"/>
                  <a:gd name="connsiteY2" fmla="*/ 277 h 43702"/>
                  <a:gd name="connsiteX3" fmla="*/ 1932 w 32533"/>
                  <a:gd name="connsiteY3" fmla="*/ 14469 h 43702"/>
                  <a:gd name="connsiteX4" fmla="*/ 27 w 32533"/>
                  <a:gd name="connsiteY4" fmla="*/ 18470 h 43702"/>
                  <a:gd name="connsiteX5" fmla="*/ 3360 w 32533"/>
                  <a:gd name="connsiteY5" fmla="*/ 42092 h 43702"/>
                  <a:gd name="connsiteX6" fmla="*/ 6027 w 32533"/>
                  <a:gd name="connsiteY6" fmla="*/ 43425 h 43702"/>
                  <a:gd name="connsiteX7" fmla="*/ 30507 w 32533"/>
                  <a:gd name="connsiteY7" fmla="*/ 29233 h 43702"/>
                  <a:gd name="connsiteX8" fmla="*/ 32507 w 32533"/>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33" h="43702">
                    <a:moveTo>
                      <a:pt x="32507" y="25233"/>
                    </a:moveTo>
                    <a:lnTo>
                      <a:pt x="29173" y="1611"/>
                    </a:lnTo>
                    <a:cubicBezTo>
                      <a:pt x="28983" y="182"/>
                      <a:pt x="27744" y="-390"/>
                      <a:pt x="26506" y="277"/>
                    </a:cubicBezTo>
                    <a:lnTo>
                      <a:pt x="1932" y="14469"/>
                    </a:lnTo>
                    <a:cubicBezTo>
                      <a:pt x="693" y="15231"/>
                      <a:pt x="-164" y="16946"/>
                      <a:pt x="27" y="18470"/>
                    </a:cubicBezTo>
                    <a:lnTo>
                      <a:pt x="3360" y="42092"/>
                    </a:lnTo>
                    <a:cubicBezTo>
                      <a:pt x="3551" y="43521"/>
                      <a:pt x="4789" y="44092"/>
                      <a:pt x="6027" y="43425"/>
                    </a:cubicBezTo>
                    <a:lnTo>
                      <a:pt x="30507" y="29233"/>
                    </a:lnTo>
                    <a:cubicBezTo>
                      <a:pt x="31840" y="28471"/>
                      <a:pt x="32697" y="26661"/>
                      <a:pt x="32507" y="25233"/>
                    </a:cubicBezTo>
                    <a:close/>
                  </a:path>
                </a:pathLst>
              </a:custGeom>
              <a:solidFill>
                <a:srgbClr val="008272"/>
              </a:solidFill>
              <a:ln w="9525" cap="flat">
                <a:noFill/>
                <a:prstDash val="solid"/>
                <a:miter/>
              </a:ln>
            </p:spPr>
            <p:txBody>
              <a:bodyPr rtlCol="0" anchor="ctr"/>
              <a:lstStyle/>
              <a:p>
                <a:endParaRPr lang="en-IN"/>
              </a:p>
            </p:txBody>
          </p:sp>
          <p:sp>
            <p:nvSpPr>
              <p:cNvPr id="4137" name="Freeform: Shape 4136">
                <a:extLst>
                  <a:ext uri="{FF2B5EF4-FFF2-40B4-BE49-F238E27FC236}">
                    <a16:creationId xmlns:a16="http://schemas.microsoft.com/office/drawing/2014/main" id="{B5BE28F1-653F-43DA-9674-02E6FEFCEE98}"/>
                  </a:ext>
                </a:extLst>
              </p:cNvPr>
              <p:cNvSpPr/>
              <p:nvPr/>
            </p:nvSpPr>
            <p:spPr>
              <a:xfrm>
                <a:off x="5958446" y="3488070"/>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6" y="29233"/>
                    </a:lnTo>
                    <a:cubicBezTo>
                      <a:pt x="31745" y="28471"/>
                      <a:pt x="32602" y="26757"/>
                      <a:pt x="32411" y="25233"/>
                    </a:cubicBezTo>
                    <a:close/>
                  </a:path>
                </a:pathLst>
              </a:custGeom>
              <a:solidFill>
                <a:srgbClr val="ECECEC"/>
              </a:solidFill>
              <a:ln w="9525" cap="flat">
                <a:noFill/>
                <a:prstDash val="solid"/>
                <a:miter/>
              </a:ln>
            </p:spPr>
            <p:txBody>
              <a:bodyPr rtlCol="0" anchor="ctr"/>
              <a:lstStyle/>
              <a:p>
                <a:endParaRPr lang="en-IN"/>
              </a:p>
            </p:txBody>
          </p:sp>
          <p:sp>
            <p:nvSpPr>
              <p:cNvPr id="4138" name="Freeform: Shape 4137">
                <a:extLst>
                  <a:ext uri="{FF2B5EF4-FFF2-40B4-BE49-F238E27FC236}">
                    <a16:creationId xmlns:a16="http://schemas.microsoft.com/office/drawing/2014/main" id="{594A6686-8502-434D-9E6F-382B2534C015}"/>
                  </a:ext>
                </a:extLst>
              </p:cNvPr>
              <p:cNvSpPr/>
              <p:nvPr/>
            </p:nvSpPr>
            <p:spPr>
              <a:xfrm>
                <a:off x="5996355" y="3466257"/>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39" name="Freeform: Shape 4138">
                <a:extLst>
                  <a:ext uri="{FF2B5EF4-FFF2-40B4-BE49-F238E27FC236}">
                    <a16:creationId xmlns:a16="http://schemas.microsoft.com/office/drawing/2014/main" id="{471AB30B-3320-4B42-A494-5C4D71ED56F6}"/>
                  </a:ext>
                </a:extLst>
              </p:cNvPr>
              <p:cNvSpPr/>
              <p:nvPr/>
            </p:nvSpPr>
            <p:spPr>
              <a:xfrm>
                <a:off x="6034265" y="3444445"/>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6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6" y="18470"/>
                    </a:cubicBezTo>
                    <a:lnTo>
                      <a:pt x="3360" y="42092"/>
                    </a:lnTo>
                    <a:cubicBezTo>
                      <a:pt x="3551" y="43521"/>
                      <a:pt x="4789" y="44092"/>
                      <a:pt x="6027" y="43425"/>
                    </a:cubicBezTo>
                    <a:lnTo>
                      <a:pt x="30507" y="29233"/>
                    </a:lnTo>
                    <a:cubicBezTo>
                      <a:pt x="31745" y="28471"/>
                      <a:pt x="32602" y="26661"/>
                      <a:pt x="32412" y="25233"/>
                    </a:cubicBezTo>
                    <a:close/>
                  </a:path>
                </a:pathLst>
              </a:custGeom>
              <a:solidFill>
                <a:srgbClr val="ECECEC"/>
              </a:solidFill>
              <a:ln w="9525" cap="flat">
                <a:noFill/>
                <a:prstDash val="solid"/>
                <a:miter/>
              </a:ln>
            </p:spPr>
            <p:txBody>
              <a:bodyPr rtlCol="0" anchor="ctr"/>
              <a:lstStyle/>
              <a:p>
                <a:endParaRPr lang="en-IN"/>
              </a:p>
            </p:txBody>
          </p:sp>
          <p:sp>
            <p:nvSpPr>
              <p:cNvPr id="4140" name="Freeform: Shape 4139">
                <a:extLst>
                  <a:ext uri="{FF2B5EF4-FFF2-40B4-BE49-F238E27FC236}">
                    <a16:creationId xmlns:a16="http://schemas.microsoft.com/office/drawing/2014/main" id="{A1974756-DCD8-425D-A779-052AAC43CC81}"/>
                  </a:ext>
                </a:extLst>
              </p:cNvPr>
              <p:cNvSpPr/>
              <p:nvPr/>
            </p:nvSpPr>
            <p:spPr>
              <a:xfrm>
                <a:off x="6072079" y="3422538"/>
                <a:ext cx="32466" cy="43702"/>
              </a:xfrm>
              <a:custGeom>
                <a:avLst/>
                <a:gdLst>
                  <a:gd name="connsiteX0" fmla="*/ 32411 w 32466"/>
                  <a:gd name="connsiteY0" fmla="*/ 25233 h 43702"/>
                  <a:gd name="connsiteX1" fmla="*/ 29078 w 32466"/>
                  <a:gd name="connsiteY1" fmla="*/ 1611 h 43702"/>
                  <a:gd name="connsiteX2" fmla="*/ 26411 w 32466"/>
                  <a:gd name="connsiteY2" fmla="*/ 277 h 43702"/>
                  <a:gd name="connsiteX3" fmla="*/ 1931 w 32466"/>
                  <a:gd name="connsiteY3" fmla="*/ 14469 h 43702"/>
                  <a:gd name="connsiteX4" fmla="*/ 27 w 32466"/>
                  <a:gd name="connsiteY4" fmla="*/ 18470 h 43702"/>
                  <a:gd name="connsiteX5" fmla="*/ 3360 w 32466"/>
                  <a:gd name="connsiteY5" fmla="*/ 42092 h 43702"/>
                  <a:gd name="connsiteX6" fmla="*/ 6027 w 32466"/>
                  <a:gd name="connsiteY6" fmla="*/ 43425 h 43702"/>
                  <a:gd name="connsiteX7" fmla="*/ 30506 w 32466"/>
                  <a:gd name="connsiteY7" fmla="*/ 29233 h 43702"/>
                  <a:gd name="connsiteX8" fmla="*/ 32411 w 32466"/>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6"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840" y="28471"/>
                      <a:pt x="32697" y="26757"/>
                      <a:pt x="32411" y="25233"/>
                    </a:cubicBezTo>
                    <a:close/>
                  </a:path>
                </a:pathLst>
              </a:custGeom>
              <a:solidFill>
                <a:srgbClr val="ECECEC"/>
              </a:solidFill>
              <a:ln w="9525" cap="flat">
                <a:noFill/>
                <a:prstDash val="solid"/>
                <a:miter/>
              </a:ln>
            </p:spPr>
            <p:txBody>
              <a:bodyPr rtlCol="0" anchor="ctr"/>
              <a:lstStyle/>
              <a:p>
                <a:endParaRPr lang="en-IN"/>
              </a:p>
            </p:txBody>
          </p:sp>
          <p:sp>
            <p:nvSpPr>
              <p:cNvPr id="4141" name="Freeform: Shape 4140">
                <a:extLst>
                  <a:ext uri="{FF2B5EF4-FFF2-40B4-BE49-F238E27FC236}">
                    <a16:creationId xmlns:a16="http://schemas.microsoft.com/office/drawing/2014/main" id="{B7F60F75-0F89-444E-A5FD-3C50F925AE4B}"/>
                  </a:ext>
                </a:extLst>
              </p:cNvPr>
              <p:cNvSpPr/>
              <p:nvPr/>
            </p:nvSpPr>
            <p:spPr>
              <a:xfrm>
                <a:off x="6109988" y="3400725"/>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2" name="Freeform: Shape 4141">
                <a:extLst>
                  <a:ext uri="{FF2B5EF4-FFF2-40B4-BE49-F238E27FC236}">
                    <a16:creationId xmlns:a16="http://schemas.microsoft.com/office/drawing/2014/main" id="{DC1F25D5-DAEB-4D82-9E6A-2B9F9025AE95}"/>
                  </a:ext>
                </a:extLst>
              </p:cNvPr>
              <p:cNvSpPr/>
              <p:nvPr/>
            </p:nvSpPr>
            <p:spPr>
              <a:xfrm>
                <a:off x="6147898" y="3378913"/>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1 w 32437"/>
                  <a:gd name="connsiteY3" fmla="*/ 14469 h 43702"/>
                  <a:gd name="connsiteX4" fmla="*/ 27 w 32437"/>
                  <a:gd name="connsiteY4" fmla="*/ 18470 h 43702"/>
                  <a:gd name="connsiteX5" fmla="*/ 3360 w 32437"/>
                  <a:gd name="connsiteY5" fmla="*/ 42092 h 43702"/>
                  <a:gd name="connsiteX6" fmla="*/ 6027 w 32437"/>
                  <a:gd name="connsiteY6" fmla="*/ 43425 h 43702"/>
                  <a:gd name="connsiteX7" fmla="*/ 30506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3" name="Freeform: Shape 4142">
                <a:extLst>
                  <a:ext uri="{FF2B5EF4-FFF2-40B4-BE49-F238E27FC236}">
                    <a16:creationId xmlns:a16="http://schemas.microsoft.com/office/drawing/2014/main" id="{2A31E684-79C7-46C7-9334-03755CC63C9C}"/>
                  </a:ext>
                </a:extLst>
              </p:cNvPr>
              <p:cNvSpPr/>
              <p:nvPr/>
            </p:nvSpPr>
            <p:spPr>
              <a:xfrm>
                <a:off x="5913964" y="3463781"/>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008272"/>
              </a:solidFill>
              <a:ln w="9525" cap="flat">
                <a:noFill/>
                <a:prstDash val="solid"/>
                <a:miter/>
              </a:ln>
            </p:spPr>
            <p:txBody>
              <a:bodyPr rtlCol="0" anchor="ctr"/>
              <a:lstStyle/>
              <a:p>
                <a:endParaRPr lang="en-IN"/>
              </a:p>
            </p:txBody>
          </p:sp>
          <p:sp>
            <p:nvSpPr>
              <p:cNvPr id="4144" name="Freeform: Shape 4143">
                <a:extLst>
                  <a:ext uri="{FF2B5EF4-FFF2-40B4-BE49-F238E27FC236}">
                    <a16:creationId xmlns:a16="http://schemas.microsoft.com/office/drawing/2014/main" id="{3648EDC3-AF48-4691-A3D2-07E12B3C8F02}"/>
                  </a:ext>
                </a:extLst>
              </p:cNvPr>
              <p:cNvSpPr/>
              <p:nvPr/>
            </p:nvSpPr>
            <p:spPr>
              <a:xfrm>
                <a:off x="5951873" y="3441969"/>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2 w 32437"/>
                  <a:gd name="connsiteY3" fmla="*/ 14469 h 43702"/>
                  <a:gd name="connsiteX4" fmla="*/ 27 w 32437"/>
                  <a:gd name="connsiteY4" fmla="*/ 18470 h 43702"/>
                  <a:gd name="connsiteX5" fmla="*/ 3360 w 32437"/>
                  <a:gd name="connsiteY5" fmla="*/ 42092 h 43702"/>
                  <a:gd name="connsiteX6" fmla="*/ 6027 w 32437"/>
                  <a:gd name="connsiteY6" fmla="*/ 43425 h 43702"/>
                  <a:gd name="connsiteX7" fmla="*/ 30507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5" name="Freeform: Shape 4144">
                <a:extLst>
                  <a:ext uri="{FF2B5EF4-FFF2-40B4-BE49-F238E27FC236}">
                    <a16:creationId xmlns:a16="http://schemas.microsoft.com/office/drawing/2014/main" id="{C09EE3CD-AC24-46CE-A4E8-4A657C716BF7}"/>
                  </a:ext>
                </a:extLst>
              </p:cNvPr>
              <p:cNvSpPr/>
              <p:nvPr/>
            </p:nvSpPr>
            <p:spPr>
              <a:xfrm>
                <a:off x="5989783" y="3420061"/>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6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6" y="18470"/>
                    </a:cubicBezTo>
                    <a:lnTo>
                      <a:pt x="3360" y="42092"/>
                    </a:lnTo>
                    <a:cubicBezTo>
                      <a:pt x="3551" y="43521"/>
                      <a:pt x="4789" y="44092"/>
                      <a:pt x="6027" y="43425"/>
                    </a:cubicBezTo>
                    <a:lnTo>
                      <a:pt x="30507" y="29233"/>
                    </a:lnTo>
                    <a:cubicBezTo>
                      <a:pt x="31745" y="28471"/>
                      <a:pt x="32602" y="26757"/>
                      <a:pt x="32412" y="25233"/>
                    </a:cubicBezTo>
                    <a:close/>
                  </a:path>
                </a:pathLst>
              </a:custGeom>
              <a:solidFill>
                <a:srgbClr val="ECECEC"/>
              </a:solidFill>
              <a:ln w="9525" cap="flat">
                <a:noFill/>
                <a:prstDash val="solid"/>
                <a:miter/>
              </a:ln>
            </p:spPr>
            <p:txBody>
              <a:bodyPr rtlCol="0" anchor="ctr"/>
              <a:lstStyle/>
              <a:p>
                <a:endParaRPr lang="en-IN"/>
              </a:p>
            </p:txBody>
          </p:sp>
          <p:sp>
            <p:nvSpPr>
              <p:cNvPr id="4146" name="Freeform: Shape 4145">
                <a:extLst>
                  <a:ext uri="{FF2B5EF4-FFF2-40B4-BE49-F238E27FC236}">
                    <a16:creationId xmlns:a16="http://schemas.microsoft.com/office/drawing/2014/main" id="{9A571D5D-6A19-4A8F-919D-C53C5AD07EDA}"/>
                  </a:ext>
                </a:extLst>
              </p:cNvPr>
              <p:cNvSpPr/>
              <p:nvPr/>
            </p:nvSpPr>
            <p:spPr>
              <a:xfrm>
                <a:off x="6027693" y="3398249"/>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1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7" name="Freeform: Shape 4146">
                <a:extLst>
                  <a:ext uri="{FF2B5EF4-FFF2-40B4-BE49-F238E27FC236}">
                    <a16:creationId xmlns:a16="http://schemas.microsoft.com/office/drawing/2014/main" id="{FA6FFB26-4CD8-4180-A228-58F73871209D}"/>
                  </a:ext>
                </a:extLst>
              </p:cNvPr>
              <p:cNvSpPr/>
              <p:nvPr/>
            </p:nvSpPr>
            <p:spPr>
              <a:xfrm>
                <a:off x="6065507" y="3376437"/>
                <a:ext cx="32462" cy="43702"/>
              </a:xfrm>
              <a:custGeom>
                <a:avLst/>
                <a:gdLst>
                  <a:gd name="connsiteX0" fmla="*/ 32411 w 32462"/>
                  <a:gd name="connsiteY0" fmla="*/ 25233 h 43702"/>
                  <a:gd name="connsiteX1" fmla="*/ 29078 w 32462"/>
                  <a:gd name="connsiteY1" fmla="*/ 1611 h 43702"/>
                  <a:gd name="connsiteX2" fmla="*/ 26411 w 32462"/>
                  <a:gd name="connsiteY2" fmla="*/ 277 h 43702"/>
                  <a:gd name="connsiteX3" fmla="*/ 1932 w 32462"/>
                  <a:gd name="connsiteY3" fmla="*/ 14469 h 43702"/>
                  <a:gd name="connsiteX4" fmla="*/ 27 w 32462"/>
                  <a:gd name="connsiteY4" fmla="*/ 18470 h 43702"/>
                  <a:gd name="connsiteX5" fmla="*/ 3360 w 32462"/>
                  <a:gd name="connsiteY5" fmla="*/ 42092 h 43702"/>
                  <a:gd name="connsiteX6" fmla="*/ 6027 w 32462"/>
                  <a:gd name="connsiteY6" fmla="*/ 43425 h 43702"/>
                  <a:gd name="connsiteX7" fmla="*/ 30507 w 32462"/>
                  <a:gd name="connsiteY7" fmla="*/ 29233 h 43702"/>
                  <a:gd name="connsiteX8" fmla="*/ 32411 w 32462"/>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2"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97"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8" name="Freeform: Shape 4147">
                <a:extLst>
                  <a:ext uri="{FF2B5EF4-FFF2-40B4-BE49-F238E27FC236}">
                    <a16:creationId xmlns:a16="http://schemas.microsoft.com/office/drawing/2014/main" id="{0E0905A1-7EAB-4620-909C-F4C30D27FF2F}"/>
                  </a:ext>
                </a:extLst>
              </p:cNvPr>
              <p:cNvSpPr/>
              <p:nvPr/>
            </p:nvSpPr>
            <p:spPr>
              <a:xfrm>
                <a:off x="6103416" y="3354529"/>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757"/>
                      <a:pt x="32412" y="25233"/>
                    </a:cubicBezTo>
                    <a:close/>
                  </a:path>
                </a:pathLst>
              </a:custGeom>
              <a:solidFill>
                <a:srgbClr val="ECECEC"/>
              </a:solidFill>
              <a:ln w="9525" cap="flat">
                <a:noFill/>
                <a:prstDash val="solid"/>
                <a:miter/>
              </a:ln>
            </p:spPr>
            <p:txBody>
              <a:bodyPr rtlCol="0" anchor="ctr"/>
              <a:lstStyle/>
              <a:p>
                <a:endParaRPr lang="en-IN"/>
              </a:p>
            </p:txBody>
          </p:sp>
          <p:sp>
            <p:nvSpPr>
              <p:cNvPr id="4149" name="Freeform: Shape 4148">
                <a:extLst>
                  <a:ext uri="{FF2B5EF4-FFF2-40B4-BE49-F238E27FC236}">
                    <a16:creationId xmlns:a16="http://schemas.microsoft.com/office/drawing/2014/main" id="{509BE079-FFA8-4B35-9DEC-F9CAD4085EF1}"/>
                  </a:ext>
                </a:extLst>
              </p:cNvPr>
              <p:cNvSpPr/>
              <p:nvPr/>
            </p:nvSpPr>
            <p:spPr>
              <a:xfrm>
                <a:off x="6141326" y="3332717"/>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2" y="25233"/>
                    </a:cubicBezTo>
                    <a:close/>
                  </a:path>
                </a:pathLst>
              </a:custGeom>
              <a:solidFill>
                <a:srgbClr val="ECECEC"/>
              </a:solidFill>
              <a:ln w="9525" cap="flat">
                <a:noFill/>
                <a:prstDash val="solid"/>
                <a:miter/>
              </a:ln>
            </p:spPr>
            <p:txBody>
              <a:bodyPr rtlCol="0" anchor="ctr"/>
              <a:lstStyle/>
              <a:p>
                <a:endParaRPr lang="en-IN"/>
              </a:p>
            </p:txBody>
          </p:sp>
          <p:sp>
            <p:nvSpPr>
              <p:cNvPr id="4150" name="Freeform: Shape 4149">
                <a:extLst>
                  <a:ext uri="{FF2B5EF4-FFF2-40B4-BE49-F238E27FC236}">
                    <a16:creationId xmlns:a16="http://schemas.microsoft.com/office/drawing/2014/main" id="{A9D3A168-3B3C-4AD5-A58A-AAC84531FE84}"/>
                  </a:ext>
                </a:extLst>
              </p:cNvPr>
              <p:cNvSpPr/>
              <p:nvPr/>
            </p:nvSpPr>
            <p:spPr>
              <a:xfrm>
                <a:off x="5907392" y="3417585"/>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757"/>
                      <a:pt x="32412" y="25233"/>
                    </a:cubicBezTo>
                    <a:close/>
                  </a:path>
                </a:pathLst>
              </a:custGeom>
              <a:solidFill>
                <a:srgbClr val="008272"/>
              </a:solidFill>
              <a:ln w="9525" cap="flat">
                <a:noFill/>
                <a:prstDash val="solid"/>
                <a:miter/>
              </a:ln>
            </p:spPr>
            <p:txBody>
              <a:bodyPr rtlCol="0" anchor="ctr"/>
              <a:lstStyle/>
              <a:p>
                <a:endParaRPr lang="en-IN"/>
              </a:p>
            </p:txBody>
          </p:sp>
          <p:sp>
            <p:nvSpPr>
              <p:cNvPr id="4151" name="Freeform: Shape 4150">
                <a:extLst>
                  <a:ext uri="{FF2B5EF4-FFF2-40B4-BE49-F238E27FC236}">
                    <a16:creationId xmlns:a16="http://schemas.microsoft.com/office/drawing/2014/main" id="{E56C03C7-1DEC-47CF-A71B-C5FE1734E0E8}"/>
                  </a:ext>
                </a:extLst>
              </p:cNvPr>
              <p:cNvSpPr/>
              <p:nvPr/>
            </p:nvSpPr>
            <p:spPr>
              <a:xfrm>
                <a:off x="5945301" y="3395772"/>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2" y="25233"/>
                    </a:cubicBezTo>
                    <a:close/>
                  </a:path>
                </a:pathLst>
              </a:custGeom>
              <a:solidFill>
                <a:srgbClr val="ECECEC"/>
              </a:solidFill>
              <a:ln w="9525" cap="flat">
                <a:noFill/>
                <a:prstDash val="solid"/>
                <a:miter/>
              </a:ln>
            </p:spPr>
            <p:txBody>
              <a:bodyPr rtlCol="0" anchor="ctr"/>
              <a:lstStyle/>
              <a:p>
                <a:endParaRPr lang="en-IN"/>
              </a:p>
            </p:txBody>
          </p:sp>
          <p:sp>
            <p:nvSpPr>
              <p:cNvPr id="4152" name="Freeform: Shape 4151">
                <a:extLst>
                  <a:ext uri="{FF2B5EF4-FFF2-40B4-BE49-F238E27FC236}">
                    <a16:creationId xmlns:a16="http://schemas.microsoft.com/office/drawing/2014/main" id="{26D75512-7A35-456B-8E35-E7313A52C3EE}"/>
                  </a:ext>
                </a:extLst>
              </p:cNvPr>
              <p:cNvSpPr/>
              <p:nvPr/>
            </p:nvSpPr>
            <p:spPr>
              <a:xfrm>
                <a:off x="5983211" y="3373960"/>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1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53" name="Freeform: Shape 4152">
                <a:extLst>
                  <a:ext uri="{FF2B5EF4-FFF2-40B4-BE49-F238E27FC236}">
                    <a16:creationId xmlns:a16="http://schemas.microsoft.com/office/drawing/2014/main" id="{E87D2D9C-7F5E-41D9-908D-C4605F673B8B}"/>
                  </a:ext>
                </a:extLst>
              </p:cNvPr>
              <p:cNvSpPr/>
              <p:nvPr/>
            </p:nvSpPr>
            <p:spPr>
              <a:xfrm>
                <a:off x="6021025" y="3352053"/>
                <a:ext cx="32462" cy="43702"/>
              </a:xfrm>
              <a:custGeom>
                <a:avLst/>
                <a:gdLst>
                  <a:gd name="connsiteX0" fmla="*/ 32411 w 32462"/>
                  <a:gd name="connsiteY0" fmla="*/ 25233 h 43702"/>
                  <a:gd name="connsiteX1" fmla="*/ 29078 w 32462"/>
                  <a:gd name="connsiteY1" fmla="*/ 1611 h 43702"/>
                  <a:gd name="connsiteX2" fmla="*/ 26411 w 32462"/>
                  <a:gd name="connsiteY2" fmla="*/ 277 h 43702"/>
                  <a:gd name="connsiteX3" fmla="*/ 1932 w 32462"/>
                  <a:gd name="connsiteY3" fmla="*/ 14469 h 43702"/>
                  <a:gd name="connsiteX4" fmla="*/ 27 w 32462"/>
                  <a:gd name="connsiteY4" fmla="*/ 18470 h 43702"/>
                  <a:gd name="connsiteX5" fmla="*/ 3360 w 32462"/>
                  <a:gd name="connsiteY5" fmla="*/ 42092 h 43702"/>
                  <a:gd name="connsiteX6" fmla="*/ 6027 w 32462"/>
                  <a:gd name="connsiteY6" fmla="*/ 43425 h 43702"/>
                  <a:gd name="connsiteX7" fmla="*/ 30507 w 32462"/>
                  <a:gd name="connsiteY7" fmla="*/ 29233 h 43702"/>
                  <a:gd name="connsiteX8" fmla="*/ 32411 w 32462"/>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2"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97" y="26757"/>
                      <a:pt x="32411" y="25233"/>
                    </a:cubicBezTo>
                    <a:close/>
                  </a:path>
                </a:pathLst>
              </a:custGeom>
              <a:solidFill>
                <a:srgbClr val="ECECEC"/>
              </a:solidFill>
              <a:ln w="9525" cap="flat">
                <a:noFill/>
                <a:prstDash val="solid"/>
                <a:miter/>
              </a:ln>
            </p:spPr>
            <p:txBody>
              <a:bodyPr rtlCol="0" anchor="ctr"/>
              <a:lstStyle/>
              <a:p>
                <a:endParaRPr lang="en-IN"/>
              </a:p>
            </p:txBody>
          </p:sp>
          <p:sp>
            <p:nvSpPr>
              <p:cNvPr id="4154" name="Freeform: Shape 4153">
                <a:extLst>
                  <a:ext uri="{FF2B5EF4-FFF2-40B4-BE49-F238E27FC236}">
                    <a16:creationId xmlns:a16="http://schemas.microsoft.com/office/drawing/2014/main" id="{07070606-73AE-460E-A910-794AB3F96DBC}"/>
                  </a:ext>
                </a:extLst>
              </p:cNvPr>
              <p:cNvSpPr/>
              <p:nvPr/>
            </p:nvSpPr>
            <p:spPr>
              <a:xfrm>
                <a:off x="6058934" y="3330240"/>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2 w 32437"/>
                  <a:gd name="connsiteY3" fmla="*/ 14469 h 43702"/>
                  <a:gd name="connsiteX4" fmla="*/ 26 w 32437"/>
                  <a:gd name="connsiteY4" fmla="*/ 18470 h 43702"/>
                  <a:gd name="connsiteX5" fmla="*/ 3360 w 32437"/>
                  <a:gd name="connsiteY5" fmla="*/ 42092 h 43702"/>
                  <a:gd name="connsiteX6" fmla="*/ 6027 w 32437"/>
                  <a:gd name="connsiteY6" fmla="*/ 43425 h 43702"/>
                  <a:gd name="connsiteX7" fmla="*/ 30507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2" y="14469"/>
                    </a:lnTo>
                    <a:cubicBezTo>
                      <a:pt x="693" y="15231"/>
                      <a:pt x="-164" y="16946"/>
                      <a:pt x="26"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55" name="Freeform: Shape 4154">
                <a:extLst>
                  <a:ext uri="{FF2B5EF4-FFF2-40B4-BE49-F238E27FC236}">
                    <a16:creationId xmlns:a16="http://schemas.microsoft.com/office/drawing/2014/main" id="{C58FA7D0-EA2E-4400-8BE1-4E79DBCB6360}"/>
                  </a:ext>
                </a:extLst>
              </p:cNvPr>
              <p:cNvSpPr/>
              <p:nvPr/>
            </p:nvSpPr>
            <p:spPr>
              <a:xfrm>
                <a:off x="6096844" y="3308428"/>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1 w 32437"/>
                  <a:gd name="connsiteY3" fmla="*/ 14469 h 43702"/>
                  <a:gd name="connsiteX4" fmla="*/ 27 w 32437"/>
                  <a:gd name="connsiteY4" fmla="*/ 18470 h 43702"/>
                  <a:gd name="connsiteX5" fmla="*/ 3360 w 32437"/>
                  <a:gd name="connsiteY5" fmla="*/ 42092 h 43702"/>
                  <a:gd name="connsiteX6" fmla="*/ 6027 w 32437"/>
                  <a:gd name="connsiteY6" fmla="*/ 43425 h 43702"/>
                  <a:gd name="connsiteX7" fmla="*/ 30507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7" y="29233"/>
                    </a:lnTo>
                    <a:cubicBezTo>
                      <a:pt x="31745" y="28376"/>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56" name="Freeform: Shape 4155">
                <a:extLst>
                  <a:ext uri="{FF2B5EF4-FFF2-40B4-BE49-F238E27FC236}">
                    <a16:creationId xmlns:a16="http://schemas.microsoft.com/office/drawing/2014/main" id="{EAE39D15-F9BD-4643-BA5E-E1E021DBD8D7}"/>
                  </a:ext>
                </a:extLst>
              </p:cNvPr>
              <p:cNvSpPr/>
              <p:nvPr/>
            </p:nvSpPr>
            <p:spPr>
              <a:xfrm>
                <a:off x="6134754" y="3286521"/>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2 w 32437"/>
                  <a:gd name="connsiteY3" fmla="*/ 14469 h 43702"/>
                  <a:gd name="connsiteX4" fmla="*/ 27 w 32437"/>
                  <a:gd name="connsiteY4" fmla="*/ 18470 h 43702"/>
                  <a:gd name="connsiteX5" fmla="*/ 3360 w 32437"/>
                  <a:gd name="connsiteY5" fmla="*/ 42092 h 43702"/>
                  <a:gd name="connsiteX6" fmla="*/ 6027 w 32437"/>
                  <a:gd name="connsiteY6" fmla="*/ 43425 h 43702"/>
                  <a:gd name="connsiteX7" fmla="*/ 30507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57" name="Freeform: Shape 4156">
                <a:extLst>
                  <a:ext uri="{FF2B5EF4-FFF2-40B4-BE49-F238E27FC236}">
                    <a16:creationId xmlns:a16="http://schemas.microsoft.com/office/drawing/2014/main" id="{0F0DC941-6D49-401A-B349-83723203AF26}"/>
                  </a:ext>
                </a:extLst>
              </p:cNvPr>
              <p:cNvSpPr/>
              <p:nvPr/>
            </p:nvSpPr>
            <p:spPr>
              <a:xfrm>
                <a:off x="5904058" y="3393582"/>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2 w 29961"/>
                  <a:gd name="connsiteY3" fmla="*/ 14469 h 26081"/>
                  <a:gd name="connsiteX4" fmla="*/ 27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2" y="14469"/>
                    </a:lnTo>
                    <a:cubicBezTo>
                      <a:pt x="693" y="15231"/>
                      <a:pt x="-164" y="16946"/>
                      <a:pt x="27" y="18470"/>
                    </a:cubicBezTo>
                    <a:lnTo>
                      <a:pt x="884" y="24471"/>
                    </a:lnTo>
                    <a:cubicBezTo>
                      <a:pt x="1074" y="25899"/>
                      <a:pt x="2313" y="26471"/>
                      <a:pt x="3551" y="25804"/>
                    </a:cubicBezTo>
                    <a:lnTo>
                      <a:pt x="28030" y="11612"/>
                    </a:lnTo>
                    <a:cubicBezTo>
                      <a:pt x="29268" y="10850"/>
                      <a:pt x="30126" y="9040"/>
                      <a:pt x="29935" y="7611"/>
                    </a:cubicBezTo>
                    <a:close/>
                  </a:path>
                </a:pathLst>
              </a:custGeom>
              <a:solidFill>
                <a:srgbClr val="E7E7E7"/>
              </a:solidFill>
              <a:ln w="9525" cap="flat">
                <a:noFill/>
                <a:prstDash val="solid"/>
                <a:miter/>
              </a:ln>
            </p:spPr>
            <p:txBody>
              <a:bodyPr rtlCol="0" anchor="ctr"/>
              <a:lstStyle/>
              <a:p>
                <a:endParaRPr lang="en-IN"/>
              </a:p>
            </p:txBody>
          </p:sp>
          <p:sp>
            <p:nvSpPr>
              <p:cNvPr id="4158" name="Freeform: Shape 4157">
                <a:extLst>
                  <a:ext uri="{FF2B5EF4-FFF2-40B4-BE49-F238E27FC236}">
                    <a16:creationId xmlns:a16="http://schemas.microsoft.com/office/drawing/2014/main" id="{51047507-4927-433E-B425-2704C433F69E}"/>
                  </a:ext>
                </a:extLst>
              </p:cNvPr>
              <p:cNvSpPr/>
              <p:nvPr/>
            </p:nvSpPr>
            <p:spPr>
              <a:xfrm>
                <a:off x="5941967" y="3371674"/>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1 w 29961"/>
                  <a:gd name="connsiteY3" fmla="*/ 14469 h 26081"/>
                  <a:gd name="connsiteX4" fmla="*/ 27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1" y="14469"/>
                    </a:lnTo>
                    <a:cubicBezTo>
                      <a:pt x="693" y="15231"/>
                      <a:pt x="-164" y="16946"/>
                      <a:pt x="27" y="18470"/>
                    </a:cubicBezTo>
                    <a:lnTo>
                      <a:pt x="884" y="24471"/>
                    </a:lnTo>
                    <a:cubicBezTo>
                      <a:pt x="1074" y="25899"/>
                      <a:pt x="2313" y="26471"/>
                      <a:pt x="3551" y="25804"/>
                    </a:cubicBezTo>
                    <a:lnTo>
                      <a:pt x="28030" y="11612"/>
                    </a:lnTo>
                    <a:cubicBezTo>
                      <a:pt x="29268" y="10850"/>
                      <a:pt x="30125" y="9135"/>
                      <a:pt x="29935" y="7611"/>
                    </a:cubicBezTo>
                    <a:close/>
                  </a:path>
                </a:pathLst>
              </a:custGeom>
              <a:solidFill>
                <a:srgbClr val="E7E7E7"/>
              </a:solidFill>
              <a:ln w="9525" cap="flat">
                <a:noFill/>
                <a:prstDash val="solid"/>
                <a:miter/>
              </a:ln>
            </p:spPr>
            <p:txBody>
              <a:bodyPr rtlCol="0" anchor="ctr"/>
              <a:lstStyle/>
              <a:p>
                <a:endParaRPr lang="en-IN"/>
              </a:p>
            </p:txBody>
          </p:sp>
          <p:sp>
            <p:nvSpPr>
              <p:cNvPr id="4159" name="Freeform: Shape 4158">
                <a:extLst>
                  <a:ext uri="{FF2B5EF4-FFF2-40B4-BE49-F238E27FC236}">
                    <a16:creationId xmlns:a16="http://schemas.microsoft.com/office/drawing/2014/main" id="{3F303872-4DF1-4CC6-BF0A-94E3049846CD}"/>
                  </a:ext>
                </a:extLst>
              </p:cNvPr>
              <p:cNvSpPr/>
              <p:nvPr/>
            </p:nvSpPr>
            <p:spPr>
              <a:xfrm>
                <a:off x="5979782" y="3349862"/>
                <a:ext cx="29986" cy="26081"/>
              </a:xfrm>
              <a:custGeom>
                <a:avLst/>
                <a:gdLst>
                  <a:gd name="connsiteX0" fmla="*/ 29935 w 29986"/>
                  <a:gd name="connsiteY0" fmla="*/ 7611 h 26081"/>
                  <a:gd name="connsiteX1" fmla="*/ 29078 w 29986"/>
                  <a:gd name="connsiteY1" fmla="*/ 1611 h 26081"/>
                  <a:gd name="connsiteX2" fmla="*/ 26411 w 29986"/>
                  <a:gd name="connsiteY2" fmla="*/ 277 h 26081"/>
                  <a:gd name="connsiteX3" fmla="*/ 1932 w 29986"/>
                  <a:gd name="connsiteY3" fmla="*/ 14469 h 26081"/>
                  <a:gd name="connsiteX4" fmla="*/ 27 w 29986"/>
                  <a:gd name="connsiteY4" fmla="*/ 18470 h 26081"/>
                  <a:gd name="connsiteX5" fmla="*/ 884 w 29986"/>
                  <a:gd name="connsiteY5" fmla="*/ 24471 h 26081"/>
                  <a:gd name="connsiteX6" fmla="*/ 3551 w 29986"/>
                  <a:gd name="connsiteY6" fmla="*/ 25804 h 26081"/>
                  <a:gd name="connsiteX7" fmla="*/ 28030 w 29986"/>
                  <a:gd name="connsiteY7" fmla="*/ 11612 h 26081"/>
                  <a:gd name="connsiteX8" fmla="*/ 29935 w 29986"/>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86" h="26081">
                    <a:moveTo>
                      <a:pt x="29935" y="7611"/>
                    </a:moveTo>
                    <a:lnTo>
                      <a:pt x="29078" y="1611"/>
                    </a:lnTo>
                    <a:cubicBezTo>
                      <a:pt x="28887" y="182"/>
                      <a:pt x="27649" y="-390"/>
                      <a:pt x="26411" y="277"/>
                    </a:cubicBezTo>
                    <a:lnTo>
                      <a:pt x="1932" y="14469"/>
                    </a:lnTo>
                    <a:cubicBezTo>
                      <a:pt x="693" y="15231"/>
                      <a:pt x="-164" y="16946"/>
                      <a:pt x="27" y="18470"/>
                    </a:cubicBezTo>
                    <a:lnTo>
                      <a:pt x="884" y="24471"/>
                    </a:lnTo>
                    <a:cubicBezTo>
                      <a:pt x="1074" y="25899"/>
                      <a:pt x="2313" y="26471"/>
                      <a:pt x="3551" y="25804"/>
                    </a:cubicBezTo>
                    <a:lnTo>
                      <a:pt x="28030" y="11612"/>
                    </a:lnTo>
                    <a:cubicBezTo>
                      <a:pt x="29268" y="10850"/>
                      <a:pt x="30221" y="9040"/>
                      <a:pt x="29935" y="7611"/>
                    </a:cubicBezTo>
                    <a:close/>
                  </a:path>
                </a:pathLst>
              </a:custGeom>
              <a:solidFill>
                <a:srgbClr val="E7E7E7"/>
              </a:solidFill>
              <a:ln w="9525" cap="flat">
                <a:noFill/>
                <a:prstDash val="solid"/>
                <a:miter/>
              </a:ln>
            </p:spPr>
            <p:txBody>
              <a:bodyPr rtlCol="0" anchor="ctr"/>
              <a:lstStyle/>
              <a:p>
                <a:endParaRPr lang="en-IN"/>
              </a:p>
            </p:txBody>
          </p:sp>
          <p:sp>
            <p:nvSpPr>
              <p:cNvPr id="153" name="Freeform: Shape 152">
                <a:extLst>
                  <a:ext uri="{FF2B5EF4-FFF2-40B4-BE49-F238E27FC236}">
                    <a16:creationId xmlns:a16="http://schemas.microsoft.com/office/drawing/2014/main" id="{04EDAEA6-0A41-4042-8C0E-FA9C6C2469F8}"/>
                  </a:ext>
                </a:extLst>
              </p:cNvPr>
              <p:cNvSpPr/>
              <p:nvPr/>
            </p:nvSpPr>
            <p:spPr>
              <a:xfrm>
                <a:off x="6017691" y="3327954"/>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2 w 29961"/>
                  <a:gd name="connsiteY3" fmla="*/ 14469 h 26081"/>
                  <a:gd name="connsiteX4" fmla="*/ 27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2" y="14469"/>
                    </a:lnTo>
                    <a:cubicBezTo>
                      <a:pt x="693" y="15231"/>
                      <a:pt x="-164" y="16946"/>
                      <a:pt x="27" y="18470"/>
                    </a:cubicBezTo>
                    <a:lnTo>
                      <a:pt x="884" y="24471"/>
                    </a:lnTo>
                    <a:cubicBezTo>
                      <a:pt x="1074" y="25899"/>
                      <a:pt x="2313" y="26471"/>
                      <a:pt x="3551" y="25804"/>
                    </a:cubicBezTo>
                    <a:lnTo>
                      <a:pt x="28030" y="11612"/>
                    </a:lnTo>
                    <a:cubicBezTo>
                      <a:pt x="29268" y="10850"/>
                      <a:pt x="30126" y="9135"/>
                      <a:pt x="29935" y="7611"/>
                    </a:cubicBezTo>
                    <a:close/>
                  </a:path>
                </a:pathLst>
              </a:custGeom>
              <a:solidFill>
                <a:srgbClr val="E7E7E7"/>
              </a:solidFill>
              <a:ln w="9525" cap="flat">
                <a:noFill/>
                <a:prstDash val="solid"/>
                <a:miter/>
              </a:ln>
            </p:spPr>
            <p:txBody>
              <a:bodyPr rtlCol="0" anchor="ctr"/>
              <a:lstStyle/>
              <a:p>
                <a:endParaRPr lang="en-IN"/>
              </a:p>
            </p:txBody>
          </p:sp>
          <p:sp>
            <p:nvSpPr>
              <p:cNvPr id="154" name="Freeform: Shape 153">
                <a:extLst>
                  <a:ext uri="{FF2B5EF4-FFF2-40B4-BE49-F238E27FC236}">
                    <a16:creationId xmlns:a16="http://schemas.microsoft.com/office/drawing/2014/main" id="{65ABECB2-7B4B-4A09-BE70-5AFC001A4F13}"/>
                  </a:ext>
                </a:extLst>
              </p:cNvPr>
              <p:cNvSpPr/>
              <p:nvPr/>
            </p:nvSpPr>
            <p:spPr>
              <a:xfrm>
                <a:off x="6055601" y="3306142"/>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2 w 29961"/>
                  <a:gd name="connsiteY3" fmla="*/ 14469 h 26081"/>
                  <a:gd name="connsiteX4" fmla="*/ 26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2" y="14469"/>
                    </a:lnTo>
                    <a:cubicBezTo>
                      <a:pt x="693" y="15231"/>
                      <a:pt x="-164" y="16946"/>
                      <a:pt x="26" y="18470"/>
                    </a:cubicBezTo>
                    <a:lnTo>
                      <a:pt x="884" y="24471"/>
                    </a:lnTo>
                    <a:cubicBezTo>
                      <a:pt x="1074" y="25899"/>
                      <a:pt x="2313" y="26471"/>
                      <a:pt x="3551" y="25804"/>
                    </a:cubicBezTo>
                    <a:lnTo>
                      <a:pt x="28030" y="11612"/>
                    </a:lnTo>
                    <a:cubicBezTo>
                      <a:pt x="29268" y="10850"/>
                      <a:pt x="30126" y="9040"/>
                      <a:pt x="29935" y="7611"/>
                    </a:cubicBezTo>
                    <a:close/>
                  </a:path>
                </a:pathLst>
              </a:custGeom>
              <a:solidFill>
                <a:srgbClr val="E7E7E7"/>
              </a:solidFill>
              <a:ln w="9525" cap="flat">
                <a:noFill/>
                <a:prstDash val="solid"/>
                <a:miter/>
              </a:ln>
            </p:spPr>
            <p:txBody>
              <a:bodyPr rtlCol="0" anchor="ctr"/>
              <a:lstStyle/>
              <a:p>
                <a:endParaRPr lang="en-IN"/>
              </a:p>
            </p:txBody>
          </p:sp>
          <p:sp>
            <p:nvSpPr>
              <p:cNvPr id="155" name="Freeform: Shape 154">
                <a:extLst>
                  <a:ext uri="{FF2B5EF4-FFF2-40B4-BE49-F238E27FC236}">
                    <a16:creationId xmlns:a16="http://schemas.microsoft.com/office/drawing/2014/main" id="{DFB1373F-BF4A-482D-B1BC-AED9A25F4160}"/>
                  </a:ext>
                </a:extLst>
              </p:cNvPr>
              <p:cNvSpPr/>
              <p:nvPr/>
            </p:nvSpPr>
            <p:spPr>
              <a:xfrm>
                <a:off x="6093510" y="3284330"/>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1 w 29961"/>
                  <a:gd name="connsiteY3" fmla="*/ 14469 h 26081"/>
                  <a:gd name="connsiteX4" fmla="*/ 27 w 29961"/>
                  <a:gd name="connsiteY4" fmla="*/ 18470 h 26081"/>
                  <a:gd name="connsiteX5" fmla="*/ 884 w 29961"/>
                  <a:gd name="connsiteY5" fmla="*/ 24471 h 26081"/>
                  <a:gd name="connsiteX6" fmla="*/ 3551 w 29961"/>
                  <a:gd name="connsiteY6" fmla="*/ 25804 h 26081"/>
                  <a:gd name="connsiteX7" fmla="*/ 28030 w 29961"/>
                  <a:gd name="connsiteY7" fmla="*/ 11517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1" y="14469"/>
                    </a:lnTo>
                    <a:cubicBezTo>
                      <a:pt x="693" y="15231"/>
                      <a:pt x="-164" y="16946"/>
                      <a:pt x="27" y="18470"/>
                    </a:cubicBezTo>
                    <a:lnTo>
                      <a:pt x="884" y="24471"/>
                    </a:lnTo>
                    <a:cubicBezTo>
                      <a:pt x="1074" y="25899"/>
                      <a:pt x="2313" y="26471"/>
                      <a:pt x="3551" y="25804"/>
                    </a:cubicBezTo>
                    <a:lnTo>
                      <a:pt x="28030" y="11517"/>
                    </a:lnTo>
                    <a:cubicBezTo>
                      <a:pt x="29268" y="10850"/>
                      <a:pt x="30126" y="9040"/>
                      <a:pt x="29935" y="7611"/>
                    </a:cubicBezTo>
                    <a:close/>
                  </a:path>
                </a:pathLst>
              </a:custGeom>
              <a:solidFill>
                <a:srgbClr val="E7E7E7"/>
              </a:solidFill>
              <a:ln w="9525" cap="flat">
                <a:noFill/>
                <a:prstDash val="solid"/>
                <a:miter/>
              </a:ln>
            </p:spPr>
            <p:txBody>
              <a:bodyPr rtlCol="0" anchor="ctr"/>
              <a:lstStyle/>
              <a:p>
                <a:endParaRPr lang="en-IN"/>
              </a:p>
            </p:txBody>
          </p:sp>
          <p:sp>
            <p:nvSpPr>
              <p:cNvPr id="156" name="Freeform: Shape 155">
                <a:extLst>
                  <a:ext uri="{FF2B5EF4-FFF2-40B4-BE49-F238E27FC236}">
                    <a16:creationId xmlns:a16="http://schemas.microsoft.com/office/drawing/2014/main" id="{46A6C1C1-6C9B-4EDD-AB25-C33FA10980E6}"/>
                  </a:ext>
                </a:extLst>
              </p:cNvPr>
              <p:cNvSpPr/>
              <p:nvPr/>
            </p:nvSpPr>
            <p:spPr>
              <a:xfrm>
                <a:off x="6131420" y="3262422"/>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2 w 29961"/>
                  <a:gd name="connsiteY3" fmla="*/ 14469 h 26081"/>
                  <a:gd name="connsiteX4" fmla="*/ 26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2" y="14469"/>
                    </a:lnTo>
                    <a:cubicBezTo>
                      <a:pt x="693" y="15231"/>
                      <a:pt x="-164" y="16946"/>
                      <a:pt x="26" y="18470"/>
                    </a:cubicBezTo>
                    <a:lnTo>
                      <a:pt x="884" y="24471"/>
                    </a:lnTo>
                    <a:cubicBezTo>
                      <a:pt x="1074" y="25899"/>
                      <a:pt x="2313" y="26471"/>
                      <a:pt x="3551" y="25804"/>
                    </a:cubicBezTo>
                    <a:lnTo>
                      <a:pt x="28030" y="11612"/>
                    </a:lnTo>
                    <a:cubicBezTo>
                      <a:pt x="29268" y="10850"/>
                      <a:pt x="30126" y="9135"/>
                      <a:pt x="29935" y="7611"/>
                    </a:cubicBezTo>
                    <a:close/>
                  </a:path>
                </a:pathLst>
              </a:custGeom>
              <a:solidFill>
                <a:srgbClr val="E7E7E7"/>
              </a:solidFill>
              <a:ln w="9525" cap="flat">
                <a:noFill/>
                <a:prstDash val="solid"/>
                <a:miter/>
              </a:ln>
            </p:spPr>
            <p:txBody>
              <a:bodyPr rtlCol="0" anchor="ctr"/>
              <a:lstStyle/>
              <a:p>
                <a:endParaRPr lang="en-IN"/>
              </a:p>
            </p:txBody>
          </p:sp>
          <p:sp>
            <p:nvSpPr>
              <p:cNvPr id="159" name="Freeform: Shape 158">
                <a:extLst>
                  <a:ext uri="{FF2B5EF4-FFF2-40B4-BE49-F238E27FC236}">
                    <a16:creationId xmlns:a16="http://schemas.microsoft.com/office/drawing/2014/main" id="{63AF4C52-E0F1-432C-8895-C6BD6CF56134}"/>
                  </a:ext>
                </a:extLst>
              </p:cNvPr>
              <p:cNvSpPr/>
              <p:nvPr/>
            </p:nvSpPr>
            <p:spPr>
              <a:xfrm>
                <a:off x="5905350" y="3355918"/>
                <a:ext cx="10898" cy="13112"/>
              </a:xfrm>
              <a:custGeom>
                <a:avLst/>
                <a:gdLst>
                  <a:gd name="connsiteX0" fmla="*/ 68 w 10898"/>
                  <a:gd name="connsiteY0" fmla="*/ 9652 h 13112"/>
                  <a:gd name="connsiteX1" fmla="*/ 4640 w 10898"/>
                  <a:gd name="connsiteY1" fmla="*/ 793 h 13112"/>
                  <a:gd name="connsiteX2" fmla="*/ 10831 w 10898"/>
                  <a:gd name="connsiteY2" fmla="*/ 3460 h 13112"/>
                  <a:gd name="connsiteX3" fmla="*/ 6259 w 10898"/>
                  <a:gd name="connsiteY3" fmla="*/ 12319 h 13112"/>
                  <a:gd name="connsiteX4" fmla="*/ 68 w 10898"/>
                  <a:gd name="connsiteY4" fmla="*/ 9652 h 13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 h="13112">
                    <a:moveTo>
                      <a:pt x="68" y="9652"/>
                    </a:moveTo>
                    <a:cubicBezTo>
                      <a:pt x="-409" y="6508"/>
                      <a:pt x="1687" y="2508"/>
                      <a:pt x="4640" y="793"/>
                    </a:cubicBezTo>
                    <a:cubicBezTo>
                      <a:pt x="7592" y="-921"/>
                      <a:pt x="10450" y="222"/>
                      <a:pt x="10831" y="3460"/>
                    </a:cubicBezTo>
                    <a:cubicBezTo>
                      <a:pt x="11307" y="6604"/>
                      <a:pt x="9212" y="10604"/>
                      <a:pt x="6259" y="12319"/>
                    </a:cubicBezTo>
                    <a:cubicBezTo>
                      <a:pt x="3306" y="14033"/>
                      <a:pt x="544" y="12890"/>
                      <a:pt x="68" y="9652"/>
                    </a:cubicBezTo>
                    <a:close/>
                  </a:path>
                </a:pathLst>
              </a:custGeom>
              <a:solidFill>
                <a:srgbClr val="000000">
                  <a:alpha val="20000"/>
                </a:srgbClr>
              </a:solidFill>
              <a:ln w="9525" cap="flat">
                <a:noFill/>
                <a:prstDash val="solid"/>
                <a:miter/>
              </a:ln>
            </p:spPr>
            <p:txBody>
              <a:bodyPr rtlCol="0" anchor="ctr"/>
              <a:lstStyle/>
              <a:p>
                <a:endParaRPr lang="en-IN"/>
              </a:p>
            </p:txBody>
          </p:sp>
          <p:sp>
            <p:nvSpPr>
              <p:cNvPr id="160" name="Freeform: Shape 159">
                <a:extLst>
                  <a:ext uri="{FF2B5EF4-FFF2-40B4-BE49-F238E27FC236}">
                    <a16:creationId xmlns:a16="http://schemas.microsoft.com/office/drawing/2014/main" id="{97F3B934-5FA5-4FF5-8B80-86762A91DE2B}"/>
                  </a:ext>
                </a:extLst>
              </p:cNvPr>
              <p:cNvSpPr/>
              <p:nvPr/>
            </p:nvSpPr>
            <p:spPr>
              <a:xfrm>
                <a:off x="5943260" y="3334010"/>
                <a:ext cx="10898" cy="13112"/>
              </a:xfrm>
              <a:custGeom>
                <a:avLst/>
                <a:gdLst>
                  <a:gd name="connsiteX0" fmla="*/ 68 w 10898"/>
                  <a:gd name="connsiteY0" fmla="*/ 9652 h 13112"/>
                  <a:gd name="connsiteX1" fmla="*/ 4640 w 10898"/>
                  <a:gd name="connsiteY1" fmla="*/ 793 h 13112"/>
                  <a:gd name="connsiteX2" fmla="*/ 10831 w 10898"/>
                  <a:gd name="connsiteY2" fmla="*/ 3460 h 13112"/>
                  <a:gd name="connsiteX3" fmla="*/ 6259 w 10898"/>
                  <a:gd name="connsiteY3" fmla="*/ 12319 h 13112"/>
                  <a:gd name="connsiteX4" fmla="*/ 68 w 10898"/>
                  <a:gd name="connsiteY4" fmla="*/ 9652 h 13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 h="13112">
                    <a:moveTo>
                      <a:pt x="68" y="9652"/>
                    </a:moveTo>
                    <a:cubicBezTo>
                      <a:pt x="-409" y="6508"/>
                      <a:pt x="1687" y="2508"/>
                      <a:pt x="4640" y="793"/>
                    </a:cubicBezTo>
                    <a:cubicBezTo>
                      <a:pt x="7592" y="-921"/>
                      <a:pt x="10450" y="222"/>
                      <a:pt x="10831" y="3460"/>
                    </a:cubicBezTo>
                    <a:cubicBezTo>
                      <a:pt x="11307" y="6604"/>
                      <a:pt x="9212" y="10604"/>
                      <a:pt x="6259" y="12319"/>
                    </a:cubicBezTo>
                    <a:cubicBezTo>
                      <a:pt x="3306" y="14033"/>
                      <a:pt x="544" y="12890"/>
                      <a:pt x="68" y="9652"/>
                    </a:cubicBezTo>
                    <a:close/>
                  </a:path>
                </a:pathLst>
              </a:custGeom>
              <a:solidFill>
                <a:srgbClr val="000000">
                  <a:alpha val="20000"/>
                </a:srgbClr>
              </a:solidFill>
              <a:ln w="9525" cap="flat">
                <a:noFill/>
                <a:prstDash val="solid"/>
                <a:miter/>
              </a:ln>
            </p:spPr>
            <p:txBody>
              <a:bodyPr rtlCol="0" anchor="ctr"/>
              <a:lstStyle/>
              <a:p>
                <a:endParaRPr lang="en-IN"/>
              </a:p>
            </p:txBody>
          </p:sp>
          <p:sp>
            <p:nvSpPr>
              <p:cNvPr id="161" name="Freeform: Shape 160">
                <a:extLst>
                  <a:ext uri="{FF2B5EF4-FFF2-40B4-BE49-F238E27FC236}">
                    <a16:creationId xmlns:a16="http://schemas.microsoft.com/office/drawing/2014/main" id="{F455F344-9CF8-4096-B60C-4A2BE2D8ED8A}"/>
                  </a:ext>
                </a:extLst>
              </p:cNvPr>
              <p:cNvSpPr/>
              <p:nvPr/>
            </p:nvSpPr>
            <p:spPr>
              <a:xfrm>
                <a:off x="5981074" y="3312198"/>
                <a:ext cx="10898" cy="13093"/>
              </a:xfrm>
              <a:custGeom>
                <a:avLst/>
                <a:gdLst>
                  <a:gd name="connsiteX0" fmla="*/ 68 w 10898"/>
                  <a:gd name="connsiteY0" fmla="*/ 9652 h 13093"/>
                  <a:gd name="connsiteX1" fmla="*/ 4640 w 10898"/>
                  <a:gd name="connsiteY1" fmla="*/ 793 h 13093"/>
                  <a:gd name="connsiteX2" fmla="*/ 10831 w 10898"/>
                  <a:gd name="connsiteY2" fmla="*/ 3460 h 13093"/>
                  <a:gd name="connsiteX3" fmla="*/ 6259 w 10898"/>
                  <a:gd name="connsiteY3" fmla="*/ 12319 h 13093"/>
                  <a:gd name="connsiteX4" fmla="*/ 68 w 10898"/>
                  <a:gd name="connsiteY4" fmla="*/ 9652 h 13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 h="13093">
                    <a:moveTo>
                      <a:pt x="68" y="9652"/>
                    </a:moveTo>
                    <a:cubicBezTo>
                      <a:pt x="-409" y="6508"/>
                      <a:pt x="1687" y="2508"/>
                      <a:pt x="4640" y="793"/>
                    </a:cubicBezTo>
                    <a:cubicBezTo>
                      <a:pt x="7592" y="-921"/>
                      <a:pt x="10450" y="222"/>
                      <a:pt x="10831" y="3460"/>
                    </a:cubicBezTo>
                    <a:cubicBezTo>
                      <a:pt x="11307" y="6604"/>
                      <a:pt x="9212" y="10604"/>
                      <a:pt x="6259" y="12319"/>
                    </a:cubicBezTo>
                    <a:cubicBezTo>
                      <a:pt x="3306" y="14033"/>
                      <a:pt x="544" y="12795"/>
                      <a:pt x="68" y="9652"/>
                    </a:cubicBezTo>
                    <a:close/>
                  </a:path>
                </a:pathLst>
              </a:custGeom>
              <a:solidFill>
                <a:srgbClr val="000000">
                  <a:alpha val="20000"/>
                </a:srgbClr>
              </a:solidFill>
              <a:ln w="9525" cap="flat">
                <a:noFill/>
                <a:prstDash val="solid"/>
                <a:miter/>
              </a:ln>
            </p:spPr>
            <p:txBody>
              <a:bodyPr rtlCol="0" anchor="ctr"/>
              <a:lstStyle/>
              <a:p>
                <a:endParaRPr lang="en-IN"/>
              </a:p>
            </p:txBody>
          </p:sp>
          <p:sp>
            <p:nvSpPr>
              <p:cNvPr id="162" name="Freeform: Shape 161">
                <a:extLst>
                  <a:ext uri="{FF2B5EF4-FFF2-40B4-BE49-F238E27FC236}">
                    <a16:creationId xmlns:a16="http://schemas.microsoft.com/office/drawing/2014/main" id="{8BFFD42F-7237-442E-955C-3E7E80F4D87B}"/>
                  </a:ext>
                </a:extLst>
              </p:cNvPr>
              <p:cNvSpPr/>
              <p:nvPr/>
            </p:nvSpPr>
            <p:spPr>
              <a:xfrm>
                <a:off x="6056891" y="3268383"/>
                <a:ext cx="10900" cy="13115"/>
              </a:xfrm>
              <a:custGeom>
                <a:avLst/>
                <a:gdLst>
                  <a:gd name="connsiteX0" fmla="*/ 70 w 10900"/>
                  <a:gd name="connsiteY0" fmla="*/ 9747 h 13115"/>
                  <a:gd name="connsiteX1" fmla="*/ 4642 w 10900"/>
                  <a:gd name="connsiteY1" fmla="*/ 793 h 13115"/>
                  <a:gd name="connsiteX2" fmla="*/ 10833 w 10900"/>
                  <a:gd name="connsiteY2" fmla="*/ 3460 h 13115"/>
                  <a:gd name="connsiteX3" fmla="*/ 6261 w 10900"/>
                  <a:gd name="connsiteY3" fmla="*/ 12319 h 13115"/>
                  <a:gd name="connsiteX4" fmla="*/ 70 w 10900"/>
                  <a:gd name="connsiteY4" fmla="*/ 9747 h 13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0" h="13115">
                    <a:moveTo>
                      <a:pt x="70" y="9747"/>
                    </a:moveTo>
                    <a:cubicBezTo>
                      <a:pt x="-406" y="6508"/>
                      <a:pt x="1594" y="2508"/>
                      <a:pt x="4642" y="793"/>
                    </a:cubicBezTo>
                    <a:cubicBezTo>
                      <a:pt x="7690" y="-921"/>
                      <a:pt x="10452" y="222"/>
                      <a:pt x="10833" y="3460"/>
                    </a:cubicBezTo>
                    <a:cubicBezTo>
                      <a:pt x="11310" y="6604"/>
                      <a:pt x="9214" y="10604"/>
                      <a:pt x="6261" y="12319"/>
                    </a:cubicBezTo>
                    <a:cubicBezTo>
                      <a:pt x="3309" y="14033"/>
                      <a:pt x="451" y="12890"/>
                      <a:pt x="70" y="9747"/>
                    </a:cubicBezTo>
                    <a:close/>
                  </a:path>
                </a:pathLst>
              </a:custGeom>
              <a:solidFill>
                <a:srgbClr val="000000">
                  <a:alpha val="20000"/>
                </a:srgbClr>
              </a:solidFill>
              <a:ln w="9525" cap="flat">
                <a:noFill/>
                <a:prstDash val="solid"/>
                <a:miter/>
              </a:ln>
            </p:spPr>
            <p:txBody>
              <a:bodyPr rtlCol="0" anchor="ctr"/>
              <a:lstStyle/>
              <a:p>
                <a:endParaRPr lang="en-IN"/>
              </a:p>
            </p:txBody>
          </p:sp>
          <p:sp>
            <p:nvSpPr>
              <p:cNvPr id="163" name="Freeform: Shape 162">
                <a:extLst>
                  <a:ext uri="{FF2B5EF4-FFF2-40B4-BE49-F238E27FC236}">
                    <a16:creationId xmlns:a16="http://schemas.microsoft.com/office/drawing/2014/main" id="{1079D1DA-42B8-4B4C-87AA-97141846DFD7}"/>
                  </a:ext>
                </a:extLst>
              </p:cNvPr>
              <p:cNvSpPr/>
              <p:nvPr/>
            </p:nvSpPr>
            <p:spPr>
              <a:xfrm>
                <a:off x="6094803" y="3246433"/>
                <a:ext cx="10898" cy="13199"/>
              </a:xfrm>
              <a:custGeom>
                <a:avLst/>
                <a:gdLst>
                  <a:gd name="connsiteX0" fmla="*/ 68 w 10898"/>
                  <a:gd name="connsiteY0" fmla="*/ 9789 h 13199"/>
                  <a:gd name="connsiteX1" fmla="*/ 4640 w 10898"/>
                  <a:gd name="connsiteY1" fmla="*/ 836 h 13199"/>
                  <a:gd name="connsiteX2" fmla="*/ 10831 w 10898"/>
                  <a:gd name="connsiteY2" fmla="*/ 3503 h 13199"/>
                  <a:gd name="connsiteX3" fmla="*/ 6259 w 10898"/>
                  <a:gd name="connsiteY3" fmla="*/ 12361 h 13199"/>
                  <a:gd name="connsiteX4" fmla="*/ 68 w 10898"/>
                  <a:gd name="connsiteY4" fmla="*/ 9789 h 13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 h="13199">
                    <a:moveTo>
                      <a:pt x="68" y="9789"/>
                    </a:moveTo>
                    <a:cubicBezTo>
                      <a:pt x="-409" y="6551"/>
                      <a:pt x="1687" y="2645"/>
                      <a:pt x="4640" y="836"/>
                    </a:cubicBezTo>
                    <a:cubicBezTo>
                      <a:pt x="7592" y="-974"/>
                      <a:pt x="10450" y="264"/>
                      <a:pt x="10831" y="3503"/>
                    </a:cubicBezTo>
                    <a:cubicBezTo>
                      <a:pt x="11307" y="6646"/>
                      <a:pt x="9212" y="10646"/>
                      <a:pt x="6259" y="12361"/>
                    </a:cubicBezTo>
                    <a:cubicBezTo>
                      <a:pt x="3306" y="14171"/>
                      <a:pt x="544" y="12932"/>
                      <a:pt x="68" y="9789"/>
                    </a:cubicBezTo>
                    <a:close/>
                  </a:path>
                </a:pathLst>
              </a:custGeom>
              <a:solidFill>
                <a:srgbClr val="000000">
                  <a:alpha val="20000"/>
                </a:srgbClr>
              </a:solidFill>
              <a:ln w="9525" cap="flat">
                <a:noFill/>
                <a:prstDash val="solid"/>
                <a:miter/>
              </a:ln>
            </p:spPr>
            <p:txBody>
              <a:bodyPr rtlCol="0" anchor="ctr"/>
              <a:lstStyle/>
              <a:p>
                <a:endParaRPr lang="en-IN"/>
              </a:p>
            </p:txBody>
          </p:sp>
          <p:sp>
            <p:nvSpPr>
              <p:cNvPr id="164" name="Freeform: Shape 163">
                <a:extLst>
                  <a:ext uri="{FF2B5EF4-FFF2-40B4-BE49-F238E27FC236}">
                    <a16:creationId xmlns:a16="http://schemas.microsoft.com/office/drawing/2014/main" id="{FA08E884-125D-4339-A10B-D9DCE4FB8341}"/>
                  </a:ext>
                </a:extLst>
              </p:cNvPr>
              <p:cNvSpPr/>
              <p:nvPr/>
            </p:nvSpPr>
            <p:spPr>
              <a:xfrm>
                <a:off x="6132617" y="3224663"/>
                <a:ext cx="10877" cy="13112"/>
              </a:xfrm>
              <a:custGeom>
                <a:avLst/>
                <a:gdLst>
                  <a:gd name="connsiteX0" fmla="*/ 68 w 10877"/>
                  <a:gd name="connsiteY0" fmla="*/ 9652 h 13112"/>
                  <a:gd name="connsiteX1" fmla="*/ 4640 w 10877"/>
                  <a:gd name="connsiteY1" fmla="*/ 793 h 13112"/>
                  <a:gd name="connsiteX2" fmla="*/ 10831 w 10877"/>
                  <a:gd name="connsiteY2" fmla="*/ 3460 h 13112"/>
                  <a:gd name="connsiteX3" fmla="*/ 6259 w 10877"/>
                  <a:gd name="connsiteY3" fmla="*/ 12319 h 13112"/>
                  <a:gd name="connsiteX4" fmla="*/ 68 w 10877"/>
                  <a:gd name="connsiteY4" fmla="*/ 9652 h 13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77" h="13112">
                    <a:moveTo>
                      <a:pt x="68" y="9652"/>
                    </a:moveTo>
                    <a:cubicBezTo>
                      <a:pt x="-409" y="6508"/>
                      <a:pt x="1687" y="2508"/>
                      <a:pt x="4640" y="793"/>
                    </a:cubicBezTo>
                    <a:cubicBezTo>
                      <a:pt x="7592" y="-921"/>
                      <a:pt x="10450" y="222"/>
                      <a:pt x="10831" y="3460"/>
                    </a:cubicBezTo>
                    <a:cubicBezTo>
                      <a:pt x="11212" y="6699"/>
                      <a:pt x="9212" y="10604"/>
                      <a:pt x="6259" y="12319"/>
                    </a:cubicBezTo>
                    <a:cubicBezTo>
                      <a:pt x="3306" y="14033"/>
                      <a:pt x="544" y="12890"/>
                      <a:pt x="68" y="9652"/>
                    </a:cubicBezTo>
                    <a:close/>
                  </a:path>
                </a:pathLst>
              </a:custGeom>
              <a:solidFill>
                <a:srgbClr val="000000">
                  <a:alpha val="20000"/>
                </a:srgbClr>
              </a:solidFill>
              <a:ln w="9525" cap="flat">
                <a:noFill/>
                <a:prstDash val="solid"/>
                <a:miter/>
              </a:ln>
            </p:spPr>
            <p:txBody>
              <a:bodyPr rtlCol="0" anchor="ctr"/>
              <a:lstStyle/>
              <a:p>
                <a:endParaRPr lang="en-IN"/>
              </a:p>
            </p:txBody>
          </p:sp>
          <p:sp>
            <p:nvSpPr>
              <p:cNvPr id="165" name="Freeform: Shape 164">
                <a:extLst>
                  <a:ext uri="{FF2B5EF4-FFF2-40B4-BE49-F238E27FC236}">
                    <a16:creationId xmlns:a16="http://schemas.microsoft.com/office/drawing/2014/main" id="{FF464F0B-B655-4E41-9D74-3C69AD5815EC}"/>
                  </a:ext>
                </a:extLst>
              </p:cNvPr>
              <p:cNvSpPr/>
              <p:nvPr/>
            </p:nvSpPr>
            <p:spPr>
              <a:xfrm>
                <a:off x="5885987" y="3327547"/>
                <a:ext cx="29813" cy="37546"/>
              </a:xfrm>
              <a:custGeom>
                <a:avLst/>
                <a:gdLst>
                  <a:gd name="connsiteX0" fmla="*/ 15526 w 29813"/>
                  <a:gd name="connsiteY0" fmla="*/ 2018 h 37546"/>
                  <a:gd name="connsiteX1" fmla="*/ 4667 w 29813"/>
                  <a:gd name="connsiteY1" fmla="*/ 1065 h 37546"/>
                  <a:gd name="connsiteX2" fmla="*/ 0 w 29813"/>
                  <a:gd name="connsiteY2" fmla="*/ 10971 h 37546"/>
                  <a:gd name="connsiteX3" fmla="*/ 952 w 29813"/>
                  <a:gd name="connsiteY3" fmla="*/ 17448 h 37546"/>
                  <a:gd name="connsiteX4" fmla="*/ 3334 w 29813"/>
                  <a:gd name="connsiteY4" fmla="*/ 16115 h 37546"/>
                  <a:gd name="connsiteX5" fmla="*/ 2667 w 29813"/>
                  <a:gd name="connsiteY5" fmla="*/ 10971 h 37546"/>
                  <a:gd name="connsiteX6" fmla="*/ 6001 w 29813"/>
                  <a:gd name="connsiteY6" fmla="*/ 3352 h 37546"/>
                  <a:gd name="connsiteX7" fmla="*/ 8858 w 29813"/>
                  <a:gd name="connsiteY7" fmla="*/ 2590 h 37546"/>
                  <a:gd name="connsiteX8" fmla="*/ 14192 w 29813"/>
                  <a:gd name="connsiteY8" fmla="*/ 4209 h 37546"/>
                  <a:gd name="connsiteX9" fmla="*/ 27051 w 29813"/>
                  <a:gd name="connsiteY9" fmla="*/ 26497 h 37546"/>
                  <a:gd name="connsiteX10" fmla="*/ 26956 w 29813"/>
                  <a:gd name="connsiteY10" fmla="*/ 28212 h 37546"/>
                  <a:gd name="connsiteX11" fmla="*/ 23717 w 29813"/>
                  <a:gd name="connsiteY11" fmla="*/ 34117 h 37546"/>
                  <a:gd name="connsiteX12" fmla="*/ 19717 w 29813"/>
                  <a:gd name="connsiteY12" fmla="*/ 34784 h 37546"/>
                  <a:gd name="connsiteX13" fmla="*/ 19431 w 29813"/>
                  <a:gd name="connsiteY13" fmla="*/ 37451 h 37546"/>
                  <a:gd name="connsiteX14" fmla="*/ 20955 w 29813"/>
                  <a:gd name="connsiteY14" fmla="*/ 37546 h 37546"/>
                  <a:gd name="connsiteX15" fmla="*/ 25146 w 29813"/>
                  <a:gd name="connsiteY15" fmla="*/ 36498 h 37546"/>
                  <a:gd name="connsiteX16" fmla="*/ 29528 w 29813"/>
                  <a:gd name="connsiteY16" fmla="*/ 29641 h 37546"/>
                  <a:gd name="connsiteX17" fmla="*/ 29813 w 29813"/>
                  <a:gd name="connsiteY17" fmla="*/ 26593 h 37546"/>
                  <a:gd name="connsiteX18" fmla="*/ 15526 w 29813"/>
                  <a:gd name="connsiteY18" fmla="*/ 2018 h 3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546">
                    <a:moveTo>
                      <a:pt x="15526" y="2018"/>
                    </a:moveTo>
                    <a:cubicBezTo>
                      <a:pt x="11430" y="-268"/>
                      <a:pt x="7620" y="-649"/>
                      <a:pt x="4667" y="1065"/>
                    </a:cubicBezTo>
                    <a:cubicBezTo>
                      <a:pt x="1714" y="2780"/>
                      <a:pt x="0" y="6304"/>
                      <a:pt x="0" y="10971"/>
                    </a:cubicBezTo>
                    <a:cubicBezTo>
                      <a:pt x="0" y="13067"/>
                      <a:pt x="381" y="15258"/>
                      <a:pt x="952" y="17448"/>
                    </a:cubicBezTo>
                    <a:lnTo>
                      <a:pt x="3334" y="16115"/>
                    </a:lnTo>
                    <a:cubicBezTo>
                      <a:pt x="2953" y="14401"/>
                      <a:pt x="2667" y="12686"/>
                      <a:pt x="2667" y="10971"/>
                    </a:cubicBezTo>
                    <a:cubicBezTo>
                      <a:pt x="2667" y="7257"/>
                      <a:pt x="3810" y="4590"/>
                      <a:pt x="6001" y="3352"/>
                    </a:cubicBezTo>
                    <a:cubicBezTo>
                      <a:pt x="6858" y="2875"/>
                      <a:pt x="7810" y="2590"/>
                      <a:pt x="8858" y="2590"/>
                    </a:cubicBezTo>
                    <a:cubicBezTo>
                      <a:pt x="10477" y="2590"/>
                      <a:pt x="12287" y="3161"/>
                      <a:pt x="14192" y="4209"/>
                    </a:cubicBezTo>
                    <a:cubicBezTo>
                      <a:pt x="21241" y="8304"/>
                      <a:pt x="27051" y="18306"/>
                      <a:pt x="27051" y="26497"/>
                    </a:cubicBezTo>
                    <a:cubicBezTo>
                      <a:pt x="27051" y="27069"/>
                      <a:pt x="27051" y="27735"/>
                      <a:pt x="26956" y="28212"/>
                    </a:cubicBezTo>
                    <a:cubicBezTo>
                      <a:pt x="26670" y="30974"/>
                      <a:pt x="25527" y="33069"/>
                      <a:pt x="23717" y="34117"/>
                    </a:cubicBezTo>
                    <a:cubicBezTo>
                      <a:pt x="22574" y="34784"/>
                      <a:pt x="21241" y="34975"/>
                      <a:pt x="19717" y="34784"/>
                    </a:cubicBezTo>
                    <a:cubicBezTo>
                      <a:pt x="19431" y="35641"/>
                      <a:pt x="19336" y="36594"/>
                      <a:pt x="19431" y="37451"/>
                    </a:cubicBezTo>
                    <a:cubicBezTo>
                      <a:pt x="19907" y="37546"/>
                      <a:pt x="20479" y="37546"/>
                      <a:pt x="20955" y="37546"/>
                    </a:cubicBezTo>
                    <a:cubicBezTo>
                      <a:pt x="22479" y="37546"/>
                      <a:pt x="23908" y="37165"/>
                      <a:pt x="25146" y="36498"/>
                    </a:cubicBezTo>
                    <a:cubicBezTo>
                      <a:pt x="27432" y="35165"/>
                      <a:pt x="28956" y="32784"/>
                      <a:pt x="29528" y="29641"/>
                    </a:cubicBezTo>
                    <a:cubicBezTo>
                      <a:pt x="29718" y="28688"/>
                      <a:pt x="29813" y="27640"/>
                      <a:pt x="29813" y="26593"/>
                    </a:cubicBezTo>
                    <a:cubicBezTo>
                      <a:pt x="29718" y="17544"/>
                      <a:pt x="23336" y="6590"/>
                      <a:pt x="15526" y="2018"/>
                    </a:cubicBezTo>
                    <a:close/>
                  </a:path>
                </a:pathLst>
              </a:custGeom>
              <a:solidFill>
                <a:srgbClr val="F5F5F5"/>
              </a:solidFill>
              <a:ln w="9525" cap="flat">
                <a:noFill/>
                <a:prstDash val="solid"/>
                <a:miter/>
              </a:ln>
            </p:spPr>
            <p:txBody>
              <a:bodyPr rtlCol="0" anchor="ctr"/>
              <a:lstStyle/>
              <a:p>
                <a:endParaRPr lang="en-IN"/>
              </a:p>
            </p:txBody>
          </p:sp>
          <p:sp>
            <p:nvSpPr>
              <p:cNvPr id="166" name="Freeform: Shape 165">
                <a:extLst>
                  <a:ext uri="{FF2B5EF4-FFF2-40B4-BE49-F238E27FC236}">
                    <a16:creationId xmlns:a16="http://schemas.microsoft.com/office/drawing/2014/main" id="{5DF9E0F8-61FD-44B6-8602-C401AE0A635C}"/>
                  </a:ext>
                </a:extLst>
              </p:cNvPr>
              <p:cNvSpPr/>
              <p:nvPr/>
            </p:nvSpPr>
            <p:spPr>
              <a:xfrm>
                <a:off x="5923897" y="3305640"/>
                <a:ext cx="29813" cy="37546"/>
              </a:xfrm>
              <a:custGeom>
                <a:avLst/>
                <a:gdLst>
                  <a:gd name="connsiteX0" fmla="*/ 15526 w 29813"/>
                  <a:gd name="connsiteY0" fmla="*/ 2018 h 37546"/>
                  <a:gd name="connsiteX1" fmla="*/ 4667 w 29813"/>
                  <a:gd name="connsiteY1" fmla="*/ 1066 h 37546"/>
                  <a:gd name="connsiteX2" fmla="*/ 0 w 29813"/>
                  <a:gd name="connsiteY2" fmla="*/ 10972 h 37546"/>
                  <a:gd name="connsiteX3" fmla="*/ 952 w 29813"/>
                  <a:gd name="connsiteY3" fmla="*/ 17448 h 37546"/>
                  <a:gd name="connsiteX4" fmla="*/ 3334 w 29813"/>
                  <a:gd name="connsiteY4" fmla="*/ 16115 h 37546"/>
                  <a:gd name="connsiteX5" fmla="*/ 2667 w 29813"/>
                  <a:gd name="connsiteY5" fmla="*/ 10972 h 37546"/>
                  <a:gd name="connsiteX6" fmla="*/ 6001 w 29813"/>
                  <a:gd name="connsiteY6" fmla="*/ 3352 h 37546"/>
                  <a:gd name="connsiteX7" fmla="*/ 8858 w 29813"/>
                  <a:gd name="connsiteY7" fmla="*/ 2590 h 37546"/>
                  <a:gd name="connsiteX8" fmla="*/ 14192 w 29813"/>
                  <a:gd name="connsiteY8" fmla="*/ 4209 h 37546"/>
                  <a:gd name="connsiteX9" fmla="*/ 27051 w 29813"/>
                  <a:gd name="connsiteY9" fmla="*/ 26497 h 37546"/>
                  <a:gd name="connsiteX10" fmla="*/ 26956 w 29813"/>
                  <a:gd name="connsiteY10" fmla="*/ 28212 h 37546"/>
                  <a:gd name="connsiteX11" fmla="*/ 23717 w 29813"/>
                  <a:gd name="connsiteY11" fmla="*/ 34117 h 37546"/>
                  <a:gd name="connsiteX12" fmla="*/ 19717 w 29813"/>
                  <a:gd name="connsiteY12" fmla="*/ 34784 h 37546"/>
                  <a:gd name="connsiteX13" fmla="*/ 19431 w 29813"/>
                  <a:gd name="connsiteY13" fmla="*/ 37451 h 37546"/>
                  <a:gd name="connsiteX14" fmla="*/ 20955 w 29813"/>
                  <a:gd name="connsiteY14" fmla="*/ 37546 h 37546"/>
                  <a:gd name="connsiteX15" fmla="*/ 25146 w 29813"/>
                  <a:gd name="connsiteY15" fmla="*/ 36498 h 37546"/>
                  <a:gd name="connsiteX16" fmla="*/ 29527 w 29813"/>
                  <a:gd name="connsiteY16" fmla="*/ 29641 h 37546"/>
                  <a:gd name="connsiteX17" fmla="*/ 29813 w 29813"/>
                  <a:gd name="connsiteY17" fmla="*/ 26592 h 37546"/>
                  <a:gd name="connsiteX18" fmla="*/ 15526 w 29813"/>
                  <a:gd name="connsiteY18" fmla="*/ 2018 h 3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546">
                    <a:moveTo>
                      <a:pt x="15526" y="2018"/>
                    </a:moveTo>
                    <a:cubicBezTo>
                      <a:pt x="11430" y="-268"/>
                      <a:pt x="7620" y="-649"/>
                      <a:pt x="4667" y="1066"/>
                    </a:cubicBezTo>
                    <a:cubicBezTo>
                      <a:pt x="1715" y="2780"/>
                      <a:pt x="0" y="6304"/>
                      <a:pt x="0" y="10972"/>
                    </a:cubicBezTo>
                    <a:cubicBezTo>
                      <a:pt x="0" y="13067"/>
                      <a:pt x="381" y="15258"/>
                      <a:pt x="952" y="17448"/>
                    </a:cubicBezTo>
                    <a:lnTo>
                      <a:pt x="3334" y="16115"/>
                    </a:lnTo>
                    <a:cubicBezTo>
                      <a:pt x="2953" y="14400"/>
                      <a:pt x="2667" y="12686"/>
                      <a:pt x="2667" y="10972"/>
                    </a:cubicBezTo>
                    <a:cubicBezTo>
                      <a:pt x="2667" y="7257"/>
                      <a:pt x="3810" y="4590"/>
                      <a:pt x="6001" y="3352"/>
                    </a:cubicBezTo>
                    <a:cubicBezTo>
                      <a:pt x="6858" y="2875"/>
                      <a:pt x="7810" y="2590"/>
                      <a:pt x="8858" y="2590"/>
                    </a:cubicBezTo>
                    <a:cubicBezTo>
                      <a:pt x="10477" y="2590"/>
                      <a:pt x="12287" y="3161"/>
                      <a:pt x="14192" y="4209"/>
                    </a:cubicBezTo>
                    <a:cubicBezTo>
                      <a:pt x="21241" y="8304"/>
                      <a:pt x="27051" y="18306"/>
                      <a:pt x="27051" y="26497"/>
                    </a:cubicBezTo>
                    <a:cubicBezTo>
                      <a:pt x="27051" y="27069"/>
                      <a:pt x="27051" y="27735"/>
                      <a:pt x="26956" y="28212"/>
                    </a:cubicBezTo>
                    <a:cubicBezTo>
                      <a:pt x="26670" y="30974"/>
                      <a:pt x="25527" y="33070"/>
                      <a:pt x="23717" y="34117"/>
                    </a:cubicBezTo>
                    <a:cubicBezTo>
                      <a:pt x="22574" y="34784"/>
                      <a:pt x="21241" y="34974"/>
                      <a:pt x="19717" y="34784"/>
                    </a:cubicBezTo>
                    <a:cubicBezTo>
                      <a:pt x="19431" y="35641"/>
                      <a:pt x="19336" y="36594"/>
                      <a:pt x="19431" y="37451"/>
                    </a:cubicBezTo>
                    <a:cubicBezTo>
                      <a:pt x="19907" y="37546"/>
                      <a:pt x="20479" y="37546"/>
                      <a:pt x="20955" y="37546"/>
                    </a:cubicBezTo>
                    <a:cubicBezTo>
                      <a:pt x="22479" y="37546"/>
                      <a:pt x="23908" y="37165"/>
                      <a:pt x="25146" y="36498"/>
                    </a:cubicBezTo>
                    <a:cubicBezTo>
                      <a:pt x="27432" y="35165"/>
                      <a:pt x="28956" y="32784"/>
                      <a:pt x="29527" y="29641"/>
                    </a:cubicBezTo>
                    <a:cubicBezTo>
                      <a:pt x="29718" y="28688"/>
                      <a:pt x="29813" y="27640"/>
                      <a:pt x="29813" y="26592"/>
                    </a:cubicBezTo>
                    <a:cubicBezTo>
                      <a:pt x="29718" y="17639"/>
                      <a:pt x="23336" y="6590"/>
                      <a:pt x="15526" y="2018"/>
                    </a:cubicBezTo>
                    <a:close/>
                  </a:path>
                </a:pathLst>
              </a:custGeom>
              <a:solidFill>
                <a:srgbClr val="F5F5F5"/>
              </a:solidFill>
              <a:ln w="9525" cap="flat">
                <a:noFill/>
                <a:prstDash val="solid"/>
                <a:miter/>
              </a:ln>
            </p:spPr>
            <p:txBody>
              <a:bodyPr rtlCol="0" anchor="ctr"/>
              <a:lstStyle/>
              <a:p>
                <a:endParaRPr lang="en-IN"/>
              </a:p>
            </p:txBody>
          </p:sp>
          <p:sp>
            <p:nvSpPr>
              <p:cNvPr id="167" name="Freeform: Shape 166">
                <a:extLst>
                  <a:ext uri="{FF2B5EF4-FFF2-40B4-BE49-F238E27FC236}">
                    <a16:creationId xmlns:a16="http://schemas.microsoft.com/office/drawing/2014/main" id="{A281C776-0ACD-486B-93CC-BAE10FBEE85F}"/>
                  </a:ext>
                </a:extLst>
              </p:cNvPr>
              <p:cNvSpPr/>
              <p:nvPr/>
            </p:nvSpPr>
            <p:spPr>
              <a:xfrm>
                <a:off x="5961711" y="3283827"/>
                <a:ext cx="29813" cy="37546"/>
              </a:xfrm>
              <a:custGeom>
                <a:avLst/>
                <a:gdLst>
                  <a:gd name="connsiteX0" fmla="*/ 15526 w 29813"/>
                  <a:gd name="connsiteY0" fmla="*/ 2018 h 37546"/>
                  <a:gd name="connsiteX1" fmla="*/ 4667 w 29813"/>
                  <a:gd name="connsiteY1" fmla="*/ 1066 h 37546"/>
                  <a:gd name="connsiteX2" fmla="*/ 0 w 29813"/>
                  <a:gd name="connsiteY2" fmla="*/ 10972 h 37546"/>
                  <a:gd name="connsiteX3" fmla="*/ 952 w 29813"/>
                  <a:gd name="connsiteY3" fmla="*/ 17448 h 37546"/>
                  <a:gd name="connsiteX4" fmla="*/ 3334 w 29813"/>
                  <a:gd name="connsiteY4" fmla="*/ 16115 h 37546"/>
                  <a:gd name="connsiteX5" fmla="*/ 2667 w 29813"/>
                  <a:gd name="connsiteY5" fmla="*/ 10972 h 37546"/>
                  <a:gd name="connsiteX6" fmla="*/ 6001 w 29813"/>
                  <a:gd name="connsiteY6" fmla="*/ 3352 h 37546"/>
                  <a:gd name="connsiteX7" fmla="*/ 8858 w 29813"/>
                  <a:gd name="connsiteY7" fmla="*/ 2590 h 37546"/>
                  <a:gd name="connsiteX8" fmla="*/ 14192 w 29813"/>
                  <a:gd name="connsiteY8" fmla="*/ 4209 h 37546"/>
                  <a:gd name="connsiteX9" fmla="*/ 27051 w 29813"/>
                  <a:gd name="connsiteY9" fmla="*/ 26497 h 37546"/>
                  <a:gd name="connsiteX10" fmla="*/ 26956 w 29813"/>
                  <a:gd name="connsiteY10" fmla="*/ 28212 h 37546"/>
                  <a:gd name="connsiteX11" fmla="*/ 23717 w 29813"/>
                  <a:gd name="connsiteY11" fmla="*/ 34117 h 37546"/>
                  <a:gd name="connsiteX12" fmla="*/ 19717 w 29813"/>
                  <a:gd name="connsiteY12" fmla="*/ 34784 h 37546"/>
                  <a:gd name="connsiteX13" fmla="*/ 19431 w 29813"/>
                  <a:gd name="connsiteY13" fmla="*/ 37451 h 37546"/>
                  <a:gd name="connsiteX14" fmla="*/ 20955 w 29813"/>
                  <a:gd name="connsiteY14" fmla="*/ 37546 h 37546"/>
                  <a:gd name="connsiteX15" fmla="*/ 25146 w 29813"/>
                  <a:gd name="connsiteY15" fmla="*/ 36498 h 37546"/>
                  <a:gd name="connsiteX16" fmla="*/ 29528 w 29813"/>
                  <a:gd name="connsiteY16" fmla="*/ 29641 h 37546"/>
                  <a:gd name="connsiteX17" fmla="*/ 29813 w 29813"/>
                  <a:gd name="connsiteY17" fmla="*/ 26592 h 37546"/>
                  <a:gd name="connsiteX18" fmla="*/ 15526 w 29813"/>
                  <a:gd name="connsiteY18" fmla="*/ 2018 h 3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546">
                    <a:moveTo>
                      <a:pt x="15526" y="2018"/>
                    </a:moveTo>
                    <a:cubicBezTo>
                      <a:pt x="11430" y="-268"/>
                      <a:pt x="7620" y="-649"/>
                      <a:pt x="4667" y="1066"/>
                    </a:cubicBezTo>
                    <a:cubicBezTo>
                      <a:pt x="1714" y="2780"/>
                      <a:pt x="0" y="6304"/>
                      <a:pt x="0" y="10972"/>
                    </a:cubicBezTo>
                    <a:cubicBezTo>
                      <a:pt x="0" y="13067"/>
                      <a:pt x="381" y="15258"/>
                      <a:pt x="952" y="17448"/>
                    </a:cubicBezTo>
                    <a:lnTo>
                      <a:pt x="3334" y="16115"/>
                    </a:lnTo>
                    <a:cubicBezTo>
                      <a:pt x="2953" y="14400"/>
                      <a:pt x="2667" y="12686"/>
                      <a:pt x="2667" y="10972"/>
                    </a:cubicBezTo>
                    <a:cubicBezTo>
                      <a:pt x="2667" y="7257"/>
                      <a:pt x="3810" y="4590"/>
                      <a:pt x="6001" y="3352"/>
                    </a:cubicBezTo>
                    <a:cubicBezTo>
                      <a:pt x="6858" y="2875"/>
                      <a:pt x="7810" y="2590"/>
                      <a:pt x="8858" y="2590"/>
                    </a:cubicBezTo>
                    <a:cubicBezTo>
                      <a:pt x="10477" y="2590"/>
                      <a:pt x="12287" y="3161"/>
                      <a:pt x="14192" y="4209"/>
                    </a:cubicBezTo>
                    <a:cubicBezTo>
                      <a:pt x="21241" y="8304"/>
                      <a:pt x="27051" y="18306"/>
                      <a:pt x="27051" y="26497"/>
                    </a:cubicBezTo>
                    <a:cubicBezTo>
                      <a:pt x="27051" y="27069"/>
                      <a:pt x="27051" y="27735"/>
                      <a:pt x="26956" y="28212"/>
                    </a:cubicBezTo>
                    <a:cubicBezTo>
                      <a:pt x="26670" y="30974"/>
                      <a:pt x="25527" y="33070"/>
                      <a:pt x="23717" y="34117"/>
                    </a:cubicBezTo>
                    <a:cubicBezTo>
                      <a:pt x="22574" y="34784"/>
                      <a:pt x="21241" y="34974"/>
                      <a:pt x="19717" y="34784"/>
                    </a:cubicBezTo>
                    <a:cubicBezTo>
                      <a:pt x="19431" y="35641"/>
                      <a:pt x="19336" y="36594"/>
                      <a:pt x="19431" y="37451"/>
                    </a:cubicBezTo>
                    <a:cubicBezTo>
                      <a:pt x="19907" y="37546"/>
                      <a:pt x="20479" y="37546"/>
                      <a:pt x="20955" y="37546"/>
                    </a:cubicBezTo>
                    <a:cubicBezTo>
                      <a:pt x="22479" y="37546"/>
                      <a:pt x="23908" y="37165"/>
                      <a:pt x="25146" y="36498"/>
                    </a:cubicBezTo>
                    <a:cubicBezTo>
                      <a:pt x="27432" y="35165"/>
                      <a:pt x="28956" y="32784"/>
                      <a:pt x="29528" y="29641"/>
                    </a:cubicBezTo>
                    <a:cubicBezTo>
                      <a:pt x="29718" y="28688"/>
                      <a:pt x="29813" y="27640"/>
                      <a:pt x="29813" y="26592"/>
                    </a:cubicBezTo>
                    <a:cubicBezTo>
                      <a:pt x="29718" y="17544"/>
                      <a:pt x="23336" y="6495"/>
                      <a:pt x="15526" y="2018"/>
                    </a:cubicBezTo>
                    <a:close/>
                  </a:path>
                </a:pathLst>
              </a:custGeom>
              <a:solidFill>
                <a:srgbClr val="F5F5F5"/>
              </a:solidFill>
              <a:ln w="9525" cap="flat">
                <a:noFill/>
                <a:prstDash val="solid"/>
                <a:miter/>
              </a:ln>
            </p:spPr>
            <p:txBody>
              <a:bodyPr rtlCol="0" anchor="ctr"/>
              <a:lstStyle/>
              <a:p>
                <a:endParaRPr lang="en-IN"/>
              </a:p>
            </p:txBody>
          </p:sp>
          <p:sp>
            <p:nvSpPr>
              <p:cNvPr id="168" name="Freeform: Shape 167">
                <a:extLst>
                  <a:ext uri="{FF2B5EF4-FFF2-40B4-BE49-F238E27FC236}">
                    <a16:creationId xmlns:a16="http://schemas.microsoft.com/office/drawing/2014/main" id="{E87898A7-78B0-4001-85AD-8693C1F96023}"/>
                  </a:ext>
                </a:extLst>
              </p:cNvPr>
              <p:cNvSpPr/>
              <p:nvPr/>
            </p:nvSpPr>
            <p:spPr>
              <a:xfrm>
                <a:off x="6037434" y="3240108"/>
                <a:ext cx="29813" cy="37641"/>
              </a:xfrm>
              <a:custGeom>
                <a:avLst/>
                <a:gdLst>
                  <a:gd name="connsiteX0" fmla="*/ 15621 w 29813"/>
                  <a:gd name="connsiteY0" fmla="*/ 2018 h 37641"/>
                  <a:gd name="connsiteX1" fmla="*/ 4763 w 29813"/>
                  <a:gd name="connsiteY1" fmla="*/ 1066 h 37641"/>
                  <a:gd name="connsiteX2" fmla="*/ 0 w 29813"/>
                  <a:gd name="connsiteY2" fmla="*/ 10972 h 37641"/>
                  <a:gd name="connsiteX3" fmla="*/ 953 w 29813"/>
                  <a:gd name="connsiteY3" fmla="*/ 17449 h 37641"/>
                  <a:gd name="connsiteX4" fmla="*/ 3334 w 29813"/>
                  <a:gd name="connsiteY4" fmla="*/ 16115 h 37641"/>
                  <a:gd name="connsiteX5" fmla="*/ 2667 w 29813"/>
                  <a:gd name="connsiteY5" fmla="*/ 10972 h 37641"/>
                  <a:gd name="connsiteX6" fmla="*/ 6001 w 29813"/>
                  <a:gd name="connsiteY6" fmla="*/ 3352 h 37641"/>
                  <a:gd name="connsiteX7" fmla="*/ 8858 w 29813"/>
                  <a:gd name="connsiteY7" fmla="*/ 2590 h 37641"/>
                  <a:gd name="connsiteX8" fmla="*/ 14192 w 29813"/>
                  <a:gd name="connsiteY8" fmla="*/ 4209 h 37641"/>
                  <a:gd name="connsiteX9" fmla="*/ 27051 w 29813"/>
                  <a:gd name="connsiteY9" fmla="*/ 26497 h 37641"/>
                  <a:gd name="connsiteX10" fmla="*/ 26956 w 29813"/>
                  <a:gd name="connsiteY10" fmla="*/ 28212 h 37641"/>
                  <a:gd name="connsiteX11" fmla="*/ 23717 w 29813"/>
                  <a:gd name="connsiteY11" fmla="*/ 34117 h 37641"/>
                  <a:gd name="connsiteX12" fmla="*/ 19717 w 29813"/>
                  <a:gd name="connsiteY12" fmla="*/ 34784 h 37641"/>
                  <a:gd name="connsiteX13" fmla="*/ 19431 w 29813"/>
                  <a:gd name="connsiteY13" fmla="*/ 37546 h 37641"/>
                  <a:gd name="connsiteX14" fmla="*/ 20955 w 29813"/>
                  <a:gd name="connsiteY14" fmla="*/ 37642 h 37641"/>
                  <a:gd name="connsiteX15" fmla="*/ 25146 w 29813"/>
                  <a:gd name="connsiteY15" fmla="*/ 36594 h 37641"/>
                  <a:gd name="connsiteX16" fmla="*/ 29528 w 29813"/>
                  <a:gd name="connsiteY16" fmla="*/ 29736 h 37641"/>
                  <a:gd name="connsiteX17" fmla="*/ 29813 w 29813"/>
                  <a:gd name="connsiteY17" fmla="*/ 26688 h 37641"/>
                  <a:gd name="connsiteX18" fmla="*/ 15621 w 29813"/>
                  <a:gd name="connsiteY18" fmla="*/ 2018 h 3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641">
                    <a:moveTo>
                      <a:pt x="15621" y="2018"/>
                    </a:moveTo>
                    <a:cubicBezTo>
                      <a:pt x="11525" y="-268"/>
                      <a:pt x="7715" y="-649"/>
                      <a:pt x="4763" y="1066"/>
                    </a:cubicBezTo>
                    <a:cubicBezTo>
                      <a:pt x="1715" y="2780"/>
                      <a:pt x="0" y="6304"/>
                      <a:pt x="0" y="10972"/>
                    </a:cubicBezTo>
                    <a:cubicBezTo>
                      <a:pt x="0" y="13067"/>
                      <a:pt x="381" y="15258"/>
                      <a:pt x="953" y="17449"/>
                    </a:cubicBezTo>
                    <a:lnTo>
                      <a:pt x="3334" y="16115"/>
                    </a:lnTo>
                    <a:cubicBezTo>
                      <a:pt x="2953" y="14400"/>
                      <a:pt x="2667" y="12686"/>
                      <a:pt x="2667" y="10972"/>
                    </a:cubicBezTo>
                    <a:cubicBezTo>
                      <a:pt x="2667" y="7257"/>
                      <a:pt x="3810" y="4590"/>
                      <a:pt x="6001" y="3352"/>
                    </a:cubicBezTo>
                    <a:cubicBezTo>
                      <a:pt x="6858" y="2875"/>
                      <a:pt x="7811" y="2590"/>
                      <a:pt x="8858" y="2590"/>
                    </a:cubicBezTo>
                    <a:cubicBezTo>
                      <a:pt x="10478" y="2590"/>
                      <a:pt x="12287" y="3161"/>
                      <a:pt x="14192" y="4209"/>
                    </a:cubicBezTo>
                    <a:cubicBezTo>
                      <a:pt x="21241" y="8305"/>
                      <a:pt x="27051" y="18306"/>
                      <a:pt x="27051" y="26497"/>
                    </a:cubicBezTo>
                    <a:cubicBezTo>
                      <a:pt x="27051" y="27069"/>
                      <a:pt x="27051" y="27736"/>
                      <a:pt x="26956" y="28212"/>
                    </a:cubicBezTo>
                    <a:cubicBezTo>
                      <a:pt x="26670" y="30974"/>
                      <a:pt x="25527" y="33070"/>
                      <a:pt x="23717" y="34117"/>
                    </a:cubicBezTo>
                    <a:cubicBezTo>
                      <a:pt x="22574" y="34784"/>
                      <a:pt x="21241" y="34974"/>
                      <a:pt x="19717" y="34784"/>
                    </a:cubicBezTo>
                    <a:cubicBezTo>
                      <a:pt x="19526" y="35736"/>
                      <a:pt x="19431" y="36689"/>
                      <a:pt x="19431" y="37546"/>
                    </a:cubicBezTo>
                    <a:cubicBezTo>
                      <a:pt x="20003" y="37642"/>
                      <a:pt x="20479" y="37642"/>
                      <a:pt x="20955" y="37642"/>
                    </a:cubicBezTo>
                    <a:cubicBezTo>
                      <a:pt x="22479" y="37642"/>
                      <a:pt x="23908" y="37261"/>
                      <a:pt x="25146" y="36594"/>
                    </a:cubicBezTo>
                    <a:cubicBezTo>
                      <a:pt x="27432" y="35260"/>
                      <a:pt x="28956" y="32879"/>
                      <a:pt x="29528" y="29736"/>
                    </a:cubicBezTo>
                    <a:cubicBezTo>
                      <a:pt x="29718" y="28783"/>
                      <a:pt x="29813" y="27736"/>
                      <a:pt x="29813" y="26688"/>
                    </a:cubicBezTo>
                    <a:cubicBezTo>
                      <a:pt x="29813" y="17639"/>
                      <a:pt x="23432" y="6590"/>
                      <a:pt x="15621" y="2018"/>
                    </a:cubicBezTo>
                    <a:close/>
                  </a:path>
                </a:pathLst>
              </a:custGeom>
              <a:solidFill>
                <a:srgbClr val="F5F5F5"/>
              </a:solidFill>
              <a:ln w="9525" cap="flat">
                <a:noFill/>
                <a:prstDash val="solid"/>
                <a:miter/>
              </a:ln>
            </p:spPr>
            <p:txBody>
              <a:bodyPr rtlCol="0" anchor="ctr"/>
              <a:lstStyle/>
              <a:p>
                <a:endParaRPr lang="en-IN"/>
              </a:p>
            </p:txBody>
          </p:sp>
          <p:sp>
            <p:nvSpPr>
              <p:cNvPr id="169" name="Freeform: Shape 168">
                <a:extLst>
                  <a:ext uri="{FF2B5EF4-FFF2-40B4-BE49-F238E27FC236}">
                    <a16:creationId xmlns:a16="http://schemas.microsoft.com/office/drawing/2014/main" id="{2BA37F0D-B2B3-4D0C-911B-33B3E2CA9CDE}"/>
                  </a:ext>
                </a:extLst>
              </p:cNvPr>
              <p:cNvSpPr/>
              <p:nvPr/>
            </p:nvSpPr>
            <p:spPr>
              <a:xfrm>
                <a:off x="6075439" y="3218295"/>
                <a:ext cx="29813" cy="37546"/>
              </a:xfrm>
              <a:custGeom>
                <a:avLst/>
                <a:gdLst>
                  <a:gd name="connsiteX0" fmla="*/ 15526 w 29813"/>
                  <a:gd name="connsiteY0" fmla="*/ 2018 h 37546"/>
                  <a:gd name="connsiteX1" fmla="*/ 4667 w 29813"/>
                  <a:gd name="connsiteY1" fmla="*/ 1066 h 37546"/>
                  <a:gd name="connsiteX2" fmla="*/ 0 w 29813"/>
                  <a:gd name="connsiteY2" fmla="*/ 10972 h 37546"/>
                  <a:gd name="connsiteX3" fmla="*/ 952 w 29813"/>
                  <a:gd name="connsiteY3" fmla="*/ 17449 h 37546"/>
                  <a:gd name="connsiteX4" fmla="*/ 3334 w 29813"/>
                  <a:gd name="connsiteY4" fmla="*/ 16115 h 37546"/>
                  <a:gd name="connsiteX5" fmla="*/ 2667 w 29813"/>
                  <a:gd name="connsiteY5" fmla="*/ 10972 h 37546"/>
                  <a:gd name="connsiteX6" fmla="*/ 6001 w 29813"/>
                  <a:gd name="connsiteY6" fmla="*/ 3352 h 37546"/>
                  <a:gd name="connsiteX7" fmla="*/ 8858 w 29813"/>
                  <a:gd name="connsiteY7" fmla="*/ 2590 h 37546"/>
                  <a:gd name="connsiteX8" fmla="*/ 14192 w 29813"/>
                  <a:gd name="connsiteY8" fmla="*/ 4209 h 37546"/>
                  <a:gd name="connsiteX9" fmla="*/ 27051 w 29813"/>
                  <a:gd name="connsiteY9" fmla="*/ 26497 h 37546"/>
                  <a:gd name="connsiteX10" fmla="*/ 26956 w 29813"/>
                  <a:gd name="connsiteY10" fmla="*/ 28212 h 37546"/>
                  <a:gd name="connsiteX11" fmla="*/ 23717 w 29813"/>
                  <a:gd name="connsiteY11" fmla="*/ 34117 h 37546"/>
                  <a:gd name="connsiteX12" fmla="*/ 19717 w 29813"/>
                  <a:gd name="connsiteY12" fmla="*/ 34784 h 37546"/>
                  <a:gd name="connsiteX13" fmla="*/ 19431 w 29813"/>
                  <a:gd name="connsiteY13" fmla="*/ 37451 h 37546"/>
                  <a:gd name="connsiteX14" fmla="*/ 20955 w 29813"/>
                  <a:gd name="connsiteY14" fmla="*/ 37546 h 37546"/>
                  <a:gd name="connsiteX15" fmla="*/ 25146 w 29813"/>
                  <a:gd name="connsiteY15" fmla="*/ 36499 h 37546"/>
                  <a:gd name="connsiteX16" fmla="*/ 29527 w 29813"/>
                  <a:gd name="connsiteY16" fmla="*/ 29640 h 37546"/>
                  <a:gd name="connsiteX17" fmla="*/ 29813 w 29813"/>
                  <a:gd name="connsiteY17" fmla="*/ 26593 h 37546"/>
                  <a:gd name="connsiteX18" fmla="*/ 15526 w 29813"/>
                  <a:gd name="connsiteY18" fmla="*/ 2018 h 3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546">
                    <a:moveTo>
                      <a:pt x="15526" y="2018"/>
                    </a:moveTo>
                    <a:cubicBezTo>
                      <a:pt x="11430" y="-268"/>
                      <a:pt x="7620" y="-649"/>
                      <a:pt x="4667" y="1066"/>
                    </a:cubicBezTo>
                    <a:cubicBezTo>
                      <a:pt x="1714" y="2780"/>
                      <a:pt x="0" y="6304"/>
                      <a:pt x="0" y="10972"/>
                    </a:cubicBezTo>
                    <a:cubicBezTo>
                      <a:pt x="0" y="13067"/>
                      <a:pt x="381" y="15258"/>
                      <a:pt x="952" y="17449"/>
                    </a:cubicBezTo>
                    <a:lnTo>
                      <a:pt x="3334" y="16115"/>
                    </a:lnTo>
                    <a:cubicBezTo>
                      <a:pt x="2953" y="14400"/>
                      <a:pt x="2667" y="12686"/>
                      <a:pt x="2667" y="10972"/>
                    </a:cubicBezTo>
                    <a:cubicBezTo>
                      <a:pt x="2667" y="7257"/>
                      <a:pt x="3810" y="4590"/>
                      <a:pt x="6001" y="3352"/>
                    </a:cubicBezTo>
                    <a:cubicBezTo>
                      <a:pt x="6858" y="2875"/>
                      <a:pt x="7810" y="2590"/>
                      <a:pt x="8858" y="2590"/>
                    </a:cubicBezTo>
                    <a:cubicBezTo>
                      <a:pt x="10477" y="2590"/>
                      <a:pt x="12287" y="3161"/>
                      <a:pt x="14192" y="4209"/>
                    </a:cubicBezTo>
                    <a:cubicBezTo>
                      <a:pt x="21241" y="8305"/>
                      <a:pt x="27051" y="18306"/>
                      <a:pt x="27051" y="26497"/>
                    </a:cubicBezTo>
                    <a:cubicBezTo>
                      <a:pt x="27051" y="27069"/>
                      <a:pt x="27051" y="27736"/>
                      <a:pt x="26956" y="28212"/>
                    </a:cubicBezTo>
                    <a:cubicBezTo>
                      <a:pt x="26670" y="30974"/>
                      <a:pt x="25527" y="33070"/>
                      <a:pt x="23717" y="34117"/>
                    </a:cubicBezTo>
                    <a:cubicBezTo>
                      <a:pt x="22574" y="34784"/>
                      <a:pt x="21241" y="34975"/>
                      <a:pt x="19717" y="34784"/>
                    </a:cubicBezTo>
                    <a:cubicBezTo>
                      <a:pt x="19431" y="35641"/>
                      <a:pt x="19336" y="36594"/>
                      <a:pt x="19431" y="37451"/>
                    </a:cubicBezTo>
                    <a:cubicBezTo>
                      <a:pt x="19907" y="37546"/>
                      <a:pt x="20479" y="37546"/>
                      <a:pt x="20955" y="37546"/>
                    </a:cubicBezTo>
                    <a:cubicBezTo>
                      <a:pt x="22479" y="37546"/>
                      <a:pt x="23908" y="37165"/>
                      <a:pt x="25146" y="36499"/>
                    </a:cubicBezTo>
                    <a:cubicBezTo>
                      <a:pt x="27432" y="35165"/>
                      <a:pt x="28956" y="32784"/>
                      <a:pt x="29527" y="29640"/>
                    </a:cubicBezTo>
                    <a:cubicBezTo>
                      <a:pt x="29718" y="28688"/>
                      <a:pt x="29813" y="27640"/>
                      <a:pt x="29813" y="26593"/>
                    </a:cubicBezTo>
                    <a:cubicBezTo>
                      <a:pt x="29718" y="17544"/>
                      <a:pt x="23336" y="6495"/>
                      <a:pt x="15526" y="2018"/>
                    </a:cubicBezTo>
                    <a:close/>
                  </a:path>
                </a:pathLst>
              </a:custGeom>
              <a:solidFill>
                <a:srgbClr val="F5F5F5"/>
              </a:solidFill>
              <a:ln w="9525" cap="flat">
                <a:noFill/>
                <a:prstDash val="solid"/>
                <a:miter/>
              </a:ln>
            </p:spPr>
            <p:txBody>
              <a:bodyPr rtlCol="0" anchor="ctr"/>
              <a:lstStyle/>
              <a:p>
                <a:endParaRPr lang="en-IN"/>
              </a:p>
            </p:txBody>
          </p:sp>
          <p:sp>
            <p:nvSpPr>
              <p:cNvPr id="170" name="Freeform: Shape 169">
                <a:extLst>
                  <a:ext uri="{FF2B5EF4-FFF2-40B4-BE49-F238E27FC236}">
                    <a16:creationId xmlns:a16="http://schemas.microsoft.com/office/drawing/2014/main" id="{07417B46-B585-43D8-82D1-63DD843C8809}"/>
                  </a:ext>
                </a:extLst>
              </p:cNvPr>
              <p:cNvSpPr/>
              <p:nvPr/>
            </p:nvSpPr>
            <p:spPr>
              <a:xfrm>
                <a:off x="6113254" y="3196388"/>
                <a:ext cx="29813" cy="37641"/>
              </a:xfrm>
              <a:custGeom>
                <a:avLst/>
                <a:gdLst>
                  <a:gd name="connsiteX0" fmla="*/ 15526 w 29813"/>
                  <a:gd name="connsiteY0" fmla="*/ 2018 h 37641"/>
                  <a:gd name="connsiteX1" fmla="*/ 4667 w 29813"/>
                  <a:gd name="connsiteY1" fmla="*/ 1066 h 37641"/>
                  <a:gd name="connsiteX2" fmla="*/ 0 w 29813"/>
                  <a:gd name="connsiteY2" fmla="*/ 10972 h 37641"/>
                  <a:gd name="connsiteX3" fmla="*/ 953 w 29813"/>
                  <a:gd name="connsiteY3" fmla="*/ 17449 h 37641"/>
                  <a:gd name="connsiteX4" fmla="*/ 3334 w 29813"/>
                  <a:gd name="connsiteY4" fmla="*/ 16115 h 37641"/>
                  <a:gd name="connsiteX5" fmla="*/ 2667 w 29813"/>
                  <a:gd name="connsiteY5" fmla="*/ 10972 h 37641"/>
                  <a:gd name="connsiteX6" fmla="*/ 6001 w 29813"/>
                  <a:gd name="connsiteY6" fmla="*/ 3352 h 37641"/>
                  <a:gd name="connsiteX7" fmla="*/ 8858 w 29813"/>
                  <a:gd name="connsiteY7" fmla="*/ 2589 h 37641"/>
                  <a:gd name="connsiteX8" fmla="*/ 14192 w 29813"/>
                  <a:gd name="connsiteY8" fmla="*/ 4209 h 37641"/>
                  <a:gd name="connsiteX9" fmla="*/ 27051 w 29813"/>
                  <a:gd name="connsiteY9" fmla="*/ 26592 h 37641"/>
                  <a:gd name="connsiteX10" fmla="*/ 26956 w 29813"/>
                  <a:gd name="connsiteY10" fmla="*/ 28307 h 37641"/>
                  <a:gd name="connsiteX11" fmla="*/ 23717 w 29813"/>
                  <a:gd name="connsiteY11" fmla="*/ 34213 h 37641"/>
                  <a:gd name="connsiteX12" fmla="*/ 19717 w 29813"/>
                  <a:gd name="connsiteY12" fmla="*/ 34879 h 37641"/>
                  <a:gd name="connsiteX13" fmla="*/ 19431 w 29813"/>
                  <a:gd name="connsiteY13" fmla="*/ 37546 h 37641"/>
                  <a:gd name="connsiteX14" fmla="*/ 20955 w 29813"/>
                  <a:gd name="connsiteY14" fmla="*/ 37642 h 37641"/>
                  <a:gd name="connsiteX15" fmla="*/ 25146 w 29813"/>
                  <a:gd name="connsiteY15" fmla="*/ 36594 h 37641"/>
                  <a:gd name="connsiteX16" fmla="*/ 29528 w 29813"/>
                  <a:gd name="connsiteY16" fmla="*/ 29736 h 37641"/>
                  <a:gd name="connsiteX17" fmla="*/ 29813 w 29813"/>
                  <a:gd name="connsiteY17" fmla="*/ 26688 h 37641"/>
                  <a:gd name="connsiteX18" fmla="*/ 15526 w 29813"/>
                  <a:gd name="connsiteY18" fmla="*/ 2018 h 3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641">
                    <a:moveTo>
                      <a:pt x="15526" y="2018"/>
                    </a:moveTo>
                    <a:cubicBezTo>
                      <a:pt x="11430" y="-268"/>
                      <a:pt x="7620" y="-649"/>
                      <a:pt x="4667" y="1066"/>
                    </a:cubicBezTo>
                    <a:cubicBezTo>
                      <a:pt x="1715" y="2780"/>
                      <a:pt x="0" y="6304"/>
                      <a:pt x="0" y="10972"/>
                    </a:cubicBezTo>
                    <a:cubicBezTo>
                      <a:pt x="0" y="13067"/>
                      <a:pt x="381" y="15258"/>
                      <a:pt x="953" y="17449"/>
                    </a:cubicBezTo>
                    <a:lnTo>
                      <a:pt x="3334" y="16115"/>
                    </a:lnTo>
                    <a:cubicBezTo>
                      <a:pt x="2953" y="14400"/>
                      <a:pt x="2667" y="12686"/>
                      <a:pt x="2667" y="10972"/>
                    </a:cubicBezTo>
                    <a:cubicBezTo>
                      <a:pt x="2667" y="7257"/>
                      <a:pt x="3810" y="4590"/>
                      <a:pt x="6001" y="3352"/>
                    </a:cubicBezTo>
                    <a:cubicBezTo>
                      <a:pt x="6858" y="2875"/>
                      <a:pt x="7810" y="2589"/>
                      <a:pt x="8858" y="2589"/>
                    </a:cubicBezTo>
                    <a:cubicBezTo>
                      <a:pt x="10478" y="2589"/>
                      <a:pt x="12287" y="3161"/>
                      <a:pt x="14192" y="4209"/>
                    </a:cubicBezTo>
                    <a:cubicBezTo>
                      <a:pt x="21336" y="8400"/>
                      <a:pt x="27051" y="18401"/>
                      <a:pt x="27051" y="26592"/>
                    </a:cubicBezTo>
                    <a:cubicBezTo>
                      <a:pt x="27051" y="27164"/>
                      <a:pt x="27051" y="27831"/>
                      <a:pt x="26956" y="28307"/>
                    </a:cubicBezTo>
                    <a:cubicBezTo>
                      <a:pt x="26670" y="31069"/>
                      <a:pt x="25527" y="33165"/>
                      <a:pt x="23717" y="34213"/>
                    </a:cubicBezTo>
                    <a:cubicBezTo>
                      <a:pt x="22574" y="34879"/>
                      <a:pt x="21241" y="35070"/>
                      <a:pt x="19717" y="34879"/>
                    </a:cubicBezTo>
                    <a:cubicBezTo>
                      <a:pt x="19431" y="35737"/>
                      <a:pt x="19336" y="36689"/>
                      <a:pt x="19431" y="37546"/>
                    </a:cubicBezTo>
                    <a:cubicBezTo>
                      <a:pt x="19907" y="37642"/>
                      <a:pt x="20479" y="37642"/>
                      <a:pt x="20955" y="37642"/>
                    </a:cubicBezTo>
                    <a:cubicBezTo>
                      <a:pt x="22479" y="37642"/>
                      <a:pt x="23908" y="37260"/>
                      <a:pt x="25146" y="36594"/>
                    </a:cubicBezTo>
                    <a:cubicBezTo>
                      <a:pt x="27432" y="35260"/>
                      <a:pt x="28956" y="32879"/>
                      <a:pt x="29528" y="29736"/>
                    </a:cubicBezTo>
                    <a:cubicBezTo>
                      <a:pt x="29718" y="28783"/>
                      <a:pt x="29813" y="27736"/>
                      <a:pt x="29813" y="26688"/>
                    </a:cubicBezTo>
                    <a:cubicBezTo>
                      <a:pt x="29718" y="17544"/>
                      <a:pt x="23336" y="6495"/>
                      <a:pt x="15526" y="2018"/>
                    </a:cubicBezTo>
                    <a:close/>
                  </a:path>
                </a:pathLst>
              </a:custGeom>
              <a:solidFill>
                <a:srgbClr val="F5F5F5"/>
              </a:solidFill>
              <a:ln w="9525" cap="flat">
                <a:noFill/>
                <a:prstDash val="solid"/>
                <a:miter/>
              </a:ln>
            </p:spPr>
            <p:txBody>
              <a:bodyPr rtlCol="0" anchor="ctr"/>
              <a:lstStyle/>
              <a:p>
                <a:endParaRPr lang="en-IN"/>
              </a:p>
            </p:txBody>
          </p:sp>
        </p:grpSp>
        <p:grpSp>
          <p:nvGrpSpPr>
            <p:cNvPr id="171" name="Graphic 4095">
              <a:extLst>
                <a:ext uri="{FF2B5EF4-FFF2-40B4-BE49-F238E27FC236}">
                  <a16:creationId xmlns:a16="http://schemas.microsoft.com/office/drawing/2014/main" id="{81321DA2-88AD-4102-A36E-0A06F1BE9958}"/>
                </a:ext>
              </a:extLst>
            </p:cNvPr>
            <p:cNvGrpSpPr/>
            <p:nvPr/>
          </p:nvGrpSpPr>
          <p:grpSpPr>
            <a:xfrm>
              <a:off x="6167260" y="3370924"/>
              <a:ext cx="108013" cy="138146"/>
              <a:chOff x="6167260" y="3370924"/>
              <a:chExt cx="108013" cy="138146"/>
            </a:xfrm>
            <a:solidFill>
              <a:schemeClr val="accent1"/>
            </a:solidFill>
          </p:grpSpPr>
          <p:grpSp>
            <p:nvGrpSpPr>
              <p:cNvPr id="172" name="Graphic 4095">
                <a:extLst>
                  <a:ext uri="{FF2B5EF4-FFF2-40B4-BE49-F238E27FC236}">
                    <a16:creationId xmlns:a16="http://schemas.microsoft.com/office/drawing/2014/main" id="{81321DA2-88AD-4102-A36E-0A06F1BE9958}"/>
                  </a:ext>
                </a:extLst>
              </p:cNvPr>
              <p:cNvGrpSpPr/>
              <p:nvPr/>
            </p:nvGrpSpPr>
            <p:grpSpPr>
              <a:xfrm>
                <a:off x="6167260" y="3370924"/>
                <a:ext cx="95916" cy="134281"/>
                <a:chOff x="6167260" y="3370924"/>
                <a:chExt cx="95916" cy="134281"/>
              </a:xfrm>
              <a:solidFill>
                <a:schemeClr val="accent1"/>
              </a:solidFill>
            </p:grpSpPr>
            <p:sp>
              <p:nvSpPr>
                <p:cNvPr id="173" name="Freeform: Shape 172">
                  <a:extLst>
                    <a:ext uri="{FF2B5EF4-FFF2-40B4-BE49-F238E27FC236}">
                      <a16:creationId xmlns:a16="http://schemas.microsoft.com/office/drawing/2014/main" id="{16088A91-B297-43C1-A3E7-03087C3806B6}"/>
                    </a:ext>
                  </a:extLst>
                </p:cNvPr>
                <p:cNvSpPr/>
                <p:nvPr/>
              </p:nvSpPr>
              <p:spPr>
                <a:xfrm>
                  <a:off x="6203836" y="3373856"/>
                  <a:ext cx="51911" cy="35623"/>
                </a:xfrm>
                <a:custGeom>
                  <a:avLst/>
                  <a:gdLst>
                    <a:gd name="connsiteX0" fmla="*/ 6572 w 51911"/>
                    <a:gd name="connsiteY0" fmla="*/ 2191 h 35623"/>
                    <a:gd name="connsiteX1" fmla="*/ 10954 w 51911"/>
                    <a:gd name="connsiteY1" fmla="*/ 0 h 35623"/>
                    <a:gd name="connsiteX2" fmla="*/ 51911 w 51911"/>
                    <a:gd name="connsiteY2" fmla="*/ 23622 h 35623"/>
                    <a:gd name="connsiteX3" fmla="*/ 49530 w 51911"/>
                    <a:gd name="connsiteY3" fmla="*/ 28480 h 35623"/>
                    <a:gd name="connsiteX4" fmla="*/ 49816 w 51911"/>
                    <a:gd name="connsiteY4" fmla="*/ 34957 h 35623"/>
                    <a:gd name="connsiteX5" fmla="*/ 49816 w 51911"/>
                    <a:gd name="connsiteY5" fmla="*/ 35623 h 35623"/>
                    <a:gd name="connsiteX6" fmla="*/ 0 w 51911"/>
                    <a:gd name="connsiteY6" fmla="*/ 6858 h 35623"/>
                    <a:gd name="connsiteX7" fmla="*/ 6572 w 51911"/>
                    <a:gd name="connsiteY7" fmla="*/ 2191 h 35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11" h="35623">
                      <a:moveTo>
                        <a:pt x="6572" y="2191"/>
                      </a:moveTo>
                      <a:cubicBezTo>
                        <a:pt x="8096" y="1333"/>
                        <a:pt x="9525" y="571"/>
                        <a:pt x="10954" y="0"/>
                      </a:cubicBezTo>
                      <a:lnTo>
                        <a:pt x="51911" y="23622"/>
                      </a:lnTo>
                      <a:lnTo>
                        <a:pt x="49530" y="28480"/>
                      </a:lnTo>
                      <a:cubicBezTo>
                        <a:pt x="49721" y="30575"/>
                        <a:pt x="49816" y="32671"/>
                        <a:pt x="49816" y="34957"/>
                      </a:cubicBezTo>
                      <a:cubicBezTo>
                        <a:pt x="49816" y="35147"/>
                        <a:pt x="49816" y="35338"/>
                        <a:pt x="49816" y="35623"/>
                      </a:cubicBezTo>
                      <a:lnTo>
                        <a:pt x="0" y="6858"/>
                      </a:lnTo>
                      <a:cubicBezTo>
                        <a:pt x="2096" y="5048"/>
                        <a:pt x="4286" y="3524"/>
                        <a:pt x="6572" y="2191"/>
                      </a:cubicBezTo>
                      <a:close/>
                    </a:path>
                  </a:pathLst>
                </a:custGeom>
                <a:solidFill>
                  <a:srgbClr val="E3960E"/>
                </a:solidFill>
                <a:ln w="9525" cap="flat">
                  <a:noFill/>
                  <a:prstDash val="solid"/>
                  <a:miter/>
                </a:ln>
              </p:spPr>
              <p:txBody>
                <a:bodyPr rtlCol="0" anchor="ctr"/>
                <a:lstStyle/>
                <a:p>
                  <a:endParaRPr lang="en-IN"/>
                </a:p>
              </p:txBody>
            </p:sp>
            <p:sp>
              <p:nvSpPr>
                <p:cNvPr id="174" name="Freeform: Shape 173">
                  <a:extLst>
                    <a:ext uri="{FF2B5EF4-FFF2-40B4-BE49-F238E27FC236}">
                      <a16:creationId xmlns:a16="http://schemas.microsoft.com/office/drawing/2014/main" id="{E52FE75F-A6FB-4BFD-A26F-B249E1BEC58C}"/>
                    </a:ext>
                  </a:extLst>
                </p:cNvPr>
                <p:cNvSpPr/>
                <p:nvPr/>
              </p:nvSpPr>
              <p:spPr>
                <a:xfrm>
                  <a:off x="6167451" y="3465868"/>
                  <a:ext cx="43529" cy="34766"/>
                </a:xfrm>
                <a:custGeom>
                  <a:avLst/>
                  <a:gdLst>
                    <a:gd name="connsiteX0" fmla="*/ 42958 w 43529"/>
                    <a:gd name="connsiteY0" fmla="*/ 25527 h 34766"/>
                    <a:gd name="connsiteX1" fmla="*/ 41243 w 43529"/>
                    <a:gd name="connsiteY1" fmla="*/ 26384 h 34766"/>
                    <a:gd name="connsiteX2" fmla="*/ 37052 w 43529"/>
                    <a:gd name="connsiteY2" fmla="*/ 34766 h 34766"/>
                    <a:gd name="connsiteX3" fmla="*/ 4191 w 43529"/>
                    <a:gd name="connsiteY3" fmla="*/ 15811 h 34766"/>
                    <a:gd name="connsiteX4" fmla="*/ 0 w 43529"/>
                    <a:gd name="connsiteY4" fmla="*/ 0 h 34766"/>
                    <a:gd name="connsiteX5" fmla="*/ 43529 w 43529"/>
                    <a:gd name="connsiteY5" fmla="*/ 25146 h 34766"/>
                    <a:gd name="connsiteX6" fmla="*/ 42958 w 43529"/>
                    <a:gd name="connsiteY6" fmla="*/ 25527 h 3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29" h="34766">
                      <a:moveTo>
                        <a:pt x="42958" y="25527"/>
                      </a:moveTo>
                      <a:cubicBezTo>
                        <a:pt x="42386" y="25908"/>
                        <a:pt x="41815" y="26098"/>
                        <a:pt x="41243" y="26384"/>
                      </a:cubicBezTo>
                      <a:lnTo>
                        <a:pt x="37052" y="34766"/>
                      </a:lnTo>
                      <a:lnTo>
                        <a:pt x="4191" y="15811"/>
                      </a:lnTo>
                      <a:cubicBezTo>
                        <a:pt x="2095" y="11430"/>
                        <a:pt x="667" y="6096"/>
                        <a:pt x="0" y="0"/>
                      </a:cubicBezTo>
                      <a:lnTo>
                        <a:pt x="43529" y="25146"/>
                      </a:lnTo>
                      <a:cubicBezTo>
                        <a:pt x="43434" y="25241"/>
                        <a:pt x="43148" y="25432"/>
                        <a:pt x="42958" y="25527"/>
                      </a:cubicBezTo>
                      <a:close/>
                    </a:path>
                  </a:pathLst>
                </a:custGeom>
                <a:solidFill>
                  <a:srgbClr val="E3960E"/>
                </a:solidFill>
                <a:ln w="9525" cap="flat">
                  <a:noFill/>
                  <a:prstDash val="solid"/>
                  <a:miter/>
                </a:ln>
              </p:spPr>
              <p:txBody>
                <a:bodyPr rtlCol="0" anchor="ctr"/>
                <a:lstStyle/>
                <a:p>
                  <a:endParaRPr lang="en-IN"/>
                </a:p>
              </p:txBody>
            </p:sp>
            <p:sp>
              <p:nvSpPr>
                <p:cNvPr id="175" name="Freeform: Shape 174">
                  <a:extLst>
                    <a:ext uri="{FF2B5EF4-FFF2-40B4-BE49-F238E27FC236}">
                      <a16:creationId xmlns:a16="http://schemas.microsoft.com/office/drawing/2014/main" id="{DE0861D0-5FA2-40E7-B93F-54D31691CC1A}"/>
                    </a:ext>
                  </a:extLst>
                </p:cNvPr>
                <p:cNvSpPr/>
                <p:nvPr/>
              </p:nvSpPr>
              <p:spPr>
                <a:xfrm>
                  <a:off x="6221362" y="3370924"/>
                  <a:ext cx="39719" cy="21886"/>
                </a:xfrm>
                <a:custGeom>
                  <a:avLst/>
                  <a:gdLst>
                    <a:gd name="connsiteX0" fmla="*/ 17431 w 39719"/>
                    <a:gd name="connsiteY0" fmla="*/ 3027 h 21886"/>
                    <a:gd name="connsiteX1" fmla="*/ 17431 w 39719"/>
                    <a:gd name="connsiteY1" fmla="*/ 3027 h 21886"/>
                    <a:gd name="connsiteX2" fmla="*/ 39719 w 39719"/>
                    <a:gd name="connsiteY2" fmla="*/ 15791 h 21886"/>
                    <a:gd name="connsiteX3" fmla="*/ 36671 w 39719"/>
                    <a:gd name="connsiteY3" fmla="*/ 21887 h 21886"/>
                    <a:gd name="connsiteX4" fmla="*/ 0 w 39719"/>
                    <a:gd name="connsiteY4" fmla="*/ 741 h 21886"/>
                    <a:gd name="connsiteX5" fmla="*/ 17431 w 39719"/>
                    <a:gd name="connsiteY5" fmla="*/ 3027 h 21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719" h="21886">
                      <a:moveTo>
                        <a:pt x="17431" y="3027"/>
                      </a:moveTo>
                      <a:lnTo>
                        <a:pt x="17431" y="3027"/>
                      </a:lnTo>
                      <a:lnTo>
                        <a:pt x="39719" y="15791"/>
                      </a:lnTo>
                      <a:lnTo>
                        <a:pt x="36671" y="21887"/>
                      </a:lnTo>
                      <a:lnTo>
                        <a:pt x="0" y="741"/>
                      </a:lnTo>
                      <a:cubicBezTo>
                        <a:pt x="6572" y="-783"/>
                        <a:pt x="12478" y="74"/>
                        <a:pt x="17431" y="3027"/>
                      </a:cubicBezTo>
                      <a:close/>
                    </a:path>
                  </a:pathLst>
                </a:custGeom>
                <a:solidFill>
                  <a:srgbClr val="E3960E"/>
                </a:solidFill>
                <a:ln w="9525" cap="flat">
                  <a:noFill/>
                  <a:prstDash val="solid"/>
                  <a:miter/>
                </a:ln>
              </p:spPr>
              <p:txBody>
                <a:bodyPr rtlCol="0" anchor="ctr"/>
                <a:lstStyle/>
                <a:p>
                  <a:endParaRPr lang="en-IN"/>
                </a:p>
              </p:txBody>
            </p:sp>
            <p:sp>
              <p:nvSpPr>
                <p:cNvPr id="176" name="Freeform: Shape 175">
                  <a:extLst>
                    <a:ext uri="{FF2B5EF4-FFF2-40B4-BE49-F238E27FC236}">
                      <a16:creationId xmlns:a16="http://schemas.microsoft.com/office/drawing/2014/main" id="{4804DF99-B953-4BD8-ACFD-7E9528741FA3}"/>
                    </a:ext>
                  </a:extLst>
                </p:cNvPr>
                <p:cNvSpPr/>
                <p:nvPr/>
              </p:nvSpPr>
              <p:spPr>
                <a:xfrm>
                  <a:off x="6167451" y="3384143"/>
                  <a:ext cx="86201" cy="103536"/>
                </a:xfrm>
                <a:custGeom>
                  <a:avLst/>
                  <a:gdLst>
                    <a:gd name="connsiteX0" fmla="*/ 45434 w 86201"/>
                    <a:gd name="connsiteY0" fmla="*/ 80105 h 103536"/>
                    <a:gd name="connsiteX1" fmla="*/ 2000 w 86201"/>
                    <a:gd name="connsiteY1" fmla="*/ 55054 h 103536"/>
                    <a:gd name="connsiteX2" fmla="*/ 5334 w 86201"/>
                    <a:gd name="connsiteY2" fmla="*/ 43053 h 103536"/>
                    <a:gd name="connsiteX3" fmla="*/ 38100 w 86201"/>
                    <a:gd name="connsiteY3" fmla="*/ 62008 h 103536"/>
                    <a:gd name="connsiteX4" fmla="*/ 43339 w 86201"/>
                    <a:gd name="connsiteY4" fmla="*/ 58960 h 103536"/>
                    <a:gd name="connsiteX5" fmla="*/ 7144 w 86201"/>
                    <a:gd name="connsiteY5" fmla="*/ 38100 h 103536"/>
                    <a:gd name="connsiteX6" fmla="*/ 12001 w 86201"/>
                    <a:gd name="connsiteY6" fmla="*/ 27432 h 103536"/>
                    <a:gd name="connsiteX7" fmla="*/ 53816 w 86201"/>
                    <a:gd name="connsiteY7" fmla="*/ 51530 h 103536"/>
                    <a:gd name="connsiteX8" fmla="*/ 59055 w 86201"/>
                    <a:gd name="connsiteY8" fmla="*/ 48482 h 103536"/>
                    <a:gd name="connsiteX9" fmla="*/ 14573 w 86201"/>
                    <a:gd name="connsiteY9" fmla="*/ 22765 h 103536"/>
                    <a:gd name="connsiteX10" fmla="*/ 20860 w 86201"/>
                    <a:gd name="connsiteY10" fmla="*/ 12954 h 103536"/>
                    <a:gd name="connsiteX11" fmla="*/ 69532 w 86201"/>
                    <a:gd name="connsiteY11" fmla="*/ 41053 h 103536"/>
                    <a:gd name="connsiteX12" fmla="*/ 74771 w 86201"/>
                    <a:gd name="connsiteY12" fmla="*/ 38005 h 103536"/>
                    <a:gd name="connsiteX13" fmla="*/ 24098 w 86201"/>
                    <a:gd name="connsiteY13" fmla="*/ 8763 h 103536"/>
                    <a:gd name="connsiteX14" fmla="*/ 32290 w 86201"/>
                    <a:gd name="connsiteY14" fmla="*/ 0 h 103536"/>
                    <a:gd name="connsiteX15" fmla="*/ 85249 w 86201"/>
                    <a:gd name="connsiteY15" fmla="*/ 30575 h 103536"/>
                    <a:gd name="connsiteX16" fmla="*/ 86201 w 86201"/>
                    <a:gd name="connsiteY16" fmla="*/ 30004 h 103536"/>
                    <a:gd name="connsiteX17" fmla="*/ 48673 w 86201"/>
                    <a:gd name="connsiteY17" fmla="*/ 103537 h 103536"/>
                    <a:gd name="connsiteX18" fmla="*/ 0 w 86201"/>
                    <a:gd name="connsiteY18" fmla="*/ 75438 h 103536"/>
                    <a:gd name="connsiteX19" fmla="*/ 0 w 86201"/>
                    <a:gd name="connsiteY19" fmla="*/ 74486 h 103536"/>
                    <a:gd name="connsiteX20" fmla="*/ 1238 w 86201"/>
                    <a:gd name="connsiteY20" fmla="*/ 60389 h 103536"/>
                    <a:gd name="connsiteX21" fmla="*/ 40481 w 86201"/>
                    <a:gd name="connsiteY21" fmla="*/ 83058 h 103536"/>
                    <a:gd name="connsiteX22" fmla="*/ 45434 w 86201"/>
                    <a:gd name="connsiteY22" fmla="*/ 80105 h 1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6201" h="103536">
                      <a:moveTo>
                        <a:pt x="45434" y="80105"/>
                      </a:moveTo>
                      <a:lnTo>
                        <a:pt x="2000" y="55054"/>
                      </a:lnTo>
                      <a:cubicBezTo>
                        <a:pt x="2857" y="51054"/>
                        <a:pt x="4000" y="47053"/>
                        <a:pt x="5334" y="43053"/>
                      </a:cubicBezTo>
                      <a:lnTo>
                        <a:pt x="38100" y="62008"/>
                      </a:lnTo>
                      <a:lnTo>
                        <a:pt x="43339" y="58960"/>
                      </a:lnTo>
                      <a:lnTo>
                        <a:pt x="7144" y="38100"/>
                      </a:lnTo>
                      <a:cubicBezTo>
                        <a:pt x="8572" y="34480"/>
                        <a:pt x="10192" y="30861"/>
                        <a:pt x="12001" y="27432"/>
                      </a:cubicBezTo>
                      <a:lnTo>
                        <a:pt x="53816" y="51530"/>
                      </a:lnTo>
                      <a:lnTo>
                        <a:pt x="59055" y="48482"/>
                      </a:lnTo>
                      <a:lnTo>
                        <a:pt x="14573" y="22765"/>
                      </a:lnTo>
                      <a:cubicBezTo>
                        <a:pt x="16573" y="19336"/>
                        <a:pt x="18669" y="16097"/>
                        <a:pt x="20860" y="12954"/>
                      </a:cubicBezTo>
                      <a:lnTo>
                        <a:pt x="69532" y="41053"/>
                      </a:lnTo>
                      <a:lnTo>
                        <a:pt x="74771" y="38005"/>
                      </a:lnTo>
                      <a:lnTo>
                        <a:pt x="24098" y="8763"/>
                      </a:lnTo>
                      <a:cubicBezTo>
                        <a:pt x="26670" y="5620"/>
                        <a:pt x="29432" y="2667"/>
                        <a:pt x="32290" y="0"/>
                      </a:cubicBezTo>
                      <a:lnTo>
                        <a:pt x="85249" y="30575"/>
                      </a:lnTo>
                      <a:lnTo>
                        <a:pt x="86201" y="30004"/>
                      </a:lnTo>
                      <a:cubicBezTo>
                        <a:pt x="84392" y="58007"/>
                        <a:pt x="68580" y="88582"/>
                        <a:pt x="48673" y="103537"/>
                      </a:cubicBezTo>
                      <a:lnTo>
                        <a:pt x="0" y="75438"/>
                      </a:lnTo>
                      <a:cubicBezTo>
                        <a:pt x="0" y="75152"/>
                        <a:pt x="0" y="74866"/>
                        <a:pt x="0" y="74486"/>
                      </a:cubicBezTo>
                      <a:cubicBezTo>
                        <a:pt x="0" y="69818"/>
                        <a:pt x="476" y="65151"/>
                        <a:pt x="1238" y="60389"/>
                      </a:cubicBezTo>
                      <a:lnTo>
                        <a:pt x="40481" y="83058"/>
                      </a:lnTo>
                      <a:lnTo>
                        <a:pt x="45434" y="80105"/>
                      </a:lnTo>
                      <a:close/>
                    </a:path>
                  </a:pathLst>
                </a:custGeom>
                <a:solidFill>
                  <a:srgbClr val="E3960E"/>
                </a:solidFill>
                <a:ln w="9525" cap="flat">
                  <a:noFill/>
                  <a:prstDash val="solid"/>
                  <a:miter/>
                </a:ln>
              </p:spPr>
              <p:txBody>
                <a:bodyPr rtlCol="0" anchor="ctr"/>
                <a:lstStyle/>
                <a:p>
                  <a:endParaRPr lang="en-IN"/>
                </a:p>
              </p:txBody>
            </p:sp>
            <p:sp>
              <p:nvSpPr>
                <p:cNvPr id="177" name="Freeform: Shape 176">
                  <a:extLst>
                    <a:ext uri="{FF2B5EF4-FFF2-40B4-BE49-F238E27FC236}">
                      <a16:creationId xmlns:a16="http://schemas.microsoft.com/office/drawing/2014/main" id="{37695BA6-8BDB-4FFE-8CA3-3DB85C9CFB93}"/>
                    </a:ext>
                  </a:extLst>
                </p:cNvPr>
                <p:cNvSpPr/>
                <p:nvPr/>
              </p:nvSpPr>
              <p:spPr>
                <a:xfrm>
                  <a:off x="6255748" y="3392811"/>
                  <a:ext cx="7429" cy="5905"/>
                </a:xfrm>
                <a:custGeom>
                  <a:avLst/>
                  <a:gdLst>
                    <a:gd name="connsiteX0" fmla="*/ 7429 w 7429"/>
                    <a:gd name="connsiteY0" fmla="*/ 2953 h 5905"/>
                    <a:gd name="connsiteX1" fmla="*/ 2191 w 7429"/>
                    <a:gd name="connsiteY1" fmla="*/ 5905 h 5905"/>
                    <a:gd name="connsiteX2" fmla="*/ 0 w 7429"/>
                    <a:gd name="connsiteY2" fmla="*/ 4667 h 5905"/>
                    <a:gd name="connsiteX3" fmla="*/ 2286 w 7429"/>
                    <a:gd name="connsiteY3" fmla="*/ 0 h 5905"/>
                  </a:gdLst>
                  <a:ahLst/>
                  <a:cxnLst>
                    <a:cxn ang="0">
                      <a:pos x="connsiteX0" y="connsiteY0"/>
                    </a:cxn>
                    <a:cxn ang="0">
                      <a:pos x="connsiteX1" y="connsiteY1"/>
                    </a:cxn>
                    <a:cxn ang="0">
                      <a:pos x="connsiteX2" y="connsiteY2"/>
                    </a:cxn>
                    <a:cxn ang="0">
                      <a:pos x="connsiteX3" y="connsiteY3"/>
                    </a:cxn>
                  </a:cxnLst>
                  <a:rect l="l" t="t" r="r" b="b"/>
                  <a:pathLst>
                    <a:path w="7429" h="5905">
                      <a:moveTo>
                        <a:pt x="7429" y="2953"/>
                      </a:moveTo>
                      <a:lnTo>
                        <a:pt x="2191" y="5905"/>
                      </a:lnTo>
                      <a:lnTo>
                        <a:pt x="0" y="4667"/>
                      </a:lnTo>
                      <a:lnTo>
                        <a:pt x="2286" y="0"/>
                      </a:lnTo>
                      <a:close/>
                    </a:path>
                  </a:pathLst>
                </a:custGeom>
                <a:solidFill>
                  <a:srgbClr val="C6680D"/>
                </a:solidFill>
                <a:ln w="9525" cap="flat">
                  <a:noFill/>
                  <a:prstDash val="solid"/>
                  <a:miter/>
                </a:ln>
              </p:spPr>
              <p:txBody>
                <a:bodyPr rtlCol="0" anchor="ctr"/>
                <a:lstStyle/>
                <a:p>
                  <a:endParaRPr lang="en-IN"/>
                </a:p>
              </p:txBody>
            </p:sp>
            <p:sp>
              <p:nvSpPr>
                <p:cNvPr id="178" name="Freeform: Shape 177">
                  <a:extLst>
                    <a:ext uri="{FF2B5EF4-FFF2-40B4-BE49-F238E27FC236}">
                      <a16:creationId xmlns:a16="http://schemas.microsoft.com/office/drawing/2014/main" id="{3785ED98-BB74-4FA9-B81A-04EB4AD51DD2}"/>
                    </a:ext>
                  </a:extLst>
                </p:cNvPr>
                <p:cNvSpPr/>
                <p:nvPr/>
              </p:nvSpPr>
              <p:spPr>
                <a:xfrm>
                  <a:off x="6214885" y="3371665"/>
                  <a:ext cx="43243" cy="25812"/>
                </a:xfrm>
                <a:custGeom>
                  <a:avLst/>
                  <a:gdLst>
                    <a:gd name="connsiteX0" fmla="*/ 6572 w 43243"/>
                    <a:gd name="connsiteY0" fmla="*/ 0 h 25812"/>
                    <a:gd name="connsiteX1" fmla="*/ 43244 w 43243"/>
                    <a:gd name="connsiteY1" fmla="*/ 21146 h 25812"/>
                    <a:gd name="connsiteX2" fmla="*/ 40957 w 43243"/>
                    <a:gd name="connsiteY2" fmla="*/ 25813 h 25812"/>
                    <a:gd name="connsiteX3" fmla="*/ 0 w 43243"/>
                    <a:gd name="connsiteY3" fmla="*/ 2191 h 25812"/>
                    <a:gd name="connsiteX4" fmla="*/ 6572 w 43243"/>
                    <a:gd name="connsiteY4" fmla="*/ 0 h 25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43" h="25812">
                      <a:moveTo>
                        <a:pt x="6572" y="0"/>
                      </a:moveTo>
                      <a:lnTo>
                        <a:pt x="43244" y="21146"/>
                      </a:lnTo>
                      <a:lnTo>
                        <a:pt x="40957" y="25813"/>
                      </a:lnTo>
                      <a:lnTo>
                        <a:pt x="0" y="2191"/>
                      </a:lnTo>
                      <a:cubicBezTo>
                        <a:pt x="2191" y="1143"/>
                        <a:pt x="4381" y="476"/>
                        <a:pt x="6572" y="0"/>
                      </a:cubicBezTo>
                      <a:close/>
                    </a:path>
                  </a:pathLst>
                </a:custGeom>
                <a:solidFill>
                  <a:srgbClr val="C6680D"/>
                </a:solidFill>
                <a:ln w="9525" cap="flat">
                  <a:noFill/>
                  <a:prstDash val="solid"/>
                  <a:miter/>
                </a:ln>
              </p:spPr>
              <p:txBody>
                <a:bodyPr rtlCol="0" anchor="ctr"/>
                <a:lstStyle/>
                <a:p>
                  <a:endParaRPr lang="en-IN"/>
                </a:p>
              </p:txBody>
            </p:sp>
            <p:sp>
              <p:nvSpPr>
                <p:cNvPr id="179" name="Freeform: Shape 178">
                  <a:extLst>
                    <a:ext uri="{FF2B5EF4-FFF2-40B4-BE49-F238E27FC236}">
                      <a16:creationId xmlns:a16="http://schemas.microsoft.com/office/drawing/2014/main" id="{EE5B75FD-A93D-4B4D-90C0-005A659430BB}"/>
                    </a:ext>
                  </a:extLst>
                </p:cNvPr>
                <p:cNvSpPr/>
                <p:nvPr/>
              </p:nvSpPr>
              <p:spPr>
                <a:xfrm>
                  <a:off x="6253461" y="3409385"/>
                  <a:ext cx="4286" cy="4857"/>
                </a:xfrm>
                <a:custGeom>
                  <a:avLst/>
                  <a:gdLst>
                    <a:gd name="connsiteX0" fmla="*/ 4286 w 4286"/>
                    <a:gd name="connsiteY0" fmla="*/ 2381 h 4857"/>
                    <a:gd name="connsiteX1" fmla="*/ 0 w 4286"/>
                    <a:gd name="connsiteY1" fmla="*/ 4858 h 4857"/>
                    <a:gd name="connsiteX2" fmla="*/ 191 w 4286"/>
                    <a:gd name="connsiteY2" fmla="*/ 0 h 4857"/>
                    <a:gd name="connsiteX3" fmla="*/ 4286 w 4286"/>
                    <a:gd name="connsiteY3" fmla="*/ 2381 h 4857"/>
                  </a:gdLst>
                  <a:ahLst/>
                  <a:cxnLst>
                    <a:cxn ang="0">
                      <a:pos x="connsiteX0" y="connsiteY0"/>
                    </a:cxn>
                    <a:cxn ang="0">
                      <a:pos x="connsiteX1" y="connsiteY1"/>
                    </a:cxn>
                    <a:cxn ang="0">
                      <a:pos x="connsiteX2" y="connsiteY2"/>
                    </a:cxn>
                    <a:cxn ang="0">
                      <a:pos x="connsiteX3" y="connsiteY3"/>
                    </a:cxn>
                  </a:cxnLst>
                  <a:rect l="l" t="t" r="r" b="b"/>
                  <a:pathLst>
                    <a:path w="4286" h="4857">
                      <a:moveTo>
                        <a:pt x="4286" y="2381"/>
                      </a:moveTo>
                      <a:lnTo>
                        <a:pt x="0" y="4858"/>
                      </a:lnTo>
                      <a:cubicBezTo>
                        <a:pt x="95" y="3239"/>
                        <a:pt x="191" y="1619"/>
                        <a:pt x="191" y="0"/>
                      </a:cubicBezTo>
                      <a:lnTo>
                        <a:pt x="4286" y="2381"/>
                      </a:lnTo>
                      <a:close/>
                    </a:path>
                  </a:pathLst>
                </a:custGeom>
                <a:solidFill>
                  <a:srgbClr val="C6680D"/>
                </a:solidFill>
                <a:ln w="9525" cap="flat">
                  <a:noFill/>
                  <a:prstDash val="solid"/>
                  <a:miter/>
                </a:ln>
              </p:spPr>
              <p:txBody>
                <a:bodyPr rtlCol="0" anchor="ctr"/>
                <a:lstStyle/>
                <a:p>
                  <a:endParaRPr lang="en-IN"/>
                </a:p>
              </p:txBody>
            </p:sp>
            <p:sp>
              <p:nvSpPr>
                <p:cNvPr id="180" name="Freeform: Shape 179">
                  <a:extLst>
                    <a:ext uri="{FF2B5EF4-FFF2-40B4-BE49-F238E27FC236}">
                      <a16:creationId xmlns:a16="http://schemas.microsoft.com/office/drawing/2014/main" id="{C2FC0C2E-AC0D-4F2F-A518-095C2443F863}"/>
                    </a:ext>
                  </a:extLst>
                </p:cNvPr>
                <p:cNvSpPr/>
                <p:nvPr/>
              </p:nvSpPr>
              <p:spPr>
                <a:xfrm>
                  <a:off x="6199550" y="3380619"/>
                  <a:ext cx="54006" cy="34194"/>
                </a:xfrm>
                <a:custGeom>
                  <a:avLst/>
                  <a:gdLst>
                    <a:gd name="connsiteX0" fmla="*/ 0 w 54006"/>
                    <a:gd name="connsiteY0" fmla="*/ 3620 h 34194"/>
                    <a:gd name="connsiteX1" fmla="*/ 4191 w 54006"/>
                    <a:gd name="connsiteY1" fmla="*/ 0 h 34194"/>
                    <a:gd name="connsiteX2" fmla="*/ 54007 w 54006"/>
                    <a:gd name="connsiteY2" fmla="*/ 28766 h 34194"/>
                    <a:gd name="connsiteX3" fmla="*/ 53816 w 54006"/>
                    <a:gd name="connsiteY3" fmla="*/ 33623 h 34194"/>
                    <a:gd name="connsiteX4" fmla="*/ 52864 w 54006"/>
                    <a:gd name="connsiteY4" fmla="*/ 34195 h 34194"/>
                    <a:gd name="connsiteX5" fmla="*/ 0 w 54006"/>
                    <a:gd name="connsiteY5" fmla="*/ 3620 h 34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6" h="34194">
                      <a:moveTo>
                        <a:pt x="0" y="3620"/>
                      </a:moveTo>
                      <a:cubicBezTo>
                        <a:pt x="1429" y="2381"/>
                        <a:pt x="2762" y="1143"/>
                        <a:pt x="4191" y="0"/>
                      </a:cubicBezTo>
                      <a:lnTo>
                        <a:pt x="54007" y="28766"/>
                      </a:lnTo>
                      <a:cubicBezTo>
                        <a:pt x="54007" y="30385"/>
                        <a:pt x="53912" y="32004"/>
                        <a:pt x="53816" y="33623"/>
                      </a:cubicBezTo>
                      <a:lnTo>
                        <a:pt x="52864" y="34195"/>
                      </a:lnTo>
                      <a:lnTo>
                        <a:pt x="0" y="3620"/>
                      </a:lnTo>
                      <a:close/>
                    </a:path>
                  </a:pathLst>
                </a:custGeom>
                <a:solidFill>
                  <a:srgbClr val="C6680D"/>
                </a:solidFill>
                <a:ln w="9525" cap="flat">
                  <a:noFill/>
                  <a:prstDash val="solid"/>
                  <a:miter/>
                </a:ln>
              </p:spPr>
              <p:txBody>
                <a:bodyPr rtlCol="0" anchor="ctr"/>
                <a:lstStyle/>
                <a:p>
                  <a:endParaRPr lang="en-IN"/>
                </a:p>
              </p:txBody>
            </p:sp>
            <p:sp>
              <p:nvSpPr>
                <p:cNvPr id="181" name="Freeform: Shape 180">
                  <a:extLst>
                    <a:ext uri="{FF2B5EF4-FFF2-40B4-BE49-F238E27FC236}">
                      <a16:creationId xmlns:a16="http://schemas.microsoft.com/office/drawing/2014/main" id="{28D2DA7E-3F4D-48F4-95D4-1C41C164D88E}"/>
                    </a:ext>
                  </a:extLst>
                </p:cNvPr>
                <p:cNvSpPr/>
                <p:nvPr/>
              </p:nvSpPr>
              <p:spPr>
                <a:xfrm>
                  <a:off x="6188120" y="3392906"/>
                  <a:ext cx="53911" cy="32289"/>
                </a:xfrm>
                <a:custGeom>
                  <a:avLst/>
                  <a:gdLst>
                    <a:gd name="connsiteX0" fmla="*/ 48673 w 53911"/>
                    <a:gd name="connsiteY0" fmla="*/ 32290 h 32289"/>
                    <a:gd name="connsiteX1" fmla="*/ 0 w 53911"/>
                    <a:gd name="connsiteY1" fmla="*/ 4191 h 32289"/>
                    <a:gd name="connsiteX2" fmla="*/ 3239 w 53911"/>
                    <a:gd name="connsiteY2" fmla="*/ 0 h 32289"/>
                    <a:gd name="connsiteX3" fmla="*/ 53912 w 53911"/>
                    <a:gd name="connsiteY3" fmla="*/ 29242 h 32289"/>
                    <a:gd name="connsiteX4" fmla="*/ 48673 w 53911"/>
                    <a:gd name="connsiteY4" fmla="*/ 32290 h 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11" h="32289">
                      <a:moveTo>
                        <a:pt x="48673" y="32290"/>
                      </a:moveTo>
                      <a:lnTo>
                        <a:pt x="0" y="4191"/>
                      </a:lnTo>
                      <a:cubicBezTo>
                        <a:pt x="1048" y="2762"/>
                        <a:pt x="2096" y="1333"/>
                        <a:pt x="3239" y="0"/>
                      </a:cubicBezTo>
                      <a:lnTo>
                        <a:pt x="53912" y="29242"/>
                      </a:lnTo>
                      <a:lnTo>
                        <a:pt x="48673" y="32290"/>
                      </a:lnTo>
                      <a:close/>
                    </a:path>
                  </a:pathLst>
                </a:custGeom>
                <a:solidFill>
                  <a:srgbClr val="C6680D"/>
                </a:solidFill>
                <a:ln w="9525" cap="flat">
                  <a:noFill/>
                  <a:prstDash val="solid"/>
                  <a:miter/>
                </a:ln>
              </p:spPr>
              <p:txBody>
                <a:bodyPr rtlCol="0" anchor="ctr"/>
                <a:lstStyle/>
                <a:p>
                  <a:endParaRPr lang="en-IN"/>
                </a:p>
              </p:txBody>
            </p:sp>
            <p:sp>
              <p:nvSpPr>
                <p:cNvPr id="182" name="Freeform: Shape 181">
                  <a:extLst>
                    <a:ext uri="{FF2B5EF4-FFF2-40B4-BE49-F238E27FC236}">
                      <a16:creationId xmlns:a16="http://schemas.microsoft.com/office/drawing/2014/main" id="{BC4E0885-B5AE-43B7-8A7C-0D00F206EDF7}"/>
                    </a:ext>
                  </a:extLst>
                </p:cNvPr>
                <p:cNvSpPr/>
                <p:nvPr/>
              </p:nvSpPr>
              <p:spPr>
                <a:xfrm>
                  <a:off x="6179357" y="3407003"/>
                  <a:ext cx="46958" cy="28670"/>
                </a:xfrm>
                <a:custGeom>
                  <a:avLst/>
                  <a:gdLst>
                    <a:gd name="connsiteX0" fmla="*/ 41815 w 46958"/>
                    <a:gd name="connsiteY0" fmla="*/ 28670 h 28670"/>
                    <a:gd name="connsiteX1" fmla="*/ 0 w 46958"/>
                    <a:gd name="connsiteY1" fmla="*/ 4572 h 28670"/>
                    <a:gd name="connsiteX2" fmla="*/ 2476 w 46958"/>
                    <a:gd name="connsiteY2" fmla="*/ 0 h 28670"/>
                    <a:gd name="connsiteX3" fmla="*/ 46958 w 46958"/>
                    <a:gd name="connsiteY3" fmla="*/ 25718 h 28670"/>
                    <a:gd name="connsiteX4" fmla="*/ 41815 w 46958"/>
                    <a:gd name="connsiteY4" fmla="*/ 28670 h 28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58" h="28670">
                      <a:moveTo>
                        <a:pt x="41815" y="28670"/>
                      </a:moveTo>
                      <a:lnTo>
                        <a:pt x="0" y="4572"/>
                      </a:lnTo>
                      <a:cubicBezTo>
                        <a:pt x="762" y="3048"/>
                        <a:pt x="1619" y="1524"/>
                        <a:pt x="2476" y="0"/>
                      </a:cubicBezTo>
                      <a:lnTo>
                        <a:pt x="46958" y="25718"/>
                      </a:lnTo>
                      <a:lnTo>
                        <a:pt x="41815" y="28670"/>
                      </a:lnTo>
                      <a:close/>
                    </a:path>
                  </a:pathLst>
                </a:custGeom>
                <a:solidFill>
                  <a:srgbClr val="C6680D"/>
                </a:solidFill>
                <a:ln w="9525" cap="flat">
                  <a:noFill/>
                  <a:prstDash val="solid"/>
                  <a:miter/>
                </a:ln>
              </p:spPr>
              <p:txBody>
                <a:bodyPr rtlCol="0" anchor="ctr"/>
                <a:lstStyle/>
                <a:p>
                  <a:endParaRPr lang="en-IN"/>
                </a:p>
              </p:txBody>
            </p:sp>
            <p:sp>
              <p:nvSpPr>
                <p:cNvPr id="183" name="Freeform: Shape 182">
                  <a:extLst>
                    <a:ext uri="{FF2B5EF4-FFF2-40B4-BE49-F238E27FC236}">
                      <a16:creationId xmlns:a16="http://schemas.microsoft.com/office/drawing/2014/main" id="{C25135B1-3FE1-47F5-8374-3863B5CB2311}"/>
                    </a:ext>
                  </a:extLst>
                </p:cNvPr>
                <p:cNvSpPr/>
                <p:nvPr/>
              </p:nvSpPr>
              <p:spPr>
                <a:xfrm>
                  <a:off x="6172690" y="3422148"/>
                  <a:ext cx="38004" cy="23907"/>
                </a:xfrm>
                <a:custGeom>
                  <a:avLst/>
                  <a:gdLst>
                    <a:gd name="connsiteX0" fmla="*/ 32766 w 38004"/>
                    <a:gd name="connsiteY0" fmla="*/ 23908 h 23907"/>
                    <a:gd name="connsiteX1" fmla="*/ 0 w 38004"/>
                    <a:gd name="connsiteY1" fmla="*/ 4953 h 23907"/>
                    <a:gd name="connsiteX2" fmla="*/ 1810 w 38004"/>
                    <a:gd name="connsiteY2" fmla="*/ 0 h 23907"/>
                    <a:gd name="connsiteX3" fmla="*/ 38005 w 38004"/>
                    <a:gd name="connsiteY3" fmla="*/ 20860 h 23907"/>
                    <a:gd name="connsiteX4" fmla="*/ 32766 w 38004"/>
                    <a:gd name="connsiteY4" fmla="*/ 23908 h 23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04" h="23907">
                      <a:moveTo>
                        <a:pt x="32766" y="23908"/>
                      </a:moveTo>
                      <a:lnTo>
                        <a:pt x="0" y="4953"/>
                      </a:lnTo>
                      <a:cubicBezTo>
                        <a:pt x="572" y="3239"/>
                        <a:pt x="1143" y="1619"/>
                        <a:pt x="1810" y="0"/>
                      </a:cubicBezTo>
                      <a:lnTo>
                        <a:pt x="38005" y="20860"/>
                      </a:lnTo>
                      <a:lnTo>
                        <a:pt x="32766" y="23908"/>
                      </a:lnTo>
                      <a:close/>
                    </a:path>
                  </a:pathLst>
                </a:custGeom>
                <a:solidFill>
                  <a:srgbClr val="C6680D"/>
                </a:solidFill>
                <a:ln w="9525" cap="flat">
                  <a:noFill/>
                  <a:prstDash val="solid"/>
                  <a:miter/>
                </a:ln>
              </p:spPr>
              <p:txBody>
                <a:bodyPr rtlCol="0" anchor="ctr"/>
                <a:lstStyle/>
                <a:p>
                  <a:endParaRPr lang="en-IN"/>
                </a:p>
              </p:txBody>
            </p:sp>
            <p:sp>
              <p:nvSpPr>
                <p:cNvPr id="184" name="Freeform: Shape 183">
                  <a:extLst>
                    <a:ext uri="{FF2B5EF4-FFF2-40B4-BE49-F238E27FC236}">
                      <a16:creationId xmlns:a16="http://schemas.microsoft.com/office/drawing/2014/main" id="{0949BECE-BFF6-4897-8313-EB4F46D02CA7}"/>
                    </a:ext>
                  </a:extLst>
                </p:cNvPr>
                <p:cNvSpPr/>
                <p:nvPr/>
              </p:nvSpPr>
              <p:spPr>
                <a:xfrm>
                  <a:off x="6168403" y="3439198"/>
                  <a:ext cx="44481" cy="28098"/>
                </a:xfrm>
                <a:custGeom>
                  <a:avLst/>
                  <a:gdLst>
                    <a:gd name="connsiteX0" fmla="*/ 44482 w 44481"/>
                    <a:gd name="connsiteY0" fmla="*/ 25051 h 28098"/>
                    <a:gd name="connsiteX1" fmla="*/ 39243 w 44481"/>
                    <a:gd name="connsiteY1" fmla="*/ 28099 h 28098"/>
                    <a:gd name="connsiteX2" fmla="*/ 0 w 44481"/>
                    <a:gd name="connsiteY2" fmla="*/ 5429 h 28098"/>
                    <a:gd name="connsiteX3" fmla="*/ 1048 w 44481"/>
                    <a:gd name="connsiteY3" fmla="*/ 0 h 28098"/>
                    <a:gd name="connsiteX4" fmla="*/ 44482 w 44481"/>
                    <a:gd name="connsiteY4" fmla="*/ 25051 h 28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81" h="28098">
                      <a:moveTo>
                        <a:pt x="44482" y="25051"/>
                      </a:moveTo>
                      <a:lnTo>
                        <a:pt x="39243" y="28099"/>
                      </a:lnTo>
                      <a:lnTo>
                        <a:pt x="0" y="5429"/>
                      </a:lnTo>
                      <a:cubicBezTo>
                        <a:pt x="286" y="3620"/>
                        <a:pt x="667" y="1810"/>
                        <a:pt x="1048" y="0"/>
                      </a:cubicBezTo>
                      <a:lnTo>
                        <a:pt x="44482" y="25051"/>
                      </a:lnTo>
                      <a:close/>
                    </a:path>
                  </a:pathLst>
                </a:custGeom>
                <a:solidFill>
                  <a:srgbClr val="C6680D"/>
                </a:solidFill>
                <a:ln w="9525" cap="flat">
                  <a:noFill/>
                  <a:prstDash val="solid"/>
                  <a:miter/>
                </a:ln>
              </p:spPr>
              <p:txBody>
                <a:bodyPr rtlCol="0" anchor="ctr"/>
                <a:lstStyle/>
                <a:p>
                  <a:endParaRPr lang="en-IN"/>
                </a:p>
              </p:txBody>
            </p:sp>
            <p:sp>
              <p:nvSpPr>
                <p:cNvPr id="185" name="Freeform: Shape 184">
                  <a:extLst>
                    <a:ext uri="{FF2B5EF4-FFF2-40B4-BE49-F238E27FC236}">
                      <a16:creationId xmlns:a16="http://schemas.microsoft.com/office/drawing/2014/main" id="{3F7BF574-D2A5-43A3-B4E3-CC06FAC10BFE}"/>
                    </a:ext>
                  </a:extLst>
                </p:cNvPr>
                <p:cNvSpPr/>
                <p:nvPr/>
              </p:nvSpPr>
              <p:spPr>
                <a:xfrm>
                  <a:off x="6211075" y="3487775"/>
                  <a:ext cx="21717" cy="12763"/>
                </a:xfrm>
                <a:custGeom>
                  <a:avLst/>
                  <a:gdLst>
                    <a:gd name="connsiteX0" fmla="*/ 21717 w 21717"/>
                    <a:gd name="connsiteY0" fmla="*/ 9715 h 12763"/>
                    <a:gd name="connsiteX1" fmla="*/ 16478 w 21717"/>
                    <a:gd name="connsiteY1" fmla="*/ 12764 h 12763"/>
                    <a:gd name="connsiteX2" fmla="*/ 0 w 21717"/>
                    <a:gd name="connsiteY2" fmla="*/ 3239 h 12763"/>
                    <a:gd name="connsiteX3" fmla="*/ 4858 w 21717"/>
                    <a:gd name="connsiteY3" fmla="*/ 0 h 12763"/>
                    <a:gd name="connsiteX4" fmla="*/ 21717 w 21717"/>
                    <a:gd name="connsiteY4" fmla="*/ 9715 h 1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17" h="12763">
                      <a:moveTo>
                        <a:pt x="21717" y="9715"/>
                      </a:moveTo>
                      <a:lnTo>
                        <a:pt x="16478" y="12764"/>
                      </a:lnTo>
                      <a:lnTo>
                        <a:pt x="0" y="3239"/>
                      </a:lnTo>
                      <a:cubicBezTo>
                        <a:pt x="1619" y="2286"/>
                        <a:pt x="3239" y="1143"/>
                        <a:pt x="4858" y="0"/>
                      </a:cubicBezTo>
                      <a:lnTo>
                        <a:pt x="21717" y="9715"/>
                      </a:lnTo>
                      <a:close/>
                    </a:path>
                  </a:pathLst>
                </a:custGeom>
                <a:solidFill>
                  <a:srgbClr val="C6680D"/>
                </a:solidFill>
                <a:ln w="9525" cap="flat">
                  <a:noFill/>
                  <a:prstDash val="solid"/>
                  <a:miter/>
                </a:ln>
              </p:spPr>
              <p:txBody>
                <a:bodyPr rtlCol="0" anchor="ctr"/>
                <a:lstStyle/>
                <a:p>
                  <a:endParaRPr lang="en-IN"/>
                </a:p>
              </p:txBody>
            </p:sp>
            <p:sp>
              <p:nvSpPr>
                <p:cNvPr id="186" name="Freeform: Shape 185">
                  <a:extLst>
                    <a:ext uri="{FF2B5EF4-FFF2-40B4-BE49-F238E27FC236}">
                      <a16:creationId xmlns:a16="http://schemas.microsoft.com/office/drawing/2014/main" id="{CEA62A04-D59A-4053-BA92-2E2377B3292E}"/>
                    </a:ext>
                  </a:extLst>
                </p:cNvPr>
                <p:cNvSpPr/>
                <p:nvPr/>
              </p:nvSpPr>
              <p:spPr>
                <a:xfrm>
                  <a:off x="6167260" y="3459581"/>
                  <a:ext cx="48672" cy="31337"/>
                </a:xfrm>
                <a:custGeom>
                  <a:avLst/>
                  <a:gdLst>
                    <a:gd name="connsiteX0" fmla="*/ 43815 w 48672"/>
                    <a:gd name="connsiteY0" fmla="*/ 31337 h 31337"/>
                    <a:gd name="connsiteX1" fmla="*/ 286 w 48672"/>
                    <a:gd name="connsiteY1" fmla="*/ 6191 h 31337"/>
                    <a:gd name="connsiteX2" fmla="*/ 0 w 48672"/>
                    <a:gd name="connsiteY2" fmla="*/ 0 h 31337"/>
                    <a:gd name="connsiteX3" fmla="*/ 48673 w 48672"/>
                    <a:gd name="connsiteY3" fmla="*/ 28099 h 31337"/>
                    <a:gd name="connsiteX4" fmla="*/ 43815 w 48672"/>
                    <a:gd name="connsiteY4" fmla="*/ 31337 h 31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72" h="31337">
                      <a:moveTo>
                        <a:pt x="43815" y="31337"/>
                      </a:moveTo>
                      <a:lnTo>
                        <a:pt x="286" y="6191"/>
                      </a:lnTo>
                      <a:cubicBezTo>
                        <a:pt x="95" y="4191"/>
                        <a:pt x="0" y="2095"/>
                        <a:pt x="0" y="0"/>
                      </a:cubicBezTo>
                      <a:lnTo>
                        <a:pt x="48673" y="28099"/>
                      </a:lnTo>
                      <a:cubicBezTo>
                        <a:pt x="47053" y="29337"/>
                        <a:pt x="45434" y="30385"/>
                        <a:pt x="43815" y="31337"/>
                      </a:cubicBezTo>
                      <a:close/>
                    </a:path>
                  </a:pathLst>
                </a:custGeom>
                <a:solidFill>
                  <a:srgbClr val="C6680D"/>
                </a:solidFill>
                <a:ln w="9525" cap="flat">
                  <a:noFill/>
                  <a:prstDash val="solid"/>
                  <a:miter/>
                </a:ln>
              </p:spPr>
              <p:txBody>
                <a:bodyPr rtlCol="0" anchor="ctr"/>
                <a:lstStyle/>
                <a:p>
                  <a:endParaRPr lang="en-IN"/>
                </a:p>
              </p:txBody>
            </p:sp>
            <p:sp>
              <p:nvSpPr>
                <p:cNvPr id="187" name="Freeform: Shape 186">
                  <a:extLst>
                    <a:ext uri="{FF2B5EF4-FFF2-40B4-BE49-F238E27FC236}">
                      <a16:creationId xmlns:a16="http://schemas.microsoft.com/office/drawing/2014/main" id="{5923A833-167D-4DD7-9F93-97CD7481BA65}"/>
                    </a:ext>
                  </a:extLst>
                </p:cNvPr>
                <p:cNvSpPr/>
                <p:nvPr/>
              </p:nvSpPr>
              <p:spPr>
                <a:xfrm>
                  <a:off x="6171642" y="3481775"/>
                  <a:ext cx="32861" cy="23431"/>
                </a:xfrm>
                <a:custGeom>
                  <a:avLst/>
                  <a:gdLst>
                    <a:gd name="connsiteX0" fmla="*/ 30671 w 32861"/>
                    <a:gd name="connsiteY0" fmla="*/ 23431 h 23431"/>
                    <a:gd name="connsiteX1" fmla="*/ 12382 w 32861"/>
                    <a:gd name="connsiteY1" fmla="*/ 12859 h 23431"/>
                    <a:gd name="connsiteX2" fmla="*/ 0 w 32861"/>
                    <a:gd name="connsiteY2" fmla="*/ 0 h 23431"/>
                    <a:gd name="connsiteX3" fmla="*/ 32861 w 32861"/>
                    <a:gd name="connsiteY3" fmla="*/ 18955 h 23431"/>
                    <a:gd name="connsiteX4" fmla="*/ 30671 w 32861"/>
                    <a:gd name="connsiteY4" fmla="*/ 23431 h 23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61" h="23431">
                      <a:moveTo>
                        <a:pt x="30671" y="23431"/>
                      </a:moveTo>
                      <a:lnTo>
                        <a:pt x="12382" y="12859"/>
                      </a:lnTo>
                      <a:cubicBezTo>
                        <a:pt x="7239" y="10478"/>
                        <a:pt x="2953" y="6096"/>
                        <a:pt x="0" y="0"/>
                      </a:cubicBezTo>
                      <a:lnTo>
                        <a:pt x="32861" y="18955"/>
                      </a:lnTo>
                      <a:lnTo>
                        <a:pt x="30671" y="23431"/>
                      </a:lnTo>
                      <a:close/>
                    </a:path>
                  </a:pathLst>
                </a:custGeom>
                <a:solidFill>
                  <a:srgbClr val="C6680D"/>
                </a:solidFill>
                <a:ln w="9525" cap="flat">
                  <a:noFill/>
                  <a:prstDash val="solid"/>
                  <a:miter/>
                </a:ln>
              </p:spPr>
              <p:txBody>
                <a:bodyPr rtlCol="0" anchor="ctr"/>
                <a:lstStyle/>
                <a:p>
                  <a:endParaRPr lang="en-IN"/>
                </a:p>
              </p:txBody>
            </p:sp>
          </p:grpSp>
          <p:grpSp>
            <p:nvGrpSpPr>
              <p:cNvPr id="188" name="Graphic 4095">
                <a:extLst>
                  <a:ext uri="{FF2B5EF4-FFF2-40B4-BE49-F238E27FC236}">
                    <a16:creationId xmlns:a16="http://schemas.microsoft.com/office/drawing/2014/main" id="{81321DA2-88AD-4102-A36E-0A06F1BE9958}"/>
                  </a:ext>
                </a:extLst>
              </p:cNvPr>
              <p:cNvGrpSpPr/>
              <p:nvPr/>
            </p:nvGrpSpPr>
            <p:grpSpPr>
              <a:xfrm>
                <a:off x="6188787" y="3383327"/>
                <a:ext cx="86487" cy="125743"/>
                <a:chOff x="6188787" y="3383327"/>
                <a:chExt cx="86487" cy="125743"/>
              </a:xfrm>
              <a:solidFill>
                <a:schemeClr val="accent1"/>
              </a:solidFill>
            </p:grpSpPr>
            <p:sp>
              <p:nvSpPr>
                <p:cNvPr id="189" name="Freeform: Shape 188">
                  <a:extLst>
                    <a:ext uri="{FF2B5EF4-FFF2-40B4-BE49-F238E27FC236}">
                      <a16:creationId xmlns:a16="http://schemas.microsoft.com/office/drawing/2014/main" id="{C10296F8-C531-4CA4-AD5A-EE36B988ADCA}"/>
                    </a:ext>
                  </a:extLst>
                </p:cNvPr>
                <p:cNvSpPr/>
                <p:nvPr/>
              </p:nvSpPr>
              <p:spPr>
                <a:xfrm>
                  <a:off x="6188787" y="3383327"/>
                  <a:ext cx="86487" cy="125743"/>
                </a:xfrm>
                <a:custGeom>
                  <a:avLst/>
                  <a:gdLst>
                    <a:gd name="connsiteX0" fmla="*/ 86487 w 86487"/>
                    <a:gd name="connsiteY0" fmla="*/ 37869 h 125743"/>
                    <a:gd name="connsiteX1" fmla="*/ 43244 w 86487"/>
                    <a:gd name="connsiteY1" fmla="*/ 120546 h 125743"/>
                    <a:gd name="connsiteX2" fmla="*/ 0 w 86487"/>
                    <a:gd name="connsiteY2" fmla="*/ 87875 h 125743"/>
                    <a:gd name="connsiteX3" fmla="*/ 43244 w 86487"/>
                    <a:gd name="connsiteY3" fmla="*/ 5198 h 125743"/>
                    <a:gd name="connsiteX4" fmla="*/ 86487 w 86487"/>
                    <a:gd name="connsiteY4" fmla="*/ 37869 h 125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87" h="125743">
                      <a:moveTo>
                        <a:pt x="86487" y="37869"/>
                      </a:moveTo>
                      <a:cubicBezTo>
                        <a:pt x="86487" y="69682"/>
                        <a:pt x="67151" y="106734"/>
                        <a:pt x="43244" y="120546"/>
                      </a:cubicBezTo>
                      <a:cubicBezTo>
                        <a:pt x="19336" y="134357"/>
                        <a:pt x="0" y="119688"/>
                        <a:pt x="0" y="87875"/>
                      </a:cubicBezTo>
                      <a:cubicBezTo>
                        <a:pt x="0" y="56061"/>
                        <a:pt x="19336" y="19009"/>
                        <a:pt x="43244" y="5198"/>
                      </a:cubicBezTo>
                      <a:cubicBezTo>
                        <a:pt x="67151" y="-8613"/>
                        <a:pt x="86487" y="6055"/>
                        <a:pt x="86487" y="37869"/>
                      </a:cubicBezTo>
                      <a:close/>
                    </a:path>
                  </a:pathLst>
                </a:custGeom>
                <a:solidFill>
                  <a:srgbClr val="FFB900"/>
                </a:solidFill>
                <a:ln w="9525" cap="flat">
                  <a:noFill/>
                  <a:prstDash val="solid"/>
                  <a:miter/>
                </a:ln>
              </p:spPr>
              <p:txBody>
                <a:bodyPr rtlCol="0" anchor="ctr"/>
                <a:lstStyle/>
                <a:p>
                  <a:endParaRPr lang="en-IN"/>
                </a:p>
              </p:txBody>
            </p:sp>
            <p:sp>
              <p:nvSpPr>
                <p:cNvPr id="190" name="Freeform: Shape 189">
                  <a:extLst>
                    <a:ext uri="{FF2B5EF4-FFF2-40B4-BE49-F238E27FC236}">
                      <a16:creationId xmlns:a16="http://schemas.microsoft.com/office/drawing/2014/main" id="{4F5B7AE2-6A64-43C7-8721-20550456B336}"/>
                    </a:ext>
                  </a:extLst>
                </p:cNvPr>
                <p:cNvSpPr/>
                <p:nvPr/>
              </p:nvSpPr>
              <p:spPr>
                <a:xfrm>
                  <a:off x="6195643" y="3392848"/>
                  <a:ext cx="74107" cy="107404"/>
                </a:xfrm>
                <a:custGeom>
                  <a:avLst/>
                  <a:gdLst>
                    <a:gd name="connsiteX0" fmla="*/ 12670 w 74107"/>
                    <a:gd name="connsiteY0" fmla="*/ 104833 h 107404"/>
                    <a:gd name="connsiteX1" fmla="*/ 1 w 74107"/>
                    <a:gd name="connsiteY1" fmla="*/ 74734 h 107404"/>
                    <a:gd name="connsiteX2" fmla="*/ 36863 w 74107"/>
                    <a:gd name="connsiteY2" fmla="*/ 4630 h 107404"/>
                    <a:gd name="connsiteX3" fmla="*/ 61438 w 74107"/>
                    <a:gd name="connsiteY3" fmla="*/ 2535 h 107404"/>
                    <a:gd name="connsiteX4" fmla="*/ 74106 w 74107"/>
                    <a:gd name="connsiteY4" fmla="*/ 32634 h 107404"/>
                    <a:gd name="connsiteX5" fmla="*/ 74106 w 74107"/>
                    <a:gd name="connsiteY5" fmla="*/ 32634 h 107404"/>
                    <a:gd name="connsiteX6" fmla="*/ 37244 w 74107"/>
                    <a:gd name="connsiteY6" fmla="*/ 102738 h 107404"/>
                    <a:gd name="connsiteX7" fmla="*/ 22195 w 74107"/>
                    <a:gd name="connsiteY7" fmla="*/ 107405 h 107404"/>
                    <a:gd name="connsiteX8" fmla="*/ 12670 w 74107"/>
                    <a:gd name="connsiteY8" fmla="*/ 104833 h 107404"/>
                    <a:gd name="connsiteX9" fmla="*/ 38101 w 74107"/>
                    <a:gd name="connsiteY9" fmla="*/ 6821 h 107404"/>
                    <a:gd name="connsiteX10" fmla="*/ 2478 w 74107"/>
                    <a:gd name="connsiteY10" fmla="*/ 74829 h 107404"/>
                    <a:gd name="connsiteX11" fmla="*/ 13813 w 74107"/>
                    <a:gd name="connsiteY11" fmla="*/ 102642 h 107404"/>
                    <a:gd name="connsiteX12" fmla="*/ 35815 w 74107"/>
                    <a:gd name="connsiteY12" fmla="*/ 100547 h 107404"/>
                    <a:gd name="connsiteX13" fmla="*/ 71439 w 74107"/>
                    <a:gd name="connsiteY13" fmla="*/ 32538 h 107404"/>
                    <a:gd name="connsiteX14" fmla="*/ 71439 w 74107"/>
                    <a:gd name="connsiteY14" fmla="*/ 32538 h 107404"/>
                    <a:gd name="connsiteX15" fmla="*/ 60104 w 74107"/>
                    <a:gd name="connsiteY15" fmla="*/ 4725 h 107404"/>
                    <a:gd name="connsiteX16" fmla="*/ 51817 w 74107"/>
                    <a:gd name="connsiteY16" fmla="*/ 2535 h 107404"/>
                    <a:gd name="connsiteX17" fmla="*/ 38101 w 74107"/>
                    <a:gd name="connsiteY17" fmla="*/ 6821 h 10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107" h="107404">
                      <a:moveTo>
                        <a:pt x="12670" y="104833"/>
                      </a:moveTo>
                      <a:cubicBezTo>
                        <a:pt x="4478" y="100071"/>
                        <a:pt x="-94" y="89117"/>
                        <a:pt x="1" y="74734"/>
                      </a:cubicBezTo>
                      <a:cubicBezTo>
                        <a:pt x="287" y="47874"/>
                        <a:pt x="16765" y="16441"/>
                        <a:pt x="36863" y="4630"/>
                      </a:cubicBezTo>
                      <a:cubicBezTo>
                        <a:pt x="45912" y="-704"/>
                        <a:pt x="54580" y="-1466"/>
                        <a:pt x="61438" y="2535"/>
                      </a:cubicBezTo>
                      <a:cubicBezTo>
                        <a:pt x="69629" y="7297"/>
                        <a:pt x="74201" y="18251"/>
                        <a:pt x="74106" y="32634"/>
                      </a:cubicBezTo>
                      <a:lnTo>
                        <a:pt x="74106" y="32634"/>
                      </a:lnTo>
                      <a:cubicBezTo>
                        <a:pt x="73820" y="59494"/>
                        <a:pt x="57342" y="90927"/>
                        <a:pt x="37244" y="102738"/>
                      </a:cubicBezTo>
                      <a:cubicBezTo>
                        <a:pt x="32005" y="105786"/>
                        <a:pt x="26957" y="107405"/>
                        <a:pt x="22195" y="107405"/>
                      </a:cubicBezTo>
                      <a:cubicBezTo>
                        <a:pt x="18766" y="107310"/>
                        <a:pt x="15527" y="106548"/>
                        <a:pt x="12670" y="104833"/>
                      </a:cubicBezTo>
                      <a:close/>
                      <a:moveTo>
                        <a:pt x="38101" y="6821"/>
                      </a:moveTo>
                      <a:cubicBezTo>
                        <a:pt x="18766" y="18251"/>
                        <a:pt x="2764" y="48731"/>
                        <a:pt x="2478" y="74829"/>
                      </a:cubicBezTo>
                      <a:cubicBezTo>
                        <a:pt x="2383" y="88260"/>
                        <a:pt x="6478" y="98451"/>
                        <a:pt x="13813" y="102642"/>
                      </a:cubicBezTo>
                      <a:cubicBezTo>
                        <a:pt x="19813" y="106071"/>
                        <a:pt x="27624" y="105309"/>
                        <a:pt x="35815" y="100547"/>
                      </a:cubicBezTo>
                      <a:cubicBezTo>
                        <a:pt x="55151" y="89117"/>
                        <a:pt x="71153" y="58637"/>
                        <a:pt x="71439" y="32538"/>
                      </a:cubicBezTo>
                      <a:lnTo>
                        <a:pt x="71439" y="32538"/>
                      </a:lnTo>
                      <a:cubicBezTo>
                        <a:pt x="71534" y="19108"/>
                        <a:pt x="67438" y="8916"/>
                        <a:pt x="60104" y="4725"/>
                      </a:cubicBezTo>
                      <a:cubicBezTo>
                        <a:pt x="57628" y="3297"/>
                        <a:pt x="54865" y="2535"/>
                        <a:pt x="51817" y="2535"/>
                      </a:cubicBezTo>
                      <a:cubicBezTo>
                        <a:pt x="47626" y="2535"/>
                        <a:pt x="42959" y="3963"/>
                        <a:pt x="38101" y="6821"/>
                      </a:cubicBezTo>
                      <a:close/>
                    </a:path>
                  </a:pathLst>
                </a:custGeom>
                <a:solidFill>
                  <a:srgbClr val="E3960E"/>
                </a:solidFill>
                <a:ln w="9525" cap="flat">
                  <a:noFill/>
                  <a:prstDash val="solid"/>
                  <a:miter/>
                </a:ln>
              </p:spPr>
              <p:txBody>
                <a:bodyPr rtlCol="0" anchor="ctr"/>
                <a:lstStyle/>
                <a:p>
                  <a:endParaRPr lang="en-IN"/>
                </a:p>
              </p:txBody>
            </p:sp>
          </p:grpSp>
          <p:sp>
            <p:nvSpPr>
              <p:cNvPr id="191" name="Freeform: Shape 190">
                <a:extLst>
                  <a:ext uri="{FF2B5EF4-FFF2-40B4-BE49-F238E27FC236}">
                    <a16:creationId xmlns:a16="http://schemas.microsoft.com/office/drawing/2014/main" id="{12E3C26C-052D-489E-B7D1-4686D487997E}"/>
                  </a:ext>
                </a:extLst>
              </p:cNvPr>
              <p:cNvSpPr/>
              <p:nvPr/>
            </p:nvSpPr>
            <p:spPr>
              <a:xfrm>
                <a:off x="6222029" y="3411809"/>
                <a:ext cx="26574" cy="65975"/>
              </a:xfrm>
              <a:custGeom>
                <a:avLst/>
                <a:gdLst>
                  <a:gd name="connsiteX0" fmla="*/ 16193 w 26574"/>
                  <a:gd name="connsiteY0" fmla="*/ 51297 h 65975"/>
                  <a:gd name="connsiteX1" fmla="*/ 16193 w 26574"/>
                  <a:gd name="connsiteY1" fmla="*/ 35104 h 65975"/>
                  <a:gd name="connsiteX2" fmla="*/ 21241 w 26574"/>
                  <a:gd name="connsiteY2" fmla="*/ 40343 h 65975"/>
                  <a:gd name="connsiteX3" fmla="*/ 16193 w 26574"/>
                  <a:gd name="connsiteY3" fmla="*/ 51297 h 65975"/>
                  <a:gd name="connsiteX4" fmla="*/ 10573 w 26574"/>
                  <a:gd name="connsiteY4" fmla="*/ 30913 h 65975"/>
                  <a:gd name="connsiteX5" fmla="*/ 5620 w 26574"/>
                  <a:gd name="connsiteY5" fmla="*/ 25674 h 65975"/>
                  <a:gd name="connsiteX6" fmla="*/ 10573 w 26574"/>
                  <a:gd name="connsiteY6" fmla="*/ 14721 h 65975"/>
                  <a:gd name="connsiteX7" fmla="*/ 10573 w 26574"/>
                  <a:gd name="connsiteY7" fmla="*/ 30913 h 65975"/>
                  <a:gd name="connsiteX8" fmla="*/ 13240 w 26574"/>
                  <a:gd name="connsiteY8" fmla="*/ 433 h 65975"/>
                  <a:gd name="connsiteX9" fmla="*/ 10477 w 26574"/>
                  <a:gd name="connsiteY9" fmla="*/ 5100 h 65975"/>
                  <a:gd name="connsiteX10" fmla="*/ 10477 w 26574"/>
                  <a:gd name="connsiteY10" fmla="*/ 8339 h 65975"/>
                  <a:gd name="connsiteX11" fmla="*/ 0 w 26574"/>
                  <a:gd name="connsiteY11" fmla="*/ 28913 h 65975"/>
                  <a:gd name="connsiteX12" fmla="*/ 10477 w 26574"/>
                  <a:gd name="connsiteY12" fmla="*/ 37390 h 65975"/>
                  <a:gd name="connsiteX13" fmla="*/ 10573 w 26574"/>
                  <a:gd name="connsiteY13" fmla="*/ 54440 h 65975"/>
                  <a:gd name="connsiteX14" fmla="*/ 5620 w 26574"/>
                  <a:gd name="connsiteY14" fmla="*/ 49201 h 65975"/>
                  <a:gd name="connsiteX15" fmla="*/ 2857 w 26574"/>
                  <a:gd name="connsiteY15" fmla="*/ 47677 h 65975"/>
                  <a:gd name="connsiteX16" fmla="*/ 95 w 26574"/>
                  <a:gd name="connsiteY16" fmla="*/ 52344 h 65975"/>
                  <a:gd name="connsiteX17" fmla="*/ 10573 w 26574"/>
                  <a:gd name="connsiteY17" fmla="*/ 60822 h 65975"/>
                  <a:gd name="connsiteX18" fmla="*/ 10573 w 26574"/>
                  <a:gd name="connsiteY18" fmla="*/ 64060 h 65975"/>
                  <a:gd name="connsiteX19" fmla="*/ 13335 w 26574"/>
                  <a:gd name="connsiteY19" fmla="*/ 65584 h 65975"/>
                  <a:gd name="connsiteX20" fmla="*/ 16097 w 26574"/>
                  <a:gd name="connsiteY20" fmla="*/ 60917 h 65975"/>
                  <a:gd name="connsiteX21" fmla="*/ 16097 w 26574"/>
                  <a:gd name="connsiteY21" fmla="*/ 57678 h 65975"/>
                  <a:gd name="connsiteX22" fmla="*/ 26575 w 26574"/>
                  <a:gd name="connsiteY22" fmla="*/ 37104 h 65975"/>
                  <a:gd name="connsiteX23" fmla="*/ 16097 w 26574"/>
                  <a:gd name="connsiteY23" fmla="*/ 28627 h 65975"/>
                  <a:gd name="connsiteX24" fmla="*/ 16002 w 26574"/>
                  <a:gd name="connsiteY24" fmla="*/ 11577 h 65975"/>
                  <a:gd name="connsiteX25" fmla="*/ 21050 w 26574"/>
                  <a:gd name="connsiteY25" fmla="*/ 16816 h 65975"/>
                  <a:gd name="connsiteX26" fmla="*/ 23813 w 26574"/>
                  <a:gd name="connsiteY26" fmla="*/ 18340 h 65975"/>
                  <a:gd name="connsiteX27" fmla="*/ 26575 w 26574"/>
                  <a:gd name="connsiteY27" fmla="*/ 13673 h 65975"/>
                  <a:gd name="connsiteX28" fmla="*/ 16097 w 26574"/>
                  <a:gd name="connsiteY28" fmla="*/ 5196 h 65975"/>
                  <a:gd name="connsiteX29" fmla="*/ 16097 w 26574"/>
                  <a:gd name="connsiteY29" fmla="*/ 1957 h 65975"/>
                  <a:gd name="connsiteX30" fmla="*/ 13240 w 26574"/>
                  <a:gd name="connsiteY30" fmla="*/ 433 h 6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6574" h="65975">
                    <a:moveTo>
                      <a:pt x="16193" y="51297"/>
                    </a:moveTo>
                    <a:lnTo>
                      <a:pt x="16193" y="35104"/>
                    </a:lnTo>
                    <a:cubicBezTo>
                      <a:pt x="19050" y="34628"/>
                      <a:pt x="21146" y="36628"/>
                      <a:pt x="21241" y="40343"/>
                    </a:cubicBezTo>
                    <a:cubicBezTo>
                      <a:pt x="21146" y="43962"/>
                      <a:pt x="19050" y="48344"/>
                      <a:pt x="16193" y="51297"/>
                    </a:cubicBezTo>
                    <a:moveTo>
                      <a:pt x="10573" y="30913"/>
                    </a:moveTo>
                    <a:cubicBezTo>
                      <a:pt x="7715" y="31389"/>
                      <a:pt x="5620" y="29389"/>
                      <a:pt x="5620" y="25674"/>
                    </a:cubicBezTo>
                    <a:cubicBezTo>
                      <a:pt x="5620" y="21960"/>
                      <a:pt x="7715" y="17578"/>
                      <a:pt x="10573" y="14721"/>
                    </a:cubicBezTo>
                    <a:lnTo>
                      <a:pt x="10573" y="30913"/>
                    </a:lnTo>
                    <a:moveTo>
                      <a:pt x="13240" y="433"/>
                    </a:moveTo>
                    <a:cubicBezTo>
                      <a:pt x="11716" y="1386"/>
                      <a:pt x="10477" y="3386"/>
                      <a:pt x="10477" y="5100"/>
                    </a:cubicBezTo>
                    <a:lnTo>
                      <a:pt x="10477" y="8339"/>
                    </a:lnTo>
                    <a:cubicBezTo>
                      <a:pt x="4477" y="13292"/>
                      <a:pt x="0" y="21769"/>
                      <a:pt x="0" y="28913"/>
                    </a:cubicBezTo>
                    <a:cubicBezTo>
                      <a:pt x="0" y="36057"/>
                      <a:pt x="4477" y="39390"/>
                      <a:pt x="10477" y="37390"/>
                    </a:cubicBezTo>
                    <a:lnTo>
                      <a:pt x="10573" y="54440"/>
                    </a:lnTo>
                    <a:cubicBezTo>
                      <a:pt x="7715" y="54916"/>
                      <a:pt x="5620" y="52916"/>
                      <a:pt x="5620" y="49201"/>
                    </a:cubicBezTo>
                    <a:cubicBezTo>
                      <a:pt x="5620" y="47487"/>
                      <a:pt x="4477" y="46820"/>
                      <a:pt x="2857" y="47677"/>
                    </a:cubicBezTo>
                    <a:cubicBezTo>
                      <a:pt x="1238" y="48630"/>
                      <a:pt x="95" y="50630"/>
                      <a:pt x="95" y="52344"/>
                    </a:cubicBezTo>
                    <a:cubicBezTo>
                      <a:pt x="95" y="59393"/>
                      <a:pt x="4572" y="62822"/>
                      <a:pt x="10573" y="60822"/>
                    </a:cubicBezTo>
                    <a:lnTo>
                      <a:pt x="10573" y="64060"/>
                    </a:lnTo>
                    <a:cubicBezTo>
                      <a:pt x="10573" y="65870"/>
                      <a:pt x="11716" y="66441"/>
                      <a:pt x="13335" y="65584"/>
                    </a:cubicBezTo>
                    <a:cubicBezTo>
                      <a:pt x="14954" y="64632"/>
                      <a:pt x="16097" y="62631"/>
                      <a:pt x="16097" y="60917"/>
                    </a:cubicBezTo>
                    <a:lnTo>
                      <a:pt x="16097" y="57678"/>
                    </a:lnTo>
                    <a:cubicBezTo>
                      <a:pt x="22098" y="52725"/>
                      <a:pt x="26575" y="44248"/>
                      <a:pt x="26575" y="37104"/>
                    </a:cubicBezTo>
                    <a:cubicBezTo>
                      <a:pt x="26575" y="29865"/>
                      <a:pt x="21907" y="26627"/>
                      <a:pt x="16097" y="28627"/>
                    </a:cubicBezTo>
                    <a:lnTo>
                      <a:pt x="16002" y="11577"/>
                    </a:lnTo>
                    <a:cubicBezTo>
                      <a:pt x="18859" y="11101"/>
                      <a:pt x="20955" y="13101"/>
                      <a:pt x="21050" y="16816"/>
                    </a:cubicBezTo>
                    <a:cubicBezTo>
                      <a:pt x="21050" y="18626"/>
                      <a:pt x="22193" y="19197"/>
                      <a:pt x="23813" y="18340"/>
                    </a:cubicBezTo>
                    <a:cubicBezTo>
                      <a:pt x="25336" y="17388"/>
                      <a:pt x="26575" y="15387"/>
                      <a:pt x="26575" y="13673"/>
                    </a:cubicBezTo>
                    <a:cubicBezTo>
                      <a:pt x="26575" y="6624"/>
                      <a:pt x="22098" y="3195"/>
                      <a:pt x="16097" y="5196"/>
                    </a:cubicBezTo>
                    <a:lnTo>
                      <a:pt x="16097" y="1957"/>
                    </a:lnTo>
                    <a:cubicBezTo>
                      <a:pt x="16002" y="147"/>
                      <a:pt x="14859" y="-519"/>
                      <a:pt x="13240" y="433"/>
                    </a:cubicBezTo>
                  </a:path>
                </a:pathLst>
              </a:custGeom>
              <a:solidFill>
                <a:srgbClr val="F4F9F8"/>
              </a:solidFill>
              <a:ln w="9525" cap="flat">
                <a:noFill/>
                <a:prstDash val="solid"/>
                <a:miter/>
              </a:ln>
            </p:spPr>
            <p:txBody>
              <a:bodyPr rtlCol="0" anchor="ctr"/>
              <a:lstStyle/>
              <a:p>
                <a:endParaRPr lang="en-IN"/>
              </a:p>
            </p:txBody>
          </p:sp>
        </p:grpSp>
      </p:grpSp>
      <p:grpSp>
        <p:nvGrpSpPr>
          <p:cNvPr id="4161" name="Graphic 4159">
            <a:extLst>
              <a:ext uri="{FF2B5EF4-FFF2-40B4-BE49-F238E27FC236}">
                <a16:creationId xmlns:a16="http://schemas.microsoft.com/office/drawing/2014/main" id="{C275A923-467F-4539-9D50-2B892D24BBE3}"/>
              </a:ext>
            </a:extLst>
          </p:cNvPr>
          <p:cNvGrpSpPr/>
          <p:nvPr/>
        </p:nvGrpSpPr>
        <p:grpSpPr>
          <a:xfrm>
            <a:off x="6705632" y="3762376"/>
            <a:ext cx="342627" cy="611188"/>
            <a:chOff x="6140450" y="4237037"/>
            <a:chExt cx="509982" cy="909721"/>
          </a:xfrm>
          <a:solidFill>
            <a:schemeClr val="accent1"/>
          </a:solidFill>
        </p:grpSpPr>
        <p:grpSp>
          <p:nvGrpSpPr>
            <p:cNvPr id="4162" name="Graphic 4159">
              <a:extLst>
                <a:ext uri="{FF2B5EF4-FFF2-40B4-BE49-F238E27FC236}">
                  <a16:creationId xmlns:a16="http://schemas.microsoft.com/office/drawing/2014/main" id="{C275A923-467F-4539-9D50-2B892D24BBE3}"/>
                </a:ext>
              </a:extLst>
            </p:cNvPr>
            <p:cNvGrpSpPr/>
            <p:nvPr/>
          </p:nvGrpSpPr>
          <p:grpSpPr>
            <a:xfrm>
              <a:off x="6219511" y="4237037"/>
              <a:ext cx="430920" cy="869508"/>
              <a:chOff x="6219511" y="4237037"/>
              <a:chExt cx="430920" cy="869508"/>
            </a:xfrm>
            <a:solidFill>
              <a:schemeClr val="accent1"/>
            </a:solidFill>
          </p:grpSpPr>
          <p:sp>
            <p:nvSpPr>
              <p:cNvPr id="4163" name="Freeform: Shape 4162">
                <a:extLst>
                  <a:ext uri="{FF2B5EF4-FFF2-40B4-BE49-F238E27FC236}">
                    <a16:creationId xmlns:a16="http://schemas.microsoft.com/office/drawing/2014/main" id="{D239FB5E-BFEF-40D3-9679-74EB54923D1B}"/>
                  </a:ext>
                </a:extLst>
              </p:cNvPr>
              <p:cNvSpPr/>
              <p:nvPr/>
            </p:nvSpPr>
            <p:spPr>
              <a:xfrm>
                <a:off x="6627258" y="4558736"/>
                <a:ext cx="23173" cy="547809"/>
              </a:xfrm>
              <a:custGeom>
                <a:avLst/>
                <a:gdLst>
                  <a:gd name="connsiteX0" fmla="*/ 0 w 23173"/>
                  <a:gd name="connsiteY0" fmla="*/ 547809 h 547809"/>
                  <a:gd name="connsiteX1" fmla="*/ 21640 w 23173"/>
                  <a:gd name="connsiteY1" fmla="*/ 535200 h 547809"/>
                  <a:gd name="connsiteX2" fmla="*/ 23173 w 23173"/>
                  <a:gd name="connsiteY2" fmla="*/ 0 h 547809"/>
                  <a:gd name="connsiteX3" fmla="*/ 1363 w 23173"/>
                  <a:gd name="connsiteY3" fmla="*/ 12950 h 547809"/>
                </a:gdLst>
                <a:ahLst/>
                <a:cxnLst>
                  <a:cxn ang="0">
                    <a:pos x="connsiteX0" y="connsiteY0"/>
                  </a:cxn>
                  <a:cxn ang="0">
                    <a:pos x="connsiteX1" y="connsiteY1"/>
                  </a:cxn>
                  <a:cxn ang="0">
                    <a:pos x="connsiteX2" y="connsiteY2"/>
                  </a:cxn>
                  <a:cxn ang="0">
                    <a:pos x="connsiteX3" y="connsiteY3"/>
                  </a:cxn>
                </a:cxnLst>
                <a:rect l="l" t="t" r="r" b="b"/>
                <a:pathLst>
                  <a:path w="23173" h="547809">
                    <a:moveTo>
                      <a:pt x="0" y="547809"/>
                    </a:moveTo>
                    <a:lnTo>
                      <a:pt x="21640" y="535200"/>
                    </a:lnTo>
                    <a:lnTo>
                      <a:pt x="23173" y="0"/>
                    </a:lnTo>
                    <a:lnTo>
                      <a:pt x="1363" y="12950"/>
                    </a:lnTo>
                    <a:close/>
                  </a:path>
                </a:pathLst>
              </a:custGeom>
              <a:solidFill>
                <a:srgbClr val="9CB5CC"/>
              </a:solidFill>
              <a:ln w="16828" cap="flat">
                <a:noFill/>
                <a:prstDash val="solid"/>
                <a:miter/>
              </a:ln>
            </p:spPr>
            <p:txBody>
              <a:bodyPr rtlCol="0" anchor="ctr"/>
              <a:lstStyle/>
              <a:p>
                <a:endParaRPr lang="en-IN"/>
              </a:p>
            </p:txBody>
          </p:sp>
          <p:sp>
            <p:nvSpPr>
              <p:cNvPr id="4164" name="Freeform: Shape 4163">
                <a:extLst>
                  <a:ext uri="{FF2B5EF4-FFF2-40B4-BE49-F238E27FC236}">
                    <a16:creationId xmlns:a16="http://schemas.microsoft.com/office/drawing/2014/main" id="{82294565-ECE7-41C0-9E94-17E8C5574312}"/>
                  </a:ext>
                </a:extLst>
              </p:cNvPr>
              <p:cNvSpPr/>
              <p:nvPr/>
            </p:nvSpPr>
            <p:spPr>
              <a:xfrm>
                <a:off x="6221386" y="4237037"/>
                <a:ext cx="363275" cy="208389"/>
              </a:xfrm>
              <a:custGeom>
                <a:avLst/>
                <a:gdLst>
                  <a:gd name="connsiteX0" fmla="*/ 338909 w 363275"/>
                  <a:gd name="connsiteY0" fmla="*/ 208389 h 208389"/>
                  <a:gd name="connsiteX1" fmla="*/ 363275 w 363275"/>
                  <a:gd name="connsiteY1" fmla="*/ 197314 h 208389"/>
                  <a:gd name="connsiteX2" fmla="*/ 21640 w 363275"/>
                  <a:gd name="connsiteY2" fmla="*/ 0 h 208389"/>
                  <a:gd name="connsiteX3" fmla="*/ 0 w 363275"/>
                  <a:gd name="connsiteY3" fmla="*/ 12609 h 208389"/>
                </a:gdLst>
                <a:ahLst/>
                <a:cxnLst>
                  <a:cxn ang="0">
                    <a:pos x="connsiteX0" y="connsiteY0"/>
                  </a:cxn>
                  <a:cxn ang="0">
                    <a:pos x="connsiteX1" y="connsiteY1"/>
                  </a:cxn>
                  <a:cxn ang="0">
                    <a:pos x="connsiteX2" y="connsiteY2"/>
                  </a:cxn>
                  <a:cxn ang="0">
                    <a:pos x="connsiteX3" y="connsiteY3"/>
                  </a:cxn>
                </a:cxnLst>
                <a:rect l="l" t="t" r="r" b="b"/>
                <a:pathLst>
                  <a:path w="363275" h="208389">
                    <a:moveTo>
                      <a:pt x="338909" y="208389"/>
                    </a:moveTo>
                    <a:lnTo>
                      <a:pt x="363275" y="197314"/>
                    </a:lnTo>
                    <a:lnTo>
                      <a:pt x="21640" y="0"/>
                    </a:lnTo>
                    <a:lnTo>
                      <a:pt x="0" y="12609"/>
                    </a:lnTo>
                    <a:close/>
                  </a:path>
                </a:pathLst>
              </a:custGeom>
              <a:solidFill>
                <a:srgbClr val="D7E7F7"/>
              </a:solidFill>
              <a:ln w="16828" cap="flat">
                <a:noFill/>
                <a:prstDash val="solid"/>
                <a:miter/>
              </a:ln>
            </p:spPr>
            <p:txBody>
              <a:bodyPr rtlCol="0" anchor="ctr"/>
              <a:lstStyle/>
              <a:p>
                <a:endParaRPr lang="en-IN"/>
              </a:p>
            </p:txBody>
          </p:sp>
          <p:sp>
            <p:nvSpPr>
              <p:cNvPr id="4165" name="Freeform: Shape 4164">
                <a:extLst>
                  <a:ext uri="{FF2B5EF4-FFF2-40B4-BE49-F238E27FC236}">
                    <a16:creationId xmlns:a16="http://schemas.microsoft.com/office/drawing/2014/main" id="{8D8C5B40-DBF4-4A44-AB7C-7AE2C5C992B4}"/>
                  </a:ext>
                </a:extLst>
              </p:cNvPr>
              <p:cNvSpPr/>
              <p:nvPr/>
            </p:nvSpPr>
            <p:spPr>
              <a:xfrm>
                <a:off x="6219511" y="4249645"/>
                <a:ext cx="409110" cy="856899"/>
              </a:xfrm>
              <a:custGeom>
                <a:avLst/>
                <a:gdLst>
                  <a:gd name="connsiteX0" fmla="*/ 1874 w 409110"/>
                  <a:gd name="connsiteY0" fmla="*/ 0 h 856899"/>
                  <a:gd name="connsiteX1" fmla="*/ 0 w 409110"/>
                  <a:gd name="connsiteY1" fmla="*/ 621589 h 856899"/>
                  <a:gd name="connsiteX2" fmla="*/ 407747 w 409110"/>
                  <a:gd name="connsiteY2" fmla="*/ 856900 h 856899"/>
                  <a:gd name="connsiteX3" fmla="*/ 409110 w 409110"/>
                  <a:gd name="connsiteY3" fmla="*/ 322040 h 856899"/>
                  <a:gd name="connsiteX4" fmla="*/ 340783 w 409110"/>
                  <a:gd name="connsiteY4" fmla="*/ 195780 h 856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110" h="856899">
                    <a:moveTo>
                      <a:pt x="1874" y="0"/>
                    </a:moveTo>
                    <a:lnTo>
                      <a:pt x="0" y="621589"/>
                    </a:lnTo>
                    <a:lnTo>
                      <a:pt x="407747" y="856900"/>
                    </a:lnTo>
                    <a:lnTo>
                      <a:pt x="409110" y="322040"/>
                    </a:lnTo>
                    <a:lnTo>
                      <a:pt x="340783" y="195780"/>
                    </a:lnTo>
                    <a:close/>
                  </a:path>
                </a:pathLst>
              </a:custGeom>
              <a:solidFill>
                <a:srgbClr val="F9F9F9"/>
              </a:solidFill>
              <a:ln w="16828" cap="flat">
                <a:noFill/>
                <a:prstDash val="solid"/>
                <a:miter/>
              </a:ln>
            </p:spPr>
            <p:txBody>
              <a:bodyPr rtlCol="0" anchor="ctr"/>
              <a:lstStyle/>
              <a:p>
                <a:endParaRPr lang="en-IN"/>
              </a:p>
            </p:txBody>
          </p:sp>
          <p:sp>
            <p:nvSpPr>
              <p:cNvPr id="4166" name="Freeform: Shape 4165">
                <a:extLst>
                  <a:ext uri="{FF2B5EF4-FFF2-40B4-BE49-F238E27FC236}">
                    <a16:creationId xmlns:a16="http://schemas.microsoft.com/office/drawing/2014/main" id="{34F5AB79-D884-432E-9D6E-34126D4FE03B}"/>
                  </a:ext>
                </a:extLst>
              </p:cNvPr>
              <p:cNvSpPr/>
              <p:nvPr/>
            </p:nvSpPr>
            <p:spPr>
              <a:xfrm>
                <a:off x="6560295" y="4434350"/>
                <a:ext cx="90137" cy="137335"/>
              </a:xfrm>
              <a:custGeom>
                <a:avLst/>
                <a:gdLst>
                  <a:gd name="connsiteX0" fmla="*/ 0 w 90137"/>
                  <a:gd name="connsiteY0" fmla="*/ 11075 h 137335"/>
                  <a:gd name="connsiteX1" fmla="*/ 68327 w 90137"/>
                  <a:gd name="connsiteY1" fmla="*/ 137336 h 137335"/>
                  <a:gd name="connsiteX2" fmla="*/ 90137 w 90137"/>
                  <a:gd name="connsiteY2" fmla="*/ 124386 h 137335"/>
                  <a:gd name="connsiteX3" fmla="*/ 24366 w 90137"/>
                  <a:gd name="connsiteY3" fmla="*/ 0 h 137335"/>
                </a:gdLst>
                <a:ahLst/>
                <a:cxnLst>
                  <a:cxn ang="0">
                    <a:pos x="connsiteX0" y="connsiteY0"/>
                  </a:cxn>
                  <a:cxn ang="0">
                    <a:pos x="connsiteX1" y="connsiteY1"/>
                  </a:cxn>
                  <a:cxn ang="0">
                    <a:pos x="connsiteX2" y="connsiteY2"/>
                  </a:cxn>
                  <a:cxn ang="0">
                    <a:pos x="connsiteX3" y="connsiteY3"/>
                  </a:cxn>
                </a:cxnLst>
                <a:rect l="l" t="t" r="r" b="b"/>
                <a:pathLst>
                  <a:path w="90137" h="137335">
                    <a:moveTo>
                      <a:pt x="0" y="11075"/>
                    </a:moveTo>
                    <a:lnTo>
                      <a:pt x="68327" y="137336"/>
                    </a:lnTo>
                    <a:lnTo>
                      <a:pt x="90137" y="124386"/>
                    </a:lnTo>
                    <a:lnTo>
                      <a:pt x="24366" y="0"/>
                    </a:lnTo>
                    <a:close/>
                  </a:path>
                </a:pathLst>
              </a:custGeom>
              <a:solidFill>
                <a:srgbClr val="9CB5CC"/>
              </a:solidFill>
              <a:ln w="16828" cap="flat">
                <a:noFill/>
                <a:prstDash val="solid"/>
                <a:miter/>
              </a:ln>
            </p:spPr>
            <p:txBody>
              <a:bodyPr rtlCol="0" anchor="ctr"/>
              <a:lstStyle/>
              <a:p>
                <a:endParaRPr lang="en-IN"/>
              </a:p>
            </p:txBody>
          </p:sp>
        </p:grpSp>
        <p:grpSp>
          <p:nvGrpSpPr>
            <p:cNvPr id="4167" name="Graphic 4159">
              <a:extLst>
                <a:ext uri="{FF2B5EF4-FFF2-40B4-BE49-F238E27FC236}">
                  <a16:creationId xmlns:a16="http://schemas.microsoft.com/office/drawing/2014/main" id="{C275A923-467F-4539-9D50-2B892D24BBE3}"/>
                </a:ext>
              </a:extLst>
            </p:cNvPr>
            <p:cNvGrpSpPr/>
            <p:nvPr/>
          </p:nvGrpSpPr>
          <p:grpSpPr>
            <a:xfrm>
              <a:off x="6181514" y="4254928"/>
              <a:ext cx="430920" cy="869508"/>
              <a:chOff x="6181514" y="4254928"/>
              <a:chExt cx="430920" cy="869508"/>
            </a:xfrm>
            <a:solidFill>
              <a:schemeClr val="accent1"/>
            </a:solidFill>
          </p:grpSpPr>
          <p:sp>
            <p:nvSpPr>
              <p:cNvPr id="4168" name="Freeform: Shape 4167">
                <a:extLst>
                  <a:ext uri="{FF2B5EF4-FFF2-40B4-BE49-F238E27FC236}">
                    <a16:creationId xmlns:a16="http://schemas.microsoft.com/office/drawing/2014/main" id="{7F09CC35-70E1-4E92-9FB6-51BC1A90BE1B}"/>
                  </a:ext>
                </a:extLst>
              </p:cNvPr>
              <p:cNvSpPr/>
              <p:nvPr/>
            </p:nvSpPr>
            <p:spPr>
              <a:xfrm>
                <a:off x="6589261" y="4576457"/>
                <a:ext cx="23173" cy="547979"/>
              </a:xfrm>
              <a:custGeom>
                <a:avLst/>
                <a:gdLst>
                  <a:gd name="connsiteX0" fmla="*/ 0 w 23173"/>
                  <a:gd name="connsiteY0" fmla="*/ 547980 h 547979"/>
                  <a:gd name="connsiteX1" fmla="*/ 21640 w 23173"/>
                  <a:gd name="connsiteY1" fmla="*/ 535371 h 547979"/>
                  <a:gd name="connsiteX2" fmla="*/ 23173 w 23173"/>
                  <a:gd name="connsiteY2" fmla="*/ 0 h 547979"/>
                  <a:gd name="connsiteX3" fmla="*/ 1534 w 23173"/>
                  <a:gd name="connsiteY3" fmla="*/ 13120 h 547979"/>
                </a:gdLst>
                <a:ahLst/>
                <a:cxnLst>
                  <a:cxn ang="0">
                    <a:pos x="connsiteX0" y="connsiteY0"/>
                  </a:cxn>
                  <a:cxn ang="0">
                    <a:pos x="connsiteX1" y="connsiteY1"/>
                  </a:cxn>
                  <a:cxn ang="0">
                    <a:pos x="connsiteX2" y="connsiteY2"/>
                  </a:cxn>
                  <a:cxn ang="0">
                    <a:pos x="connsiteX3" y="connsiteY3"/>
                  </a:cxn>
                </a:cxnLst>
                <a:rect l="l" t="t" r="r" b="b"/>
                <a:pathLst>
                  <a:path w="23173" h="547979">
                    <a:moveTo>
                      <a:pt x="0" y="547980"/>
                    </a:moveTo>
                    <a:lnTo>
                      <a:pt x="21640" y="535371"/>
                    </a:lnTo>
                    <a:lnTo>
                      <a:pt x="23173" y="0"/>
                    </a:lnTo>
                    <a:lnTo>
                      <a:pt x="1534" y="13120"/>
                    </a:lnTo>
                    <a:close/>
                  </a:path>
                </a:pathLst>
              </a:custGeom>
              <a:solidFill>
                <a:srgbClr val="9CB5CC"/>
              </a:solidFill>
              <a:ln w="16828" cap="flat">
                <a:noFill/>
                <a:prstDash val="solid"/>
                <a:miter/>
              </a:ln>
            </p:spPr>
            <p:txBody>
              <a:bodyPr rtlCol="0" anchor="ctr"/>
              <a:lstStyle/>
              <a:p>
                <a:endParaRPr lang="en-IN"/>
              </a:p>
            </p:txBody>
          </p:sp>
          <p:sp>
            <p:nvSpPr>
              <p:cNvPr id="4169" name="Freeform: Shape 4168">
                <a:extLst>
                  <a:ext uri="{FF2B5EF4-FFF2-40B4-BE49-F238E27FC236}">
                    <a16:creationId xmlns:a16="http://schemas.microsoft.com/office/drawing/2014/main" id="{4832EB91-EC1F-43E6-8A3B-CA8ECE6730E3}"/>
                  </a:ext>
                </a:extLst>
              </p:cNvPr>
              <p:cNvSpPr/>
              <p:nvPr/>
            </p:nvSpPr>
            <p:spPr>
              <a:xfrm>
                <a:off x="6183388" y="4254928"/>
                <a:ext cx="363275" cy="208218"/>
              </a:xfrm>
              <a:custGeom>
                <a:avLst/>
                <a:gdLst>
                  <a:gd name="connsiteX0" fmla="*/ 338909 w 363275"/>
                  <a:gd name="connsiteY0" fmla="*/ 208219 h 208218"/>
                  <a:gd name="connsiteX1" fmla="*/ 363275 w 363275"/>
                  <a:gd name="connsiteY1" fmla="*/ 197143 h 208218"/>
                  <a:gd name="connsiteX2" fmla="*/ 21640 w 363275"/>
                  <a:gd name="connsiteY2" fmla="*/ 0 h 208218"/>
                  <a:gd name="connsiteX3" fmla="*/ 0 w 363275"/>
                  <a:gd name="connsiteY3" fmla="*/ 12609 h 208218"/>
                </a:gdLst>
                <a:ahLst/>
                <a:cxnLst>
                  <a:cxn ang="0">
                    <a:pos x="connsiteX0" y="connsiteY0"/>
                  </a:cxn>
                  <a:cxn ang="0">
                    <a:pos x="connsiteX1" y="connsiteY1"/>
                  </a:cxn>
                  <a:cxn ang="0">
                    <a:pos x="connsiteX2" y="connsiteY2"/>
                  </a:cxn>
                  <a:cxn ang="0">
                    <a:pos x="connsiteX3" y="connsiteY3"/>
                  </a:cxn>
                </a:cxnLst>
                <a:rect l="l" t="t" r="r" b="b"/>
                <a:pathLst>
                  <a:path w="363275" h="208218">
                    <a:moveTo>
                      <a:pt x="338909" y="208219"/>
                    </a:moveTo>
                    <a:lnTo>
                      <a:pt x="363275" y="197143"/>
                    </a:lnTo>
                    <a:lnTo>
                      <a:pt x="21640" y="0"/>
                    </a:lnTo>
                    <a:lnTo>
                      <a:pt x="0" y="12609"/>
                    </a:lnTo>
                    <a:close/>
                  </a:path>
                </a:pathLst>
              </a:custGeom>
              <a:solidFill>
                <a:srgbClr val="D7E7F7"/>
              </a:solidFill>
              <a:ln w="16828" cap="flat">
                <a:noFill/>
                <a:prstDash val="solid"/>
                <a:miter/>
              </a:ln>
            </p:spPr>
            <p:txBody>
              <a:bodyPr rtlCol="0" anchor="ctr"/>
              <a:lstStyle/>
              <a:p>
                <a:endParaRPr lang="en-IN"/>
              </a:p>
            </p:txBody>
          </p:sp>
          <p:sp>
            <p:nvSpPr>
              <p:cNvPr id="4170" name="Freeform: Shape 4169">
                <a:extLst>
                  <a:ext uri="{FF2B5EF4-FFF2-40B4-BE49-F238E27FC236}">
                    <a16:creationId xmlns:a16="http://schemas.microsoft.com/office/drawing/2014/main" id="{392D37EC-74AF-40B3-9761-6BEF09CD680D}"/>
                  </a:ext>
                </a:extLst>
              </p:cNvPr>
              <p:cNvSpPr/>
              <p:nvPr/>
            </p:nvSpPr>
            <p:spPr>
              <a:xfrm>
                <a:off x="6181514" y="4267537"/>
                <a:ext cx="409280" cy="856899"/>
              </a:xfrm>
              <a:custGeom>
                <a:avLst/>
                <a:gdLst>
                  <a:gd name="connsiteX0" fmla="*/ 1874 w 409280"/>
                  <a:gd name="connsiteY0" fmla="*/ 0 h 856899"/>
                  <a:gd name="connsiteX1" fmla="*/ 0 w 409280"/>
                  <a:gd name="connsiteY1" fmla="*/ 621589 h 856899"/>
                  <a:gd name="connsiteX2" fmla="*/ 407747 w 409280"/>
                  <a:gd name="connsiteY2" fmla="*/ 856900 h 856899"/>
                  <a:gd name="connsiteX3" fmla="*/ 409281 w 409280"/>
                  <a:gd name="connsiteY3" fmla="*/ 322040 h 856899"/>
                  <a:gd name="connsiteX4" fmla="*/ 340783 w 409280"/>
                  <a:gd name="connsiteY4" fmla="*/ 195610 h 856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280" h="856899">
                    <a:moveTo>
                      <a:pt x="1874" y="0"/>
                    </a:moveTo>
                    <a:lnTo>
                      <a:pt x="0" y="621589"/>
                    </a:lnTo>
                    <a:lnTo>
                      <a:pt x="407747" y="856900"/>
                    </a:lnTo>
                    <a:lnTo>
                      <a:pt x="409281" y="322040"/>
                    </a:lnTo>
                    <a:lnTo>
                      <a:pt x="340783" y="195610"/>
                    </a:lnTo>
                    <a:close/>
                  </a:path>
                </a:pathLst>
              </a:custGeom>
              <a:solidFill>
                <a:srgbClr val="F9F9F9"/>
              </a:solidFill>
              <a:ln w="16828" cap="flat">
                <a:noFill/>
                <a:prstDash val="solid"/>
                <a:miter/>
              </a:ln>
            </p:spPr>
            <p:txBody>
              <a:bodyPr rtlCol="0" anchor="ctr"/>
              <a:lstStyle/>
              <a:p>
                <a:endParaRPr lang="en-IN"/>
              </a:p>
            </p:txBody>
          </p:sp>
          <p:sp>
            <p:nvSpPr>
              <p:cNvPr id="4171" name="Freeform: Shape 4170">
                <a:extLst>
                  <a:ext uri="{FF2B5EF4-FFF2-40B4-BE49-F238E27FC236}">
                    <a16:creationId xmlns:a16="http://schemas.microsoft.com/office/drawing/2014/main" id="{7094BECA-B21D-405E-AE3B-386E7F8356D8}"/>
                  </a:ext>
                </a:extLst>
              </p:cNvPr>
              <p:cNvSpPr/>
              <p:nvPr/>
            </p:nvSpPr>
            <p:spPr>
              <a:xfrm>
                <a:off x="6522297" y="4452071"/>
                <a:ext cx="90137" cy="137506"/>
              </a:xfrm>
              <a:custGeom>
                <a:avLst/>
                <a:gdLst>
                  <a:gd name="connsiteX0" fmla="*/ 0 w 90137"/>
                  <a:gd name="connsiteY0" fmla="*/ 11075 h 137506"/>
                  <a:gd name="connsiteX1" fmla="*/ 68497 w 90137"/>
                  <a:gd name="connsiteY1" fmla="*/ 137506 h 137506"/>
                  <a:gd name="connsiteX2" fmla="*/ 90137 w 90137"/>
                  <a:gd name="connsiteY2" fmla="*/ 124386 h 137506"/>
                  <a:gd name="connsiteX3" fmla="*/ 24366 w 90137"/>
                  <a:gd name="connsiteY3" fmla="*/ 0 h 137506"/>
                </a:gdLst>
                <a:ahLst/>
                <a:cxnLst>
                  <a:cxn ang="0">
                    <a:pos x="connsiteX0" y="connsiteY0"/>
                  </a:cxn>
                  <a:cxn ang="0">
                    <a:pos x="connsiteX1" y="connsiteY1"/>
                  </a:cxn>
                  <a:cxn ang="0">
                    <a:pos x="connsiteX2" y="connsiteY2"/>
                  </a:cxn>
                  <a:cxn ang="0">
                    <a:pos x="connsiteX3" y="connsiteY3"/>
                  </a:cxn>
                </a:cxnLst>
                <a:rect l="l" t="t" r="r" b="b"/>
                <a:pathLst>
                  <a:path w="90137" h="137506">
                    <a:moveTo>
                      <a:pt x="0" y="11075"/>
                    </a:moveTo>
                    <a:lnTo>
                      <a:pt x="68497" y="137506"/>
                    </a:lnTo>
                    <a:lnTo>
                      <a:pt x="90137" y="124386"/>
                    </a:lnTo>
                    <a:lnTo>
                      <a:pt x="24366" y="0"/>
                    </a:lnTo>
                    <a:close/>
                  </a:path>
                </a:pathLst>
              </a:custGeom>
              <a:solidFill>
                <a:srgbClr val="9CB5CC"/>
              </a:solidFill>
              <a:ln w="16828" cap="flat">
                <a:noFill/>
                <a:prstDash val="solid"/>
                <a:miter/>
              </a:ln>
            </p:spPr>
            <p:txBody>
              <a:bodyPr rtlCol="0" anchor="ctr"/>
              <a:lstStyle/>
              <a:p>
                <a:endParaRPr lang="en-IN"/>
              </a:p>
            </p:txBody>
          </p:sp>
        </p:grpSp>
        <p:grpSp>
          <p:nvGrpSpPr>
            <p:cNvPr id="4172" name="Graphic 4159">
              <a:extLst>
                <a:ext uri="{FF2B5EF4-FFF2-40B4-BE49-F238E27FC236}">
                  <a16:creationId xmlns:a16="http://schemas.microsoft.com/office/drawing/2014/main" id="{C275A923-467F-4539-9D50-2B892D24BBE3}"/>
                </a:ext>
              </a:extLst>
            </p:cNvPr>
            <p:cNvGrpSpPr/>
            <p:nvPr/>
          </p:nvGrpSpPr>
          <p:grpSpPr>
            <a:xfrm>
              <a:off x="6140450" y="4277249"/>
              <a:ext cx="430920" cy="869508"/>
              <a:chOff x="6140450" y="4277249"/>
              <a:chExt cx="430920" cy="869508"/>
            </a:xfrm>
            <a:solidFill>
              <a:schemeClr val="accent1"/>
            </a:solidFill>
          </p:grpSpPr>
          <p:sp>
            <p:nvSpPr>
              <p:cNvPr id="4173" name="Freeform: Shape 4172">
                <a:extLst>
                  <a:ext uri="{FF2B5EF4-FFF2-40B4-BE49-F238E27FC236}">
                    <a16:creationId xmlns:a16="http://schemas.microsoft.com/office/drawing/2014/main" id="{DF9A754F-46F1-4045-8465-25CC63C2AE23}"/>
                  </a:ext>
                </a:extLst>
              </p:cNvPr>
              <p:cNvSpPr/>
              <p:nvPr/>
            </p:nvSpPr>
            <p:spPr>
              <a:xfrm>
                <a:off x="6548026" y="4598948"/>
                <a:ext cx="23343" cy="547809"/>
              </a:xfrm>
              <a:custGeom>
                <a:avLst/>
                <a:gdLst>
                  <a:gd name="connsiteX0" fmla="*/ 0 w 23343"/>
                  <a:gd name="connsiteY0" fmla="*/ 547809 h 547809"/>
                  <a:gd name="connsiteX1" fmla="*/ 21810 w 23343"/>
                  <a:gd name="connsiteY1" fmla="*/ 535200 h 547809"/>
                  <a:gd name="connsiteX2" fmla="*/ 23344 w 23343"/>
                  <a:gd name="connsiteY2" fmla="*/ 0 h 547809"/>
                  <a:gd name="connsiteX3" fmla="*/ 1534 w 23343"/>
                  <a:gd name="connsiteY3" fmla="*/ 12950 h 547809"/>
                </a:gdLst>
                <a:ahLst/>
                <a:cxnLst>
                  <a:cxn ang="0">
                    <a:pos x="connsiteX0" y="connsiteY0"/>
                  </a:cxn>
                  <a:cxn ang="0">
                    <a:pos x="connsiteX1" y="connsiteY1"/>
                  </a:cxn>
                  <a:cxn ang="0">
                    <a:pos x="connsiteX2" y="connsiteY2"/>
                  </a:cxn>
                  <a:cxn ang="0">
                    <a:pos x="connsiteX3" y="connsiteY3"/>
                  </a:cxn>
                </a:cxnLst>
                <a:rect l="l" t="t" r="r" b="b"/>
                <a:pathLst>
                  <a:path w="23343" h="547809">
                    <a:moveTo>
                      <a:pt x="0" y="547809"/>
                    </a:moveTo>
                    <a:lnTo>
                      <a:pt x="21810" y="535200"/>
                    </a:lnTo>
                    <a:lnTo>
                      <a:pt x="23344" y="0"/>
                    </a:lnTo>
                    <a:lnTo>
                      <a:pt x="1534" y="12950"/>
                    </a:lnTo>
                    <a:close/>
                  </a:path>
                </a:pathLst>
              </a:custGeom>
              <a:solidFill>
                <a:srgbClr val="9CB5CC"/>
              </a:solidFill>
              <a:ln w="16828" cap="flat">
                <a:noFill/>
                <a:prstDash val="solid"/>
                <a:miter/>
              </a:ln>
            </p:spPr>
            <p:txBody>
              <a:bodyPr rtlCol="0" anchor="ctr"/>
              <a:lstStyle/>
              <a:p>
                <a:endParaRPr lang="en-IN"/>
              </a:p>
            </p:txBody>
          </p:sp>
          <p:sp>
            <p:nvSpPr>
              <p:cNvPr id="4174" name="Freeform: Shape 4173">
                <a:extLst>
                  <a:ext uri="{FF2B5EF4-FFF2-40B4-BE49-F238E27FC236}">
                    <a16:creationId xmlns:a16="http://schemas.microsoft.com/office/drawing/2014/main" id="{A3AFEB08-837E-4249-8945-494644E800D3}"/>
                  </a:ext>
                </a:extLst>
              </p:cNvPr>
              <p:cNvSpPr/>
              <p:nvPr/>
            </p:nvSpPr>
            <p:spPr>
              <a:xfrm>
                <a:off x="6142153" y="4277249"/>
                <a:ext cx="363445" cy="208218"/>
              </a:xfrm>
              <a:custGeom>
                <a:avLst/>
                <a:gdLst>
                  <a:gd name="connsiteX0" fmla="*/ 339079 w 363445"/>
                  <a:gd name="connsiteY0" fmla="*/ 208219 h 208218"/>
                  <a:gd name="connsiteX1" fmla="*/ 363445 w 363445"/>
                  <a:gd name="connsiteY1" fmla="*/ 197143 h 208218"/>
                  <a:gd name="connsiteX2" fmla="*/ 21810 w 363445"/>
                  <a:gd name="connsiteY2" fmla="*/ 0 h 208218"/>
                  <a:gd name="connsiteX3" fmla="*/ 0 w 363445"/>
                  <a:gd name="connsiteY3" fmla="*/ 12609 h 208218"/>
                </a:gdLst>
                <a:ahLst/>
                <a:cxnLst>
                  <a:cxn ang="0">
                    <a:pos x="connsiteX0" y="connsiteY0"/>
                  </a:cxn>
                  <a:cxn ang="0">
                    <a:pos x="connsiteX1" y="connsiteY1"/>
                  </a:cxn>
                  <a:cxn ang="0">
                    <a:pos x="connsiteX2" y="connsiteY2"/>
                  </a:cxn>
                  <a:cxn ang="0">
                    <a:pos x="connsiteX3" y="connsiteY3"/>
                  </a:cxn>
                </a:cxnLst>
                <a:rect l="l" t="t" r="r" b="b"/>
                <a:pathLst>
                  <a:path w="363445" h="208218">
                    <a:moveTo>
                      <a:pt x="339079" y="208219"/>
                    </a:moveTo>
                    <a:lnTo>
                      <a:pt x="363445" y="197143"/>
                    </a:lnTo>
                    <a:lnTo>
                      <a:pt x="21810" y="0"/>
                    </a:lnTo>
                    <a:lnTo>
                      <a:pt x="0" y="12609"/>
                    </a:lnTo>
                    <a:close/>
                  </a:path>
                </a:pathLst>
              </a:custGeom>
              <a:solidFill>
                <a:srgbClr val="D7E7F7"/>
              </a:solidFill>
              <a:ln w="16828" cap="flat">
                <a:noFill/>
                <a:prstDash val="solid"/>
                <a:miter/>
              </a:ln>
            </p:spPr>
            <p:txBody>
              <a:bodyPr rtlCol="0" anchor="ctr"/>
              <a:lstStyle/>
              <a:p>
                <a:endParaRPr lang="en-IN"/>
              </a:p>
            </p:txBody>
          </p:sp>
          <p:sp>
            <p:nvSpPr>
              <p:cNvPr id="4175" name="Freeform: Shape 4174">
                <a:extLst>
                  <a:ext uri="{FF2B5EF4-FFF2-40B4-BE49-F238E27FC236}">
                    <a16:creationId xmlns:a16="http://schemas.microsoft.com/office/drawing/2014/main" id="{25E1E1BB-B5CB-493B-9979-01727E83F07C}"/>
                  </a:ext>
                </a:extLst>
              </p:cNvPr>
              <p:cNvSpPr/>
              <p:nvPr/>
            </p:nvSpPr>
            <p:spPr>
              <a:xfrm>
                <a:off x="6140450" y="4289858"/>
                <a:ext cx="409110" cy="856899"/>
              </a:xfrm>
              <a:custGeom>
                <a:avLst/>
                <a:gdLst>
                  <a:gd name="connsiteX0" fmla="*/ 1704 w 409110"/>
                  <a:gd name="connsiteY0" fmla="*/ 0 h 856899"/>
                  <a:gd name="connsiteX1" fmla="*/ 0 w 409110"/>
                  <a:gd name="connsiteY1" fmla="*/ 621589 h 856899"/>
                  <a:gd name="connsiteX2" fmla="*/ 407577 w 409110"/>
                  <a:gd name="connsiteY2" fmla="*/ 856900 h 856899"/>
                  <a:gd name="connsiteX3" fmla="*/ 409110 w 409110"/>
                  <a:gd name="connsiteY3" fmla="*/ 322040 h 856899"/>
                  <a:gd name="connsiteX4" fmla="*/ 340783 w 409110"/>
                  <a:gd name="connsiteY4" fmla="*/ 195610 h 856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110" h="856899">
                    <a:moveTo>
                      <a:pt x="1704" y="0"/>
                    </a:moveTo>
                    <a:lnTo>
                      <a:pt x="0" y="621589"/>
                    </a:lnTo>
                    <a:lnTo>
                      <a:pt x="407577" y="856900"/>
                    </a:lnTo>
                    <a:lnTo>
                      <a:pt x="409110" y="322040"/>
                    </a:lnTo>
                    <a:lnTo>
                      <a:pt x="340783" y="195610"/>
                    </a:lnTo>
                    <a:close/>
                  </a:path>
                </a:pathLst>
              </a:custGeom>
              <a:solidFill>
                <a:schemeClr val="bg1"/>
              </a:solidFill>
              <a:ln w="0" cap="flat">
                <a:solidFill>
                  <a:schemeClr val="bg1">
                    <a:lumMod val="65000"/>
                  </a:schemeClr>
                </a:solidFill>
                <a:prstDash val="solid"/>
                <a:miter/>
              </a:ln>
            </p:spPr>
            <p:txBody>
              <a:bodyPr rtlCol="0" anchor="ctr"/>
              <a:lstStyle/>
              <a:p>
                <a:endParaRPr lang="en-IN"/>
              </a:p>
            </p:txBody>
          </p:sp>
          <p:sp>
            <p:nvSpPr>
              <p:cNvPr id="4176" name="Freeform: Shape 4175">
                <a:extLst>
                  <a:ext uri="{FF2B5EF4-FFF2-40B4-BE49-F238E27FC236}">
                    <a16:creationId xmlns:a16="http://schemas.microsoft.com/office/drawing/2014/main" id="{169FB072-58D4-4D10-83F8-91E12B8E6A7B}"/>
                  </a:ext>
                </a:extLst>
              </p:cNvPr>
              <p:cNvSpPr/>
              <p:nvPr/>
            </p:nvSpPr>
            <p:spPr>
              <a:xfrm>
                <a:off x="6481233" y="4474392"/>
                <a:ext cx="90137" cy="137506"/>
              </a:xfrm>
              <a:custGeom>
                <a:avLst/>
                <a:gdLst>
                  <a:gd name="connsiteX0" fmla="*/ 0 w 90137"/>
                  <a:gd name="connsiteY0" fmla="*/ 11075 h 137506"/>
                  <a:gd name="connsiteX1" fmla="*/ 68327 w 90137"/>
                  <a:gd name="connsiteY1" fmla="*/ 137506 h 137506"/>
                  <a:gd name="connsiteX2" fmla="*/ 90137 w 90137"/>
                  <a:gd name="connsiteY2" fmla="*/ 124556 h 137506"/>
                  <a:gd name="connsiteX3" fmla="*/ 24366 w 90137"/>
                  <a:gd name="connsiteY3" fmla="*/ 0 h 137506"/>
                </a:gdLst>
                <a:ahLst/>
                <a:cxnLst>
                  <a:cxn ang="0">
                    <a:pos x="connsiteX0" y="connsiteY0"/>
                  </a:cxn>
                  <a:cxn ang="0">
                    <a:pos x="connsiteX1" y="connsiteY1"/>
                  </a:cxn>
                  <a:cxn ang="0">
                    <a:pos x="connsiteX2" y="connsiteY2"/>
                  </a:cxn>
                  <a:cxn ang="0">
                    <a:pos x="connsiteX3" y="connsiteY3"/>
                  </a:cxn>
                </a:cxnLst>
                <a:rect l="l" t="t" r="r" b="b"/>
                <a:pathLst>
                  <a:path w="90137" h="137506">
                    <a:moveTo>
                      <a:pt x="0" y="11075"/>
                    </a:moveTo>
                    <a:lnTo>
                      <a:pt x="68327" y="137506"/>
                    </a:lnTo>
                    <a:lnTo>
                      <a:pt x="90137" y="124556"/>
                    </a:lnTo>
                    <a:lnTo>
                      <a:pt x="24366" y="0"/>
                    </a:lnTo>
                    <a:close/>
                  </a:path>
                </a:pathLst>
              </a:custGeom>
              <a:solidFill>
                <a:srgbClr val="9CB5CC"/>
              </a:solidFill>
              <a:ln w="16828" cap="flat">
                <a:noFill/>
                <a:prstDash val="solid"/>
                <a:miter/>
              </a:ln>
            </p:spPr>
            <p:txBody>
              <a:bodyPr rtlCol="0" anchor="ctr"/>
              <a:lstStyle/>
              <a:p>
                <a:endParaRPr lang="en-IN"/>
              </a:p>
            </p:txBody>
          </p:sp>
        </p:grpSp>
        <p:grpSp>
          <p:nvGrpSpPr>
            <p:cNvPr id="4177" name="Graphic 4159">
              <a:extLst>
                <a:ext uri="{FF2B5EF4-FFF2-40B4-BE49-F238E27FC236}">
                  <a16:creationId xmlns:a16="http://schemas.microsoft.com/office/drawing/2014/main" id="{C275A923-467F-4539-9D50-2B892D24BBE3}"/>
                </a:ext>
              </a:extLst>
            </p:cNvPr>
            <p:cNvGrpSpPr/>
            <p:nvPr/>
          </p:nvGrpSpPr>
          <p:grpSpPr>
            <a:xfrm>
              <a:off x="6173165" y="4415096"/>
              <a:ext cx="323232" cy="605742"/>
              <a:chOff x="6173165" y="4415096"/>
              <a:chExt cx="323232" cy="605742"/>
            </a:xfrm>
            <a:solidFill>
              <a:schemeClr val="accent1"/>
            </a:solidFill>
          </p:grpSpPr>
          <p:sp>
            <p:nvSpPr>
              <p:cNvPr id="4178" name="Freeform: Shape 4177">
                <a:extLst>
                  <a:ext uri="{FF2B5EF4-FFF2-40B4-BE49-F238E27FC236}">
                    <a16:creationId xmlns:a16="http://schemas.microsoft.com/office/drawing/2014/main" id="{77835ACF-4BB0-46DE-A369-F1B2410667EE}"/>
                  </a:ext>
                </a:extLst>
              </p:cNvPr>
              <p:cNvSpPr/>
              <p:nvPr/>
            </p:nvSpPr>
            <p:spPr>
              <a:xfrm>
                <a:off x="6244900" y="4468940"/>
                <a:ext cx="251498" cy="163746"/>
              </a:xfrm>
              <a:custGeom>
                <a:avLst/>
                <a:gdLst>
                  <a:gd name="connsiteX0" fmla="*/ 251498 w 251498"/>
                  <a:gd name="connsiteY0" fmla="*/ 145174 h 163746"/>
                  <a:gd name="connsiteX1" fmla="*/ 0 w 251498"/>
                  <a:gd name="connsiteY1" fmla="*/ 0 h 163746"/>
                  <a:gd name="connsiteX2" fmla="*/ 0 w 251498"/>
                  <a:gd name="connsiteY2" fmla="*/ 18573 h 163746"/>
                  <a:gd name="connsiteX3" fmla="*/ 25132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0" y="0"/>
                    </a:lnTo>
                    <a:lnTo>
                      <a:pt x="0" y="18573"/>
                    </a:lnTo>
                    <a:lnTo>
                      <a:pt x="25132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79" name="Freeform: Shape 4178">
                <a:extLst>
                  <a:ext uri="{FF2B5EF4-FFF2-40B4-BE49-F238E27FC236}">
                    <a16:creationId xmlns:a16="http://schemas.microsoft.com/office/drawing/2014/main" id="{1D67D80F-FE89-4013-A5F7-49D22A766C06}"/>
                  </a:ext>
                </a:extLst>
              </p:cNvPr>
              <p:cNvSpPr/>
              <p:nvPr/>
            </p:nvSpPr>
            <p:spPr>
              <a:xfrm>
                <a:off x="6174357" y="4415096"/>
                <a:ext cx="38849" cy="67134"/>
              </a:xfrm>
              <a:custGeom>
                <a:avLst/>
                <a:gdLst>
                  <a:gd name="connsiteX0" fmla="*/ 38849 w 38849"/>
                  <a:gd name="connsiteY0" fmla="*/ 22492 h 67134"/>
                  <a:gd name="connsiteX1" fmla="*/ 0 w 38849"/>
                  <a:gd name="connsiteY1" fmla="*/ 0 h 67134"/>
                  <a:gd name="connsiteX2" fmla="*/ 0 w 38849"/>
                  <a:gd name="connsiteY2" fmla="*/ 44813 h 67134"/>
                  <a:gd name="connsiteX3" fmla="*/ 38849 w 38849"/>
                  <a:gd name="connsiteY3" fmla="*/ 67134 h 67134"/>
                  <a:gd name="connsiteX4" fmla="*/ 38849 w 38849"/>
                  <a:gd name="connsiteY4" fmla="*/ 49584 h 67134"/>
                  <a:gd name="connsiteX5" fmla="*/ 36634 w 38849"/>
                  <a:gd name="connsiteY5" fmla="*/ 50777 h 67134"/>
                  <a:gd name="connsiteX6" fmla="*/ 36634 w 38849"/>
                  <a:gd name="connsiteY6" fmla="*/ 63386 h 67134"/>
                  <a:gd name="connsiteX7" fmla="*/ 2045 w 38849"/>
                  <a:gd name="connsiteY7" fmla="*/ 43450 h 67134"/>
                  <a:gd name="connsiteX8" fmla="*/ 2215 w 38849"/>
                  <a:gd name="connsiteY8" fmla="*/ 3749 h 67134"/>
                  <a:gd name="connsiteX9" fmla="*/ 36805 w 38849"/>
                  <a:gd name="connsiteY9" fmla="*/ 23855 h 67134"/>
                  <a:gd name="connsiteX10" fmla="*/ 36805 w 38849"/>
                  <a:gd name="connsiteY10" fmla="*/ 36293 h 67134"/>
                  <a:gd name="connsiteX11" fmla="*/ 38849 w 38849"/>
                  <a:gd name="connsiteY11" fmla="*/ 35101 h 67134"/>
                  <a:gd name="connsiteX12" fmla="*/ 38849 w 38849"/>
                  <a:gd name="connsiteY12" fmla="*/ 22492 h 6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849" h="67134">
                    <a:moveTo>
                      <a:pt x="38849" y="22492"/>
                    </a:moveTo>
                    <a:lnTo>
                      <a:pt x="0" y="0"/>
                    </a:lnTo>
                    <a:lnTo>
                      <a:pt x="0" y="44813"/>
                    </a:lnTo>
                    <a:lnTo>
                      <a:pt x="38849" y="67134"/>
                    </a:lnTo>
                    <a:lnTo>
                      <a:pt x="38849" y="49584"/>
                    </a:lnTo>
                    <a:lnTo>
                      <a:pt x="36634" y="50777"/>
                    </a:lnTo>
                    <a:lnTo>
                      <a:pt x="36634" y="63386"/>
                    </a:lnTo>
                    <a:lnTo>
                      <a:pt x="2045" y="43450"/>
                    </a:lnTo>
                    <a:lnTo>
                      <a:pt x="2215" y="3749"/>
                    </a:lnTo>
                    <a:lnTo>
                      <a:pt x="36805" y="23855"/>
                    </a:lnTo>
                    <a:lnTo>
                      <a:pt x="36805" y="36293"/>
                    </a:lnTo>
                    <a:lnTo>
                      <a:pt x="38849" y="35101"/>
                    </a:lnTo>
                    <a:lnTo>
                      <a:pt x="38849" y="22492"/>
                    </a:lnTo>
                  </a:path>
                </a:pathLst>
              </a:custGeom>
              <a:solidFill>
                <a:srgbClr val="6D6D6B"/>
              </a:solidFill>
              <a:ln w="16828" cap="flat">
                <a:noFill/>
                <a:prstDash val="solid"/>
                <a:miter/>
              </a:ln>
            </p:spPr>
            <p:txBody>
              <a:bodyPr rtlCol="0" anchor="ctr"/>
              <a:lstStyle/>
              <a:p>
                <a:endParaRPr lang="en-IN"/>
              </a:p>
            </p:txBody>
          </p:sp>
          <p:sp>
            <p:nvSpPr>
              <p:cNvPr id="4180" name="Freeform: Shape 4179">
                <a:extLst>
                  <a:ext uri="{FF2B5EF4-FFF2-40B4-BE49-F238E27FC236}">
                    <a16:creationId xmlns:a16="http://schemas.microsoft.com/office/drawing/2014/main" id="{D3939B3A-ACDD-4167-A68E-44DBE3FDEC81}"/>
                  </a:ext>
                </a:extLst>
              </p:cNvPr>
              <p:cNvSpPr/>
              <p:nvPr/>
            </p:nvSpPr>
            <p:spPr>
              <a:xfrm>
                <a:off x="6184155" y="4439505"/>
                <a:ext cx="20191" cy="31605"/>
              </a:xfrm>
              <a:custGeom>
                <a:avLst/>
                <a:gdLst>
                  <a:gd name="connsiteX0" fmla="*/ 4515 w 20191"/>
                  <a:gd name="connsiteY0" fmla="*/ 638 h 31605"/>
                  <a:gd name="connsiteX1" fmla="*/ 1278 w 20191"/>
                  <a:gd name="connsiteY1" fmla="*/ 297 h 31605"/>
                  <a:gd name="connsiteX2" fmla="*/ 1278 w 20191"/>
                  <a:gd name="connsiteY2" fmla="*/ 7624 h 31605"/>
                  <a:gd name="connsiteX3" fmla="*/ 12865 w 20191"/>
                  <a:gd name="connsiteY3" fmla="*/ 27730 h 31605"/>
                  <a:gd name="connsiteX4" fmla="*/ 15932 w 20191"/>
                  <a:gd name="connsiteY4" fmla="*/ 30968 h 31605"/>
                  <a:gd name="connsiteX5" fmla="*/ 19169 w 20191"/>
                  <a:gd name="connsiteY5" fmla="*/ 31309 h 31605"/>
                  <a:gd name="connsiteX6" fmla="*/ 20191 w 20191"/>
                  <a:gd name="connsiteY6" fmla="*/ 30286 h 31605"/>
                  <a:gd name="connsiteX7" fmla="*/ 19339 w 20191"/>
                  <a:gd name="connsiteY7" fmla="*/ 30627 h 31605"/>
                  <a:gd name="connsiteX8" fmla="*/ 16102 w 20191"/>
                  <a:gd name="connsiteY8" fmla="*/ 30286 h 31605"/>
                  <a:gd name="connsiteX9" fmla="*/ 13035 w 20191"/>
                  <a:gd name="connsiteY9" fmla="*/ 27049 h 31605"/>
                  <a:gd name="connsiteX10" fmla="*/ 13035 w 20191"/>
                  <a:gd name="connsiteY10" fmla="*/ 19722 h 31605"/>
                  <a:gd name="connsiteX11" fmla="*/ 15761 w 20191"/>
                  <a:gd name="connsiteY11" fmla="*/ 18188 h 31605"/>
                  <a:gd name="connsiteX12" fmla="*/ 7582 w 20191"/>
                  <a:gd name="connsiteY12" fmla="*/ 4046 h 31605"/>
                  <a:gd name="connsiteX13" fmla="*/ 4515 w 20191"/>
                  <a:gd name="connsiteY13" fmla="*/ 638 h 3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191" h="31605">
                    <a:moveTo>
                      <a:pt x="4515" y="638"/>
                    </a:moveTo>
                    <a:cubicBezTo>
                      <a:pt x="3323" y="-44"/>
                      <a:pt x="2300" y="-214"/>
                      <a:pt x="1278" y="297"/>
                    </a:cubicBezTo>
                    <a:cubicBezTo>
                      <a:pt x="-426" y="1320"/>
                      <a:pt x="-426" y="4557"/>
                      <a:pt x="1278" y="7624"/>
                    </a:cubicBezTo>
                    <a:lnTo>
                      <a:pt x="12865" y="27730"/>
                    </a:lnTo>
                    <a:cubicBezTo>
                      <a:pt x="13717" y="29264"/>
                      <a:pt x="14909" y="30457"/>
                      <a:pt x="15932" y="30968"/>
                    </a:cubicBezTo>
                    <a:cubicBezTo>
                      <a:pt x="17124" y="31649"/>
                      <a:pt x="18147" y="31820"/>
                      <a:pt x="19169" y="31309"/>
                    </a:cubicBezTo>
                    <a:cubicBezTo>
                      <a:pt x="19510" y="31138"/>
                      <a:pt x="19851" y="30627"/>
                      <a:pt x="20191" y="3028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730" y="2512"/>
                      <a:pt x="5708" y="1320"/>
                      <a:pt x="4515" y="638"/>
                    </a:cubicBezTo>
                  </a:path>
                </a:pathLst>
              </a:custGeom>
              <a:solidFill>
                <a:srgbClr val="BBD80A"/>
              </a:solidFill>
              <a:ln w="16828" cap="flat">
                <a:noFill/>
                <a:prstDash val="solid"/>
                <a:miter/>
              </a:ln>
            </p:spPr>
            <p:txBody>
              <a:bodyPr rtlCol="0" anchor="ctr"/>
              <a:lstStyle/>
              <a:p>
                <a:endParaRPr lang="en-IN"/>
              </a:p>
            </p:txBody>
          </p:sp>
          <p:sp>
            <p:nvSpPr>
              <p:cNvPr id="4181" name="Freeform: Shape 4180">
                <a:extLst>
                  <a:ext uri="{FF2B5EF4-FFF2-40B4-BE49-F238E27FC236}">
                    <a16:creationId xmlns:a16="http://schemas.microsoft.com/office/drawing/2014/main" id="{A0151649-BFBA-4076-AA15-DCEC63FECD82}"/>
                  </a:ext>
                </a:extLst>
              </p:cNvPr>
              <p:cNvSpPr/>
              <p:nvPr/>
            </p:nvSpPr>
            <p:spPr>
              <a:xfrm>
                <a:off x="6196082" y="4444276"/>
                <a:ext cx="34589" cy="26153"/>
              </a:xfrm>
              <a:custGeom>
                <a:avLst/>
                <a:gdLst>
                  <a:gd name="connsiteX0" fmla="*/ 29904 w 34589"/>
                  <a:gd name="connsiteY0" fmla="*/ 638 h 26153"/>
                  <a:gd name="connsiteX1" fmla="*/ 26666 w 34589"/>
                  <a:gd name="connsiteY1" fmla="*/ 297 h 26153"/>
                  <a:gd name="connsiteX2" fmla="*/ 16954 w 34589"/>
                  <a:gd name="connsiteY2" fmla="*/ 5750 h 26153"/>
                  <a:gd name="connsiteX3" fmla="*/ 14739 w 34589"/>
                  <a:gd name="connsiteY3" fmla="*/ 6942 h 26153"/>
                  <a:gd name="connsiteX4" fmla="*/ 4004 w 34589"/>
                  <a:gd name="connsiteY4" fmla="*/ 13417 h 26153"/>
                  <a:gd name="connsiteX5" fmla="*/ 1278 w 34589"/>
                  <a:gd name="connsiteY5" fmla="*/ 14951 h 26153"/>
                  <a:gd name="connsiteX6" fmla="*/ 1278 w 34589"/>
                  <a:gd name="connsiteY6" fmla="*/ 22278 h 26153"/>
                  <a:gd name="connsiteX7" fmla="*/ 4345 w 34589"/>
                  <a:gd name="connsiteY7" fmla="*/ 25515 h 26153"/>
                  <a:gd name="connsiteX8" fmla="*/ 7582 w 34589"/>
                  <a:gd name="connsiteY8" fmla="*/ 25856 h 26153"/>
                  <a:gd name="connsiteX9" fmla="*/ 8434 w 34589"/>
                  <a:gd name="connsiteY9" fmla="*/ 25345 h 26153"/>
                  <a:gd name="connsiteX10" fmla="*/ 15080 w 34589"/>
                  <a:gd name="connsiteY10" fmla="*/ 21596 h 26153"/>
                  <a:gd name="connsiteX11" fmla="*/ 17295 w 34589"/>
                  <a:gd name="connsiteY11" fmla="*/ 20403 h 26153"/>
                  <a:gd name="connsiteX12" fmla="*/ 33312 w 34589"/>
                  <a:gd name="connsiteY12" fmla="*/ 11373 h 26153"/>
                  <a:gd name="connsiteX13" fmla="*/ 33312 w 34589"/>
                  <a:gd name="connsiteY13" fmla="*/ 4046 h 26153"/>
                  <a:gd name="connsiteX14" fmla="*/ 29904 w 34589"/>
                  <a:gd name="connsiteY14" fmla="*/ 638 h 26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6153">
                    <a:moveTo>
                      <a:pt x="29904" y="638"/>
                    </a:moveTo>
                    <a:cubicBezTo>
                      <a:pt x="28711" y="-44"/>
                      <a:pt x="27689" y="-214"/>
                      <a:pt x="26666" y="297"/>
                    </a:cubicBezTo>
                    <a:lnTo>
                      <a:pt x="16954" y="5750"/>
                    </a:lnTo>
                    <a:lnTo>
                      <a:pt x="14739" y="6942"/>
                    </a:lnTo>
                    <a:lnTo>
                      <a:pt x="4004" y="13417"/>
                    </a:lnTo>
                    <a:lnTo>
                      <a:pt x="1278" y="14951"/>
                    </a:lnTo>
                    <a:cubicBezTo>
                      <a:pt x="-426" y="15973"/>
                      <a:pt x="-426" y="19211"/>
                      <a:pt x="1278" y="22278"/>
                    </a:cubicBezTo>
                    <a:cubicBezTo>
                      <a:pt x="2130" y="23811"/>
                      <a:pt x="3323" y="25004"/>
                      <a:pt x="4345" y="25515"/>
                    </a:cubicBezTo>
                    <a:cubicBezTo>
                      <a:pt x="5538" y="26197"/>
                      <a:pt x="6560" y="26367"/>
                      <a:pt x="7582" y="25856"/>
                    </a:cubicBezTo>
                    <a:lnTo>
                      <a:pt x="8434" y="25345"/>
                    </a:lnTo>
                    <a:lnTo>
                      <a:pt x="15080" y="21596"/>
                    </a:lnTo>
                    <a:lnTo>
                      <a:pt x="17295" y="20403"/>
                    </a:lnTo>
                    <a:lnTo>
                      <a:pt x="33312" y="11373"/>
                    </a:lnTo>
                    <a:cubicBezTo>
                      <a:pt x="35015" y="10350"/>
                      <a:pt x="35015" y="7113"/>
                      <a:pt x="33312" y="4046"/>
                    </a:cubicBezTo>
                    <a:cubicBezTo>
                      <a:pt x="32289" y="2512"/>
                      <a:pt x="31096" y="1320"/>
                      <a:pt x="29904" y="638"/>
                    </a:cubicBezTo>
                  </a:path>
                </a:pathLst>
              </a:custGeom>
              <a:solidFill>
                <a:srgbClr val="BBD80A"/>
              </a:solidFill>
              <a:ln w="16828" cap="flat">
                <a:noFill/>
                <a:prstDash val="solid"/>
                <a:miter/>
              </a:ln>
            </p:spPr>
            <p:txBody>
              <a:bodyPr rtlCol="0" anchor="ctr"/>
              <a:lstStyle/>
              <a:p>
                <a:endParaRPr lang="en-IN"/>
              </a:p>
            </p:txBody>
          </p:sp>
          <p:sp>
            <p:nvSpPr>
              <p:cNvPr id="4182" name="Freeform: Shape 4181">
                <a:extLst>
                  <a:ext uri="{FF2B5EF4-FFF2-40B4-BE49-F238E27FC236}">
                    <a16:creationId xmlns:a16="http://schemas.microsoft.com/office/drawing/2014/main" id="{4EB23BD2-0908-4468-942A-DC92C4736D43}"/>
                  </a:ext>
                </a:extLst>
              </p:cNvPr>
              <p:cNvSpPr/>
              <p:nvPr/>
            </p:nvSpPr>
            <p:spPr>
              <a:xfrm>
                <a:off x="6244559" y="4546468"/>
                <a:ext cx="251498" cy="163746"/>
              </a:xfrm>
              <a:custGeom>
                <a:avLst/>
                <a:gdLst>
                  <a:gd name="connsiteX0" fmla="*/ 251498 w 251498"/>
                  <a:gd name="connsiteY0" fmla="*/ 145174 h 163746"/>
                  <a:gd name="connsiteX1" fmla="*/ 170 w 251498"/>
                  <a:gd name="connsiteY1" fmla="*/ 0 h 163746"/>
                  <a:gd name="connsiteX2" fmla="*/ 0 w 251498"/>
                  <a:gd name="connsiteY2" fmla="*/ 18573 h 163746"/>
                  <a:gd name="connsiteX3" fmla="*/ 25149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170" y="0"/>
                    </a:lnTo>
                    <a:lnTo>
                      <a:pt x="0" y="18573"/>
                    </a:lnTo>
                    <a:lnTo>
                      <a:pt x="25149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83" name="Freeform: Shape 4182">
                <a:extLst>
                  <a:ext uri="{FF2B5EF4-FFF2-40B4-BE49-F238E27FC236}">
                    <a16:creationId xmlns:a16="http://schemas.microsoft.com/office/drawing/2014/main" id="{30A42D68-69DE-4D0C-8F08-1BDDF1C18EEF}"/>
                  </a:ext>
                </a:extLst>
              </p:cNvPr>
              <p:cNvSpPr/>
              <p:nvPr/>
            </p:nvSpPr>
            <p:spPr>
              <a:xfrm>
                <a:off x="6174017" y="4492794"/>
                <a:ext cx="39019" cy="67134"/>
              </a:xfrm>
              <a:custGeom>
                <a:avLst/>
                <a:gdLst>
                  <a:gd name="connsiteX0" fmla="*/ 39020 w 39019"/>
                  <a:gd name="connsiteY0" fmla="*/ 22492 h 67134"/>
                  <a:gd name="connsiteX1" fmla="*/ 170 w 39019"/>
                  <a:gd name="connsiteY1" fmla="*/ 0 h 67134"/>
                  <a:gd name="connsiteX2" fmla="*/ 0 w 39019"/>
                  <a:gd name="connsiteY2" fmla="*/ 44643 h 67134"/>
                  <a:gd name="connsiteX3" fmla="*/ 38849 w 39019"/>
                  <a:gd name="connsiteY3" fmla="*/ 67134 h 67134"/>
                  <a:gd name="connsiteX4" fmla="*/ 39020 w 39019"/>
                  <a:gd name="connsiteY4" fmla="*/ 49414 h 67134"/>
                  <a:gd name="connsiteX5" fmla="*/ 36805 w 39019"/>
                  <a:gd name="connsiteY5" fmla="*/ 50606 h 67134"/>
                  <a:gd name="connsiteX6" fmla="*/ 36805 w 39019"/>
                  <a:gd name="connsiteY6" fmla="*/ 63386 h 67134"/>
                  <a:gd name="connsiteX7" fmla="*/ 2215 w 39019"/>
                  <a:gd name="connsiteY7" fmla="*/ 43450 h 67134"/>
                  <a:gd name="connsiteX8" fmla="*/ 2385 w 39019"/>
                  <a:gd name="connsiteY8" fmla="*/ 3749 h 67134"/>
                  <a:gd name="connsiteX9" fmla="*/ 36805 w 39019"/>
                  <a:gd name="connsiteY9" fmla="*/ 23684 h 67134"/>
                  <a:gd name="connsiteX10" fmla="*/ 36805 w 39019"/>
                  <a:gd name="connsiteY10" fmla="*/ 36123 h 67134"/>
                  <a:gd name="connsiteX11" fmla="*/ 39020 w 39019"/>
                  <a:gd name="connsiteY11" fmla="*/ 34930 h 67134"/>
                  <a:gd name="connsiteX12" fmla="*/ 39020 w 39019"/>
                  <a:gd name="connsiteY12" fmla="*/ 22492 h 6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19" h="67134">
                    <a:moveTo>
                      <a:pt x="39020" y="22492"/>
                    </a:moveTo>
                    <a:lnTo>
                      <a:pt x="170" y="0"/>
                    </a:lnTo>
                    <a:lnTo>
                      <a:pt x="0" y="44643"/>
                    </a:lnTo>
                    <a:lnTo>
                      <a:pt x="38849" y="67134"/>
                    </a:lnTo>
                    <a:lnTo>
                      <a:pt x="39020" y="49414"/>
                    </a:lnTo>
                    <a:lnTo>
                      <a:pt x="36805" y="50606"/>
                    </a:lnTo>
                    <a:lnTo>
                      <a:pt x="36805" y="63386"/>
                    </a:lnTo>
                    <a:lnTo>
                      <a:pt x="2215" y="43450"/>
                    </a:lnTo>
                    <a:lnTo>
                      <a:pt x="2385" y="3749"/>
                    </a:lnTo>
                    <a:lnTo>
                      <a:pt x="36805" y="23684"/>
                    </a:lnTo>
                    <a:lnTo>
                      <a:pt x="36805" y="36123"/>
                    </a:lnTo>
                    <a:lnTo>
                      <a:pt x="39020" y="34930"/>
                    </a:lnTo>
                    <a:lnTo>
                      <a:pt x="39020" y="22492"/>
                    </a:lnTo>
                  </a:path>
                </a:pathLst>
              </a:custGeom>
              <a:solidFill>
                <a:srgbClr val="6D6D6B"/>
              </a:solidFill>
              <a:ln w="16828" cap="flat">
                <a:noFill/>
                <a:prstDash val="solid"/>
                <a:miter/>
              </a:ln>
            </p:spPr>
            <p:txBody>
              <a:bodyPr rtlCol="0" anchor="ctr"/>
              <a:lstStyle/>
              <a:p>
                <a:endParaRPr lang="en-IN"/>
              </a:p>
            </p:txBody>
          </p:sp>
          <p:sp>
            <p:nvSpPr>
              <p:cNvPr id="4184" name="Freeform: Shape 4183">
                <a:extLst>
                  <a:ext uri="{FF2B5EF4-FFF2-40B4-BE49-F238E27FC236}">
                    <a16:creationId xmlns:a16="http://schemas.microsoft.com/office/drawing/2014/main" id="{2BFD6F56-BAC2-44E8-AF5C-B3CB31562042}"/>
                  </a:ext>
                </a:extLst>
              </p:cNvPr>
              <p:cNvSpPr/>
              <p:nvPr/>
            </p:nvSpPr>
            <p:spPr>
              <a:xfrm>
                <a:off x="6183985" y="4517204"/>
                <a:ext cx="20191" cy="31390"/>
              </a:xfrm>
              <a:custGeom>
                <a:avLst/>
                <a:gdLst>
                  <a:gd name="connsiteX0" fmla="*/ 4515 w 20191"/>
                  <a:gd name="connsiteY0" fmla="*/ 638 h 31390"/>
                  <a:gd name="connsiteX1" fmla="*/ 1278 w 20191"/>
                  <a:gd name="connsiteY1" fmla="*/ 297 h 31390"/>
                  <a:gd name="connsiteX2" fmla="*/ 1278 w 20191"/>
                  <a:gd name="connsiteY2" fmla="*/ 7454 h 31390"/>
                  <a:gd name="connsiteX3" fmla="*/ 12865 w 20191"/>
                  <a:gd name="connsiteY3" fmla="*/ 27560 h 31390"/>
                  <a:gd name="connsiteX4" fmla="*/ 15932 w 20191"/>
                  <a:gd name="connsiteY4" fmla="*/ 30797 h 31390"/>
                  <a:gd name="connsiteX5" fmla="*/ 19169 w 20191"/>
                  <a:gd name="connsiteY5" fmla="*/ 31138 h 31390"/>
                  <a:gd name="connsiteX6" fmla="*/ 20191 w 20191"/>
                  <a:gd name="connsiteY6" fmla="*/ 30116 h 31390"/>
                  <a:gd name="connsiteX7" fmla="*/ 19339 w 20191"/>
                  <a:gd name="connsiteY7" fmla="*/ 30627 h 31390"/>
                  <a:gd name="connsiteX8" fmla="*/ 16102 w 20191"/>
                  <a:gd name="connsiteY8" fmla="*/ 30286 h 31390"/>
                  <a:gd name="connsiteX9" fmla="*/ 13035 w 20191"/>
                  <a:gd name="connsiteY9" fmla="*/ 27049 h 31390"/>
                  <a:gd name="connsiteX10" fmla="*/ 13035 w 20191"/>
                  <a:gd name="connsiteY10" fmla="*/ 19892 h 31390"/>
                  <a:gd name="connsiteX11" fmla="*/ 15761 w 20191"/>
                  <a:gd name="connsiteY11" fmla="*/ 18359 h 31390"/>
                  <a:gd name="connsiteX12" fmla="*/ 7582 w 20191"/>
                  <a:gd name="connsiteY12" fmla="*/ 3875 h 31390"/>
                  <a:gd name="connsiteX13" fmla="*/ 4515 w 20191"/>
                  <a:gd name="connsiteY13" fmla="*/ 638 h 31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191" h="31390">
                    <a:moveTo>
                      <a:pt x="4515" y="638"/>
                    </a:moveTo>
                    <a:cubicBezTo>
                      <a:pt x="3323" y="-44"/>
                      <a:pt x="2300" y="-214"/>
                      <a:pt x="1278" y="297"/>
                    </a:cubicBezTo>
                    <a:cubicBezTo>
                      <a:pt x="-426" y="1320"/>
                      <a:pt x="-426" y="4557"/>
                      <a:pt x="1278" y="7454"/>
                    </a:cubicBezTo>
                    <a:lnTo>
                      <a:pt x="12865" y="27560"/>
                    </a:lnTo>
                    <a:cubicBezTo>
                      <a:pt x="13717" y="29093"/>
                      <a:pt x="14909" y="30286"/>
                      <a:pt x="15932" y="30797"/>
                    </a:cubicBezTo>
                    <a:cubicBezTo>
                      <a:pt x="16954" y="31309"/>
                      <a:pt x="18147" y="31649"/>
                      <a:pt x="19169" y="31138"/>
                    </a:cubicBezTo>
                    <a:cubicBezTo>
                      <a:pt x="19510" y="30968"/>
                      <a:pt x="19851" y="30457"/>
                      <a:pt x="20191" y="30116"/>
                    </a:cubicBezTo>
                    <a:lnTo>
                      <a:pt x="19339" y="30627"/>
                    </a:lnTo>
                    <a:cubicBezTo>
                      <a:pt x="18487" y="31138"/>
                      <a:pt x="17295" y="30968"/>
                      <a:pt x="16102" y="30286"/>
                    </a:cubicBezTo>
                    <a:cubicBezTo>
                      <a:pt x="14909" y="29605"/>
                      <a:pt x="13887" y="28412"/>
                      <a:pt x="13035" y="27049"/>
                    </a:cubicBezTo>
                    <a:cubicBezTo>
                      <a:pt x="11331" y="23982"/>
                      <a:pt x="11331" y="20744"/>
                      <a:pt x="13035" y="19892"/>
                    </a:cubicBezTo>
                    <a:lnTo>
                      <a:pt x="15761" y="18359"/>
                    </a:lnTo>
                    <a:lnTo>
                      <a:pt x="7582" y="3875"/>
                    </a:lnTo>
                    <a:cubicBezTo>
                      <a:pt x="6730" y="2342"/>
                      <a:pt x="5538" y="1320"/>
                      <a:pt x="4515" y="638"/>
                    </a:cubicBezTo>
                  </a:path>
                </a:pathLst>
              </a:custGeom>
              <a:solidFill>
                <a:srgbClr val="BBD80A"/>
              </a:solidFill>
              <a:ln w="16828" cap="flat">
                <a:noFill/>
                <a:prstDash val="solid"/>
                <a:miter/>
              </a:ln>
            </p:spPr>
            <p:txBody>
              <a:bodyPr rtlCol="0" anchor="ctr"/>
              <a:lstStyle/>
              <a:p>
                <a:endParaRPr lang="en-IN"/>
              </a:p>
            </p:txBody>
          </p:sp>
          <p:sp>
            <p:nvSpPr>
              <p:cNvPr id="4185" name="Freeform: Shape 4184">
                <a:extLst>
                  <a:ext uri="{FF2B5EF4-FFF2-40B4-BE49-F238E27FC236}">
                    <a16:creationId xmlns:a16="http://schemas.microsoft.com/office/drawing/2014/main" id="{838805DF-E9A4-4564-A733-24DBA75ED7A0}"/>
                  </a:ext>
                </a:extLst>
              </p:cNvPr>
              <p:cNvSpPr/>
              <p:nvPr/>
            </p:nvSpPr>
            <p:spPr>
              <a:xfrm>
                <a:off x="6195742" y="4521975"/>
                <a:ext cx="34589" cy="25982"/>
              </a:xfrm>
              <a:custGeom>
                <a:avLst/>
                <a:gdLst>
                  <a:gd name="connsiteX0" fmla="*/ 30074 w 34589"/>
                  <a:gd name="connsiteY0" fmla="*/ 638 h 25982"/>
                  <a:gd name="connsiteX1" fmla="*/ 26837 w 34589"/>
                  <a:gd name="connsiteY1" fmla="*/ 297 h 25982"/>
                  <a:gd name="connsiteX2" fmla="*/ 17124 w 34589"/>
                  <a:gd name="connsiteY2" fmla="*/ 5750 h 25982"/>
                  <a:gd name="connsiteX3" fmla="*/ 14909 w 34589"/>
                  <a:gd name="connsiteY3" fmla="*/ 6942 h 25982"/>
                  <a:gd name="connsiteX4" fmla="*/ 4004 w 34589"/>
                  <a:gd name="connsiteY4" fmla="*/ 13247 h 25982"/>
                  <a:gd name="connsiteX5" fmla="*/ 1278 w 34589"/>
                  <a:gd name="connsiteY5" fmla="*/ 14951 h 25982"/>
                  <a:gd name="connsiteX6" fmla="*/ 1278 w 34589"/>
                  <a:gd name="connsiteY6" fmla="*/ 22107 h 25982"/>
                  <a:gd name="connsiteX7" fmla="*/ 4345 w 34589"/>
                  <a:gd name="connsiteY7" fmla="*/ 25345 h 25982"/>
                  <a:gd name="connsiteX8" fmla="*/ 7582 w 34589"/>
                  <a:gd name="connsiteY8" fmla="*/ 25686 h 25982"/>
                  <a:gd name="connsiteX9" fmla="*/ 8434 w 34589"/>
                  <a:gd name="connsiteY9" fmla="*/ 25174 h 25982"/>
                  <a:gd name="connsiteX10" fmla="*/ 15080 w 34589"/>
                  <a:gd name="connsiteY10" fmla="*/ 21426 h 25982"/>
                  <a:gd name="connsiteX11" fmla="*/ 17295 w 34589"/>
                  <a:gd name="connsiteY11" fmla="*/ 20233 h 25982"/>
                  <a:gd name="connsiteX12" fmla="*/ 33312 w 34589"/>
                  <a:gd name="connsiteY12" fmla="*/ 11202 h 25982"/>
                  <a:gd name="connsiteX13" fmla="*/ 33312 w 34589"/>
                  <a:gd name="connsiteY13" fmla="*/ 3875 h 25982"/>
                  <a:gd name="connsiteX14" fmla="*/ 30074 w 34589"/>
                  <a:gd name="connsiteY14" fmla="*/ 638 h 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5982">
                    <a:moveTo>
                      <a:pt x="30074" y="638"/>
                    </a:moveTo>
                    <a:cubicBezTo>
                      <a:pt x="28881" y="-44"/>
                      <a:pt x="27859" y="-214"/>
                      <a:pt x="26837" y="297"/>
                    </a:cubicBezTo>
                    <a:lnTo>
                      <a:pt x="17124" y="5750"/>
                    </a:lnTo>
                    <a:lnTo>
                      <a:pt x="14909" y="6942"/>
                    </a:lnTo>
                    <a:lnTo>
                      <a:pt x="4004" y="13247"/>
                    </a:lnTo>
                    <a:lnTo>
                      <a:pt x="1278" y="14951"/>
                    </a:lnTo>
                    <a:cubicBezTo>
                      <a:pt x="-426" y="15973"/>
                      <a:pt x="-426" y="19211"/>
                      <a:pt x="1278" y="22107"/>
                    </a:cubicBezTo>
                    <a:cubicBezTo>
                      <a:pt x="2130" y="23641"/>
                      <a:pt x="3323" y="24834"/>
                      <a:pt x="4345" y="25345"/>
                    </a:cubicBezTo>
                    <a:cubicBezTo>
                      <a:pt x="5538" y="26026"/>
                      <a:pt x="6560" y="26197"/>
                      <a:pt x="7582" y="25686"/>
                    </a:cubicBezTo>
                    <a:lnTo>
                      <a:pt x="8434" y="25174"/>
                    </a:lnTo>
                    <a:lnTo>
                      <a:pt x="15080" y="21426"/>
                    </a:lnTo>
                    <a:lnTo>
                      <a:pt x="17295" y="20233"/>
                    </a:lnTo>
                    <a:lnTo>
                      <a:pt x="33312" y="11202"/>
                    </a:lnTo>
                    <a:cubicBezTo>
                      <a:pt x="35015" y="10180"/>
                      <a:pt x="35015" y="6942"/>
                      <a:pt x="33312" y="3875"/>
                    </a:cubicBezTo>
                    <a:cubicBezTo>
                      <a:pt x="32289" y="2342"/>
                      <a:pt x="31267" y="1320"/>
                      <a:pt x="30074" y="638"/>
                    </a:cubicBezTo>
                  </a:path>
                </a:pathLst>
              </a:custGeom>
              <a:solidFill>
                <a:srgbClr val="BBD80A"/>
              </a:solidFill>
              <a:ln w="16828" cap="flat">
                <a:noFill/>
                <a:prstDash val="solid"/>
                <a:miter/>
              </a:ln>
            </p:spPr>
            <p:txBody>
              <a:bodyPr rtlCol="0" anchor="ctr"/>
              <a:lstStyle/>
              <a:p>
                <a:endParaRPr lang="en-IN"/>
              </a:p>
            </p:txBody>
          </p:sp>
          <p:sp>
            <p:nvSpPr>
              <p:cNvPr id="4186" name="Freeform: Shape 4185">
                <a:extLst>
                  <a:ext uri="{FF2B5EF4-FFF2-40B4-BE49-F238E27FC236}">
                    <a16:creationId xmlns:a16="http://schemas.microsoft.com/office/drawing/2014/main" id="{7FDB6E7C-CD2B-4875-9EEC-55B16F9DF1D7}"/>
                  </a:ext>
                </a:extLst>
              </p:cNvPr>
              <p:cNvSpPr/>
              <p:nvPr/>
            </p:nvSpPr>
            <p:spPr>
              <a:xfrm>
                <a:off x="6244388" y="4624166"/>
                <a:ext cx="251498" cy="163746"/>
              </a:xfrm>
              <a:custGeom>
                <a:avLst/>
                <a:gdLst>
                  <a:gd name="connsiteX0" fmla="*/ 251498 w 251498"/>
                  <a:gd name="connsiteY0" fmla="*/ 145174 h 163746"/>
                  <a:gd name="connsiteX1" fmla="*/ 0 w 251498"/>
                  <a:gd name="connsiteY1" fmla="*/ 0 h 163746"/>
                  <a:gd name="connsiteX2" fmla="*/ 0 w 251498"/>
                  <a:gd name="connsiteY2" fmla="*/ 18573 h 163746"/>
                  <a:gd name="connsiteX3" fmla="*/ 25149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0" y="0"/>
                    </a:lnTo>
                    <a:lnTo>
                      <a:pt x="0" y="18573"/>
                    </a:lnTo>
                    <a:lnTo>
                      <a:pt x="25149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87" name="Freeform: Shape 4186">
                <a:extLst>
                  <a:ext uri="{FF2B5EF4-FFF2-40B4-BE49-F238E27FC236}">
                    <a16:creationId xmlns:a16="http://schemas.microsoft.com/office/drawing/2014/main" id="{1749E6BF-87C0-47A9-AADA-6DF5D0C23F08}"/>
                  </a:ext>
                </a:extLst>
              </p:cNvPr>
              <p:cNvSpPr/>
              <p:nvPr/>
            </p:nvSpPr>
            <p:spPr>
              <a:xfrm>
                <a:off x="6173846" y="4570493"/>
                <a:ext cx="39019" cy="66963"/>
              </a:xfrm>
              <a:custGeom>
                <a:avLst/>
                <a:gdLst>
                  <a:gd name="connsiteX0" fmla="*/ 39020 w 39019"/>
                  <a:gd name="connsiteY0" fmla="*/ 22321 h 66963"/>
                  <a:gd name="connsiteX1" fmla="*/ 170 w 39019"/>
                  <a:gd name="connsiteY1" fmla="*/ 0 h 66963"/>
                  <a:gd name="connsiteX2" fmla="*/ 0 w 39019"/>
                  <a:gd name="connsiteY2" fmla="*/ 44643 h 66963"/>
                  <a:gd name="connsiteX3" fmla="*/ 38849 w 39019"/>
                  <a:gd name="connsiteY3" fmla="*/ 66964 h 66963"/>
                  <a:gd name="connsiteX4" fmla="*/ 38849 w 39019"/>
                  <a:gd name="connsiteY4" fmla="*/ 49414 h 66963"/>
                  <a:gd name="connsiteX5" fmla="*/ 36805 w 39019"/>
                  <a:gd name="connsiteY5" fmla="*/ 50606 h 66963"/>
                  <a:gd name="connsiteX6" fmla="*/ 36634 w 39019"/>
                  <a:gd name="connsiteY6" fmla="*/ 63386 h 66963"/>
                  <a:gd name="connsiteX7" fmla="*/ 2215 w 39019"/>
                  <a:gd name="connsiteY7" fmla="*/ 43450 h 66963"/>
                  <a:gd name="connsiteX8" fmla="*/ 2215 w 39019"/>
                  <a:gd name="connsiteY8" fmla="*/ 3749 h 66963"/>
                  <a:gd name="connsiteX9" fmla="*/ 36805 w 39019"/>
                  <a:gd name="connsiteY9" fmla="*/ 23684 h 66963"/>
                  <a:gd name="connsiteX10" fmla="*/ 36805 w 39019"/>
                  <a:gd name="connsiteY10" fmla="*/ 36123 h 66963"/>
                  <a:gd name="connsiteX11" fmla="*/ 39020 w 39019"/>
                  <a:gd name="connsiteY11" fmla="*/ 34930 h 66963"/>
                  <a:gd name="connsiteX12" fmla="*/ 39020 w 39019"/>
                  <a:gd name="connsiteY12" fmla="*/ 22321 h 66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19" h="66963">
                    <a:moveTo>
                      <a:pt x="39020" y="22321"/>
                    </a:moveTo>
                    <a:lnTo>
                      <a:pt x="170" y="0"/>
                    </a:lnTo>
                    <a:lnTo>
                      <a:pt x="0" y="44643"/>
                    </a:lnTo>
                    <a:lnTo>
                      <a:pt x="38849" y="66964"/>
                    </a:lnTo>
                    <a:lnTo>
                      <a:pt x="38849" y="49414"/>
                    </a:lnTo>
                    <a:lnTo>
                      <a:pt x="36805" y="50606"/>
                    </a:lnTo>
                    <a:lnTo>
                      <a:pt x="36634" y="63386"/>
                    </a:lnTo>
                    <a:lnTo>
                      <a:pt x="2215" y="43450"/>
                    </a:lnTo>
                    <a:lnTo>
                      <a:pt x="2215" y="3749"/>
                    </a:lnTo>
                    <a:lnTo>
                      <a:pt x="36805" y="23684"/>
                    </a:lnTo>
                    <a:lnTo>
                      <a:pt x="36805" y="36123"/>
                    </a:lnTo>
                    <a:lnTo>
                      <a:pt x="39020" y="34930"/>
                    </a:lnTo>
                    <a:lnTo>
                      <a:pt x="39020" y="22321"/>
                    </a:lnTo>
                  </a:path>
                </a:pathLst>
              </a:custGeom>
              <a:solidFill>
                <a:srgbClr val="6D6D6B"/>
              </a:solidFill>
              <a:ln w="16828" cap="flat">
                <a:noFill/>
                <a:prstDash val="solid"/>
                <a:miter/>
              </a:ln>
            </p:spPr>
            <p:txBody>
              <a:bodyPr rtlCol="0" anchor="ctr"/>
              <a:lstStyle/>
              <a:p>
                <a:endParaRPr lang="en-IN"/>
              </a:p>
            </p:txBody>
          </p:sp>
          <p:sp>
            <p:nvSpPr>
              <p:cNvPr id="4188" name="Freeform: Shape 4187">
                <a:extLst>
                  <a:ext uri="{FF2B5EF4-FFF2-40B4-BE49-F238E27FC236}">
                    <a16:creationId xmlns:a16="http://schemas.microsoft.com/office/drawing/2014/main" id="{126F041F-24EB-4D1A-91FF-6FEB724793B4}"/>
                  </a:ext>
                </a:extLst>
              </p:cNvPr>
              <p:cNvSpPr/>
              <p:nvPr/>
            </p:nvSpPr>
            <p:spPr>
              <a:xfrm>
                <a:off x="6183644" y="4594732"/>
                <a:ext cx="20021" cy="31390"/>
              </a:xfrm>
              <a:custGeom>
                <a:avLst/>
                <a:gdLst>
                  <a:gd name="connsiteX0" fmla="*/ 4515 w 20021"/>
                  <a:gd name="connsiteY0" fmla="*/ 638 h 31390"/>
                  <a:gd name="connsiteX1" fmla="*/ 1278 w 20021"/>
                  <a:gd name="connsiteY1" fmla="*/ 297 h 31390"/>
                  <a:gd name="connsiteX2" fmla="*/ 1278 w 20021"/>
                  <a:gd name="connsiteY2" fmla="*/ 7624 h 31390"/>
                  <a:gd name="connsiteX3" fmla="*/ 12865 w 20021"/>
                  <a:gd name="connsiteY3" fmla="*/ 27560 h 31390"/>
                  <a:gd name="connsiteX4" fmla="*/ 15932 w 20021"/>
                  <a:gd name="connsiteY4" fmla="*/ 30797 h 31390"/>
                  <a:gd name="connsiteX5" fmla="*/ 19169 w 20021"/>
                  <a:gd name="connsiteY5" fmla="*/ 31138 h 31390"/>
                  <a:gd name="connsiteX6" fmla="*/ 20021 w 20021"/>
                  <a:gd name="connsiteY6" fmla="*/ 30116 h 31390"/>
                  <a:gd name="connsiteX7" fmla="*/ 19339 w 20021"/>
                  <a:gd name="connsiteY7" fmla="*/ 30627 h 31390"/>
                  <a:gd name="connsiteX8" fmla="*/ 16102 w 20021"/>
                  <a:gd name="connsiteY8" fmla="*/ 30286 h 31390"/>
                  <a:gd name="connsiteX9" fmla="*/ 13035 w 20021"/>
                  <a:gd name="connsiteY9" fmla="*/ 27049 h 31390"/>
                  <a:gd name="connsiteX10" fmla="*/ 13035 w 20021"/>
                  <a:gd name="connsiteY10" fmla="*/ 19722 h 31390"/>
                  <a:gd name="connsiteX11" fmla="*/ 15761 w 20021"/>
                  <a:gd name="connsiteY11" fmla="*/ 18188 h 31390"/>
                  <a:gd name="connsiteX12" fmla="*/ 7582 w 20021"/>
                  <a:gd name="connsiteY12" fmla="*/ 4046 h 31390"/>
                  <a:gd name="connsiteX13" fmla="*/ 4515 w 20021"/>
                  <a:gd name="connsiteY13" fmla="*/ 638 h 31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21" h="31390">
                    <a:moveTo>
                      <a:pt x="4515" y="638"/>
                    </a:moveTo>
                    <a:cubicBezTo>
                      <a:pt x="3323" y="-44"/>
                      <a:pt x="2300" y="-214"/>
                      <a:pt x="1278" y="297"/>
                    </a:cubicBezTo>
                    <a:cubicBezTo>
                      <a:pt x="-426" y="1320"/>
                      <a:pt x="-426" y="4557"/>
                      <a:pt x="1278" y="7624"/>
                    </a:cubicBezTo>
                    <a:lnTo>
                      <a:pt x="12865" y="27560"/>
                    </a:lnTo>
                    <a:cubicBezTo>
                      <a:pt x="13717" y="29093"/>
                      <a:pt x="14909" y="30286"/>
                      <a:pt x="15932" y="30797"/>
                    </a:cubicBezTo>
                    <a:cubicBezTo>
                      <a:pt x="16954" y="31309"/>
                      <a:pt x="18147" y="31649"/>
                      <a:pt x="19169" y="31138"/>
                    </a:cubicBezTo>
                    <a:cubicBezTo>
                      <a:pt x="19510" y="30968"/>
                      <a:pt x="19851" y="30627"/>
                      <a:pt x="20021" y="3011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901" y="2512"/>
                      <a:pt x="5708" y="1320"/>
                      <a:pt x="4515" y="638"/>
                    </a:cubicBezTo>
                  </a:path>
                </a:pathLst>
              </a:custGeom>
              <a:solidFill>
                <a:srgbClr val="BBD80A"/>
              </a:solidFill>
              <a:ln w="16828" cap="flat">
                <a:noFill/>
                <a:prstDash val="solid"/>
                <a:miter/>
              </a:ln>
            </p:spPr>
            <p:txBody>
              <a:bodyPr rtlCol="0" anchor="ctr"/>
              <a:lstStyle/>
              <a:p>
                <a:endParaRPr lang="en-IN"/>
              </a:p>
            </p:txBody>
          </p:sp>
          <p:sp>
            <p:nvSpPr>
              <p:cNvPr id="4189" name="Freeform: Shape 4188">
                <a:extLst>
                  <a:ext uri="{FF2B5EF4-FFF2-40B4-BE49-F238E27FC236}">
                    <a16:creationId xmlns:a16="http://schemas.microsoft.com/office/drawing/2014/main" id="{853BCBB1-7407-402A-BE38-B8C83FF96D51}"/>
                  </a:ext>
                </a:extLst>
              </p:cNvPr>
              <p:cNvSpPr/>
              <p:nvPr/>
            </p:nvSpPr>
            <p:spPr>
              <a:xfrm>
                <a:off x="6195401" y="4599503"/>
                <a:ext cx="34589" cy="25982"/>
              </a:xfrm>
              <a:custGeom>
                <a:avLst/>
                <a:gdLst>
                  <a:gd name="connsiteX0" fmla="*/ 30245 w 34589"/>
                  <a:gd name="connsiteY0" fmla="*/ 638 h 25982"/>
                  <a:gd name="connsiteX1" fmla="*/ 27007 w 34589"/>
                  <a:gd name="connsiteY1" fmla="*/ 297 h 25982"/>
                  <a:gd name="connsiteX2" fmla="*/ 17295 w 34589"/>
                  <a:gd name="connsiteY2" fmla="*/ 5750 h 25982"/>
                  <a:gd name="connsiteX3" fmla="*/ 15080 w 34589"/>
                  <a:gd name="connsiteY3" fmla="*/ 6942 h 25982"/>
                  <a:gd name="connsiteX4" fmla="*/ 4004 w 34589"/>
                  <a:gd name="connsiteY4" fmla="*/ 13247 h 25982"/>
                  <a:gd name="connsiteX5" fmla="*/ 1278 w 34589"/>
                  <a:gd name="connsiteY5" fmla="*/ 14780 h 25982"/>
                  <a:gd name="connsiteX6" fmla="*/ 1278 w 34589"/>
                  <a:gd name="connsiteY6" fmla="*/ 22107 h 25982"/>
                  <a:gd name="connsiteX7" fmla="*/ 4345 w 34589"/>
                  <a:gd name="connsiteY7" fmla="*/ 25345 h 25982"/>
                  <a:gd name="connsiteX8" fmla="*/ 7582 w 34589"/>
                  <a:gd name="connsiteY8" fmla="*/ 25686 h 25982"/>
                  <a:gd name="connsiteX9" fmla="*/ 8264 w 34589"/>
                  <a:gd name="connsiteY9" fmla="*/ 25174 h 25982"/>
                  <a:gd name="connsiteX10" fmla="*/ 15080 w 34589"/>
                  <a:gd name="connsiteY10" fmla="*/ 21255 h 25982"/>
                  <a:gd name="connsiteX11" fmla="*/ 17295 w 34589"/>
                  <a:gd name="connsiteY11" fmla="*/ 20063 h 25982"/>
                  <a:gd name="connsiteX12" fmla="*/ 33312 w 34589"/>
                  <a:gd name="connsiteY12" fmla="*/ 10861 h 25982"/>
                  <a:gd name="connsiteX13" fmla="*/ 33312 w 34589"/>
                  <a:gd name="connsiteY13" fmla="*/ 3535 h 25982"/>
                  <a:gd name="connsiteX14" fmla="*/ 30245 w 34589"/>
                  <a:gd name="connsiteY14" fmla="*/ 638 h 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5982">
                    <a:moveTo>
                      <a:pt x="30245" y="638"/>
                    </a:moveTo>
                    <a:cubicBezTo>
                      <a:pt x="29052" y="-44"/>
                      <a:pt x="28029" y="-214"/>
                      <a:pt x="27007" y="297"/>
                    </a:cubicBezTo>
                    <a:lnTo>
                      <a:pt x="17295" y="5750"/>
                    </a:lnTo>
                    <a:lnTo>
                      <a:pt x="15080" y="6942"/>
                    </a:lnTo>
                    <a:lnTo>
                      <a:pt x="4004" y="13247"/>
                    </a:lnTo>
                    <a:lnTo>
                      <a:pt x="1278" y="14780"/>
                    </a:lnTo>
                    <a:cubicBezTo>
                      <a:pt x="-426" y="15803"/>
                      <a:pt x="-426" y="19040"/>
                      <a:pt x="1278" y="22107"/>
                    </a:cubicBezTo>
                    <a:cubicBezTo>
                      <a:pt x="2130" y="23641"/>
                      <a:pt x="3323" y="24834"/>
                      <a:pt x="4345" y="25345"/>
                    </a:cubicBezTo>
                    <a:cubicBezTo>
                      <a:pt x="5538" y="26026"/>
                      <a:pt x="6560" y="26197"/>
                      <a:pt x="7582" y="25686"/>
                    </a:cubicBezTo>
                    <a:lnTo>
                      <a:pt x="8264" y="25174"/>
                    </a:lnTo>
                    <a:lnTo>
                      <a:pt x="15080" y="21255"/>
                    </a:lnTo>
                    <a:lnTo>
                      <a:pt x="17295" y="20063"/>
                    </a:lnTo>
                    <a:lnTo>
                      <a:pt x="33312" y="10861"/>
                    </a:lnTo>
                    <a:cubicBezTo>
                      <a:pt x="35015" y="9839"/>
                      <a:pt x="35015" y="6602"/>
                      <a:pt x="33312" y="3535"/>
                    </a:cubicBezTo>
                    <a:cubicBezTo>
                      <a:pt x="32460" y="2512"/>
                      <a:pt x="31437" y="1320"/>
                      <a:pt x="30245" y="638"/>
                    </a:cubicBezTo>
                  </a:path>
                </a:pathLst>
              </a:custGeom>
              <a:solidFill>
                <a:srgbClr val="BBD80A"/>
              </a:solidFill>
              <a:ln w="16828" cap="flat">
                <a:noFill/>
                <a:prstDash val="solid"/>
                <a:miter/>
              </a:ln>
            </p:spPr>
            <p:txBody>
              <a:bodyPr rtlCol="0" anchor="ctr"/>
              <a:lstStyle/>
              <a:p>
                <a:endParaRPr lang="en-IN"/>
              </a:p>
            </p:txBody>
          </p:sp>
          <p:sp>
            <p:nvSpPr>
              <p:cNvPr id="4190" name="Freeform: Shape 4189">
                <a:extLst>
                  <a:ext uri="{FF2B5EF4-FFF2-40B4-BE49-F238E27FC236}">
                    <a16:creationId xmlns:a16="http://schemas.microsoft.com/office/drawing/2014/main" id="{455E08CE-6EC1-4E5D-BA93-02BC6E39F77B}"/>
                  </a:ext>
                </a:extLst>
              </p:cNvPr>
              <p:cNvSpPr/>
              <p:nvPr/>
            </p:nvSpPr>
            <p:spPr>
              <a:xfrm>
                <a:off x="6244218" y="4701865"/>
                <a:ext cx="251498" cy="163746"/>
              </a:xfrm>
              <a:custGeom>
                <a:avLst/>
                <a:gdLst>
                  <a:gd name="connsiteX0" fmla="*/ 251498 w 251498"/>
                  <a:gd name="connsiteY0" fmla="*/ 145174 h 163746"/>
                  <a:gd name="connsiteX1" fmla="*/ 0 w 251498"/>
                  <a:gd name="connsiteY1" fmla="*/ 0 h 163746"/>
                  <a:gd name="connsiteX2" fmla="*/ 0 w 251498"/>
                  <a:gd name="connsiteY2" fmla="*/ 18573 h 163746"/>
                  <a:gd name="connsiteX3" fmla="*/ 25132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0" y="0"/>
                    </a:lnTo>
                    <a:lnTo>
                      <a:pt x="0" y="18573"/>
                    </a:lnTo>
                    <a:lnTo>
                      <a:pt x="25132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91" name="Freeform: Shape 4190">
                <a:extLst>
                  <a:ext uri="{FF2B5EF4-FFF2-40B4-BE49-F238E27FC236}">
                    <a16:creationId xmlns:a16="http://schemas.microsoft.com/office/drawing/2014/main" id="{CD42F900-D443-48A7-BFFB-7BB0BBABEDAA}"/>
                  </a:ext>
                </a:extLst>
              </p:cNvPr>
              <p:cNvSpPr/>
              <p:nvPr/>
            </p:nvSpPr>
            <p:spPr>
              <a:xfrm>
                <a:off x="6173676" y="4648021"/>
                <a:ext cx="38849" cy="67134"/>
              </a:xfrm>
              <a:custGeom>
                <a:avLst/>
                <a:gdLst>
                  <a:gd name="connsiteX0" fmla="*/ 38849 w 38849"/>
                  <a:gd name="connsiteY0" fmla="*/ 22492 h 67134"/>
                  <a:gd name="connsiteX1" fmla="*/ 0 w 38849"/>
                  <a:gd name="connsiteY1" fmla="*/ 0 h 67134"/>
                  <a:gd name="connsiteX2" fmla="*/ 0 w 38849"/>
                  <a:gd name="connsiteY2" fmla="*/ 44813 h 67134"/>
                  <a:gd name="connsiteX3" fmla="*/ 38849 w 38849"/>
                  <a:gd name="connsiteY3" fmla="*/ 67134 h 67134"/>
                  <a:gd name="connsiteX4" fmla="*/ 38849 w 38849"/>
                  <a:gd name="connsiteY4" fmla="*/ 49414 h 67134"/>
                  <a:gd name="connsiteX5" fmla="*/ 36634 w 38849"/>
                  <a:gd name="connsiteY5" fmla="*/ 50777 h 67134"/>
                  <a:gd name="connsiteX6" fmla="*/ 36634 w 38849"/>
                  <a:gd name="connsiteY6" fmla="*/ 63386 h 67134"/>
                  <a:gd name="connsiteX7" fmla="*/ 2045 w 38849"/>
                  <a:gd name="connsiteY7" fmla="*/ 43450 h 67134"/>
                  <a:gd name="connsiteX8" fmla="*/ 2215 w 38849"/>
                  <a:gd name="connsiteY8" fmla="*/ 3749 h 67134"/>
                  <a:gd name="connsiteX9" fmla="*/ 36805 w 38849"/>
                  <a:gd name="connsiteY9" fmla="*/ 23684 h 67134"/>
                  <a:gd name="connsiteX10" fmla="*/ 36805 w 38849"/>
                  <a:gd name="connsiteY10" fmla="*/ 36293 h 67134"/>
                  <a:gd name="connsiteX11" fmla="*/ 38849 w 38849"/>
                  <a:gd name="connsiteY11" fmla="*/ 34930 h 67134"/>
                  <a:gd name="connsiteX12" fmla="*/ 38849 w 38849"/>
                  <a:gd name="connsiteY12" fmla="*/ 22492 h 6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849" h="67134">
                    <a:moveTo>
                      <a:pt x="38849" y="22492"/>
                    </a:moveTo>
                    <a:lnTo>
                      <a:pt x="0" y="0"/>
                    </a:lnTo>
                    <a:lnTo>
                      <a:pt x="0" y="44813"/>
                    </a:lnTo>
                    <a:lnTo>
                      <a:pt x="38849" y="67134"/>
                    </a:lnTo>
                    <a:lnTo>
                      <a:pt x="38849" y="49414"/>
                    </a:lnTo>
                    <a:lnTo>
                      <a:pt x="36634" y="50777"/>
                    </a:lnTo>
                    <a:lnTo>
                      <a:pt x="36634" y="63386"/>
                    </a:lnTo>
                    <a:lnTo>
                      <a:pt x="2045" y="43450"/>
                    </a:lnTo>
                    <a:lnTo>
                      <a:pt x="2215" y="3749"/>
                    </a:lnTo>
                    <a:lnTo>
                      <a:pt x="36805" y="23684"/>
                    </a:lnTo>
                    <a:lnTo>
                      <a:pt x="36805" y="36293"/>
                    </a:lnTo>
                    <a:lnTo>
                      <a:pt x="38849" y="34930"/>
                    </a:lnTo>
                    <a:lnTo>
                      <a:pt x="38849" y="22492"/>
                    </a:lnTo>
                  </a:path>
                </a:pathLst>
              </a:custGeom>
              <a:solidFill>
                <a:srgbClr val="6D6D6B"/>
              </a:solidFill>
              <a:ln w="16828" cap="flat">
                <a:noFill/>
                <a:prstDash val="solid"/>
                <a:miter/>
              </a:ln>
            </p:spPr>
            <p:txBody>
              <a:bodyPr rtlCol="0" anchor="ctr"/>
              <a:lstStyle/>
              <a:p>
                <a:endParaRPr lang="en-IN"/>
              </a:p>
            </p:txBody>
          </p:sp>
          <p:sp>
            <p:nvSpPr>
              <p:cNvPr id="4192" name="Freeform: Shape 4191">
                <a:extLst>
                  <a:ext uri="{FF2B5EF4-FFF2-40B4-BE49-F238E27FC236}">
                    <a16:creationId xmlns:a16="http://schemas.microsoft.com/office/drawing/2014/main" id="{519F431A-AC1B-4942-B6FC-8B7ED6626421}"/>
                  </a:ext>
                </a:extLst>
              </p:cNvPr>
              <p:cNvSpPr/>
              <p:nvPr/>
            </p:nvSpPr>
            <p:spPr>
              <a:xfrm>
                <a:off x="6183473" y="4672431"/>
                <a:ext cx="20021" cy="31435"/>
              </a:xfrm>
              <a:custGeom>
                <a:avLst/>
                <a:gdLst>
                  <a:gd name="connsiteX0" fmla="*/ 4515 w 20021"/>
                  <a:gd name="connsiteY0" fmla="*/ 638 h 31435"/>
                  <a:gd name="connsiteX1" fmla="*/ 1278 w 20021"/>
                  <a:gd name="connsiteY1" fmla="*/ 297 h 31435"/>
                  <a:gd name="connsiteX2" fmla="*/ 1278 w 20021"/>
                  <a:gd name="connsiteY2" fmla="*/ 7624 h 31435"/>
                  <a:gd name="connsiteX3" fmla="*/ 12865 w 20021"/>
                  <a:gd name="connsiteY3" fmla="*/ 27560 h 31435"/>
                  <a:gd name="connsiteX4" fmla="*/ 15932 w 20021"/>
                  <a:gd name="connsiteY4" fmla="*/ 30797 h 31435"/>
                  <a:gd name="connsiteX5" fmla="*/ 19169 w 20021"/>
                  <a:gd name="connsiteY5" fmla="*/ 31138 h 31435"/>
                  <a:gd name="connsiteX6" fmla="*/ 20021 w 20021"/>
                  <a:gd name="connsiteY6" fmla="*/ 30116 h 31435"/>
                  <a:gd name="connsiteX7" fmla="*/ 19339 w 20021"/>
                  <a:gd name="connsiteY7" fmla="*/ 30627 h 31435"/>
                  <a:gd name="connsiteX8" fmla="*/ 16102 w 20021"/>
                  <a:gd name="connsiteY8" fmla="*/ 30286 h 31435"/>
                  <a:gd name="connsiteX9" fmla="*/ 13035 w 20021"/>
                  <a:gd name="connsiteY9" fmla="*/ 27049 h 31435"/>
                  <a:gd name="connsiteX10" fmla="*/ 13035 w 20021"/>
                  <a:gd name="connsiteY10" fmla="*/ 19722 h 31435"/>
                  <a:gd name="connsiteX11" fmla="*/ 15761 w 20021"/>
                  <a:gd name="connsiteY11" fmla="*/ 18188 h 31435"/>
                  <a:gd name="connsiteX12" fmla="*/ 7582 w 20021"/>
                  <a:gd name="connsiteY12" fmla="*/ 4046 h 31435"/>
                  <a:gd name="connsiteX13" fmla="*/ 4515 w 20021"/>
                  <a:gd name="connsiteY13" fmla="*/ 638 h 3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21" h="31435">
                    <a:moveTo>
                      <a:pt x="4515" y="638"/>
                    </a:moveTo>
                    <a:cubicBezTo>
                      <a:pt x="3323" y="-44"/>
                      <a:pt x="2300" y="-214"/>
                      <a:pt x="1278" y="297"/>
                    </a:cubicBezTo>
                    <a:cubicBezTo>
                      <a:pt x="-426" y="1320"/>
                      <a:pt x="-426" y="4557"/>
                      <a:pt x="1278" y="7624"/>
                    </a:cubicBezTo>
                    <a:lnTo>
                      <a:pt x="12865" y="27560"/>
                    </a:lnTo>
                    <a:cubicBezTo>
                      <a:pt x="13717" y="29093"/>
                      <a:pt x="14909" y="30286"/>
                      <a:pt x="15932" y="30797"/>
                    </a:cubicBezTo>
                    <a:cubicBezTo>
                      <a:pt x="17124" y="31479"/>
                      <a:pt x="18147" y="31649"/>
                      <a:pt x="19169" y="31138"/>
                    </a:cubicBezTo>
                    <a:cubicBezTo>
                      <a:pt x="19510" y="30968"/>
                      <a:pt x="19851" y="30627"/>
                      <a:pt x="20021" y="3011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901" y="2512"/>
                      <a:pt x="5708" y="1320"/>
                      <a:pt x="4515" y="638"/>
                    </a:cubicBezTo>
                  </a:path>
                </a:pathLst>
              </a:custGeom>
              <a:solidFill>
                <a:srgbClr val="BBD80A"/>
              </a:solidFill>
              <a:ln w="16828" cap="flat">
                <a:noFill/>
                <a:prstDash val="solid"/>
                <a:miter/>
              </a:ln>
            </p:spPr>
            <p:txBody>
              <a:bodyPr rtlCol="0" anchor="ctr"/>
              <a:lstStyle/>
              <a:p>
                <a:endParaRPr lang="en-IN"/>
              </a:p>
            </p:txBody>
          </p:sp>
          <p:sp>
            <p:nvSpPr>
              <p:cNvPr id="4193" name="Freeform: Shape 4192">
                <a:extLst>
                  <a:ext uri="{FF2B5EF4-FFF2-40B4-BE49-F238E27FC236}">
                    <a16:creationId xmlns:a16="http://schemas.microsoft.com/office/drawing/2014/main" id="{C5D0489E-D566-4ED6-9ACD-9FE260261D03}"/>
                  </a:ext>
                </a:extLst>
              </p:cNvPr>
              <p:cNvSpPr/>
              <p:nvPr/>
            </p:nvSpPr>
            <p:spPr>
              <a:xfrm>
                <a:off x="6195401" y="4677202"/>
                <a:ext cx="34589" cy="26153"/>
              </a:xfrm>
              <a:custGeom>
                <a:avLst/>
                <a:gdLst>
                  <a:gd name="connsiteX0" fmla="*/ 30074 w 34589"/>
                  <a:gd name="connsiteY0" fmla="*/ 638 h 26153"/>
                  <a:gd name="connsiteX1" fmla="*/ 26837 w 34589"/>
                  <a:gd name="connsiteY1" fmla="*/ 297 h 26153"/>
                  <a:gd name="connsiteX2" fmla="*/ 17124 w 34589"/>
                  <a:gd name="connsiteY2" fmla="*/ 5750 h 26153"/>
                  <a:gd name="connsiteX3" fmla="*/ 14909 w 34589"/>
                  <a:gd name="connsiteY3" fmla="*/ 6942 h 26153"/>
                  <a:gd name="connsiteX4" fmla="*/ 3834 w 34589"/>
                  <a:gd name="connsiteY4" fmla="*/ 13247 h 26153"/>
                  <a:gd name="connsiteX5" fmla="*/ 1278 w 34589"/>
                  <a:gd name="connsiteY5" fmla="*/ 14951 h 26153"/>
                  <a:gd name="connsiteX6" fmla="*/ 1278 w 34589"/>
                  <a:gd name="connsiteY6" fmla="*/ 22278 h 26153"/>
                  <a:gd name="connsiteX7" fmla="*/ 4345 w 34589"/>
                  <a:gd name="connsiteY7" fmla="*/ 25515 h 26153"/>
                  <a:gd name="connsiteX8" fmla="*/ 7582 w 34589"/>
                  <a:gd name="connsiteY8" fmla="*/ 25856 h 26153"/>
                  <a:gd name="connsiteX9" fmla="*/ 8264 w 34589"/>
                  <a:gd name="connsiteY9" fmla="*/ 25345 h 26153"/>
                  <a:gd name="connsiteX10" fmla="*/ 15080 w 34589"/>
                  <a:gd name="connsiteY10" fmla="*/ 21426 h 26153"/>
                  <a:gd name="connsiteX11" fmla="*/ 17295 w 34589"/>
                  <a:gd name="connsiteY11" fmla="*/ 20233 h 26153"/>
                  <a:gd name="connsiteX12" fmla="*/ 33312 w 34589"/>
                  <a:gd name="connsiteY12" fmla="*/ 11032 h 26153"/>
                  <a:gd name="connsiteX13" fmla="*/ 33312 w 34589"/>
                  <a:gd name="connsiteY13" fmla="*/ 3705 h 26153"/>
                  <a:gd name="connsiteX14" fmla="*/ 30074 w 34589"/>
                  <a:gd name="connsiteY14" fmla="*/ 638 h 26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6153">
                    <a:moveTo>
                      <a:pt x="30074" y="638"/>
                    </a:moveTo>
                    <a:cubicBezTo>
                      <a:pt x="28881" y="-44"/>
                      <a:pt x="27859" y="-214"/>
                      <a:pt x="26837" y="297"/>
                    </a:cubicBezTo>
                    <a:lnTo>
                      <a:pt x="17124" y="5750"/>
                    </a:lnTo>
                    <a:lnTo>
                      <a:pt x="14909" y="6942"/>
                    </a:lnTo>
                    <a:lnTo>
                      <a:pt x="3834" y="13247"/>
                    </a:lnTo>
                    <a:lnTo>
                      <a:pt x="1278" y="14951"/>
                    </a:lnTo>
                    <a:cubicBezTo>
                      <a:pt x="-426" y="15973"/>
                      <a:pt x="-426" y="19211"/>
                      <a:pt x="1278" y="22278"/>
                    </a:cubicBezTo>
                    <a:cubicBezTo>
                      <a:pt x="2130" y="23811"/>
                      <a:pt x="3323" y="25004"/>
                      <a:pt x="4345" y="25515"/>
                    </a:cubicBezTo>
                    <a:cubicBezTo>
                      <a:pt x="5538" y="26197"/>
                      <a:pt x="6560" y="26367"/>
                      <a:pt x="7582" y="25856"/>
                    </a:cubicBezTo>
                    <a:lnTo>
                      <a:pt x="8264" y="25345"/>
                    </a:lnTo>
                    <a:lnTo>
                      <a:pt x="15080" y="21426"/>
                    </a:lnTo>
                    <a:lnTo>
                      <a:pt x="17295" y="20233"/>
                    </a:lnTo>
                    <a:lnTo>
                      <a:pt x="33312" y="11032"/>
                    </a:lnTo>
                    <a:cubicBezTo>
                      <a:pt x="35015" y="10010"/>
                      <a:pt x="35015" y="6772"/>
                      <a:pt x="33312" y="3705"/>
                    </a:cubicBezTo>
                    <a:cubicBezTo>
                      <a:pt x="32289" y="2512"/>
                      <a:pt x="31096" y="1320"/>
                      <a:pt x="30074" y="638"/>
                    </a:cubicBezTo>
                  </a:path>
                </a:pathLst>
              </a:custGeom>
              <a:solidFill>
                <a:srgbClr val="BBD80A"/>
              </a:solidFill>
              <a:ln w="16828" cap="flat">
                <a:noFill/>
                <a:prstDash val="solid"/>
                <a:miter/>
              </a:ln>
            </p:spPr>
            <p:txBody>
              <a:bodyPr rtlCol="0" anchor="ctr"/>
              <a:lstStyle/>
              <a:p>
                <a:endParaRPr lang="en-IN"/>
              </a:p>
            </p:txBody>
          </p:sp>
          <p:sp>
            <p:nvSpPr>
              <p:cNvPr id="4194" name="Freeform: Shape 4193">
                <a:extLst>
                  <a:ext uri="{FF2B5EF4-FFF2-40B4-BE49-F238E27FC236}">
                    <a16:creationId xmlns:a16="http://schemas.microsoft.com/office/drawing/2014/main" id="{40975926-E3CE-4EAB-99B5-9D722BF601CE}"/>
                  </a:ext>
                </a:extLst>
              </p:cNvPr>
              <p:cNvSpPr/>
              <p:nvPr/>
            </p:nvSpPr>
            <p:spPr>
              <a:xfrm>
                <a:off x="6244048" y="4779393"/>
                <a:ext cx="251327" cy="163746"/>
              </a:xfrm>
              <a:custGeom>
                <a:avLst/>
                <a:gdLst>
                  <a:gd name="connsiteX0" fmla="*/ 251328 w 251327"/>
                  <a:gd name="connsiteY0" fmla="*/ 145174 h 163746"/>
                  <a:gd name="connsiteX1" fmla="*/ 0 w 251327"/>
                  <a:gd name="connsiteY1" fmla="*/ 0 h 163746"/>
                  <a:gd name="connsiteX2" fmla="*/ 0 w 251327"/>
                  <a:gd name="connsiteY2" fmla="*/ 18573 h 163746"/>
                  <a:gd name="connsiteX3" fmla="*/ 251328 w 251327"/>
                  <a:gd name="connsiteY3" fmla="*/ 163746 h 163746"/>
                  <a:gd name="connsiteX4" fmla="*/ 251328 w 251327"/>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7" h="163746">
                    <a:moveTo>
                      <a:pt x="251328" y="145174"/>
                    </a:moveTo>
                    <a:lnTo>
                      <a:pt x="0" y="0"/>
                    </a:lnTo>
                    <a:lnTo>
                      <a:pt x="0" y="18573"/>
                    </a:lnTo>
                    <a:lnTo>
                      <a:pt x="251328" y="163746"/>
                    </a:lnTo>
                    <a:lnTo>
                      <a:pt x="251328" y="145174"/>
                    </a:lnTo>
                  </a:path>
                </a:pathLst>
              </a:custGeom>
              <a:solidFill>
                <a:srgbClr val="6D6D6B"/>
              </a:solidFill>
              <a:ln w="16828" cap="flat">
                <a:noFill/>
                <a:prstDash val="solid"/>
                <a:miter/>
              </a:ln>
            </p:spPr>
            <p:txBody>
              <a:bodyPr rtlCol="0" anchor="ctr"/>
              <a:lstStyle/>
              <a:p>
                <a:endParaRPr lang="en-IN"/>
              </a:p>
            </p:txBody>
          </p:sp>
          <p:sp>
            <p:nvSpPr>
              <p:cNvPr id="4195" name="Freeform: Shape 4194">
                <a:extLst>
                  <a:ext uri="{FF2B5EF4-FFF2-40B4-BE49-F238E27FC236}">
                    <a16:creationId xmlns:a16="http://schemas.microsoft.com/office/drawing/2014/main" id="{687D91B3-43A5-44DB-AB51-091678FAC82D}"/>
                  </a:ext>
                </a:extLst>
              </p:cNvPr>
              <p:cNvSpPr/>
              <p:nvPr/>
            </p:nvSpPr>
            <p:spPr>
              <a:xfrm>
                <a:off x="6173335" y="4725720"/>
                <a:ext cx="39019" cy="67134"/>
              </a:xfrm>
              <a:custGeom>
                <a:avLst/>
                <a:gdLst>
                  <a:gd name="connsiteX0" fmla="*/ 39020 w 39019"/>
                  <a:gd name="connsiteY0" fmla="*/ 22492 h 67134"/>
                  <a:gd name="connsiteX1" fmla="*/ 170 w 39019"/>
                  <a:gd name="connsiteY1" fmla="*/ 0 h 67134"/>
                  <a:gd name="connsiteX2" fmla="*/ 0 w 39019"/>
                  <a:gd name="connsiteY2" fmla="*/ 44643 h 67134"/>
                  <a:gd name="connsiteX3" fmla="*/ 38849 w 39019"/>
                  <a:gd name="connsiteY3" fmla="*/ 67134 h 67134"/>
                  <a:gd name="connsiteX4" fmla="*/ 39020 w 39019"/>
                  <a:gd name="connsiteY4" fmla="*/ 49414 h 67134"/>
                  <a:gd name="connsiteX5" fmla="*/ 36805 w 39019"/>
                  <a:gd name="connsiteY5" fmla="*/ 50606 h 67134"/>
                  <a:gd name="connsiteX6" fmla="*/ 36805 w 39019"/>
                  <a:gd name="connsiteY6" fmla="*/ 63386 h 67134"/>
                  <a:gd name="connsiteX7" fmla="*/ 2215 w 39019"/>
                  <a:gd name="connsiteY7" fmla="*/ 43450 h 67134"/>
                  <a:gd name="connsiteX8" fmla="*/ 2385 w 39019"/>
                  <a:gd name="connsiteY8" fmla="*/ 3749 h 67134"/>
                  <a:gd name="connsiteX9" fmla="*/ 36975 w 39019"/>
                  <a:gd name="connsiteY9" fmla="*/ 23684 h 67134"/>
                  <a:gd name="connsiteX10" fmla="*/ 36805 w 39019"/>
                  <a:gd name="connsiteY10" fmla="*/ 36123 h 67134"/>
                  <a:gd name="connsiteX11" fmla="*/ 39020 w 39019"/>
                  <a:gd name="connsiteY11" fmla="*/ 34930 h 67134"/>
                  <a:gd name="connsiteX12" fmla="*/ 39020 w 39019"/>
                  <a:gd name="connsiteY12" fmla="*/ 22492 h 6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19" h="67134">
                    <a:moveTo>
                      <a:pt x="39020" y="22492"/>
                    </a:moveTo>
                    <a:lnTo>
                      <a:pt x="170" y="0"/>
                    </a:lnTo>
                    <a:lnTo>
                      <a:pt x="0" y="44643"/>
                    </a:lnTo>
                    <a:lnTo>
                      <a:pt x="38849" y="67134"/>
                    </a:lnTo>
                    <a:lnTo>
                      <a:pt x="39020" y="49414"/>
                    </a:lnTo>
                    <a:lnTo>
                      <a:pt x="36805" y="50606"/>
                    </a:lnTo>
                    <a:lnTo>
                      <a:pt x="36805" y="63386"/>
                    </a:lnTo>
                    <a:lnTo>
                      <a:pt x="2215" y="43450"/>
                    </a:lnTo>
                    <a:lnTo>
                      <a:pt x="2385" y="3749"/>
                    </a:lnTo>
                    <a:lnTo>
                      <a:pt x="36975" y="23684"/>
                    </a:lnTo>
                    <a:lnTo>
                      <a:pt x="36805" y="36123"/>
                    </a:lnTo>
                    <a:lnTo>
                      <a:pt x="39020" y="34930"/>
                    </a:lnTo>
                    <a:lnTo>
                      <a:pt x="39020" y="22492"/>
                    </a:lnTo>
                  </a:path>
                </a:pathLst>
              </a:custGeom>
              <a:solidFill>
                <a:srgbClr val="6D6D6B"/>
              </a:solidFill>
              <a:ln w="16828" cap="flat">
                <a:noFill/>
                <a:prstDash val="solid"/>
                <a:miter/>
              </a:ln>
            </p:spPr>
            <p:txBody>
              <a:bodyPr rtlCol="0" anchor="ctr"/>
              <a:lstStyle/>
              <a:p>
                <a:endParaRPr lang="en-IN"/>
              </a:p>
            </p:txBody>
          </p:sp>
          <p:sp>
            <p:nvSpPr>
              <p:cNvPr id="4196" name="Freeform: Shape 4195">
                <a:extLst>
                  <a:ext uri="{FF2B5EF4-FFF2-40B4-BE49-F238E27FC236}">
                    <a16:creationId xmlns:a16="http://schemas.microsoft.com/office/drawing/2014/main" id="{A2237761-ACB0-477B-917B-E074C4BBBC98}"/>
                  </a:ext>
                </a:extLst>
              </p:cNvPr>
              <p:cNvSpPr/>
              <p:nvPr/>
            </p:nvSpPr>
            <p:spPr>
              <a:xfrm>
                <a:off x="6183303" y="4749959"/>
                <a:ext cx="20021" cy="31435"/>
              </a:xfrm>
              <a:custGeom>
                <a:avLst/>
                <a:gdLst>
                  <a:gd name="connsiteX0" fmla="*/ 4515 w 20021"/>
                  <a:gd name="connsiteY0" fmla="*/ 638 h 31435"/>
                  <a:gd name="connsiteX1" fmla="*/ 1278 w 20021"/>
                  <a:gd name="connsiteY1" fmla="*/ 297 h 31435"/>
                  <a:gd name="connsiteX2" fmla="*/ 1278 w 20021"/>
                  <a:gd name="connsiteY2" fmla="*/ 7624 h 31435"/>
                  <a:gd name="connsiteX3" fmla="*/ 12865 w 20021"/>
                  <a:gd name="connsiteY3" fmla="*/ 27560 h 31435"/>
                  <a:gd name="connsiteX4" fmla="*/ 15932 w 20021"/>
                  <a:gd name="connsiteY4" fmla="*/ 30797 h 31435"/>
                  <a:gd name="connsiteX5" fmla="*/ 19169 w 20021"/>
                  <a:gd name="connsiteY5" fmla="*/ 31138 h 31435"/>
                  <a:gd name="connsiteX6" fmla="*/ 20021 w 20021"/>
                  <a:gd name="connsiteY6" fmla="*/ 30116 h 31435"/>
                  <a:gd name="connsiteX7" fmla="*/ 19339 w 20021"/>
                  <a:gd name="connsiteY7" fmla="*/ 30627 h 31435"/>
                  <a:gd name="connsiteX8" fmla="*/ 16102 w 20021"/>
                  <a:gd name="connsiteY8" fmla="*/ 30286 h 31435"/>
                  <a:gd name="connsiteX9" fmla="*/ 13035 w 20021"/>
                  <a:gd name="connsiteY9" fmla="*/ 27049 h 31435"/>
                  <a:gd name="connsiteX10" fmla="*/ 13035 w 20021"/>
                  <a:gd name="connsiteY10" fmla="*/ 19722 h 31435"/>
                  <a:gd name="connsiteX11" fmla="*/ 15761 w 20021"/>
                  <a:gd name="connsiteY11" fmla="*/ 18188 h 31435"/>
                  <a:gd name="connsiteX12" fmla="*/ 7582 w 20021"/>
                  <a:gd name="connsiteY12" fmla="*/ 4046 h 31435"/>
                  <a:gd name="connsiteX13" fmla="*/ 4515 w 20021"/>
                  <a:gd name="connsiteY13" fmla="*/ 638 h 3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21" h="31435">
                    <a:moveTo>
                      <a:pt x="4515" y="638"/>
                    </a:moveTo>
                    <a:cubicBezTo>
                      <a:pt x="3323" y="-44"/>
                      <a:pt x="2300" y="-214"/>
                      <a:pt x="1278" y="297"/>
                    </a:cubicBezTo>
                    <a:cubicBezTo>
                      <a:pt x="-426" y="1320"/>
                      <a:pt x="-426" y="4557"/>
                      <a:pt x="1278" y="7624"/>
                    </a:cubicBezTo>
                    <a:lnTo>
                      <a:pt x="12865" y="27560"/>
                    </a:lnTo>
                    <a:cubicBezTo>
                      <a:pt x="13717" y="29093"/>
                      <a:pt x="14909" y="30286"/>
                      <a:pt x="15932" y="30797"/>
                    </a:cubicBezTo>
                    <a:cubicBezTo>
                      <a:pt x="17124" y="31479"/>
                      <a:pt x="18147" y="31649"/>
                      <a:pt x="19169" y="31138"/>
                    </a:cubicBezTo>
                    <a:cubicBezTo>
                      <a:pt x="19510" y="30968"/>
                      <a:pt x="19851" y="30627"/>
                      <a:pt x="20021" y="3011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730" y="2512"/>
                      <a:pt x="5708" y="1320"/>
                      <a:pt x="4515" y="638"/>
                    </a:cubicBezTo>
                  </a:path>
                </a:pathLst>
              </a:custGeom>
              <a:solidFill>
                <a:srgbClr val="BBD80A"/>
              </a:solidFill>
              <a:ln w="16828" cap="flat">
                <a:noFill/>
                <a:prstDash val="solid"/>
                <a:miter/>
              </a:ln>
            </p:spPr>
            <p:txBody>
              <a:bodyPr rtlCol="0" anchor="ctr"/>
              <a:lstStyle/>
              <a:p>
                <a:endParaRPr lang="en-IN"/>
              </a:p>
            </p:txBody>
          </p:sp>
          <p:sp>
            <p:nvSpPr>
              <p:cNvPr id="4197" name="Freeform: Shape 4196">
                <a:extLst>
                  <a:ext uri="{FF2B5EF4-FFF2-40B4-BE49-F238E27FC236}">
                    <a16:creationId xmlns:a16="http://schemas.microsoft.com/office/drawing/2014/main" id="{4F980B90-66AD-4F83-BF07-D901BDDC447B}"/>
                  </a:ext>
                </a:extLst>
              </p:cNvPr>
              <p:cNvSpPr/>
              <p:nvPr/>
            </p:nvSpPr>
            <p:spPr>
              <a:xfrm>
                <a:off x="6195060" y="4754900"/>
                <a:ext cx="34589" cy="25982"/>
              </a:xfrm>
              <a:custGeom>
                <a:avLst/>
                <a:gdLst>
                  <a:gd name="connsiteX0" fmla="*/ 30074 w 34589"/>
                  <a:gd name="connsiteY0" fmla="*/ 638 h 25982"/>
                  <a:gd name="connsiteX1" fmla="*/ 26837 w 34589"/>
                  <a:gd name="connsiteY1" fmla="*/ 297 h 25982"/>
                  <a:gd name="connsiteX2" fmla="*/ 17124 w 34589"/>
                  <a:gd name="connsiteY2" fmla="*/ 5750 h 25982"/>
                  <a:gd name="connsiteX3" fmla="*/ 15080 w 34589"/>
                  <a:gd name="connsiteY3" fmla="*/ 6942 h 25982"/>
                  <a:gd name="connsiteX4" fmla="*/ 4004 w 34589"/>
                  <a:gd name="connsiteY4" fmla="*/ 13247 h 25982"/>
                  <a:gd name="connsiteX5" fmla="*/ 1278 w 34589"/>
                  <a:gd name="connsiteY5" fmla="*/ 14781 h 25982"/>
                  <a:gd name="connsiteX6" fmla="*/ 1278 w 34589"/>
                  <a:gd name="connsiteY6" fmla="*/ 22107 h 25982"/>
                  <a:gd name="connsiteX7" fmla="*/ 4345 w 34589"/>
                  <a:gd name="connsiteY7" fmla="*/ 25345 h 25982"/>
                  <a:gd name="connsiteX8" fmla="*/ 7582 w 34589"/>
                  <a:gd name="connsiteY8" fmla="*/ 25686 h 25982"/>
                  <a:gd name="connsiteX9" fmla="*/ 8264 w 34589"/>
                  <a:gd name="connsiteY9" fmla="*/ 25174 h 25982"/>
                  <a:gd name="connsiteX10" fmla="*/ 15080 w 34589"/>
                  <a:gd name="connsiteY10" fmla="*/ 21255 h 25982"/>
                  <a:gd name="connsiteX11" fmla="*/ 17295 w 34589"/>
                  <a:gd name="connsiteY11" fmla="*/ 20063 h 25982"/>
                  <a:gd name="connsiteX12" fmla="*/ 33312 w 34589"/>
                  <a:gd name="connsiteY12" fmla="*/ 10862 h 25982"/>
                  <a:gd name="connsiteX13" fmla="*/ 33312 w 34589"/>
                  <a:gd name="connsiteY13" fmla="*/ 3705 h 25982"/>
                  <a:gd name="connsiteX14" fmla="*/ 30074 w 34589"/>
                  <a:gd name="connsiteY14" fmla="*/ 638 h 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5982">
                    <a:moveTo>
                      <a:pt x="30074" y="638"/>
                    </a:moveTo>
                    <a:cubicBezTo>
                      <a:pt x="28881" y="-44"/>
                      <a:pt x="27859" y="-214"/>
                      <a:pt x="26837" y="297"/>
                    </a:cubicBezTo>
                    <a:lnTo>
                      <a:pt x="17124" y="5750"/>
                    </a:lnTo>
                    <a:lnTo>
                      <a:pt x="15080" y="6942"/>
                    </a:lnTo>
                    <a:lnTo>
                      <a:pt x="4004" y="13247"/>
                    </a:lnTo>
                    <a:lnTo>
                      <a:pt x="1278" y="14781"/>
                    </a:lnTo>
                    <a:cubicBezTo>
                      <a:pt x="-426" y="15803"/>
                      <a:pt x="-426" y="19040"/>
                      <a:pt x="1278" y="22107"/>
                    </a:cubicBezTo>
                    <a:cubicBezTo>
                      <a:pt x="2130" y="23641"/>
                      <a:pt x="3323" y="24834"/>
                      <a:pt x="4345" y="25345"/>
                    </a:cubicBezTo>
                    <a:cubicBezTo>
                      <a:pt x="5538" y="26026"/>
                      <a:pt x="6560" y="26197"/>
                      <a:pt x="7582" y="25686"/>
                    </a:cubicBezTo>
                    <a:lnTo>
                      <a:pt x="8264" y="25174"/>
                    </a:lnTo>
                    <a:lnTo>
                      <a:pt x="15080" y="21255"/>
                    </a:lnTo>
                    <a:lnTo>
                      <a:pt x="17295" y="20063"/>
                    </a:lnTo>
                    <a:lnTo>
                      <a:pt x="33312" y="10862"/>
                    </a:lnTo>
                    <a:cubicBezTo>
                      <a:pt x="35015" y="9839"/>
                      <a:pt x="35015" y="6602"/>
                      <a:pt x="33312" y="3705"/>
                    </a:cubicBezTo>
                    <a:cubicBezTo>
                      <a:pt x="32460" y="2342"/>
                      <a:pt x="31267" y="1149"/>
                      <a:pt x="30074" y="638"/>
                    </a:cubicBezTo>
                  </a:path>
                </a:pathLst>
              </a:custGeom>
              <a:solidFill>
                <a:srgbClr val="BBD80A"/>
              </a:solidFill>
              <a:ln w="16828" cap="flat">
                <a:noFill/>
                <a:prstDash val="solid"/>
                <a:miter/>
              </a:ln>
            </p:spPr>
            <p:txBody>
              <a:bodyPr rtlCol="0" anchor="ctr"/>
              <a:lstStyle/>
              <a:p>
                <a:endParaRPr lang="en-IN"/>
              </a:p>
            </p:txBody>
          </p:sp>
          <p:sp>
            <p:nvSpPr>
              <p:cNvPr id="4198" name="Freeform: Shape 4197">
                <a:extLst>
                  <a:ext uri="{FF2B5EF4-FFF2-40B4-BE49-F238E27FC236}">
                    <a16:creationId xmlns:a16="http://schemas.microsoft.com/office/drawing/2014/main" id="{8C0D6E0B-D854-4EE1-8929-477389327EAB}"/>
                  </a:ext>
                </a:extLst>
              </p:cNvPr>
              <p:cNvSpPr/>
              <p:nvPr/>
            </p:nvSpPr>
            <p:spPr>
              <a:xfrm>
                <a:off x="6243707" y="4857092"/>
                <a:ext cx="251498" cy="163746"/>
              </a:xfrm>
              <a:custGeom>
                <a:avLst/>
                <a:gdLst>
                  <a:gd name="connsiteX0" fmla="*/ 251498 w 251498"/>
                  <a:gd name="connsiteY0" fmla="*/ 145174 h 163746"/>
                  <a:gd name="connsiteX1" fmla="*/ 170 w 251498"/>
                  <a:gd name="connsiteY1" fmla="*/ 0 h 163746"/>
                  <a:gd name="connsiteX2" fmla="*/ 0 w 251498"/>
                  <a:gd name="connsiteY2" fmla="*/ 18573 h 163746"/>
                  <a:gd name="connsiteX3" fmla="*/ 25149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170" y="0"/>
                    </a:lnTo>
                    <a:lnTo>
                      <a:pt x="0" y="18573"/>
                    </a:lnTo>
                    <a:lnTo>
                      <a:pt x="25149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99" name="Freeform: Shape 4198">
                <a:extLst>
                  <a:ext uri="{FF2B5EF4-FFF2-40B4-BE49-F238E27FC236}">
                    <a16:creationId xmlns:a16="http://schemas.microsoft.com/office/drawing/2014/main" id="{4A77CD21-8392-4F20-8814-7BFC63A2B23A}"/>
                  </a:ext>
                </a:extLst>
              </p:cNvPr>
              <p:cNvSpPr/>
              <p:nvPr/>
            </p:nvSpPr>
            <p:spPr>
              <a:xfrm>
                <a:off x="6173165" y="4803419"/>
                <a:ext cx="39019" cy="66963"/>
              </a:xfrm>
              <a:custGeom>
                <a:avLst/>
                <a:gdLst>
                  <a:gd name="connsiteX0" fmla="*/ 39020 w 39019"/>
                  <a:gd name="connsiteY0" fmla="*/ 22321 h 66963"/>
                  <a:gd name="connsiteX1" fmla="*/ 170 w 39019"/>
                  <a:gd name="connsiteY1" fmla="*/ 0 h 66963"/>
                  <a:gd name="connsiteX2" fmla="*/ 0 w 39019"/>
                  <a:gd name="connsiteY2" fmla="*/ 44643 h 66963"/>
                  <a:gd name="connsiteX3" fmla="*/ 38849 w 39019"/>
                  <a:gd name="connsiteY3" fmla="*/ 66964 h 66963"/>
                  <a:gd name="connsiteX4" fmla="*/ 38849 w 39019"/>
                  <a:gd name="connsiteY4" fmla="*/ 49414 h 66963"/>
                  <a:gd name="connsiteX5" fmla="*/ 36805 w 39019"/>
                  <a:gd name="connsiteY5" fmla="*/ 50606 h 66963"/>
                  <a:gd name="connsiteX6" fmla="*/ 36805 w 39019"/>
                  <a:gd name="connsiteY6" fmla="*/ 63386 h 66963"/>
                  <a:gd name="connsiteX7" fmla="*/ 2215 w 39019"/>
                  <a:gd name="connsiteY7" fmla="*/ 43279 h 66963"/>
                  <a:gd name="connsiteX8" fmla="*/ 2215 w 39019"/>
                  <a:gd name="connsiteY8" fmla="*/ 3749 h 66963"/>
                  <a:gd name="connsiteX9" fmla="*/ 36805 w 39019"/>
                  <a:gd name="connsiteY9" fmla="*/ 23684 h 66963"/>
                  <a:gd name="connsiteX10" fmla="*/ 36805 w 39019"/>
                  <a:gd name="connsiteY10" fmla="*/ 36123 h 66963"/>
                  <a:gd name="connsiteX11" fmla="*/ 39020 w 39019"/>
                  <a:gd name="connsiteY11" fmla="*/ 34930 h 66963"/>
                  <a:gd name="connsiteX12" fmla="*/ 39020 w 39019"/>
                  <a:gd name="connsiteY12" fmla="*/ 22321 h 66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19" h="66963">
                    <a:moveTo>
                      <a:pt x="39020" y="22321"/>
                    </a:moveTo>
                    <a:lnTo>
                      <a:pt x="170" y="0"/>
                    </a:lnTo>
                    <a:lnTo>
                      <a:pt x="0" y="44643"/>
                    </a:lnTo>
                    <a:lnTo>
                      <a:pt x="38849" y="66964"/>
                    </a:lnTo>
                    <a:lnTo>
                      <a:pt x="38849" y="49414"/>
                    </a:lnTo>
                    <a:lnTo>
                      <a:pt x="36805" y="50606"/>
                    </a:lnTo>
                    <a:lnTo>
                      <a:pt x="36805" y="63386"/>
                    </a:lnTo>
                    <a:lnTo>
                      <a:pt x="2215" y="43279"/>
                    </a:lnTo>
                    <a:lnTo>
                      <a:pt x="2215" y="3749"/>
                    </a:lnTo>
                    <a:lnTo>
                      <a:pt x="36805" y="23684"/>
                    </a:lnTo>
                    <a:lnTo>
                      <a:pt x="36805" y="36123"/>
                    </a:lnTo>
                    <a:lnTo>
                      <a:pt x="39020" y="34930"/>
                    </a:lnTo>
                    <a:lnTo>
                      <a:pt x="39020" y="22321"/>
                    </a:lnTo>
                  </a:path>
                </a:pathLst>
              </a:custGeom>
              <a:solidFill>
                <a:srgbClr val="6D6D6B"/>
              </a:solidFill>
              <a:ln w="16828" cap="flat">
                <a:noFill/>
                <a:prstDash val="solid"/>
                <a:miter/>
              </a:ln>
            </p:spPr>
            <p:txBody>
              <a:bodyPr rtlCol="0" anchor="ctr"/>
              <a:lstStyle/>
              <a:p>
                <a:endParaRPr lang="en-IN"/>
              </a:p>
            </p:txBody>
          </p:sp>
          <p:sp>
            <p:nvSpPr>
              <p:cNvPr id="4200" name="Freeform: Shape 4199">
                <a:extLst>
                  <a:ext uri="{FF2B5EF4-FFF2-40B4-BE49-F238E27FC236}">
                    <a16:creationId xmlns:a16="http://schemas.microsoft.com/office/drawing/2014/main" id="{0A940F3C-0B68-4998-902B-30D90A1F7C2E}"/>
                  </a:ext>
                </a:extLst>
              </p:cNvPr>
              <p:cNvSpPr/>
              <p:nvPr/>
            </p:nvSpPr>
            <p:spPr>
              <a:xfrm>
                <a:off x="6183133" y="4827658"/>
                <a:ext cx="20021" cy="31435"/>
              </a:xfrm>
              <a:custGeom>
                <a:avLst/>
                <a:gdLst>
                  <a:gd name="connsiteX0" fmla="*/ 4515 w 20021"/>
                  <a:gd name="connsiteY0" fmla="*/ 638 h 31435"/>
                  <a:gd name="connsiteX1" fmla="*/ 1278 w 20021"/>
                  <a:gd name="connsiteY1" fmla="*/ 297 h 31435"/>
                  <a:gd name="connsiteX2" fmla="*/ 1278 w 20021"/>
                  <a:gd name="connsiteY2" fmla="*/ 7624 h 31435"/>
                  <a:gd name="connsiteX3" fmla="*/ 12865 w 20021"/>
                  <a:gd name="connsiteY3" fmla="*/ 27560 h 31435"/>
                  <a:gd name="connsiteX4" fmla="*/ 15932 w 20021"/>
                  <a:gd name="connsiteY4" fmla="*/ 30797 h 31435"/>
                  <a:gd name="connsiteX5" fmla="*/ 19169 w 20021"/>
                  <a:gd name="connsiteY5" fmla="*/ 31138 h 31435"/>
                  <a:gd name="connsiteX6" fmla="*/ 20021 w 20021"/>
                  <a:gd name="connsiteY6" fmla="*/ 30116 h 31435"/>
                  <a:gd name="connsiteX7" fmla="*/ 19339 w 20021"/>
                  <a:gd name="connsiteY7" fmla="*/ 30627 h 31435"/>
                  <a:gd name="connsiteX8" fmla="*/ 16102 w 20021"/>
                  <a:gd name="connsiteY8" fmla="*/ 30286 h 31435"/>
                  <a:gd name="connsiteX9" fmla="*/ 13035 w 20021"/>
                  <a:gd name="connsiteY9" fmla="*/ 27049 h 31435"/>
                  <a:gd name="connsiteX10" fmla="*/ 13035 w 20021"/>
                  <a:gd name="connsiteY10" fmla="*/ 19722 h 31435"/>
                  <a:gd name="connsiteX11" fmla="*/ 15761 w 20021"/>
                  <a:gd name="connsiteY11" fmla="*/ 18188 h 31435"/>
                  <a:gd name="connsiteX12" fmla="*/ 7582 w 20021"/>
                  <a:gd name="connsiteY12" fmla="*/ 4046 h 31435"/>
                  <a:gd name="connsiteX13" fmla="*/ 4515 w 20021"/>
                  <a:gd name="connsiteY13" fmla="*/ 638 h 3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21" h="31435">
                    <a:moveTo>
                      <a:pt x="4515" y="638"/>
                    </a:moveTo>
                    <a:cubicBezTo>
                      <a:pt x="3323" y="-44"/>
                      <a:pt x="2300" y="-214"/>
                      <a:pt x="1278" y="297"/>
                    </a:cubicBezTo>
                    <a:cubicBezTo>
                      <a:pt x="-426" y="1320"/>
                      <a:pt x="-426" y="4557"/>
                      <a:pt x="1278" y="7624"/>
                    </a:cubicBezTo>
                    <a:lnTo>
                      <a:pt x="12865" y="27560"/>
                    </a:lnTo>
                    <a:cubicBezTo>
                      <a:pt x="13717" y="29093"/>
                      <a:pt x="14909" y="30286"/>
                      <a:pt x="15932" y="30797"/>
                    </a:cubicBezTo>
                    <a:cubicBezTo>
                      <a:pt x="17124" y="31479"/>
                      <a:pt x="18147" y="31649"/>
                      <a:pt x="19169" y="31138"/>
                    </a:cubicBezTo>
                    <a:cubicBezTo>
                      <a:pt x="19510" y="30968"/>
                      <a:pt x="19851" y="30627"/>
                      <a:pt x="20021" y="3011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730" y="2512"/>
                      <a:pt x="5538" y="1320"/>
                      <a:pt x="4515" y="638"/>
                    </a:cubicBezTo>
                  </a:path>
                </a:pathLst>
              </a:custGeom>
              <a:solidFill>
                <a:srgbClr val="BBD80A"/>
              </a:solidFill>
              <a:ln w="16828" cap="flat">
                <a:noFill/>
                <a:prstDash val="solid"/>
                <a:miter/>
              </a:ln>
            </p:spPr>
            <p:txBody>
              <a:bodyPr rtlCol="0" anchor="ctr"/>
              <a:lstStyle/>
              <a:p>
                <a:endParaRPr lang="en-IN"/>
              </a:p>
            </p:txBody>
          </p:sp>
          <p:sp>
            <p:nvSpPr>
              <p:cNvPr id="4201" name="Freeform: Shape 4200">
                <a:extLst>
                  <a:ext uri="{FF2B5EF4-FFF2-40B4-BE49-F238E27FC236}">
                    <a16:creationId xmlns:a16="http://schemas.microsoft.com/office/drawing/2014/main" id="{C3412A51-928A-4B96-AEBA-D53A246838EC}"/>
                  </a:ext>
                </a:extLst>
              </p:cNvPr>
              <p:cNvSpPr/>
              <p:nvPr/>
            </p:nvSpPr>
            <p:spPr>
              <a:xfrm>
                <a:off x="6194719" y="4832429"/>
                <a:ext cx="34589" cy="25982"/>
              </a:xfrm>
              <a:custGeom>
                <a:avLst/>
                <a:gdLst>
                  <a:gd name="connsiteX0" fmla="*/ 30245 w 34589"/>
                  <a:gd name="connsiteY0" fmla="*/ 638 h 25982"/>
                  <a:gd name="connsiteX1" fmla="*/ 27007 w 34589"/>
                  <a:gd name="connsiteY1" fmla="*/ 297 h 25982"/>
                  <a:gd name="connsiteX2" fmla="*/ 17295 w 34589"/>
                  <a:gd name="connsiteY2" fmla="*/ 5750 h 25982"/>
                  <a:gd name="connsiteX3" fmla="*/ 15080 w 34589"/>
                  <a:gd name="connsiteY3" fmla="*/ 6942 h 25982"/>
                  <a:gd name="connsiteX4" fmla="*/ 4004 w 34589"/>
                  <a:gd name="connsiteY4" fmla="*/ 13247 h 25982"/>
                  <a:gd name="connsiteX5" fmla="*/ 1278 w 34589"/>
                  <a:gd name="connsiteY5" fmla="*/ 14781 h 25982"/>
                  <a:gd name="connsiteX6" fmla="*/ 1278 w 34589"/>
                  <a:gd name="connsiteY6" fmla="*/ 22107 h 25982"/>
                  <a:gd name="connsiteX7" fmla="*/ 4345 w 34589"/>
                  <a:gd name="connsiteY7" fmla="*/ 25345 h 25982"/>
                  <a:gd name="connsiteX8" fmla="*/ 7582 w 34589"/>
                  <a:gd name="connsiteY8" fmla="*/ 25686 h 25982"/>
                  <a:gd name="connsiteX9" fmla="*/ 8264 w 34589"/>
                  <a:gd name="connsiteY9" fmla="*/ 25174 h 25982"/>
                  <a:gd name="connsiteX10" fmla="*/ 15080 w 34589"/>
                  <a:gd name="connsiteY10" fmla="*/ 21255 h 25982"/>
                  <a:gd name="connsiteX11" fmla="*/ 17295 w 34589"/>
                  <a:gd name="connsiteY11" fmla="*/ 20063 h 25982"/>
                  <a:gd name="connsiteX12" fmla="*/ 33312 w 34589"/>
                  <a:gd name="connsiteY12" fmla="*/ 11032 h 25982"/>
                  <a:gd name="connsiteX13" fmla="*/ 33312 w 34589"/>
                  <a:gd name="connsiteY13" fmla="*/ 3705 h 25982"/>
                  <a:gd name="connsiteX14" fmla="*/ 30245 w 34589"/>
                  <a:gd name="connsiteY14" fmla="*/ 638 h 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5982">
                    <a:moveTo>
                      <a:pt x="30245" y="638"/>
                    </a:moveTo>
                    <a:cubicBezTo>
                      <a:pt x="29052" y="-44"/>
                      <a:pt x="28029" y="-214"/>
                      <a:pt x="27007" y="297"/>
                    </a:cubicBezTo>
                    <a:lnTo>
                      <a:pt x="17295" y="5750"/>
                    </a:lnTo>
                    <a:lnTo>
                      <a:pt x="15080" y="6942"/>
                    </a:lnTo>
                    <a:lnTo>
                      <a:pt x="4004" y="13247"/>
                    </a:lnTo>
                    <a:lnTo>
                      <a:pt x="1278" y="14781"/>
                    </a:lnTo>
                    <a:cubicBezTo>
                      <a:pt x="-426" y="15803"/>
                      <a:pt x="-426" y="19040"/>
                      <a:pt x="1278" y="22107"/>
                    </a:cubicBezTo>
                    <a:cubicBezTo>
                      <a:pt x="2130" y="23641"/>
                      <a:pt x="3323" y="24834"/>
                      <a:pt x="4345" y="25345"/>
                    </a:cubicBezTo>
                    <a:cubicBezTo>
                      <a:pt x="5538" y="26026"/>
                      <a:pt x="6560" y="26197"/>
                      <a:pt x="7582" y="25686"/>
                    </a:cubicBezTo>
                    <a:lnTo>
                      <a:pt x="8264" y="25174"/>
                    </a:lnTo>
                    <a:lnTo>
                      <a:pt x="15080" y="21255"/>
                    </a:lnTo>
                    <a:lnTo>
                      <a:pt x="17295" y="20063"/>
                    </a:lnTo>
                    <a:lnTo>
                      <a:pt x="33312" y="11032"/>
                    </a:lnTo>
                    <a:cubicBezTo>
                      <a:pt x="35015" y="10010"/>
                      <a:pt x="35015" y="6772"/>
                      <a:pt x="33312" y="3705"/>
                    </a:cubicBezTo>
                    <a:cubicBezTo>
                      <a:pt x="32460" y="2512"/>
                      <a:pt x="31437" y="1320"/>
                      <a:pt x="30245" y="638"/>
                    </a:cubicBezTo>
                  </a:path>
                </a:pathLst>
              </a:custGeom>
              <a:solidFill>
                <a:srgbClr val="BBD80A"/>
              </a:solidFill>
              <a:ln w="16828" cap="flat">
                <a:noFill/>
                <a:prstDash val="solid"/>
                <a:miter/>
              </a:ln>
            </p:spPr>
            <p:txBody>
              <a:bodyPr rtlCol="0" anchor="ctr"/>
              <a:lstStyle/>
              <a:p>
                <a:endParaRPr lang="en-IN"/>
              </a:p>
            </p:txBody>
          </p:sp>
        </p:grpSp>
        <p:sp>
          <p:nvSpPr>
            <p:cNvPr id="4202" name="Freeform: Shape 4201">
              <a:extLst>
                <a:ext uri="{FF2B5EF4-FFF2-40B4-BE49-F238E27FC236}">
                  <a16:creationId xmlns:a16="http://schemas.microsoft.com/office/drawing/2014/main" id="{53EDD97E-AF56-4A86-B705-2AF9E0B110A8}"/>
                </a:ext>
              </a:extLst>
            </p:cNvPr>
            <p:cNvSpPr/>
            <p:nvPr/>
          </p:nvSpPr>
          <p:spPr>
            <a:xfrm>
              <a:off x="6140450" y="4237037"/>
              <a:ext cx="17039" cy="17039"/>
            </a:xfrm>
            <a:custGeom>
              <a:avLst/>
              <a:gdLst/>
              <a:ahLst/>
              <a:cxnLst/>
              <a:rect l="l" t="t" r="r" b="b"/>
              <a:pathLst>
                <a:path w="17039" h="17039"/>
              </a:pathLst>
            </a:custGeom>
            <a:solidFill>
              <a:srgbClr val="F8F9FC"/>
            </a:solidFill>
            <a:ln w="16828" cap="flat">
              <a:noFill/>
              <a:prstDash val="solid"/>
              <a:miter/>
            </a:ln>
          </p:spPr>
          <p:txBody>
            <a:bodyPr rtlCol="0" anchor="ctr"/>
            <a:lstStyle/>
            <a:p>
              <a:endParaRPr lang="en-IN"/>
            </a:p>
          </p:txBody>
        </p:sp>
      </p:grpSp>
      <p:grpSp>
        <p:nvGrpSpPr>
          <p:cNvPr id="4204" name="Graphic 4202">
            <a:extLst>
              <a:ext uri="{FF2B5EF4-FFF2-40B4-BE49-F238E27FC236}">
                <a16:creationId xmlns:a16="http://schemas.microsoft.com/office/drawing/2014/main" id="{D8C93A7D-1944-411F-8F69-6296BBFF6FB9}"/>
              </a:ext>
            </a:extLst>
          </p:cNvPr>
          <p:cNvGrpSpPr/>
          <p:nvPr/>
        </p:nvGrpSpPr>
        <p:grpSpPr>
          <a:xfrm>
            <a:off x="7782278" y="3621885"/>
            <a:ext cx="876742" cy="390237"/>
            <a:chOff x="7203477" y="4259980"/>
            <a:chExt cx="978668" cy="435604"/>
          </a:xfrm>
          <a:solidFill>
            <a:schemeClr val="accent1"/>
          </a:solidFill>
        </p:grpSpPr>
        <p:grpSp>
          <p:nvGrpSpPr>
            <p:cNvPr id="4205" name="Graphic 4202">
              <a:extLst>
                <a:ext uri="{FF2B5EF4-FFF2-40B4-BE49-F238E27FC236}">
                  <a16:creationId xmlns:a16="http://schemas.microsoft.com/office/drawing/2014/main" id="{D8C93A7D-1944-411F-8F69-6296BBFF6FB9}"/>
                </a:ext>
              </a:extLst>
            </p:cNvPr>
            <p:cNvGrpSpPr/>
            <p:nvPr/>
          </p:nvGrpSpPr>
          <p:grpSpPr>
            <a:xfrm>
              <a:off x="7541432" y="4259980"/>
              <a:ext cx="640713" cy="322909"/>
              <a:chOff x="7541432" y="4259980"/>
              <a:chExt cx="640713" cy="322909"/>
            </a:xfrm>
            <a:solidFill>
              <a:schemeClr val="accent1"/>
            </a:solidFill>
          </p:grpSpPr>
          <p:sp>
            <p:nvSpPr>
              <p:cNvPr id="4206" name="Freeform: Shape 4205">
                <a:extLst>
                  <a:ext uri="{FF2B5EF4-FFF2-40B4-BE49-F238E27FC236}">
                    <a16:creationId xmlns:a16="http://schemas.microsoft.com/office/drawing/2014/main" id="{F8E8458C-55CF-43BF-9E00-EBE0F81E6A05}"/>
                  </a:ext>
                </a:extLst>
              </p:cNvPr>
              <p:cNvSpPr/>
              <p:nvPr/>
            </p:nvSpPr>
            <p:spPr>
              <a:xfrm>
                <a:off x="7541600" y="4402756"/>
                <a:ext cx="18017" cy="26437"/>
              </a:xfrm>
              <a:custGeom>
                <a:avLst/>
                <a:gdLst>
                  <a:gd name="connsiteX0" fmla="*/ 0 w 18017"/>
                  <a:gd name="connsiteY0" fmla="*/ 0 h 26437"/>
                  <a:gd name="connsiteX1" fmla="*/ 18018 w 18017"/>
                  <a:gd name="connsiteY1" fmla="*/ 0 h 26437"/>
                  <a:gd name="connsiteX2" fmla="*/ 18018 w 18017"/>
                  <a:gd name="connsiteY2" fmla="*/ 26437 h 26437"/>
                  <a:gd name="connsiteX3" fmla="*/ 0 w 18017"/>
                  <a:gd name="connsiteY3" fmla="*/ 26437 h 26437"/>
                </a:gdLst>
                <a:ahLst/>
                <a:cxnLst>
                  <a:cxn ang="0">
                    <a:pos x="connsiteX0" y="connsiteY0"/>
                  </a:cxn>
                  <a:cxn ang="0">
                    <a:pos x="connsiteX1" y="connsiteY1"/>
                  </a:cxn>
                  <a:cxn ang="0">
                    <a:pos x="connsiteX2" y="connsiteY2"/>
                  </a:cxn>
                  <a:cxn ang="0">
                    <a:pos x="connsiteX3" y="connsiteY3"/>
                  </a:cxn>
                </a:cxnLst>
                <a:rect l="l" t="t" r="r" b="b"/>
                <a:pathLst>
                  <a:path w="18017" h="26437">
                    <a:moveTo>
                      <a:pt x="0" y="0"/>
                    </a:moveTo>
                    <a:lnTo>
                      <a:pt x="18018" y="0"/>
                    </a:lnTo>
                    <a:lnTo>
                      <a:pt x="18018" y="26437"/>
                    </a:lnTo>
                    <a:lnTo>
                      <a:pt x="0" y="26437"/>
                    </a:lnTo>
                    <a:close/>
                  </a:path>
                </a:pathLst>
              </a:custGeom>
              <a:solidFill>
                <a:srgbClr val="A5A6AB"/>
              </a:solidFill>
              <a:ln w="16828" cap="flat">
                <a:noFill/>
                <a:prstDash val="solid"/>
                <a:miter/>
              </a:ln>
            </p:spPr>
            <p:txBody>
              <a:bodyPr rtlCol="0" anchor="ctr"/>
              <a:lstStyle/>
              <a:p>
                <a:endParaRPr lang="en-IN"/>
              </a:p>
            </p:txBody>
          </p:sp>
          <p:sp>
            <p:nvSpPr>
              <p:cNvPr id="4207" name="Freeform: Shape 4206">
                <a:extLst>
                  <a:ext uri="{FF2B5EF4-FFF2-40B4-BE49-F238E27FC236}">
                    <a16:creationId xmlns:a16="http://schemas.microsoft.com/office/drawing/2014/main" id="{17577712-072B-4B8F-826A-349C765CE630}"/>
                  </a:ext>
                </a:extLst>
              </p:cNvPr>
              <p:cNvSpPr/>
              <p:nvPr/>
            </p:nvSpPr>
            <p:spPr>
              <a:xfrm>
                <a:off x="7976043" y="4452262"/>
                <a:ext cx="12629" cy="26437"/>
              </a:xfrm>
              <a:custGeom>
                <a:avLst/>
                <a:gdLst>
                  <a:gd name="connsiteX0" fmla="*/ 0 w 12629"/>
                  <a:gd name="connsiteY0" fmla="*/ 0 h 26437"/>
                  <a:gd name="connsiteX1" fmla="*/ 12629 w 12629"/>
                  <a:gd name="connsiteY1" fmla="*/ 0 h 26437"/>
                  <a:gd name="connsiteX2" fmla="*/ 12629 w 12629"/>
                  <a:gd name="connsiteY2" fmla="*/ 26437 h 26437"/>
                  <a:gd name="connsiteX3" fmla="*/ 0 w 12629"/>
                  <a:gd name="connsiteY3" fmla="*/ 26437 h 26437"/>
                </a:gdLst>
                <a:ahLst/>
                <a:cxnLst>
                  <a:cxn ang="0">
                    <a:pos x="connsiteX0" y="connsiteY0"/>
                  </a:cxn>
                  <a:cxn ang="0">
                    <a:pos x="connsiteX1" y="connsiteY1"/>
                  </a:cxn>
                  <a:cxn ang="0">
                    <a:pos x="connsiteX2" y="connsiteY2"/>
                  </a:cxn>
                  <a:cxn ang="0">
                    <a:pos x="connsiteX3" y="connsiteY3"/>
                  </a:cxn>
                </a:cxnLst>
                <a:rect l="l" t="t" r="r" b="b"/>
                <a:pathLst>
                  <a:path w="12629" h="26437">
                    <a:moveTo>
                      <a:pt x="0" y="0"/>
                    </a:moveTo>
                    <a:lnTo>
                      <a:pt x="12629" y="0"/>
                    </a:lnTo>
                    <a:lnTo>
                      <a:pt x="12629" y="26437"/>
                    </a:lnTo>
                    <a:lnTo>
                      <a:pt x="0" y="26437"/>
                    </a:lnTo>
                    <a:close/>
                  </a:path>
                </a:pathLst>
              </a:custGeom>
              <a:solidFill>
                <a:srgbClr val="A5A6AB"/>
              </a:solidFill>
              <a:ln w="16828" cap="flat">
                <a:noFill/>
                <a:prstDash val="solid"/>
                <a:miter/>
              </a:ln>
            </p:spPr>
            <p:txBody>
              <a:bodyPr rtlCol="0" anchor="ctr"/>
              <a:lstStyle/>
              <a:p>
                <a:endParaRPr lang="en-IN"/>
              </a:p>
            </p:txBody>
          </p:sp>
          <p:sp>
            <p:nvSpPr>
              <p:cNvPr id="4208" name="Freeform: Shape 4207">
                <a:extLst>
                  <a:ext uri="{FF2B5EF4-FFF2-40B4-BE49-F238E27FC236}">
                    <a16:creationId xmlns:a16="http://schemas.microsoft.com/office/drawing/2014/main" id="{EAFE899A-658C-42B4-AF9D-98C86039EE1E}"/>
                  </a:ext>
                </a:extLst>
              </p:cNvPr>
              <p:cNvSpPr/>
              <p:nvPr/>
            </p:nvSpPr>
            <p:spPr>
              <a:xfrm>
                <a:off x="7541432" y="4324834"/>
                <a:ext cx="447408" cy="258055"/>
              </a:xfrm>
              <a:custGeom>
                <a:avLst/>
                <a:gdLst>
                  <a:gd name="connsiteX0" fmla="*/ 438315 w 447408"/>
                  <a:gd name="connsiteY0" fmla="*/ 165821 h 258055"/>
                  <a:gd name="connsiteX1" fmla="*/ 287608 w 447408"/>
                  <a:gd name="connsiteY1" fmla="*/ 252878 h 258055"/>
                  <a:gd name="connsiteX2" fmla="*/ 243995 w 447408"/>
                  <a:gd name="connsiteY2" fmla="*/ 252878 h 258055"/>
                  <a:gd name="connsiteX3" fmla="*/ 9093 w 447408"/>
                  <a:gd name="connsiteY3" fmla="*/ 117325 h 258055"/>
                  <a:gd name="connsiteX4" fmla="*/ 9093 w 447408"/>
                  <a:gd name="connsiteY4" fmla="*/ 92235 h 258055"/>
                  <a:gd name="connsiteX5" fmla="*/ 159801 w 447408"/>
                  <a:gd name="connsiteY5" fmla="*/ 5178 h 258055"/>
                  <a:gd name="connsiteX6" fmla="*/ 203413 w 447408"/>
                  <a:gd name="connsiteY6" fmla="*/ 5178 h 258055"/>
                  <a:gd name="connsiteX7" fmla="*/ 438315 w 447408"/>
                  <a:gd name="connsiteY7" fmla="*/ 140731 h 258055"/>
                  <a:gd name="connsiteX8" fmla="*/ 438315 w 447408"/>
                  <a:gd name="connsiteY8" fmla="*/ 165821 h 258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408" h="258055">
                    <a:moveTo>
                      <a:pt x="438315" y="165821"/>
                    </a:moveTo>
                    <a:lnTo>
                      <a:pt x="287608" y="252878"/>
                    </a:lnTo>
                    <a:cubicBezTo>
                      <a:pt x="275652" y="259781"/>
                      <a:pt x="256119" y="259781"/>
                      <a:pt x="243995" y="252878"/>
                    </a:cubicBezTo>
                    <a:lnTo>
                      <a:pt x="9093" y="117325"/>
                    </a:lnTo>
                    <a:cubicBezTo>
                      <a:pt x="-3031" y="110421"/>
                      <a:pt x="-3031" y="99139"/>
                      <a:pt x="9093" y="92235"/>
                    </a:cubicBezTo>
                    <a:lnTo>
                      <a:pt x="159801" y="5178"/>
                    </a:lnTo>
                    <a:cubicBezTo>
                      <a:pt x="171756" y="-1726"/>
                      <a:pt x="191289" y="-1726"/>
                      <a:pt x="203413" y="5178"/>
                    </a:cubicBezTo>
                    <a:lnTo>
                      <a:pt x="438315" y="140731"/>
                    </a:lnTo>
                    <a:cubicBezTo>
                      <a:pt x="450439" y="147635"/>
                      <a:pt x="450439" y="158917"/>
                      <a:pt x="438315" y="165821"/>
                    </a:cubicBezTo>
                    <a:close/>
                  </a:path>
                </a:pathLst>
              </a:custGeom>
              <a:solidFill>
                <a:srgbClr val="A5A6AB"/>
              </a:solidFill>
              <a:ln w="16828" cap="flat">
                <a:noFill/>
                <a:prstDash val="solid"/>
                <a:miter/>
              </a:ln>
            </p:spPr>
            <p:txBody>
              <a:bodyPr rtlCol="0" anchor="ctr"/>
              <a:lstStyle/>
              <a:p>
                <a:endParaRPr lang="en-IN"/>
              </a:p>
            </p:txBody>
          </p:sp>
          <p:sp>
            <p:nvSpPr>
              <p:cNvPr id="4209" name="Freeform: Shape 4208">
                <a:extLst>
                  <a:ext uri="{FF2B5EF4-FFF2-40B4-BE49-F238E27FC236}">
                    <a16:creationId xmlns:a16="http://schemas.microsoft.com/office/drawing/2014/main" id="{D28DA2C5-3869-4B5E-AC1F-83C4E7FECADE}"/>
                  </a:ext>
                </a:extLst>
              </p:cNvPr>
              <p:cNvSpPr/>
              <p:nvPr/>
            </p:nvSpPr>
            <p:spPr>
              <a:xfrm>
                <a:off x="7541432" y="4298903"/>
                <a:ext cx="447408" cy="258055"/>
              </a:xfrm>
              <a:custGeom>
                <a:avLst/>
                <a:gdLst>
                  <a:gd name="connsiteX0" fmla="*/ 438315 w 447408"/>
                  <a:gd name="connsiteY0" fmla="*/ 165821 h 258055"/>
                  <a:gd name="connsiteX1" fmla="*/ 287608 w 447408"/>
                  <a:gd name="connsiteY1" fmla="*/ 252878 h 258055"/>
                  <a:gd name="connsiteX2" fmla="*/ 243995 w 447408"/>
                  <a:gd name="connsiteY2" fmla="*/ 252878 h 258055"/>
                  <a:gd name="connsiteX3" fmla="*/ 9093 w 447408"/>
                  <a:gd name="connsiteY3" fmla="*/ 117325 h 258055"/>
                  <a:gd name="connsiteX4" fmla="*/ 9093 w 447408"/>
                  <a:gd name="connsiteY4" fmla="*/ 92235 h 258055"/>
                  <a:gd name="connsiteX5" fmla="*/ 159801 w 447408"/>
                  <a:gd name="connsiteY5" fmla="*/ 5178 h 258055"/>
                  <a:gd name="connsiteX6" fmla="*/ 203413 w 447408"/>
                  <a:gd name="connsiteY6" fmla="*/ 5178 h 258055"/>
                  <a:gd name="connsiteX7" fmla="*/ 438315 w 447408"/>
                  <a:gd name="connsiteY7" fmla="*/ 140731 h 258055"/>
                  <a:gd name="connsiteX8" fmla="*/ 438315 w 447408"/>
                  <a:gd name="connsiteY8" fmla="*/ 165821 h 258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408" h="258055">
                    <a:moveTo>
                      <a:pt x="438315" y="165821"/>
                    </a:moveTo>
                    <a:lnTo>
                      <a:pt x="287608" y="252878"/>
                    </a:lnTo>
                    <a:cubicBezTo>
                      <a:pt x="275652" y="259781"/>
                      <a:pt x="256119" y="259781"/>
                      <a:pt x="243995" y="252878"/>
                    </a:cubicBezTo>
                    <a:lnTo>
                      <a:pt x="9093" y="117325"/>
                    </a:lnTo>
                    <a:cubicBezTo>
                      <a:pt x="-3031" y="110421"/>
                      <a:pt x="-3031" y="99139"/>
                      <a:pt x="9093" y="92235"/>
                    </a:cubicBezTo>
                    <a:lnTo>
                      <a:pt x="159801" y="5178"/>
                    </a:lnTo>
                    <a:cubicBezTo>
                      <a:pt x="171756" y="-1726"/>
                      <a:pt x="191289" y="-1726"/>
                      <a:pt x="203413" y="5178"/>
                    </a:cubicBezTo>
                    <a:lnTo>
                      <a:pt x="438315" y="140731"/>
                    </a:lnTo>
                    <a:cubicBezTo>
                      <a:pt x="450439" y="147635"/>
                      <a:pt x="450439" y="158917"/>
                      <a:pt x="438315" y="165821"/>
                    </a:cubicBezTo>
                    <a:close/>
                  </a:path>
                </a:pathLst>
              </a:custGeom>
              <a:solidFill>
                <a:srgbClr val="818286"/>
              </a:solidFill>
              <a:ln w="16828" cap="flat">
                <a:noFill/>
                <a:prstDash val="solid"/>
                <a:miter/>
              </a:ln>
            </p:spPr>
            <p:txBody>
              <a:bodyPr rtlCol="0" anchor="ctr"/>
              <a:lstStyle/>
              <a:p>
                <a:endParaRPr lang="en-IN"/>
              </a:p>
            </p:txBody>
          </p:sp>
          <p:sp>
            <p:nvSpPr>
              <p:cNvPr id="4210" name="Freeform: Shape 4209">
                <a:extLst>
                  <a:ext uri="{FF2B5EF4-FFF2-40B4-BE49-F238E27FC236}">
                    <a16:creationId xmlns:a16="http://schemas.microsoft.com/office/drawing/2014/main" id="{93B7210F-A99F-4D8B-A5AD-D8F81F5B5EBA}"/>
                  </a:ext>
                </a:extLst>
              </p:cNvPr>
              <p:cNvSpPr/>
              <p:nvPr/>
            </p:nvSpPr>
            <p:spPr>
              <a:xfrm>
                <a:off x="7572727" y="4317389"/>
                <a:ext cx="189621" cy="109610"/>
              </a:xfrm>
              <a:custGeom>
                <a:avLst/>
                <a:gdLst>
                  <a:gd name="connsiteX0" fmla="*/ 188116 w 189621"/>
                  <a:gd name="connsiteY0" fmla="*/ 25085 h 109610"/>
                  <a:gd name="connsiteX1" fmla="*/ 187274 w 189621"/>
                  <a:gd name="connsiteY1" fmla="*/ 25758 h 109610"/>
                  <a:gd name="connsiteX2" fmla="*/ 44480 w 189621"/>
                  <a:gd name="connsiteY2" fmla="*/ 108269 h 109610"/>
                  <a:gd name="connsiteX3" fmla="*/ 31178 w 189621"/>
                  <a:gd name="connsiteY3" fmla="*/ 107763 h 109610"/>
                  <a:gd name="connsiteX4" fmla="*/ 3225 w 189621"/>
                  <a:gd name="connsiteY4" fmla="*/ 91598 h 109610"/>
                  <a:gd name="connsiteX5" fmla="*/ 1710 w 189621"/>
                  <a:gd name="connsiteY5" fmla="*/ 90419 h 109610"/>
                  <a:gd name="connsiteX6" fmla="*/ 2215 w 189621"/>
                  <a:gd name="connsiteY6" fmla="*/ 83852 h 109610"/>
                  <a:gd name="connsiteX7" fmla="*/ 145008 w 189621"/>
                  <a:gd name="connsiteY7" fmla="*/ 1342 h 109610"/>
                  <a:gd name="connsiteX8" fmla="*/ 158311 w 189621"/>
                  <a:gd name="connsiteY8" fmla="*/ 1847 h 109610"/>
                  <a:gd name="connsiteX9" fmla="*/ 186263 w 189621"/>
                  <a:gd name="connsiteY9" fmla="*/ 18012 h 109610"/>
                  <a:gd name="connsiteX10" fmla="*/ 188116 w 189621"/>
                  <a:gd name="connsiteY10" fmla="*/ 25085 h 109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9621" h="109610">
                    <a:moveTo>
                      <a:pt x="188116" y="25085"/>
                    </a:moveTo>
                    <a:cubicBezTo>
                      <a:pt x="187779" y="25253"/>
                      <a:pt x="187610" y="25421"/>
                      <a:pt x="187274" y="25758"/>
                    </a:cubicBezTo>
                    <a:lnTo>
                      <a:pt x="44480" y="108269"/>
                    </a:lnTo>
                    <a:cubicBezTo>
                      <a:pt x="41112" y="110289"/>
                      <a:pt x="35219" y="109952"/>
                      <a:pt x="31178" y="107763"/>
                    </a:cubicBezTo>
                    <a:lnTo>
                      <a:pt x="3225" y="91598"/>
                    </a:lnTo>
                    <a:cubicBezTo>
                      <a:pt x="2551" y="91261"/>
                      <a:pt x="2046" y="90925"/>
                      <a:pt x="1710" y="90419"/>
                    </a:cubicBezTo>
                    <a:cubicBezTo>
                      <a:pt x="-648" y="88230"/>
                      <a:pt x="-648" y="85536"/>
                      <a:pt x="2215" y="83852"/>
                    </a:cubicBezTo>
                    <a:lnTo>
                      <a:pt x="145008" y="1342"/>
                    </a:lnTo>
                    <a:cubicBezTo>
                      <a:pt x="148376" y="-679"/>
                      <a:pt x="154269" y="-342"/>
                      <a:pt x="158311" y="1847"/>
                    </a:cubicBezTo>
                    <a:lnTo>
                      <a:pt x="186263" y="18012"/>
                    </a:lnTo>
                    <a:cubicBezTo>
                      <a:pt x="189968" y="20033"/>
                      <a:pt x="190641" y="23064"/>
                      <a:pt x="188116" y="25085"/>
                    </a:cubicBezTo>
                    <a:close/>
                  </a:path>
                </a:pathLst>
              </a:custGeom>
              <a:solidFill>
                <a:srgbClr val="A5A6AB"/>
              </a:solidFill>
              <a:ln w="16828" cap="flat">
                <a:noFill/>
                <a:prstDash val="solid"/>
                <a:miter/>
              </a:ln>
            </p:spPr>
            <p:txBody>
              <a:bodyPr rtlCol="0" anchor="ctr"/>
              <a:lstStyle/>
              <a:p>
                <a:endParaRPr lang="en-IN"/>
              </a:p>
            </p:txBody>
          </p:sp>
          <p:sp>
            <p:nvSpPr>
              <p:cNvPr id="4211" name="Freeform: Shape 4210">
                <a:extLst>
                  <a:ext uri="{FF2B5EF4-FFF2-40B4-BE49-F238E27FC236}">
                    <a16:creationId xmlns:a16="http://schemas.microsoft.com/office/drawing/2014/main" id="{73EE1EC6-D41C-46DD-BC2D-25096FE0B580}"/>
                  </a:ext>
                </a:extLst>
              </p:cNvPr>
              <p:cNvSpPr/>
              <p:nvPr/>
            </p:nvSpPr>
            <p:spPr>
              <a:xfrm>
                <a:off x="7574436" y="4323282"/>
                <a:ext cx="186406" cy="103716"/>
              </a:xfrm>
              <a:custGeom>
                <a:avLst/>
                <a:gdLst>
                  <a:gd name="connsiteX0" fmla="*/ 186406 w 186406"/>
                  <a:gd name="connsiteY0" fmla="*/ 19191 h 103716"/>
                  <a:gd name="connsiteX1" fmla="*/ 185564 w 186406"/>
                  <a:gd name="connsiteY1" fmla="*/ 19865 h 103716"/>
                  <a:gd name="connsiteX2" fmla="*/ 42771 w 186406"/>
                  <a:gd name="connsiteY2" fmla="*/ 102375 h 103716"/>
                  <a:gd name="connsiteX3" fmla="*/ 29468 w 186406"/>
                  <a:gd name="connsiteY3" fmla="*/ 101870 h 103716"/>
                  <a:gd name="connsiteX4" fmla="*/ 1515 w 186406"/>
                  <a:gd name="connsiteY4" fmla="*/ 85704 h 103716"/>
                  <a:gd name="connsiteX5" fmla="*/ 0 w 186406"/>
                  <a:gd name="connsiteY5" fmla="*/ 84526 h 103716"/>
                  <a:gd name="connsiteX6" fmla="*/ 842 w 186406"/>
                  <a:gd name="connsiteY6" fmla="*/ 83852 h 103716"/>
                  <a:gd name="connsiteX7" fmla="*/ 143635 w 186406"/>
                  <a:gd name="connsiteY7" fmla="*/ 1342 h 103716"/>
                  <a:gd name="connsiteX8" fmla="*/ 156938 w 186406"/>
                  <a:gd name="connsiteY8" fmla="*/ 1847 h 103716"/>
                  <a:gd name="connsiteX9" fmla="*/ 184891 w 186406"/>
                  <a:gd name="connsiteY9" fmla="*/ 18012 h 103716"/>
                  <a:gd name="connsiteX10" fmla="*/ 186406 w 186406"/>
                  <a:gd name="connsiteY10" fmla="*/ 19191 h 10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6406" h="103716">
                    <a:moveTo>
                      <a:pt x="186406" y="19191"/>
                    </a:moveTo>
                    <a:cubicBezTo>
                      <a:pt x="186069" y="19359"/>
                      <a:pt x="185901" y="19528"/>
                      <a:pt x="185564" y="19865"/>
                    </a:cubicBezTo>
                    <a:lnTo>
                      <a:pt x="42771" y="102375"/>
                    </a:lnTo>
                    <a:cubicBezTo>
                      <a:pt x="39403" y="104396"/>
                      <a:pt x="33509" y="104059"/>
                      <a:pt x="29468" y="101870"/>
                    </a:cubicBezTo>
                    <a:lnTo>
                      <a:pt x="1515" y="85704"/>
                    </a:lnTo>
                    <a:cubicBezTo>
                      <a:pt x="842" y="85368"/>
                      <a:pt x="337" y="85031"/>
                      <a:pt x="0" y="84526"/>
                    </a:cubicBezTo>
                    <a:cubicBezTo>
                      <a:pt x="168" y="84357"/>
                      <a:pt x="505" y="84189"/>
                      <a:pt x="842" y="83852"/>
                    </a:cubicBezTo>
                    <a:lnTo>
                      <a:pt x="143635" y="1342"/>
                    </a:lnTo>
                    <a:cubicBezTo>
                      <a:pt x="147003" y="-679"/>
                      <a:pt x="152897" y="-342"/>
                      <a:pt x="156938" y="1847"/>
                    </a:cubicBezTo>
                    <a:lnTo>
                      <a:pt x="184891" y="18012"/>
                    </a:lnTo>
                    <a:cubicBezTo>
                      <a:pt x="185396" y="18349"/>
                      <a:pt x="186069" y="18686"/>
                      <a:pt x="186406" y="19191"/>
                    </a:cubicBezTo>
                    <a:close/>
                  </a:path>
                </a:pathLst>
              </a:custGeom>
              <a:solidFill>
                <a:srgbClr val="F1F1F1"/>
              </a:solidFill>
              <a:ln w="16828" cap="flat">
                <a:noFill/>
                <a:prstDash val="solid"/>
                <a:miter/>
              </a:ln>
            </p:spPr>
            <p:txBody>
              <a:bodyPr rtlCol="0" anchor="ctr"/>
              <a:lstStyle/>
              <a:p>
                <a:endParaRPr lang="en-IN"/>
              </a:p>
            </p:txBody>
          </p:sp>
          <p:grpSp>
            <p:nvGrpSpPr>
              <p:cNvPr id="4212" name="Graphic 4202">
                <a:extLst>
                  <a:ext uri="{FF2B5EF4-FFF2-40B4-BE49-F238E27FC236}">
                    <a16:creationId xmlns:a16="http://schemas.microsoft.com/office/drawing/2014/main" id="{D8C93A7D-1944-411F-8F69-6296BBFF6FB9}"/>
                  </a:ext>
                </a:extLst>
              </p:cNvPr>
              <p:cNvGrpSpPr/>
              <p:nvPr/>
            </p:nvGrpSpPr>
            <p:grpSpPr>
              <a:xfrm>
                <a:off x="7626456" y="4341710"/>
                <a:ext cx="181211" cy="111315"/>
                <a:chOff x="7626456" y="4341710"/>
                <a:chExt cx="181211" cy="111315"/>
              </a:xfrm>
              <a:solidFill>
                <a:schemeClr val="accent1"/>
              </a:solidFill>
            </p:grpSpPr>
            <p:grpSp>
              <p:nvGrpSpPr>
                <p:cNvPr id="4213" name="Graphic 4202">
                  <a:extLst>
                    <a:ext uri="{FF2B5EF4-FFF2-40B4-BE49-F238E27FC236}">
                      <a16:creationId xmlns:a16="http://schemas.microsoft.com/office/drawing/2014/main" id="{D8C93A7D-1944-411F-8F69-6296BBFF6FB9}"/>
                    </a:ext>
                  </a:extLst>
                </p:cNvPr>
                <p:cNvGrpSpPr/>
                <p:nvPr/>
              </p:nvGrpSpPr>
              <p:grpSpPr>
                <a:xfrm>
                  <a:off x="7626456" y="4414959"/>
                  <a:ext cx="54483" cy="38066"/>
                  <a:chOff x="7626456" y="4414959"/>
                  <a:chExt cx="54483" cy="38066"/>
                </a:xfrm>
                <a:solidFill>
                  <a:schemeClr val="accent1"/>
                </a:solidFill>
              </p:grpSpPr>
              <p:sp>
                <p:nvSpPr>
                  <p:cNvPr id="4214" name="Freeform: Shape 4213">
                    <a:extLst>
                      <a:ext uri="{FF2B5EF4-FFF2-40B4-BE49-F238E27FC236}">
                        <a16:creationId xmlns:a16="http://schemas.microsoft.com/office/drawing/2014/main" id="{B1E8D901-FEE2-4C4D-94C0-C78CF5463377}"/>
                      </a:ext>
                    </a:extLst>
                  </p:cNvPr>
                  <p:cNvSpPr/>
                  <p:nvPr/>
                </p:nvSpPr>
                <p:spPr>
                  <a:xfrm>
                    <a:off x="7626456" y="442152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15" name="Freeform: Shape 4214">
                    <a:extLst>
                      <a:ext uri="{FF2B5EF4-FFF2-40B4-BE49-F238E27FC236}">
                        <a16:creationId xmlns:a16="http://schemas.microsoft.com/office/drawing/2014/main" id="{AD253968-C1A4-415B-8A46-45BA11196CED}"/>
                      </a:ext>
                    </a:extLst>
                  </p:cNvPr>
                  <p:cNvSpPr/>
                  <p:nvPr/>
                </p:nvSpPr>
                <p:spPr>
                  <a:xfrm>
                    <a:off x="7626456" y="442102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16" name="Freeform: Shape 4215">
                    <a:extLst>
                      <a:ext uri="{FF2B5EF4-FFF2-40B4-BE49-F238E27FC236}">
                        <a16:creationId xmlns:a16="http://schemas.microsoft.com/office/drawing/2014/main" id="{D5D690A9-F5AA-4D7D-BB90-99CD2F85E1EB}"/>
                      </a:ext>
                    </a:extLst>
                  </p:cNvPr>
                  <p:cNvSpPr/>
                  <p:nvPr/>
                </p:nvSpPr>
                <p:spPr>
                  <a:xfrm>
                    <a:off x="7626456" y="442034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17" name="Freeform: Shape 4216">
                    <a:extLst>
                      <a:ext uri="{FF2B5EF4-FFF2-40B4-BE49-F238E27FC236}">
                        <a16:creationId xmlns:a16="http://schemas.microsoft.com/office/drawing/2014/main" id="{B4CC9B05-8E01-488F-AD72-84F62B0E4807}"/>
                      </a:ext>
                    </a:extLst>
                  </p:cNvPr>
                  <p:cNvSpPr/>
                  <p:nvPr/>
                </p:nvSpPr>
                <p:spPr>
                  <a:xfrm>
                    <a:off x="7626456" y="441967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18" name="Freeform: Shape 4217">
                    <a:extLst>
                      <a:ext uri="{FF2B5EF4-FFF2-40B4-BE49-F238E27FC236}">
                        <a16:creationId xmlns:a16="http://schemas.microsoft.com/office/drawing/2014/main" id="{AF285790-EBB4-497B-9C64-20AA95E461F3}"/>
                      </a:ext>
                    </a:extLst>
                  </p:cNvPr>
                  <p:cNvSpPr/>
                  <p:nvPr/>
                </p:nvSpPr>
                <p:spPr>
                  <a:xfrm>
                    <a:off x="7626456" y="441916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19" name="Freeform: Shape 4218">
                    <a:extLst>
                      <a:ext uri="{FF2B5EF4-FFF2-40B4-BE49-F238E27FC236}">
                        <a16:creationId xmlns:a16="http://schemas.microsoft.com/office/drawing/2014/main" id="{6CC721FC-3E14-467D-8FB3-FA16E40E4614}"/>
                      </a:ext>
                    </a:extLst>
                  </p:cNvPr>
                  <p:cNvSpPr/>
                  <p:nvPr/>
                </p:nvSpPr>
                <p:spPr>
                  <a:xfrm>
                    <a:off x="7626456" y="441849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20" name="Freeform: Shape 4219">
                    <a:extLst>
                      <a:ext uri="{FF2B5EF4-FFF2-40B4-BE49-F238E27FC236}">
                        <a16:creationId xmlns:a16="http://schemas.microsoft.com/office/drawing/2014/main" id="{80E2E5E5-E704-4DB9-8510-E7E2576850C0}"/>
                      </a:ext>
                    </a:extLst>
                  </p:cNvPr>
                  <p:cNvSpPr/>
                  <p:nvPr/>
                </p:nvSpPr>
                <p:spPr>
                  <a:xfrm>
                    <a:off x="7626456" y="4417990"/>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21" name="Freeform: Shape 4220">
                    <a:extLst>
                      <a:ext uri="{FF2B5EF4-FFF2-40B4-BE49-F238E27FC236}">
                        <a16:creationId xmlns:a16="http://schemas.microsoft.com/office/drawing/2014/main" id="{C3A8D7DB-E6D0-465A-BFBF-9D23E0BE8D8B}"/>
                      </a:ext>
                    </a:extLst>
                  </p:cNvPr>
                  <p:cNvSpPr/>
                  <p:nvPr/>
                </p:nvSpPr>
                <p:spPr>
                  <a:xfrm>
                    <a:off x="7626456" y="441731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22" name="Freeform: Shape 4221">
                    <a:extLst>
                      <a:ext uri="{FF2B5EF4-FFF2-40B4-BE49-F238E27FC236}">
                        <a16:creationId xmlns:a16="http://schemas.microsoft.com/office/drawing/2014/main" id="{78DD3F87-73B6-43EE-AC40-A3555EE82ECB}"/>
                      </a:ext>
                    </a:extLst>
                  </p:cNvPr>
                  <p:cNvSpPr/>
                  <p:nvPr/>
                </p:nvSpPr>
                <p:spPr>
                  <a:xfrm>
                    <a:off x="7626456" y="4416643"/>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23" name="Freeform: Shape 4222">
                    <a:extLst>
                      <a:ext uri="{FF2B5EF4-FFF2-40B4-BE49-F238E27FC236}">
                        <a16:creationId xmlns:a16="http://schemas.microsoft.com/office/drawing/2014/main" id="{DBD74BC2-5137-45CF-B639-FC9CA4F5028B}"/>
                      </a:ext>
                    </a:extLst>
                  </p:cNvPr>
                  <p:cNvSpPr/>
                  <p:nvPr/>
                </p:nvSpPr>
                <p:spPr>
                  <a:xfrm>
                    <a:off x="7626456" y="441613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24" name="Freeform: Shape 4223">
                    <a:extLst>
                      <a:ext uri="{FF2B5EF4-FFF2-40B4-BE49-F238E27FC236}">
                        <a16:creationId xmlns:a16="http://schemas.microsoft.com/office/drawing/2014/main" id="{2395DB6C-DE89-448A-AA1C-CF87514A13B2}"/>
                      </a:ext>
                    </a:extLst>
                  </p:cNvPr>
                  <p:cNvSpPr/>
                  <p:nvPr/>
                </p:nvSpPr>
                <p:spPr>
                  <a:xfrm>
                    <a:off x="7626456" y="4415633"/>
                    <a:ext cx="54483" cy="31330"/>
                  </a:xfrm>
                  <a:custGeom>
                    <a:avLst/>
                    <a:gdLst>
                      <a:gd name="connsiteX0" fmla="*/ 53392 w 54483"/>
                      <a:gd name="connsiteY0" fmla="*/ 14571 h 31330"/>
                      <a:gd name="connsiteX1" fmla="*/ 25439 w 54483"/>
                      <a:gd name="connsiteY1" fmla="*/ 30736 h 31330"/>
                      <a:gd name="connsiteX2" fmla="*/ 19209 w 54483"/>
                      <a:gd name="connsiteY2" fmla="*/ 30399 h 31330"/>
                      <a:gd name="connsiteX3" fmla="*/ 1528 w 54483"/>
                      <a:gd name="connsiteY3" fmla="*/ 20296 h 31330"/>
                      <a:gd name="connsiteX4" fmla="*/ 1023 w 54483"/>
                      <a:gd name="connsiteY4" fmla="*/ 16760 h 31330"/>
                      <a:gd name="connsiteX5" fmla="*/ 28975 w 54483"/>
                      <a:gd name="connsiteY5" fmla="*/ 595 h 31330"/>
                      <a:gd name="connsiteX6" fmla="*/ 35206 w 54483"/>
                      <a:gd name="connsiteY6" fmla="*/ 931 h 31330"/>
                      <a:gd name="connsiteX7" fmla="*/ 52887 w 54483"/>
                      <a:gd name="connsiteY7" fmla="*/ 11203 h 31330"/>
                      <a:gd name="connsiteX8" fmla="*/ 53392 w 54483"/>
                      <a:gd name="connsiteY8" fmla="*/ 14571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330">
                        <a:moveTo>
                          <a:pt x="53392" y="14571"/>
                        </a:moveTo>
                        <a:lnTo>
                          <a:pt x="25439" y="30736"/>
                        </a:lnTo>
                        <a:cubicBezTo>
                          <a:pt x="23924" y="31578"/>
                          <a:pt x="21061" y="31578"/>
                          <a:pt x="19209" y="30399"/>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571"/>
                        </a:cubicBezTo>
                        <a:close/>
                      </a:path>
                    </a:pathLst>
                  </a:custGeom>
                  <a:solidFill>
                    <a:srgbClr val="C93270"/>
                  </a:solidFill>
                  <a:ln w="16828" cap="flat">
                    <a:noFill/>
                    <a:prstDash val="solid"/>
                    <a:miter/>
                  </a:ln>
                </p:spPr>
                <p:txBody>
                  <a:bodyPr rtlCol="0" anchor="ctr"/>
                  <a:lstStyle/>
                  <a:p>
                    <a:endParaRPr lang="en-IN"/>
                  </a:p>
                </p:txBody>
              </p:sp>
              <p:sp>
                <p:nvSpPr>
                  <p:cNvPr id="4225" name="Freeform: Shape 4224">
                    <a:extLst>
                      <a:ext uri="{FF2B5EF4-FFF2-40B4-BE49-F238E27FC236}">
                        <a16:creationId xmlns:a16="http://schemas.microsoft.com/office/drawing/2014/main" id="{B3E2315A-F6E8-4EF6-BA13-55EE903CDB01}"/>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26" name="Freeform: Shape 4225">
                    <a:extLst>
                      <a:ext uri="{FF2B5EF4-FFF2-40B4-BE49-F238E27FC236}">
                        <a16:creationId xmlns:a16="http://schemas.microsoft.com/office/drawing/2014/main" id="{36A6EC50-F0F0-4978-8735-07AAC6EFA4E7}"/>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C2F69"/>
                  </a:solidFill>
                  <a:ln w="16828" cap="flat">
                    <a:noFill/>
                    <a:prstDash val="solid"/>
                    <a:miter/>
                  </a:ln>
                </p:spPr>
                <p:txBody>
                  <a:bodyPr rtlCol="0" anchor="ctr"/>
                  <a:lstStyle/>
                  <a:p>
                    <a:endParaRPr lang="en-IN"/>
                  </a:p>
                </p:txBody>
              </p:sp>
              <p:sp>
                <p:nvSpPr>
                  <p:cNvPr id="4227" name="Freeform: Shape 4226">
                    <a:extLst>
                      <a:ext uri="{FF2B5EF4-FFF2-40B4-BE49-F238E27FC236}">
                        <a16:creationId xmlns:a16="http://schemas.microsoft.com/office/drawing/2014/main" id="{4A9DE49F-90A6-4F42-9C25-1652B7EDA813}"/>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F2C62"/>
                  </a:solidFill>
                  <a:ln w="16828" cap="flat">
                    <a:noFill/>
                    <a:prstDash val="solid"/>
                    <a:miter/>
                  </a:ln>
                </p:spPr>
                <p:txBody>
                  <a:bodyPr rtlCol="0" anchor="ctr"/>
                  <a:lstStyle/>
                  <a:p>
                    <a:endParaRPr lang="en-IN"/>
                  </a:p>
                </p:txBody>
              </p:sp>
              <p:sp>
                <p:nvSpPr>
                  <p:cNvPr id="4228" name="Freeform: Shape 4227">
                    <a:extLst>
                      <a:ext uri="{FF2B5EF4-FFF2-40B4-BE49-F238E27FC236}">
                        <a16:creationId xmlns:a16="http://schemas.microsoft.com/office/drawing/2014/main" id="{723FC855-CFAF-4FE4-8F28-E50E883A9E53}"/>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1295B"/>
                  </a:solidFill>
                  <a:ln w="16828" cap="flat">
                    <a:noFill/>
                    <a:prstDash val="solid"/>
                    <a:miter/>
                  </a:ln>
                </p:spPr>
                <p:txBody>
                  <a:bodyPr rtlCol="0" anchor="ctr"/>
                  <a:lstStyle/>
                  <a:p>
                    <a:endParaRPr lang="en-IN"/>
                  </a:p>
                </p:txBody>
              </p:sp>
              <p:sp>
                <p:nvSpPr>
                  <p:cNvPr id="4229" name="Freeform: Shape 4228">
                    <a:extLst>
                      <a:ext uri="{FF2B5EF4-FFF2-40B4-BE49-F238E27FC236}">
                        <a16:creationId xmlns:a16="http://schemas.microsoft.com/office/drawing/2014/main" id="{40CA4A3C-E349-4364-A6F4-8A98FF69351B}"/>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42654"/>
                  </a:solidFill>
                  <a:ln w="16828" cap="flat">
                    <a:noFill/>
                    <a:prstDash val="solid"/>
                    <a:miter/>
                  </a:ln>
                </p:spPr>
                <p:txBody>
                  <a:bodyPr rtlCol="0" anchor="ctr"/>
                  <a:lstStyle/>
                  <a:p>
                    <a:endParaRPr lang="en-IN"/>
                  </a:p>
                </p:txBody>
              </p:sp>
              <p:sp>
                <p:nvSpPr>
                  <p:cNvPr id="4230" name="Freeform: Shape 4229">
                    <a:extLst>
                      <a:ext uri="{FF2B5EF4-FFF2-40B4-BE49-F238E27FC236}">
                        <a16:creationId xmlns:a16="http://schemas.microsoft.com/office/drawing/2014/main" id="{2AFEA34A-CB43-4DBF-A33F-CE72A4C7B043}"/>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7234D"/>
                  </a:solidFill>
                  <a:ln w="16828" cap="flat">
                    <a:noFill/>
                    <a:prstDash val="solid"/>
                    <a:miter/>
                  </a:ln>
                </p:spPr>
                <p:txBody>
                  <a:bodyPr rtlCol="0" anchor="ctr"/>
                  <a:lstStyle/>
                  <a:p>
                    <a:endParaRPr lang="en-IN"/>
                  </a:p>
                </p:txBody>
              </p:sp>
              <p:sp>
                <p:nvSpPr>
                  <p:cNvPr id="4231" name="Freeform: Shape 4230">
                    <a:extLst>
                      <a:ext uri="{FF2B5EF4-FFF2-40B4-BE49-F238E27FC236}">
                        <a16:creationId xmlns:a16="http://schemas.microsoft.com/office/drawing/2014/main" id="{26C8DC1D-7C7B-4B34-8317-C302B7F27482}"/>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A2046"/>
                  </a:solidFill>
                  <a:ln w="16828" cap="flat">
                    <a:noFill/>
                    <a:prstDash val="solid"/>
                    <a:miter/>
                  </a:ln>
                </p:spPr>
                <p:txBody>
                  <a:bodyPr rtlCol="0" anchor="ctr"/>
                  <a:lstStyle/>
                  <a:p>
                    <a:endParaRPr lang="en-IN"/>
                  </a:p>
                </p:txBody>
              </p:sp>
              <p:sp>
                <p:nvSpPr>
                  <p:cNvPr id="4232" name="Freeform: Shape 4231">
                    <a:extLst>
                      <a:ext uri="{FF2B5EF4-FFF2-40B4-BE49-F238E27FC236}">
                        <a16:creationId xmlns:a16="http://schemas.microsoft.com/office/drawing/2014/main" id="{2ADD38B6-0980-40FE-B0DC-2D91320CA01F}"/>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D1D3F"/>
                  </a:solidFill>
                  <a:ln w="16828" cap="flat">
                    <a:noFill/>
                    <a:prstDash val="solid"/>
                    <a:miter/>
                  </a:ln>
                </p:spPr>
                <p:txBody>
                  <a:bodyPr rtlCol="0" anchor="ctr"/>
                  <a:lstStyle/>
                  <a:p>
                    <a:endParaRPr lang="en-IN"/>
                  </a:p>
                </p:txBody>
              </p:sp>
              <p:sp>
                <p:nvSpPr>
                  <p:cNvPr id="4233" name="Freeform: Shape 4232">
                    <a:extLst>
                      <a:ext uri="{FF2B5EF4-FFF2-40B4-BE49-F238E27FC236}">
                        <a16:creationId xmlns:a16="http://schemas.microsoft.com/office/drawing/2014/main" id="{7B9F85BA-E2F8-415C-8398-E35A08F9BBA7}"/>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E01A38"/>
                  </a:solidFill>
                  <a:ln w="16828" cap="flat">
                    <a:noFill/>
                    <a:prstDash val="solid"/>
                    <a:miter/>
                  </a:ln>
                </p:spPr>
                <p:txBody>
                  <a:bodyPr rtlCol="0" anchor="ctr"/>
                  <a:lstStyle/>
                  <a:p>
                    <a:endParaRPr lang="en-IN"/>
                  </a:p>
                </p:txBody>
              </p:sp>
              <p:sp>
                <p:nvSpPr>
                  <p:cNvPr id="4234" name="Freeform: Shape 4233">
                    <a:extLst>
                      <a:ext uri="{FF2B5EF4-FFF2-40B4-BE49-F238E27FC236}">
                        <a16:creationId xmlns:a16="http://schemas.microsoft.com/office/drawing/2014/main" id="{C54586BF-F182-4A0F-981B-D47371A7C91D}"/>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E21731"/>
                  </a:solidFill>
                  <a:ln w="16828" cap="flat">
                    <a:noFill/>
                    <a:prstDash val="solid"/>
                    <a:miter/>
                  </a:ln>
                </p:spPr>
                <p:txBody>
                  <a:bodyPr rtlCol="0" anchor="ctr"/>
                  <a:lstStyle/>
                  <a:p>
                    <a:endParaRPr lang="en-IN"/>
                  </a:p>
                </p:txBody>
              </p:sp>
              <p:sp>
                <p:nvSpPr>
                  <p:cNvPr id="4235" name="Freeform: Shape 4234">
                    <a:extLst>
                      <a:ext uri="{FF2B5EF4-FFF2-40B4-BE49-F238E27FC236}">
                        <a16:creationId xmlns:a16="http://schemas.microsoft.com/office/drawing/2014/main" id="{D5A727C0-0C3E-486F-A74F-D44DBAD651BC}"/>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E5142A"/>
                  </a:solidFill>
                  <a:ln w="16828" cap="flat">
                    <a:noFill/>
                    <a:prstDash val="solid"/>
                    <a:miter/>
                  </a:ln>
                </p:spPr>
                <p:txBody>
                  <a:bodyPr rtlCol="0" anchor="ctr"/>
                  <a:lstStyle/>
                  <a:p>
                    <a:endParaRPr lang="en-IN"/>
                  </a:p>
                </p:txBody>
              </p:sp>
              <p:sp>
                <p:nvSpPr>
                  <p:cNvPr id="4236" name="Freeform: Shape 4235">
                    <a:extLst>
                      <a:ext uri="{FF2B5EF4-FFF2-40B4-BE49-F238E27FC236}">
                        <a16:creationId xmlns:a16="http://schemas.microsoft.com/office/drawing/2014/main" id="{575B4A14-8EC8-4C99-BE4D-8CEB69658B74}"/>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237" name="Graphic 4202">
                  <a:extLst>
                    <a:ext uri="{FF2B5EF4-FFF2-40B4-BE49-F238E27FC236}">
                      <a16:creationId xmlns:a16="http://schemas.microsoft.com/office/drawing/2014/main" id="{D8C93A7D-1944-411F-8F69-6296BBFF6FB9}"/>
                    </a:ext>
                  </a:extLst>
                </p:cNvPr>
                <p:cNvGrpSpPr/>
                <p:nvPr/>
              </p:nvGrpSpPr>
              <p:grpSpPr>
                <a:xfrm>
                  <a:off x="7668721" y="4390543"/>
                  <a:ext cx="54414" cy="38066"/>
                  <a:chOff x="7668721" y="4390543"/>
                  <a:chExt cx="54414" cy="38066"/>
                </a:xfrm>
                <a:solidFill>
                  <a:schemeClr val="accent1"/>
                </a:solidFill>
              </p:grpSpPr>
              <p:sp>
                <p:nvSpPr>
                  <p:cNvPr id="4238" name="Freeform: Shape 4237">
                    <a:extLst>
                      <a:ext uri="{FF2B5EF4-FFF2-40B4-BE49-F238E27FC236}">
                        <a16:creationId xmlns:a16="http://schemas.microsoft.com/office/drawing/2014/main" id="{7F3890FE-C048-4644-93F2-D2DF9CD63C8D}"/>
                      </a:ext>
                    </a:extLst>
                  </p:cNvPr>
                  <p:cNvSpPr/>
                  <p:nvPr/>
                </p:nvSpPr>
                <p:spPr>
                  <a:xfrm>
                    <a:off x="7668721" y="43971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39" name="Freeform: Shape 4238">
                    <a:extLst>
                      <a:ext uri="{FF2B5EF4-FFF2-40B4-BE49-F238E27FC236}">
                        <a16:creationId xmlns:a16="http://schemas.microsoft.com/office/drawing/2014/main" id="{6ED5EAA0-6DEE-4D0B-B24C-90667A455CA5}"/>
                      </a:ext>
                    </a:extLst>
                  </p:cNvPr>
                  <p:cNvSpPr/>
                  <p:nvPr/>
                </p:nvSpPr>
                <p:spPr>
                  <a:xfrm>
                    <a:off x="7668721" y="439660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40" name="Freeform: Shape 4239">
                    <a:extLst>
                      <a:ext uri="{FF2B5EF4-FFF2-40B4-BE49-F238E27FC236}">
                        <a16:creationId xmlns:a16="http://schemas.microsoft.com/office/drawing/2014/main" id="{D6E9F8D8-838C-494D-AAC4-C8B9F08FEB46}"/>
                      </a:ext>
                    </a:extLst>
                  </p:cNvPr>
                  <p:cNvSpPr/>
                  <p:nvPr/>
                </p:nvSpPr>
                <p:spPr>
                  <a:xfrm>
                    <a:off x="7668721" y="439593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1" name="Freeform: Shape 4240">
                    <a:extLst>
                      <a:ext uri="{FF2B5EF4-FFF2-40B4-BE49-F238E27FC236}">
                        <a16:creationId xmlns:a16="http://schemas.microsoft.com/office/drawing/2014/main" id="{29AEBC4C-C675-4C34-8F75-1ECEFAD1D352}"/>
                      </a:ext>
                    </a:extLst>
                  </p:cNvPr>
                  <p:cNvSpPr/>
                  <p:nvPr/>
                </p:nvSpPr>
                <p:spPr>
                  <a:xfrm>
                    <a:off x="7668721" y="439525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2" name="Freeform: Shape 4241">
                    <a:extLst>
                      <a:ext uri="{FF2B5EF4-FFF2-40B4-BE49-F238E27FC236}">
                        <a16:creationId xmlns:a16="http://schemas.microsoft.com/office/drawing/2014/main" id="{4651A6F8-105F-4E7F-8C5E-A012D5B27686}"/>
                      </a:ext>
                    </a:extLst>
                  </p:cNvPr>
                  <p:cNvSpPr/>
                  <p:nvPr/>
                </p:nvSpPr>
                <p:spPr>
                  <a:xfrm>
                    <a:off x="7668721" y="439475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43" name="Freeform: Shape 4242">
                    <a:extLst>
                      <a:ext uri="{FF2B5EF4-FFF2-40B4-BE49-F238E27FC236}">
                        <a16:creationId xmlns:a16="http://schemas.microsoft.com/office/drawing/2014/main" id="{04BD91C3-7111-4C33-901B-396D96C1E888}"/>
                      </a:ext>
                    </a:extLst>
                  </p:cNvPr>
                  <p:cNvSpPr/>
                  <p:nvPr/>
                </p:nvSpPr>
                <p:spPr>
                  <a:xfrm>
                    <a:off x="7668721" y="439407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4" name="Freeform: Shape 4243">
                    <a:extLst>
                      <a:ext uri="{FF2B5EF4-FFF2-40B4-BE49-F238E27FC236}">
                        <a16:creationId xmlns:a16="http://schemas.microsoft.com/office/drawing/2014/main" id="{4E663571-8314-4DED-8119-E484A6F41262}"/>
                      </a:ext>
                    </a:extLst>
                  </p:cNvPr>
                  <p:cNvSpPr/>
                  <p:nvPr/>
                </p:nvSpPr>
                <p:spPr>
                  <a:xfrm>
                    <a:off x="7668721" y="439357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45" name="Freeform: Shape 4244">
                    <a:extLst>
                      <a:ext uri="{FF2B5EF4-FFF2-40B4-BE49-F238E27FC236}">
                        <a16:creationId xmlns:a16="http://schemas.microsoft.com/office/drawing/2014/main" id="{2BD774E6-A7D5-4270-BDA2-DE591901141B}"/>
                      </a:ext>
                    </a:extLst>
                  </p:cNvPr>
                  <p:cNvSpPr/>
                  <p:nvPr/>
                </p:nvSpPr>
                <p:spPr>
                  <a:xfrm>
                    <a:off x="7668721" y="439290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6" name="Freeform: Shape 4245">
                    <a:extLst>
                      <a:ext uri="{FF2B5EF4-FFF2-40B4-BE49-F238E27FC236}">
                        <a16:creationId xmlns:a16="http://schemas.microsoft.com/office/drawing/2014/main" id="{8B8FBB48-C4A5-435F-8CB5-93B13A1F8941}"/>
                      </a:ext>
                    </a:extLst>
                  </p:cNvPr>
                  <p:cNvSpPr/>
                  <p:nvPr/>
                </p:nvSpPr>
                <p:spPr>
                  <a:xfrm>
                    <a:off x="7668721" y="439222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7" name="Freeform: Shape 4246">
                    <a:extLst>
                      <a:ext uri="{FF2B5EF4-FFF2-40B4-BE49-F238E27FC236}">
                        <a16:creationId xmlns:a16="http://schemas.microsoft.com/office/drawing/2014/main" id="{938413D3-180C-4C06-9C72-9F79F70395A2}"/>
                      </a:ext>
                    </a:extLst>
                  </p:cNvPr>
                  <p:cNvSpPr/>
                  <p:nvPr/>
                </p:nvSpPr>
                <p:spPr>
                  <a:xfrm>
                    <a:off x="7668721" y="439172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48" name="Freeform: Shape 4247">
                    <a:extLst>
                      <a:ext uri="{FF2B5EF4-FFF2-40B4-BE49-F238E27FC236}">
                        <a16:creationId xmlns:a16="http://schemas.microsoft.com/office/drawing/2014/main" id="{87DCB38B-1FED-4880-98D8-1B34AF5CF3A8}"/>
                      </a:ext>
                    </a:extLst>
                  </p:cNvPr>
                  <p:cNvSpPr/>
                  <p:nvPr/>
                </p:nvSpPr>
                <p:spPr>
                  <a:xfrm>
                    <a:off x="7668721" y="439104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9" name="Freeform: Shape 4248">
                    <a:extLst>
                      <a:ext uri="{FF2B5EF4-FFF2-40B4-BE49-F238E27FC236}">
                        <a16:creationId xmlns:a16="http://schemas.microsoft.com/office/drawing/2014/main" id="{0DC66FAE-FB25-4BB7-8476-4EEF686BB577}"/>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50" name="Freeform: Shape 4249">
                    <a:extLst>
                      <a:ext uri="{FF2B5EF4-FFF2-40B4-BE49-F238E27FC236}">
                        <a16:creationId xmlns:a16="http://schemas.microsoft.com/office/drawing/2014/main" id="{C746021E-E1F1-4DF9-A753-521D15AFF138}"/>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C2F69"/>
                  </a:solidFill>
                  <a:ln w="16828" cap="flat">
                    <a:noFill/>
                    <a:prstDash val="solid"/>
                    <a:miter/>
                  </a:ln>
                </p:spPr>
                <p:txBody>
                  <a:bodyPr rtlCol="0" anchor="ctr"/>
                  <a:lstStyle/>
                  <a:p>
                    <a:endParaRPr lang="en-IN"/>
                  </a:p>
                </p:txBody>
              </p:sp>
              <p:sp>
                <p:nvSpPr>
                  <p:cNvPr id="4251" name="Freeform: Shape 4250">
                    <a:extLst>
                      <a:ext uri="{FF2B5EF4-FFF2-40B4-BE49-F238E27FC236}">
                        <a16:creationId xmlns:a16="http://schemas.microsoft.com/office/drawing/2014/main" id="{34D3E018-A7BB-40BB-BE1B-C8C744379745}"/>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F2C62"/>
                  </a:solidFill>
                  <a:ln w="16828" cap="flat">
                    <a:noFill/>
                    <a:prstDash val="solid"/>
                    <a:miter/>
                  </a:ln>
                </p:spPr>
                <p:txBody>
                  <a:bodyPr rtlCol="0" anchor="ctr"/>
                  <a:lstStyle/>
                  <a:p>
                    <a:endParaRPr lang="en-IN"/>
                  </a:p>
                </p:txBody>
              </p:sp>
              <p:sp>
                <p:nvSpPr>
                  <p:cNvPr id="4252" name="Freeform: Shape 4251">
                    <a:extLst>
                      <a:ext uri="{FF2B5EF4-FFF2-40B4-BE49-F238E27FC236}">
                        <a16:creationId xmlns:a16="http://schemas.microsoft.com/office/drawing/2014/main" id="{EBBD9C66-E9D7-44C0-911E-40954E97E116}"/>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1295B"/>
                  </a:solidFill>
                  <a:ln w="16828" cap="flat">
                    <a:noFill/>
                    <a:prstDash val="solid"/>
                    <a:miter/>
                  </a:ln>
                </p:spPr>
                <p:txBody>
                  <a:bodyPr rtlCol="0" anchor="ctr"/>
                  <a:lstStyle/>
                  <a:p>
                    <a:endParaRPr lang="en-IN"/>
                  </a:p>
                </p:txBody>
              </p:sp>
              <p:sp>
                <p:nvSpPr>
                  <p:cNvPr id="4253" name="Freeform: Shape 4252">
                    <a:extLst>
                      <a:ext uri="{FF2B5EF4-FFF2-40B4-BE49-F238E27FC236}">
                        <a16:creationId xmlns:a16="http://schemas.microsoft.com/office/drawing/2014/main" id="{B36DB1EA-A68D-4333-8AB2-AC2D93EBB9F9}"/>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42654"/>
                  </a:solidFill>
                  <a:ln w="16828" cap="flat">
                    <a:noFill/>
                    <a:prstDash val="solid"/>
                    <a:miter/>
                  </a:ln>
                </p:spPr>
                <p:txBody>
                  <a:bodyPr rtlCol="0" anchor="ctr"/>
                  <a:lstStyle/>
                  <a:p>
                    <a:endParaRPr lang="en-IN"/>
                  </a:p>
                </p:txBody>
              </p:sp>
              <p:sp>
                <p:nvSpPr>
                  <p:cNvPr id="4254" name="Freeform: Shape 4253">
                    <a:extLst>
                      <a:ext uri="{FF2B5EF4-FFF2-40B4-BE49-F238E27FC236}">
                        <a16:creationId xmlns:a16="http://schemas.microsoft.com/office/drawing/2014/main" id="{E7AD6186-D73C-42B9-9C4A-5A951D320943}"/>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7234D"/>
                  </a:solidFill>
                  <a:ln w="16828" cap="flat">
                    <a:noFill/>
                    <a:prstDash val="solid"/>
                    <a:miter/>
                  </a:ln>
                </p:spPr>
                <p:txBody>
                  <a:bodyPr rtlCol="0" anchor="ctr"/>
                  <a:lstStyle/>
                  <a:p>
                    <a:endParaRPr lang="en-IN"/>
                  </a:p>
                </p:txBody>
              </p:sp>
              <p:sp>
                <p:nvSpPr>
                  <p:cNvPr id="4255" name="Freeform: Shape 4254">
                    <a:extLst>
                      <a:ext uri="{FF2B5EF4-FFF2-40B4-BE49-F238E27FC236}">
                        <a16:creationId xmlns:a16="http://schemas.microsoft.com/office/drawing/2014/main" id="{D4B7FD1A-CFF9-428D-9286-3013598B8702}"/>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A2046"/>
                  </a:solidFill>
                  <a:ln w="16828" cap="flat">
                    <a:noFill/>
                    <a:prstDash val="solid"/>
                    <a:miter/>
                  </a:ln>
                </p:spPr>
                <p:txBody>
                  <a:bodyPr rtlCol="0" anchor="ctr"/>
                  <a:lstStyle/>
                  <a:p>
                    <a:endParaRPr lang="en-IN"/>
                  </a:p>
                </p:txBody>
              </p:sp>
              <p:sp>
                <p:nvSpPr>
                  <p:cNvPr id="4256" name="Freeform: Shape 4255">
                    <a:extLst>
                      <a:ext uri="{FF2B5EF4-FFF2-40B4-BE49-F238E27FC236}">
                        <a16:creationId xmlns:a16="http://schemas.microsoft.com/office/drawing/2014/main" id="{659522AF-2503-4B12-BB18-DEAF0ED05DFD}"/>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D1D3F"/>
                  </a:solidFill>
                  <a:ln w="16828" cap="flat">
                    <a:noFill/>
                    <a:prstDash val="solid"/>
                    <a:miter/>
                  </a:ln>
                </p:spPr>
                <p:txBody>
                  <a:bodyPr rtlCol="0" anchor="ctr"/>
                  <a:lstStyle/>
                  <a:p>
                    <a:endParaRPr lang="en-IN"/>
                  </a:p>
                </p:txBody>
              </p:sp>
              <p:sp>
                <p:nvSpPr>
                  <p:cNvPr id="4257" name="Freeform: Shape 4256">
                    <a:extLst>
                      <a:ext uri="{FF2B5EF4-FFF2-40B4-BE49-F238E27FC236}">
                        <a16:creationId xmlns:a16="http://schemas.microsoft.com/office/drawing/2014/main" id="{B0AED4C8-BD77-4FFC-B765-AAA72224627D}"/>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01A38"/>
                  </a:solidFill>
                  <a:ln w="16828" cap="flat">
                    <a:noFill/>
                    <a:prstDash val="solid"/>
                    <a:miter/>
                  </a:ln>
                </p:spPr>
                <p:txBody>
                  <a:bodyPr rtlCol="0" anchor="ctr"/>
                  <a:lstStyle/>
                  <a:p>
                    <a:endParaRPr lang="en-IN"/>
                  </a:p>
                </p:txBody>
              </p:sp>
              <p:sp>
                <p:nvSpPr>
                  <p:cNvPr id="4258" name="Freeform: Shape 4257">
                    <a:extLst>
                      <a:ext uri="{FF2B5EF4-FFF2-40B4-BE49-F238E27FC236}">
                        <a16:creationId xmlns:a16="http://schemas.microsoft.com/office/drawing/2014/main" id="{8791FBD9-EA21-40E5-B731-2DC71D0147EB}"/>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21731"/>
                  </a:solidFill>
                  <a:ln w="16828" cap="flat">
                    <a:noFill/>
                    <a:prstDash val="solid"/>
                    <a:miter/>
                  </a:ln>
                </p:spPr>
                <p:txBody>
                  <a:bodyPr rtlCol="0" anchor="ctr"/>
                  <a:lstStyle/>
                  <a:p>
                    <a:endParaRPr lang="en-IN"/>
                  </a:p>
                </p:txBody>
              </p:sp>
              <p:sp>
                <p:nvSpPr>
                  <p:cNvPr id="4259" name="Freeform: Shape 4258">
                    <a:extLst>
                      <a:ext uri="{FF2B5EF4-FFF2-40B4-BE49-F238E27FC236}">
                        <a16:creationId xmlns:a16="http://schemas.microsoft.com/office/drawing/2014/main" id="{62AB3E07-420B-4047-9E3B-D6A6C90C02FD}"/>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5142A"/>
                  </a:solidFill>
                  <a:ln w="16828" cap="flat">
                    <a:noFill/>
                    <a:prstDash val="solid"/>
                    <a:miter/>
                  </a:ln>
                </p:spPr>
                <p:txBody>
                  <a:bodyPr rtlCol="0" anchor="ctr"/>
                  <a:lstStyle/>
                  <a:p>
                    <a:endParaRPr lang="en-IN"/>
                  </a:p>
                </p:txBody>
              </p:sp>
              <p:sp>
                <p:nvSpPr>
                  <p:cNvPr id="4260" name="Freeform: Shape 4259">
                    <a:extLst>
                      <a:ext uri="{FF2B5EF4-FFF2-40B4-BE49-F238E27FC236}">
                        <a16:creationId xmlns:a16="http://schemas.microsoft.com/office/drawing/2014/main" id="{700B5440-4FFA-448E-BA06-BF5578AC658D}"/>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261" name="Graphic 4202">
                  <a:extLst>
                    <a:ext uri="{FF2B5EF4-FFF2-40B4-BE49-F238E27FC236}">
                      <a16:creationId xmlns:a16="http://schemas.microsoft.com/office/drawing/2014/main" id="{D8C93A7D-1944-411F-8F69-6296BBFF6FB9}"/>
                    </a:ext>
                  </a:extLst>
                </p:cNvPr>
                <p:cNvGrpSpPr/>
                <p:nvPr/>
              </p:nvGrpSpPr>
              <p:grpSpPr>
                <a:xfrm>
                  <a:off x="7710917" y="4366126"/>
                  <a:ext cx="54483" cy="38066"/>
                  <a:chOff x="7710917" y="4366126"/>
                  <a:chExt cx="54483" cy="38066"/>
                </a:xfrm>
                <a:solidFill>
                  <a:schemeClr val="accent1"/>
                </a:solidFill>
              </p:grpSpPr>
              <p:sp>
                <p:nvSpPr>
                  <p:cNvPr id="4262" name="Freeform: Shape 4261">
                    <a:extLst>
                      <a:ext uri="{FF2B5EF4-FFF2-40B4-BE49-F238E27FC236}">
                        <a16:creationId xmlns:a16="http://schemas.microsoft.com/office/drawing/2014/main" id="{C70DD5CC-4300-411A-8680-96C62157D32B}"/>
                      </a:ext>
                    </a:extLst>
                  </p:cNvPr>
                  <p:cNvSpPr/>
                  <p:nvPr/>
                </p:nvSpPr>
                <p:spPr>
                  <a:xfrm>
                    <a:off x="7710987" y="437269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63" name="Freeform: Shape 4262">
                    <a:extLst>
                      <a:ext uri="{FF2B5EF4-FFF2-40B4-BE49-F238E27FC236}">
                        <a16:creationId xmlns:a16="http://schemas.microsoft.com/office/drawing/2014/main" id="{260E714C-DD30-47F2-A319-A79940D0421B}"/>
                      </a:ext>
                    </a:extLst>
                  </p:cNvPr>
                  <p:cNvSpPr/>
                  <p:nvPr/>
                </p:nvSpPr>
                <p:spPr>
                  <a:xfrm>
                    <a:off x="7710987" y="437218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64" name="Freeform: Shape 4263">
                    <a:extLst>
                      <a:ext uri="{FF2B5EF4-FFF2-40B4-BE49-F238E27FC236}">
                        <a16:creationId xmlns:a16="http://schemas.microsoft.com/office/drawing/2014/main" id="{FFAE68CF-46DF-41A5-8E2D-07405B6D6AD8}"/>
                      </a:ext>
                    </a:extLst>
                  </p:cNvPr>
                  <p:cNvSpPr/>
                  <p:nvPr/>
                </p:nvSpPr>
                <p:spPr>
                  <a:xfrm>
                    <a:off x="7710987" y="437151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65" name="Freeform: Shape 4264">
                    <a:extLst>
                      <a:ext uri="{FF2B5EF4-FFF2-40B4-BE49-F238E27FC236}">
                        <a16:creationId xmlns:a16="http://schemas.microsoft.com/office/drawing/2014/main" id="{023D873E-C954-4C8D-BEB4-54CF9BED8F4C}"/>
                      </a:ext>
                    </a:extLst>
                  </p:cNvPr>
                  <p:cNvSpPr/>
                  <p:nvPr/>
                </p:nvSpPr>
                <p:spPr>
                  <a:xfrm>
                    <a:off x="7710987" y="4370841"/>
                    <a:ext cx="54414" cy="31499"/>
                  </a:xfrm>
                  <a:custGeom>
                    <a:avLst/>
                    <a:gdLst>
                      <a:gd name="connsiteX0" fmla="*/ 53392 w 54414"/>
                      <a:gd name="connsiteY0" fmla="*/ 14908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908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908"/>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382"/>
                          <a:pt x="54907" y="13897"/>
                          <a:pt x="53392" y="14908"/>
                        </a:cubicBezTo>
                        <a:close/>
                      </a:path>
                    </a:pathLst>
                  </a:custGeom>
                  <a:solidFill>
                    <a:srgbClr val="C93270"/>
                  </a:solidFill>
                  <a:ln w="16828" cap="flat">
                    <a:noFill/>
                    <a:prstDash val="solid"/>
                    <a:miter/>
                  </a:ln>
                </p:spPr>
                <p:txBody>
                  <a:bodyPr rtlCol="0" anchor="ctr"/>
                  <a:lstStyle/>
                  <a:p>
                    <a:endParaRPr lang="en-IN"/>
                  </a:p>
                </p:txBody>
              </p:sp>
              <p:sp>
                <p:nvSpPr>
                  <p:cNvPr id="4266" name="Freeform: Shape 4265">
                    <a:extLst>
                      <a:ext uri="{FF2B5EF4-FFF2-40B4-BE49-F238E27FC236}">
                        <a16:creationId xmlns:a16="http://schemas.microsoft.com/office/drawing/2014/main" id="{F3E427B0-3B8F-428B-B7F8-FC87F9F4C741}"/>
                      </a:ext>
                    </a:extLst>
                  </p:cNvPr>
                  <p:cNvSpPr/>
                  <p:nvPr/>
                </p:nvSpPr>
                <p:spPr>
                  <a:xfrm>
                    <a:off x="7710987" y="437033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67" name="Freeform: Shape 4266">
                    <a:extLst>
                      <a:ext uri="{FF2B5EF4-FFF2-40B4-BE49-F238E27FC236}">
                        <a16:creationId xmlns:a16="http://schemas.microsoft.com/office/drawing/2014/main" id="{03739182-FFA8-4741-84DA-ECEFCA46FAAF}"/>
                      </a:ext>
                    </a:extLst>
                  </p:cNvPr>
                  <p:cNvSpPr/>
                  <p:nvPr/>
                </p:nvSpPr>
                <p:spPr>
                  <a:xfrm>
                    <a:off x="7710987" y="436966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68" name="Freeform: Shape 4267">
                    <a:extLst>
                      <a:ext uri="{FF2B5EF4-FFF2-40B4-BE49-F238E27FC236}">
                        <a16:creationId xmlns:a16="http://schemas.microsoft.com/office/drawing/2014/main" id="{A4D2F1F2-0C07-4622-B9B5-239E4D821D26}"/>
                      </a:ext>
                    </a:extLst>
                  </p:cNvPr>
                  <p:cNvSpPr/>
                  <p:nvPr/>
                </p:nvSpPr>
                <p:spPr>
                  <a:xfrm>
                    <a:off x="7710987" y="4368989"/>
                    <a:ext cx="54414" cy="31499"/>
                  </a:xfrm>
                  <a:custGeom>
                    <a:avLst/>
                    <a:gdLst>
                      <a:gd name="connsiteX0" fmla="*/ 53392 w 54414"/>
                      <a:gd name="connsiteY0" fmla="*/ 14908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908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908"/>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382"/>
                          <a:pt x="54907" y="13897"/>
                          <a:pt x="53392" y="14908"/>
                        </a:cubicBezTo>
                        <a:close/>
                      </a:path>
                    </a:pathLst>
                  </a:custGeom>
                  <a:solidFill>
                    <a:srgbClr val="C93270"/>
                  </a:solidFill>
                  <a:ln w="16828" cap="flat">
                    <a:noFill/>
                    <a:prstDash val="solid"/>
                    <a:miter/>
                  </a:ln>
                </p:spPr>
                <p:txBody>
                  <a:bodyPr rtlCol="0" anchor="ctr"/>
                  <a:lstStyle/>
                  <a:p>
                    <a:endParaRPr lang="en-IN"/>
                  </a:p>
                </p:txBody>
              </p:sp>
              <p:sp>
                <p:nvSpPr>
                  <p:cNvPr id="4269" name="Freeform: Shape 4268">
                    <a:extLst>
                      <a:ext uri="{FF2B5EF4-FFF2-40B4-BE49-F238E27FC236}">
                        <a16:creationId xmlns:a16="http://schemas.microsoft.com/office/drawing/2014/main" id="{C5504F58-2245-4924-8D00-1CE8D251DB1F}"/>
                      </a:ext>
                    </a:extLst>
                  </p:cNvPr>
                  <p:cNvSpPr/>
                  <p:nvPr/>
                </p:nvSpPr>
                <p:spPr>
                  <a:xfrm>
                    <a:off x="7710987" y="436848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70" name="Freeform: Shape 4269">
                    <a:extLst>
                      <a:ext uri="{FF2B5EF4-FFF2-40B4-BE49-F238E27FC236}">
                        <a16:creationId xmlns:a16="http://schemas.microsoft.com/office/drawing/2014/main" id="{BFE8FE90-016B-44CD-9A68-A9E4473FD7D4}"/>
                      </a:ext>
                    </a:extLst>
                  </p:cNvPr>
                  <p:cNvSpPr/>
                  <p:nvPr/>
                </p:nvSpPr>
                <p:spPr>
                  <a:xfrm>
                    <a:off x="7710987" y="4367979"/>
                    <a:ext cx="54414" cy="31330"/>
                  </a:xfrm>
                  <a:custGeom>
                    <a:avLst/>
                    <a:gdLst>
                      <a:gd name="connsiteX0" fmla="*/ 53392 w 54414"/>
                      <a:gd name="connsiteY0" fmla="*/ 14739 h 31330"/>
                      <a:gd name="connsiteX1" fmla="*/ 25439 w 54414"/>
                      <a:gd name="connsiteY1" fmla="*/ 30736 h 31330"/>
                      <a:gd name="connsiteX2" fmla="*/ 19209 w 54414"/>
                      <a:gd name="connsiteY2" fmla="*/ 30399 h 31330"/>
                      <a:gd name="connsiteX3" fmla="*/ 1528 w 54414"/>
                      <a:gd name="connsiteY3" fmla="*/ 20128 h 31330"/>
                      <a:gd name="connsiteX4" fmla="*/ 1023 w 54414"/>
                      <a:gd name="connsiteY4" fmla="*/ 16592 h 31330"/>
                      <a:gd name="connsiteX5" fmla="*/ 28975 w 54414"/>
                      <a:gd name="connsiteY5" fmla="*/ 595 h 31330"/>
                      <a:gd name="connsiteX6" fmla="*/ 35206 w 54414"/>
                      <a:gd name="connsiteY6" fmla="*/ 931 h 31330"/>
                      <a:gd name="connsiteX7" fmla="*/ 52887 w 54414"/>
                      <a:gd name="connsiteY7" fmla="*/ 11203 h 31330"/>
                      <a:gd name="connsiteX8" fmla="*/ 53392 w 54414"/>
                      <a:gd name="connsiteY8" fmla="*/ 14739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330">
                        <a:moveTo>
                          <a:pt x="53392" y="14739"/>
                        </a:moveTo>
                        <a:lnTo>
                          <a:pt x="25439" y="30736"/>
                        </a:lnTo>
                        <a:cubicBezTo>
                          <a:pt x="23924" y="31578"/>
                          <a:pt x="21061" y="31578"/>
                          <a:pt x="19209" y="30399"/>
                        </a:cubicBezTo>
                        <a:lnTo>
                          <a:pt x="1528" y="20128"/>
                        </a:lnTo>
                        <a:cubicBezTo>
                          <a:pt x="-324" y="19117"/>
                          <a:pt x="-493" y="17434"/>
                          <a:pt x="1023" y="16592"/>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71" name="Freeform: Shape 4270">
                    <a:extLst>
                      <a:ext uri="{FF2B5EF4-FFF2-40B4-BE49-F238E27FC236}">
                        <a16:creationId xmlns:a16="http://schemas.microsoft.com/office/drawing/2014/main" id="{9CECA657-1AA9-4D90-93B9-16188537A11C}"/>
                      </a:ext>
                    </a:extLst>
                  </p:cNvPr>
                  <p:cNvSpPr/>
                  <p:nvPr/>
                </p:nvSpPr>
                <p:spPr>
                  <a:xfrm>
                    <a:off x="7710987" y="436730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72" name="Freeform: Shape 4271">
                    <a:extLst>
                      <a:ext uri="{FF2B5EF4-FFF2-40B4-BE49-F238E27FC236}">
                        <a16:creationId xmlns:a16="http://schemas.microsoft.com/office/drawing/2014/main" id="{652E833B-ED4E-4150-A576-D4BFE7D0537F}"/>
                      </a:ext>
                    </a:extLst>
                  </p:cNvPr>
                  <p:cNvSpPr/>
                  <p:nvPr/>
                </p:nvSpPr>
                <p:spPr>
                  <a:xfrm>
                    <a:off x="7710987" y="4366800"/>
                    <a:ext cx="54414" cy="31330"/>
                  </a:xfrm>
                  <a:custGeom>
                    <a:avLst/>
                    <a:gdLst>
                      <a:gd name="connsiteX0" fmla="*/ 53392 w 54414"/>
                      <a:gd name="connsiteY0" fmla="*/ 14571 h 31330"/>
                      <a:gd name="connsiteX1" fmla="*/ 25439 w 54414"/>
                      <a:gd name="connsiteY1" fmla="*/ 30736 h 31330"/>
                      <a:gd name="connsiteX2" fmla="*/ 19209 w 54414"/>
                      <a:gd name="connsiteY2" fmla="*/ 30399 h 31330"/>
                      <a:gd name="connsiteX3" fmla="*/ 1528 w 54414"/>
                      <a:gd name="connsiteY3" fmla="*/ 20296 h 31330"/>
                      <a:gd name="connsiteX4" fmla="*/ 1023 w 54414"/>
                      <a:gd name="connsiteY4" fmla="*/ 16760 h 31330"/>
                      <a:gd name="connsiteX5" fmla="*/ 28975 w 54414"/>
                      <a:gd name="connsiteY5" fmla="*/ 595 h 31330"/>
                      <a:gd name="connsiteX6" fmla="*/ 35206 w 54414"/>
                      <a:gd name="connsiteY6" fmla="*/ 931 h 31330"/>
                      <a:gd name="connsiteX7" fmla="*/ 52887 w 54414"/>
                      <a:gd name="connsiteY7" fmla="*/ 11203 h 31330"/>
                      <a:gd name="connsiteX8" fmla="*/ 53392 w 54414"/>
                      <a:gd name="connsiteY8" fmla="*/ 14571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330">
                        <a:moveTo>
                          <a:pt x="53392" y="14571"/>
                        </a:moveTo>
                        <a:lnTo>
                          <a:pt x="25439" y="30736"/>
                        </a:lnTo>
                        <a:cubicBezTo>
                          <a:pt x="23924" y="31578"/>
                          <a:pt x="21061" y="31578"/>
                          <a:pt x="19209" y="30399"/>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571"/>
                        </a:cubicBezTo>
                        <a:close/>
                      </a:path>
                    </a:pathLst>
                  </a:custGeom>
                  <a:solidFill>
                    <a:srgbClr val="C93270"/>
                  </a:solidFill>
                  <a:ln w="16828" cap="flat">
                    <a:noFill/>
                    <a:prstDash val="solid"/>
                    <a:miter/>
                  </a:ln>
                </p:spPr>
                <p:txBody>
                  <a:bodyPr rtlCol="0" anchor="ctr"/>
                  <a:lstStyle/>
                  <a:p>
                    <a:endParaRPr lang="en-IN"/>
                  </a:p>
                </p:txBody>
              </p:sp>
              <p:sp>
                <p:nvSpPr>
                  <p:cNvPr id="4273" name="Freeform: Shape 4272">
                    <a:extLst>
                      <a:ext uri="{FF2B5EF4-FFF2-40B4-BE49-F238E27FC236}">
                        <a16:creationId xmlns:a16="http://schemas.microsoft.com/office/drawing/2014/main" id="{37C71A8A-6CCB-468E-9990-88B1727E5B97}"/>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C93270"/>
                  </a:solidFill>
                  <a:ln w="16828" cap="flat">
                    <a:noFill/>
                    <a:prstDash val="solid"/>
                    <a:miter/>
                  </a:ln>
                </p:spPr>
                <p:txBody>
                  <a:bodyPr rtlCol="0" anchor="ctr"/>
                  <a:lstStyle/>
                  <a:p>
                    <a:endParaRPr lang="en-IN"/>
                  </a:p>
                </p:txBody>
              </p:sp>
              <p:sp>
                <p:nvSpPr>
                  <p:cNvPr id="4274" name="Freeform: Shape 4273">
                    <a:extLst>
                      <a:ext uri="{FF2B5EF4-FFF2-40B4-BE49-F238E27FC236}">
                        <a16:creationId xmlns:a16="http://schemas.microsoft.com/office/drawing/2014/main" id="{130D1A51-74C9-4311-9237-87F9A3522CAA}"/>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CC2F69"/>
                  </a:solidFill>
                  <a:ln w="16828" cap="flat">
                    <a:noFill/>
                    <a:prstDash val="solid"/>
                    <a:miter/>
                  </a:ln>
                </p:spPr>
                <p:txBody>
                  <a:bodyPr rtlCol="0" anchor="ctr"/>
                  <a:lstStyle/>
                  <a:p>
                    <a:endParaRPr lang="en-IN"/>
                  </a:p>
                </p:txBody>
              </p:sp>
              <p:sp>
                <p:nvSpPr>
                  <p:cNvPr id="4275" name="Freeform: Shape 4274">
                    <a:extLst>
                      <a:ext uri="{FF2B5EF4-FFF2-40B4-BE49-F238E27FC236}">
                        <a16:creationId xmlns:a16="http://schemas.microsoft.com/office/drawing/2014/main" id="{C269307C-74BB-4FB5-B912-CE82CF3D5CB9}"/>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CF2C62"/>
                  </a:solidFill>
                  <a:ln w="16828" cap="flat">
                    <a:noFill/>
                    <a:prstDash val="solid"/>
                    <a:miter/>
                  </a:ln>
                </p:spPr>
                <p:txBody>
                  <a:bodyPr rtlCol="0" anchor="ctr"/>
                  <a:lstStyle/>
                  <a:p>
                    <a:endParaRPr lang="en-IN"/>
                  </a:p>
                </p:txBody>
              </p:sp>
              <p:sp>
                <p:nvSpPr>
                  <p:cNvPr id="4276" name="Freeform: Shape 4275">
                    <a:extLst>
                      <a:ext uri="{FF2B5EF4-FFF2-40B4-BE49-F238E27FC236}">
                        <a16:creationId xmlns:a16="http://schemas.microsoft.com/office/drawing/2014/main" id="{B27C874D-3A9B-40BE-8A92-D5FF8BACCD96}"/>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1295B"/>
                  </a:solidFill>
                  <a:ln w="16828" cap="flat">
                    <a:noFill/>
                    <a:prstDash val="solid"/>
                    <a:miter/>
                  </a:ln>
                </p:spPr>
                <p:txBody>
                  <a:bodyPr rtlCol="0" anchor="ctr"/>
                  <a:lstStyle/>
                  <a:p>
                    <a:endParaRPr lang="en-IN"/>
                  </a:p>
                </p:txBody>
              </p:sp>
              <p:sp>
                <p:nvSpPr>
                  <p:cNvPr id="4277" name="Freeform: Shape 4276">
                    <a:extLst>
                      <a:ext uri="{FF2B5EF4-FFF2-40B4-BE49-F238E27FC236}">
                        <a16:creationId xmlns:a16="http://schemas.microsoft.com/office/drawing/2014/main" id="{86693E79-D583-40AB-9519-7D0231945DDE}"/>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42654"/>
                  </a:solidFill>
                  <a:ln w="16828" cap="flat">
                    <a:noFill/>
                    <a:prstDash val="solid"/>
                    <a:miter/>
                  </a:ln>
                </p:spPr>
                <p:txBody>
                  <a:bodyPr rtlCol="0" anchor="ctr"/>
                  <a:lstStyle/>
                  <a:p>
                    <a:endParaRPr lang="en-IN"/>
                  </a:p>
                </p:txBody>
              </p:sp>
              <p:sp>
                <p:nvSpPr>
                  <p:cNvPr id="4278" name="Freeform: Shape 4277">
                    <a:extLst>
                      <a:ext uri="{FF2B5EF4-FFF2-40B4-BE49-F238E27FC236}">
                        <a16:creationId xmlns:a16="http://schemas.microsoft.com/office/drawing/2014/main" id="{79719A31-7F8A-4FA3-880F-0732652E4D6E}"/>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7234D"/>
                  </a:solidFill>
                  <a:ln w="16828" cap="flat">
                    <a:noFill/>
                    <a:prstDash val="solid"/>
                    <a:miter/>
                  </a:ln>
                </p:spPr>
                <p:txBody>
                  <a:bodyPr rtlCol="0" anchor="ctr"/>
                  <a:lstStyle/>
                  <a:p>
                    <a:endParaRPr lang="en-IN"/>
                  </a:p>
                </p:txBody>
              </p:sp>
              <p:sp>
                <p:nvSpPr>
                  <p:cNvPr id="4279" name="Freeform: Shape 4278">
                    <a:extLst>
                      <a:ext uri="{FF2B5EF4-FFF2-40B4-BE49-F238E27FC236}">
                        <a16:creationId xmlns:a16="http://schemas.microsoft.com/office/drawing/2014/main" id="{C7939D9E-688C-4C62-B368-1218BAFDC490}"/>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A2046"/>
                  </a:solidFill>
                  <a:ln w="16828" cap="flat">
                    <a:noFill/>
                    <a:prstDash val="solid"/>
                    <a:miter/>
                  </a:ln>
                </p:spPr>
                <p:txBody>
                  <a:bodyPr rtlCol="0" anchor="ctr"/>
                  <a:lstStyle/>
                  <a:p>
                    <a:endParaRPr lang="en-IN"/>
                  </a:p>
                </p:txBody>
              </p:sp>
              <p:sp>
                <p:nvSpPr>
                  <p:cNvPr id="4280" name="Freeform: Shape 4279">
                    <a:extLst>
                      <a:ext uri="{FF2B5EF4-FFF2-40B4-BE49-F238E27FC236}">
                        <a16:creationId xmlns:a16="http://schemas.microsoft.com/office/drawing/2014/main" id="{C6B419B3-4510-4D27-8AD6-5DCFE727EFD2}"/>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D1D3F"/>
                  </a:solidFill>
                  <a:ln w="16828" cap="flat">
                    <a:noFill/>
                    <a:prstDash val="solid"/>
                    <a:miter/>
                  </a:ln>
                </p:spPr>
                <p:txBody>
                  <a:bodyPr rtlCol="0" anchor="ctr"/>
                  <a:lstStyle/>
                  <a:p>
                    <a:endParaRPr lang="en-IN"/>
                  </a:p>
                </p:txBody>
              </p:sp>
              <p:sp>
                <p:nvSpPr>
                  <p:cNvPr id="4281" name="Freeform: Shape 4280">
                    <a:extLst>
                      <a:ext uri="{FF2B5EF4-FFF2-40B4-BE49-F238E27FC236}">
                        <a16:creationId xmlns:a16="http://schemas.microsoft.com/office/drawing/2014/main" id="{4AAEFC5E-CCF8-469C-A5D5-DB04DC12909A}"/>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E01A38"/>
                  </a:solidFill>
                  <a:ln w="16828" cap="flat">
                    <a:noFill/>
                    <a:prstDash val="solid"/>
                    <a:miter/>
                  </a:ln>
                </p:spPr>
                <p:txBody>
                  <a:bodyPr rtlCol="0" anchor="ctr"/>
                  <a:lstStyle/>
                  <a:p>
                    <a:endParaRPr lang="en-IN"/>
                  </a:p>
                </p:txBody>
              </p:sp>
              <p:sp>
                <p:nvSpPr>
                  <p:cNvPr id="4282" name="Freeform: Shape 4281">
                    <a:extLst>
                      <a:ext uri="{FF2B5EF4-FFF2-40B4-BE49-F238E27FC236}">
                        <a16:creationId xmlns:a16="http://schemas.microsoft.com/office/drawing/2014/main" id="{918E0911-5313-435C-B8AF-AA825EA34E1B}"/>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E21731"/>
                  </a:solidFill>
                  <a:ln w="16828" cap="flat">
                    <a:noFill/>
                    <a:prstDash val="solid"/>
                    <a:miter/>
                  </a:ln>
                </p:spPr>
                <p:txBody>
                  <a:bodyPr rtlCol="0" anchor="ctr"/>
                  <a:lstStyle/>
                  <a:p>
                    <a:endParaRPr lang="en-IN"/>
                  </a:p>
                </p:txBody>
              </p:sp>
              <p:sp>
                <p:nvSpPr>
                  <p:cNvPr id="4283" name="Freeform: Shape 4282">
                    <a:extLst>
                      <a:ext uri="{FF2B5EF4-FFF2-40B4-BE49-F238E27FC236}">
                        <a16:creationId xmlns:a16="http://schemas.microsoft.com/office/drawing/2014/main" id="{2388E744-8A5F-49B4-9DA7-CA80FA5C685F}"/>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E5142A"/>
                  </a:solidFill>
                  <a:ln w="16828" cap="flat">
                    <a:noFill/>
                    <a:prstDash val="solid"/>
                    <a:miter/>
                  </a:ln>
                </p:spPr>
                <p:txBody>
                  <a:bodyPr rtlCol="0" anchor="ctr"/>
                  <a:lstStyle/>
                  <a:p>
                    <a:endParaRPr lang="en-IN"/>
                  </a:p>
                </p:txBody>
              </p:sp>
              <p:sp>
                <p:nvSpPr>
                  <p:cNvPr id="4284" name="Freeform: Shape 4283">
                    <a:extLst>
                      <a:ext uri="{FF2B5EF4-FFF2-40B4-BE49-F238E27FC236}">
                        <a16:creationId xmlns:a16="http://schemas.microsoft.com/office/drawing/2014/main" id="{267C0027-9217-4930-9390-E4CD233984CC}"/>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E81123"/>
                  </a:solidFill>
                  <a:ln w="16828" cap="flat">
                    <a:noFill/>
                    <a:prstDash val="solid"/>
                    <a:miter/>
                  </a:ln>
                </p:spPr>
                <p:txBody>
                  <a:bodyPr rtlCol="0" anchor="ctr"/>
                  <a:lstStyle/>
                  <a:p>
                    <a:endParaRPr lang="en-IN"/>
                  </a:p>
                </p:txBody>
              </p:sp>
            </p:grpSp>
            <p:grpSp>
              <p:nvGrpSpPr>
                <p:cNvPr id="4285" name="Graphic 4202">
                  <a:extLst>
                    <a:ext uri="{FF2B5EF4-FFF2-40B4-BE49-F238E27FC236}">
                      <a16:creationId xmlns:a16="http://schemas.microsoft.com/office/drawing/2014/main" id="{D8C93A7D-1944-411F-8F69-6296BBFF6FB9}"/>
                    </a:ext>
                  </a:extLst>
                </p:cNvPr>
                <p:cNvGrpSpPr/>
                <p:nvPr/>
              </p:nvGrpSpPr>
              <p:grpSpPr>
                <a:xfrm>
                  <a:off x="7753084" y="4341710"/>
                  <a:ext cx="54583" cy="38066"/>
                  <a:chOff x="7753084" y="4341710"/>
                  <a:chExt cx="54583" cy="38066"/>
                </a:xfrm>
                <a:solidFill>
                  <a:schemeClr val="accent1"/>
                </a:solidFill>
              </p:grpSpPr>
              <p:sp>
                <p:nvSpPr>
                  <p:cNvPr id="4286" name="Freeform: Shape 4285">
                    <a:extLst>
                      <a:ext uri="{FF2B5EF4-FFF2-40B4-BE49-F238E27FC236}">
                        <a16:creationId xmlns:a16="http://schemas.microsoft.com/office/drawing/2014/main" id="{1BE21AEA-DCAF-4504-806C-62346650B7D6}"/>
                      </a:ext>
                    </a:extLst>
                  </p:cNvPr>
                  <p:cNvSpPr/>
                  <p:nvPr/>
                </p:nvSpPr>
                <p:spPr>
                  <a:xfrm>
                    <a:off x="7753252" y="434827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87" name="Freeform: Shape 4286">
                    <a:extLst>
                      <a:ext uri="{FF2B5EF4-FFF2-40B4-BE49-F238E27FC236}">
                        <a16:creationId xmlns:a16="http://schemas.microsoft.com/office/drawing/2014/main" id="{0B876FDB-02C1-4970-BC05-386196CBADAC}"/>
                      </a:ext>
                    </a:extLst>
                  </p:cNvPr>
                  <p:cNvSpPr/>
                  <p:nvPr/>
                </p:nvSpPr>
                <p:spPr>
                  <a:xfrm>
                    <a:off x="7753252" y="434777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88" name="Freeform: Shape 4287">
                    <a:extLst>
                      <a:ext uri="{FF2B5EF4-FFF2-40B4-BE49-F238E27FC236}">
                        <a16:creationId xmlns:a16="http://schemas.microsoft.com/office/drawing/2014/main" id="{EDCEFC7B-0633-48CC-8FC7-25647831E0A1}"/>
                      </a:ext>
                    </a:extLst>
                  </p:cNvPr>
                  <p:cNvSpPr/>
                  <p:nvPr/>
                </p:nvSpPr>
                <p:spPr>
                  <a:xfrm>
                    <a:off x="7753252" y="434709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89" name="Freeform: Shape 4288">
                    <a:extLst>
                      <a:ext uri="{FF2B5EF4-FFF2-40B4-BE49-F238E27FC236}">
                        <a16:creationId xmlns:a16="http://schemas.microsoft.com/office/drawing/2014/main" id="{65E2A3FF-8839-44F7-8887-4EA02FD928E4}"/>
                      </a:ext>
                    </a:extLst>
                  </p:cNvPr>
                  <p:cNvSpPr/>
                  <p:nvPr/>
                </p:nvSpPr>
                <p:spPr>
                  <a:xfrm>
                    <a:off x="7753084" y="4346593"/>
                    <a:ext cx="54568" cy="31499"/>
                  </a:xfrm>
                  <a:custGeom>
                    <a:avLst/>
                    <a:gdLst>
                      <a:gd name="connsiteX0" fmla="*/ 53560 w 54568"/>
                      <a:gd name="connsiteY0" fmla="*/ 14739 h 31499"/>
                      <a:gd name="connsiteX1" fmla="*/ 25608 w 54568"/>
                      <a:gd name="connsiteY1" fmla="*/ 30905 h 31499"/>
                      <a:gd name="connsiteX2" fmla="*/ 19377 w 54568"/>
                      <a:gd name="connsiteY2" fmla="*/ 30568 h 31499"/>
                      <a:gd name="connsiteX3" fmla="*/ 1528 w 54568"/>
                      <a:gd name="connsiteY3" fmla="*/ 20296 h 31499"/>
                      <a:gd name="connsiteX4" fmla="*/ 1023 w 54568"/>
                      <a:gd name="connsiteY4" fmla="*/ 16760 h 31499"/>
                      <a:gd name="connsiteX5" fmla="*/ 28975 w 54568"/>
                      <a:gd name="connsiteY5" fmla="*/ 595 h 31499"/>
                      <a:gd name="connsiteX6" fmla="*/ 35206 w 54568"/>
                      <a:gd name="connsiteY6" fmla="*/ 931 h 31499"/>
                      <a:gd name="connsiteX7" fmla="*/ 52887 w 54568"/>
                      <a:gd name="connsiteY7" fmla="*/ 11203 h 31499"/>
                      <a:gd name="connsiteX8" fmla="*/ 53560 w 54568"/>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68" h="31499">
                        <a:moveTo>
                          <a:pt x="53560" y="14739"/>
                        </a:moveTo>
                        <a:lnTo>
                          <a:pt x="25608" y="30905"/>
                        </a:lnTo>
                        <a:cubicBezTo>
                          <a:pt x="24092" y="31747"/>
                          <a:pt x="21230" y="31747"/>
                          <a:pt x="19377"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560" y="14739"/>
                        </a:cubicBezTo>
                        <a:close/>
                      </a:path>
                    </a:pathLst>
                  </a:custGeom>
                  <a:solidFill>
                    <a:srgbClr val="C93270"/>
                  </a:solidFill>
                  <a:ln w="16828" cap="flat">
                    <a:noFill/>
                    <a:prstDash val="solid"/>
                    <a:miter/>
                  </a:ln>
                </p:spPr>
                <p:txBody>
                  <a:bodyPr rtlCol="0" anchor="ctr"/>
                  <a:lstStyle/>
                  <a:p>
                    <a:endParaRPr lang="en-IN"/>
                  </a:p>
                </p:txBody>
              </p:sp>
              <p:sp>
                <p:nvSpPr>
                  <p:cNvPr id="4290" name="Freeform: Shape 4289">
                    <a:extLst>
                      <a:ext uri="{FF2B5EF4-FFF2-40B4-BE49-F238E27FC236}">
                        <a16:creationId xmlns:a16="http://schemas.microsoft.com/office/drawing/2014/main" id="{EBC4AFD6-AA3F-4D46-97EF-4F0796EE73CF}"/>
                      </a:ext>
                    </a:extLst>
                  </p:cNvPr>
                  <p:cNvSpPr/>
                  <p:nvPr/>
                </p:nvSpPr>
                <p:spPr>
                  <a:xfrm>
                    <a:off x="7753252" y="434592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91" name="Freeform: Shape 4290">
                    <a:extLst>
                      <a:ext uri="{FF2B5EF4-FFF2-40B4-BE49-F238E27FC236}">
                        <a16:creationId xmlns:a16="http://schemas.microsoft.com/office/drawing/2014/main" id="{53B8768E-1F5A-4C19-B495-9F38ED45FD7E}"/>
                      </a:ext>
                    </a:extLst>
                  </p:cNvPr>
                  <p:cNvSpPr/>
                  <p:nvPr/>
                </p:nvSpPr>
                <p:spPr>
                  <a:xfrm>
                    <a:off x="7753252" y="434541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92" name="Freeform: Shape 4291">
                    <a:extLst>
                      <a:ext uri="{FF2B5EF4-FFF2-40B4-BE49-F238E27FC236}">
                        <a16:creationId xmlns:a16="http://schemas.microsoft.com/office/drawing/2014/main" id="{EC4EA697-F380-4E8C-A7E8-D875C3EC2247}"/>
                      </a:ext>
                    </a:extLst>
                  </p:cNvPr>
                  <p:cNvSpPr/>
                  <p:nvPr/>
                </p:nvSpPr>
                <p:spPr>
                  <a:xfrm>
                    <a:off x="7753252" y="434474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93" name="Freeform: Shape 4292">
                    <a:extLst>
                      <a:ext uri="{FF2B5EF4-FFF2-40B4-BE49-F238E27FC236}">
                        <a16:creationId xmlns:a16="http://schemas.microsoft.com/office/drawing/2014/main" id="{1D468356-6446-43D2-8243-5C7C5C6582C7}"/>
                      </a:ext>
                    </a:extLst>
                  </p:cNvPr>
                  <p:cNvSpPr/>
                  <p:nvPr/>
                </p:nvSpPr>
                <p:spPr>
                  <a:xfrm>
                    <a:off x="7753252" y="434406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94" name="Freeform: Shape 4293">
                    <a:extLst>
                      <a:ext uri="{FF2B5EF4-FFF2-40B4-BE49-F238E27FC236}">
                        <a16:creationId xmlns:a16="http://schemas.microsoft.com/office/drawing/2014/main" id="{A614C4A5-520A-459E-A754-548F0C3E764D}"/>
                      </a:ext>
                    </a:extLst>
                  </p:cNvPr>
                  <p:cNvSpPr/>
                  <p:nvPr/>
                </p:nvSpPr>
                <p:spPr>
                  <a:xfrm>
                    <a:off x="7753252" y="434356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95" name="Freeform: Shape 4294">
                    <a:extLst>
                      <a:ext uri="{FF2B5EF4-FFF2-40B4-BE49-F238E27FC236}">
                        <a16:creationId xmlns:a16="http://schemas.microsoft.com/office/drawing/2014/main" id="{00112933-1FF4-4C27-B687-D581A4A4073D}"/>
                      </a:ext>
                    </a:extLst>
                  </p:cNvPr>
                  <p:cNvSpPr/>
                  <p:nvPr/>
                </p:nvSpPr>
                <p:spPr>
                  <a:xfrm>
                    <a:off x="7753252" y="434288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96" name="Freeform: Shape 4295">
                    <a:extLst>
                      <a:ext uri="{FF2B5EF4-FFF2-40B4-BE49-F238E27FC236}">
                        <a16:creationId xmlns:a16="http://schemas.microsoft.com/office/drawing/2014/main" id="{6EAED992-8F52-4A31-9184-60A6C4D9DE28}"/>
                      </a:ext>
                    </a:extLst>
                  </p:cNvPr>
                  <p:cNvSpPr/>
                  <p:nvPr/>
                </p:nvSpPr>
                <p:spPr>
                  <a:xfrm>
                    <a:off x="7753252" y="434238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97" name="Freeform: Shape 4296">
                    <a:extLst>
                      <a:ext uri="{FF2B5EF4-FFF2-40B4-BE49-F238E27FC236}">
                        <a16:creationId xmlns:a16="http://schemas.microsoft.com/office/drawing/2014/main" id="{E883DC4D-2469-4839-9DB7-FDE82876DD0C}"/>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98" name="Freeform: Shape 4297">
                    <a:extLst>
                      <a:ext uri="{FF2B5EF4-FFF2-40B4-BE49-F238E27FC236}">
                        <a16:creationId xmlns:a16="http://schemas.microsoft.com/office/drawing/2014/main" id="{C0894773-4762-4800-98A9-997AAD508DFA}"/>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C2F69"/>
                  </a:solidFill>
                  <a:ln w="16828" cap="flat">
                    <a:noFill/>
                    <a:prstDash val="solid"/>
                    <a:miter/>
                  </a:ln>
                </p:spPr>
                <p:txBody>
                  <a:bodyPr rtlCol="0" anchor="ctr"/>
                  <a:lstStyle/>
                  <a:p>
                    <a:endParaRPr lang="en-IN"/>
                  </a:p>
                </p:txBody>
              </p:sp>
              <p:sp>
                <p:nvSpPr>
                  <p:cNvPr id="4299" name="Freeform: Shape 4298">
                    <a:extLst>
                      <a:ext uri="{FF2B5EF4-FFF2-40B4-BE49-F238E27FC236}">
                        <a16:creationId xmlns:a16="http://schemas.microsoft.com/office/drawing/2014/main" id="{4F00DD8D-22BE-4644-858D-9FF5BC3C616B}"/>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F2C62"/>
                  </a:solidFill>
                  <a:ln w="16828" cap="flat">
                    <a:noFill/>
                    <a:prstDash val="solid"/>
                    <a:miter/>
                  </a:ln>
                </p:spPr>
                <p:txBody>
                  <a:bodyPr rtlCol="0" anchor="ctr"/>
                  <a:lstStyle/>
                  <a:p>
                    <a:endParaRPr lang="en-IN"/>
                  </a:p>
                </p:txBody>
              </p:sp>
              <p:sp>
                <p:nvSpPr>
                  <p:cNvPr id="4300" name="Freeform: Shape 4299">
                    <a:extLst>
                      <a:ext uri="{FF2B5EF4-FFF2-40B4-BE49-F238E27FC236}">
                        <a16:creationId xmlns:a16="http://schemas.microsoft.com/office/drawing/2014/main" id="{9B5D5BCD-F752-4684-AA4C-E9EFCFD5195D}"/>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1295B"/>
                  </a:solidFill>
                  <a:ln w="16828" cap="flat">
                    <a:noFill/>
                    <a:prstDash val="solid"/>
                    <a:miter/>
                  </a:ln>
                </p:spPr>
                <p:txBody>
                  <a:bodyPr rtlCol="0" anchor="ctr"/>
                  <a:lstStyle/>
                  <a:p>
                    <a:endParaRPr lang="en-IN"/>
                  </a:p>
                </p:txBody>
              </p:sp>
              <p:sp>
                <p:nvSpPr>
                  <p:cNvPr id="4301" name="Freeform: Shape 4300">
                    <a:extLst>
                      <a:ext uri="{FF2B5EF4-FFF2-40B4-BE49-F238E27FC236}">
                        <a16:creationId xmlns:a16="http://schemas.microsoft.com/office/drawing/2014/main" id="{C2092E66-4181-45A7-99C0-6A0B5B12B07F}"/>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42654"/>
                  </a:solidFill>
                  <a:ln w="16828" cap="flat">
                    <a:noFill/>
                    <a:prstDash val="solid"/>
                    <a:miter/>
                  </a:ln>
                </p:spPr>
                <p:txBody>
                  <a:bodyPr rtlCol="0" anchor="ctr"/>
                  <a:lstStyle/>
                  <a:p>
                    <a:endParaRPr lang="en-IN"/>
                  </a:p>
                </p:txBody>
              </p:sp>
              <p:sp>
                <p:nvSpPr>
                  <p:cNvPr id="4302" name="Freeform: Shape 4301">
                    <a:extLst>
                      <a:ext uri="{FF2B5EF4-FFF2-40B4-BE49-F238E27FC236}">
                        <a16:creationId xmlns:a16="http://schemas.microsoft.com/office/drawing/2014/main" id="{0AE2225F-C286-414C-ACBC-A9F987F08133}"/>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7234D"/>
                  </a:solidFill>
                  <a:ln w="16828" cap="flat">
                    <a:noFill/>
                    <a:prstDash val="solid"/>
                    <a:miter/>
                  </a:ln>
                </p:spPr>
                <p:txBody>
                  <a:bodyPr rtlCol="0" anchor="ctr"/>
                  <a:lstStyle/>
                  <a:p>
                    <a:endParaRPr lang="en-IN"/>
                  </a:p>
                </p:txBody>
              </p:sp>
              <p:sp>
                <p:nvSpPr>
                  <p:cNvPr id="4303" name="Freeform: Shape 4302">
                    <a:extLst>
                      <a:ext uri="{FF2B5EF4-FFF2-40B4-BE49-F238E27FC236}">
                        <a16:creationId xmlns:a16="http://schemas.microsoft.com/office/drawing/2014/main" id="{DC905FC7-95EF-4C8A-BB49-B1D688573840}"/>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A2046"/>
                  </a:solidFill>
                  <a:ln w="16828" cap="flat">
                    <a:noFill/>
                    <a:prstDash val="solid"/>
                    <a:miter/>
                  </a:ln>
                </p:spPr>
                <p:txBody>
                  <a:bodyPr rtlCol="0" anchor="ctr"/>
                  <a:lstStyle/>
                  <a:p>
                    <a:endParaRPr lang="en-IN"/>
                  </a:p>
                </p:txBody>
              </p:sp>
              <p:sp>
                <p:nvSpPr>
                  <p:cNvPr id="4304" name="Freeform: Shape 4303">
                    <a:extLst>
                      <a:ext uri="{FF2B5EF4-FFF2-40B4-BE49-F238E27FC236}">
                        <a16:creationId xmlns:a16="http://schemas.microsoft.com/office/drawing/2014/main" id="{E5107377-5C1D-4730-960E-EB427A3132B3}"/>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D1D3F"/>
                  </a:solidFill>
                  <a:ln w="16828" cap="flat">
                    <a:noFill/>
                    <a:prstDash val="solid"/>
                    <a:miter/>
                  </a:ln>
                </p:spPr>
                <p:txBody>
                  <a:bodyPr rtlCol="0" anchor="ctr"/>
                  <a:lstStyle/>
                  <a:p>
                    <a:endParaRPr lang="en-IN"/>
                  </a:p>
                </p:txBody>
              </p:sp>
              <p:sp>
                <p:nvSpPr>
                  <p:cNvPr id="4305" name="Freeform: Shape 4304">
                    <a:extLst>
                      <a:ext uri="{FF2B5EF4-FFF2-40B4-BE49-F238E27FC236}">
                        <a16:creationId xmlns:a16="http://schemas.microsoft.com/office/drawing/2014/main" id="{82128923-BC4D-44AB-ADB5-1E96D4B523F6}"/>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01A38"/>
                  </a:solidFill>
                  <a:ln w="16828" cap="flat">
                    <a:noFill/>
                    <a:prstDash val="solid"/>
                    <a:miter/>
                  </a:ln>
                </p:spPr>
                <p:txBody>
                  <a:bodyPr rtlCol="0" anchor="ctr"/>
                  <a:lstStyle/>
                  <a:p>
                    <a:endParaRPr lang="en-IN"/>
                  </a:p>
                </p:txBody>
              </p:sp>
              <p:sp>
                <p:nvSpPr>
                  <p:cNvPr id="4306" name="Freeform: Shape 4305">
                    <a:extLst>
                      <a:ext uri="{FF2B5EF4-FFF2-40B4-BE49-F238E27FC236}">
                        <a16:creationId xmlns:a16="http://schemas.microsoft.com/office/drawing/2014/main" id="{62E0CC29-29F5-4376-AE26-741AE2316399}"/>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21731"/>
                  </a:solidFill>
                  <a:ln w="16828" cap="flat">
                    <a:noFill/>
                    <a:prstDash val="solid"/>
                    <a:miter/>
                  </a:ln>
                </p:spPr>
                <p:txBody>
                  <a:bodyPr rtlCol="0" anchor="ctr"/>
                  <a:lstStyle/>
                  <a:p>
                    <a:endParaRPr lang="en-IN"/>
                  </a:p>
                </p:txBody>
              </p:sp>
              <p:sp>
                <p:nvSpPr>
                  <p:cNvPr id="4307" name="Freeform: Shape 4306">
                    <a:extLst>
                      <a:ext uri="{FF2B5EF4-FFF2-40B4-BE49-F238E27FC236}">
                        <a16:creationId xmlns:a16="http://schemas.microsoft.com/office/drawing/2014/main" id="{6607A518-C727-474D-A151-97A8817BB176}"/>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5142A"/>
                  </a:solidFill>
                  <a:ln w="16828" cap="flat">
                    <a:noFill/>
                    <a:prstDash val="solid"/>
                    <a:miter/>
                  </a:ln>
                </p:spPr>
                <p:txBody>
                  <a:bodyPr rtlCol="0" anchor="ctr"/>
                  <a:lstStyle/>
                  <a:p>
                    <a:endParaRPr lang="en-IN"/>
                  </a:p>
                </p:txBody>
              </p:sp>
              <p:sp>
                <p:nvSpPr>
                  <p:cNvPr id="4308" name="Freeform: Shape 4307">
                    <a:extLst>
                      <a:ext uri="{FF2B5EF4-FFF2-40B4-BE49-F238E27FC236}">
                        <a16:creationId xmlns:a16="http://schemas.microsoft.com/office/drawing/2014/main" id="{84561ABF-EB56-47DA-BDCD-892167B34080}"/>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81123"/>
                  </a:solidFill>
                  <a:ln w="16828" cap="flat">
                    <a:noFill/>
                    <a:prstDash val="solid"/>
                    <a:miter/>
                  </a:ln>
                </p:spPr>
                <p:txBody>
                  <a:bodyPr rtlCol="0" anchor="ctr"/>
                  <a:lstStyle/>
                  <a:p>
                    <a:endParaRPr lang="en-IN"/>
                  </a:p>
                </p:txBody>
              </p:sp>
            </p:grpSp>
          </p:grpSp>
          <p:grpSp>
            <p:nvGrpSpPr>
              <p:cNvPr id="4309" name="Graphic 4202">
                <a:extLst>
                  <a:ext uri="{FF2B5EF4-FFF2-40B4-BE49-F238E27FC236}">
                    <a16:creationId xmlns:a16="http://schemas.microsoft.com/office/drawing/2014/main" id="{D8C93A7D-1944-411F-8F69-6296BBFF6FB9}"/>
                  </a:ext>
                </a:extLst>
              </p:cNvPr>
              <p:cNvGrpSpPr/>
              <p:nvPr/>
            </p:nvGrpSpPr>
            <p:grpSpPr>
              <a:xfrm>
                <a:off x="7792823" y="4364611"/>
                <a:ext cx="54414" cy="38066"/>
                <a:chOff x="7792823" y="4364611"/>
                <a:chExt cx="54414" cy="38066"/>
              </a:xfrm>
              <a:solidFill>
                <a:schemeClr val="accent1"/>
              </a:solidFill>
            </p:grpSpPr>
            <p:sp>
              <p:nvSpPr>
                <p:cNvPr id="4310" name="Freeform: Shape 4309">
                  <a:extLst>
                    <a:ext uri="{FF2B5EF4-FFF2-40B4-BE49-F238E27FC236}">
                      <a16:creationId xmlns:a16="http://schemas.microsoft.com/office/drawing/2014/main" id="{0F217E53-A569-4A53-A77C-E7569D48F65A}"/>
                    </a:ext>
                  </a:extLst>
                </p:cNvPr>
                <p:cNvSpPr/>
                <p:nvPr/>
              </p:nvSpPr>
              <p:spPr>
                <a:xfrm>
                  <a:off x="7792823" y="437117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1" name="Freeform: Shape 4310">
                  <a:extLst>
                    <a:ext uri="{FF2B5EF4-FFF2-40B4-BE49-F238E27FC236}">
                      <a16:creationId xmlns:a16="http://schemas.microsoft.com/office/drawing/2014/main" id="{DF13A8A9-E3BC-4660-BD91-40BBCB6C2081}"/>
                    </a:ext>
                  </a:extLst>
                </p:cNvPr>
                <p:cNvSpPr/>
                <p:nvPr/>
              </p:nvSpPr>
              <p:spPr>
                <a:xfrm>
                  <a:off x="7792823" y="437067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12" name="Freeform: Shape 4311">
                  <a:extLst>
                    <a:ext uri="{FF2B5EF4-FFF2-40B4-BE49-F238E27FC236}">
                      <a16:creationId xmlns:a16="http://schemas.microsoft.com/office/drawing/2014/main" id="{FE9A87BC-B0D8-41CF-B301-DFC56DFFBF2B}"/>
                    </a:ext>
                  </a:extLst>
                </p:cNvPr>
                <p:cNvSpPr/>
                <p:nvPr/>
              </p:nvSpPr>
              <p:spPr>
                <a:xfrm>
                  <a:off x="7792823" y="436999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13" name="Freeform: Shape 4312">
                  <a:extLst>
                    <a:ext uri="{FF2B5EF4-FFF2-40B4-BE49-F238E27FC236}">
                      <a16:creationId xmlns:a16="http://schemas.microsoft.com/office/drawing/2014/main" id="{2608F0B3-E44C-440C-A44F-E84AC1D0B850}"/>
                    </a:ext>
                  </a:extLst>
                </p:cNvPr>
                <p:cNvSpPr/>
                <p:nvPr/>
              </p:nvSpPr>
              <p:spPr>
                <a:xfrm>
                  <a:off x="7792823" y="436932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4" name="Freeform: Shape 4313">
                  <a:extLst>
                    <a:ext uri="{FF2B5EF4-FFF2-40B4-BE49-F238E27FC236}">
                      <a16:creationId xmlns:a16="http://schemas.microsoft.com/office/drawing/2014/main" id="{CF2D1B08-1983-49F1-B8B3-A15E6F9F53D1}"/>
                    </a:ext>
                  </a:extLst>
                </p:cNvPr>
                <p:cNvSpPr/>
                <p:nvPr/>
              </p:nvSpPr>
              <p:spPr>
                <a:xfrm>
                  <a:off x="7792823" y="436882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15" name="Freeform: Shape 4314">
                  <a:extLst>
                    <a:ext uri="{FF2B5EF4-FFF2-40B4-BE49-F238E27FC236}">
                      <a16:creationId xmlns:a16="http://schemas.microsoft.com/office/drawing/2014/main" id="{A735962B-01E3-4B0F-B22A-AC5FDB8D9C61}"/>
                    </a:ext>
                  </a:extLst>
                </p:cNvPr>
                <p:cNvSpPr/>
                <p:nvPr/>
              </p:nvSpPr>
              <p:spPr>
                <a:xfrm>
                  <a:off x="7792823" y="436814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6" name="Freeform: Shape 4315">
                  <a:extLst>
                    <a:ext uri="{FF2B5EF4-FFF2-40B4-BE49-F238E27FC236}">
                      <a16:creationId xmlns:a16="http://schemas.microsoft.com/office/drawing/2014/main" id="{E0E1DBCC-4F4F-46DA-A14E-0662429C4C52}"/>
                    </a:ext>
                  </a:extLst>
                </p:cNvPr>
                <p:cNvSpPr/>
                <p:nvPr/>
              </p:nvSpPr>
              <p:spPr>
                <a:xfrm>
                  <a:off x="7792823" y="436764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17" name="Freeform: Shape 4316">
                  <a:extLst>
                    <a:ext uri="{FF2B5EF4-FFF2-40B4-BE49-F238E27FC236}">
                      <a16:creationId xmlns:a16="http://schemas.microsoft.com/office/drawing/2014/main" id="{1E60AE37-E028-44CC-BB6D-F371F840806B}"/>
                    </a:ext>
                  </a:extLst>
                </p:cNvPr>
                <p:cNvSpPr/>
                <p:nvPr/>
              </p:nvSpPr>
              <p:spPr>
                <a:xfrm>
                  <a:off x="7792823" y="436696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8" name="Freeform: Shape 4317">
                  <a:extLst>
                    <a:ext uri="{FF2B5EF4-FFF2-40B4-BE49-F238E27FC236}">
                      <a16:creationId xmlns:a16="http://schemas.microsoft.com/office/drawing/2014/main" id="{DE288A9A-A845-44F5-B44D-3D02F1AF4483}"/>
                    </a:ext>
                  </a:extLst>
                </p:cNvPr>
                <p:cNvSpPr/>
                <p:nvPr/>
              </p:nvSpPr>
              <p:spPr>
                <a:xfrm>
                  <a:off x="7792823" y="436629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9" name="Freeform: Shape 4318">
                  <a:extLst>
                    <a:ext uri="{FF2B5EF4-FFF2-40B4-BE49-F238E27FC236}">
                      <a16:creationId xmlns:a16="http://schemas.microsoft.com/office/drawing/2014/main" id="{176DDB27-1CE0-422B-A4F0-B8A9D7ED4528}"/>
                    </a:ext>
                  </a:extLst>
                </p:cNvPr>
                <p:cNvSpPr/>
                <p:nvPr/>
              </p:nvSpPr>
              <p:spPr>
                <a:xfrm>
                  <a:off x="7792823" y="436579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20" name="Freeform: Shape 4319">
                  <a:extLst>
                    <a:ext uri="{FF2B5EF4-FFF2-40B4-BE49-F238E27FC236}">
                      <a16:creationId xmlns:a16="http://schemas.microsoft.com/office/drawing/2014/main" id="{F8551E8A-D1E8-4465-ACC6-5216A83A591E}"/>
                    </a:ext>
                  </a:extLst>
                </p:cNvPr>
                <p:cNvSpPr/>
                <p:nvPr/>
              </p:nvSpPr>
              <p:spPr>
                <a:xfrm>
                  <a:off x="7792823" y="436511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21" name="Freeform: Shape 4320">
                  <a:extLst>
                    <a:ext uri="{FF2B5EF4-FFF2-40B4-BE49-F238E27FC236}">
                      <a16:creationId xmlns:a16="http://schemas.microsoft.com/office/drawing/2014/main" id="{DB8BF0B8-EA85-46B0-B9E9-A1AF888A7550}"/>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22" name="Freeform: Shape 4321">
                  <a:extLst>
                    <a:ext uri="{FF2B5EF4-FFF2-40B4-BE49-F238E27FC236}">
                      <a16:creationId xmlns:a16="http://schemas.microsoft.com/office/drawing/2014/main" id="{AF8B1FA5-E82C-4AD4-A744-BB300FF9043F}"/>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C2F69"/>
                </a:solidFill>
                <a:ln w="16828" cap="flat">
                  <a:noFill/>
                  <a:prstDash val="solid"/>
                  <a:miter/>
                </a:ln>
              </p:spPr>
              <p:txBody>
                <a:bodyPr rtlCol="0" anchor="ctr"/>
                <a:lstStyle/>
                <a:p>
                  <a:endParaRPr lang="en-IN"/>
                </a:p>
              </p:txBody>
            </p:sp>
            <p:sp>
              <p:nvSpPr>
                <p:cNvPr id="4323" name="Freeform: Shape 4322">
                  <a:extLst>
                    <a:ext uri="{FF2B5EF4-FFF2-40B4-BE49-F238E27FC236}">
                      <a16:creationId xmlns:a16="http://schemas.microsoft.com/office/drawing/2014/main" id="{A6A45F51-5FAE-4F4B-85B9-B2A312675456}"/>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F2C62"/>
                </a:solidFill>
                <a:ln w="16828" cap="flat">
                  <a:noFill/>
                  <a:prstDash val="solid"/>
                  <a:miter/>
                </a:ln>
              </p:spPr>
              <p:txBody>
                <a:bodyPr rtlCol="0" anchor="ctr"/>
                <a:lstStyle/>
                <a:p>
                  <a:endParaRPr lang="en-IN"/>
                </a:p>
              </p:txBody>
            </p:sp>
            <p:sp>
              <p:nvSpPr>
                <p:cNvPr id="4324" name="Freeform: Shape 4323">
                  <a:extLst>
                    <a:ext uri="{FF2B5EF4-FFF2-40B4-BE49-F238E27FC236}">
                      <a16:creationId xmlns:a16="http://schemas.microsoft.com/office/drawing/2014/main" id="{9900BADF-02C0-4A70-8709-3EBF8B120AED}"/>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1295B"/>
                </a:solidFill>
                <a:ln w="16828" cap="flat">
                  <a:noFill/>
                  <a:prstDash val="solid"/>
                  <a:miter/>
                </a:ln>
              </p:spPr>
              <p:txBody>
                <a:bodyPr rtlCol="0" anchor="ctr"/>
                <a:lstStyle/>
                <a:p>
                  <a:endParaRPr lang="en-IN"/>
                </a:p>
              </p:txBody>
            </p:sp>
            <p:sp>
              <p:nvSpPr>
                <p:cNvPr id="4325" name="Freeform: Shape 4324">
                  <a:extLst>
                    <a:ext uri="{FF2B5EF4-FFF2-40B4-BE49-F238E27FC236}">
                      <a16:creationId xmlns:a16="http://schemas.microsoft.com/office/drawing/2014/main" id="{7536A284-1680-4974-9AD3-01B35B8F594C}"/>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42654"/>
                </a:solidFill>
                <a:ln w="16828" cap="flat">
                  <a:noFill/>
                  <a:prstDash val="solid"/>
                  <a:miter/>
                </a:ln>
              </p:spPr>
              <p:txBody>
                <a:bodyPr rtlCol="0" anchor="ctr"/>
                <a:lstStyle/>
                <a:p>
                  <a:endParaRPr lang="en-IN"/>
                </a:p>
              </p:txBody>
            </p:sp>
            <p:sp>
              <p:nvSpPr>
                <p:cNvPr id="4326" name="Freeform: Shape 4325">
                  <a:extLst>
                    <a:ext uri="{FF2B5EF4-FFF2-40B4-BE49-F238E27FC236}">
                      <a16:creationId xmlns:a16="http://schemas.microsoft.com/office/drawing/2014/main" id="{D0894379-E3C5-4CD9-848A-A9D57C3DF62F}"/>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7234D"/>
                </a:solidFill>
                <a:ln w="16828" cap="flat">
                  <a:noFill/>
                  <a:prstDash val="solid"/>
                  <a:miter/>
                </a:ln>
              </p:spPr>
              <p:txBody>
                <a:bodyPr rtlCol="0" anchor="ctr"/>
                <a:lstStyle/>
                <a:p>
                  <a:endParaRPr lang="en-IN"/>
                </a:p>
              </p:txBody>
            </p:sp>
            <p:sp>
              <p:nvSpPr>
                <p:cNvPr id="4327" name="Freeform: Shape 4326">
                  <a:extLst>
                    <a:ext uri="{FF2B5EF4-FFF2-40B4-BE49-F238E27FC236}">
                      <a16:creationId xmlns:a16="http://schemas.microsoft.com/office/drawing/2014/main" id="{1F926E80-F9BE-4FF1-AB42-8C537C071D30}"/>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A2046"/>
                </a:solidFill>
                <a:ln w="16828" cap="flat">
                  <a:noFill/>
                  <a:prstDash val="solid"/>
                  <a:miter/>
                </a:ln>
              </p:spPr>
              <p:txBody>
                <a:bodyPr rtlCol="0" anchor="ctr"/>
                <a:lstStyle/>
                <a:p>
                  <a:endParaRPr lang="en-IN"/>
                </a:p>
              </p:txBody>
            </p:sp>
            <p:sp>
              <p:nvSpPr>
                <p:cNvPr id="4328" name="Freeform: Shape 4327">
                  <a:extLst>
                    <a:ext uri="{FF2B5EF4-FFF2-40B4-BE49-F238E27FC236}">
                      <a16:creationId xmlns:a16="http://schemas.microsoft.com/office/drawing/2014/main" id="{8844448F-CE43-449B-9B5E-BFFE4F52C392}"/>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D1D3F"/>
                </a:solidFill>
                <a:ln w="16828" cap="flat">
                  <a:noFill/>
                  <a:prstDash val="solid"/>
                  <a:miter/>
                </a:ln>
              </p:spPr>
              <p:txBody>
                <a:bodyPr rtlCol="0" anchor="ctr"/>
                <a:lstStyle/>
                <a:p>
                  <a:endParaRPr lang="en-IN"/>
                </a:p>
              </p:txBody>
            </p:sp>
            <p:sp>
              <p:nvSpPr>
                <p:cNvPr id="4329" name="Freeform: Shape 4328">
                  <a:extLst>
                    <a:ext uri="{FF2B5EF4-FFF2-40B4-BE49-F238E27FC236}">
                      <a16:creationId xmlns:a16="http://schemas.microsoft.com/office/drawing/2014/main" id="{F6EAB4CF-A912-4486-9D92-9A001EAB779D}"/>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01A38"/>
                </a:solidFill>
                <a:ln w="16828" cap="flat">
                  <a:noFill/>
                  <a:prstDash val="solid"/>
                  <a:miter/>
                </a:ln>
              </p:spPr>
              <p:txBody>
                <a:bodyPr rtlCol="0" anchor="ctr"/>
                <a:lstStyle/>
                <a:p>
                  <a:endParaRPr lang="en-IN"/>
                </a:p>
              </p:txBody>
            </p:sp>
            <p:sp>
              <p:nvSpPr>
                <p:cNvPr id="4330" name="Freeform: Shape 4329">
                  <a:extLst>
                    <a:ext uri="{FF2B5EF4-FFF2-40B4-BE49-F238E27FC236}">
                      <a16:creationId xmlns:a16="http://schemas.microsoft.com/office/drawing/2014/main" id="{D2B25C43-DF1A-463F-AE76-6ED5C51B030F}"/>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21731"/>
                </a:solidFill>
                <a:ln w="16828" cap="flat">
                  <a:noFill/>
                  <a:prstDash val="solid"/>
                  <a:miter/>
                </a:ln>
              </p:spPr>
              <p:txBody>
                <a:bodyPr rtlCol="0" anchor="ctr"/>
                <a:lstStyle/>
                <a:p>
                  <a:endParaRPr lang="en-IN"/>
                </a:p>
              </p:txBody>
            </p:sp>
            <p:sp>
              <p:nvSpPr>
                <p:cNvPr id="4331" name="Freeform: Shape 4330">
                  <a:extLst>
                    <a:ext uri="{FF2B5EF4-FFF2-40B4-BE49-F238E27FC236}">
                      <a16:creationId xmlns:a16="http://schemas.microsoft.com/office/drawing/2014/main" id="{8B2FBC1E-853B-4455-A30C-F343F83722F3}"/>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5142A"/>
                </a:solidFill>
                <a:ln w="16828" cap="flat">
                  <a:noFill/>
                  <a:prstDash val="solid"/>
                  <a:miter/>
                </a:ln>
              </p:spPr>
              <p:txBody>
                <a:bodyPr rtlCol="0" anchor="ctr"/>
                <a:lstStyle/>
                <a:p>
                  <a:endParaRPr lang="en-IN"/>
                </a:p>
              </p:txBody>
            </p:sp>
            <p:sp>
              <p:nvSpPr>
                <p:cNvPr id="4332" name="Freeform: Shape 4331">
                  <a:extLst>
                    <a:ext uri="{FF2B5EF4-FFF2-40B4-BE49-F238E27FC236}">
                      <a16:creationId xmlns:a16="http://schemas.microsoft.com/office/drawing/2014/main" id="{6E362E9E-D319-43C9-A670-34D2C9F7D0B9}"/>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333" name="Graphic 4202">
                <a:extLst>
                  <a:ext uri="{FF2B5EF4-FFF2-40B4-BE49-F238E27FC236}">
                    <a16:creationId xmlns:a16="http://schemas.microsoft.com/office/drawing/2014/main" id="{D8C93A7D-1944-411F-8F69-6296BBFF6FB9}"/>
                  </a:ext>
                </a:extLst>
              </p:cNvPr>
              <p:cNvGrpSpPr/>
              <p:nvPr/>
            </p:nvGrpSpPr>
            <p:grpSpPr>
              <a:xfrm>
                <a:off x="7832395" y="4387343"/>
                <a:ext cx="54414" cy="38234"/>
                <a:chOff x="7832395" y="4387343"/>
                <a:chExt cx="54414" cy="38234"/>
              </a:xfrm>
              <a:solidFill>
                <a:schemeClr val="accent1"/>
              </a:solidFill>
            </p:grpSpPr>
            <p:sp>
              <p:nvSpPr>
                <p:cNvPr id="4334" name="Freeform: Shape 4333">
                  <a:extLst>
                    <a:ext uri="{FF2B5EF4-FFF2-40B4-BE49-F238E27FC236}">
                      <a16:creationId xmlns:a16="http://schemas.microsoft.com/office/drawing/2014/main" id="{027CEC51-C8F3-45D7-B900-960287E11BB1}"/>
                    </a:ext>
                  </a:extLst>
                </p:cNvPr>
                <p:cNvSpPr/>
                <p:nvPr/>
              </p:nvSpPr>
              <p:spPr>
                <a:xfrm>
                  <a:off x="7832395" y="439407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35" name="Freeform: Shape 4334">
                  <a:extLst>
                    <a:ext uri="{FF2B5EF4-FFF2-40B4-BE49-F238E27FC236}">
                      <a16:creationId xmlns:a16="http://schemas.microsoft.com/office/drawing/2014/main" id="{ACB1056A-CBBA-43A2-8C9C-0072336CF343}"/>
                    </a:ext>
                  </a:extLst>
                </p:cNvPr>
                <p:cNvSpPr/>
                <p:nvPr/>
              </p:nvSpPr>
              <p:spPr>
                <a:xfrm>
                  <a:off x="7832395" y="439340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36" name="Freeform: Shape 4335">
                  <a:extLst>
                    <a:ext uri="{FF2B5EF4-FFF2-40B4-BE49-F238E27FC236}">
                      <a16:creationId xmlns:a16="http://schemas.microsoft.com/office/drawing/2014/main" id="{72D4E2EC-DD30-43E1-8DE8-EB2849BB4AE1}"/>
                    </a:ext>
                  </a:extLst>
                </p:cNvPr>
                <p:cNvSpPr/>
                <p:nvPr/>
              </p:nvSpPr>
              <p:spPr>
                <a:xfrm>
                  <a:off x="7832395" y="439290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37" name="Freeform: Shape 4336">
                  <a:extLst>
                    <a:ext uri="{FF2B5EF4-FFF2-40B4-BE49-F238E27FC236}">
                      <a16:creationId xmlns:a16="http://schemas.microsoft.com/office/drawing/2014/main" id="{6F84E314-DCD3-40BA-8E68-8669732D1435}"/>
                    </a:ext>
                  </a:extLst>
                </p:cNvPr>
                <p:cNvSpPr/>
                <p:nvPr/>
              </p:nvSpPr>
              <p:spPr>
                <a:xfrm>
                  <a:off x="7832395" y="439222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38" name="Freeform: Shape 4337">
                  <a:extLst>
                    <a:ext uri="{FF2B5EF4-FFF2-40B4-BE49-F238E27FC236}">
                      <a16:creationId xmlns:a16="http://schemas.microsoft.com/office/drawing/2014/main" id="{E83B26B6-79B8-4465-A632-D82C70EAE03C}"/>
                    </a:ext>
                  </a:extLst>
                </p:cNvPr>
                <p:cNvSpPr/>
                <p:nvPr/>
              </p:nvSpPr>
              <p:spPr>
                <a:xfrm>
                  <a:off x="7832395" y="439155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39" name="Freeform: Shape 4338">
                  <a:extLst>
                    <a:ext uri="{FF2B5EF4-FFF2-40B4-BE49-F238E27FC236}">
                      <a16:creationId xmlns:a16="http://schemas.microsoft.com/office/drawing/2014/main" id="{68BADBD5-FC84-42EB-B208-8EE1132D03F9}"/>
                    </a:ext>
                  </a:extLst>
                </p:cNvPr>
                <p:cNvSpPr/>
                <p:nvPr/>
              </p:nvSpPr>
              <p:spPr>
                <a:xfrm>
                  <a:off x="7832395" y="439104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40" name="Freeform: Shape 4339">
                  <a:extLst>
                    <a:ext uri="{FF2B5EF4-FFF2-40B4-BE49-F238E27FC236}">
                      <a16:creationId xmlns:a16="http://schemas.microsoft.com/office/drawing/2014/main" id="{3B43AE49-6D7C-426E-9478-1131689F6228}"/>
                    </a:ext>
                  </a:extLst>
                </p:cNvPr>
                <p:cNvSpPr/>
                <p:nvPr/>
              </p:nvSpPr>
              <p:spPr>
                <a:xfrm>
                  <a:off x="7832395" y="439037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41" name="Freeform: Shape 4340">
                  <a:extLst>
                    <a:ext uri="{FF2B5EF4-FFF2-40B4-BE49-F238E27FC236}">
                      <a16:creationId xmlns:a16="http://schemas.microsoft.com/office/drawing/2014/main" id="{53A21C68-5C97-4B22-8166-F1A4C0326C0B}"/>
                    </a:ext>
                  </a:extLst>
                </p:cNvPr>
                <p:cNvSpPr/>
                <p:nvPr/>
              </p:nvSpPr>
              <p:spPr>
                <a:xfrm>
                  <a:off x="7832395" y="438986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42" name="Freeform: Shape 4341">
                  <a:extLst>
                    <a:ext uri="{FF2B5EF4-FFF2-40B4-BE49-F238E27FC236}">
                      <a16:creationId xmlns:a16="http://schemas.microsoft.com/office/drawing/2014/main" id="{2DD09C6F-4749-4059-9861-11221DEEDFAE}"/>
                    </a:ext>
                  </a:extLst>
                </p:cNvPr>
                <p:cNvSpPr/>
                <p:nvPr/>
              </p:nvSpPr>
              <p:spPr>
                <a:xfrm>
                  <a:off x="7832395" y="438919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43" name="Freeform: Shape 4342">
                  <a:extLst>
                    <a:ext uri="{FF2B5EF4-FFF2-40B4-BE49-F238E27FC236}">
                      <a16:creationId xmlns:a16="http://schemas.microsoft.com/office/drawing/2014/main" id="{D689A4A0-7243-47C2-A699-6E67F0A2C03A}"/>
                    </a:ext>
                  </a:extLst>
                </p:cNvPr>
                <p:cNvSpPr/>
                <p:nvPr/>
              </p:nvSpPr>
              <p:spPr>
                <a:xfrm>
                  <a:off x="7832395" y="438852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44" name="Freeform: Shape 4343">
                  <a:extLst>
                    <a:ext uri="{FF2B5EF4-FFF2-40B4-BE49-F238E27FC236}">
                      <a16:creationId xmlns:a16="http://schemas.microsoft.com/office/drawing/2014/main" id="{F08EAF7D-327D-47DD-8826-4A5213FF5EB4}"/>
                    </a:ext>
                  </a:extLst>
                </p:cNvPr>
                <p:cNvSpPr/>
                <p:nvPr/>
              </p:nvSpPr>
              <p:spPr>
                <a:xfrm>
                  <a:off x="7832395" y="438801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45" name="Freeform: Shape 4344">
                  <a:extLst>
                    <a:ext uri="{FF2B5EF4-FFF2-40B4-BE49-F238E27FC236}">
                      <a16:creationId xmlns:a16="http://schemas.microsoft.com/office/drawing/2014/main" id="{496551BC-BA5C-4185-A365-8AE2CE10A1B3}"/>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46" name="Freeform: Shape 4345">
                  <a:extLst>
                    <a:ext uri="{FF2B5EF4-FFF2-40B4-BE49-F238E27FC236}">
                      <a16:creationId xmlns:a16="http://schemas.microsoft.com/office/drawing/2014/main" id="{C3404D6C-78CA-4600-8B96-A78577530422}"/>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C2F69"/>
                </a:solidFill>
                <a:ln w="16828" cap="flat">
                  <a:noFill/>
                  <a:prstDash val="solid"/>
                  <a:miter/>
                </a:ln>
              </p:spPr>
              <p:txBody>
                <a:bodyPr rtlCol="0" anchor="ctr"/>
                <a:lstStyle/>
                <a:p>
                  <a:endParaRPr lang="en-IN"/>
                </a:p>
              </p:txBody>
            </p:sp>
            <p:sp>
              <p:nvSpPr>
                <p:cNvPr id="4347" name="Freeform: Shape 4346">
                  <a:extLst>
                    <a:ext uri="{FF2B5EF4-FFF2-40B4-BE49-F238E27FC236}">
                      <a16:creationId xmlns:a16="http://schemas.microsoft.com/office/drawing/2014/main" id="{97AE3793-2B8D-4702-82B9-A5AA06747614}"/>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F2C62"/>
                </a:solidFill>
                <a:ln w="16828" cap="flat">
                  <a:noFill/>
                  <a:prstDash val="solid"/>
                  <a:miter/>
                </a:ln>
              </p:spPr>
              <p:txBody>
                <a:bodyPr rtlCol="0" anchor="ctr"/>
                <a:lstStyle/>
                <a:p>
                  <a:endParaRPr lang="en-IN"/>
                </a:p>
              </p:txBody>
            </p:sp>
            <p:sp>
              <p:nvSpPr>
                <p:cNvPr id="4348" name="Freeform: Shape 4347">
                  <a:extLst>
                    <a:ext uri="{FF2B5EF4-FFF2-40B4-BE49-F238E27FC236}">
                      <a16:creationId xmlns:a16="http://schemas.microsoft.com/office/drawing/2014/main" id="{ECC420F4-9B75-42B6-BC7E-E80C429B87A6}"/>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1295B"/>
                </a:solidFill>
                <a:ln w="16828" cap="flat">
                  <a:noFill/>
                  <a:prstDash val="solid"/>
                  <a:miter/>
                </a:ln>
              </p:spPr>
              <p:txBody>
                <a:bodyPr rtlCol="0" anchor="ctr"/>
                <a:lstStyle/>
                <a:p>
                  <a:endParaRPr lang="en-IN"/>
                </a:p>
              </p:txBody>
            </p:sp>
            <p:sp>
              <p:nvSpPr>
                <p:cNvPr id="4349" name="Freeform: Shape 4348">
                  <a:extLst>
                    <a:ext uri="{FF2B5EF4-FFF2-40B4-BE49-F238E27FC236}">
                      <a16:creationId xmlns:a16="http://schemas.microsoft.com/office/drawing/2014/main" id="{25173D99-2AEA-4501-B652-6CED306F1C56}"/>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42654"/>
                </a:solidFill>
                <a:ln w="16828" cap="flat">
                  <a:noFill/>
                  <a:prstDash val="solid"/>
                  <a:miter/>
                </a:ln>
              </p:spPr>
              <p:txBody>
                <a:bodyPr rtlCol="0" anchor="ctr"/>
                <a:lstStyle/>
                <a:p>
                  <a:endParaRPr lang="en-IN"/>
                </a:p>
              </p:txBody>
            </p:sp>
            <p:sp>
              <p:nvSpPr>
                <p:cNvPr id="4350" name="Freeform: Shape 4349">
                  <a:extLst>
                    <a:ext uri="{FF2B5EF4-FFF2-40B4-BE49-F238E27FC236}">
                      <a16:creationId xmlns:a16="http://schemas.microsoft.com/office/drawing/2014/main" id="{D5143992-F983-43F9-B480-3FE93B02D71B}"/>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7234D"/>
                </a:solidFill>
                <a:ln w="16828" cap="flat">
                  <a:noFill/>
                  <a:prstDash val="solid"/>
                  <a:miter/>
                </a:ln>
              </p:spPr>
              <p:txBody>
                <a:bodyPr rtlCol="0" anchor="ctr"/>
                <a:lstStyle/>
                <a:p>
                  <a:endParaRPr lang="en-IN"/>
                </a:p>
              </p:txBody>
            </p:sp>
            <p:sp>
              <p:nvSpPr>
                <p:cNvPr id="4351" name="Freeform: Shape 4350">
                  <a:extLst>
                    <a:ext uri="{FF2B5EF4-FFF2-40B4-BE49-F238E27FC236}">
                      <a16:creationId xmlns:a16="http://schemas.microsoft.com/office/drawing/2014/main" id="{2625011A-1635-4FD3-8E97-A305BCB01EC3}"/>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A2046"/>
                </a:solidFill>
                <a:ln w="16828" cap="flat">
                  <a:noFill/>
                  <a:prstDash val="solid"/>
                  <a:miter/>
                </a:ln>
              </p:spPr>
              <p:txBody>
                <a:bodyPr rtlCol="0" anchor="ctr"/>
                <a:lstStyle/>
                <a:p>
                  <a:endParaRPr lang="en-IN"/>
                </a:p>
              </p:txBody>
            </p:sp>
            <p:sp>
              <p:nvSpPr>
                <p:cNvPr id="4352" name="Freeform: Shape 4351">
                  <a:extLst>
                    <a:ext uri="{FF2B5EF4-FFF2-40B4-BE49-F238E27FC236}">
                      <a16:creationId xmlns:a16="http://schemas.microsoft.com/office/drawing/2014/main" id="{7D2324DB-27F7-4869-8953-721F8D2A8713}"/>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D1D3F"/>
                </a:solidFill>
                <a:ln w="16828" cap="flat">
                  <a:noFill/>
                  <a:prstDash val="solid"/>
                  <a:miter/>
                </a:ln>
              </p:spPr>
              <p:txBody>
                <a:bodyPr rtlCol="0" anchor="ctr"/>
                <a:lstStyle/>
                <a:p>
                  <a:endParaRPr lang="en-IN"/>
                </a:p>
              </p:txBody>
            </p:sp>
            <p:sp>
              <p:nvSpPr>
                <p:cNvPr id="4353" name="Freeform: Shape 4352">
                  <a:extLst>
                    <a:ext uri="{FF2B5EF4-FFF2-40B4-BE49-F238E27FC236}">
                      <a16:creationId xmlns:a16="http://schemas.microsoft.com/office/drawing/2014/main" id="{96D75B16-E1C4-4575-BB9C-B8A5E2237D9E}"/>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01A38"/>
                </a:solidFill>
                <a:ln w="16828" cap="flat">
                  <a:noFill/>
                  <a:prstDash val="solid"/>
                  <a:miter/>
                </a:ln>
              </p:spPr>
              <p:txBody>
                <a:bodyPr rtlCol="0" anchor="ctr"/>
                <a:lstStyle/>
                <a:p>
                  <a:endParaRPr lang="en-IN"/>
                </a:p>
              </p:txBody>
            </p:sp>
            <p:sp>
              <p:nvSpPr>
                <p:cNvPr id="4354" name="Freeform: Shape 4353">
                  <a:extLst>
                    <a:ext uri="{FF2B5EF4-FFF2-40B4-BE49-F238E27FC236}">
                      <a16:creationId xmlns:a16="http://schemas.microsoft.com/office/drawing/2014/main" id="{D062AD63-A740-4273-935D-81BE140CB345}"/>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21731"/>
                </a:solidFill>
                <a:ln w="16828" cap="flat">
                  <a:noFill/>
                  <a:prstDash val="solid"/>
                  <a:miter/>
                </a:ln>
              </p:spPr>
              <p:txBody>
                <a:bodyPr rtlCol="0" anchor="ctr"/>
                <a:lstStyle/>
                <a:p>
                  <a:endParaRPr lang="en-IN"/>
                </a:p>
              </p:txBody>
            </p:sp>
            <p:sp>
              <p:nvSpPr>
                <p:cNvPr id="4355" name="Freeform: Shape 4354">
                  <a:extLst>
                    <a:ext uri="{FF2B5EF4-FFF2-40B4-BE49-F238E27FC236}">
                      <a16:creationId xmlns:a16="http://schemas.microsoft.com/office/drawing/2014/main" id="{C3058680-8B82-40F4-AB16-94090E686017}"/>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5142A"/>
                </a:solidFill>
                <a:ln w="16828" cap="flat">
                  <a:noFill/>
                  <a:prstDash val="solid"/>
                  <a:miter/>
                </a:ln>
              </p:spPr>
              <p:txBody>
                <a:bodyPr rtlCol="0" anchor="ctr"/>
                <a:lstStyle/>
                <a:p>
                  <a:endParaRPr lang="en-IN"/>
                </a:p>
              </p:txBody>
            </p:sp>
            <p:sp>
              <p:nvSpPr>
                <p:cNvPr id="4356" name="Freeform: Shape 4355">
                  <a:extLst>
                    <a:ext uri="{FF2B5EF4-FFF2-40B4-BE49-F238E27FC236}">
                      <a16:creationId xmlns:a16="http://schemas.microsoft.com/office/drawing/2014/main" id="{4FCEAD5E-05E1-4801-8BEB-3E285EA25585}"/>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357" name="Graphic 4202">
                <a:extLst>
                  <a:ext uri="{FF2B5EF4-FFF2-40B4-BE49-F238E27FC236}">
                    <a16:creationId xmlns:a16="http://schemas.microsoft.com/office/drawing/2014/main" id="{D8C93A7D-1944-411F-8F69-6296BBFF6FB9}"/>
                  </a:ext>
                </a:extLst>
              </p:cNvPr>
              <p:cNvGrpSpPr/>
              <p:nvPr/>
            </p:nvGrpSpPr>
            <p:grpSpPr>
              <a:xfrm>
                <a:off x="7871966" y="4410244"/>
                <a:ext cx="54414" cy="38066"/>
                <a:chOff x="7871966" y="4410244"/>
                <a:chExt cx="54414" cy="38066"/>
              </a:xfrm>
              <a:solidFill>
                <a:schemeClr val="accent1"/>
              </a:solidFill>
            </p:grpSpPr>
            <p:sp>
              <p:nvSpPr>
                <p:cNvPr id="4358" name="Freeform: Shape 4357">
                  <a:extLst>
                    <a:ext uri="{FF2B5EF4-FFF2-40B4-BE49-F238E27FC236}">
                      <a16:creationId xmlns:a16="http://schemas.microsoft.com/office/drawing/2014/main" id="{7ECA70A4-27C6-47D5-B847-ADFCC6C1A899}"/>
                    </a:ext>
                  </a:extLst>
                </p:cNvPr>
                <p:cNvSpPr/>
                <p:nvPr/>
              </p:nvSpPr>
              <p:spPr>
                <a:xfrm>
                  <a:off x="7871966" y="44168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59" name="Freeform: Shape 4358">
                  <a:extLst>
                    <a:ext uri="{FF2B5EF4-FFF2-40B4-BE49-F238E27FC236}">
                      <a16:creationId xmlns:a16="http://schemas.microsoft.com/office/drawing/2014/main" id="{93EF369F-2590-467C-A4BF-575C1AF17732}"/>
                    </a:ext>
                  </a:extLst>
                </p:cNvPr>
                <p:cNvSpPr/>
                <p:nvPr/>
              </p:nvSpPr>
              <p:spPr>
                <a:xfrm>
                  <a:off x="7871966" y="441630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0" name="Freeform: Shape 4359">
                  <a:extLst>
                    <a:ext uri="{FF2B5EF4-FFF2-40B4-BE49-F238E27FC236}">
                      <a16:creationId xmlns:a16="http://schemas.microsoft.com/office/drawing/2014/main" id="{8E7A4CBE-DF13-458B-8E74-DA3104001980}"/>
                    </a:ext>
                  </a:extLst>
                </p:cNvPr>
                <p:cNvSpPr/>
                <p:nvPr/>
              </p:nvSpPr>
              <p:spPr>
                <a:xfrm>
                  <a:off x="7871966" y="441563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1" name="Freeform: Shape 4360">
                  <a:extLst>
                    <a:ext uri="{FF2B5EF4-FFF2-40B4-BE49-F238E27FC236}">
                      <a16:creationId xmlns:a16="http://schemas.microsoft.com/office/drawing/2014/main" id="{39FA7EC5-62DA-4A1B-9358-681AFBA65F51}"/>
                    </a:ext>
                  </a:extLst>
                </p:cNvPr>
                <p:cNvSpPr/>
                <p:nvPr/>
              </p:nvSpPr>
              <p:spPr>
                <a:xfrm>
                  <a:off x="7871966" y="441512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2" name="Freeform: Shape 4361">
                  <a:extLst>
                    <a:ext uri="{FF2B5EF4-FFF2-40B4-BE49-F238E27FC236}">
                      <a16:creationId xmlns:a16="http://schemas.microsoft.com/office/drawing/2014/main" id="{021A5643-ABC7-4622-B035-94F93990DA61}"/>
                    </a:ext>
                  </a:extLst>
                </p:cNvPr>
                <p:cNvSpPr/>
                <p:nvPr/>
              </p:nvSpPr>
              <p:spPr>
                <a:xfrm>
                  <a:off x="7871966" y="441445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3" name="Freeform: Shape 4362">
                  <a:extLst>
                    <a:ext uri="{FF2B5EF4-FFF2-40B4-BE49-F238E27FC236}">
                      <a16:creationId xmlns:a16="http://schemas.microsoft.com/office/drawing/2014/main" id="{8BF94343-FC29-4255-A111-FC8353924DDC}"/>
                    </a:ext>
                  </a:extLst>
                </p:cNvPr>
                <p:cNvSpPr/>
                <p:nvPr/>
              </p:nvSpPr>
              <p:spPr>
                <a:xfrm>
                  <a:off x="7871966" y="441378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4" name="Freeform: Shape 4363">
                  <a:extLst>
                    <a:ext uri="{FF2B5EF4-FFF2-40B4-BE49-F238E27FC236}">
                      <a16:creationId xmlns:a16="http://schemas.microsoft.com/office/drawing/2014/main" id="{FEC1B73D-FBBC-404E-9A16-DB0D9F8C51C6}"/>
                    </a:ext>
                  </a:extLst>
                </p:cNvPr>
                <p:cNvSpPr/>
                <p:nvPr/>
              </p:nvSpPr>
              <p:spPr>
                <a:xfrm>
                  <a:off x="7871966" y="441327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5" name="Freeform: Shape 4364">
                  <a:extLst>
                    <a:ext uri="{FF2B5EF4-FFF2-40B4-BE49-F238E27FC236}">
                      <a16:creationId xmlns:a16="http://schemas.microsoft.com/office/drawing/2014/main" id="{9B3FCFE6-3B0B-4361-B585-3C2572EB0FD8}"/>
                    </a:ext>
                  </a:extLst>
                </p:cNvPr>
                <p:cNvSpPr/>
                <p:nvPr/>
              </p:nvSpPr>
              <p:spPr>
                <a:xfrm>
                  <a:off x="7871966" y="441260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6" name="Freeform: Shape 4365">
                  <a:extLst>
                    <a:ext uri="{FF2B5EF4-FFF2-40B4-BE49-F238E27FC236}">
                      <a16:creationId xmlns:a16="http://schemas.microsoft.com/office/drawing/2014/main" id="{36779D87-348E-4CB7-864D-56902B188245}"/>
                    </a:ext>
                  </a:extLst>
                </p:cNvPr>
                <p:cNvSpPr/>
                <p:nvPr/>
              </p:nvSpPr>
              <p:spPr>
                <a:xfrm>
                  <a:off x="7871966" y="441209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7" name="Freeform: Shape 4366">
                  <a:extLst>
                    <a:ext uri="{FF2B5EF4-FFF2-40B4-BE49-F238E27FC236}">
                      <a16:creationId xmlns:a16="http://schemas.microsoft.com/office/drawing/2014/main" id="{78702C15-967B-4B59-A30B-44E474F86796}"/>
                    </a:ext>
                  </a:extLst>
                </p:cNvPr>
                <p:cNvSpPr/>
                <p:nvPr/>
              </p:nvSpPr>
              <p:spPr>
                <a:xfrm>
                  <a:off x="7871966" y="441142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8" name="Freeform: Shape 4367">
                  <a:extLst>
                    <a:ext uri="{FF2B5EF4-FFF2-40B4-BE49-F238E27FC236}">
                      <a16:creationId xmlns:a16="http://schemas.microsoft.com/office/drawing/2014/main" id="{6B1826EE-E05B-4F91-9849-8CA8CC644A6E}"/>
                    </a:ext>
                  </a:extLst>
                </p:cNvPr>
                <p:cNvSpPr/>
                <p:nvPr/>
              </p:nvSpPr>
              <p:spPr>
                <a:xfrm>
                  <a:off x="7871966" y="441091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9" name="Freeform: Shape 4368">
                  <a:extLst>
                    <a:ext uri="{FF2B5EF4-FFF2-40B4-BE49-F238E27FC236}">
                      <a16:creationId xmlns:a16="http://schemas.microsoft.com/office/drawing/2014/main" id="{66213E3E-DBAB-4BF4-BED8-0871466E0AC7}"/>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70" name="Freeform: Shape 4369">
                  <a:extLst>
                    <a:ext uri="{FF2B5EF4-FFF2-40B4-BE49-F238E27FC236}">
                      <a16:creationId xmlns:a16="http://schemas.microsoft.com/office/drawing/2014/main" id="{FD01DE33-3F32-4A3E-AD2B-3651461D8FD4}"/>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C2F69"/>
                </a:solidFill>
                <a:ln w="16828" cap="flat">
                  <a:noFill/>
                  <a:prstDash val="solid"/>
                  <a:miter/>
                </a:ln>
              </p:spPr>
              <p:txBody>
                <a:bodyPr rtlCol="0" anchor="ctr"/>
                <a:lstStyle/>
                <a:p>
                  <a:endParaRPr lang="en-IN"/>
                </a:p>
              </p:txBody>
            </p:sp>
            <p:sp>
              <p:nvSpPr>
                <p:cNvPr id="4371" name="Freeform: Shape 4370">
                  <a:extLst>
                    <a:ext uri="{FF2B5EF4-FFF2-40B4-BE49-F238E27FC236}">
                      <a16:creationId xmlns:a16="http://schemas.microsoft.com/office/drawing/2014/main" id="{E8A56307-AA75-4EF7-9ECE-9D299382147F}"/>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F2C62"/>
                </a:solidFill>
                <a:ln w="16828" cap="flat">
                  <a:noFill/>
                  <a:prstDash val="solid"/>
                  <a:miter/>
                </a:ln>
              </p:spPr>
              <p:txBody>
                <a:bodyPr rtlCol="0" anchor="ctr"/>
                <a:lstStyle/>
                <a:p>
                  <a:endParaRPr lang="en-IN"/>
                </a:p>
              </p:txBody>
            </p:sp>
            <p:sp>
              <p:nvSpPr>
                <p:cNvPr id="4372" name="Freeform: Shape 4371">
                  <a:extLst>
                    <a:ext uri="{FF2B5EF4-FFF2-40B4-BE49-F238E27FC236}">
                      <a16:creationId xmlns:a16="http://schemas.microsoft.com/office/drawing/2014/main" id="{E7617C8D-F569-4098-B489-ED3EA34616EF}"/>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1295B"/>
                </a:solidFill>
                <a:ln w="16828" cap="flat">
                  <a:noFill/>
                  <a:prstDash val="solid"/>
                  <a:miter/>
                </a:ln>
              </p:spPr>
              <p:txBody>
                <a:bodyPr rtlCol="0" anchor="ctr"/>
                <a:lstStyle/>
                <a:p>
                  <a:endParaRPr lang="en-IN"/>
                </a:p>
              </p:txBody>
            </p:sp>
            <p:sp>
              <p:nvSpPr>
                <p:cNvPr id="4373" name="Freeform: Shape 4372">
                  <a:extLst>
                    <a:ext uri="{FF2B5EF4-FFF2-40B4-BE49-F238E27FC236}">
                      <a16:creationId xmlns:a16="http://schemas.microsoft.com/office/drawing/2014/main" id="{0C7C962A-908C-4057-9AC6-27B96E287480}"/>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42654"/>
                </a:solidFill>
                <a:ln w="16828" cap="flat">
                  <a:noFill/>
                  <a:prstDash val="solid"/>
                  <a:miter/>
                </a:ln>
              </p:spPr>
              <p:txBody>
                <a:bodyPr rtlCol="0" anchor="ctr"/>
                <a:lstStyle/>
                <a:p>
                  <a:endParaRPr lang="en-IN"/>
                </a:p>
              </p:txBody>
            </p:sp>
            <p:sp>
              <p:nvSpPr>
                <p:cNvPr id="4374" name="Freeform: Shape 4373">
                  <a:extLst>
                    <a:ext uri="{FF2B5EF4-FFF2-40B4-BE49-F238E27FC236}">
                      <a16:creationId xmlns:a16="http://schemas.microsoft.com/office/drawing/2014/main" id="{058811CE-3D23-4BC0-9B11-AA34A0DAAA03}"/>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7234D"/>
                </a:solidFill>
                <a:ln w="16828" cap="flat">
                  <a:noFill/>
                  <a:prstDash val="solid"/>
                  <a:miter/>
                </a:ln>
              </p:spPr>
              <p:txBody>
                <a:bodyPr rtlCol="0" anchor="ctr"/>
                <a:lstStyle/>
                <a:p>
                  <a:endParaRPr lang="en-IN"/>
                </a:p>
              </p:txBody>
            </p:sp>
            <p:sp>
              <p:nvSpPr>
                <p:cNvPr id="4375" name="Freeform: Shape 4374">
                  <a:extLst>
                    <a:ext uri="{FF2B5EF4-FFF2-40B4-BE49-F238E27FC236}">
                      <a16:creationId xmlns:a16="http://schemas.microsoft.com/office/drawing/2014/main" id="{1CF3D47B-0F6F-4FA4-8177-0638711F0C73}"/>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A2046"/>
                </a:solidFill>
                <a:ln w="16828" cap="flat">
                  <a:noFill/>
                  <a:prstDash val="solid"/>
                  <a:miter/>
                </a:ln>
              </p:spPr>
              <p:txBody>
                <a:bodyPr rtlCol="0" anchor="ctr"/>
                <a:lstStyle/>
                <a:p>
                  <a:endParaRPr lang="en-IN"/>
                </a:p>
              </p:txBody>
            </p:sp>
            <p:sp>
              <p:nvSpPr>
                <p:cNvPr id="4376" name="Freeform: Shape 4375">
                  <a:extLst>
                    <a:ext uri="{FF2B5EF4-FFF2-40B4-BE49-F238E27FC236}">
                      <a16:creationId xmlns:a16="http://schemas.microsoft.com/office/drawing/2014/main" id="{E0855CBB-7B17-4EB7-95E2-6E369B008DF4}"/>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D1D3F"/>
                </a:solidFill>
                <a:ln w="16828" cap="flat">
                  <a:noFill/>
                  <a:prstDash val="solid"/>
                  <a:miter/>
                </a:ln>
              </p:spPr>
              <p:txBody>
                <a:bodyPr rtlCol="0" anchor="ctr"/>
                <a:lstStyle/>
                <a:p>
                  <a:endParaRPr lang="en-IN"/>
                </a:p>
              </p:txBody>
            </p:sp>
            <p:sp>
              <p:nvSpPr>
                <p:cNvPr id="4377" name="Freeform: Shape 4376">
                  <a:extLst>
                    <a:ext uri="{FF2B5EF4-FFF2-40B4-BE49-F238E27FC236}">
                      <a16:creationId xmlns:a16="http://schemas.microsoft.com/office/drawing/2014/main" id="{63FBC2BB-3664-443C-99FC-BA2F56C885E4}"/>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01A38"/>
                </a:solidFill>
                <a:ln w="16828" cap="flat">
                  <a:noFill/>
                  <a:prstDash val="solid"/>
                  <a:miter/>
                </a:ln>
              </p:spPr>
              <p:txBody>
                <a:bodyPr rtlCol="0" anchor="ctr"/>
                <a:lstStyle/>
                <a:p>
                  <a:endParaRPr lang="en-IN"/>
                </a:p>
              </p:txBody>
            </p:sp>
            <p:sp>
              <p:nvSpPr>
                <p:cNvPr id="4378" name="Freeform: Shape 4377">
                  <a:extLst>
                    <a:ext uri="{FF2B5EF4-FFF2-40B4-BE49-F238E27FC236}">
                      <a16:creationId xmlns:a16="http://schemas.microsoft.com/office/drawing/2014/main" id="{8284374A-C720-40C6-BE30-5228D88CB341}"/>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21731"/>
                </a:solidFill>
                <a:ln w="16828" cap="flat">
                  <a:noFill/>
                  <a:prstDash val="solid"/>
                  <a:miter/>
                </a:ln>
              </p:spPr>
              <p:txBody>
                <a:bodyPr rtlCol="0" anchor="ctr"/>
                <a:lstStyle/>
                <a:p>
                  <a:endParaRPr lang="en-IN"/>
                </a:p>
              </p:txBody>
            </p:sp>
            <p:sp>
              <p:nvSpPr>
                <p:cNvPr id="4379" name="Freeform: Shape 4378">
                  <a:extLst>
                    <a:ext uri="{FF2B5EF4-FFF2-40B4-BE49-F238E27FC236}">
                      <a16:creationId xmlns:a16="http://schemas.microsoft.com/office/drawing/2014/main" id="{B21AA264-0361-4F36-BFC2-E08CBBAE6FC7}"/>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5142A"/>
                </a:solidFill>
                <a:ln w="16828" cap="flat">
                  <a:noFill/>
                  <a:prstDash val="solid"/>
                  <a:miter/>
                </a:ln>
              </p:spPr>
              <p:txBody>
                <a:bodyPr rtlCol="0" anchor="ctr"/>
                <a:lstStyle/>
                <a:p>
                  <a:endParaRPr lang="en-IN"/>
                </a:p>
              </p:txBody>
            </p:sp>
            <p:sp>
              <p:nvSpPr>
                <p:cNvPr id="4380" name="Freeform: Shape 4379">
                  <a:extLst>
                    <a:ext uri="{FF2B5EF4-FFF2-40B4-BE49-F238E27FC236}">
                      <a16:creationId xmlns:a16="http://schemas.microsoft.com/office/drawing/2014/main" id="{37983319-54E6-4A86-936F-2ABF65D00ED5}"/>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381" name="Graphic 4202">
                <a:extLst>
                  <a:ext uri="{FF2B5EF4-FFF2-40B4-BE49-F238E27FC236}">
                    <a16:creationId xmlns:a16="http://schemas.microsoft.com/office/drawing/2014/main" id="{D8C93A7D-1944-411F-8F69-6296BBFF6FB9}"/>
                  </a:ext>
                </a:extLst>
              </p:cNvPr>
              <p:cNvGrpSpPr/>
              <p:nvPr/>
            </p:nvGrpSpPr>
            <p:grpSpPr>
              <a:xfrm>
                <a:off x="7784741" y="4506226"/>
                <a:ext cx="54539" cy="38234"/>
                <a:chOff x="7784741" y="4506226"/>
                <a:chExt cx="54539" cy="38234"/>
              </a:xfrm>
              <a:solidFill>
                <a:schemeClr val="accent1"/>
              </a:solidFill>
            </p:grpSpPr>
            <p:sp>
              <p:nvSpPr>
                <p:cNvPr id="4382" name="Freeform: Shape 4381">
                  <a:extLst>
                    <a:ext uri="{FF2B5EF4-FFF2-40B4-BE49-F238E27FC236}">
                      <a16:creationId xmlns:a16="http://schemas.microsoft.com/office/drawing/2014/main" id="{BEC1AD24-6AA0-4BE7-80AC-9D5F34A04A3A}"/>
                    </a:ext>
                  </a:extLst>
                </p:cNvPr>
                <p:cNvSpPr/>
                <p:nvPr/>
              </p:nvSpPr>
              <p:spPr>
                <a:xfrm>
                  <a:off x="7784741" y="4512961"/>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83" name="Freeform: Shape 4382">
                  <a:extLst>
                    <a:ext uri="{FF2B5EF4-FFF2-40B4-BE49-F238E27FC236}">
                      <a16:creationId xmlns:a16="http://schemas.microsoft.com/office/drawing/2014/main" id="{0782760E-F5D4-4A61-B239-1B4A312175F0}"/>
                    </a:ext>
                  </a:extLst>
                </p:cNvPr>
                <p:cNvSpPr/>
                <p:nvPr/>
              </p:nvSpPr>
              <p:spPr>
                <a:xfrm>
                  <a:off x="7784741" y="4512288"/>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84" name="Freeform: Shape 4383">
                  <a:extLst>
                    <a:ext uri="{FF2B5EF4-FFF2-40B4-BE49-F238E27FC236}">
                      <a16:creationId xmlns:a16="http://schemas.microsoft.com/office/drawing/2014/main" id="{3A6A4EAA-61BB-491F-B8AC-4C32BCEAC7BC}"/>
                    </a:ext>
                  </a:extLst>
                </p:cNvPr>
                <p:cNvSpPr/>
                <p:nvPr/>
              </p:nvSpPr>
              <p:spPr>
                <a:xfrm>
                  <a:off x="7784741" y="451178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045"/>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85" name="Freeform: Shape 4384">
                  <a:extLst>
                    <a:ext uri="{FF2B5EF4-FFF2-40B4-BE49-F238E27FC236}">
                      <a16:creationId xmlns:a16="http://schemas.microsoft.com/office/drawing/2014/main" id="{31AB8104-453C-403D-89A5-4EDEAD80E50B}"/>
                    </a:ext>
                  </a:extLst>
                </p:cNvPr>
                <p:cNvSpPr/>
                <p:nvPr/>
              </p:nvSpPr>
              <p:spPr>
                <a:xfrm>
                  <a:off x="7784741" y="4511109"/>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86" name="Freeform: Shape 4385">
                  <a:extLst>
                    <a:ext uri="{FF2B5EF4-FFF2-40B4-BE49-F238E27FC236}">
                      <a16:creationId xmlns:a16="http://schemas.microsoft.com/office/drawing/2014/main" id="{76743FAD-2BEF-4B00-9091-D326014DA5F8}"/>
                    </a:ext>
                  </a:extLst>
                </p:cNvPr>
                <p:cNvSpPr/>
                <p:nvPr/>
              </p:nvSpPr>
              <p:spPr>
                <a:xfrm>
                  <a:off x="7784741" y="4510435"/>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87" name="Freeform: Shape 4386">
                  <a:extLst>
                    <a:ext uri="{FF2B5EF4-FFF2-40B4-BE49-F238E27FC236}">
                      <a16:creationId xmlns:a16="http://schemas.microsoft.com/office/drawing/2014/main" id="{6BCBAE98-D6FB-4E83-A83F-02EBE62A783C}"/>
                    </a:ext>
                  </a:extLst>
                </p:cNvPr>
                <p:cNvSpPr/>
                <p:nvPr/>
              </p:nvSpPr>
              <p:spPr>
                <a:xfrm>
                  <a:off x="7784741" y="4509930"/>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88" name="Freeform: Shape 4387">
                  <a:extLst>
                    <a:ext uri="{FF2B5EF4-FFF2-40B4-BE49-F238E27FC236}">
                      <a16:creationId xmlns:a16="http://schemas.microsoft.com/office/drawing/2014/main" id="{1EDB6427-2244-44B8-866B-FC1125DA174C}"/>
                    </a:ext>
                  </a:extLst>
                </p:cNvPr>
                <p:cNvSpPr/>
                <p:nvPr/>
              </p:nvSpPr>
              <p:spPr>
                <a:xfrm>
                  <a:off x="7784741" y="4509257"/>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89" name="Freeform: Shape 4388">
                  <a:extLst>
                    <a:ext uri="{FF2B5EF4-FFF2-40B4-BE49-F238E27FC236}">
                      <a16:creationId xmlns:a16="http://schemas.microsoft.com/office/drawing/2014/main" id="{23242592-1339-4737-A3E1-6609F25EDCDF}"/>
                    </a:ext>
                  </a:extLst>
                </p:cNvPr>
                <p:cNvSpPr/>
                <p:nvPr/>
              </p:nvSpPr>
              <p:spPr>
                <a:xfrm>
                  <a:off x="7784741" y="450875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90" name="Freeform: Shape 4389">
                  <a:extLst>
                    <a:ext uri="{FF2B5EF4-FFF2-40B4-BE49-F238E27FC236}">
                      <a16:creationId xmlns:a16="http://schemas.microsoft.com/office/drawing/2014/main" id="{319C9FAD-07DD-455F-8214-2BA33B29B8B6}"/>
                    </a:ext>
                  </a:extLst>
                </p:cNvPr>
                <p:cNvSpPr/>
                <p:nvPr/>
              </p:nvSpPr>
              <p:spPr>
                <a:xfrm>
                  <a:off x="7784741" y="4508078"/>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91" name="Freeform: Shape 4390">
                  <a:extLst>
                    <a:ext uri="{FF2B5EF4-FFF2-40B4-BE49-F238E27FC236}">
                      <a16:creationId xmlns:a16="http://schemas.microsoft.com/office/drawing/2014/main" id="{EF62441C-D798-4C14-BE77-18D9A1AF8204}"/>
                    </a:ext>
                  </a:extLst>
                </p:cNvPr>
                <p:cNvSpPr/>
                <p:nvPr/>
              </p:nvSpPr>
              <p:spPr>
                <a:xfrm>
                  <a:off x="7784741" y="4507404"/>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92" name="Freeform: Shape 4391">
                  <a:extLst>
                    <a:ext uri="{FF2B5EF4-FFF2-40B4-BE49-F238E27FC236}">
                      <a16:creationId xmlns:a16="http://schemas.microsoft.com/office/drawing/2014/main" id="{C450F813-DDD3-415C-97C1-F8D6730234CF}"/>
                    </a:ext>
                  </a:extLst>
                </p:cNvPr>
                <p:cNvSpPr/>
                <p:nvPr/>
              </p:nvSpPr>
              <p:spPr>
                <a:xfrm>
                  <a:off x="7784741" y="4506899"/>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93" name="Freeform: Shape 4392">
                  <a:extLst>
                    <a:ext uri="{FF2B5EF4-FFF2-40B4-BE49-F238E27FC236}">
                      <a16:creationId xmlns:a16="http://schemas.microsoft.com/office/drawing/2014/main" id="{BC053410-21DC-40A9-87C5-8E990D8510E9}"/>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94" name="Freeform: Shape 4393">
                  <a:extLst>
                    <a:ext uri="{FF2B5EF4-FFF2-40B4-BE49-F238E27FC236}">
                      <a16:creationId xmlns:a16="http://schemas.microsoft.com/office/drawing/2014/main" id="{8EDD8544-58A2-4671-ABAD-4218AC5A1530}"/>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C2F69"/>
                </a:solidFill>
                <a:ln w="16828" cap="flat">
                  <a:noFill/>
                  <a:prstDash val="solid"/>
                  <a:miter/>
                </a:ln>
              </p:spPr>
              <p:txBody>
                <a:bodyPr rtlCol="0" anchor="ctr"/>
                <a:lstStyle/>
                <a:p>
                  <a:endParaRPr lang="en-IN"/>
                </a:p>
              </p:txBody>
            </p:sp>
            <p:sp>
              <p:nvSpPr>
                <p:cNvPr id="4395" name="Freeform: Shape 4394">
                  <a:extLst>
                    <a:ext uri="{FF2B5EF4-FFF2-40B4-BE49-F238E27FC236}">
                      <a16:creationId xmlns:a16="http://schemas.microsoft.com/office/drawing/2014/main" id="{0C31A3FD-1CAF-4A9E-8FAF-3F7257CD3565}"/>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F2C62"/>
                </a:solidFill>
                <a:ln w="16828" cap="flat">
                  <a:noFill/>
                  <a:prstDash val="solid"/>
                  <a:miter/>
                </a:ln>
              </p:spPr>
              <p:txBody>
                <a:bodyPr rtlCol="0" anchor="ctr"/>
                <a:lstStyle/>
                <a:p>
                  <a:endParaRPr lang="en-IN"/>
                </a:p>
              </p:txBody>
            </p:sp>
            <p:sp>
              <p:nvSpPr>
                <p:cNvPr id="4396" name="Freeform: Shape 4395">
                  <a:extLst>
                    <a:ext uri="{FF2B5EF4-FFF2-40B4-BE49-F238E27FC236}">
                      <a16:creationId xmlns:a16="http://schemas.microsoft.com/office/drawing/2014/main" id="{33A82763-2C43-4B60-9AFD-3935450DC9F6}"/>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1295B"/>
                </a:solidFill>
                <a:ln w="16828" cap="flat">
                  <a:noFill/>
                  <a:prstDash val="solid"/>
                  <a:miter/>
                </a:ln>
              </p:spPr>
              <p:txBody>
                <a:bodyPr rtlCol="0" anchor="ctr"/>
                <a:lstStyle/>
                <a:p>
                  <a:endParaRPr lang="en-IN"/>
                </a:p>
              </p:txBody>
            </p:sp>
            <p:sp>
              <p:nvSpPr>
                <p:cNvPr id="4397" name="Freeform: Shape 4396">
                  <a:extLst>
                    <a:ext uri="{FF2B5EF4-FFF2-40B4-BE49-F238E27FC236}">
                      <a16:creationId xmlns:a16="http://schemas.microsoft.com/office/drawing/2014/main" id="{D5F1F599-456C-47EB-B31C-68BD4565345B}"/>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42654"/>
                </a:solidFill>
                <a:ln w="16828" cap="flat">
                  <a:noFill/>
                  <a:prstDash val="solid"/>
                  <a:miter/>
                </a:ln>
              </p:spPr>
              <p:txBody>
                <a:bodyPr rtlCol="0" anchor="ctr"/>
                <a:lstStyle/>
                <a:p>
                  <a:endParaRPr lang="en-IN"/>
                </a:p>
              </p:txBody>
            </p:sp>
            <p:sp>
              <p:nvSpPr>
                <p:cNvPr id="4398" name="Freeform: Shape 4397">
                  <a:extLst>
                    <a:ext uri="{FF2B5EF4-FFF2-40B4-BE49-F238E27FC236}">
                      <a16:creationId xmlns:a16="http://schemas.microsoft.com/office/drawing/2014/main" id="{272DF2C7-0A9B-4FF9-B1D3-0CEDDA2230BB}"/>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7234D"/>
                </a:solidFill>
                <a:ln w="16828" cap="flat">
                  <a:noFill/>
                  <a:prstDash val="solid"/>
                  <a:miter/>
                </a:ln>
              </p:spPr>
              <p:txBody>
                <a:bodyPr rtlCol="0" anchor="ctr"/>
                <a:lstStyle/>
                <a:p>
                  <a:endParaRPr lang="en-IN"/>
                </a:p>
              </p:txBody>
            </p:sp>
            <p:sp>
              <p:nvSpPr>
                <p:cNvPr id="4399" name="Freeform: Shape 4398">
                  <a:extLst>
                    <a:ext uri="{FF2B5EF4-FFF2-40B4-BE49-F238E27FC236}">
                      <a16:creationId xmlns:a16="http://schemas.microsoft.com/office/drawing/2014/main" id="{F6896076-DE6A-4E9D-93C2-6B9E192E87B6}"/>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A2046"/>
                </a:solidFill>
                <a:ln w="16828" cap="flat">
                  <a:noFill/>
                  <a:prstDash val="solid"/>
                  <a:miter/>
                </a:ln>
              </p:spPr>
              <p:txBody>
                <a:bodyPr rtlCol="0" anchor="ctr"/>
                <a:lstStyle/>
                <a:p>
                  <a:endParaRPr lang="en-IN"/>
                </a:p>
              </p:txBody>
            </p:sp>
            <p:sp>
              <p:nvSpPr>
                <p:cNvPr id="4400" name="Freeform: Shape 4399">
                  <a:extLst>
                    <a:ext uri="{FF2B5EF4-FFF2-40B4-BE49-F238E27FC236}">
                      <a16:creationId xmlns:a16="http://schemas.microsoft.com/office/drawing/2014/main" id="{B76095B8-131B-494E-80C4-A6DF8023971B}"/>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D1D3F"/>
                </a:solidFill>
                <a:ln w="16828" cap="flat">
                  <a:noFill/>
                  <a:prstDash val="solid"/>
                  <a:miter/>
                </a:ln>
              </p:spPr>
              <p:txBody>
                <a:bodyPr rtlCol="0" anchor="ctr"/>
                <a:lstStyle/>
                <a:p>
                  <a:endParaRPr lang="en-IN"/>
                </a:p>
              </p:txBody>
            </p:sp>
            <p:sp>
              <p:nvSpPr>
                <p:cNvPr id="4401" name="Freeform: Shape 4400">
                  <a:extLst>
                    <a:ext uri="{FF2B5EF4-FFF2-40B4-BE49-F238E27FC236}">
                      <a16:creationId xmlns:a16="http://schemas.microsoft.com/office/drawing/2014/main" id="{EE205B3A-20C6-4E37-A282-862CE85EF2C1}"/>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E01A38"/>
                </a:solidFill>
                <a:ln w="16828" cap="flat">
                  <a:noFill/>
                  <a:prstDash val="solid"/>
                  <a:miter/>
                </a:ln>
              </p:spPr>
              <p:txBody>
                <a:bodyPr rtlCol="0" anchor="ctr"/>
                <a:lstStyle/>
                <a:p>
                  <a:endParaRPr lang="en-IN"/>
                </a:p>
              </p:txBody>
            </p:sp>
            <p:sp>
              <p:nvSpPr>
                <p:cNvPr id="4402" name="Freeform: Shape 4401">
                  <a:extLst>
                    <a:ext uri="{FF2B5EF4-FFF2-40B4-BE49-F238E27FC236}">
                      <a16:creationId xmlns:a16="http://schemas.microsoft.com/office/drawing/2014/main" id="{FE66A84A-ED65-464F-B8EB-4F98F2515FD3}"/>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E21731"/>
                </a:solidFill>
                <a:ln w="16828" cap="flat">
                  <a:noFill/>
                  <a:prstDash val="solid"/>
                  <a:miter/>
                </a:ln>
              </p:spPr>
              <p:txBody>
                <a:bodyPr rtlCol="0" anchor="ctr"/>
                <a:lstStyle/>
                <a:p>
                  <a:endParaRPr lang="en-IN"/>
                </a:p>
              </p:txBody>
            </p:sp>
            <p:sp>
              <p:nvSpPr>
                <p:cNvPr id="4403" name="Freeform: Shape 4402">
                  <a:extLst>
                    <a:ext uri="{FF2B5EF4-FFF2-40B4-BE49-F238E27FC236}">
                      <a16:creationId xmlns:a16="http://schemas.microsoft.com/office/drawing/2014/main" id="{8DF25E8B-3870-47A8-B764-ECBECEA91EC1}"/>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E5142A"/>
                </a:solidFill>
                <a:ln w="16828" cap="flat">
                  <a:noFill/>
                  <a:prstDash val="solid"/>
                  <a:miter/>
                </a:ln>
              </p:spPr>
              <p:txBody>
                <a:bodyPr rtlCol="0" anchor="ctr"/>
                <a:lstStyle/>
                <a:p>
                  <a:endParaRPr lang="en-IN"/>
                </a:p>
              </p:txBody>
            </p:sp>
            <p:sp>
              <p:nvSpPr>
                <p:cNvPr id="4404" name="Freeform: Shape 4403">
                  <a:extLst>
                    <a:ext uri="{FF2B5EF4-FFF2-40B4-BE49-F238E27FC236}">
                      <a16:creationId xmlns:a16="http://schemas.microsoft.com/office/drawing/2014/main" id="{36F67C45-B9E8-4D51-BFDA-939F79AE0FA9}"/>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405" name="Graphic 4202">
                <a:extLst>
                  <a:ext uri="{FF2B5EF4-FFF2-40B4-BE49-F238E27FC236}">
                    <a16:creationId xmlns:a16="http://schemas.microsoft.com/office/drawing/2014/main" id="{D8C93A7D-1944-411F-8F69-6296BBFF6FB9}"/>
                  </a:ext>
                </a:extLst>
              </p:cNvPr>
              <p:cNvGrpSpPr/>
              <p:nvPr/>
            </p:nvGrpSpPr>
            <p:grpSpPr>
              <a:xfrm>
                <a:off x="7869272" y="4457393"/>
                <a:ext cx="54414" cy="38234"/>
                <a:chOff x="7869272" y="4457393"/>
                <a:chExt cx="54414" cy="38234"/>
              </a:xfrm>
              <a:solidFill>
                <a:schemeClr val="accent1"/>
              </a:solidFill>
            </p:grpSpPr>
            <p:sp>
              <p:nvSpPr>
                <p:cNvPr id="4406" name="Freeform: Shape 4405">
                  <a:extLst>
                    <a:ext uri="{FF2B5EF4-FFF2-40B4-BE49-F238E27FC236}">
                      <a16:creationId xmlns:a16="http://schemas.microsoft.com/office/drawing/2014/main" id="{8AF8C95D-B4E5-4EDD-8869-FC8078ECEA65}"/>
                    </a:ext>
                  </a:extLst>
                </p:cNvPr>
                <p:cNvSpPr/>
                <p:nvPr/>
              </p:nvSpPr>
              <p:spPr>
                <a:xfrm>
                  <a:off x="7869272" y="446412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07" name="Freeform: Shape 4406">
                  <a:extLst>
                    <a:ext uri="{FF2B5EF4-FFF2-40B4-BE49-F238E27FC236}">
                      <a16:creationId xmlns:a16="http://schemas.microsoft.com/office/drawing/2014/main" id="{EF570793-AEA6-45DB-A214-3DDC0831D164}"/>
                    </a:ext>
                  </a:extLst>
                </p:cNvPr>
                <p:cNvSpPr/>
                <p:nvPr/>
              </p:nvSpPr>
              <p:spPr>
                <a:xfrm>
                  <a:off x="7869272" y="446345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08" name="Freeform: Shape 4407">
                  <a:extLst>
                    <a:ext uri="{FF2B5EF4-FFF2-40B4-BE49-F238E27FC236}">
                      <a16:creationId xmlns:a16="http://schemas.microsoft.com/office/drawing/2014/main" id="{16110F4F-8E0D-4A2F-8072-C6379EBF94E5}"/>
                    </a:ext>
                  </a:extLst>
                </p:cNvPr>
                <p:cNvSpPr/>
                <p:nvPr/>
              </p:nvSpPr>
              <p:spPr>
                <a:xfrm>
                  <a:off x="7869272" y="446295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09" name="Freeform: Shape 4408">
                  <a:extLst>
                    <a:ext uri="{FF2B5EF4-FFF2-40B4-BE49-F238E27FC236}">
                      <a16:creationId xmlns:a16="http://schemas.microsoft.com/office/drawing/2014/main" id="{C8F867E0-027D-4F88-B78D-9A6723A33C42}"/>
                    </a:ext>
                  </a:extLst>
                </p:cNvPr>
                <p:cNvSpPr/>
                <p:nvPr/>
              </p:nvSpPr>
              <p:spPr>
                <a:xfrm>
                  <a:off x="7869272" y="446227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0" name="Freeform: Shape 4409">
                  <a:extLst>
                    <a:ext uri="{FF2B5EF4-FFF2-40B4-BE49-F238E27FC236}">
                      <a16:creationId xmlns:a16="http://schemas.microsoft.com/office/drawing/2014/main" id="{86EF5EB2-6E41-4D00-BA39-D2B7BDC79CBE}"/>
                    </a:ext>
                  </a:extLst>
                </p:cNvPr>
                <p:cNvSpPr/>
                <p:nvPr/>
              </p:nvSpPr>
              <p:spPr>
                <a:xfrm>
                  <a:off x="7869272" y="446177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11" name="Freeform: Shape 4410">
                  <a:extLst>
                    <a:ext uri="{FF2B5EF4-FFF2-40B4-BE49-F238E27FC236}">
                      <a16:creationId xmlns:a16="http://schemas.microsoft.com/office/drawing/2014/main" id="{D0902063-7600-4B57-9D72-A5C9D74D3F96}"/>
                    </a:ext>
                  </a:extLst>
                </p:cNvPr>
                <p:cNvSpPr/>
                <p:nvPr/>
              </p:nvSpPr>
              <p:spPr>
                <a:xfrm>
                  <a:off x="7869272" y="446109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2" name="Freeform: Shape 4411">
                  <a:extLst>
                    <a:ext uri="{FF2B5EF4-FFF2-40B4-BE49-F238E27FC236}">
                      <a16:creationId xmlns:a16="http://schemas.microsoft.com/office/drawing/2014/main" id="{151BCD74-03FC-478E-B04A-15C2BDD06389}"/>
                    </a:ext>
                  </a:extLst>
                </p:cNvPr>
                <p:cNvSpPr/>
                <p:nvPr/>
              </p:nvSpPr>
              <p:spPr>
                <a:xfrm>
                  <a:off x="7869272" y="446042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3" name="Freeform: Shape 4412">
                  <a:extLst>
                    <a:ext uri="{FF2B5EF4-FFF2-40B4-BE49-F238E27FC236}">
                      <a16:creationId xmlns:a16="http://schemas.microsoft.com/office/drawing/2014/main" id="{D2CC789D-E41E-4BD9-9ECA-7985F23D57CA}"/>
                    </a:ext>
                  </a:extLst>
                </p:cNvPr>
                <p:cNvSpPr/>
                <p:nvPr/>
              </p:nvSpPr>
              <p:spPr>
                <a:xfrm>
                  <a:off x="7869272" y="445991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14" name="Freeform: Shape 4413">
                  <a:extLst>
                    <a:ext uri="{FF2B5EF4-FFF2-40B4-BE49-F238E27FC236}">
                      <a16:creationId xmlns:a16="http://schemas.microsoft.com/office/drawing/2014/main" id="{9DCA1256-9C39-4454-8D1F-4256187D3831}"/>
                    </a:ext>
                  </a:extLst>
                </p:cNvPr>
                <p:cNvSpPr/>
                <p:nvPr/>
              </p:nvSpPr>
              <p:spPr>
                <a:xfrm>
                  <a:off x="7869272" y="44592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5" name="Freeform: Shape 4414">
                  <a:extLst>
                    <a:ext uri="{FF2B5EF4-FFF2-40B4-BE49-F238E27FC236}">
                      <a16:creationId xmlns:a16="http://schemas.microsoft.com/office/drawing/2014/main" id="{A098B02C-567B-4F49-AF88-D70584CF6B1C}"/>
                    </a:ext>
                  </a:extLst>
                </p:cNvPr>
                <p:cNvSpPr/>
                <p:nvPr/>
              </p:nvSpPr>
              <p:spPr>
                <a:xfrm>
                  <a:off x="7869272" y="445874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16" name="Freeform: Shape 4415">
                  <a:extLst>
                    <a:ext uri="{FF2B5EF4-FFF2-40B4-BE49-F238E27FC236}">
                      <a16:creationId xmlns:a16="http://schemas.microsoft.com/office/drawing/2014/main" id="{594A0182-6562-4FCE-A72E-2E651604BB4A}"/>
                    </a:ext>
                  </a:extLst>
                </p:cNvPr>
                <p:cNvSpPr/>
                <p:nvPr/>
              </p:nvSpPr>
              <p:spPr>
                <a:xfrm>
                  <a:off x="7869272" y="445806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7" name="Freeform: Shape 4416">
                  <a:extLst>
                    <a:ext uri="{FF2B5EF4-FFF2-40B4-BE49-F238E27FC236}">
                      <a16:creationId xmlns:a16="http://schemas.microsoft.com/office/drawing/2014/main" id="{FD9F9293-E7ED-4C3B-8336-0E25A51C9F9B}"/>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8" name="Freeform: Shape 4417">
                  <a:extLst>
                    <a:ext uri="{FF2B5EF4-FFF2-40B4-BE49-F238E27FC236}">
                      <a16:creationId xmlns:a16="http://schemas.microsoft.com/office/drawing/2014/main" id="{ADEA33A3-B4A1-4C5C-9D15-0FB6B83D0611}"/>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C2F69"/>
                </a:solidFill>
                <a:ln w="16828" cap="flat">
                  <a:noFill/>
                  <a:prstDash val="solid"/>
                  <a:miter/>
                </a:ln>
              </p:spPr>
              <p:txBody>
                <a:bodyPr rtlCol="0" anchor="ctr"/>
                <a:lstStyle/>
                <a:p>
                  <a:endParaRPr lang="en-IN"/>
                </a:p>
              </p:txBody>
            </p:sp>
            <p:sp>
              <p:nvSpPr>
                <p:cNvPr id="4419" name="Freeform: Shape 4418">
                  <a:extLst>
                    <a:ext uri="{FF2B5EF4-FFF2-40B4-BE49-F238E27FC236}">
                      <a16:creationId xmlns:a16="http://schemas.microsoft.com/office/drawing/2014/main" id="{08C8F7DD-E1F5-46ED-9208-C86645DF30BE}"/>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F2C62"/>
                </a:solidFill>
                <a:ln w="16828" cap="flat">
                  <a:noFill/>
                  <a:prstDash val="solid"/>
                  <a:miter/>
                </a:ln>
              </p:spPr>
              <p:txBody>
                <a:bodyPr rtlCol="0" anchor="ctr"/>
                <a:lstStyle/>
                <a:p>
                  <a:endParaRPr lang="en-IN"/>
                </a:p>
              </p:txBody>
            </p:sp>
            <p:sp>
              <p:nvSpPr>
                <p:cNvPr id="4420" name="Freeform: Shape 4419">
                  <a:extLst>
                    <a:ext uri="{FF2B5EF4-FFF2-40B4-BE49-F238E27FC236}">
                      <a16:creationId xmlns:a16="http://schemas.microsoft.com/office/drawing/2014/main" id="{92AB7F20-D337-439B-8B63-07889BB79E96}"/>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1295B"/>
                </a:solidFill>
                <a:ln w="16828" cap="flat">
                  <a:noFill/>
                  <a:prstDash val="solid"/>
                  <a:miter/>
                </a:ln>
              </p:spPr>
              <p:txBody>
                <a:bodyPr rtlCol="0" anchor="ctr"/>
                <a:lstStyle/>
                <a:p>
                  <a:endParaRPr lang="en-IN"/>
                </a:p>
              </p:txBody>
            </p:sp>
            <p:sp>
              <p:nvSpPr>
                <p:cNvPr id="4421" name="Freeform: Shape 4420">
                  <a:extLst>
                    <a:ext uri="{FF2B5EF4-FFF2-40B4-BE49-F238E27FC236}">
                      <a16:creationId xmlns:a16="http://schemas.microsoft.com/office/drawing/2014/main" id="{FAD4318F-5C08-4E17-ADCB-307801A3B681}"/>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42654"/>
                </a:solidFill>
                <a:ln w="16828" cap="flat">
                  <a:noFill/>
                  <a:prstDash val="solid"/>
                  <a:miter/>
                </a:ln>
              </p:spPr>
              <p:txBody>
                <a:bodyPr rtlCol="0" anchor="ctr"/>
                <a:lstStyle/>
                <a:p>
                  <a:endParaRPr lang="en-IN"/>
                </a:p>
              </p:txBody>
            </p:sp>
            <p:sp>
              <p:nvSpPr>
                <p:cNvPr id="4422" name="Freeform: Shape 4421">
                  <a:extLst>
                    <a:ext uri="{FF2B5EF4-FFF2-40B4-BE49-F238E27FC236}">
                      <a16:creationId xmlns:a16="http://schemas.microsoft.com/office/drawing/2014/main" id="{43FF2D42-F460-4098-9C15-9C6F2291F7ED}"/>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7234D"/>
                </a:solidFill>
                <a:ln w="16828" cap="flat">
                  <a:noFill/>
                  <a:prstDash val="solid"/>
                  <a:miter/>
                </a:ln>
              </p:spPr>
              <p:txBody>
                <a:bodyPr rtlCol="0" anchor="ctr"/>
                <a:lstStyle/>
                <a:p>
                  <a:endParaRPr lang="en-IN"/>
                </a:p>
              </p:txBody>
            </p:sp>
            <p:sp>
              <p:nvSpPr>
                <p:cNvPr id="4423" name="Freeform: Shape 4422">
                  <a:extLst>
                    <a:ext uri="{FF2B5EF4-FFF2-40B4-BE49-F238E27FC236}">
                      <a16:creationId xmlns:a16="http://schemas.microsoft.com/office/drawing/2014/main" id="{8A8DDAB4-5286-4877-9844-4C4FBAE3D58D}"/>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A2046"/>
                </a:solidFill>
                <a:ln w="16828" cap="flat">
                  <a:noFill/>
                  <a:prstDash val="solid"/>
                  <a:miter/>
                </a:ln>
              </p:spPr>
              <p:txBody>
                <a:bodyPr rtlCol="0" anchor="ctr"/>
                <a:lstStyle/>
                <a:p>
                  <a:endParaRPr lang="en-IN"/>
                </a:p>
              </p:txBody>
            </p:sp>
            <p:sp>
              <p:nvSpPr>
                <p:cNvPr id="4424" name="Freeform: Shape 4423">
                  <a:extLst>
                    <a:ext uri="{FF2B5EF4-FFF2-40B4-BE49-F238E27FC236}">
                      <a16:creationId xmlns:a16="http://schemas.microsoft.com/office/drawing/2014/main" id="{C8AF8D7D-935D-4849-9CCB-D7471297DC7C}"/>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D1D3F"/>
                </a:solidFill>
                <a:ln w="16828" cap="flat">
                  <a:noFill/>
                  <a:prstDash val="solid"/>
                  <a:miter/>
                </a:ln>
              </p:spPr>
              <p:txBody>
                <a:bodyPr rtlCol="0" anchor="ctr"/>
                <a:lstStyle/>
                <a:p>
                  <a:endParaRPr lang="en-IN"/>
                </a:p>
              </p:txBody>
            </p:sp>
            <p:sp>
              <p:nvSpPr>
                <p:cNvPr id="4425" name="Freeform: Shape 4424">
                  <a:extLst>
                    <a:ext uri="{FF2B5EF4-FFF2-40B4-BE49-F238E27FC236}">
                      <a16:creationId xmlns:a16="http://schemas.microsoft.com/office/drawing/2014/main" id="{E5105287-4D77-4CD0-AE57-FDE4DDFCB4F0}"/>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01A38"/>
                </a:solidFill>
                <a:ln w="16828" cap="flat">
                  <a:noFill/>
                  <a:prstDash val="solid"/>
                  <a:miter/>
                </a:ln>
              </p:spPr>
              <p:txBody>
                <a:bodyPr rtlCol="0" anchor="ctr"/>
                <a:lstStyle/>
                <a:p>
                  <a:endParaRPr lang="en-IN"/>
                </a:p>
              </p:txBody>
            </p:sp>
            <p:sp>
              <p:nvSpPr>
                <p:cNvPr id="4426" name="Freeform: Shape 4425">
                  <a:extLst>
                    <a:ext uri="{FF2B5EF4-FFF2-40B4-BE49-F238E27FC236}">
                      <a16:creationId xmlns:a16="http://schemas.microsoft.com/office/drawing/2014/main" id="{623CDC79-6388-4846-B45F-F15B49157FE1}"/>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21731"/>
                </a:solidFill>
                <a:ln w="16828" cap="flat">
                  <a:noFill/>
                  <a:prstDash val="solid"/>
                  <a:miter/>
                </a:ln>
              </p:spPr>
              <p:txBody>
                <a:bodyPr rtlCol="0" anchor="ctr"/>
                <a:lstStyle/>
                <a:p>
                  <a:endParaRPr lang="en-IN"/>
                </a:p>
              </p:txBody>
            </p:sp>
            <p:sp>
              <p:nvSpPr>
                <p:cNvPr id="4427" name="Freeform: Shape 4426">
                  <a:extLst>
                    <a:ext uri="{FF2B5EF4-FFF2-40B4-BE49-F238E27FC236}">
                      <a16:creationId xmlns:a16="http://schemas.microsoft.com/office/drawing/2014/main" id="{D10889D9-C477-43B7-B658-92FAE6233456}"/>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5142A"/>
                </a:solidFill>
                <a:ln w="16828" cap="flat">
                  <a:noFill/>
                  <a:prstDash val="solid"/>
                  <a:miter/>
                </a:ln>
              </p:spPr>
              <p:txBody>
                <a:bodyPr rtlCol="0" anchor="ctr"/>
                <a:lstStyle/>
                <a:p>
                  <a:endParaRPr lang="en-IN"/>
                </a:p>
              </p:txBody>
            </p:sp>
            <p:sp>
              <p:nvSpPr>
                <p:cNvPr id="4428" name="Freeform: Shape 4427">
                  <a:extLst>
                    <a:ext uri="{FF2B5EF4-FFF2-40B4-BE49-F238E27FC236}">
                      <a16:creationId xmlns:a16="http://schemas.microsoft.com/office/drawing/2014/main" id="{F76017E6-FD47-4F71-99CD-EF9CCECB72D4}"/>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429" name="Graphic 4202">
                <a:extLst>
                  <a:ext uri="{FF2B5EF4-FFF2-40B4-BE49-F238E27FC236}">
                    <a16:creationId xmlns:a16="http://schemas.microsoft.com/office/drawing/2014/main" id="{D8C93A7D-1944-411F-8F69-6296BBFF6FB9}"/>
                  </a:ext>
                </a:extLst>
              </p:cNvPr>
              <p:cNvGrpSpPr/>
              <p:nvPr/>
            </p:nvGrpSpPr>
            <p:grpSpPr>
              <a:xfrm>
                <a:off x="7911537" y="4433145"/>
                <a:ext cx="54414" cy="38066"/>
                <a:chOff x="7911537" y="4433145"/>
                <a:chExt cx="54414" cy="38066"/>
              </a:xfrm>
              <a:solidFill>
                <a:schemeClr val="accent1"/>
              </a:solidFill>
            </p:grpSpPr>
            <p:sp>
              <p:nvSpPr>
                <p:cNvPr id="4430" name="Freeform: Shape 4429">
                  <a:extLst>
                    <a:ext uri="{FF2B5EF4-FFF2-40B4-BE49-F238E27FC236}">
                      <a16:creationId xmlns:a16="http://schemas.microsoft.com/office/drawing/2014/main" id="{033F1BDD-33E6-41EA-87B1-1AFB7961CF45}"/>
                    </a:ext>
                  </a:extLst>
                </p:cNvPr>
                <p:cNvSpPr/>
                <p:nvPr/>
              </p:nvSpPr>
              <p:spPr>
                <a:xfrm>
                  <a:off x="7911537" y="443971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31" name="Freeform: Shape 4430">
                  <a:extLst>
                    <a:ext uri="{FF2B5EF4-FFF2-40B4-BE49-F238E27FC236}">
                      <a16:creationId xmlns:a16="http://schemas.microsoft.com/office/drawing/2014/main" id="{01A0FE24-3DC1-476C-8F85-6A00646EEE9C}"/>
                    </a:ext>
                  </a:extLst>
                </p:cNvPr>
                <p:cNvSpPr/>
                <p:nvPr/>
              </p:nvSpPr>
              <p:spPr>
                <a:xfrm>
                  <a:off x="7911537" y="443920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2" name="Freeform: Shape 4431">
                  <a:extLst>
                    <a:ext uri="{FF2B5EF4-FFF2-40B4-BE49-F238E27FC236}">
                      <a16:creationId xmlns:a16="http://schemas.microsoft.com/office/drawing/2014/main" id="{EB026D0A-6384-4DCB-AF57-70177D3AD00C}"/>
                    </a:ext>
                  </a:extLst>
                </p:cNvPr>
                <p:cNvSpPr/>
                <p:nvPr/>
              </p:nvSpPr>
              <p:spPr>
                <a:xfrm>
                  <a:off x="7911537" y="443853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3" name="Freeform: Shape 4432">
                  <a:extLst>
                    <a:ext uri="{FF2B5EF4-FFF2-40B4-BE49-F238E27FC236}">
                      <a16:creationId xmlns:a16="http://schemas.microsoft.com/office/drawing/2014/main" id="{A694777A-91E9-4506-A177-21B031822406}"/>
                    </a:ext>
                  </a:extLst>
                </p:cNvPr>
                <p:cNvSpPr/>
                <p:nvPr/>
              </p:nvSpPr>
              <p:spPr>
                <a:xfrm>
                  <a:off x="7911537" y="443786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34" name="Freeform: Shape 4433">
                  <a:extLst>
                    <a:ext uri="{FF2B5EF4-FFF2-40B4-BE49-F238E27FC236}">
                      <a16:creationId xmlns:a16="http://schemas.microsoft.com/office/drawing/2014/main" id="{7F5BCF34-744F-43CF-82E2-4A82B8866C28}"/>
                    </a:ext>
                  </a:extLst>
                </p:cNvPr>
                <p:cNvSpPr/>
                <p:nvPr/>
              </p:nvSpPr>
              <p:spPr>
                <a:xfrm>
                  <a:off x="7911537" y="443735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5" name="Freeform: Shape 4434">
                  <a:extLst>
                    <a:ext uri="{FF2B5EF4-FFF2-40B4-BE49-F238E27FC236}">
                      <a16:creationId xmlns:a16="http://schemas.microsoft.com/office/drawing/2014/main" id="{45FA653A-1ED1-4EE5-B5A5-D5C1C60D6AF8}"/>
                    </a:ext>
                  </a:extLst>
                </p:cNvPr>
                <p:cNvSpPr/>
                <p:nvPr/>
              </p:nvSpPr>
              <p:spPr>
                <a:xfrm>
                  <a:off x="7911537" y="443668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36" name="Freeform: Shape 4435">
                  <a:extLst>
                    <a:ext uri="{FF2B5EF4-FFF2-40B4-BE49-F238E27FC236}">
                      <a16:creationId xmlns:a16="http://schemas.microsoft.com/office/drawing/2014/main" id="{5B16407C-6243-48C3-8EE0-4B35B97978B7}"/>
                    </a:ext>
                  </a:extLst>
                </p:cNvPr>
                <p:cNvSpPr/>
                <p:nvPr/>
              </p:nvSpPr>
              <p:spPr>
                <a:xfrm>
                  <a:off x="7911537" y="443617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7" name="Freeform: Shape 4436">
                  <a:extLst>
                    <a:ext uri="{FF2B5EF4-FFF2-40B4-BE49-F238E27FC236}">
                      <a16:creationId xmlns:a16="http://schemas.microsoft.com/office/drawing/2014/main" id="{1E4146CA-0773-4D1E-B8C4-31C3D1F9A960}"/>
                    </a:ext>
                  </a:extLst>
                </p:cNvPr>
                <p:cNvSpPr/>
                <p:nvPr/>
              </p:nvSpPr>
              <p:spPr>
                <a:xfrm>
                  <a:off x="7911537" y="443550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8" name="Freeform: Shape 4437">
                  <a:extLst>
                    <a:ext uri="{FF2B5EF4-FFF2-40B4-BE49-F238E27FC236}">
                      <a16:creationId xmlns:a16="http://schemas.microsoft.com/office/drawing/2014/main" id="{E2663B53-0356-4034-A41E-9DAF485DFD4E}"/>
                    </a:ext>
                  </a:extLst>
                </p:cNvPr>
                <p:cNvSpPr/>
                <p:nvPr/>
              </p:nvSpPr>
              <p:spPr>
                <a:xfrm>
                  <a:off x="7911537" y="443482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39" name="Freeform: Shape 4438">
                  <a:extLst>
                    <a:ext uri="{FF2B5EF4-FFF2-40B4-BE49-F238E27FC236}">
                      <a16:creationId xmlns:a16="http://schemas.microsoft.com/office/drawing/2014/main" id="{78BE7C32-E19F-4E92-8034-598238E37FD1}"/>
                    </a:ext>
                  </a:extLst>
                </p:cNvPr>
                <p:cNvSpPr/>
                <p:nvPr/>
              </p:nvSpPr>
              <p:spPr>
                <a:xfrm>
                  <a:off x="7911537" y="443432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40" name="Freeform: Shape 4439">
                  <a:extLst>
                    <a:ext uri="{FF2B5EF4-FFF2-40B4-BE49-F238E27FC236}">
                      <a16:creationId xmlns:a16="http://schemas.microsoft.com/office/drawing/2014/main" id="{14604E8D-0369-44AD-801A-91B4D75991F2}"/>
                    </a:ext>
                  </a:extLst>
                </p:cNvPr>
                <p:cNvSpPr/>
                <p:nvPr/>
              </p:nvSpPr>
              <p:spPr>
                <a:xfrm>
                  <a:off x="7911537" y="443365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41" name="Freeform: Shape 4440">
                  <a:extLst>
                    <a:ext uri="{FF2B5EF4-FFF2-40B4-BE49-F238E27FC236}">
                      <a16:creationId xmlns:a16="http://schemas.microsoft.com/office/drawing/2014/main" id="{58933EF8-490E-4402-96BE-5E6F5CC0A4F2}"/>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42" name="Freeform: Shape 4441">
                  <a:extLst>
                    <a:ext uri="{FF2B5EF4-FFF2-40B4-BE49-F238E27FC236}">
                      <a16:creationId xmlns:a16="http://schemas.microsoft.com/office/drawing/2014/main" id="{55B31A8F-EC98-44B7-807D-145A480FC195}"/>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C2F69"/>
                </a:solidFill>
                <a:ln w="16828" cap="flat">
                  <a:noFill/>
                  <a:prstDash val="solid"/>
                  <a:miter/>
                </a:ln>
              </p:spPr>
              <p:txBody>
                <a:bodyPr rtlCol="0" anchor="ctr"/>
                <a:lstStyle/>
                <a:p>
                  <a:endParaRPr lang="en-IN"/>
                </a:p>
              </p:txBody>
            </p:sp>
            <p:sp>
              <p:nvSpPr>
                <p:cNvPr id="4443" name="Freeform: Shape 4442">
                  <a:extLst>
                    <a:ext uri="{FF2B5EF4-FFF2-40B4-BE49-F238E27FC236}">
                      <a16:creationId xmlns:a16="http://schemas.microsoft.com/office/drawing/2014/main" id="{CCD75FE2-EAAA-4FAC-B062-D3EEEB6B2DA5}"/>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F2C62"/>
                </a:solidFill>
                <a:ln w="16828" cap="flat">
                  <a:noFill/>
                  <a:prstDash val="solid"/>
                  <a:miter/>
                </a:ln>
              </p:spPr>
              <p:txBody>
                <a:bodyPr rtlCol="0" anchor="ctr"/>
                <a:lstStyle/>
                <a:p>
                  <a:endParaRPr lang="en-IN"/>
                </a:p>
              </p:txBody>
            </p:sp>
            <p:sp>
              <p:nvSpPr>
                <p:cNvPr id="4444" name="Freeform: Shape 4443">
                  <a:extLst>
                    <a:ext uri="{FF2B5EF4-FFF2-40B4-BE49-F238E27FC236}">
                      <a16:creationId xmlns:a16="http://schemas.microsoft.com/office/drawing/2014/main" id="{B6C739E6-5FF5-4A2E-9D3C-9C512B2DA1AD}"/>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1295B"/>
                </a:solidFill>
                <a:ln w="16828" cap="flat">
                  <a:noFill/>
                  <a:prstDash val="solid"/>
                  <a:miter/>
                </a:ln>
              </p:spPr>
              <p:txBody>
                <a:bodyPr rtlCol="0" anchor="ctr"/>
                <a:lstStyle/>
                <a:p>
                  <a:endParaRPr lang="en-IN"/>
                </a:p>
              </p:txBody>
            </p:sp>
            <p:sp>
              <p:nvSpPr>
                <p:cNvPr id="4445" name="Freeform: Shape 4444">
                  <a:extLst>
                    <a:ext uri="{FF2B5EF4-FFF2-40B4-BE49-F238E27FC236}">
                      <a16:creationId xmlns:a16="http://schemas.microsoft.com/office/drawing/2014/main" id="{55465006-05E0-48E5-BE50-187BC6760D21}"/>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42654"/>
                </a:solidFill>
                <a:ln w="16828" cap="flat">
                  <a:noFill/>
                  <a:prstDash val="solid"/>
                  <a:miter/>
                </a:ln>
              </p:spPr>
              <p:txBody>
                <a:bodyPr rtlCol="0" anchor="ctr"/>
                <a:lstStyle/>
                <a:p>
                  <a:endParaRPr lang="en-IN"/>
                </a:p>
              </p:txBody>
            </p:sp>
            <p:sp>
              <p:nvSpPr>
                <p:cNvPr id="4446" name="Freeform: Shape 4445">
                  <a:extLst>
                    <a:ext uri="{FF2B5EF4-FFF2-40B4-BE49-F238E27FC236}">
                      <a16:creationId xmlns:a16="http://schemas.microsoft.com/office/drawing/2014/main" id="{1ED45E94-CFF7-4AB7-B559-072A0D0A389B}"/>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7234D"/>
                </a:solidFill>
                <a:ln w="16828" cap="flat">
                  <a:noFill/>
                  <a:prstDash val="solid"/>
                  <a:miter/>
                </a:ln>
              </p:spPr>
              <p:txBody>
                <a:bodyPr rtlCol="0" anchor="ctr"/>
                <a:lstStyle/>
                <a:p>
                  <a:endParaRPr lang="en-IN"/>
                </a:p>
              </p:txBody>
            </p:sp>
            <p:sp>
              <p:nvSpPr>
                <p:cNvPr id="4447" name="Freeform: Shape 4446">
                  <a:extLst>
                    <a:ext uri="{FF2B5EF4-FFF2-40B4-BE49-F238E27FC236}">
                      <a16:creationId xmlns:a16="http://schemas.microsoft.com/office/drawing/2014/main" id="{BE3CA8C6-1070-4C61-B627-34C4B42FEC11}"/>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A2046"/>
                </a:solidFill>
                <a:ln w="16828" cap="flat">
                  <a:noFill/>
                  <a:prstDash val="solid"/>
                  <a:miter/>
                </a:ln>
              </p:spPr>
              <p:txBody>
                <a:bodyPr rtlCol="0" anchor="ctr"/>
                <a:lstStyle/>
                <a:p>
                  <a:endParaRPr lang="en-IN"/>
                </a:p>
              </p:txBody>
            </p:sp>
            <p:sp>
              <p:nvSpPr>
                <p:cNvPr id="4448" name="Freeform: Shape 4447">
                  <a:extLst>
                    <a:ext uri="{FF2B5EF4-FFF2-40B4-BE49-F238E27FC236}">
                      <a16:creationId xmlns:a16="http://schemas.microsoft.com/office/drawing/2014/main" id="{0519AD29-F0C9-417D-AF7E-A67004576EFE}"/>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D1D3F"/>
                </a:solidFill>
                <a:ln w="16828" cap="flat">
                  <a:noFill/>
                  <a:prstDash val="solid"/>
                  <a:miter/>
                </a:ln>
              </p:spPr>
              <p:txBody>
                <a:bodyPr rtlCol="0" anchor="ctr"/>
                <a:lstStyle/>
                <a:p>
                  <a:endParaRPr lang="en-IN"/>
                </a:p>
              </p:txBody>
            </p:sp>
            <p:sp>
              <p:nvSpPr>
                <p:cNvPr id="4449" name="Freeform: Shape 4448">
                  <a:extLst>
                    <a:ext uri="{FF2B5EF4-FFF2-40B4-BE49-F238E27FC236}">
                      <a16:creationId xmlns:a16="http://schemas.microsoft.com/office/drawing/2014/main" id="{AC4E99E6-2AF2-4FDE-B864-BABEDD4C2905}"/>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01A38"/>
                </a:solidFill>
                <a:ln w="16828" cap="flat">
                  <a:noFill/>
                  <a:prstDash val="solid"/>
                  <a:miter/>
                </a:ln>
              </p:spPr>
              <p:txBody>
                <a:bodyPr rtlCol="0" anchor="ctr"/>
                <a:lstStyle/>
                <a:p>
                  <a:endParaRPr lang="en-IN"/>
                </a:p>
              </p:txBody>
            </p:sp>
            <p:sp>
              <p:nvSpPr>
                <p:cNvPr id="4450" name="Freeform: Shape 4449">
                  <a:extLst>
                    <a:ext uri="{FF2B5EF4-FFF2-40B4-BE49-F238E27FC236}">
                      <a16:creationId xmlns:a16="http://schemas.microsoft.com/office/drawing/2014/main" id="{2CDA93FA-BD60-434D-A5D0-F01528ED7631}"/>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21731"/>
                </a:solidFill>
                <a:ln w="16828" cap="flat">
                  <a:noFill/>
                  <a:prstDash val="solid"/>
                  <a:miter/>
                </a:ln>
              </p:spPr>
              <p:txBody>
                <a:bodyPr rtlCol="0" anchor="ctr"/>
                <a:lstStyle/>
                <a:p>
                  <a:endParaRPr lang="en-IN"/>
                </a:p>
              </p:txBody>
            </p:sp>
            <p:sp>
              <p:nvSpPr>
                <p:cNvPr id="4451" name="Freeform: Shape 4450">
                  <a:extLst>
                    <a:ext uri="{FF2B5EF4-FFF2-40B4-BE49-F238E27FC236}">
                      <a16:creationId xmlns:a16="http://schemas.microsoft.com/office/drawing/2014/main" id="{1AC2D5DD-EDD3-4A6A-AA9B-92D555420BA6}"/>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5142A"/>
                </a:solidFill>
                <a:ln w="16828" cap="flat">
                  <a:noFill/>
                  <a:prstDash val="solid"/>
                  <a:miter/>
                </a:ln>
              </p:spPr>
              <p:txBody>
                <a:bodyPr rtlCol="0" anchor="ctr"/>
                <a:lstStyle/>
                <a:p>
                  <a:endParaRPr lang="en-IN"/>
                </a:p>
              </p:txBody>
            </p:sp>
            <p:sp>
              <p:nvSpPr>
                <p:cNvPr id="4452" name="Freeform: Shape 4451">
                  <a:extLst>
                    <a:ext uri="{FF2B5EF4-FFF2-40B4-BE49-F238E27FC236}">
                      <a16:creationId xmlns:a16="http://schemas.microsoft.com/office/drawing/2014/main" id="{46596DAE-E102-4784-AC47-3878F9B26C83}"/>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81123"/>
                </a:solidFill>
                <a:ln w="16828" cap="flat">
                  <a:noFill/>
                  <a:prstDash val="solid"/>
                  <a:miter/>
                </a:ln>
              </p:spPr>
              <p:txBody>
                <a:bodyPr rtlCol="0" anchor="ctr"/>
                <a:lstStyle/>
                <a:p>
                  <a:endParaRPr lang="en-IN"/>
                </a:p>
              </p:txBody>
            </p:sp>
          </p:grpSp>
          <p:sp>
            <p:nvSpPr>
              <p:cNvPr id="4453" name="Freeform: Shape 4452">
                <a:extLst>
                  <a:ext uri="{FF2B5EF4-FFF2-40B4-BE49-F238E27FC236}">
                    <a16:creationId xmlns:a16="http://schemas.microsoft.com/office/drawing/2014/main" id="{829C13E7-0006-429F-ACDA-92A8528F1333}"/>
                  </a:ext>
                </a:extLst>
              </p:cNvPr>
              <p:cNvSpPr/>
              <p:nvPr/>
            </p:nvSpPr>
            <p:spPr>
              <a:xfrm>
                <a:off x="7847226" y="4395684"/>
                <a:ext cx="24921" cy="14649"/>
              </a:xfrm>
              <a:custGeom>
                <a:avLst/>
                <a:gdLst>
                  <a:gd name="connsiteX0" fmla="*/ 24921 w 24921"/>
                  <a:gd name="connsiteY0" fmla="*/ 7577 h 14649"/>
                  <a:gd name="connsiteX1" fmla="*/ 21385 w 24921"/>
                  <a:gd name="connsiteY1" fmla="*/ 9598 h 14649"/>
                  <a:gd name="connsiteX2" fmla="*/ 14818 w 24921"/>
                  <a:gd name="connsiteY2" fmla="*/ 8756 h 14649"/>
                  <a:gd name="connsiteX3" fmla="*/ 16334 w 24921"/>
                  <a:gd name="connsiteY3" fmla="*/ 12629 h 14649"/>
                  <a:gd name="connsiteX4" fmla="*/ 12797 w 24921"/>
                  <a:gd name="connsiteY4" fmla="*/ 14650 h 14649"/>
                  <a:gd name="connsiteX5" fmla="*/ 10777 w 24921"/>
                  <a:gd name="connsiteY5" fmla="*/ 8419 h 14649"/>
                  <a:gd name="connsiteX6" fmla="*/ 0 w 24921"/>
                  <a:gd name="connsiteY6" fmla="*/ 7241 h 14649"/>
                  <a:gd name="connsiteX7" fmla="*/ 3705 w 24921"/>
                  <a:gd name="connsiteY7" fmla="*/ 5052 h 14649"/>
                  <a:gd name="connsiteX8" fmla="*/ 10103 w 24921"/>
                  <a:gd name="connsiteY8" fmla="*/ 5894 h 14649"/>
                  <a:gd name="connsiteX9" fmla="*/ 8588 w 24921"/>
                  <a:gd name="connsiteY9" fmla="*/ 2189 h 14649"/>
                  <a:gd name="connsiteX10" fmla="*/ 12292 w 24921"/>
                  <a:gd name="connsiteY10" fmla="*/ 0 h 14649"/>
                  <a:gd name="connsiteX11" fmla="*/ 14313 w 24921"/>
                  <a:gd name="connsiteY11" fmla="*/ 6230 h 14649"/>
                  <a:gd name="connsiteX12" fmla="*/ 24921 w 24921"/>
                  <a:gd name="connsiteY12" fmla="*/ 7577 h 14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921" h="14649">
                    <a:moveTo>
                      <a:pt x="24921" y="7577"/>
                    </a:moveTo>
                    <a:lnTo>
                      <a:pt x="21385" y="9598"/>
                    </a:lnTo>
                    <a:lnTo>
                      <a:pt x="14818" y="8756"/>
                    </a:lnTo>
                    <a:lnTo>
                      <a:pt x="16334" y="12629"/>
                    </a:lnTo>
                    <a:lnTo>
                      <a:pt x="12797" y="14650"/>
                    </a:lnTo>
                    <a:lnTo>
                      <a:pt x="10777" y="8419"/>
                    </a:lnTo>
                    <a:lnTo>
                      <a:pt x="0" y="7241"/>
                    </a:lnTo>
                    <a:lnTo>
                      <a:pt x="3705" y="5052"/>
                    </a:lnTo>
                    <a:lnTo>
                      <a:pt x="10103" y="5894"/>
                    </a:lnTo>
                    <a:lnTo>
                      <a:pt x="8588" y="2189"/>
                    </a:lnTo>
                    <a:lnTo>
                      <a:pt x="12292" y="0"/>
                    </a:lnTo>
                    <a:lnTo>
                      <a:pt x="14313" y="6230"/>
                    </a:lnTo>
                    <a:lnTo>
                      <a:pt x="24921" y="7577"/>
                    </a:lnTo>
                    <a:close/>
                  </a:path>
                </a:pathLst>
              </a:custGeom>
              <a:solidFill>
                <a:srgbClr val="FFFFFF"/>
              </a:solidFill>
              <a:ln w="16828" cap="flat">
                <a:noFill/>
                <a:prstDash val="solid"/>
                <a:miter/>
              </a:ln>
            </p:spPr>
            <p:txBody>
              <a:bodyPr rtlCol="0" anchor="ctr"/>
              <a:lstStyle/>
              <a:p>
                <a:endParaRPr lang="en-IN"/>
              </a:p>
            </p:txBody>
          </p:sp>
          <p:sp>
            <p:nvSpPr>
              <p:cNvPr id="4454" name="Freeform: Shape 4453">
                <a:extLst>
                  <a:ext uri="{FF2B5EF4-FFF2-40B4-BE49-F238E27FC236}">
                    <a16:creationId xmlns:a16="http://schemas.microsoft.com/office/drawing/2014/main" id="{1CEA659A-BFFF-49F9-B389-1F059945BD33}"/>
                  </a:ext>
                </a:extLst>
              </p:cNvPr>
              <p:cNvSpPr/>
              <p:nvPr/>
            </p:nvSpPr>
            <p:spPr>
              <a:xfrm>
                <a:off x="7889828" y="4420605"/>
                <a:ext cx="17512" cy="10103"/>
              </a:xfrm>
              <a:custGeom>
                <a:avLst/>
                <a:gdLst>
                  <a:gd name="connsiteX0" fmla="*/ 0 w 17512"/>
                  <a:gd name="connsiteY0" fmla="*/ 8251 h 10103"/>
                  <a:gd name="connsiteX1" fmla="*/ 14313 w 17512"/>
                  <a:gd name="connsiteY1" fmla="*/ 0 h 10103"/>
                  <a:gd name="connsiteX2" fmla="*/ 17512 w 17512"/>
                  <a:gd name="connsiteY2" fmla="*/ 1852 h 10103"/>
                  <a:gd name="connsiteX3" fmla="*/ 3199 w 17512"/>
                  <a:gd name="connsiteY3" fmla="*/ 10103 h 10103"/>
                  <a:gd name="connsiteX4" fmla="*/ 0 w 17512"/>
                  <a:gd name="connsiteY4" fmla="*/ 8251 h 10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12" h="10103">
                    <a:moveTo>
                      <a:pt x="0" y="8251"/>
                    </a:moveTo>
                    <a:lnTo>
                      <a:pt x="14313" y="0"/>
                    </a:lnTo>
                    <a:lnTo>
                      <a:pt x="17512" y="1852"/>
                    </a:lnTo>
                    <a:lnTo>
                      <a:pt x="3199" y="10103"/>
                    </a:lnTo>
                    <a:lnTo>
                      <a:pt x="0" y="8251"/>
                    </a:lnTo>
                    <a:close/>
                  </a:path>
                </a:pathLst>
              </a:custGeom>
              <a:solidFill>
                <a:srgbClr val="FFFFFF"/>
              </a:solidFill>
              <a:ln w="16828" cap="flat">
                <a:noFill/>
                <a:prstDash val="solid"/>
                <a:miter/>
              </a:ln>
            </p:spPr>
            <p:txBody>
              <a:bodyPr rtlCol="0" anchor="ctr"/>
              <a:lstStyle/>
              <a:p>
                <a:endParaRPr lang="en-IN"/>
              </a:p>
            </p:txBody>
          </p:sp>
          <p:grpSp>
            <p:nvGrpSpPr>
              <p:cNvPr id="4455" name="Graphic 4202">
                <a:extLst>
                  <a:ext uri="{FF2B5EF4-FFF2-40B4-BE49-F238E27FC236}">
                    <a16:creationId xmlns:a16="http://schemas.microsoft.com/office/drawing/2014/main" id="{D8C93A7D-1944-411F-8F69-6296BBFF6FB9}"/>
                  </a:ext>
                </a:extLst>
              </p:cNvPr>
              <p:cNvGrpSpPr/>
              <p:nvPr/>
            </p:nvGrpSpPr>
            <p:grpSpPr>
              <a:xfrm>
                <a:off x="7884945" y="4466576"/>
                <a:ext cx="24584" cy="14144"/>
                <a:chOff x="7884945" y="4466576"/>
                <a:chExt cx="24584" cy="14144"/>
              </a:xfrm>
              <a:solidFill>
                <a:srgbClr val="FFFFFF"/>
              </a:solidFill>
            </p:grpSpPr>
            <p:sp>
              <p:nvSpPr>
                <p:cNvPr id="4456" name="Freeform: Shape 4455">
                  <a:extLst>
                    <a:ext uri="{FF2B5EF4-FFF2-40B4-BE49-F238E27FC236}">
                      <a16:creationId xmlns:a16="http://schemas.microsoft.com/office/drawing/2014/main" id="{1F175A7A-3BE4-46C0-8416-487DEF13631D}"/>
                    </a:ext>
                  </a:extLst>
                </p:cNvPr>
                <p:cNvSpPr/>
                <p:nvPr/>
              </p:nvSpPr>
              <p:spPr>
                <a:xfrm>
                  <a:off x="7884945" y="4466576"/>
                  <a:ext cx="17512" cy="10103"/>
                </a:xfrm>
                <a:custGeom>
                  <a:avLst/>
                  <a:gdLst>
                    <a:gd name="connsiteX0" fmla="*/ 0 w 17512"/>
                    <a:gd name="connsiteY0" fmla="*/ 8251 h 10103"/>
                    <a:gd name="connsiteX1" fmla="*/ 14313 w 17512"/>
                    <a:gd name="connsiteY1" fmla="*/ 0 h 10103"/>
                    <a:gd name="connsiteX2" fmla="*/ 17512 w 17512"/>
                    <a:gd name="connsiteY2" fmla="*/ 1852 h 10103"/>
                    <a:gd name="connsiteX3" fmla="*/ 3199 w 17512"/>
                    <a:gd name="connsiteY3" fmla="*/ 10103 h 10103"/>
                    <a:gd name="connsiteX4" fmla="*/ 0 w 17512"/>
                    <a:gd name="connsiteY4" fmla="*/ 8251 h 10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12" h="10103">
                      <a:moveTo>
                        <a:pt x="0" y="8251"/>
                      </a:moveTo>
                      <a:lnTo>
                        <a:pt x="14313" y="0"/>
                      </a:lnTo>
                      <a:lnTo>
                        <a:pt x="17512" y="1852"/>
                      </a:lnTo>
                      <a:lnTo>
                        <a:pt x="3199" y="10103"/>
                      </a:lnTo>
                      <a:lnTo>
                        <a:pt x="0" y="8251"/>
                      </a:lnTo>
                      <a:close/>
                    </a:path>
                  </a:pathLst>
                </a:custGeom>
                <a:solidFill>
                  <a:srgbClr val="FFFFFF"/>
                </a:solidFill>
                <a:ln w="16828" cap="flat">
                  <a:noFill/>
                  <a:prstDash val="solid"/>
                  <a:miter/>
                </a:ln>
              </p:spPr>
              <p:txBody>
                <a:bodyPr rtlCol="0" anchor="ctr"/>
                <a:lstStyle/>
                <a:p>
                  <a:endParaRPr lang="en-IN"/>
                </a:p>
              </p:txBody>
            </p:sp>
            <p:sp>
              <p:nvSpPr>
                <p:cNvPr id="4457" name="Freeform: Shape 4456">
                  <a:extLst>
                    <a:ext uri="{FF2B5EF4-FFF2-40B4-BE49-F238E27FC236}">
                      <a16:creationId xmlns:a16="http://schemas.microsoft.com/office/drawing/2014/main" id="{A8A9A8B3-197A-4B08-A350-CE126F16901B}"/>
                    </a:ext>
                  </a:extLst>
                </p:cNvPr>
                <p:cNvSpPr/>
                <p:nvPr/>
              </p:nvSpPr>
              <p:spPr>
                <a:xfrm>
                  <a:off x="7892017" y="4470617"/>
                  <a:ext cx="17512" cy="10103"/>
                </a:xfrm>
                <a:custGeom>
                  <a:avLst/>
                  <a:gdLst>
                    <a:gd name="connsiteX0" fmla="*/ 0 w 17512"/>
                    <a:gd name="connsiteY0" fmla="*/ 8251 h 10103"/>
                    <a:gd name="connsiteX1" fmla="*/ 14313 w 17512"/>
                    <a:gd name="connsiteY1" fmla="*/ 0 h 10103"/>
                    <a:gd name="connsiteX2" fmla="*/ 17512 w 17512"/>
                    <a:gd name="connsiteY2" fmla="*/ 1852 h 10103"/>
                    <a:gd name="connsiteX3" fmla="*/ 3199 w 17512"/>
                    <a:gd name="connsiteY3" fmla="*/ 10103 h 10103"/>
                    <a:gd name="connsiteX4" fmla="*/ 0 w 17512"/>
                    <a:gd name="connsiteY4" fmla="*/ 8251 h 10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12" h="10103">
                      <a:moveTo>
                        <a:pt x="0" y="8251"/>
                      </a:moveTo>
                      <a:lnTo>
                        <a:pt x="14313" y="0"/>
                      </a:lnTo>
                      <a:lnTo>
                        <a:pt x="17512" y="1852"/>
                      </a:lnTo>
                      <a:lnTo>
                        <a:pt x="3199" y="10103"/>
                      </a:lnTo>
                      <a:lnTo>
                        <a:pt x="0" y="8251"/>
                      </a:lnTo>
                      <a:close/>
                    </a:path>
                  </a:pathLst>
                </a:custGeom>
                <a:solidFill>
                  <a:srgbClr val="FFFFFF"/>
                </a:solidFill>
                <a:ln w="16828" cap="flat">
                  <a:noFill/>
                  <a:prstDash val="solid"/>
                  <a:miter/>
                </a:ln>
              </p:spPr>
              <p:txBody>
                <a:bodyPr rtlCol="0" anchor="ctr"/>
                <a:lstStyle/>
                <a:p>
                  <a:endParaRPr lang="en-IN"/>
                </a:p>
              </p:txBody>
            </p:sp>
          </p:grpSp>
          <p:sp>
            <p:nvSpPr>
              <p:cNvPr id="4458" name="Freeform: Shape 4457">
                <a:extLst>
                  <a:ext uri="{FF2B5EF4-FFF2-40B4-BE49-F238E27FC236}">
                    <a16:creationId xmlns:a16="http://schemas.microsoft.com/office/drawing/2014/main" id="{D5E22462-C3EE-4D34-9BFF-6A4292435ED6}"/>
                  </a:ext>
                </a:extLst>
              </p:cNvPr>
              <p:cNvSpPr/>
              <p:nvPr/>
            </p:nvSpPr>
            <p:spPr>
              <a:xfrm>
                <a:off x="7930410" y="4444011"/>
                <a:ext cx="17512" cy="10103"/>
              </a:xfrm>
              <a:custGeom>
                <a:avLst/>
                <a:gdLst>
                  <a:gd name="connsiteX0" fmla="*/ 8756 w 17512"/>
                  <a:gd name="connsiteY0" fmla="*/ 3199 h 10103"/>
                  <a:gd name="connsiteX1" fmla="*/ 14313 w 17512"/>
                  <a:gd name="connsiteY1" fmla="*/ 0 h 10103"/>
                  <a:gd name="connsiteX2" fmla="*/ 17512 w 17512"/>
                  <a:gd name="connsiteY2" fmla="*/ 1852 h 10103"/>
                  <a:gd name="connsiteX3" fmla="*/ 11956 w 17512"/>
                  <a:gd name="connsiteY3" fmla="*/ 5052 h 10103"/>
                  <a:gd name="connsiteX4" fmla="*/ 17512 w 17512"/>
                  <a:gd name="connsiteY4" fmla="*/ 8251 h 10103"/>
                  <a:gd name="connsiteX5" fmla="*/ 14313 w 17512"/>
                  <a:gd name="connsiteY5" fmla="*/ 10103 h 10103"/>
                  <a:gd name="connsiteX6" fmla="*/ 8756 w 17512"/>
                  <a:gd name="connsiteY6" fmla="*/ 6904 h 10103"/>
                  <a:gd name="connsiteX7" fmla="*/ 3199 w 17512"/>
                  <a:gd name="connsiteY7" fmla="*/ 10103 h 10103"/>
                  <a:gd name="connsiteX8" fmla="*/ 0 w 17512"/>
                  <a:gd name="connsiteY8" fmla="*/ 8251 h 10103"/>
                  <a:gd name="connsiteX9" fmla="*/ 5557 w 17512"/>
                  <a:gd name="connsiteY9" fmla="*/ 5052 h 10103"/>
                  <a:gd name="connsiteX10" fmla="*/ 0 w 17512"/>
                  <a:gd name="connsiteY10" fmla="*/ 1852 h 10103"/>
                  <a:gd name="connsiteX11" fmla="*/ 3199 w 17512"/>
                  <a:gd name="connsiteY11" fmla="*/ 0 h 10103"/>
                  <a:gd name="connsiteX12" fmla="*/ 8756 w 17512"/>
                  <a:gd name="connsiteY12" fmla="*/ 3199 h 10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512" h="10103">
                    <a:moveTo>
                      <a:pt x="8756" y="3199"/>
                    </a:moveTo>
                    <a:lnTo>
                      <a:pt x="14313" y="0"/>
                    </a:lnTo>
                    <a:lnTo>
                      <a:pt x="17512" y="1852"/>
                    </a:lnTo>
                    <a:lnTo>
                      <a:pt x="11956" y="5052"/>
                    </a:lnTo>
                    <a:lnTo>
                      <a:pt x="17512" y="8251"/>
                    </a:lnTo>
                    <a:lnTo>
                      <a:pt x="14313" y="10103"/>
                    </a:lnTo>
                    <a:lnTo>
                      <a:pt x="8756" y="6904"/>
                    </a:lnTo>
                    <a:lnTo>
                      <a:pt x="3199" y="10103"/>
                    </a:lnTo>
                    <a:lnTo>
                      <a:pt x="0" y="8251"/>
                    </a:lnTo>
                    <a:lnTo>
                      <a:pt x="5557" y="5052"/>
                    </a:lnTo>
                    <a:lnTo>
                      <a:pt x="0" y="1852"/>
                    </a:lnTo>
                    <a:lnTo>
                      <a:pt x="3199" y="0"/>
                    </a:lnTo>
                    <a:lnTo>
                      <a:pt x="8756" y="3199"/>
                    </a:lnTo>
                    <a:close/>
                  </a:path>
                </a:pathLst>
              </a:custGeom>
              <a:solidFill>
                <a:srgbClr val="FFFFFF"/>
              </a:solidFill>
              <a:ln w="16828" cap="flat">
                <a:noFill/>
                <a:prstDash val="solid"/>
                <a:miter/>
              </a:ln>
            </p:spPr>
            <p:txBody>
              <a:bodyPr rtlCol="0" anchor="ctr"/>
              <a:lstStyle/>
              <a:p>
                <a:endParaRPr lang="en-IN"/>
              </a:p>
            </p:txBody>
          </p:sp>
          <p:grpSp>
            <p:nvGrpSpPr>
              <p:cNvPr id="4459" name="Graphic 4202">
                <a:extLst>
                  <a:ext uri="{FF2B5EF4-FFF2-40B4-BE49-F238E27FC236}">
                    <a16:creationId xmlns:a16="http://schemas.microsoft.com/office/drawing/2014/main" id="{D8C93A7D-1944-411F-8F69-6296BBFF6FB9}"/>
                  </a:ext>
                </a:extLst>
              </p:cNvPr>
              <p:cNvGrpSpPr/>
              <p:nvPr/>
            </p:nvGrpSpPr>
            <p:grpSpPr>
              <a:xfrm>
                <a:off x="7636740" y="4421953"/>
                <a:ext cx="33172" cy="19196"/>
                <a:chOff x="7636740" y="4421953"/>
                <a:chExt cx="33172" cy="19196"/>
              </a:xfrm>
              <a:solidFill>
                <a:srgbClr val="FFFFFF"/>
              </a:solidFill>
            </p:grpSpPr>
            <p:sp>
              <p:nvSpPr>
                <p:cNvPr id="4460" name="Freeform: Shape 4459">
                  <a:extLst>
                    <a:ext uri="{FF2B5EF4-FFF2-40B4-BE49-F238E27FC236}">
                      <a16:creationId xmlns:a16="http://schemas.microsoft.com/office/drawing/2014/main" id="{28E375F0-A63E-4504-9979-A2E7D897B511}"/>
                    </a:ext>
                  </a:extLst>
                </p:cNvPr>
                <p:cNvSpPr/>
                <p:nvPr/>
              </p:nvSpPr>
              <p:spPr>
                <a:xfrm>
                  <a:off x="7636740" y="4426162"/>
                  <a:ext cx="25931" cy="14986"/>
                </a:xfrm>
                <a:custGeom>
                  <a:avLst/>
                  <a:gdLst>
                    <a:gd name="connsiteX0" fmla="*/ 17512 w 25931"/>
                    <a:gd name="connsiteY0" fmla="*/ 13639 h 14986"/>
                    <a:gd name="connsiteX1" fmla="*/ 15155 w 25931"/>
                    <a:gd name="connsiteY1" fmla="*/ 14987 h 14986"/>
                    <a:gd name="connsiteX2" fmla="*/ 0 w 25931"/>
                    <a:gd name="connsiteY2" fmla="*/ 6230 h 14986"/>
                    <a:gd name="connsiteX3" fmla="*/ 3368 w 25931"/>
                    <a:gd name="connsiteY3" fmla="*/ 4378 h 14986"/>
                    <a:gd name="connsiteX4" fmla="*/ 16502 w 25931"/>
                    <a:gd name="connsiteY4" fmla="*/ 9430 h 14986"/>
                    <a:gd name="connsiteX5" fmla="*/ 7577 w 25931"/>
                    <a:gd name="connsiteY5" fmla="*/ 1852 h 14986"/>
                    <a:gd name="connsiteX6" fmla="*/ 10777 w 25931"/>
                    <a:gd name="connsiteY6" fmla="*/ 0 h 14986"/>
                    <a:gd name="connsiteX7" fmla="*/ 25932 w 25931"/>
                    <a:gd name="connsiteY7" fmla="*/ 8756 h 14986"/>
                    <a:gd name="connsiteX8" fmla="*/ 23574 w 25931"/>
                    <a:gd name="connsiteY8" fmla="*/ 10103 h 14986"/>
                    <a:gd name="connsiteX9" fmla="*/ 13976 w 25931"/>
                    <a:gd name="connsiteY9" fmla="*/ 4546 h 14986"/>
                    <a:gd name="connsiteX10" fmla="*/ 21554 w 25931"/>
                    <a:gd name="connsiteY10" fmla="*/ 11282 h 14986"/>
                    <a:gd name="connsiteX11" fmla="*/ 19701 w 25931"/>
                    <a:gd name="connsiteY11" fmla="*/ 12292 h 14986"/>
                    <a:gd name="connsiteX12" fmla="*/ 7914 w 25931"/>
                    <a:gd name="connsiteY12" fmla="*/ 8083 h 14986"/>
                    <a:gd name="connsiteX13" fmla="*/ 17512 w 25931"/>
                    <a:gd name="connsiteY13" fmla="*/ 13639 h 1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931" h="14986">
                      <a:moveTo>
                        <a:pt x="17512" y="13639"/>
                      </a:moveTo>
                      <a:lnTo>
                        <a:pt x="15155" y="14987"/>
                      </a:lnTo>
                      <a:lnTo>
                        <a:pt x="0" y="6230"/>
                      </a:lnTo>
                      <a:lnTo>
                        <a:pt x="3368" y="4378"/>
                      </a:lnTo>
                      <a:lnTo>
                        <a:pt x="16502" y="9430"/>
                      </a:lnTo>
                      <a:lnTo>
                        <a:pt x="7577" y="1852"/>
                      </a:lnTo>
                      <a:lnTo>
                        <a:pt x="10777" y="0"/>
                      </a:lnTo>
                      <a:lnTo>
                        <a:pt x="25932" y="8756"/>
                      </a:lnTo>
                      <a:lnTo>
                        <a:pt x="23574" y="10103"/>
                      </a:lnTo>
                      <a:lnTo>
                        <a:pt x="13976" y="4546"/>
                      </a:lnTo>
                      <a:lnTo>
                        <a:pt x="21554" y="11282"/>
                      </a:lnTo>
                      <a:lnTo>
                        <a:pt x="19701" y="12292"/>
                      </a:lnTo>
                      <a:lnTo>
                        <a:pt x="7914" y="8083"/>
                      </a:lnTo>
                      <a:lnTo>
                        <a:pt x="17512" y="13639"/>
                      </a:lnTo>
                      <a:close/>
                    </a:path>
                  </a:pathLst>
                </a:custGeom>
                <a:solidFill>
                  <a:srgbClr val="FFFFFF"/>
                </a:solidFill>
                <a:ln w="16828" cap="flat">
                  <a:noFill/>
                  <a:prstDash val="solid"/>
                  <a:miter/>
                </a:ln>
              </p:spPr>
              <p:txBody>
                <a:bodyPr rtlCol="0" anchor="ctr"/>
                <a:lstStyle/>
                <a:p>
                  <a:endParaRPr lang="en-IN"/>
                </a:p>
              </p:txBody>
            </p:sp>
            <p:sp>
              <p:nvSpPr>
                <p:cNvPr id="4461" name="Freeform: Shape 4460">
                  <a:extLst>
                    <a:ext uri="{FF2B5EF4-FFF2-40B4-BE49-F238E27FC236}">
                      <a16:creationId xmlns:a16="http://schemas.microsoft.com/office/drawing/2014/main" id="{CF1F2327-CB65-4367-94C7-A6D3388E06BD}"/>
                    </a:ext>
                  </a:extLst>
                </p:cNvPr>
                <p:cNvSpPr/>
                <p:nvPr/>
              </p:nvSpPr>
              <p:spPr>
                <a:xfrm>
                  <a:off x="7651221" y="4421953"/>
                  <a:ext cx="18691" cy="10608"/>
                </a:xfrm>
                <a:custGeom>
                  <a:avLst/>
                  <a:gdLst>
                    <a:gd name="connsiteX0" fmla="*/ 17176 w 18691"/>
                    <a:gd name="connsiteY0" fmla="*/ 9767 h 10608"/>
                    <a:gd name="connsiteX1" fmla="*/ 13471 w 18691"/>
                    <a:gd name="connsiteY1" fmla="*/ 10608 h 10608"/>
                    <a:gd name="connsiteX2" fmla="*/ 9767 w 18691"/>
                    <a:gd name="connsiteY2" fmla="*/ 9767 h 10608"/>
                    <a:gd name="connsiteX3" fmla="*/ 1515 w 18691"/>
                    <a:gd name="connsiteY3" fmla="*/ 5052 h 10608"/>
                    <a:gd name="connsiteX4" fmla="*/ 0 w 18691"/>
                    <a:gd name="connsiteY4" fmla="*/ 2863 h 10608"/>
                    <a:gd name="connsiteX5" fmla="*/ 1515 w 18691"/>
                    <a:gd name="connsiteY5" fmla="*/ 842 h 10608"/>
                    <a:gd name="connsiteX6" fmla="*/ 5220 w 18691"/>
                    <a:gd name="connsiteY6" fmla="*/ 0 h 10608"/>
                    <a:gd name="connsiteX7" fmla="*/ 8925 w 18691"/>
                    <a:gd name="connsiteY7" fmla="*/ 842 h 10608"/>
                    <a:gd name="connsiteX8" fmla="*/ 10608 w 18691"/>
                    <a:gd name="connsiteY8" fmla="*/ 1852 h 10608"/>
                    <a:gd name="connsiteX9" fmla="*/ 8251 w 18691"/>
                    <a:gd name="connsiteY9" fmla="*/ 3199 h 10608"/>
                    <a:gd name="connsiteX10" fmla="*/ 6399 w 18691"/>
                    <a:gd name="connsiteY10" fmla="*/ 2189 h 10608"/>
                    <a:gd name="connsiteX11" fmla="*/ 5052 w 18691"/>
                    <a:gd name="connsiteY11" fmla="*/ 1852 h 10608"/>
                    <a:gd name="connsiteX12" fmla="*/ 3705 w 18691"/>
                    <a:gd name="connsiteY12" fmla="*/ 2189 h 10608"/>
                    <a:gd name="connsiteX13" fmla="*/ 3199 w 18691"/>
                    <a:gd name="connsiteY13" fmla="*/ 3031 h 10608"/>
                    <a:gd name="connsiteX14" fmla="*/ 3705 w 18691"/>
                    <a:gd name="connsiteY14" fmla="*/ 3873 h 10608"/>
                    <a:gd name="connsiteX15" fmla="*/ 11956 w 18691"/>
                    <a:gd name="connsiteY15" fmla="*/ 8756 h 10608"/>
                    <a:gd name="connsiteX16" fmla="*/ 13303 w 18691"/>
                    <a:gd name="connsiteY16" fmla="*/ 9093 h 10608"/>
                    <a:gd name="connsiteX17" fmla="*/ 14650 w 18691"/>
                    <a:gd name="connsiteY17" fmla="*/ 8756 h 10608"/>
                    <a:gd name="connsiteX18" fmla="*/ 15155 w 18691"/>
                    <a:gd name="connsiteY18" fmla="*/ 7914 h 10608"/>
                    <a:gd name="connsiteX19" fmla="*/ 14650 w 18691"/>
                    <a:gd name="connsiteY19" fmla="*/ 7072 h 10608"/>
                    <a:gd name="connsiteX20" fmla="*/ 12629 w 18691"/>
                    <a:gd name="connsiteY20" fmla="*/ 5894 h 10608"/>
                    <a:gd name="connsiteX21" fmla="*/ 14987 w 18691"/>
                    <a:gd name="connsiteY21" fmla="*/ 4546 h 10608"/>
                    <a:gd name="connsiteX22" fmla="*/ 17176 w 18691"/>
                    <a:gd name="connsiteY22" fmla="*/ 5725 h 10608"/>
                    <a:gd name="connsiteX23" fmla="*/ 18691 w 18691"/>
                    <a:gd name="connsiteY23" fmla="*/ 7746 h 10608"/>
                    <a:gd name="connsiteX24" fmla="*/ 17176 w 18691"/>
                    <a:gd name="connsiteY24" fmla="*/ 9767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691" h="10608">
                      <a:moveTo>
                        <a:pt x="17176" y="9767"/>
                      </a:moveTo>
                      <a:cubicBezTo>
                        <a:pt x="16165" y="10272"/>
                        <a:pt x="14987" y="10608"/>
                        <a:pt x="13471" y="10608"/>
                      </a:cubicBezTo>
                      <a:cubicBezTo>
                        <a:pt x="12124" y="10608"/>
                        <a:pt x="10777" y="10272"/>
                        <a:pt x="9767" y="9767"/>
                      </a:cubicBezTo>
                      <a:lnTo>
                        <a:pt x="1515" y="5052"/>
                      </a:lnTo>
                      <a:cubicBezTo>
                        <a:pt x="505" y="4546"/>
                        <a:pt x="0" y="3705"/>
                        <a:pt x="0" y="2863"/>
                      </a:cubicBezTo>
                      <a:cubicBezTo>
                        <a:pt x="0" y="2021"/>
                        <a:pt x="505" y="1347"/>
                        <a:pt x="1515" y="842"/>
                      </a:cubicBezTo>
                      <a:cubicBezTo>
                        <a:pt x="2526" y="337"/>
                        <a:pt x="3705" y="0"/>
                        <a:pt x="5220" y="0"/>
                      </a:cubicBezTo>
                      <a:cubicBezTo>
                        <a:pt x="6567" y="0"/>
                        <a:pt x="7914" y="337"/>
                        <a:pt x="8925" y="842"/>
                      </a:cubicBezTo>
                      <a:lnTo>
                        <a:pt x="10608" y="1852"/>
                      </a:lnTo>
                      <a:lnTo>
                        <a:pt x="8251" y="3199"/>
                      </a:lnTo>
                      <a:lnTo>
                        <a:pt x="6399" y="2189"/>
                      </a:lnTo>
                      <a:cubicBezTo>
                        <a:pt x="6062" y="2021"/>
                        <a:pt x="5557" y="1852"/>
                        <a:pt x="5052" y="1852"/>
                      </a:cubicBezTo>
                      <a:cubicBezTo>
                        <a:pt x="4546" y="1852"/>
                        <a:pt x="4041" y="2021"/>
                        <a:pt x="3705" y="2189"/>
                      </a:cubicBezTo>
                      <a:cubicBezTo>
                        <a:pt x="3368" y="2357"/>
                        <a:pt x="3199" y="2694"/>
                        <a:pt x="3199" y="3031"/>
                      </a:cubicBezTo>
                      <a:cubicBezTo>
                        <a:pt x="3199" y="3368"/>
                        <a:pt x="3368" y="3536"/>
                        <a:pt x="3705" y="3873"/>
                      </a:cubicBezTo>
                      <a:lnTo>
                        <a:pt x="11956" y="8756"/>
                      </a:lnTo>
                      <a:cubicBezTo>
                        <a:pt x="12292" y="8925"/>
                        <a:pt x="12798" y="9093"/>
                        <a:pt x="13303" y="9093"/>
                      </a:cubicBezTo>
                      <a:cubicBezTo>
                        <a:pt x="13808" y="9093"/>
                        <a:pt x="14313" y="8925"/>
                        <a:pt x="14650" y="8756"/>
                      </a:cubicBezTo>
                      <a:cubicBezTo>
                        <a:pt x="14987" y="8588"/>
                        <a:pt x="15155" y="8251"/>
                        <a:pt x="15155" y="7914"/>
                      </a:cubicBezTo>
                      <a:cubicBezTo>
                        <a:pt x="15155" y="7577"/>
                        <a:pt x="14987" y="7409"/>
                        <a:pt x="14650" y="7072"/>
                      </a:cubicBezTo>
                      <a:lnTo>
                        <a:pt x="12629" y="5894"/>
                      </a:lnTo>
                      <a:lnTo>
                        <a:pt x="14987" y="4546"/>
                      </a:lnTo>
                      <a:lnTo>
                        <a:pt x="17176" y="5725"/>
                      </a:lnTo>
                      <a:cubicBezTo>
                        <a:pt x="18186" y="6230"/>
                        <a:pt x="18691" y="7072"/>
                        <a:pt x="18691" y="7746"/>
                      </a:cubicBezTo>
                      <a:cubicBezTo>
                        <a:pt x="18691" y="8588"/>
                        <a:pt x="18186" y="9261"/>
                        <a:pt x="17176" y="9767"/>
                      </a:cubicBezTo>
                      <a:close/>
                    </a:path>
                  </a:pathLst>
                </a:custGeom>
                <a:solidFill>
                  <a:srgbClr val="FFFFFF"/>
                </a:solidFill>
                <a:ln w="16828" cap="flat">
                  <a:noFill/>
                  <a:prstDash val="solid"/>
                  <a:miter/>
                </a:ln>
              </p:spPr>
              <p:txBody>
                <a:bodyPr rtlCol="0" anchor="ctr"/>
                <a:lstStyle/>
                <a:p>
                  <a:endParaRPr lang="en-IN"/>
                </a:p>
              </p:txBody>
            </p:sp>
          </p:grpSp>
          <p:grpSp>
            <p:nvGrpSpPr>
              <p:cNvPr id="4462" name="Graphic 4202">
                <a:extLst>
                  <a:ext uri="{FF2B5EF4-FFF2-40B4-BE49-F238E27FC236}">
                    <a16:creationId xmlns:a16="http://schemas.microsoft.com/office/drawing/2014/main" id="{D8C93A7D-1944-411F-8F69-6296BBFF6FB9}"/>
                  </a:ext>
                </a:extLst>
              </p:cNvPr>
              <p:cNvGrpSpPr/>
              <p:nvPr/>
            </p:nvGrpSpPr>
            <p:grpSpPr>
              <a:xfrm>
                <a:off x="7797214" y="4514735"/>
                <a:ext cx="27784" cy="17344"/>
                <a:chOff x="7797214" y="4514735"/>
                <a:chExt cx="27784" cy="17344"/>
              </a:xfrm>
              <a:solidFill>
                <a:srgbClr val="FFFFFF"/>
              </a:solidFill>
            </p:grpSpPr>
            <p:sp>
              <p:nvSpPr>
                <p:cNvPr id="4463" name="Freeform: Shape 4462">
                  <a:extLst>
                    <a:ext uri="{FF2B5EF4-FFF2-40B4-BE49-F238E27FC236}">
                      <a16:creationId xmlns:a16="http://schemas.microsoft.com/office/drawing/2014/main" id="{5D5ACE15-BE5E-4015-A026-E6CC35F34771}"/>
                    </a:ext>
                  </a:extLst>
                </p:cNvPr>
                <p:cNvSpPr/>
                <p:nvPr/>
              </p:nvSpPr>
              <p:spPr>
                <a:xfrm>
                  <a:off x="7797214" y="4520123"/>
                  <a:ext cx="20880" cy="11955"/>
                </a:xfrm>
                <a:custGeom>
                  <a:avLst/>
                  <a:gdLst>
                    <a:gd name="connsiteX0" fmla="*/ 11956 w 20880"/>
                    <a:gd name="connsiteY0" fmla="*/ 8419 h 11955"/>
                    <a:gd name="connsiteX1" fmla="*/ 14987 w 20880"/>
                    <a:gd name="connsiteY1" fmla="*/ 10608 h 11955"/>
                    <a:gd name="connsiteX2" fmla="*/ 12629 w 20880"/>
                    <a:gd name="connsiteY2" fmla="*/ 11956 h 11955"/>
                    <a:gd name="connsiteX3" fmla="*/ 0 w 20880"/>
                    <a:gd name="connsiteY3" fmla="*/ 1684 h 11955"/>
                    <a:gd name="connsiteX4" fmla="*/ 3031 w 20880"/>
                    <a:gd name="connsiteY4" fmla="*/ 0 h 11955"/>
                    <a:gd name="connsiteX5" fmla="*/ 20880 w 20880"/>
                    <a:gd name="connsiteY5" fmla="*/ 7241 h 11955"/>
                    <a:gd name="connsiteX6" fmla="*/ 18523 w 20880"/>
                    <a:gd name="connsiteY6" fmla="*/ 8588 h 11955"/>
                    <a:gd name="connsiteX7" fmla="*/ 14481 w 20880"/>
                    <a:gd name="connsiteY7" fmla="*/ 6904 h 11955"/>
                    <a:gd name="connsiteX8" fmla="*/ 11956 w 20880"/>
                    <a:gd name="connsiteY8" fmla="*/ 8419 h 11955"/>
                    <a:gd name="connsiteX9" fmla="*/ 5052 w 20880"/>
                    <a:gd name="connsiteY9" fmla="*/ 2863 h 11955"/>
                    <a:gd name="connsiteX10" fmla="*/ 10272 w 20880"/>
                    <a:gd name="connsiteY10" fmla="*/ 6736 h 11955"/>
                    <a:gd name="connsiteX11" fmla="*/ 11956 w 20880"/>
                    <a:gd name="connsiteY11" fmla="*/ 5725 h 11955"/>
                    <a:gd name="connsiteX12" fmla="*/ 5052 w 20880"/>
                    <a:gd name="connsiteY12" fmla="*/ 2863 h 1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80" h="11955">
                      <a:moveTo>
                        <a:pt x="11956" y="8419"/>
                      </a:moveTo>
                      <a:lnTo>
                        <a:pt x="14987" y="10608"/>
                      </a:lnTo>
                      <a:lnTo>
                        <a:pt x="12629" y="11956"/>
                      </a:lnTo>
                      <a:lnTo>
                        <a:pt x="0" y="1684"/>
                      </a:lnTo>
                      <a:lnTo>
                        <a:pt x="3031" y="0"/>
                      </a:lnTo>
                      <a:lnTo>
                        <a:pt x="20880" y="7241"/>
                      </a:lnTo>
                      <a:lnTo>
                        <a:pt x="18523" y="8588"/>
                      </a:lnTo>
                      <a:lnTo>
                        <a:pt x="14481" y="6904"/>
                      </a:lnTo>
                      <a:lnTo>
                        <a:pt x="11956" y="8419"/>
                      </a:lnTo>
                      <a:close/>
                      <a:moveTo>
                        <a:pt x="5052" y="2863"/>
                      </a:moveTo>
                      <a:lnTo>
                        <a:pt x="10272" y="6736"/>
                      </a:lnTo>
                      <a:lnTo>
                        <a:pt x="11956" y="5725"/>
                      </a:lnTo>
                      <a:lnTo>
                        <a:pt x="5052" y="2863"/>
                      </a:lnTo>
                      <a:close/>
                    </a:path>
                  </a:pathLst>
                </a:custGeom>
                <a:solidFill>
                  <a:srgbClr val="FFFFFF"/>
                </a:solidFill>
                <a:ln w="16828" cap="flat">
                  <a:noFill/>
                  <a:prstDash val="solid"/>
                  <a:miter/>
                </a:ln>
              </p:spPr>
              <p:txBody>
                <a:bodyPr rtlCol="0" anchor="ctr"/>
                <a:lstStyle/>
                <a:p>
                  <a:endParaRPr lang="en-IN"/>
                </a:p>
              </p:txBody>
            </p:sp>
            <p:sp>
              <p:nvSpPr>
                <p:cNvPr id="4464" name="Freeform: Shape 4463">
                  <a:extLst>
                    <a:ext uri="{FF2B5EF4-FFF2-40B4-BE49-F238E27FC236}">
                      <a16:creationId xmlns:a16="http://schemas.microsoft.com/office/drawing/2014/main" id="{D79F9A8A-9EB7-4846-BEBA-0F079801F705}"/>
                    </a:ext>
                  </a:extLst>
                </p:cNvPr>
                <p:cNvSpPr/>
                <p:nvPr/>
              </p:nvSpPr>
              <p:spPr>
                <a:xfrm>
                  <a:off x="7806307" y="4514735"/>
                  <a:ext cx="18691" cy="10608"/>
                </a:xfrm>
                <a:custGeom>
                  <a:avLst/>
                  <a:gdLst>
                    <a:gd name="connsiteX0" fmla="*/ 17176 w 18691"/>
                    <a:gd name="connsiteY0" fmla="*/ 9767 h 10608"/>
                    <a:gd name="connsiteX1" fmla="*/ 13471 w 18691"/>
                    <a:gd name="connsiteY1" fmla="*/ 10608 h 10608"/>
                    <a:gd name="connsiteX2" fmla="*/ 9767 w 18691"/>
                    <a:gd name="connsiteY2" fmla="*/ 9767 h 10608"/>
                    <a:gd name="connsiteX3" fmla="*/ 1515 w 18691"/>
                    <a:gd name="connsiteY3" fmla="*/ 5052 h 10608"/>
                    <a:gd name="connsiteX4" fmla="*/ 0 w 18691"/>
                    <a:gd name="connsiteY4" fmla="*/ 2863 h 10608"/>
                    <a:gd name="connsiteX5" fmla="*/ 1515 w 18691"/>
                    <a:gd name="connsiteY5" fmla="*/ 842 h 10608"/>
                    <a:gd name="connsiteX6" fmla="*/ 5220 w 18691"/>
                    <a:gd name="connsiteY6" fmla="*/ 0 h 10608"/>
                    <a:gd name="connsiteX7" fmla="*/ 8925 w 18691"/>
                    <a:gd name="connsiteY7" fmla="*/ 842 h 10608"/>
                    <a:gd name="connsiteX8" fmla="*/ 10608 w 18691"/>
                    <a:gd name="connsiteY8" fmla="*/ 1852 h 10608"/>
                    <a:gd name="connsiteX9" fmla="*/ 8251 w 18691"/>
                    <a:gd name="connsiteY9" fmla="*/ 3199 h 10608"/>
                    <a:gd name="connsiteX10" fmla="*/ 6399 w 18691"/>
                    <a:gd name="connsiteY10" fmla="*/ 2189 h 10608"/>
                    <a:gd name="connsiteX11" fmla="*/ 5052 w 18691"/>
                    <a:gd name="connsiteY11" fmla="*/ 1852 h 10608"/>
                    <a:gd name="connsiteX12" fmla="*/ 3705 w 18691"/>
                    <a:gd name="connsiteY12" fmla="*/ 2189 h 10608"/>
                    <a:gd name="connsiteX13" fmla="*/ 3199 w 18691"/>
                    <a:gd name="connsiteY13" fmla="*/ 3031 h 10608"/>
                    <a:gd name="connsiteX14" fmla="*/ 3705 w 18691"/>
                    <a:gd name="connsiteY14" fmla="*/ 3873 h 10608"/>
                    <a:gd name="connsiteX15" fmla="*/ 11956 w 18691"/>
                    <a:gd name="connsiteY15" fmla="*/ 8756 h 10608"/>
                    <a:gd name="connsiteX16" fmla="*/ 13303 w 18691"/>
                    <a:gd name="connsiteY16" fmla="*/ 9093 h 10608"/>
                    <a:gd name="connsiteX17" fmla="*/ 14650 w 18691"/>
                    <a:gd name="connsiteY17" fmla="*/ 8756 h 10608"/>
                    <a:gd name="connsiteX18" fmla="*/ 15155 w 18691"/>
                    <a:gd name="connsiteY18" fmla="*/ 7914 h 10608"/>
                    <a:gd name="connsiteX19" fmla="*/ 14650 w 18691"/>
                    <a:gd name="connsiteY19" fmla="*/ 7072 h 10608"/>
                    <a:gd name="connsiteX20" fmla="*/ 12629 w 18691"/>
                    <a:gd name="connsiteY20" fmla="*/ 5894 h 10608"/>
                    <a:gd name="connsiteX21" fmla="*/ 14987 w 18691"/>
                    <a:gd name="connsiteY21" fmla="*/ 4546 h 10608"/>
                    <a:gd name="connsiteX22" fmla="*/ 17176 w 18691"/>
                    <a:gd name="connsiteY22" fmla="*/ 5725 h 10608"/>
                    <a:gd name="connsiteX23" fmla="*/ 18691 w 18691"/>
                    <a:gd name="connsiteY23" fmla="*/ 7746 h 10608"/>
                    <a:gd name="connsiteX24" fmla="*/ 17176 w 18691"/>
                    <a:gd name="connsiteY24" fmla="*/ 9767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691" h="10608">
                      <a:moveTo>
                        <a:pt x="17176" y="9767"/>
                      </a:moveTo>
                      <a:cubicBezTo>
                        <a:pt x="16165" y="10272"/>
                        <a:pt x="14987" y="10608"/>
                        <a:pt x="13471" y="10608"/>
                      </a:cubicBezTo>
                      <a:cubicBezTo>
                        <a:pt x="12124" y="10608"/>
                        <a:pt x="10777" y="10272"/>
                        <a:pt x="9767" y="9767"/>
                      </a:cubicBezTo>
                      <a:lnTo>
                        <a:pt x="1515" y="5052"/>
                      </a:lnTo>
                      <a:cubicBezTo>
                        <a:pt x="505" y="4546"/>
                        <a:pt x="0" y="3705"/>
                        <a:pt x="0" y="2863"/>
                      </a:cubicBezTo>
                      <a:cubicBezTo>
                        <a:pt x="0" y="2021"/>
                        <a:pt x="505" y="1347"/>
                        <a:pt x="1515" y="842"/>
                      </a:cubicBezTo>
                      <a:cubicBezTo>
                        <a:pt x="2526" y="337"/>
                        <a:pt x="3705" y="0"/>
                        <a:pt x="5220" y="0"/>
                      </a:cubicBezTo>
                      <a:cubicBezTo>
                        <a:pt x="6567" y="0"/>
                        <a:pt x="7914" y="337"/>
                        <a:pt x="8925" y="842"/>
                      </a:cubicBezTo>
                      <a:lnTo>
                        <a:pt x="10608" y="1852"/>
                      </a:lnTo>
                      <a:lnTo>
                        <a:pt x="8251" y="3199"/>
                      </a:lnTo>
                      <a:lnTo>
                        <a:pt x="6399" y="2189"/>
                      </a:lnTo>
                      <a:cubicBezTo>
                        <a:pt x="6062" y="2021"/>
                        <a:pt x="5557" y="1852"/>
                        <a:pt x="5052" y="1852"/>
                      </a:cubicBezTo>
                      <a:cubicBezTo>
                        <a:pt x="4546" y="1852"/>
                        <a:pt x="4041" y="2021"/>
                        <a:pt x="3705" y="2189"/>
                      </a:cubicBezTo>
                      <a:cubicBezTo>
                        <a:pt x="3368" y="2357"/>
                        <a:pt x="3199" y="2694"/>
                        <a:pt x="3199" y="3031"/>
                      </a:cubicBezTo>
                      <a:cubicBezTo>
                        <a:pt x="3199" y="3368"/>
                        <a:pt x="3368" y="3536"/>
                        <a:pt x="3705" y="3873"/>
                      </a:cubicBezTo>
                      <a:lnTo>
                        <a:pt x="11956" y="8756"/>
                      </a:lnTo>
                      <a:cubicBezTo>
                        <a:pt x="12292" y="8925"/>
                        <a:pt x="12797" y="9093"/>
                        <a:pt x="13303" y="9093"/>
                      </a:cubicBezTo>
                      <a:cubicBezTo>
                        <a:pt x="13808" y="9093"/>
                        <a:pt x="14313" y="8925"/>
                        <a:pt x="14650" y="8756"/>
                      </a:cubicBezTo>
                      <a:cubicBezTo>
                        <a:pt x="14987" y="8588"/>
                        <a:pt x="15155" y="8251"/>
                        <a:pt x="15155" y="7914"/>
                      </a:cubicBezTo>
                      <a:cubicBezTo>
                        <a:pt x="15155" y="7577"/>
                        <a:pt x="14987" y="7409"/>
                        <a:pt x="14650" y="7072"/>
                      </a:cubicBezTo>
                      <a:lnTo>
                        <a:pt x="12629" y="5894"/>
                      </a:lnTo>
                      <a:lnTo>
                        <a:pt x="14987" y="4546"/>
                      </a:lnTo>
                      <a:lnTo>
                        <a:pt x="17176" y="5725"/>
                      </a:lnTo>
                      <a:cubicBezTo>
                        <a:pt x="18186" y="6230"/>
                        <a:pt x="18691" y="7072"/>
                        <a:pt x="18691" y="7746"/>
                      </a:cubicBezTo>
                      <a:cubicBezTo>
                        <a:pt x="18691" y="8419"/>
                        <a:pt x="18186" y="9261"/>
                        <a:pt x="17176" y="9767"/>
                      </a:cubicBezTo>
                      <a:close/>
                    </a:path>
                  </a:pathLst>
                </a:custGeom>
                <a:solidFill>
                  <a:srgbClr val="FFFFFF"/>
                </a:solidFill>
                <a:ln w="16828" cap="flat">
                  <a:noFill/>
                  <a:prstDash val="solid"/>
                  <a:miter/>
                </a:ln>
              </p:spPr>
              <p:txBody>
                <a:bodyPr rtlCol="0" anchor="ctr"/>
                <a:lstStyle/>
                <a:p>
                  <a:endParaRPr lang="en-IN"/>
                </a:p>
              </p:txBody>
            </p:sp>
          </p:grpSp>
          <p:grpSp>
            <p:nvGrpSpPr>
              <p:cNvPr id="4465" name="Graphic 4202">
                <a:extLst>
                  <a:ext uri="{FF2B5EF4-FFF2-40B4-BE49-F238E27FC236}">
                    <a16:creationId xmlns:a16="http://schemas.microsoft.com/office/drawing/2014/main" id="{D8C93A7D-1944-411F-8F69-6296BBFF6FB9}"/>
                  </a:ext>
                </a:extLst>
              </p:cNvPr>
              <p:cNvGrpSpPr/>
              <p:nvPr/>
            </p:nvGrpSpPr>
            <p:grpSpPr>
              <a:xfrm>
                <a:off x="7666027" y="4437692"/>
                <a:ext cx="54483" cy="38234"/>
                <a:chOff x="7666027" y="4437692"/>
                <a:chExt cx="54483" cy="38234"/>
              </a:xfrm>
              <a:solidFill>
                <a:schemeClr val="accent1"/>
              </a:solidFill>
            </p:grpSpPr>
            <p:sp>
              <p:nvSpPr>
                <p:cNvPr id="4466" name="Freeform: Shape 4465">
                  <a:extLst>
                    <a:ext uri="{FF2B5EF4-FFF2-40B4-BE49-F238E27FC236}">
                      <a16:creationId xmlns:a16="http://schemas.microsoft.com/office/drawing/2014/main" id="{35A38886-DAFC-4493-9202-54DD8C74A259}"/>
                    </a:ext>
                  </a:extLst>
                </p:cNvPr>
                <p:cNvSpPr/>
                <p:nvPr/>
              </p:nvSpPr>
              <p:spPr>
                <a:xfrm>
                  <a:off x="7666027" y="444442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67" name="Freeform: Shape 4466">
                  <a:extLst>
                    <a:ext uri="{FF2B5EF4-FFF2-40B4-BE49-F238E27FC236}">
                      <a16:creationId xmlns:a16="http://schemas.microsoft.com/office/drawing/2014/main" id="{03D7A47B-F263-4AD0-99E3-EF6D3CC2E738}"/>
                    </a:ext>
                  </a:extLst>
                </p:cNvPr>
                <p:cNvSpPr/>
                <p:nvPr/>
              </p:nvSpPr>
              <p:spPr>
                <a:xfrm>
                  <a:off x="7666027" y="444375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68" name="Freeform: Shape 4467">
                  <a:extLst>
                    <a:ext uri="{FF2B5EF4-FFF2-40B4-BE49-F238E27FC236}">
                      <a16:creationId xmlns:a16="http://schemas.microsoft.com/office/drawing/2014/main" id="{616C1484-6E8F-4E62-BC3A-0DBD18916862}"/>
                    </a:ext>
                  </a:extLst>
                </p:cNvPr>
                <p:cNvSpPr/>
                <p:nvPr/>
              </p:nvSpPr>
              <p:spPr>
                <a:xfrm>
                  <a:off x="7666027" y="444324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69" name="Freeform: Shape 4468">
                  <a:extLst>
                    <a:ext uri="{FF2B5EF4-FFF2-40B4-BE49-F238E27FC236}">
                      <a16:creationId xmlns:a16="http://schemas.microsoft.com/office/drawing/2014/main" id="{6B12AAB1-7689-4D24-ADE2-7D20FBE33491}"/>
                    </a:ext>
                  </a:extLst>
                </p:cNvPr>
                <p:cNvSpPr/>
                <p:nvPr/>
              </p:nvSpPr>
              <p:spPr>
                <a:xfrm>
                  <a:off x="7666027" y="444257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70" name="Freeform: Shape 4469">
                  <a:extLst>
                    <a:ext uri="{FF2B5EF4-FFF2-40B4-BE49-F238E27FC236}">
                      <a16:creationId xmlns:a16="http://schemas.microsoft.com/office/drawing/2014/main" id="{995829DD-9442-4E6C-93ED-D5AEF21599D1}"/>
                    </a:ext>
                  </a:extLst>
                </p:cNvPr>
                <p:cNvSpPr/>
                <p:nvPr/>
              </p:nvSpPr>
              <p:spPr>
                <a:xfrm>
                  <a:off x="7666027" y="444190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1" name="Freeform: Shape 4470">
                  <a:extLst>
                    <a:ext uri="{FF2B5EF4-FFF2-40B4-BE49-F238E27FC236}">
                      <a16:creationId xmlns:a16="http://schemas.microsoft.com/office/drawing/2014/main" id="{0F4A2576-01BE-41BF-9BE8-DE6DF622B283}"/>
                    </a:ext>
                  </a:extLst>
                </p:cNvPr>
                <p:cNvSpPr/>
                <p:nvPr/>
              </p:nvSpPr>
              <p:spPr>
                <a:xfrm>
                  <a:off x="7666027" y="444139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72" name="Freeform: Shape 4471">
                  <a:extLst>
                    <a:ext uri="{FF2B5EF4-FFF2-40B4-BE49-F238E27FC236}">
                      <a16:creationId xmlns:a16="http://schemas.microsoft.com/office/drawing/2014/main" id="{E0B111A2-4A51-4B88-BD0D-439FB1F5BE1C}"/>
                    </a:ext>
                  </a:extLst>
                </p:cNvPr>
                <p:cNvSpPr/>
                <p:nvPr/>
              </p:nvSpPr>
              <p:spPr>
                <a:xfrm>
                  <a:off x="7666027" y="4440723"/>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3" name="Freeform: Shape 4472">
                  <a:extLst>
                    <a:ext uri="{FF2B5EF4-FFF2-40B4-BE49-F238E27FC236}">
                      <a16:creationId xmlns:a16="http://schemas.microsoft.com/office/drawing/2014/main" id="{8FCD367A-44A6-4378-9E78-451A0B273451}"/>
                    </a:ext>
                  </a:extLst>
                </p:cNvPr>
                <p:cNvSpPr/>
                <p:nvPr/>
              </p:nvSpPr>
              <p:spPr>
                <a:xfrm>
                  <a:off x="7666027" y="444021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74" name="Freeform: Shape 4473">
                  <a:extLst>
                    <a:ext uri="{FF2B5EF4-FFF2-40B4-BE49-F238E27FC236}">
                      <a16:creationId xmlns:a16="http://schemas.microsoft.com/office/drawing/2014/main" id="{C78E2B2D-0DE2-4824-B57B-B24D5972A5AA}"/>
                    </a:ext>
                  </a:extLst>
                </p:cNvPr>
                <p:cNvSpPr/>
                <p:nvPr/>
              </p:nvSpPr>
              <p:spPr>
                <a:xfrm>
                  <a:off x="7666027" y="443954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5" name="Freeform: Shape 4474">
                  <a:extLst>
                    <a:ext uri="{FF2B5EF4-FFF2-40B4-BE49-F238E27FC236}">
                      <a16:creationId xmlns:a16="http://schemas.microsoft.com/office/drawing/2014/main" id="{004C5E8B-AAF5-4DF1-8779-9D5D54DBF25E}"/>
                    </a:ext>
                  </a:extLst>
                </p:cNvPr>
                <p:cNvSpPr/>
                <p:nvPr/>
              </p:nvSpPr>
              <p:spPr>
                <a:xfrm>
                  <a:off x="7666027" y="4438870"/>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6" name="Freeform: Shape 4475">
                  <a:extLst>
                    <a:ext uri="{FF2B5EF4-FFF2-40B4-BE49-F238E27FC236}">
                      <a16:creationId xmlns:a16="http://schemas.microsoft.com/office/drawing/2014/main" id="{3EFBD158-7623-49DB-9AA2-166CC23A99CC}"/>
                    </a:ext>
                  </a:extLst>
                </p:cNvPr>
                <p:cNvSpPr/>
                <p:nvPr/>
              </p:nvSpPr>
              <p:spPr>
                <a:xfrm>
                  <a:off x="7666027" y="443836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77" name="Freeform: Shape 4476">
                  <a:extLst>
                    <a:ext uri="{FF2B5EF4-FFF2-40B4-BE49-F238E27FC236}">
                      <a16:creationId xmlns:a16="http://schemas.microsoft.com/office/drawing/2014/main" id="{B8244D0E-0341-4C6C-A0C7-F5A2685980F4}"/>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8" name="Freeform: Shape 4477">
                  <a:extLst>
                    <a:ext uri="{FF2B5EF4-FFF2-40B4-BE49-F238E27FC236}">
                      <a16:creationId xmlns:a16="http://schemas.microsoft.com/office/drawing/2014/main" id="{3A3C6BF3-22B1-4973-8D3B-3A46004389C6}"/>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064"/>
                </a:solidFill>
                <a:ln w="16828" cap="flat">
                  <a:noFill/>
                  <a:prstDash val="solid"/>
                  <a:miter/>
                </a:ln>
              </p:spPr>
              <p:txBody>
                <a:bodyPr rtlCol="0" anchor="ctr"/>
                <a:lstStyle/>
                <a:p>
                  <a:endParaRPr lang="en-IN"/>
                </a:p>
              </p:txBody>
            </p:sp>
            <p:sp>
              <p:nvSpPr>
                <p:cNvPr id="4479" name="Freeform: Shape 4478">
                  <a:extLst>
                    <a:ext uri="{FF2B5EF4-FFF2-40B4-BE49-F238E27FC236}">
                      <a16:creationId xmlns:a16="http://schemas.microsoft.com/office/drawing/2014/main" id="{0BE989BD-3090-43CF-AC98-325CD44BF1EB}"/>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168"/>
                </a:solidFill>
                <a:ln w="16828" cap="flat">
                  <a:noFill/>
                  <a:prstDash val="solid"/>
                  <a:miter/>
                </a:ln>
              </p:spPr>
              <p:txBody>
                <a:bodyPr rtlCol="0" anchor="ctr"/>
                <a:lstStyle/>
                <a:p>
                  <a:endParaRPr lang="en-IN"/>
                </a:p>
              </p:txBody>
            </p:sp>
            <p:sp>
              <p:nvSpPr>
                <p:cNvPr id="4480" name="Freeform: Shape 4479">
                  <a:extLst>
                    <a:ext uri="{FF2B5EF4-FFF2-40B4-BE49-F238E27FC236}">
                      <a16:creationId xmlns:a16="http://schemas.microsoft.com/office/drawing/2014/main" id="{6DF58DDB-759D-4ED2-850F-2B2EC5E5501F}"/>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36D"/>
                </a:solidFill>
                <a:ln w="16828" cap="flat">
                  <a:noFill/>
                  <a:prstDash val="solid"/>
                  <a:miter/>
                </a:ln>
              </p:spPr>
              <p:txBody>
                <a:bodyPr rtlCol="0" anchor="ctr"/>
                <a:lstStyle/>
                <a:p>
                  <a:endParaRPr lang="en-IN"/>
                </a:p>
              </p:txBody>
            </p:sp>
            <p:sp>
              <p:nvSpPr>
                <p:cNvPr id="4481" name="Freeform: Shape 4480">
                  <a:extLst>
                    <a:ext uri="{FF2B5EF4-FFF2-40B4-BE49-F238E27FC236}">
                      <a16:creationId xmlns:a16="http://schemas.microsoft.com/office/drawing/2014/main" id="{7C9285D2-117A-4CA0-BA88-16EBBE0CE5CC}"/>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571"/>
                </a:solidFill>
                <a:ln w="16828" cap="flat">
                  <a:noFill/>
                  <a:prstDash val="solid"/>
                  <a:miter/>
                </a:ln>
              </p:spPr>
              <p:txBody>
                <a:bodyPr rtlCol="0" anchor="ctr"/>
                <a:lstStyle/>
                <a:p>
                  <a:endParaRPr lang="en-IN"/>
                </a:p>
              </p:txBody>
            </p:sp>
            <p:sp>
              <p:nvSpPr>
                <p:cNvPr id="4482" name="Freeform: Shape 4481">
                  <a:extLst>
                    <a:ext uri="{FF2B5EF4-FFF2-40B4-BE49-F238E27FC236}">
                      <a16:creationId xmlns:a16="http://schemas.microsoft.com/office/drawing/2014/main" id="{FDF15202-81DA-4ECE-9A83-475078374210}"/>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776"/>
                </a:solidFill>
                <a:ln w="16828" cap="flat">
                  <a:noFill/>
                  <a:prstDash val="solid"/>
                  <a:miter/>
                </a:ln>
              </p:spPr>
              <p:txBody>
                <a:bodyPr rtlCol="0" anchor="ctr"/>
                <a:lstStyle/>
                <a:p>
                  <a:endParaRPr lang="en-IN"/>
                </a:p>
              </p:txBody>
            </p:sp>
            <p:sp>
              <p:nvSpPr>
                <p:cNvPr id="4483" name="Freeform: Shape 4482">
                  <a:extLst>
                    <a:ext uri="{FF2B5EF4-FFF2-40B4-BE49-F238E27FC236}">
                      <a16:creationId xmlns:a16="http://schemas.microsoft.com/office/drawing/2014/main" id="{0747A29C-F2C0-4851-A299-AAFE3AEFB022}"/>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87A"/>
                </a:solidFill>
                <a:ln w="16828" cap="flat">
                  <a:noFill/>
                  <a:prstDash val="solid"/>
                  <a:miter/>
                </a:ln>
              </p:spPr>
              <p:txBody>
                <a:bodyPr rtlCol="0" anchor="ctr"/>
                <a:lstStyle/>
                <a:p>
                  <a:endParaRPr lang="en-IN"/>
                </a:p>
              </p:txBody>
            </p:sp>
            <p:sp>
              <p:nvSpPr>
                <p:cNvPr id="4484" name="Freeform: Shape 4483">
                  <a:extLst>
                    <a:ext uri="{FF2B5EF4-FFF2-40B4-BE49-F238E27FC236}">
                      <a16:creationId xmlns:a16="http://schemas.microsoft.com/office/drawing/2014/main" id="{97B221AA-2838-45D0-BF87-2710E145A3AB}"/>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A7F"/>
                </a:solidFill>
                <a:ln w="16828" cap="flat">
                  <a:noFill/>
                  <a:prstDash val="solid"/>
                  <a:miter/>
                </a:ln>
              </p:spPr>
              <p:txBody>
                <a:bodyPr rtlCol="0" anchor="ctr"/>
                <a:lstStyle/>
                <a:p>
                  <a:endParaRPr lang="en-IN"/>
                </a:p>
              </p:txBody>
            </p:sp>
            <p:sp>
              <p:nvSpPr>
                <p:cNvPr id="4485" name="Freeform: Shape 4484">
                  <a:extLst>
                    <a:ext uri="{FF2B5EF4-FFF2-40B4-BE49-F238E27FC236}">
                      <a16:creationId xmlns:a16="http://schemas.microsoft.com/office/drawing/2014/main" id="{B1D1F082-6699-4B49-8064-D9E054EC0921}"/>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C83"/>
                </a:solidFill>
                <a:ln w="16828" cap="flat">
                  <a:noFill/>
                  <a:prstDash val="solid"/>
                  <a:miter/>
                </a:ln>
              </p:spPr>
              <p:txBody>
                <a:bodyPr rtlCol="0" anchor="ctr"/>
                <a:lstStyle/>
                <a:p>
                  <a:endParaRPr lang="en-IN"/>
                </a:p>
              </p:txBody>
            </p:sp>
            <p:sp>
              <p:nvSpPr>
                <p:cNvPr id="4486" name="Freeform: Shape 4485">
                  <a:extLst>
                    <a:ext uri="{FF2B5EF4-FFF2-40B4-BE49-F238E27FC236}">
                      <a16:creationId xmlns:a16="http://schemas.microsoft.com/office/drawing/2014/main" id="{89EC26AD-B856-4F97-B7E3-1A200BEF1777}"/>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E88"/>
                </a:solidFill>
                <a:ln w="16828" cap="flat">
                  <a:noFill/>
                  <a:prstDash val="solid"/>
                  <a:miter/>
                </a:ln>
              </p:spPr>
              <p:txBody>
                <a:bodyPr rtlCol="0" anchor="ctr"/>
                <a:lstStyle/>
                <a:p>
                  <a:endParaRPr lang="en-IN"/>
                </a:p>
              </p:txBody>
            </p:sp>
            <p:sp>
              <p:nvSpPr>
                <p:cNvPr id="4487" name="Freeform: Shape 4486">
                  <a:extLst>
                    <a:ext uri="{FF2B5EF4-FFF2-40B4-BE49-F238E27FC236}">
                      <a16:creationId xmlns:a16="http://schemas.microsoft.com/office/drawing/2014/main" id="{BC2B4366-40AD-4815-B741-D6D2212AC90A}"/>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F8C"/>
                </a:solidFill>
                <a:ln w="16828" cap="flat">
                  <a:noFill/>
                  <a:prstDash val="solid"/>
                  <a:miter/>
                </a:ln>
              </p:spPr>
              <p:txBody>
                <a:bodyPr rtlCol="0" anchor="ctr"/>
                <a:lstStyle/>
                <a:p>
                  <a:endParaRPr lang="en-IN"/>
                </a:p>
              </p:txBody>
            </p:sp>
            <p:sp>
              <p:nvSpPr>
                <p:cNvPr id="4488" name="Freeform: Shape 4487">
                  <a:extLst>
                    <a:ext uri="{FF2B5EF4-FFF2-40B4-BE49-F238E27FC236}">
                      <a16:creationId xmlns:a16="http://schemas.microsoft.com/office/drawing/2014/main" id="{5B377296-415E-4BBB-9631-27773E68342A}"/>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489" name="Graphic 4202">
                <a:extLst>
                  <a:ext uri="{FF2B5EF4-FFF2-40B4-BE49-F238E27FC236}">
                    <a16:creationId xmlns:a16="http://schemas.microsoft.com/office/drawing/2014/main" id="{D8C93A7D-1944-411F-8F69-6296BBFF6FB9}"/>
                  </a:ext>
                </a:extLst>
              </p:cNvPr>
              <p:cNvGrpSpPr/>
              <p:nvPr/>
            </p:nvGrpSpPr>
            <p:grpSpPr>
              <a:xfrm>
                <a:off x="7708292" y="4413275"/>
                <a:ext cx="54414" cy="38234"/>
                <a:chOff x="7708292" y="4413275"/>
                <a:chExt cx="54414" cy="38234"/>
              </a:xfrm>
              <a:solidFill>
                <a:schemeClr val="accent1"/>
              </a:solidFill>
            </p:grpSpPr>
            <p:grpSp>
              <p:nvGrpSpPr>
                <p:cNvPr id="4490" name="Graphic 4202">
                  <a:extLst>
                    <a:ext uri="{FF2B5EF4-FFF2-40B4-BE49-F238E27FC236}">
                      <a16:creationId xmlns:a16="http://schemas.microsoft.com/office/drawing/2014/main" id="{D8C93A7D-1944-411F-8F69-6296BBFF6FB9}"/>
                    </a:ext>
                  </a:extLst>
                </p:cNvPr>
                <p:cNvGrpSpPr/>
                <p:nvPr/>
              </p:nvGrpSpPr>
              <p:grpSpPr>
                <a:xfrm>
                  <a:off x="7708292" y="4413275"/>
                  <a:ext cx="54414" cy="38234"/>
                  <a:chOff x="7708292" y="4413275"/>
                  <a:chExt cx="54414" cy="38234"/>
                </a:xfrm>
                <a:solidFill>
                  <a:srgbClr val="3A3E5F"/>
                </a:solidFill>
              </p:grpSpPr>
              <p:sp>
                <p:nvSpPr>
                  <p:cNvPr id="4491" name="Freeform: Shape 4490">
                    <a:extLst>
                      <a:ext uri="{FF2B5EF4-FFF2-40B4-BE49-F238E27FC236}">
                        <a16:creationId xmlns:a16="http://schemas.microsoft.com/office/drawing/2014/main" id="{F0BB3CA5-8C00-4F09-97D0-7180F84C52C2}"/>
                      </a:ext>
                    </a:extLst>
                  </p:cNvPr>
                  <p:cNvSpPr/>
                  <p:nvPr/>
                </p:nvSpPr>
                <p:spPr>
                  <a:xfrm>
                    <a:off x="7708292" y="44200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2" name="Freeform: Shape 4491">
                    <a:extLst>
                      <a:ext uri="{FF2B5EF4-FFF2-40B4-BE49-F238E27FC236}">
                        <a16:creationId xmlns:a16="http://schemas.microsoft.com/office/drawing/2014/main" id="{5FF6DBDF-D370-4941-A616-F93629C0F5F8}"/>
                      </a:ext>
                    </a:extLst>
                  </p:cNvPr>
                  <p:cNvSpPr/>
                  <p:nvPr/>
                </p:nvSpPr>
                <p:spPr>
                  <a:xfrm>
                    <a:off x="7708292" y="441933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93" name="Freeform: Shape 4492">
                    <a:extLst>
                      <a:ext uri="{FF2B5EF4-FFF2-40B4-BE49-F238E27FC236}">
                        <a16:creationId xmlns:a16="http://schemas.microsoft.com/office/drawing/2014/main" id="{9C7E624C-68C9-4EC6-9807-143EAA3E8878}"/>
                      </a:ext>
                    </a:extLst>
                  </p:cNvPr>
                  <p:cNvSpPr/>
                  <p:nvPr/>
                </p:nvSpPr>
                <p:spPr>
                  <a:xfrm>
                    <a:off x="7708292" y="441883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4" name="Freeform: Shape 4493">
                    <a:extLst>
                      <a:ext uri="{FF2B5EF4-FFF2-40B4-BE49-F238E27FC236}">
                        <a16:creationId xmlns:a16="http://schemas.microsoft.com/office/drawing/2014/main" id="{E3E13DBE-1FB5-462E-8C0D-1B1AFF06B0AE}"/>
                      </a:ext>
                    </a:extLst>
                  </p:cNvPr>
                  <p:cNvSpPr/>
                  <p:nvPr/>
                </p:nvSpPr>
                <p:spPr>
                  <a:xfrm>
                    <a:off x="7708292" y="441815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95" name="Freeform: Shape 4494">
                    <a:extLst>
                      <a:ext uri="{FF2B5EF4-FFF2-40B4-BE49-F238E27FC236}">
                        <a16:creationId xmlns:a16="http://schemas.microsoft.com/office/drawing/2014/main" id="{136A4372-3034-489C-ADD9-5C6BB7FE7E2F}"/>
                      </a:ext>
                    </a:extLst>
                  </p:cNvPr>
                  <p:cNvSpPr/>
                  <p:nvPr/>
                </p:nvSpPr>
                <p:spPr>
                  <a:xfrm>
                    <a:off x="7708292" y="441765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6" name="Freeform: Shape 4495">
                    <a:extLst>
                      <a:ext uri="{FF2B5EF4-FFF2-40B4-BE49-F238E27FC236}">
                        <a16:creationId xmlns:a16="http://schemas.microsoft.com/office/drawing/2014/main" id="{B72506F0-137C-4189-8F6B-701DDDFE5CDD}"/>
                      </a:ext>
                    </a:extLst>
                  </p:cNvPr>
                  <p:cNvSpPr/>
                  <p:nvPr/>
                </p:nvSpPr>
                <p:spPr>
                  <a:xfrm>
                    <a:off x="7708292" y="441698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7" name="Freeform: Shape 4496">
                    <a:extLst>
                      <a:ext uri="{FF2B5EF4-FFF2-40B4-BE49-F238E27FC236}">
                        <a16:creationId xmlns:a16="http://schemas.microsoft.com/office/drawing/2014/main" id="{E12B87D3-53DD-4134-8019-BDB9DA9731EB}"/>
                      </a:ext>
                    </a:extLst>
                  </p:cNvPr>
                  <p:cNvSpPr/>
                  <p:nvPr/>
                </p:nvSpPr>
                <p:spPr>
                  <a:xfrm>
                    <a:off x="7708292" y="441630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98" name="Freeform: Shape 4497">
                    <a:extLst>
                      <a:ext uri="{FF2B5EF4-FFF2-40B4-BE49-F238E27FC236}">
                        <a16:creationId xmlns:a16="http://schemas.microsoft.com/office/drawing/2014/main" id="{F58F499B-589C-43BC-A687-FDE88B29E5E8}"/>
                      </a:ext>
                    </a:extLst>
                  </p:cNvPr>
                  <p:cNvSpPr/>
                  <p:nvPr/>
                </p:nvSpPr>
                <p:spPr>
                  <a:xfrm>
                    <a:off x="7708292" y="441580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9" name="Freeform: Shape 4498">
                    <a:extLst>
                      <a:ext uri="{FF2B5EF4-FFF2-40B4-BE49-F238E27FC236}">
                        <a16:creationId xmlns:a16="http://schemas.microsoft.com/office/drawing/2014/main" id="{C3A34271-D3D1-41C8-88D8-BCCF5EC7D5D1}"/>
                      </a:ext>
                    </a:extLst>
                  </p:cNvPr>
                  <p:cNvSpPr/>
                  <p:nvPr/>
                </p:nvSpPr>
                <p:spPr>
                  <a:xfrm>
                    <a:off x="7708292" y="441512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00" name="Freeform: Shape 4499">
                    <a:extLst>
                      <a:ext uri="{FF2B5EF4-FFF2-40B4-BE49-F238E27FC236}">
                        <a16:creationId xmlns:a16="http://schemas.microsoft.com/office/drawing/2014/main" id="{A4DF50EB-1F7B-467F-8EB0-C9A301BC0C27}"/>
                      </a:ext>
                    </a:extLst>
                  </p:cNvPr>
                  <p:cNvSpPr/>
                  <p:nvPr/>
                </p:nvSpPr>
                <p:spPr>
                  <a:xfrm>
                    <a:off x="7708292" y="441462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01" name="Freeform: Shape 4500">
                    <a:extLst>
                      <a:ext uri="{FF2B5EF4-FFF2-40B4-BE49-F238E27FC236}">
                        <a16:creationId xmlns:a16="http://schemas.microsoft.com/office/drawing/2014/main" id="{856E6D91-721D-42AA-BA5D-4532034D9302}"/>
                      </a:ext>
                    </a:extLst>
                  </p:cNvPr>
                  <p:cNvSpPr/>
                  <p:nvPr/>
                </p:nvSpPr>
                <p:spPr>
                  <a:xfrm>
                    <a:off x="7708292" y="441394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02" name="Freeform: Shape 4501">
                    <a:extLst>
                      <a:ext uri="{FF2B5EF4-FFF2-40B4-BE49-F238E27FC236}">
                        <a16:creationId xmlns:a16="http://schemas.microsoft.com/office/drawing/2014/main" id="{047E35A3-B491-4E07-82EC-CB32B429F3B5}"/>
                      </a:ext>
                    </a:extLst>
                  </p:cNvPr>
                  <p:cNvSpPr/>
                  <p:nvPr/>
                </p:nvSpPr>
                <p:spPr>
                  <a:xfrm>
                    <a:off x="7708292" y="441327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grpSp>
            <p:sp>
              <p:nvSpPr>
                <p:cNvPr id="4503" name="Freeform: Shape 4502">
                  <a:extLst>
                    <a:ext uri="{FF2B5EF4-FFF2-40B4-BE49-F238E27FC236}">
                      <a16:creationId xmlns:a16="http://schemas.microsoft.com/office/drawing/2014/main" id="{9F562ACB-50CB-4F0D-96B6-0C6586C99E56}"/>
                    </a:ext>
                  </a:extLst>
                </p:cNvPr>
                <p:cNvSpPr/>
                <p:nvPr/>
              </p:nvSpPr>
              <p:spPr>
                <a:xfrm>
                  <a:off x="7708292" y="441327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04" name="Graphic 4202">
                <a:extLst>
                  <a:ext uri="{FF2B5EF4-FFF2-40B4-BE49-F238E27FC236}">
                    <a16:creationId xmlns:a16="http://schemas.microsoft.com/office/drawing/2014/main" id="{D8C93A7D-1944-411F-8F69-6296BBFF6FB9}"/>
                  </a:ext>
                </a:extLst>
              </p:cNvPr>
              <p:cNvGrpSpPr/>
              <p:nvPr/>
            </p:nvGrpSpPr>
            <p:grpSpPr>
              <a:xfrm>
                <a:off x="7750558" y="4389027"/>
                <a:ext cx="54414" cy="38066"/>
                <a:chOff x="7750558" y="4389027"/>
                <a:chExt cx="54414" cy="38066"/>
              </a:xfrm>
              <a:solidFill>
                <a:schemeClr val="accent1"/>
              </a:solidFill>
            </p:grpSpPr>
            <p:grpSp>
              <p:nvGrpSpPr>
                <p:cNvPr id="4505" name="Graphic 4202">
                  <a:extLst>
                    <a:ext uri="{FF2B5EF4-FFF2-40B4-BE49-F238E27FC236}">
                      <a16:creationId xmlns:a16="http://schemas.microsoft.com/office/drawing/2014/main" id="{D8C93A7D-1944-411F-8F69-6296BBFF6FB9}"/>
                    </a:ext>
                  </a:extLst>
                </p:cNvPr>
                <p:cNvGrpSpPr/>
                <p:nvPr/>
              </p:nvGrpSpPr>
              <p:grpSpPr>
                <a:xfrm>
                  <a:off x="7750558" y="4389027"/>
                  <a:ext cx="54414" cy="38066"/>
                  <a:chOff x="7750558" y="4389027"/>
                  <a:chExt cx="54414" cy="38066"/>
                </a:xfrm>
                <a:solidFill>
                  <a:srgbClr val="3A3E5F"/>
                </a:solidFill>
              </p:grpSpPr>
              <p:sp>
                <p:nvSpPr>
                  <p:cNvPr id="4506" name="Freeform: Shape 4505">
                    <a:extLst>
                      <a:ext uri="{FF2B5EF4-FFF2-40B4-BE49-F238E27FC236}">
                        <a16:creationId xmlns:a16="http://schemas.microsoft.com/office/drawing/2014/main" id="{CC0469A7-53EB-429F-AB3D-3BCE13B50EA8}"/>
                      </a:ext>
                    </a:extLst>
                  </p:cNvPr>
                  <p:cNvSpPr/>
                  <p:nvPr/>
                </p:nvSpPr>
                <p:spPr>
                  <a:xfrm>
                    <a:off x="7750558" y="439559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07" name="Freeform: Shape 4506">
                    <a:extLst>
                      <a:ext uri="{FF2B5EF4-FFF2-40B4-BE49-F238E27FC236}">
                        <a16:creationId xmlns:a16="http://schemas.microsoft.com/office/drawing/2014/main" id="{D228F7F0-4131-405F-A58A-1A6698EE4FAE}"/>
                      </a:ext>
                    </a:extLst>
                  </p:cNvPr>
                  <p:cNvSpPr/>
                  <p:nvPr/>
                </p:nvSpPr>
                <p:spPr>
                  <a:xfrm>
                    <a:off x="7750558" y="439492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08" name="Freeform: Shape 4507">
                    <a:extLst>
                      <a:ext uri="{FF2B5EF4-FFF2-40B4-BE49-F238E27FC236}">
                        <a16:creationId xmlns:a16="http://schemas.microsoft.com/office/drawing/2014/main" id="{1D6BAEDA-D73A-4289-B985-03D239D8385E}"/>
                      </a:ext>
                    </a:extLst>
                  </p:cNvPr>
                  <p:cNvSpPr/>
                  <p:nvPr/>
                </p:nvSpPr>
                <p:spPr>
                  <a:xfrm>
                    <a:off x="7750558" y="439441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09" name="Freeform: Shape 4508">
                    <a:extLst>
                      <a:ext uri="{FF2B5EF4-FFF2-40B4-BE49-F238E27FC236}">
                        <a16:creationId xmlns:a16="http://schemas.microsoft.com/office/drawing/2014/main" id="{D37AF441-08F5-4824-98DF-E3073263A7A3}"/>
                      </a:ext>
                    </a:extLst>
                  </p:cNvPr>
                  <p:cNvSpPr/>
                  <p:nvPr/>
                </p:nvSpPr>
                <p:spPr>
                  <a:xfrm>
                    <a:off x="7750558" y="439374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0" name="Freeform: Shape 4509">
                    <a:extLst>
                      <a:ext uri="{FF2B5EF4-FFF2-40B4-BE49-F238E27FC236}">
                        <a16:creationId xmlns:a16="http://schemas.microsoft.com/office/drawing/2014/main" id="{71A4B04C-746E-4C81-B0A8-B7D8D2E24511}"/>
                      </a:ext>
                    </a:extLst>
                  </p:cNvPr>
                  <p:cNvSpPr/>
                  <p:nvPr/>
                </p:nvSpPr>
                <p:spPr>
                  <a:xfrm>
                    <a:off x="7750558" y="439323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11" name="Freeform: Shape 4510">
                    <a:extLst>
                      <a:ext uri="{FF2B5EF4-FFF2-40B4-BE49-F238E27FC236}">
                        <a16:creationId xmlns:a16="http://schemas.microsoft.com/office/drawing/2014/main" id="{3327C009-7F65-4B5A-A8AC-1D1F76832A1B}"/>
                      </a:ext>
                    </a:extLst>
                  </p:cNvPr>
                  <p:cNvSpPr/>
                  <p:nvPr/>
                </p:nvSpPr>
                <p:spPr>
                  <a:xfrm>
                    <a:off x="7750558" y="439256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2" name="Freeform: Shape 4511">
                    <a:extLst>
                      <a:ext uri="{FF2B5EF4-FFF2-40B4-BE49-F238E27FC236}">
                        <a16:creationId xmlns:a16="http://schemas.microsoft.com/office/drawing/2014/main" id="{1120B18A-1CDD-4788-B678-658A385F310B}"/>
                      </a:ext>
                    </a:extLst>
                  </p:cNvPr>
                  <p:cNvSpPr/>
                  <p:nvPr/>
                </p:nvSpPr>
                <p:spPr>
                  <a:xfrm>
                    <a:off x="7750558" y="439189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3" name="Freeform: Shape 4512">
                    <a:extLst>
                      <a:ext uri="{FF2B5EF4-FFF2-40B4-BE49-F238E27FC236}">
                        <a16:creationId xmlns:a16="http://schemas.microsoft.com/office/drawing/2014/main" id="{1A0BE699-9AC5-448F-A96C-5BE2F6C51D46}"/>
                      </a:ext>
                    </a:extLst>
                  </p:cNvPr>
                  <p:cNvSpPr/>
                  <p:nvPr/>
                </p:nvSpPr>
                <p:spPr>
                  <a:xfrm>
                    <a:off x="7750558" y="439138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14" name="Freeform: Shape 4513">
                    <a:extLst>
                      <a:ext uri="{FF2B5EF4-FFF2-40B4-BE49-F238E27FC236}">
                        <a16:creationId xmlns:a16="http://schemas.microsoft.com/office/drawing/2014/main" id="{75AEE327-3747-426A-9211-6EA9EB4F3022}"/>
                      </a:ext>
                    </a:extLst>
                  </p:cNvPr>
                  <p:cNvSpPr/>
                  <p:nvPr/>
                </p:nvSpPr>
                <p:spPr>
                  <a:xfrm>
                    <a:off x="7750558" y="43907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5" name="Freeform: Shape 4514">
                    <a:extLst>
                      <a:ext uri="{FF2B5EF4-FFF2-40B4-BE49-F238E27FC236}">
                        <a16:creationId xmlns:a16="http://schemas.microsoft.com/office/drawing/2014/main" id="{6FA84C83-0004-4744-90C1-2AE63BC7F049}"/>
                      </a:ext>
                    </a:extLst>
                  </p:cNvPr>
                  <p:cNvSpPr/>
                  <p:nvPr/>
                </p:nvSpPr>
                <p:spPr>
                  <a:xfrm>
                    <a:off x="7750558" y="439020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16" name="Freeform: Shape 4515">
                    <a:extLst>
                      <a:ext uri="{FF2B5EF4-FFF2-40B4-BE49-F238E27FC236}">
                        <a16:creationId xmlns:a16="http://schemas.microsoft.com/office/drawing/2014/main" id="{6EBE7A29-8678-43C1-98F1-AFEA1DAEA9B9}"/>
                      </a:ext>
                    </a:extLst>
                  </p:cNvPr>
                  <p:cNvSpPr/>
                  <p:nvPr/>
                </p:nvSpPr>
                <p:spPr>
                  <a:xfrm>
                    <a:off x="7750558" y="438953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7" name="Freeform: Shape 4516">
                    <a:extLst>
                      <a:ext uri="{FF2B5EF4-FFF2-40B4-BE49-F238E27FC236}">
                        <a16:creationId xmlns:a16="http://schemas.microsoft.com/office/drawing/2014/main" id="{D3CA2700-7FAD-45CA-A2B1-11A234202AB9}"/>
                      </a:ext>
                    </a:extLst>
                  </p:cNvPr>
                  <p:cNvSpPr/>
                  <p:nvPr/>
                </p:nvSpPr>
                <p:spPr>
                  <a:xfrm>
                    <a:off x="7750558" y="438902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045"/>
                          <a:pt x="54907" y="13729"/>
                          <a:pt x="53392" y="14739"/>
                        </a:cubicBezTo>
                        <a:close/>
                      </a:path>
                    </a:pathLst>
                  </a:custGeom>
                  <a:solidFill>
                    <a:srgbClr val="3A3E5F"/>
                  </a:solidFill>
                  <a:ln w="16828" cap="flat">
                    <a:noFill/>
                    <a:prstDash val="solid"/>
                    <a:miter/>
                  </a:ln>
                </p:spPr>
                <p:txBody>
                  <a:bodyPr rtlCol="0" anchor="ctr"/>
                  <a:lstStyle/>
                  <a:p>
                    <a:endParaRPr lang="en-IN"/>
                  </a:p>
                </p:txBody>
              </p:sp>
            </p:grpSp>
            <p:sp>
              <p:nvSpPr>
                <p:cNvPr id="4518" name="Freeform: Shape 4517">
                  <a:extLst>
                    <a:ext uri="{FF2B5EF4-FFF2-40B4-BE49-F238E27FC236}">
                      <a16:creationId xmlns:a16="http://schemas.microsoft.com/office/drawing/2014/main" id="{99025EF7-5E93-4BF2-AB31-BB543521E5BD}"/>
                    </a:ext>
                  </a:extLst>
                </p:cNvPr>
                <p:cNvSpPr/>
                <p:nvPr/>
              </p:nvSpPr>
              <p:spPr>
                <a:xfrm>
                  <a:off x="7750558" y="438902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045"/>
                        <a:pt x="54907"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19" name="Graphic 4202">
                <a:extLst>
                  <a:ext uri="{FF2B5EF4-FFF2-40B4-BE49-F238E27FC236}">
                    <a16:creationId xmlns:a16="http://schemas.microsoft.com/office/drawing/2014/main" id="{D8C93A7D-1944-411F-8F69-6296BBFF6FB9}"/>
                  </a:ext>
                </a:extLst>
              </p:cNvPr>
              <p:cNvGrpSpPr/>
              <p:nvPr/>
            </p:nvGrpSpPr>
            <p:grpSpPr>
              <a:xfrm>
                <a:off x="7705598" y="4460592"/>
                <a:ext cx="54539" cy="38066"/>
                <a:chOff x="7705598" y="4460592"/>
                <a:chExt cx="54539" cy="38066"/>
              </a:xfrm>
              <a:solidFill>
                <a:schemeClr val="accent1"/>
              </a:solidFill>
            </p:grpSpPr>
            <p:sp>
              <p:nvSpPr>
                <p:cNvPr id="4520" name="Freeform: Shape 4519">
                  <a:extLst>
                    <a:ext uri="{FF2B5EF4-FFF2-40B4-BE49-F238E27FC236}">
                      <a16:creationId xmlns:a16="http://schemas.microsoft.com/office/drawing/2014/main" id="{F72A5D21-125C-4292-9476-82B7A43AAACA}"/>
                    </a:ext>
                  </a:extLst>
                </p:cNvPr>
                <p:cNvSpPr/>
                <p:nvPr/>
              </p:nvSpPr>
              <p:spPr>
                <a:xfrm>
                  <a:off x="7705598" y="4467160"/>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21" name="Freeform: Shape 4520">
                  <a:extLst>
                    <a:ext uri="{FF2B5EF4-FFF2-40B4-BE49-F238E27FC236}">
                      <a16:creationId xmlns:a16="http://schemas.microsoft.com/office/drawing/2014/main" id="{5E2AB696-4687-42FF-BCFF-24152ABBF81C}"/>
                    </a:ext>
                  </a:extLst>
                </p:cNvPr>
                <p:cNvSpPr/>
                <p:nvPr/>
              </p:nvSpPr>
              <p:spPr>
                <a:xfrm>
                  <a:off x="7705598" y="4466654"/>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22" name="Freeform: Shape 4521">
                  <a:extLst>
                    <a:ext uri="{FF2B5EF4-FFF2-40B4-BE49-F238E27FC236}">
                      <a16:creationId xmlns:a16="http://schemas.microsoft.com/office/drawing/2014/main" id="{456BD291-9D79-4C96-A1CB-3CCCA92CF060}"/>
                    </a:ext>
                  </a:extLst>
                </p:cNvPr>
                <p:cNvSpPr/>
                <p:nvPr/>
              </p:nvSpPr>
              <p:spPr>
                <a:xfrm>
                  <a:off x="7705598" y="4466149"/>
                  <a:ext cx="54539" cy="31330"/>
                </a:xfrm>
                <a:custGeom>
                  <a:avLst/>
                  <a:gdLst>
                    <a:gd name="connsiteX0" fmla="*/ 53392 w 54539"/>
                    <a:gd name="connsiteY0" fmla="*/ 14571 h 31330"/>
                    <a:gd name="connsiteX1" fmla="*/ 25439 w 54539"/>
                    <a:gd name="connsiteY1" fmla="*/ 30736 h 31330"/>
                    <a:gd name="connsiteX2" fmla="*/ 19209 w 54539"/>
                    <a:gd name="connsiteY2" fmla="*/ 30399 h 31330"/>
                    <a:gd name="connsiteX3" fmla="*/ 1528 w 54539"/>
                    <a:gd name="connsiteY3" fmla="*/ 20296 h 31330"/>
                    <a:gd name="connsiteX4" fmla="*/ 1023 w 54539"/>
                    <a:gd name="connsiteY4" fmla="*/ 16760 h 31330"/>
                    <a:gd name="connsiteX5" fmla="*/ 28975 w 54539"/>
                    <a:gd name="connsiteY5" fmla="*/ 595 h 31330"/>
                    <a:gd name="connsiteX6" fmla="*/ 35206 w 54539"/>
                    <a:gd name="connsiteY6" fmla="*/ 931 h 31330"/>
                    <a:gd name="connsiteX7" fmla="*/ 52887 w 54539"/>
                    <a:gd name="connsiteY7" fmla="*/ 11203 h 31330"/>
                    <a:gd name="connsiteX8" fmla="*/ 53392 w 54539"/>
                    <a:gd name="connsiteY8" fmla="*/ 14571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330">
                      <a:moveTo>
                        <a:pt x="53392" y="14571"/>
                      </a:moveTo>
                      <a:lnTo>
                        <a:pt x="25439" y="30736"/>
                      </a:lnTo>
                      <a:cubicBezTo>
                        <a:pt x="23924" y="31578"/>
                        <a:pt x="21061" y="31578"/>
                        <a:pt x="19209" y="30399"/>
                      </a:cubicBezTo>
                      <a:lnTo>
                        <a:pt x="1528" y="20296"/>
                      </a:lnTo>
                      <a:cubicBezTo>
                        <a:pt x="-324" y="19286"/>
                        <a:pt x="-493" y="17602"/>
                        <a:pt x="1023" y="16760"/>
                      </a:cubicBezTo>
                      <a:lnTo>
                        <a:pt x="28975" y="595"/>
                      </a:lnTo>
                      <a:cubicBezTo>
                        <a:pt x="30491" y="-247"/>
                        <a:pt x="33354" y="-247"/>
                        <a:pt x="35206" y="931"/>
                      </a:cubicBezTo>
                      <a:lnTo>
                        <a:pt x="52887" y="11203"/>
                      </a:lnTo>
                      <a:cubicBezTo>
                        <a:pt x="54907" y="12045"/>
                        <a:pt x="55076" y="13729"/>
                        <a:pt x="53392" y="14571"/>
                      </a:cubicBezTo>
                      <a:close/>
                    </a:path>
                  </a:pathLst>
                </a:custGeom>
                <a:solidFill>
                  <a:srgbClr val="3A3E5F"/>
                </a:solidFill>
                <a:ln w="16828" cap="flat">
                  <a:noFill/>
                  <a:prstDash val="solid"/>
                  <a:miter/>
                </a:ln>
              </p:spPr>
              <p:txBody>
                <a:bodyPr rtlCol="0" anchor="ctr"/>
                <a:lstStyle/>
                <a:p>
                  <a:endParaRPr lang="en-IN"/>
                </a:p>
              </p:txBody>
            </p:sp>
            <p:sp>
              <p:nvSpPr>
                <p:cNvPr id="4523" name="Freeform: Shape 4522">
                  <a:extLst>
                    <a:ext uri="{FF2B5EF4-FFF2-40B4-BE49-F238E27FC236}">
                      <a16:creationId xmlns:a16="http://schemas.microsoft.com/office/drawing/2014/main" id="{F6321C5E-0941-4470-AEA9-2E34B70FECD6}"/>
                    </a:ext>
                  </a:extLst>
                </p:cNvPr>
                <p:cNvSpPr/>
                <p:nvPr/>
              </p:nvSpPr>
              <p:spPr>
                <a:xfrm>
                  <a:off x="7705598" y="446547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24" name="Freeform: Shape 4523">
                  <a:extLst>
                    <a:ext uri="{FF2B5EF4-FFF2-40B4-BE49-F238E27FC236}">
                      <a16:creationId xmlns:a16="http://schemas.microsoft.com/office/drawing/2014/main" id="{9D89808D-5D39-4AF2-AECA-B0BA07F89904}"/>
                    </a:ext>
                  </a:extLst>
                </p:cNvPr>
                <p:cNvSpPr/>
                <p:nvPr/>
              </p:nvSpPr>
              <p:spPr>
                <a:xfrm>
                  <a:off x="7705598" y="446480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25" name="Freeform: Shape 4524">
                  <a:extLst>
                    <a:ext uri="{FF2B5EF4-FFF2-40B4-BE49-F238E27FC236}">
                      <a16:creationId xmlns:a16="http://schemas.microsoft.com/office/drawing/2014/main" id="{59F7D118-FE39-4E66-9E7D-61696A6B86C4}"/>
                    </a:ext>
                  </a:extLst>
                </p:cNvPr>
                <p:cNvSpPr/>
                <p:nvPr/>
              </p:nvSpPr>
              <p:spPr>
                <a:xfrm>
                  <a:off x="7705598" y="4464129"/>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26" name="Freeform: Shape 4525">
                  <a:extLst>
                    <a:ext uri="{FF2B5EF4-FFF2-40B4-BE49-F238E27FC236}">
                      <a16:creationId xmlns:a16="http://schemas.microsoft.com/office/drawing/2014/main" id="{C47F7367-0134-456D-91D0-9DA8EC21E3DB}"/>
                    </a:ext>
                  </a:extLst>
                </p:cNvPr>
                <p:cNvSpPr/>
                <p:nvPr/>
              </p:nvSpPr>
              <p:spPr>
                <a:xfrm>
                  <a:off x="7705598" y="446362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27" name="Freeform: Shape 4526">
                  <a:extLst>
                    <a:ext uri="{FF2B5EF4-FFF2-40B4-BE49-F238E27FC236}">
                      <a16:creationId xmlns:a16="http://schemas.microsoft.com/office/drawing/2014/main" id="{BE645A30-EE2F-4793-BD70-A120602A754A}"/>
                    </a:ext>
                  </a:extLst>
                </p:cNvPr>
                <p:cNvSpPr/>
                <p:nvPr/>
              </p:nvSpPr>
              <p:spPr>
                <a:xfrm>
                  <a:off x="7705598" y="4462950"/>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28" name="Freeform: Shape 4527">
                  <a:extLst>
                    <a:ext uri="{FF2B5EF4-FFF2-40B4-BE49-F238E27FC236}">
                      <a16:creationId xmlns:a16="http://schemas.microsoft.com/office/drawing/2014/main" id="{07644180-D8B5-4C78-AAF8-C7EE565BD00F}"/>
                    </a:ext>
                  </a:extLst>
                </p:cNvPr>
                <p:cNvSpPr/>
                <p:nvPr/>
              </p:nvSpPr>
              <p:spPr>
                <a:xfrm>
                  <a:off x="7705598" y="4462445"/>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29" name="Freeform: Shape 4528">
                  <a:extLst>
                    <a:ext uri="{FF2B5EF4-FFF2-40B4-BE49-F238E27FC236}">
                      <a16:creationId xmlns:a16="http://schemas.microsoft.com/office/drawing/2014/main" id="{C413D47B-52A9-43E6-919C-DE182B82D3B8}"/>
                    </a:ext>
                  </a:extLst>
                </p:cNvPr>
                <p:cNvSpPr/>
                <p:nvPr/>
              </p:nvSpPr>
              <p:spPr>
                <a:xfrm>
                  <a:off x="7705598" y="4461771"/>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30" name="Freeform: Shape 4529">
                  <a:extLst>
                    <a:ext uri="{FF2B5EF4-FFF2-40B4-BE49-F238E27FC236}">
                      <a16:creationId xmlns:a16="http://schemas.microsoft.com/office/drawing/2014/main" id="{F06838D6-13FB-4B48-B883-CFF04257F8D6}"/>
                    </a:ext>
                  </a:extLst>
                </p:cNvPr>
                <p:cNvSpPr/>
                <p:nvPr/>
              </p:nvSpPr>
              <p:spPr>
                <a:xfrm>
                  <a:off x="7705598" y="446126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045"/>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31" name="Freeform: Shape 4530">
                  <a:extLst>
                    <a:ext uri="{FF2B5EF4-FFF2-40B4-BE49-F238E27FC236}">
                      <a16:creationId xmlns:a16="http://schemas.microsoft.com/office/drawing/2014/main" id="{F2E649D0-48C5-4B21-9C7D-21251C17751A}"/>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32" name="Freeform: Shape 4531">
                  <a:extLst>
                    <a:ext uri="{FF2B5EF4-FFF2-40B4-BE49-F238E27FC236}">
                      <a16:creationId xmlns:a16="http://schemas.microsoft.com/office/drawing/2014/main" id="{F8BE2790-CA5E-4DCE-8DF5-1315E8C0A039}"/>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064"/>
                </a:solidFill>
                <a:ln w="16828" cap="flat">
                  <a:noFill/>
                  <a:prstDash val="solid"/>
                  <a:miter/>
                </a:ln>
              </p:spPr>
              <p:txBody>
                <a:bodyPr rtlCol="0" anchor="ctr"/>
                <a:lstStyle/>
                <a:p>
                  <a:endParaRPr lang="en-IN"/>
                </a:p>
              </p:txBody>
            </p:sp>
            <p:sp>
              <p:nvSpPr>
                <p:cNvPr id="4533" name="Freeform: Shape 4532">
                  <a:extLst>
                    <a:ext uri="{FF2B5EF4-FFF2-40B4-BE49-F238E27FC236}">
                      <a16:creationId xmlns:a16="http://schemas.microsoft.com/office/drawing/2014/main" id="{F48D4CB4-98E4-47C1-B4ED-9DEB79C903E0}"/>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168"/>
                </a:solidFill>
                <a:ln w="16828" cap="flat">
                  <a:noFill/>
                  <a:prstDash val="solid"/>
                  <a:miter/>
                </a:ln>
              </p:spPr>
              <p:txBody>
                <a:bodyPr rtlCol="0" anchor="ctr"/>
                <a:lstStyle/>
                <a:p>
                  <a:endParaRPr lang="en-IN"/>
                </a:p>
              </p:txBody>
            </p:sp>
            <p:sp>
              <p:nvSpPr>
                <p:cNvPr id="4534" name="Freeform: Shape 4533">
                  <a:extLst>
                    <a:ext uri="{FF2B5EF4-FFF2-40B4-BE49-F238E27FC236}">
                      <a16:creationId xmlns:a16="http://schemas.microsoft.com/office/drawing/2014/main" id="{EE1344E6-48F7-4449-B7DD-27B27005FA10}"/>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36D"/>
                </a:solidFill>
                <a:ln w="16828" cap="flat">
                  <a:noFill/>
                  <a:prstDash val="solid"/>
                  <a:miter/>
                </a:ln>
              </p:spPr>
              <p:txBody>
                <a:bodyPr rtlCol="0" anchor="ctr"/>
                <a:lstStyle/>
                <a:p>
                  <a:endParaRPr lang="en-IN"/>
                </a:p>
              </p:txBody>
            </p:sp>
            <p:sp>
              <p:nvSpPr>
                <p:cNvPr id="4535" name="Freeform: Shape 4534">
                  <a:extLst>
                    <a:ext uri="{FF2B5EF4-FFF2-40B4-BE49-F238E27FC236}">
                      <a16:creationId xmlns:a16="http://schemas.microsoft.com/office/drawing/2014/main" id="{D897F11D-4CDF-40CA-ABAE-85C9014BC5A0}"/>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571"/>
                </a:solidFill>
                <a:ln w="16828" cap="flat">
                  <a:noFill/>
                  <a:prstDash val="solid"/>
                  <a:miter/>
                </a:ln>
              </p:spPr>
              <p:txBody>
                <a:bodyPr rtlCol="0" anchor="ctr"/>
                <a:lstStyle/>
                <a:p>
                  <a:endParaRPr lang="en-IN"/>
                </a:p>
              </p:txBody>
            </p:sp>
            <p:sp>
              <p:nvSpPr>
                <p:cNvPr id="4536" name="Freeform: Shape 4535">
                  <a:extLst>
                    <a:ext uri="{FF2B5EF4-FFF2-40B4-BE49-F238E27FC236}">
                      <a16:creationId xmlns:a16="http://schemas.microsoft.com/office/drawing/2014/main" id="{5095723F-E992-45A5-935C-F5E7BD73AE77}"/>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776"/>
                </a:solidFill>
                <a:ln w="16828" cap="flat">
                  <a:noFill/>
                  <a:prstDash val="solid"/>
                  <a:miter/>
                </a:ln>
              </p:spPr>
              <p:txBody>
                <a:bodyPr rtlCol="0" anchor="ctr"/>
                <a:lstStyle/>
                <a:p>
                  <a:endParaRPr lang="en-IN"/>
                </a:p>
              </p:txBody>
            </p:sp>
            <p:sp>
              <p:nvSpPr>
                <p:cNvPr id="4537" name="Freeform: Shape 4536">
                  <a:extLst>
                    <a:ext uri="{FF2B5EF4-FFF2-40B4-BE49-F238E27FC236}">
                      <a16:creationId xmlns:a16="http://schemas.microsoft.com/office/drawing/2014/main" id="{A5F64C64-ACCC-4CE4-A20D-8ECD5A93D1CC}"/>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87A"/>
                </a:solidFill>
                <a:ln w="16828" cap="flat">
                  <a:noFill/>
                  <a:prstDash val="solid"/>
                  <a:miter/>
                </a:ln>
              </p:spPr>
              <p:txBody>
                <a:bodyPr rtlCol="0" anchor="ctr"/>
                <a:lstStyle/>
                <a:p>
                  <a:endParaRPr lang="en-IN"/>
                </a:p>
              </p:txBody>
            </p:sp>
            <p:sp>
              <p:nvSpPr>
                <p:cNvPr id="4538" name="Freeform: Shape 4537">
                  <a:extLst>
                    <a:ext uri="{FF2B5EF4-FFF2-40B4-BE49-F238E27FC236}">
                      <a16:creationId xmlns:a16="http://schemas.microsoft.com/office/drawing/2014/main" id="{E6E6AE57-59F3-428F-BB72-E246AC206713}"/>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A7F"/>
                </a:solidFill>
                <a:ln w="16828" cap="flat">
                  <a:noFill/>
                  <a:prstDash val="solid"/>
                  <a:miter/>
                </a:ln>
              </p:spPr>
              <p:txBody>
                <a:bodyPr rtlCol="0" anchor="ctr"/>
                <a:lstStyle/>
                <a:p>
                  <a:endParaRPr lang="en-IN"/>
                </a:p>
              </p:txBody>
            </p:sp>
            <p:sp>
              <p:nvSpPr>
                <p:cNvPr id="4539" name="Freeform: Shape 4538">
                  <a:extLst>
                    <a:ext uri="{FF2B5EF4-FFF2-40B4-BE49-F238E27FC236}">
                      <a16:creationId xmlns:a16="http://schemas.microsoft.com/office/drawing/2014/main" id="{6FD6A765-FCC6-4D32-B0CA-8A533AAD8D65}"/>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C83"/>
                </a:solidFill>
                <a:ln w="16828" cap="flat">
                  <a:noFill/>
                  <a:prstDash val="solid"/>
                  <a:miter/>
                </a:ln>
              </p:spPr>
              <p:txBody>
                <a:bodyPr rtlCol="0" anchor="ctr"/>
                <a:lstStyle/>
                <a:p>
                  <a:endParaRPr lang="en-IN"/>
                </a:p>
              </p:txBody>
            </p:sp>
            <p:sp>
              <p:nvSpPr>
                <p:cNvPr id="4540" name="Freeform: Shape 4539">
                  <a:extLst>
                    <a:ext uri="{FF2B5EF4-FFF2-40B4-BE49-F238E27FC236}">
                      <a16:creationId xmlns:a16="http://schemas.microsoft.com/office/drawing/2014/main" id="{67E0159E-2F69-4F2D-890C-7C2FFC344CF4}"/>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E88"/>
                </a:solidFill>
                <a:ln w="16828" cap="flat">
                  <a:noFill/>
                  <a:prstDash val="solid"/>
                  <a:miter/>
                </a:ln>
              </p:spPr>
              <p:txBody>
                <a:bodyPr rtlCol="0" anchor="ctr"/>
                <a:lstStyle/>
                <a:p>
                  <a:endParaRPr lang="en-IN"/>
                </a:p>
              </p:txBody>
            </p:sp>
            <p:sp>
              <p:nvSpPr>
                <p:cNvPr id="4541" name="Freeform: Shape 4540">
                  <a:extLst>
                    <a:ext uri="{FF2B5EF4-FFF2-40B4-BE49-F238E27FC236}">
                      <a16:creationId xmlns:a16="http://schemas.microsoft.com/office/drawing/2014/main" id="{C50A7BBF-DB68-4B68-851C-BBBB9423F772}"/>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F8C"/>
                </a:solidFill>
                <a:ln w="16828" cap="flat">
                  <a:noFill/>
                  <a:prstDash val="solid"/>
                  <a:miter/>
                </a:ln>
              </p:spPr>
              <p:txBody>
                <a:bodyPr rtlCol="0" anchor="ctr"/>
                <a:lstStyle/>
                <a:p>
                  <a:endParaRPr lang="en-IN"/>
                </a:p>
              </p:txBody>
            </p:sp>
            <p:sp>
              <p:nvSpPr>
                <p:cNvPr id="4542" name="Freeform: Shape 4541">
                  <a:extLst>
                    <a:ext uri="{FF2B5EF4-FFF2-40B4-BE49-F238E27FC236}">
                      <a16:creationId xmlns:a16="http://schemas.microsoft.com/office/drawing/2014/main" id="{29799E7A-D7EC-490D-AC0C-6A38C77C4440}"/>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43" name="Graphic 4202">
                <a:extLst>
                  <a:ext uri="{FF2B5EF4-FFF2-40B4-BE49-F238E27FC236}">
                    <a16:creationId xmlns:a16="http://schemas.microsoft.com/office/drawing/2014/main" id="{D8C93A7D-1944-411F-8F69-6296BBFF6FB9}"/>
                  </a:ext>
                </a:extLst>
              </p:cNvPr>
              <p:cNvGrpSpPr/>
              <p:nvPr/>
            </p:nvGrpSpPr>
            <p:grpSpPr>
              <a:xfrm>
                <a:off x="7747864" y="4436176"/>
                <a:ext cx="54483" cy="38234"/>
                <a:chOff x="7747864" y="4436176"/>
                <a:chExt cx="54483" cy="38234"/>
              </a:xfrm>
              <a:solidFill>
                <a:schemeClr val="accent1"/>
              </a:solidFill>
            </p:grpSpPr>
            <p:sp>
              <p:nvSpPr>
                <p:cNvPr id="4544" name="Freeform: Shape 4543">
                  <a:extLst>
                    <a:ext uri="{FF2B5EF4-FFF2-40B4-BE49-F238E27FC236}">
                      <a16:creationId xmlns:a16="http://schemas.microsoft.com/office/drawing/2014/main" id="{EA2E51EF-D362-4275-9C39-98F0FF39BBF2}"/>
                    </a:ext>
                  </a:extLst>
                </p:cNvPr>
                <p:cNvSpPr/>
                <p:nvPr/>
              </p:nvSpPr>
              <p:spPr>
                <a:xfrm>
                  <a:off x="7747864" y="444291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45" name="Freeform: Shape 4544">
                  <a:extLst>
                    <a:ext uri="{FF2B5EF4-FFF2-40B4-BE49-F238E27FC236}">
                      <a16:creationId xmlns:a16="http://schemas.microsoft.com/office/drawing/2014/main" id="{66008ADB-6015-4A5F-97D7-9EDF9B9E04C6}"/>
                    </a:ext>
                  </a:extLst>
                </p:cNvPr>
                <p:cNvSpPr/>
                <p:nvPr/>
              </p:nvSpPr>
              <p:spPr>
                <a:xfrm>
                  <a:off x="7747864" y="444223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46" name="Freeform: Shape 4545">
                  <a:extLst>
                    <a:ext uri="{FF2B5EF4-FFF2-40B4-BE49-F238E27FC236}">
                      <a16:creationId xmlns:a16="http://schemas.microsoft.com/office/drawing/2014/main" id="{B7181695-09C6-4E6A-9D8E-A287A6283054}"/>
                    </a:ext>
                  </a:extLst>
                </p:cNvPr>
                <p:cNvSpPr/>
                <p:nvPr/>
              </p:nvSpPr>
              <p:spPr>
                <a:xfrm>
                  <a:off x="7747864" y="444156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47" name="Freeform: Shape 4546">
                  <a:extLst>
                    <a:ext uri="{FF2B5EF4-FFF2-40B4-BE49-F238E27FC236}">
                      <a16:creationId xmlns:a16="http://schemas.microsoft.com/office/drawing/2014/main" id="{B0157E14-D249-4C9C-82BE-BDCE16B3EEE1}"/>
                    </a:ext>
                  </a:extLst>
                </p:cNvPr>
                <p:cNvSpPr/>
                <p:nvPr/>
              </p:nvSpPr>
              <p:spPr>
                <a:xfrm>
                  <a:off x="7747864" y="44410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48" name="Freeform: Shape 4547">
                  <a:extLst>
                    <a:ext uri="{FF2B5EF4-FFF2-40B4-BE49-F238E27FC236}">
                      <a16:creationId xmlns:a16="http://schemas.microsoft.com/office/drawing/2014/main" id="{FA4BA129-20BD-4203-AD10-1B307266B2AB}"/>
                    </a:ext>
                  </a:extLst>
                </p:cNvPr>
                <p:cNvSpPr/>
                <p:nvPr/>
              </p:nvSpPr>
              <p:spPr>
                <a:xfrm>
                  <a:off x="7747864" y="444038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49" name="Freeform: Shape 4548">
                  <a:extLst>
                    <a:ext uri="{FF2B5EF4-FFF2-40B4-BE49-F238E27FC236}">
                      <a16:creationId xmlns:a16="http://schemas.microsoft.com/office/drawing/2014/main" id="{3E0F912F-6B18-4E25-9F8A-8B9164FB956C}"/>
                    </a:ext>
                  </a:extLst>
                </p:cNvPr>
                <p:cNvSpPr/>
                <p:nvPr/>
              </p:nvSpPr>
              <p:spPr>
                <a:xfrm>
                  <a:off x="7747864" y="443988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50" name="Freeform: Shape 4549">
                  <a:extLst>
                    <a:ext uri="{FF2B5EF4-FFF2-40B4-BE49-F238E27FC236}">
                      <a16:creationId xmlns:a16="http://schemas.microsoft.com/office/drawing/2014/main" id="{A6B4EEA9-F086-45A6-9F27-7A6D34DEA472}"/>
                    </a:ext>
                  </a:extLst>
                </p:cNvPr>
                <p:cNvSpPr/>
                <p:nvPr/>
              </p:nvSpPr>
              <p:spPr>
                <a:xfrm>
                  <a:off x="7747864" y="443920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51" name="Freeform: Shape 4550">
                  <a:extLst>
                    <a:ext uri="{FF2B5EF4-FFF2-40B4-BE49-F238E27FC236}">
                      <a16:creationId xmlns:a16="http://schemas.microsoft.com/office/drawing/2014/main" id="{54A13497-B94B-4408-B6C1-B720F22E82E8}"/>
                    </a:ext>
                  </a:extLst>
                </p:cNvPr>
                <p:cNvSpPr/>
                <p:nvPr/>
              </p:nvSpPr>
              <p:spPr>
                <a:xfrm>
                  <a:off x="7747864" y="443853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52" name="Freeform: Shape 4551">
                  <a:extLst>
                    <a:ext uri="{FF2B5EF4-FFF2-40B4-BE49-F238E27FC236}">
                      <a16:creationId xmlns:a16="http://schemas.microsoft.com/office/drawing/2014/main" id="{0F135531-2B49-4260-B337-646A59332DD7}"/>
                    </a:ext>
                  </a:extLst>
                </p:cNvPr>
                <p:cNvSpPr/>
                <p:nvPr/>
              </p:nvSpPr>
              <p:spPr>
                <a:xfrm>
                  <a:off x="7747864" y="443802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53" name="Freeform: Shape 4552">
                  <a:extLst>
                    <a:ext uri="{FF2B5EF4-FFF2-40B4-BE49-F238E27FC236}">
                      <a16:creationId xmlns:a16="http://schemas.microsoft.com/office/drawing/2014/main" id="{08C9840A-86FA-4D32-A1A0-8C4533445905}"/>
                    </a:ext>
                  </a:extLst>
                </p:cNvPr>
                <p:cNvSpPr/>
                <p:nvPr/>
              </p:nvSpPr>
              <p:spPr>
                <a:xfrm>
                  <a:off x="7747864" y="443735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54" name="Freeform: Shape 4553">
                  <a:extLst>
                    <a:ext uri="{FF2B5EF4-FFF2-40B4-BE49-F238E27FC236}">
                      <a16:creationId xmlns:a16="http://schemas.microsoft.com/office/drawing/2014/main" id="{87EE8F20-778C-47E2-ABCF-AEE043640197}"/>
                    </a:ext>
                  </a:extLst>
                </p:cNvPr>
                <p:cNvSpPr/>
                <p:nvPr/>
              </p:nvSpPr>
              <p:spPr>
                <a:xfrm>
                  <a:off x="7747864" y="4436850"/>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55" name="Freeform: Shape 4554">
                  <a:extLst>
                    <a:ext uri="{FF2B5EF4-FFF2-40B4-BE49-F238E27FC236}">
                      <a16:creationId xmlns:a16="http://schemas.microsoft.com/office/drawing/2014/main" id="{CC206B03-57C0-43B2-8794-408BB77AE1AC}"/>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56" name="Freeform: Shape 4555">
                  <a:extLst>
                    <a:ext uri="{FF2B5EF4-FFF2-40B4-BE49-F238E27FC236}">
                      <a16:creationId xmlns:a16="http://schemas.microsoft.com/office/drawing/2014/main" id="{14DEA5C9-2C47-4D3A-8E7C-107EE7CA6968}"/>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064"/>
                </a:solidFill>
                <a:ln w="16828" cap="flat">
                  <a:noFill/>
                  <a:prstDash val="solid"/>
                  <a:miter/>
                </a:ln>
              </p:spPr>
              <p:txBody>
                <a:bodyPr rtlCol="0" anchor="ctr"/>
                <a:lstStyle/>
                <a:p>
                  <a:endParaRPr lang="en-IN"/>
                </a:p>
              </p:txBody>
            </p:sp>
            <p:sp>
              <p:nvSpPr>
                <p:cNvPr id="4557" name="Freeform: Shape 4556">
                  <a:extLst>
                    <a:ext uri="{FF2B5EF4-FFF2-40B4-BE49-F238E27FC236}">
                      <a16:creationId xmlns:a16="http://schemas.microsoft.com/office/drawing/2014/main" id="{C401DA82-F17F-4CA5-A55D-6487D1952AD6}"/>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168"/>
                </a:solidFill>
                <a:ln w="16828" cap="flat">
                  <a:noFill/>
                  <a:prstDash val="solid"/>
                  <a:miter/>
                </a:ln>
              </p:spPr>
              <p:txBody>
                <a:bodyPr rtlCol="0" anchor="ctr"/>
                <a:lstStyle/>
                <a:p>
                  <a:endParaRPr lang="en-IN"/>
                </a:p>
              </p:txBody>
            </p:sp>
            <p:sp>
              <p:nvSpPr>
                <p:cNvPr id="4558" name="Freeform: Shape 4557">
                  <a:extLst>
                    <a:ext uri="{FF2B5EF4-FFF2-40B4-BE49-F238E27FC236}">
                      <a16:creationId xmlns:a16="http://schemas.microsoft.com/office/drawing/2014/main" id="{97803E9E-87EA-4E65-A749-F1F97B564DF5}"/>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36D"/>
                </a:solidFill>
                <a:ln w="16828" cap="flat">
                  <a:noFill/>
                  <a:prstDash val="solid"/>
                  <a:miter/>
                </a:ln>
              </p:spPr>
              <p:txBody>
                <a:bodyPr rtlCol="0" anchor="ctr"/>
                <a:lstStyle/>
                <a:p>
                  <a:endParaRPr lang="en-IN"/>
                </a:p>
              </p:txBody>
            </p:sp>
            <p:sp>
              <p:nvSpPr>
                <p:cNvPr id="4559" name="Freeform: Shape 4558">
                  <a:extLst>
                    <a:ext uri="{FF2B5EF4-FFF2-40B4-BE49-F238E27FC236}">
                      <a16:creationId xmlns:a16="http://schemas.microsoft.com/office/drawing/2014/main" id="{504AD44F-87FE-47ED-B725-B35610859846}"/>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571"/>
                </a:solidFill>
                <a:ln w="16828" cap="flat">
                  <a:noFill/>
                  <a:prstDash val="solid"/>
                  <a:miter/>
                </a:ln>
              </p:spPr>
              <p:txBody>
                <a:bodyPr rtlCol="0" anchor="ctr"/>
                <a:lstStyle/>
                <a:p>
                  <a:endParaRPr lang="en-IN"/>
                </a:p>
              </p:txBody>
            </p:sp>
            <p:sp>
              <p:nvSpPr>
                <p:cNvPr id="4560" name="Freeform: Shape 4559">
                  <a:extLst>
                    <a:ext uri="{FF2B5EF4-FFF2-40B4-BE49-F238E27FC236}">
                      <a16:creationId xmlns:a16="http://schemas.microsoft.com/office/drawing/2014/main" id="{360F9181-CD42-4679-824F-92FD97BD959C}"/>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776"/>
                </a:solidFill>
                <a:ln w="16828" cap="flat">
                  <a:noFill/>
                  <a:prstDash val="solid"/>
                  <a:miter/>
                </a:ln>
              </p:spPr>
              <p:txBody>
                <a:bodyPr rtlCol="0" anchor="ctr"/>
                <a:lstStyle/>
                <a:p>
                  <a:endParaRPr lang="en-IN"/>
                </a:p>
              </p:txBody>
            </p:sp>
            <p:sp>
              <p:nvSpPr>
                <p:cNvPr id="4561" name="Freeform: Shape 4560">
                  <a:extLst>
                    <a:ext uri="{FF2B5EF4-FFF2-40B4-BE49-F238E27FC236}">
                      <a16:creationId xmlns:a16="http://schemas.microsoft.com/office/drawing/2014/main" id="{A3D1104C-D2B0-4092-9402-9BF9B6E5C9EA}"/>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87A"/>
                </a:solidFill>
                <a:ln w="16828" cap="flat">
                  <a:noFill/>
                  <a:prstDash val="solid"/>
                  <a:miter/>
                </a:ln>
              </p:spPr>
              <p:txBody>
                <a:bodyPr rtlCol="0" anchor="ctr"/>
                <a:lstStyle/>
                <a:p>
                  <a:endParaRPr lang="en-IN"/>
                </a:p>
              </p:txBody>
            </p:sp>
            <p:sp>
              <p:nvSpPr>
                <p:cNvPr id="4562" name="Freeform: Shape 4561">
                  <a:extLst>
                    <a:ext uri="{FF2B5EF4-FFF2-40B4-BE49-F238E27FC236}">
                      <a16:creationId xmlns:a16="http://schemas.microsoft.com/office/drawing/2014/main" id="{AEA3D2B6-50BF-45D0-8329-6F62B5D18F92}"/>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A7F"/>
                </a:solidFill>
                <a:ln w="16828" cap="flat">
                  <a:noFill/>
                  <a:prstDash val="solid"/>
                  <a:miter/>
                </a:ln>
              </p:spPr>
              <p:txBody>
                <a:bodyPr rtlCol="0" anchor="ctr"/>
                <a:lstStyle/>
                <a:p>
                  <a:endParaRPr lang="en-IN"/>
                </a:p>
              </p:txBody>
            </p:sp>
            <p:sp>
              <p:nvSpPr>
                <p:cNvPr id="4563" name="Freeform: Shape 4562">
                  <a:extLst>
                    <a:ext uri="{FF2B5EF4-FFF2-40B4-BE49-F238E27FC236}">
                      <a16:creationId xmlns:a16="http://schemas.microsoft.com/office/drawing/2014/main" id="{2D418F8B-AC12-4041-9D29-4C5E5FC01B98}"/>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C83"/>
                </a:solidFill>
                <a:ln w="16828" cap="flat">
                  <a:noFill/>
                  <a:prstDash val="solid"/>
                  <a:miter/>
                </a:ln>
              </p:spPr>
              <p:txBody>
                <a:bodyPr rtlCol="0" anchor="ctr"/>
                <a:lstStyle/>
                <a:p>
                  <a:endParaRPr lang="en-IN"/>
                </a:p>
              </p:txBody>
            </p:sp>
            <p:sp>
              <p:nvSpPr>
                <p:cNvPr id="4564" name="Freeform: Shape 4563">
                  <a:extLst>
                    <a:ext uri="{FF2B5EF4-FFF2-40B4-BE49-F238E27FC236}">
                      <a16:creationId xmlns:a16="http://schemas.microsoft.com/office/drawing/2014/main" id="{F2784322-EF3B-41AF-BB50-6130B5F86B25}"/>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E88"/>
                </a:solidFill>
                <a:ln w="16828" cap="flat">
                  <a:noFill/>
                  <a:prstDash val="solid"/>
                  <a:miter/>
                </a:ln>
              </p:spPr>
              <p:txBody>
                <a:bodyPr rtlCol="0" anchor="ctr"/>
                <a:lstStyle/>
                <a:p>
                  <a:endParaRPr lang="en-IN"/>
                </a:p>
              </p:txBody>
            </p:sp>
            <p:sp>
              <p:nvSpPr>
                <p:cNvPr id="4565" name="Freeform: Shape 4564">
                  <a:extLst>
                    <a:ext uri="{FF2B5EF4-FFF2-40B4-BE49-F238E27FC236}">
                      <a16:creationId xmlns:a16="http://schemas.microsoft.com/office/drawing/2014/main" id="{501B9F6C-AFC7-4EBB-BB0D-06EBC307F1D5}"/>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F8C"/>
                </a:solidFill>
                <a:ln w="16828" cap="flat">
                  <a:noFill/>
                  <a:prstDash val="solid"/>
                  <a:miter/>
                </a:ln>
              </p:spPr>
              <p:txBody>
                <a:bodyPr rtlCol="0" anchor="ctr"/>
                <a:lstStyle/>
                <a:p>
                  <a:endParaRPr lang="en-IN"/>
                </a:p>
              </p:txBody>
            </p:sp>
            <p:sp>
              <p:nvSpPr>
                <p:cNvPr id="4566" name="Freeform: Shape 4565">
                  <a:extLst>
                    <a:ext uri="{FF2B5EF4-FFF2-40B4-BE49-F238E27FC236}">
                      <a16:creationId xmlns:a16="http://schemas.microsoft.com/office/drawing/2014/main" id="{20011AE4-DE03-4E80-AC69-2FB7EB2C36CC}"/>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67" name="Graphic 4202">
                <a:extLst>
                  <a:ext uri="{FF2B5EF4-FFF2-40B4-BE49-F238E27FC236}">
                    <a16:creationId xmlns:a16="http://schemas.microsoft.com/office/drawing/2014/main" id="{D8C93A7D-1944-411F-8F69-6296BBFF6FB9}"/>
                  </a:ext>
                </a:extLst>
              </p:cNvPr>
              <p:cNvGrpSpPr/>
              <p:nvPr/>
            </p:nvGrpSpPr>
            <p:grpSpPr>
              <a:xfrm>
                <a:off x="7790129" y="4411760"/>
                <a:ext cx="54414" cy="38234"/>
                <a:chOff x="7790129" y="4411760"/>
                <a:chExt cx="54414" cy="38234"/>
              </a:xfrm>
              <a:solidFill>
                <a:schemeClr val="accent1"/>
              </a:solidFill>
            </p:grpSpPr>
            <p:grpSp>
              <p:nvGrpSpPr>
                <p:cNvPr id="4568" name="Graphic 4202">
                  <a:extLst>
                    <a:ext uri="{FF2B5EF4-FFF2-40B4-BE49-F238E27FC236}">
                      <a16:creationId xmlns:a16="http://schemas.microsoft.com/office/drawing/2014/main" id="{D8C93A7D-1944-411F-8F69-6296BBFF6FB9}"/>
                    </a:ext>
                  </a:extLst>
                </p:cNvPr>
                <p:cNvGrpSpPr/>
                <p:nvPr/>
              </p:nvGrpSpPr>
              <p:grpSpPr>
                <a:xfrm>
                  <a:off x="7790129" y="4411760"/>
                  <a:ext cx="54414" cy="38234"/>
                  <a:chOff x="7790129" y="4411760"/>
                  <a:chExt cx="54414" cy="38234"/>
                </a:xfrm>
                <a:solidFill>
                  <a:srgbClr val="3A3E5F"/>
                </a:solidFill>
              </p:grpSpPr>
              <p:sp>
                <p:nvSpPr>
                  <p:cNvPr id="4569" name="Freeform: Shape 4568">
                    <a:extLst>
                      <a:ext uri="{FF2B5EF4-FFF2-40B4-BE49-F238E27FC236}">
                        <a16:creationId xmlns:a16="http://schemas.microsoft.com/office/drawing/2014/main" id="{A158BFA9-C187-43A8-A914-6D73F9CFF444}"/>
                      </a:ext>
                    </a:extLst>
                  </p:cNvPr>
                  <p:cNvSpPr/>
                  <p:nvPr/>
                </p:nvSpPr>
                <p:spPr>
                  <a:xfrm>
                    <a:off x="7790129" y="441849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0" name="Freeform: Shape 4569">
                    <a:extLst>
                      <a:ext uri="{FF2B5EF4-FFF2-40B4-BE49-F238E27FC236}">
                        <a16:creationId xmlns:a16="http://schemas.microsoft.com/office/drawing/2014/main" id="{05F82570-66D7-43B7-8B37-446FC1A367F7}"/>
                      </a:ext>
                    </a:extLst>
                  </p:cNvPr>
                  <p:cNvSpPr/>
                  <p:nvPr/>
                </p:nvSpPr>
                <p:spPr>
                  <a:xfrm>
                    <a:off x="7790129" y="441782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1" name="Freeform: Shape 4570">
                    <a:extLst>
                      <a:ext uri="{FF2B5EF4-FFF2-40B4-BE49-F238E27FC236}">
                        <a16:creationId xmlns:a16="http://schemas.microsoft.com/office/drawing/2014/main" id="{AC845ABC-52C8-4653-AA15-0C14CBB63A25}"/>
                      </a:ext>
                    </a:extLst>
                  </p:cNvPr>
                  <p:cNvSpPr/>
                  <p:nvPr/>
                </p:nvSpPr>
                <p:spPr>
                  <a:xfrm>
                    <a:off x="7790129" y="441714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2" name="Freeform: Shape 4571">
                    <a:extLst>
                      <a:ext uri="{FF2B5EF4-FFF2-40B4-BE49-F238E27FC236}">
                        <a16:creationId xmlns:a16="http://schemas.microsoft.com/office/drawing/2014/main" id="{6319C3B7-A53A-4BDA-ADED-61CEEC9FE802}"/>
                      </a:ext>
                    </a:extLst>
                  </p:cNvPr>
                  <p:cNvSpPr/>
                  <p:nvPr/>
                </p:nvSpPr>
                <p:spPr>
                  <a:xfrm>
                    <a:off x="7790129" y="44166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3" name="Freeform: Shape 4572">
                    <a:extLst>
                      <a:ext uri="{FF2B5EF4-FFF2-40B4-BE49-F238E27FC236}">
                        <a16:creationId xmlns:a16="http://schemas.microsoft.com/office/drawing/2014/main" id="{C78B153E-4A83-4241-B9C5-D5F82C239A6A}"/>
                      </a:ext>
                    </a:extLst>
                  </p:cNvPr>
                  <p:cNvSpPr/>
                  <p:nvPr/>
                </p:nvSpPr>
                <p:spPr>
                  <a:xfrm>
                    <a:off x="7790129" y="441596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4" name="Freeform: Shape 4573">
                    <a:extLst>
                      <a:ext uri="{FF2B5EF4-FFF2-40B4-BE49-F238E27FC236}">
                        <a16:creationId xmlns:a16="http://schemas.microsoft.com/office/drawing/2014/main" id="{F0F3FD1D-463D-411B-850B-ADD39DB8A1CB}"/>
                      </a:ext>
                    </a:extLst>
                  </p:cNvPr>
                  <p:cNvSpPr/>
                  <p:nvPr/>
                </p:nvSpPr>
                <p:spPr>
                  <a:xfrm>
                    <a:off x="7790129" y="441546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5" name="Freeform: Shape 4574">
                    <a:extLst>
                      <a:ext uri="{FF2B5EF4-FFF2-40B4-BE49-F238E27FC236}">
                        <a16:creationId xmlns:a16="http://schemas.microsoft.com/office/drawing/2014/main" id="{34470FD0-F729-4034-92B7-4777C68B018F}"/>
                      </a:ext>
                    </a:extLst>
                  </p:cNvPr>
                  <p:cNvSpPr/>
                  <p:nvPr/>
                </p:nvSpPr>
                <p:spPr>
                  <a:xfrm>
                    <a:off x="7790129" y="441479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6" name="Freeform: Shape 4575">
                    <a:extLst>
                      <a:ext uri="{FF2B5EF4-FFF2-40B4-BE49-F238E27FC236}">
                        <a16:creationId xmlns:a16="http://schemas.microsoft.com/office/drawing/2014/main" id="{F16534BF-6052-4134-BA65-1308AD1C2A31}"/>
                      </a:ext>
                    </a:extLst>
                  </p:cNvPr>
                  <p:cNvSpPr/>
                  <p:nvPr/>
                </p:nvSpPr>
                <p:spPr>
                  <a:xfrm>
                    <a:off x="7790129" y="441428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7" name="Freeform: Shape 4576">
                    <a:extLst>
                      <a:ext uri="{FF2B5EF4-FFF2-40B4-BE49-F238E27FC236}">
                        <a16:creationId xmlns:a16="http://schemas.microsoft.com/office/drawing/2014/main" id="{0FDC8ADF-9927-42D3-B9B4-90CA303AFA59}"/>
                      </a:ext>
                    </a:extLst>
                  </p:cNvPr>
                  <p:cNvSpPr/>
                  <p:nvPr/>
                </p:nvSpPr>
                <p:spPr>
                  <a:xfrm>
                    <a:off x="7790129" y="441361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8" name="Freeform: Shape 4577">
                    <a:extLst>
                      <a:ext uri="{FF2B5EF4-FFF2-40B4-BE49-F238E27FC236}">
                        <a16:creationId xmlns:a16="http://schemas.microsoft.com/office/drawing/2014/main" id="{357C50C7-8284-4F45-B05B-92421E77F562}"/>
                      </a:ext>
                    </a:extLst>
                  </p:cNvPr>
                  <p:cNvSpPr/>
                  <p:nvPr/>
                </p:nvSpPr>
                <p:spPr>
                  <a:xfrm>
                    <a:off x="7790129" y="441293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9" name="Freeform: Shape 4578">
                    <a:extLst>
                      <a:ext uri="{FF2B5EF4-FFF2-40B4-BE49-F238E27FC236}">
                        <a16:creationId xmlns:a16="http://schemas.microsoft.com/office/drawing/2014/main" id="{F676EB52-8B41-451C-88C0-838477CE7A49}"/>
                      </a:ext>
                    </a:extLst>
                  </p:cNvPr>
                  <p:cNvSpPr/>
                  <p:nvPr/>
                </p:nvSpPr>
                <p:spPr>
                  <a:xfrm>
                    <a:off x="7790129" y="441243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80" name="Freeform: Shape 4579">
                    <a:extLst>
                      <a:ext uri="{FF2B5EF4-FFF2-40B4-BE49-F238E27FC236}">
                        <a16:creationId xmlns:a16="http://schemas.microsoft.com/office/drawing/2014/main" id="{C706109B-8209-4BC4-AE7B-9B5D0932B9D8}"/>
                      </a:ext>
                    </a:extLst>
                  </p:cNvPr>
                  <p:cNvSpPr/>
                  <p:nvPr/>
                </p:nvSpPr>
                <p:spPr>
                  <a:xfrm>
                    <a:off x="7790129" y="441176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grpSp>
            <p:sp>
              <p:nvSpPr>
                <p:cNvPr id="4581" name="Freeform: Shape 4580">
                  <a:extLst>
                    <a:ext uri="{FF2B5EF4-FFF2-40B4-BE49-F238E27FC236}">
                      <a16:creationId xmlns:a16="http://schemas.microsoft.com/office/drawing/2014/main" id="{55FFDADB-5F03-4C1D-AAB1-8346C98F22DA}"/>
                    </a:ext>
                  </a:extLst>
                </p:cNvPr>
                <p:cNvSpPr/>
                <p:nvPr/>
              </p:nvSpPr>
              <p:spPr>
                <a:xfrm>
                  <a:off x="7790129" y="441176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82" name="Graphic 4202">
                <a:extLst>
                  <a:ext uri="{FF2B5EF4-FFF2-40B4-BE49-F238E27FC236}">
                    <a16:creationId xmlns:a16="http://schemas.microsoft.com/office/drawing/2014/main" id="{D8C93A7D-1944-411F-8F69-6296BBFF6FB9}"/>
                  </a:ext>
                </a:extLst>
              </p:cNvPr>
              <p:cNvGrpSpPr/>
              <p:nvPr/>
            </p:nvGrpSpPr>
            <p:grpSpPr>
              <a:xfrm>
                <a:off x="7745170" y="4483493"/>
                <a:ext cx="54556" cy="38066"/>
                <a:chOff x="7745170" y="4483493"/>
                <a:chExt cx="54556" cy="38066"/>
              </a:xfrm>
              <a:solidFill>
                <a:schemeClr val="accent1"/>
              </a:solidFill>
            </p:grpSpPr>
            <p:grpSp>
              <p:nvGrpSpPr>
                <p:cNvPr id="4583" name="Graphic 4202">
                  <a:extLst>
                    <a:ext uri="{FF2B5EF4-FFF2-40B4-BE49-F238E27FC236}">
                      <a16:creationId xmlns:a16="http://schemas.microsoft.com/office/drawing/2014/main" id="{D8C93A7D-1944-411F-8F69-6296BBFF6FB9}"/>
                    </a:ext>
                  </a:extLst>
                </p:cNvPr>
                <p:cNvGrpSpPr/>
                <p:nvPr/>
              </p:nvGrpSpPr>
              <p:grpSpPr>
                <a:xfrm>
                  <a:off x="7745170" y="4483493"/>
                  <a:ext cx="54556" cy="38066"/>
                  <a:chOff x="7745170" y="4483493"/>
                  <a:chExt cx="54556" cy="38066"/>
                </a:xfrm>
                <a:solidFill>
                  <a:srgbClr val="3A3E5F"/>
                </a:solidFill>
              </p:grpSpPr>
              <p:sp>
                <p:nvSpPr>
                  <p:cNvPr id="4584" name="Freeform: Shape 4583">
                    <a:extLst>
                      <a:ext uri="{FF2B5EF4-FFF2-40B4-BE49-F238E27FC236}">
                        <a16:creationId xmlns:a16="http://schemas.microsoft.com/office/drawing/2014/main" id="{2C32B0FF-CDD2-40B3-9D8A-E0F4E19D2FD5}"/>
                      </a:ext>
                    </a:extLst>
                  </p:cNvPr>
                  <p:cNvSpPr/>
                  <p:nvPr/>
                </p:nvSpPr>
                <p:spPr>
                  <a:xfrm>
                    <a:off x="7745170" y="4490060"/>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85" name="Freeform: Shape 4584">
                    <a:extLst>
                      <a:ext uri="{FF2B5EF4-FFF2-40B4-BE49-F238E27FC236}">
                        <a16:creationId xmlns:a16="http://schemas.microsoft.com/office/drawing/2014/main" id="{85CFCA80-8013-41CA-B04B-F864DBA9ADF1}"/>
                      </a:ext>
                    </a:extLst>
                  </p:cNvPr>
                  <p:cNvSpPr/>
                  <p:nvPr/>
                </p:nvSpPr>
                <p:spPr>
                  <a:xfrm>
                    <a:off x="7745170" y="4489387"/>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86" name="Freeform: Shape 4585">
                    <a:extLst>
                      <a:ext uri="{FF2B5EF4-FFF2-40B4-BE49-F238E27FC236}">
                        <a16:creationId xmlns:a16="http://schemas.microsoft.com/office/drawing/2014/main" id="{12E9EFF2-5E0D-4CB1-8C57-EBD0754A440F}"/>
                      </a:ext>
                    </a:extLst>
                  </p:cNvPr>
                  <p:cNvSpPr/>
                  <p:nvPr/>
                </p:nvSpPr>
                <p:spPr>
                  <a:xfrm>
                    <a:off x="7745170" y="448888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87" name="Freeform: Shape 4586">
                    <a:extLst>
                      <a:ext uri="{FF2B5EF4-FFF2-40B4-BE49-F238E27FC236}">
                        <a16:creationId xmlns:a16="http://schemas.microsoft.com/office/drawing/2014/main" id="{A8BB38C6-79AD-4A55-8BEB-EC861CE53967}"/>
                      </a:ext>
                    </a:extLst>
                  </p:cNvPr>
                  <p:cNvSpPr/>
                  <p:nvPr/>
                </p:nvSpPr>
                <p:spPr>
                  <a:xfrm>
                    <a:off x="7745170" y="4488208"/>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88" name="Freeform: Shape 4587">
                    <a:extLst>
                      <a:ext uri="{FF2B5EF4-FFF2-40B4-BE49-F238E27FC236}">
                        <a16:creationId xmlns:a16="http://schemas.microsoft.com/office/drawing/2014/main" id="{612E40C7-7577-457C-A613-7B3AB6592D93}"/>
                      </a:ext>
                    </a:extLst>
                  </p:cNvPr>
                  <p:cNvSpPr/>
                  <p:nvPr/>
                </p:nvSpPr>
                <p:spPr>
                  <a:xfrm>
                    <a:off x="7745170" y="448770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89" name="Freeform: Shape 4588">
                    <a:extLst>
                      <a:ext uri="{FF2B5EF4-FFF2-40B4-BE49-F238E27FC236}">
                        <a16:creationId xmlns:a16="http://schemas.microsoft.com/office/drawing/2014/main" id="{F5A97112-B461-43EB-93BC-562E9EF268EC}"/>
                      </a:ext>
                    </a:extLst>
                  </p:cNvPr>
                  <p:cNvSpPr/>
                  <p:nvPr/>
                </p:nvSpPr>
                <p:spPr>
                  <a:xfrm>
                    <a:off x="7745170" y="4487029"/>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90" name="Freeform: Shape 4589">
                    <a:extLst>
                      <a:ext uri="{FF2B5EF4-FFF2-40B4-BE49-F238E27FC236}">
                        <a16:creationId xmlns:a16="http://schemas.microsoft.com/office/drawing/2014/main" id="{8634A370-73B8-4291-BEC7-A88C68752B49}"/>
                      </a:ext>
                    </a:extLst>
                  </p:cNvPr>
                  <p:cNvSpPr/>
                  <p:nvPr/>
                </p:nvSpPr>
                <p:spPr>
                  <a:xfrm>
                    <a:off x="7745170" y="4486524"/>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045"/>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91" name="Freeform: Shape 4590">
                    <a:extLst>
                      <a:ext uri="{FF2B5EF4-FFF2-40B4-BE49-F238E27FC236}">
                        <a16:creationId xmlns:a16="http://schemas.microsoft.com/office/drawing/2014/main" id="{041F7D1C-C5A7-440F-9A6F-56DCB316FEE1}"/>
                      </a:ext>
                    </a:extLst>
                  </p:cNvPr>
                  <p:cNvSpPr/>
                  <p:nvPr/>
                </p:nvSpPr>
                <p:spPr>
                  <a:xfrm>
                    <a:off x="7745170" y="4485851"/>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92" name="Freeform: Shape 4591">
                    <a:extLst>
                      <a:ext uri="{FF2B5EF4-FFF2-40B4-BE49-F238E27FC236}">
                        <a16:creationId xmlns:a16="http://schemas.microsoft.com/office/drawing/2014/main" id="{D21E358B-B41E-4785-97D6-F7D131E03264}"/>
                      </a:ext>
                    </a:extLst>
                  </p:cNvPr>
                  <p:cNvSpPr/>
                  <p:nvPr/>
                </p:nvSpPr>
                <p:spPr>
                  <a:xfrm>
                    <a:off x="7745170" y="4485177"/>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93" name="Freeform: Shape 4592">
                    <a:extLst>
                      <a:ext uri="{FF2B5EF4-FFF2-40B4-BE49-F238E27FC236}">
                        <a16:creationId xmlns:a16="http://schemas.microsoft.com/office/drawing/2014/main" id="{E5B2B179-6E8D-4E52-8175-B01624E6A4CF}"/>
                      </a:ext>
                    </a:extLst>
                  </p:cNvPr>
                  <p:cNvSpPr/>
                  <p:nvPr/>
                </p:nvSpPr>
                <p:spPr>
                  <a:xfrm>
                    <a:off x="7745170" y="448467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94" name="Freeform: Shape 4593">
                    <a:extLst>
                      <a:ext uri="{FF2B5EF4-FFF2-40B4-BE49-F238E27FC236}">
                        <a16:creationId xmlns:a16="http://schemas.microsoft.com/office/drawing/2014/main" id="{B55B8F4E-04AA-476F-8859-CDBB75960BDE}"/>
                      </a:ext>
                    </a:extLst>
                  </p:cNvPr>
                  <p:cNvSpPr/>
                  <p:nvPr/>
                </p:nvSpPr>
                <p:spPr>
                  <a:xfrm>
                    <a:off x="7745196" y="4483998"/>
                    <a:ext cx="54529" cy="31499"/>
                  </a:xfrm>
                  <a:custGeom>
                    <a:avLst/>
                    <a:gdLst>
                      <a:gd name="connsiteX0" fmla="*/ 53365 w 54529"/>
                      <a:gd name="connsiteY0" fmla="*/ 14739 h 31499"/>
                      <a:gd name="connsiteX1" fmla="*/ 25412 w 54529"/>
                      <a:gd name="connsiteY1" fmla="*/ 30905 h 31499"/>
                      <a:gd name="connsiteX2" fmla="*/ 19182 w 54529"/>
                      <a:gd name="connsiteY2" fmla="*/ 30568 h 31499"/>
                      <a:gd name="connsiteX3" fmla="*/ 1501 w 54529"/>
                      <a:gd name="connsiteY3" fmla="*/ 20296 h 31499"/>
                      <a:gd name="connsiteX4" fmla="*/ 1164 w 54529"/>
                      <a:gd name="connsiteY4" fmla="*/ 16760 h 31499"/>
                      <a:gd name="connsiteX5" fmla="*/ 29117 w 54529"/>
                      <a:gd name="connsiteY5" fmla="*/ 595 h 31499"/>
                      <a:gd name="connsiteX6" fmla="*/ 35347 w 54529"/>
                      <a:gd name="connsiteY6" fmla="*/ 931 h 31499"/>
                      <a:gd name="connsiteX7" fmla="*/ 53028 w 54529"/>
                      <a:gd name="connsiteY7" fmla="*/ 11203 h 31499"/>
                      <a:gd name="connsiteX8" fmla="*/ 53365 w 5452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29" h="31499">
                        <a:moveTo>
                          <a:pt x="53365" y="14739"/>
                        </a:moveTo>
                        <a:lnTo>
                          <a:pt x="25412" y="30905"/>
                        </a:lnTo>
                        <a:cubicBezTo>
                          <a:pt x="23897" y="31747"/>
                          <a:pt x="21034" y="31747"/>
                          <a:pt x="19182" y="30568"/>
                        </a:cubicBezTo>
                        <a:lnTo>
                          <a:pt x="1501" y="20296"/>
                        </a:lnTo>
                        <a:cubicBezTo>
                          <a:pt x="-351" y="19286"/>
                          <a:pt x="-519" y="17770"/>
                          <a:pt x="1164" y="16760"/>
                        </a:cubicBezTo>
                        <a:lnTo>
                          <a:pt x="29117" y="595"/>
                        </a:lnTo>
                        <a:cubicBezTo>
                          <a:pt x="30632" y="-247"/>
                          <a:pt x="33495" y="-247"/>
                          <a:pt x="35347" y="931"/>
                        </a:cubicBezTo>
                        <a:lnTo>
                          <a:pt x="53028" y="11203"/>
                        </a:lnTo>
                        <a:cubicBezTo>
                          <a:pt x="54880" y="12213"/>
                          <a:pt x="55049" y="13897"/>
                          <a:pt x="53365" y="14739"/>
                        </a:cubicBezTo>
                        <a:close/>
                      </a:path>
                    </a:pathLst>
                  </a:custGeom>
                  <a:solidFill>
                    <a:srgbClr val="3A3E5F"/>
                  </a:solidFill>
                  <a:ln w="16828" cap="flat">
                    <a:noFill/>
                    <a:prstDash val="solid"/>
                    <a:miter/>
                  </a:ln>
                </p:spPr>
                <p:txBody>
                  <a:bodyPr rtlCol="0" anchor="ctr"/>
                  <a:lstStyle/>
                  <a:p>
                    <a:endParaRPr lang="en-IN"/>
                  </a:p>
                </p:txBody>
              </p:sp>
              <p:sp>
                <p:nvSpPr>
                  <p:cNvPr id="4595" name="Freeform: Shape 4594">
                    <a:extLst>
                      <a:ext uri="{FF2B5EF4-FFF2-40B4-BE49-F238E27FC236}">
                        <a16:creationId xmlns:a16="http://schemas.microsoft.com/office/drawing/2014/main" id="{90E40B34-7D6D-4146-8BE7-4A8083395C8A}"/>
                      </a:ext>
                    </a:extLst>
                  </p:cNvPr>
                  <p:cNvSpPr/>
                  <p:nvPr/>
                </p:nvSpPr>
                <p:spPr>
                  <a:xfrm>
                    <a:off x="7745170" y="448349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grpSp>
            <p:sp>
              <p:nvSpPr>
                <p:cNvPr id="4596" name="Freeform: Shape 4595">
                  <a:extLst>
                    <a:ext uri="{FF2B5EF4-FFF2-40B4-BE49-F238E27FC236}">
                      <a16:creationId xmlns:a16="http://schemas.microsoft.com/office/drawing/2014/main" id="{4E4FF4E3-962C-40DD-A348-1C30C334E716}"/>
                    </a:ext>
                  </a:extLst>
                </p:cNvPr>
                <p:cNvSpPr/>
                <p:nvPr/>
              </p:nvSpPr>
              <p:spPr>
                <a:xfrm>
                  <a:off x="7745170" y="448349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97" name="Graphic 4202">
                <a:extLst>
                  <a:ext uri="{FF2B5EF4-FFF2-40B4-BE49-F238E27FC236}">
                    <a16:creationId xmlns:a16="http://schemas.microsoft.com/office/drawing/2014/main" id="{D8C93A7D-1944-411F-8F69-6296BBFF6FB9}"/>
                  </a:ext>
                </a:extLst>
              </p:cNvPr>
              <p:cNvGrpSpPr/>
              <p:nvPr/>
            </p:nvGrpSpPr>
            <p:grpSpPr>
              <a:xfrm>
                <a:off x="7787435" y="4459077"/>
                <a:ext cx="54483" cy="38066"/>
                <a:chOff x="7787435" y="4459077"/>
                <a:chExt cx="54483" cy="38066"/>
              </a:xfrm>
              <a:solidFill>
                <a:schemeClr val="accent1"/>
              </a:solidFill>
            </p:grpSpPr>
            <p:grpSp>
              <p:nvGrpSpPr>
                <p:cNvPr id="4598" name="Graphic 4202">
                  <a:extLst>
                    <a:ext uri="{FF2B5EF4-FFF2-40B4-BE49-F238E27FC236}">
                      <a16:creationId xmlns:a16="http://schemas.microsoft.com/office/drawing/2014/main" id="{D8C93A7D-1944-411F-8F69-6296BBFF6FB9}"/>
                    </a:ext>
                  </a:extLst>
                </p:cNvPr>
                <p:cNvGrpSpPr/>
                <p:nvPr/>
              </p:nvGrpSpPr>
              <p:grpSpPr>
                <a:xfrm>
                  <a:off x="7787435" y="4459077"/>
                  <a:ext cx="54483" cy="38066"/>
                  <a:chOff x="7787435" y="4459077"/>
                  <a:chExt cx="54483" cy="38066"/>
                </a:xfrm>
                <a:solidFill>
                  <a:srgbClr val="3A3E5F"/>
                </a:solidFill>
              </p:grpSpPr>
              <p:sp>
                <p:nvSpPr>
                  <p:cNvPr id="4599" name="Freeform: Shape 4598">
                    <a:extLst>
                      <a:ext uri="{FF2B5EF4-FFF2-40B4-BE49-F238E27FC236}">
                        <a16:creationId xmlns:a16="http://schemas.microsoft.com/office/drawing/2014/main" id="{0333FF23-4591-4177-85C5-74C31790584C}"/>
                      </a:ext>
                    </a:extLst>
                  </p:cNvPr>
                  <p:cNvSpPr/>
                  <p:nvPr/>
                </p:nvSpPr>
                <p:spPr>
                  <a:xfrm>
                    <a:off x="7787435" y="446564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0" name="Freeform: Shape 4599">
                    <a:extLst>
                      <a:ext uri="{FF2B5EF4-FFF2-40B4-BE49-F238E27FC236}">
                        <a16:creationId xmlns:a16="http://schemas.microsoft.com/office/drawing/2014/main" id="{3A74F832-4130-46E9-BEDB-E7F0F02E681F}"/>
                      </a:ext>
                    </a:extLst>
                  </p:cNvPr>
                  <p:cNvSpPr/>
                  <p:nvPr/>
                </p:nvSpPr>
                <p:spPr>
                  <a:xfrm>
                    <a:off x="7787435" y="446513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01" name="Freeform: Shape 4600">
                    <a:extLst>
                      <a:ext uri="{FF2B5EF4-FFF2-40B4-BE49-F238E27FC236}">
                        <a16:creationId xmlns:a16="http://schemas.microsoft.com/office/drawing/2014/main" id="{BB6350D6-0C34-4502-9924-474872D26640}"/>
                      </a:ext>
                    </a:extLst>
                  </p:cNvPr>
                  <p:cNvSpPr/>
                  <p:nvPr/>
                </p:nvSpPr>
                <p:spPr>
                  <a:xfrm>
                    <a:off x="7787435" y="446446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2" name="Freeform: Shape 4601">
                    <a:extLst>
                      <a:ext uri="{FF2B5EF4-FFF2-40B4-BE49-F238E27FC236}">
                        <a16:creationId xmlns:a16="http://schemas.microsoft.com/office/drawing/2014/main" id="{1A3EF1B8-6547-4C41-9DF7-B0CC142C3ADE}"/>
                      </a:ext>
                    </a:extLst>
                  </p:cNvPr>
                  <p:cNvSpPr/>
                  <p:nvPr/>
                </p:nvSpPr>
                <p:spPr>
                  <a:xfrm>
                    <a:off x="7787435" y="44637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3" name="Freeform: Shape 4602">
                    <a:extLst>
                      <a:ext uri="{FF2B5EF4-FFF2-40B4-BE49-F238E27FC236}">
                        <a16:creationId xmlns:a16="http://schemas.microsoft.com/office/drawing/2014/main" id="{968408A1-D391-4063-B360-5BD201825B59}"/>
                      </a:ext>
                    </a:extLst>
                  </p:cNvPr>
                  <p:cNvSpPr/>
                  <p:nvPr/>
                </p:nvSpPr>
                <p:spPr>
                  <a:xfrm>
                    <a:off x="7787435" y="446328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04" name="Freeform: Shape 4603">
                    <a:extLst>
                      <a:ext uri="{FF2B5EF4-FFF2-40B4-BE49-F238E27FC236}">
                        <a16:creationId xmlns:a16="http://schemas.microsoft.com/office/drawing/2014/main" id="{F00E564F-64DE-4396-82BF-392EB04E5579}"/>
                      </a:ext>
                    </a:extLst>
                  </p:cNvPr>
                  <p:cNvSpPr/>
                  <p:nvPr/>
                </p:nvSpPr>
                <p:spPr>
                  <a:xfrm>
                    <a:off x="7787435" y="4462613"/>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5" name="Freeform: Shape 4604">
                    <a:extLst>
                      <a:ext uri="{FF2B5EF4-FFF2-40B4-BE49-F238E27FC236}">
                        <a16:creationId xmlns:a16="http://schemas.microsoft.com/office/drawing/2014/main" id="{81434702-BDEA-483E-BCCA-28BD3A5D400B}"/>
                      </a:ext>
                    </a:extLst>
                  </p:cNvPr>
                  <p:cNvSpPr/>
                  <p:nvPr/>
                </p:nvSpPr>
                <p:spPr>
                  <a:xfrm>
                    <a:off x="7787435" y="446210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06" name="Freeform: Shape 4605">
                    <a:extLst>
                      <a:ext uri="{FF2B5EF4-FFF2-40B4-BE49-F238E27FC236}">
                        <a16:creationId xmlns:a16="http://schemas.microsoft.com/office/drawing/2014/main" id="{54EFF176-86AE-4F9F-9CBB-838C0376918B}"/>
                      </a:ext>
                    </a:extLst>
                  </p:cNvPr>
                  <p:cNvSpPr/>
                  <p:nvPr/>
                </p:nvSpPr>
                <p:spPr>
                  <a:xfrm>
                    <a:off x="7787435" y="446143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7" name="Freeform: Shape 4606">
                    <a:extLst>
                      <a:ext uri="{FF2B5EF4-FFF2-40B4-BE49-F238E27FC236}">
                        <a16:creationId xmlns:a16="http://schemas.microsoft.com/office/drawing/2014/main" id="{2F845E28-30F2-497C-9DF1-BEF9335CD7B7}"/>
                      </a:ext>
                    </a:extLst>
                  </p:cNvPr>
                  <p:cNvSpPr/>
                  <p:nvPr/>
                </p:nvSpPr>
                <p:spPr>
                  <a:xfrm>
                    <a:off x="7787435" y="446076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8" name="Freeform: Shape 4607">
                    <a:extLst>
                      <a:ext uri="{FF2B5EF4-FFF2-40B4-BE49-F238E27FC236}">
                        <a16:creationId xmlns:a16="http://schemas.microsoft.com/office/drawing/2014/main" id="{FFEA7260-199C-4458-B66C-0E543C291BEF}"/>
                      </a:ext>
                    </a:extLst>
                  </p:cNvPr>
                  <p:cNvSpPr/>
                  <p:nvPr/>
                </p:nvSpPr>
                <p:spPr>
                  <a:xfrm>
                    <a:off x="7787435" y="446025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09" name="Freeform: Shape 4608">
                    <a:extLst>
                      <a:ext uri="{FF2B5EF4-FFF2-40B4-BE49-F238E27FC236}">
                        <a16:creationId xmlns:a16="http://schemas.microsoft.com/office/drawing/2014/main" id="{0F3921D8-1F59-43AB-8B40-9B66A40D4797}"/>
                      </a:ext>
                    </a:extLst>
                  </p:cNvPr>
                  <p:cNvSpPr/>
                  <p:nvPr/>
                </p:nvSpPr>
                <p:spPr>
                  <a:xfrm>
                    <a:off x="7787435" y="445958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10" name="Freeform: Shape 4609">
                    <a:extLst>
                      <a:ext uri="{FF2B5EF4-FFF2-40B4-BE49-F238E27FC236}">
                        <a16:creationId xmlns:a16="http://schemas.microsoft.com/office/drawing/2014/main" id="{AEE4F8C5-302D-4C5F-84B0-FF784AA91694}"/>
                      </a:ext>
                    </a:extLst>
                  </p:cNvPr>
                  <p:cNvSpPr/>
                  <p:nvPr/>
                </p:nvSpPr>
                <p:spPr>
                  <a:xfrm>
                    <a:off x="7787435" y="445907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grpSp>
            <p:sp>
              <p:nvSpPr>
                <p:cNvPr id="4611" name="Freeform: Shape 4610">
                  <a:extLst>
                    <a:ext uri="{FF2B5EF4-FFF2-40B4-BE49-F238E27FC236}">
                      <a16:creationId xmlns:a16="http://schemas.microsoft.com/office/drawing/2014/main" id="{E7F94189-AA12-4FF6-8BB8-E2A34F43FA93}"/>
                    </a:ext>
                  </a:extLst>
                </p:cNvPr>
                <p:cNvSpPr/>
                <p:nvPr/>
              </p:nvSpPr>
              <p:spPr>
                <a:xfrm>
                  <a:off x="7787435" y="445907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612" name="Graphic 4202">
                <a:extLst>
                  <a:ext uri="{FF2B5EF4-FFF2-40B4-BE49-F238E27FC236}">
                    <a16:creationId xmlns:a16="http://schemas.microsoft.com/office/drawing/2014/main" id="{D8C93A7D-1944-411F-8F69-6296BBFF6FB9}"/>
                  </a:ext>
                </a:extLst>
              </p:cNvPr>
              <p:cNvGrpSpPr/>
              <p:nvPr/>
            </p:nvGrpSpPr>
            <p:grpSpPr>
              <a:xfrm>
                <a:off x="7829701" y="4434661"/>
                <a:ext cx="54414" cy="38066"/>
                <a:chOff x="7829701" y="4434661"/>
                <a:chExt cx="54414" cy="38066"/>
              </a:xfrm>
              <a:solidFill>
                <a:schemeClr val="accent1"/>
              </a:solidFill>
            </p:grpSpPr>
            <p:grpSp>
              <p:nvGrpSpPr>
                <p:cNvPr id="4613" name="Graphic 4202">
                  <a:extLst>
                    <a:ext uri="{FF2B5EF4-FFF2-40B4-BE49-F238E27FC236}">
                      <a16:creationId xmlns:a16="http://schemas.microsoft.com/office/drawing/2014/main" id="{D8C93A7D-1944-411F-8F69-6296BBFF6FB9}"/>
                    </a:ext>
                  </a:extLst>
                </p:cNvPr>
                <p:cNvGrpSpPr/>
                <p:nvPr/>
              </p:nvGrpSpPr>
              <p:grpSpPr>
                <a:xfrm>
                  <a:off x="7829701" y="4434661"/>
                  <a:ext cx="54414" cy="38066"/>
                  <a:chOff x="7829701" y="4434661"/>
                  <a:chExt cx="54414" cy="38066"/>
                </a:xfrm>
                <a:solidFill>
                  <a:srgbClr val="3A3E5F"/>
                </a:solidFill>
              </p:grpSpPr>
              <p:sp>
                <p:nvSpPr>
                  <p:cNvPr id="4614" name="Freeform: Shape 4613">
                    <a:extLst>
                      <a:ext uri="{FF2B5EF4-FFF2-40B4-BE49-F238E27FC236}">
                        <a16:creationId xmlns:a16="http://schemas.microsoft.com/office/drawing/2014/main" id="{D776316D-DF2B-4671-8354-92DBC639FE4A}"/>
                      </a:ext>
                    </a:extLst>
                  </p:cNvPr>
                  <p:cNvSpPr/>
                  <p:nvPr/>
                </p:nvSpPr>
                <p:spPr>
                  <a:xfrm>
                    <a:off x="7829701" y="444122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15" name="Freeform: Shape 4614">
                    <a:extLst>
                      <a:ext uri="{FF2B5EF4-FFF2-40B4-BE49-F238E27FC236}">
                        <a16:creationId xmlns:a16="http://schemas.microsoft.com/office/drawing/2014/main" id="{26F0F9AE-E5DD-4735-A53F-8ED450628A69}"/>
                      </a:ext>
                    </a:extLst>
                  </p:cNvPr>
                  <p:cNvSpPr/>
                  <p:nvPr/>
                </p:nvSpPr>
                <p:spPr>
                  <a:xfrm>
                    <a:off x="7829701" y="444072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16" name="Freeform: Shape 4615">
                    <a:extLst>
                      <a:ext uri="{FF2B5EF4-FFF2-40B4-BE49-F238E27FC236}">
                        <a16:creationId xmlns:a16="http://schemas.microsoft.com/office/drawing/2014/main" id="{2679A8FF-307B-411A-BC1D-D70C13A3B811}"/>
                      </a:ext>
                    </a:extLst>
                  </p:cNvPr>
                  <p:cNvSpPr/>
                  <p:nvPr/>
                </p:nvSpPr>
                <p:spPr>
                  <a:xfrm>
                    <a:off x="7829701" y="444004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17" name="Freeform: Shape 4616">
                    <a:extLst>
                      <a:ext uri="{FF2B5EF4-FFF2-40B4-BE49-F238E27FC236}">
                        <a16:creationId xmlns:a16="http://schemas.microsoft.com/office/drawing/2014/main" id="{6DF9918A-820D-48AF-9C7E-ADBEE2714BD9}"/>
                      </a:ext>
                    </a:extLst>
                  </p:cNvPr>
                  <p:cNvSpPr/>
                  <p:nvPr/>
                </p:nvSpPr>
                <p:spPr>
                  <a:xfrm>
                    <a:off x="7829701" y="44395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18" name="Freeform: Shape 4617">
                    <a:extLst>
                      <a:ext uri="{FF2B5EF4-FFF2-40B4-BE49-F238E27FC236}">
                        <a16:creationId xmlns:a16="http://schemas.microsoft.com/office/drawing/2014/main" id="{65BF299C-B4D6-44EB-BACD-70A21029001B}"/>
                      </a:ext>
                    </a:extLst>
                  </p:cNvPr>
                  <p:cNvSpPr/>
                  <p:nvPr/>
                </p:nvSpPr>
                <p:spPr>
                  <a:xfrm>
                    <a:off x="7829701" y="443887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19" name="Freeform: Shape 4618">
                    <a:extLst>
                      <a:ext uri="{FF2B5EF4-FFF2-40B4-BE49-F238E27FC236}">
                        <a16:creationId xmlns:a16="http://schemas.microsoft.com/office/drawing/2014/main" id="{AB566D64-6F16-48C0-A6B5-EFE8AD0AB1CA}"/>
                      </a:ext>
                    </a:extLst>
                  </p:cNvPr>
                  <p:cNvSpPr/>
                  <p:nvPr/>
                </p:nvSpPr>
                <p:spPr>
                  <a:xfrm>
                    <a:off x="7829701" y="443819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20" name="Freeform: Shape 4619">
                    <a:extLst>
                      <a:ext uri="{FF2B5EF4-FFF2-40B4-BE49-F238E27FC236}">
                        <a16:creationId xmlns:a16="http://schemas.microsoft.com/office/drawing/2014/main" id="{7A4870B1-3936-4758-AC01-264C1C50A553}"/>
                      </a:ext>
                    </a:extLst>
                  </p:cNvPr>
                  <p:cNvSpPr/>
                  <p:nvPr/>
                </p:nvSpPr>
                <p:spPr>
                  <a:xfrm>
                    <a:off x="7829701" y="443769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21" name="Freeform: Shape 4620">
                    <a:extLst>
                      <a:ext uri="{FF2B5EF4-FFF2-40B4-BE49-F238E27FC236}">
                        <a16:creationId xmlns:a16="http://schemas.microsoft.com/office/drawing/2014/main" id="{93FDBF5B-3684-4EE0-9E76-D8F071F5B9C7}"/>
                      </a:ext>
                    </a:extLst>
                  </p:cNvPr>
                  <p:cNvSpPr/>
                  <p:nvPr/>
                </p:nvSpPr>
                <p:spPr>
                  <a:xfrm>
                    <a:off x="7829701" y="443701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22" name="Freeform: Shape 4621">
                    <a:extLst>
                      <a:ext uri="{FF2B5EF4-FFF2-40B4-BE49-F238E27FC236}">
                        <a16:creationId xmlns:a16="http://schemas.microsoft.com/office/drawing/2014/main" id="{E8163848-A5C6-4CC9-B3A5-2EC0D1FD9A08}"/>
                      </a:ext>
                    </a:extLst>
                  </p:cNvPr>
                  <p:cNvSpPr/>
                  <p:nvPr/>
                </p:nvSpPr>
                <p:spPr>
                  <a:xfrm>
                    <a:off x="7829701" y="443651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23" name="Freeform: Shape 4622">
                    <a:extLst>
                      <a:ext uri="{FF2B5EF4-FFF2-40B4-BE49-F238E27FC236}">
                        <a16:creationId xmlns:a16="http://schemas.microsoft.com/office/drawing/2014/main" id="{EE9BFD3A-D145-4574-AA4F-1ED1442FAA90}"/>
                      </a:ext>
                    </a:extLst>
                  </p:cNvPr>
                  <p:cNvSpPr/>
                  <p:nvPr/>
                </p:nvSpPr>
                <p:spPr>
                  <a:xfrm>
                    <a:off x="7829701" y="443583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24" name="Freeform: Shape 4623">
                    <a:extLst>
                      <a:ext uri="{FF2B5EF4-FFF2-40B4-BE49-F238E27FC236}">
                        <a16:creationId xmlns:a16="http://schemas.microsoft.com/office/drawing/2014/main" id="{D35A07D8-45E0-48AD-B679-20938E566548}"/>
                      </a:ext>
                    </a:extLst>
                  </p:cNvPr>
                  <p:cNvSpPr/>
                  <p:nvPr/>
                </p:nvSpPr>
                <p:spPr>
                  <a:xfrm>
                    <a:off x="7829701" y="4435334"/>
                    <a:ext cx="54414" cy="31330"/>
                  </a:xfrm>
                  <a:custGeom>
                    <a:avLst/>
                    <a:gdLst>
                      <a:gd name="connsiteX0" fmla="*/ 53392 w 54414"/>
                      <a:gd name="connsiteY0" fmla="*/ 14571 h 31330"/>
                      <a:gd name="connsiteX1" fmla="*/ 25439 w 54414"/>
                      <a:gd name="connsiteY1" fmla="*/ 30736 h 31330"/>
                      <a:gd name="connsiteX2" fmla="*/ 19209 w 54414"/>
                      <a:gd name="connsiteY2" fmla="*/ 30399 h 31330"/>
                      <a:gd name="connsiteX3" fmla="*/ 1528 w 54414"/>
                      <a:gd name="connsiteY3" fmla="*/ 20128 h 31330"/>
                      <a:gd name="connsiteX4" fmla="*/ 1023 w 54414"/>
                      <a:gd name="connsiteY4" fmla="*/ 16592 h 31330"/>
                      <a:gd name="connsiteX5" fmla="*/ 28975 w 54414"/>
                      <a:gd name="connsiteY5" fmla="*/ 595 h 31330"/>
                      <a:gd name="connsiteX6" fmla="*/ 35206 w 54414"/>
                      <a:gd name="connsiteY6" fmla="*/ 931 h 31330"/>
                      <a:gd name="connsiteX7" fmla="*/ 52887 w 54414"/>
                      <a:gd name="connsiteY7" fmla="*/ 11203 h 31330"/>
                      <a:gd name="connsiteX8" fmla="*/ 53392 w 54414"/>
                      <a:gd name="connsiteY8" fmla="*/ 14571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330">
                        <a:moveTo>
                          <a:pt x="53392" y="14571"/>
                        </a:moveTo>
                        <a:lnTo>
                          <a:pt x="25439" y="30736"/>
                        </a:lnTo>
                        <a:cubicBezTo>
                          <a:pt x="23924" y="31578"/>
                          <a:pt x="21061" y="31578"/>
                          <a:pt x="19209" y="30399"/>
                        </a:cubicBezTo>
                        <a:lnTo>
                          <a:pt x="1528" y="20128"/>
                        </a:lnTo>
                        <a:cubicBezTo>
                          <a:pt x="-324" y="19117"/>
                          <a:pt x="-493" y="17434"/>
                          <a:pt x="1023" y="16592"/>
                        </a:cubicBezTo>
                        <a:lnTo>
                          <a:pt x="28975" y="595"/>
                        </a:lnTo>
                        <a:cubicBezTo>
                          <a:pt x="30491" y="-247"/>
                          <a:pt x="33354" y="-247"/>
                          <a:pt x="35206" y="931"/>
                        </a:cubicBezTo>
                        <a:lnTo>
                          <a:pt x="52887" y="11203"/>
                        </a:lnTo>
                        <a:cubicBezTo>
                          <a:pt x="54739" y="12045"/>
                          <a:pt x="54907" y="13729"/>
                          <a:pt x="53392" y="14571"/>
                        </a:cubicBezTo>
                        <a:close/>
                      </a:path>
                    </a:pathLst>
                  </a:custGeom>
                  <a:solidFill>
                    <a:srgbClr val="3A3E5F"/>
                  </a:solidFill>
                  <a:ln w="16828" cap="flat">
                    <a:noFill/>
                    <a:prstDash val="solid"/>
                    <a:miter/>
                  </a:ln>
                </p:spPr>
                <p:txBody>
                  <a:bodyPr rtlCol="0" anchor="ctr"/>
                  <a:lstStyle/>
                  <a:p>
                    <a:endParaRPr lang="en-IN"/>
                  </a:p>
                </p:txBody>
              </p:sp>
              <p:sp>
                <p:nvSpPr>
                  <p:cNvPr id="4625" name="Freeform: Shape 4624">
                    <a:extLst>
                      <a:ext uri="{FF2B5EF4-FFF2-40B4-BE49-F238E27FC236}">
                        <a16:creationId xmlns:a16="http://schemas.microsoft.com/office/drawing/2014/main" id="{D80F5441-B87E-4E54-B482-1052DC72A261}"/>
                      </a:ext>
                    </a:extLst>
                  </p:cNvPr>
                  <p:cNvSpPr/>
                  <p:nvPr/>
                </p:nvSpPr>
                <p:spPr>
                  <a:xfrm>
                    <a:off x="7829701" y="443466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grpSp>
            <p:sp>
              <p:nvSpPr>
                <p:cNvPr id="4626" name="Freeform: Shape 4625">
                  <a:extLst>
                    <a:ext uri="{FF2B5EF4-FFF2-40B4-BE49-F238E27FC236}">
                      <a16:creationId xmlns:a16="http://schemas.microsoft.com/office/drawing/2014/main" id="{5C1846C1-EC22-4050-8972-D7B3BD56EEEC}"/>
                    </a:ext>
                  </a:extLst>
                </p:cNvPr>
                <p:cNvSpPr/>
                <p:nvPr/>
              </p:nvSpPr>
              <p:spPr>
                <a:xfrm>
                  <a:off x="7829701" y="443466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627" name="Graphic 4202">
                <a:extLst>
                  <a:ext uri="{FF2B5EF4-FFF2-40B4-BE49-F238E27FC236}">
                    <a16:creationId xmlns:a16="http://schemas.microsoft.com/office/drawing/2014/main" id="{D8C93A7D-1944-411F-8F69-6296BBFF6FB9}"/>
                  </a:ext>
                </a:extLst>
              </p:cNvPr>
              <p:cNvGrpSpPr/>
              <p:nvPr/>
            </p:nvGrpSpPr>
            <p:grpSpPr>
              <a:xfrm>
                <a:off x="7827006" y="4481809"/>
                <a:ext cx="54498" cy="38234"/>
                <a:chOff x="7827006" y="4481809"/>
                <a:chExt cx="54498" cy="38234"/>
              </a:xfrm>
              <a:solidFill>
                <a:schemeClr val="accent1"/>
              </a:solidFill>
            </p:grpSpPr>
            <p:grpSp>
              <p:nvGrpSpPr>
                <p:cNvPr id="4628" name="Graphic 4202">
                  <a:extLst>
                    <a:ext uri="{FF2B5EF4-FFF2-40B4-BE49-F238E27FC236}">
                      <a16:creationId xmlns:a16="http://schemas.microsoft.com/office/drawing/2014/main" id="{D8C93A7D-1944-411F-8F69-6296BBFF6FB9}"/>
                    </a:ext>
                  </a:extLst>
                </p:cNvPr>
                <p:cNvGrpSpPr/>
                <p:nvPr/>
              </p:nvGrpSpPr>
              <p:grpSpPr>
                <a:xfrm>
                  <a:off x="7827006" y="4481809"/>
                  <a:ext cx="54498" cy="38234"/>
                  <a:chOff x="7827006" y="4481809"/>
                  <a:chExt cx="54498" cy="38234"/>
                </a:xfrm>
                <a:solidFill>
                  <a:srgbClr val="3A3E5F"/>
                </a:solidFill>
              </p:grpSpPr>
              <p:sp>
                <p:nvSpPr>
                  <p:cNvPr id="4629" name="Freeform: Shape 4628">
                    <a:extLst>
                      <a:ext uri="{FF2B5EF4-FFF2-40B4-BE49-F238E27FC236}">
                        <a16:creationId xmlns:a16="http://schemas.microsoft.com/office/drawing/2014/main" id="{7524B3ED-5E24-4DEE-BC00-6DC4AC236DE0}"/>
                      </a:ext>
                    </a:extLst>
                  </p:cNvPr>
                  <p:cNvSpPr/>
                  <p:nvPr/>
                </p:nvSpPr>
                <p:spPr>
                  <a:xfrm>
                    <a:off x="7827006" y="448854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30" name="Freeform: Shape 4629">
                    <a:extLst>
                      <a:ext uri="{FF2B5EF4-FFF2-40B4-BE49-F238E27FC236}">
                        <a16:creationId xmlns:a16="http://schemas.microsoft.com/office/drawing/2014/main" id="{CF319F0E-B174-430C-8C18-E67AEDC3BAA2}"/>
                      </a:ext>
                    </a:extLst>
                  </p:cNvPr>
                  <p:cNvSpPr/>
                  <p:nvPr/>
                </p:nvSpPr>
                <p:spPr>
                  <a:xfrm>
                    <a:off x="7827006" y="448787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1" name="Freeform: Shape 4630">
                    <a:extLst>
                      <a:ext uri="{FF2B5EF4-FFF2-40B4-BE49-F238E27FC236}">
                        <a16:creationId xmlns:a16="http://schemas.microsoft.com/office/drawing/2014/main" id="{E6F0E52E-6F16-4ABE-9A9B-C4635ED3E7FB}"/>
                      </a:ext>
                    </a:extLst>
                  </p:cNvPr>
                  <p:cNvSpPr/>
                  <p:nvPr/>
                </p:nvSpPr>
                <p:spPr>
                  <a:xfrm>
                    <a:off x="7827006" y="448736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32" name="Freeform: Shape 4631">
                    <a:extLst>
                      <a:ext uri="{FF2B5EF4-FFF2-40B4-BE49-F238E27FC236}">
                        <a16:creationId xmlns:a16="http://schemas.microsoft.com/office/drawing/2014/main" id="{9B04ADFA-F706-4929-9D55-235374ED259E}"/>
                      </a:ext>
                    </a:extLst>
                  </p:cNvPr>
                  <p:cNvSpPr/>
                  <p:nvPr/>
                </p:nvSpPr>
                <p:spPr>
                  <a:xfrm>
                    <a:off x="7827006" y="4486693"/>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3" name="Freeform: Shape 4632">
                    <a:extLst>
                      <a:ext uri="{FF2B5EF4-FFF2-40B4-BE49-F238E27FC236}">
                        <a16:creationId xmlns:a16="http://schemas.microsoft.com/office/drawing/2014/main" id="{7BC5CF6E-627C-48DD-8A17-BF3E096F6682}"/>
                      </a:ext>
                    </a:extLst>
                  </p:cNvPr>
                  <p:cNvSpPr/>
                  <p:nvPr/>
                </p:nvSpPr>
                <p:spPr>
                  <a:xfrm>
                    <a:off x="7827006" y="448601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4" name="Freeform: Shape 4633">
                    <a:extLst>
                      <a:ext uri="{FF2B5EF4-FFF2-40B4-BE49-F238E27FC236}">
                        <a16:creationId xmlns:a16="http://schemas.microsoft.com/office/drawing/2014/main" id="{6675CA96-700D-42BA-8A5F-8351C8333431}"/>
                      </a:ext>
                    </a:extLst>
                  </p:cNvPr>
                  <p:cNvSpPr/>
                  <p:nvPr/>
                </p:nvSpPr>
                <p:spPr>
                  <a:xfrm>
                    <a:off x="7827006" y="448551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35" name="Freeform: Shape 4634">
                    <a:extLst>
                      <a:ext uri="{FF2B5EF4-FFF2-40B4-BE49-F238E27FC236}">
                        <a16:creationId xmlns:a16="http://schemas.microsoft.com/office/drawing/2014/main" id="{ADF07CFB-3575-49BD-B250-273DFC9C3DD8}"/>
                      </a:ext>
                    </a:extLst>
                  </p:cNvPr>
                  <p:cNvSpPr/>
                  <p:nvPr/>
                </p:nvSpPr>
                <p:spPr>
                  <a:xfrm>
                    <a:off x="7827006" y="4484840"/>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6" name="Freeform: Shape 4635">
                    <a:extLst>
                      <a:ext uri="{FF2B5EF4-FFF2-40B4-BE49-F238E27FC236}">
                        <a16:creationId xmlns:a16="http://schemas.microsoft.com/office/drawing/2014/main" id="{233BF779-2373-4515-A6B9-BBF30FC4D586}"/>
                      </a:ext>
                    </a:extLst>
                  </p:cNvPr>
                  <p:cNvSpPr/>
                  <p:nvPr/>
                </p:nvSpPr>
                <p:spPr>
                  <a:xfrm>
                    <a:off x="7827175" y="4484167"/>
                    <a:ext cx="54330" cy="31499"/>
                  </a:xfrm>
                  <a:custGeom>
                    <a:avLst/>
                    <a:gdLst>
                      <a:gd name="connsiteX0" fmla="*/ 53223 w 54330"/>
                      <a:gd name="connsiteY0" fmla="*/ 14908 h 31499"/>
                      <a:gd name="connsiteX1" fmla="*/ 25439 w 54330"/>
                      <a:gd name="connsiteY1" fmla="*/ 30905 h 31499"/>
                      <a:gd name="connsiteX2" fmla="*/ 19209 w 54330"/>
                      <a:gd name="connsiteY2" fmla="*/ 30568 h 31499"/>
                      <a:gd name="connsiteX3" fmla="*/ 1528 w 54330"/>
                      <a:gd name="connsiteY3" fmla="*/ 20296 h 31499"/>
                      <a:gd name="connsiteX4" fmla="*/ 1023 w 54330"/>
                      <a:gd name="connsiteY4" fmla="*/ 16760 h 31499"/>
                      <a:gd name="connsiteX5" fmla="*/ 28975 w 54330"/>
                      <a:gd name="connsiteY5" fmla="*/ 595 h 31499"/>
                      <a:gd name="connsiteX6" fmla="*/ 35206 w 54330"/>
                      <a:gd name="connsiteY6" fmla="*/ 931 h 31499"/>
                      <a:gd name="connsiteX7" fmla="*/ 52887 w 54330"/>
                      <a:gd name="connsiteY7" fmla="*/ 11203 h 31499"/>
                      <a:gd name="connsiteX8" fmla="*/ 53223 w 54330"/>
                      <a:gd name="connsiteY8" fmla="*/ 14908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330" h="31499">
                        <a:moveTo>
                          <a:pt x="53223" y="14908"/>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571" y="12382"/>
                          <a:pt x="54907" y="13897"/>
                          <a:pt x="53223" y="14908"/>
                        </a:cubicBezTo>
                        <a:close/>
                      </a:path>
                    </a:pathLst>
                  </a:custGeom>
                  <a:solidFill>
                    <a:srgbClr val="3A3E5F"/>
                  </a:solidFill>
                  <a:ln w="16828" cap="flat">
                    <a:noFill/>
                    <a:prstDash val="solid"/>
                    <a:miter/>
                  </a:ln>
                </p:spPr>
                <p:txBody>
                  <a:bodyPr rtlCol="0" anchor="ctr"/>
                  <a:lstStyle/>
                  <a:p>
                    <a:endParaRPr lang="en-IN"/>
                  </a:p>
                </p:txBody>
              </p:sp>
              <p:sp>
                <p:nvSpPr>
                  <p:cNvPr id="4637" name="Freeform: Shape 4636">
                    <a:extLst>
                      <a:ext uri="{FF2B5EF4-FFF2-40B4-BE49-F238E27FC236}">
                        <a16:creationId xmlns:a16="http://schemas.microsoft.com/office/drawing/2014/main" id="{3CC9222E-3871-4D18-8355-ADE6E4A0A47A}"/>
                      </a:ext>
                    </a:extLst>
                  </p:cNvPr>
                  <p:cNvSpPr/>
                  <p:nvPr/>
                </p:nvSpPr>
                <p:spPr>
                  <a:xfrm>
                    <a:off x="7827006" y="448366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8" name="Freeform: Shape 4637">
                    <a:extLst>
                      <a:ext uri="{FF2B5EF4-FFF2-40B4-BE49-F238E27FC236}">
                        <a16:creationId xmlns:a16="http://schemas.microsoft.com/office/drawing/2014/main" id="{318F48B4-F1E8-4F4F-AB54-42A81ACE18E9}"/>
                      </a:ext>
                    </a:extLst>
                  </p:cNvPr>
                  <p:cNvSpPr/>
                  <p:nvPr/>
                </p:nvSpPr>
                <p:spPr>
                  <a:xfrm>
                    <a:off x="7827006" y="448315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39" name="Freeform: Shape 4638">
                    <a:extLst>
                      <a:ext uri="{FF2B5EF4-FFF2-40B4-BE49-F238E27FC236}">
                        <a16:creationId xmlns:a16="http://schemas.microsoft.com/office/drawing/2014/main" id="{10E8C6ED-6065-495E-A46B-8D7631AE442E}"/>
                      </a:ext>
                    </a:extLst>
                  </p:cNvPr>
                  <p:cNvSpPr/>
                  <p:nvPr/>
                </p:nvSpPr>
                <p:spPr>
                  <a:xfrm>
                    <a:off x="7827175" y="4482483"/>
                    <a:ext cx="54330" cy="31499"/>
                  </a:xfrm>
                  <a:custGeom>
                    <a:avLst/>
                    <a:gdLst>
                      <a:gd name="connsiteX0" fmla="*/ 53223 w 54330"/>
                      <a:gd name="connsiteY0" fmla="*/ 14739 h 31499"/>
                      <a:gd name="connsiteX1" fmla="*/ 25439 w 54330"/>
                      <a:gd name="connsiteY1" fmla="*/ 30905 h 31499"/>
                      <a:gd name="connsiteX2" fmla="*/ 19209 w 54330"/>
                      <a:gd name="connsiteY2" fmla="*/ 30568 h 31499"/>
                      <a:gd name="connsiteX3" fmla="*/ 1528 w 54330"/>
                      <a:gd name="connsiteY3" fmla="*/ 20296 h 31499"/>
                      <a:gd name="connsiteX4" fmla="*/ 1023 w 54330"/>
                      <a:gd name="connsiteY4" fmla="*/ 16760 h 31499"/>
                      <a:gd name="connsiteX5" fmla="*/ 28975 w 54330"/>
                      <a:gd name="connsiteY5" fmla="*/ 595 h 31499"/>
                      <a:gd name="connsiteX6" fmla="*/ 35206 w 54330"/>
                      <a:gd name="connsiteY6" fmla="*/ 931 h 31499"/>
                      <a:gd name="connsiteX7" fmla="*/ 52887 w 54330"/>
                      <a:gd name="connsiteY7" fmla="*/ 11203 h 31499"/>
                      <a:gd name="connsiteX8" fmla="*/ 53223 w 54330"/>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330" h="31499">
                        <a:moveTo>
                          <a:pt x="53223"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571" y="12213"/>
                          <a:pt x="54907" y="13729"/>
                          <a:pt x="53223" y="14739"/>
                        </a:cubicBezTo>
                        <a:close/>
                      </a:path>
                    </a:pathLst>
                  </a:custGeom>
                  <a:solidFill>
                    <a:srgbClr val="3A3E5F"/>
                  </a:solidFill>
                  <a:ln w="16828" cap="flat">
                    <a:noFill/>
                    <a:prstDash val="solid"/>
                    <a:miter/>
                  </a:ln>
                </p:spPr>
                <p:txBody>
                  <a:bodyPr rtlCol="0" anchor="ctr"/>
                  <a:lstStyle/>
                  <a:p>
                    <a:endParaRPr lang="en-IN"/>
                  </a:p>
                </p:txBody>
              </p:sp>
              <p:sp>
                <p:nvSpPr>
                  <p:cNvPr id="4640" name="Freeform: Shape 4639">
                    <a:extLst>
                      <a:ext uri="{FF2B5EF4-FFF2-40B4-BE49-F238E27FC236}">
                        <a16:creationId xmlns:a16="http://schemas.microsoft.com/office/drawing/2014/main" id="{A1D5FEA6-CD0E-48F7-B2E4-A509F9AE2CFD}"/>
                      </a:ext>
                    </a:extLst>
                  </p:cNvPr>
                  <p:cNvSpPr/>
                  <p:nvPr/>
                </p:nvSpPr>
                <p:spPr>
                  <a:xfrm>
                    <a:off x="7827006" y="448180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grpSp>
            <p:sp>
              <p:nvSpPr>
                <p:cNvPr id="4641" name="Freeform: Shape 4640">
                  <a:extLst>
                    <a:ext uri="{FF2B5EF4-FFF2-40B4-BE49-F238E27FC236}">
                      <a16:creationId xmlns:a16="http://schemas.microsoft.com/office/drawing/2014/main" id="{94576E41-8C91-42BA-A2B4-E77841A7196F}"/>
                    </a:ext>
                  </a:extLst>
                </p:cNvPr>
                <p:cNvSpPr/>
                <p:nvPr/>
              </p:nvSpPr>
              <p:spPr>
                <a:xfrm>
                  <a:off x="7827006" y="448180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5191"/>
                </a:solidFill>
                <a:ln w="16828" cap="flat">
                  <a:noFill/>
                  <a:prstDash val="solid"/>
                  <a:miter/>
                </a:ln>
              </p:spPr>
              <p:txBody>
                <a:bodyPr rtlCol="0" anchor="ctr"/>
                <a:lstStyle/>
                <a:p>
                  <a:endParaRPr lang="en-IN"/>
                </a:p>
              </p:txBody>
            </p:sp>
          </p:grpSp>
          <p:sp>
            <p:nvSpPr>
              <p:cNvPr id="4642" name="Freeform: Shape 4641">
                <a:extLst>
                  <a:ext uri="{FF2B5EF4-FFF2-40B4-BE49-F238E27FC236}">
                    <a16:creationId xmlns:a16="http://schemas.microsoft.com/office/drawing/2014/main" id="{35025B1C-BAAC-4CC0-9E89-3E29824A77D7}"/>
                  </a:ext>
                </a:extLst>
              </p:cNvPr>
              <p:cNvSpPr/>
              <p:nvPr/>
            </p:nvSpPr>
            <p:spPr>
              <a:xfrm>
                <a:off x="7805802" y="4469775"/>
                <a:ext cx="20375" cy="11955"/>
              </a:xfrm>
              <a:custGeom>
                <a:avLst/>
                <a:gdLst>
                  <a:gd name="connsiteX0" fmla="*/ 2189 w 20375"/>
                  <a:gd name="connsiteY0" fmla="*/ 5557 h 11955"/>
                  <a:gd name="connsiteX1" fmla="*/ 0 w 20375"/>
                  <a:gd name="connsiteY1" fmla="*/ 3031 h 11955"/>
                  <a:gd name="connsiteX2" fmla="*/ 1684 w 20375"/>
                  <a:gd name="connsiteY2" fmla="*/ 842 h 11955"/>
                  <a:gd name="connsiteX3" fmla="*/ 5388 w 20375"/>
                  <a:gd name="connsiteY3" fmla="*/ 0 h 11955"/>
                  <a:gd name="connsiteX4" fmla="*/ 9093 w 20375"/>
                  <a:gd name="connsiteY4" fmla="*/ 842 h 11955"/>
                  <a:gd name="connsiteX5" fmla="*/ 11450 w 20375"/>
                  <a:gd name="connsiteY5" fmla="*/ 3031 h 11955"/>
                  <a:gd name="connsiteX6" fmla="*/ 12461 w 20375"/>
                  <a:gd name="connsiteY6" fmla="*/ 5557 h 11955"/>
                  <a:gd name="connsiteX7" fmla="*/ 12966 w 20375"/>
                  <a:gd name="connsiteY7" fmla="*/ 7241 h 11955"/>
                  <a:gd name="connsiteX8" fmla="*/ 13134 w 20375"/>
                  <a:gd name="connsiteY8" fmla="*/ 7914 h 11955"/>
                  <a:gd name="connsiteX9" fmla="*/ 13471 w 20375"/>
                  <a:gd name="connsiteY9" fmla="*/ 8756 h 11955"/>
                  <a:gd name="connsiteX10" fmla="*/ 13639 w 20375"/>
                  <a:gd name="connsiteY10" fmla="*/ 8925 h 11955"/>
                  <a:gd name="connsiteX11" fmla="*/ 18186 w 20375"/>
                  <a:gd name="connsiteY11" fmla="*/ 6399 h 11955"/>
                  <a:gd name="connsiteX12" fmla="*/ 20375 w 20375"/>
                  <a:gd name="connsiteY12" fmla="*/ 7746 h 11955"/>
                  <a:gd name="connsiteX13" fmla="*/ 13134 w 20375"/>
                  <a:gd name="connsiteY13" fmla="*/ 11956 h 11955"/>
                  <a:gd name="connsiteX14" fmla="*/ 10945 w 20375"/>
                  <a:gd name="connsiteY14" fmla="*/ 10777 h 11955"/>
                  <a:gd name="connsiteX15" fmla="*/ 10608 w 20375"/>
                  <a:gd name="connsiteY15" fmla="*/ 9935 h 11955"/>
                  <a:gd name="connsiteX16" fmla="*/ 10440 w 20375"/>
                  <a:gd name="connsiteY16" fmla="*/ 9261 h 11955"/>
                  <a:gd name="connsiteX17" fmla="*/ 10103 w 20375"/>
                  <a:gd name="connsiteY17" fmla="*/ 8419 h 11955"/>
                  <a:gd name="connsiteX18" fmla="*/ 9430 w 20375"/>
                  <a:gd name="connsiteY18" fmla="*/ 6062 h 11955"/>
                  <a:gd name="connsiteX19" fmla="*/ 8251 w 20375"/>
                  <a:gd name="connsiteY19" fmla="*/ 3536 h 11955"/>
                  <a:gd name="connsiteX20" fmla="*/ 6904 w 20375"/>
                  <a:gd name="connsiteY20" fmla="*/ 2189 h 11955"/>
                  <a:gd name="connsiteX21" fmla="*/ 5388 w 20375"/>
                  <a:gd name="connsiteY21" fmla="*/ 1684 h 11955"/>
                  <a:gd name="connsiteX22" fmla="*/ 3705 w 20375"/>
                  <a:gd name="connsiteY22" fmla="*/ 2021 h 11955"/>
                  <a:gd name="connsiteX23" fmla="*/ 3368 w 20375"/>
                  <a:gd name="connsiteY23" fmla="*/ 3368 h 11955"/>
                  <a:gd name="connsiteX24" fmla="*/ 4041 w 20375"/>
                  <a:gd name="connsiteY24" fmla="*/ 3873 h 11955"/>
                  <a:gd name="connsiteX25" fmla="*/ 4546 w 20375"/>
                  <a:gd name="connsiteY25" fmla="*/ 4210 h 11955"/>
                  <a:gd name="connsiteX26" fmla="*/ 2357 w 20375"/>
                  <a:gd name="connsiteY26" fmla="*/ 5557 h 11955"/>
                  <a:gd name="connsiteX27" fmla="*/ 2189 w 20375"/>
                  <a:gd name="connsiteY27" fmla="*/ 5557 h 1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375" h="11955">
                    <a:moveTo>
                      <a:pt x="2189" y="5557"/>
                    </a:moveTo>
                    <a:cubicBezTo>
                      <a:pt x="674" y="4715"/>
                      <a:pt x="0" y="3873"/>
                      <a:pt x="0" y="3031"/>
                    </a:cubicBezTo>
                    <a:cubicBezTo>
                      <a:pt x="0" y="2189"/>
                      <a:pt x="505" y="1515"/>
                      <a:pt x="1684" y="842"/>
                    </a:cubicBezTo>
                    <a:cubicBezTo>
                      <a:pt x="2694" y="337"/>
                      <a:pt x="3873" y="0"/>
                      <a:pt x="5388" y="0"/>
                    </a:cubicBezTo>
                    <a:cubicBezTo>
                      <a:pt x="6904" y="0"/>
                      <a:pt x="8083" y="337"/>
                      <a:pt x="9093" y="842"/>
                    </a:cubicBezTo>
                    <a:cubicBezTo>
                      <a:pt x="10103" y="1515"/>
                      <a:pt x="10945" y="2189"/>
                      <a:pt x="11450" y="3031"/>
                    </a:cubicBezTo>
                    <a:cubicBezTo>
                      <a:pt x="11787" y="3536"/>
                      <a:pt x="12124" y="4378"/>
                      <a:pt x="12461" y="5557"/>
                    </a:cubicBezTo>
                    <a:cubicBezTo>
                      <a:pt x="12629" y="5894"/>
                      <a:pt x="12798" y="6399"/>
                      <a:pt x="12966" y="7241"/>
                    </a:cubicBezTo>
                    <a:lnTo>
                      <a:pt x="13134" y="7914"/>
                    </a:lnTo>
                    <a:cubicBezTo>
                      <a:pt x="13303" y="8251"/>
                      <a:pt x="13471" y="8588"/>
                      <a:pt x="13471" y="8756"/>
                    </a:cubicBezTo>
                    <a:cubicBezTo>
                      <a:pt x="13471" y="8925"/>
                      <a:pt x="13639" y="8925"/>
                      <a:pt x="13639" y="8925"/>
                    </a:cubicBezTo>
                    <a:lnTo>
                      <a:pt x="18186" y="6399"/>
                    </a:lnTo>
                    <a:lnTo>
                      <a:pt x="20375" y="7746"/>
                    </a:lnTo>
                    <a:lnTo>
                      <a:pt x="13134" y="11956"/>
                    </a:lnTo>
                    <a:lnTo>
                      <a:pt x="10945" y="10777"/>
                    </a:lnTo>
                    <a:cubicBezTo>
                      <a:pt x="10945" y="10777"/>
                      <a:pt x="10777" y="10440"/>
                      <a:pt x="10608" y="9935"/>
                    </a:cubicBezTo>
                    <a:cubicBezTo>
                      <a:pt x="10608" y="9767"/>
                      <a:pt x="10440" y="9430"/>
                      <a:pt x="10440" y="9261"/>
                    </a:cubicBezTo>
                    <a:lnTo>
                      <a:pt x="10103" y="8419"/>
                    </a:lnTo>
                    <a:cubicBezTo>
                      <a:pt x="9935" y="7914"/>
                      <a:pt x="9767" y="7241"/>
                      <a:pt x="9430" y="6062"/>
                    </a:cubicBezTo>
                    <a:cubicBezTo>
                      <a:pt x="9093" y="5052"/>
                      <a:pt x="8756" y="4210"/>
                      <a:pt x="8251" y="3536"/>
                    </a:cubicBezTo>
                    <a:cubicBezTo>
                      <a:pt x="7914" y="3031"/>
                      <a:pt x="7409" y="2526"/>
                      <a:pt x="6904" y="2189"/>
                    </a:cubicBezTo>
                    <a:cubicBezTo>
                      <a:pt x="6399" y="1852"/>
                      <a:pt x="5894" y="1852"/>
                      <a:pt x="5388" y="1684"/>
                    </a:cubicBezTo>
                    <a:cubicBezTo>
                      <a:pt x="4715" y="1684"/>
                      <a:pt x="4210" y="1684"/>
                      <a:pt x="3705" y="2021"/>
                    </a:cubicBezTo>
                    <a:cubicBezTo>
                      <a:pt x="3031" y="2357"/>
                      <a:pt x="3031" y="2863"/>
                      <a:pt x="3368" y="3368"/>
                    </a:cubicBezTo>
                    <a:cubicBezTo>
                      <a:pt x="3536" y="3536"/>
                      <a:pt x="3705" y="3705"/>
                      <a:pt x="4041" y="3873"/>
                    </a:cubicBezTo>
                    <a:lnTo>
                      <a:pt x="4546" y="4210"/>
                    </a:lnTo>
                    <a:lnTo>
                      <a:pt x="2357" y="5557"/>
                    </a:lnTo>
                    <a:lnTo>
                      <a:pt x="2189" y="5557"/>
                    </a:lnTo>
                    <a:close/>
                  </a:path>
                </a:pathLst>
              </a:custGeom>
              <a:solidFill>
                <a:srgbClr val="FFFFFF"/>
              </a:solidFill>
              <a:ln w="16828" cap="flat">
                <a:noFill/>
                <a:prstDash val="solid"/>
                <a:miter/>
              </a:ln>
            </p:spPr>
            <p:txBody>
              <a:bodyPr rtlCol="0" anchor="ctr"/>
              <a:lstStyle/>
              <a:p>
                <a:endParaRPr lang="en-IN"/>
              </a:p>
            </p:txBody>
          </p:sp>
          <p:sp>
            <p:nvSpPr>
              <p:cNvPr id="4643" name="Freeform: Shape 4642">
                <a:extLst>
                  <a:ext uri="{FF2B5EF4-FFF2-40B4-BE49-F238E27FC236}">
                    <a16:creationId xmlns:a16="http://schemas.microsoft.com/office/drawing/2014/main" id="{DA7073BA-6EF1-4632-9030-6BFF9650D346}"/>
                  </a:ext>
                </a:extLst>
              </p:cNvPr>
              <p:cNvSpPr/>
              <p:nvPr/>
            </p:nvSpPr>
            <p:spPr>
              <a:xfrm>
                <a:off x="7844868" y="4492339"/>
                <a:ext cx="18691" cy="10608"/>
              </a:xfrm>
              <a:custGeom>
                <a:avLst/>
                <a:gdLst>
                  <a:gd name="connsiteX0" fmla="*/ 17176 w 18691"/>
                  <a:gd name="connsiteY0" fmla="*/ 5725 h 10608"/>
                  <a:gd name="connsiteX1" fmla="*/ 18691 w 18691"/>
                  <a:gd name="connsiteY1" fmla="*/ 7746 h 10608"/>
                  <a:gd name="connsiteX2" fmla="*/ 17176 w 18691"/>
                  <a:gd name="connsiteY2" fmla="*/ 9767 h 10608"/>
                  <a:gd name="connsiteX3" fmla="*/ 13471 w 18691"/>
                  <a:gd name="connsiteY3" fmla="*/ 10608 h 10608"/>
                  <a:gd name="connsiteX4" fmla="*/ 9767 w 18691"/>
                  <a:gd name="connsiteY4" fmla="*/ 9767 h 10608"/>
                  <a:gd name="connsiteX5" fmla="*/ 1515 w 18691"/>
                  <a:gd name="connsiteY5" fmla="*/ 5052 h 10608"/>
                  <a:gd name="connsiteX6" fmla="*/ 0 w 18691"/>
                  <a:gd name="connsiteY6" fmla="*/ 2863 h 10608"/>
                  <a:gd name="connsiteX7" fmla="*/ 1515 w 18691"/>
                  <a:gd name="connsiteY7" fmla="*/ 842 h 10608"/>
                  <a:gd name="connsiteX8" fmla="*/ 5220 w 18691"/>
                  <a:gd name="connsiteY8" fmla="*/ 0 h 10608"/>
                  <a:gd name="connsiteX9" fmla="*/ 8925 w 18691"/>
                  <a:gd name="connsiteY9" fmla="*/ 842 h 10608"/>
                  <a:gd name="connsiteX10" fmla="*/ 17176 w 18691"/>
                  <a:gd name="connsiteY10" fmla="*/ 5725 h 10608"/>
                  <a:gd name="connsiteX11" fmla="*/ 6399 w 18691"/>
                  <a:gd name="connsiteY11" fmla="*/ 2189 h 10608"/>
                  <a:gd name="connsiteX12" fmla="*/ 5052 w 18691"/>
                  <a:gd name="connsiteY12" fmla="*/ 1852 h 10608"/>
                  <a:gd name="connsiteX13" fmla="*/ 3705 w 18691"/>
                  <a:gd name="connsiteY13" fmla="*/ 2189 h 10608"/>
                  <a:gd name="connsiteX14" fmla="*/ 3199 w 18691"/>
                  <a:gd name="connsiteY14" fmla="*/ 3031 h 10608"/>
                  <a:gd name="connsiteX15" fmla="*/ 3705 w 18691"/>
                  <a:gd name="connsiteY15" fmla="*/ 3873 h 10608"/>
                  <a:gd name="connsiteX16" fmla="*/ 11956 w 18691"/>
                  <a:gd name="connsiteY16" fmla="*/ 8756 h 10608"/>
                  <a:gd name="connsiteX17" fmla="*/ 13303 w 18691"/>
                  <a:gd name="connsiteY17" fmla="*/ 9093 h 10608"/>
                  <a:gd name="connsiteX18" fmla="*/ 14650 w 18691"/>
                  <a:gd name="connsiteY18" fmla="*/ 8756 h 10608"/>
                  <a:gd name="connsiteX19" fmla="*/ 15155 w 18691"/>
                  <a:gd name="connsiteY19" fmla="*/ 7914 h 10608"/>
                  <a:gd name="connsiteX20" fmla="*/ 14650 w 18691"/>
                  <a:gd name="connsiteY20" fmla="*/ 7072 h 10608"/>
                  <a:gd name="connsiteX21" fmla="*/ 6399 w 18691"/>
                  <a:gd name="connsiteY21" fmla="*/ 2189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691" h="10608">
                    <a:moveTo>
                      <a:pt x="17176" y="5725"/>
                    </a:moveTo>
                    <a:cubicBezTo>
                      <a:pt x="18186" y="6230"/>
                      <a:pt x="18691" y="7072"/>
                      <a:pt x="18691" y="7746"/>
                    </a:cubicBezTo>
                    <a:cubicBezTo>
                      <a:pt x="18691" y="8588"/>
                      <a:pt x="18186" y="9261"/>
                      <a:pt x="17176" y="9767"/>
                    </a:cubicBezTo>
                    <a:cubicBezTo>
                      <a:pt x="16165" y="10272"/>
                      <a:pt x="14987" y="10608"/>
                      <a:pt x="13471" y="10608"/>
                    </a:cubicBezTo>
                    <a:cubicBezTo>
                      <a:pt x="12124" y="10608"/>
                      <a:pt x="10777" y="10272"/>
                      <a:pt x="9767" y="9767"/>
                    </a:cubicBezTo>
                    <a:lnTo>
                      <a:pt x="1515" y="5052"/>
                    </a:lnTo>
                    <a:cubicBezTo>
                      <a:pt x="505" y="4546"/>
                      <a:pt x="0" y="3705"/>
                      <a:pt x="0" y="2863"/>
                    </a:cubicBezTo>
                    <a:cubicBezTo>
                      <a:pt x="0" y="2021"/>
                      <a:pt x="505" y="1347"/>
                      <a:pt x="1515" y="842"/>
                    </a:cubicBezTo>
                    <a:cubicBezTo>
                      <a:pt x="2526" y="337"/>
                      <a:pt x="3705" y="0"/>
                      <a:pt x="5220" y="0"/>
                    </a:cubicBezTo>
                    <a:cubicBezTo>
                      <a:pt x="6567" y="0"/>
                      <a:pt x="7914" y="337"/>
                      <a:pt x="8925" y="842"/>
                    </a:cubicBezTo>
                    <a:lnTo>
                      <a:pt x="17176" y="5725"/>
                    </a:lnTo>
                    <a:close/>
                    <a:moveTo>
                      <a:pt x="6399" y="2189"/>
                    </a:moveTo>
                    <a:cubicBezTo>
                      <a:pt x="6062" y="2021"/>
                      <a:pt x="5557" y="1852"/>
                      <a:pt x="5052" y="1852"/>
                    </a:cubicBezTo>
                    <a:cubicBezTo>
                      <a:pt x="4546" y="1852"/>
                      <a:pt x="4041" y="2021"/>
                      <a:pt x="3705" y="2189"/>
                    </a:cubicBezTo>
                    <a:cubicBezTo>
                      <a:pt x="3368" y="2357"/>
                      <a:pt x="3199" y="2694"/>
                      <a:pt x="3199" y="3031"/>
                    </a:cubicBezTo>
                    <a:cubicBezTo>
                      <a:pt x="3199" y="3368"/>
                      <a:pt x="3368" y="3536"/>
                      <a:pt x="3705" y="3873"/>
                    </a:cubicBezTo>
                    <a:lnTo>
                      <a:pt x="11956" y="8756"/>
                    </a:lnTo>
                    <a:cubicBezTo>
                      <a:pt x="12292" y="8925"/>
                      <a:pt x="12798" y="9093"/>
                      <a:pt x="13303" y="9093"/>
                    </a:cubicBezTo>
                    <a:cubicBezTo>
                      <a:pt x="13808" y="9093"/>
                      <a:pt x="14313" y="8925"/>
                      <a:pt x="14650" y="8756"/>
                    </a:cubicBezTo>
                    <a:cubicBezTo>
                      <a:pt x="14987" y="8588"/>
                      <a:pt x="15155" y="8251"/>
                      <a:pt x="15155" y="7914"/>
                    </a:cubicBezTo>
                    <a:cubicBezTo>
                      <a:pt x="15155" y="7577"/>
                      <a:pt x="14987" y="7409"/>
                      <a:pt x="14650" y="7072"/>
                    </a:cubicBezTo>
                    <a:lnTo>
                      <a:pt x="6399" y="2189"/>
                    </a:lnTo>
                    <a:close/>
                  </a:path>
                </a:pathLst>
              </a:custGeom>
              <a:solidFill>
                <a:srgbClr val="FFFFFF"/>
              </a:solidFill>
              <a:ln w="16828" cap="flat">
                <a:noFill/>
                <a:prstDash val="solid"/>
                <a:miter/>
              </a:ln>
            </p:spPr>
            <p:txBody>
              <a:bodyPr rtlCol="0" anchor="ctr"/>
              <a:lstStyle/>
              <a:p>
                <a:endParaRPr lang="en-IN"/>
              </a:p>
            </p:txBody>
          </p:sp>
          <p:sp>
            <p:nvSpPr>
              <p:cNvPr id="4644" name="Freeform: Shape 4643">
                <a:extLst>
                  <a:ext uri="{FF2B5EF4-FFF2-40B4-BE49-F238E27FC236}">
                    <a16:creationId xmlns:a16="http://schemas.microsoft.com/office/drawing/2014/main" id="{D8CDD6F1-7D24-4048-AF51-4D3EBC591016}"/>
                  </a:ext>
                </a:extLst>
              </p:cNvPr>
              <p:cNvSpPr/>
              <p:nvPr/>
            </p:nvSpPr>
            <p:spPr>
              <a:xfrm>
                <a:off x="7848036" y="4445527"/>
                <a:ext cx="18722" cy="10608"/>
              </a:xfrm>
              <a:custGeom>
                <a:avLst/>
                <a:gdLst>
                  <a:gd name="connsiteX0" fmla="*/ 14513 w 18722"/>
                  <a:gd name="connsiteY0" fmla="*/ 8419 h 10608"/>
                  <a:gd name="connsiteX1" fmla="*/ 14681 w 18722"/>
                  <a:gd name="connsiteY1" fmla="*/ 6736 h 10608"/>
                  <a:gd name="connsiteX2" fmla="*/ 13839 w 18722"/>
                  <a:gd name="connsiteY2" fmla="*/ 6230 h 10608"/>
                  <a:gd name="connsiteX3" fmla="*/ 9125 w 18722"/>
                  <a:gd name="connsiteY3" fmla="*/ 6230 h 10608"/>
                  <a:gd name="connsiteX4" fmla="*/ 7104 w 18722"/>
                  <a:gd name="connsiteY4" fmla="*/ 5052 h 10608"/>
                  <a:gd name="connsiteX5" fmla="*/ 8283 w 18722"/>
                  <a:gd name="connsiteY5" fmla="*/ 3536 h 10608"/>
                  <a:gd name="connsiteX6" fmla="*/ 6936 w 18722"/>
                  <a:gd name="connsiteY6" fmla="*/ 2189 h 10608"/>
                  <a:gd name="connsiteX7" fmla="*/ 6599 w 18722"/>
                  <a:gd name="connsiteY7" fmla="*/ 2021 h 10608"/>
                  <a:gd name="connsiteX8" fmla="*/ 3736 w 18722"/>
                  <a:gd name="connsiteY8" fmla="*/ 1852 h 10608"/>
                  <a:gd name="connsiteX9" fmla="*/ 3231 w 18722"/>
                  <a:gd name="connsiteY9" fmla="*/ 2863 h 10608"/>
                  <a:gd name="connsiteX10" fmla="*/ 4073 w 18722"/>
                  <a:gd name="connsiteY10" fmla="*/ 3705 h 10608"/>
                  <a:gd name="connsiteX11" fmla="*/ 4410 w 18722"/>
                  <a:gd name="connsiteY11" fmla="*/ 3873 h 10608"/>
                  <a:gd name="connsiteX12" fmla="*/ 2221 w 18722"/>
                  <a:gd name="connsiteY12" fmla="*/ 5220 h 10608"/>
                  <a:gd name="connsiteX13" fmla="*/ 1884 w 18722"/>
                  <a:gd name="connsiteY13" fmla="*/ 5052 h 10608"/>
                  <a:gd name="connsiteX14" fmla="*/ 32 w 18722"/>
                  <a:gd name="connsiteY14" fmla="*/ 3031 h 10608"/>
                  <a:gd name="connsiteX15" fmla="*/ 1547 w 18722"/>
                  <a:gd name="connsiteY15" fmla="*/ 842 h 10608"/>
                  <a:gd name="connsiteX16" fmla="*/ 5252 w 18722"/>
                  <a:gd name="connsiteY16" fmla="*/ 0 h 10608"/>
                  <a:gd name="connsiteX17" fmla="*/ 8619 w 18722"/>
                  <a:gd name="connsiteY17" fmla="*/ 842 h 10608"/>
                  <a:gd name="connsiteX18" fmla="*/ 9293 w 18722"/>
                  <a:gd name="connsiteY18" fmla="*/ 1179 h 10608"/>
                  <a:gd name="connsiteX19" fmla="*/ 10977 w 18722"/>
                  <a:gd name="connsiteY19" fmla="*/ 3031 h 10608"/>
                  <a:gd name="connsiteX20" fmla="*/ 10808 w 18722"/>
                  <a:gd name="connsiteY20" fmla="*/ 3873 h 10608"/>
                  <a:gd name="connsiteX21" fmla="*/ 14176 w 18722"/>
                  <a:gd name="connsiteY21" fmla="*/ 4041 h 10608"/>
                  <a:gd name="connsiteX22" fmla="*/ 15860 w 18722"/>
                  <a:gd name="connsiteY22" fmla="*/ 4715 h 10608"/>
                  <a:gd name="connsiteX23" fmla="*/ 17039 w 18722"/>
                  <a:gd name="connsiteY23" fmla="*/ 5388 h 10608"/>
                  <a:gd name="connsiteX24" fmla="*/ 18723 w 18722"/>
                  <a:gd name="connsiteY24" fmla="*/ 7577 h 10608"/>
                  <a:gd name="connsiteX25" fmla="*/ 17039 w 18722"/>
                  <a:gd name="connsiteY25" fmla="*/ 9767 h 10608"/>
                  <a:gd name="connsiteX26" fmla="*/ 13334 w 18722"/>
                  <a:gd name="connsiteY26" fmla="*/ 10608 h 10608"/>
                  <a:gd name="connsiteX27" fmla="*/ 9630 w 18722"/>
                  <a:gd name="connsiteY27" fmla="*/ 9767 h 10608"/>
                  <a:gd name="connsiteX28" fmla="*/ 9293 w 18722"/>
                  <a:gd name="connsiteY28" fmla="*/ 9598 h 10608"/>
                  <a:gd name="connsiteX29" fmla="*/ 11314 w 18722"/>
                  <a:gd name="connsiteY29" fmla="*/ 8251 h 10608"/>
                  <a:gd name="connsiteX30" fmla="*/ 11819 w 18722"/>
                  <a:gd name="connsiteY30" fmla="*/ 8588 h 10608"/>
                  <a:gd name="connsiteX31" fmla="*/ 13166 w 18722"/>
                  <a:gd name="connsiteY31" fmla="*/ 8925 h 10608"/>
                  <a:gd name="connsiteX32" fmla="*/ 14513 w 18722"/>
                  <a:gd name="connsiteY32" fmla="*/ 8419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722" h="10608">
                    <a:moveTo>
                      <a:pt x="14513" y="8419"/>
                    </a:moveTo>
                    <a:cubicBezTo>
                      <a:pt x="15523" y="7746"/>
                      <a:pt x="15523" y="7241"/>
                      <a:pt x="14681" y="6736"/>
                    </a:cubicBezTo>
                    <a:lnTo>
                      <a:pt x="13839" y="6230"/>
                    </a:lnTo>
                    <a:cubicBezTo>
                      <a:pt x="12324" y="5388"/>
                      <a:pt x="10640" y="5388"/>
                      <a:pt x="9125" y="6230"/>
                    </a:cubicBezTo>
                    <a:lnTo>
                      <a:pt x="7104" y="5052"/>
                    </a:lnTo>
                    <a:cubicBezTo>
                      <a:pt x="7946" y="4546"/>
                      <a:pt x="8451" y="4041"/>
                      <a:pt x="8283" y="3536"/>
                    </a:cubicBezTo>
                    <a:cubicBezTo>
                      <a:pt x="8283" y="3031"/>
                      <a:pt x="7777" y="2526"/>
                      <a:pt x="6936" y="2189"/>
                    </a:cubicBezTo>
                    <a:lnTo>
                      <a:pt x="6599" y="2021"/>
                    </a:lnTo>
                    <a:cubicBezTo>
                      <a:pt x="5588" y="1515"/>
                      <a:pt x="4746" y="1347"/>
                      <a:pt x="3736" y="1852"/>
                    </a:cubicBezTo>
                    <a:cubicBezTo>
                      <a:pt x="3231" y="2189"/>
                      <a:pt x="3063" y="2526"/>
                      <a:pt x="3231" y="2863"/>
                    </a:cubicBezTo>
                    <a:cubicBezTo>
                      <a:pt x="3399" y="3199"/>
                      <a:pt x="3568" y="3368"/>
                      <a:pt x="4073" y="3705"/>
                    </a:cubicBezTo>
                    <a:lnTo>
                      <a:pt x="4410" y="3873"/>
                    </a:lnTo>
                    <a:lnTo>
                      <a:pt x="2221" y="5220"/>
                    </a:lnTo>
                    <a:lnTo>
                      <a:pt x="1884" y="5052"/>
                    </a:lnTo>
                    <a:cubicBezTo>
                      <a:pt x="874" y="4378"/>
                      <a:pt x="200" y="3705"/>
                      <a:pt x="32" y="3031"/>
                    </a:cubicBezTo>
                    <a:cubicBezTo>
                      <a:pt x="-137" y="2189"/>
                      <a:pt x="368" y="1515"/>
                      <a:pt x="1547" y="842"/>
                    </a:cubicBezTo>
                    <a:cubicBezTo>
                      <a:pt x="2557" y="168"/>
                      <a:pt x="3905" y="0"/>
                      <a:pt x="5252" y="0"/>
                    </a:cubicBezTo>
                    <a:cubicBezTo>
                      <a:pt x="6430" y="0"/>
                      <a:pt x="7609" y="337"/>
                      <a:pt x="8619" y="842"/>
                    </a:cubicBezTo>
                    <a:lnTo>
                      <a:pt x="9293" y="1179"/>
                    </a:lnTo>
                    <a:cubicBezTo>
                      <a:pt x="10303" y="1684"/>
                      <a:pt x="10808" y="2357"/>
                      <a:pt x="10977" y="3031"/>
                    </a:cubicBezTo>
                    <a:cubicBezTo>
                      <a:pt x="10977" y="3368"/>
                      <a:pt x="10977" y="3705"/>
                      <a:pt x="10808" y="3873"/>
                    </a:cubicBezTo>
                    <a:cubicBezTo>
                      <a:pt x="11819" y="3705"/>
                      <a:pt x="12998" y="3705"/>
                      <a:pt x="14176" y="4041"/>
                    </a:cubicBezTo>
                    <a:cubicBezTo>
                      <a:pt x="14850" y="4210"/>
                      <a:pt x="15355" y="4378"/>
                      <a:pt x="15860" y="4715"/>
                    </a:cubicBezTo>
                    <a:lnTo>
                      <a:pt x="17039" y="5388"/>
                    </a:lnTo>
                    <a:cubicBezTo>
                      <a:pt x="18218" y="6062"/>
                      <a:pt x="18723" y="6736"/>
                      <a:pt x="18723" y="7577"/>
                    </a:cubicBezTo>
                    <a:cubicBezTo>
                      <a:pt x="18723" y="8419"/>
                      <a:pt x="18218" y="9093"/>
                      <a:pt x="17039" y="9767"/>
                    </a:cubicBezTo>
                    <a:cubicBezTo>
                      <a:pt x="16029" y="10272"/>
                      <a:pt x="14850" y="10608"/>
                      <a:pt x="13334" y="10608"/>
                    </a:cubicBezTo>
                    <a:cubicBezTo>
                      <a:pt x="11987" y="10608"/>
                      <a:pt x="10640" y="10272"/>
                      <a:pt x="9630" y="9767"/>
                    </a:cubicBezTo>
                    <a:lnTo>
                      <a:pt x="9293" y="9598"/>
                    </a:lnTo>
                    <a:lnTo>
                      <a:pt x="11314" y="8251"/>
                    </a:lnTo>
                    <a:lnTo>
                      <a:pt x="11819" y="8588"/>
                    </a:lnTo>
                    <a:cubicBezTo>
                      <a:pt x="12156" y="8756"/>
                      <a:pt x="12661" y="8925"/>
                      <a:pt x="13166" y="8925"/>
                    </a:cubicBezTo>
                    <a:cubicBezTo>
                      <a:pt x="13671" y="8756"/>
                      <a:pt x="14008" y="8588"/>
                      <a:pt x="14513" y="8419"/>
                    </a:cubicBezTo>
                    <a:close/>
                  </a:path>
                </a:pathLst>
              </a:custGeom>
              <a:solidFill>
                <a:srgbClr val="FFFFFF"/>
              </a:solidFill>
              <a:ln w="16828" cap="flat">
                <a:noFill/>
                <a:prstDash val="solid"/>
                <a:miter/>
              </a:ln>
            </p:spPr>
            <p:txBody>
              <a:bodyPr rtlCol="0" anchor="ctr"/>
              <a:lstStyle/>
              <a:p>
                <a:endParaRPr lang="en-IN"/>
              </a:p>
            </p:txBody>
          </p:sp>
          <p:sp>
            <p:nvSpPr>
              <p:cNvPr id="4645" name="Freeform: Shape 4644">
                <a:extLst>
                  <a:ext uri="{FF2B5EF4-FFF2-40B4-BE49-F238E27FC236}">
                    <a16:creationId xmlns:a16="http://schemas.microsoft.com/office/drawing/2014/main" id="{DE31C9EF-3998-4EFA-A7EF-EB5044B73B62}"/>
                  </a:ext>
                </a:extLst>
              </p:cNvPr>
              <p:cNvSpPr/>
              <p:nvPr/>
            </p:nvSpPr>
            <p:spPr>
              <a:xfrm>
                <a:off x="7725986" y="4470954"/>
                <a:ext cx="17680" cy="10608"/>
              </a:xfrm>
              <a:custGeom>
                <a:avLst/>
                <a:gdLst>
                  <a:gd name="connsiteX0" fmla="*/ 5557 w 17680"/>
                  <a:gd name="connsiteY0" fmla="*/ 9261 h 10608"/>
                  <a:gd name="connsiteX1" fmla="*/ 0 w 17680"/>
                  <a:gd name="connsiteY1" fmla="*/ 1347 h 10608"/>
                  <a:gd name="connsiteX2" fmla="*/ 2357 w 17680"/>
                  <a:gd name="connsiteY2" fmla="*/ 0 h 10608"/>
                  <a:gd name="connsiteX3" fmla="*/ 11956 w 17680"/>
                  <a:gd name="connsiteY3" fmla="*/ 5557 h 10608"/>
                  <a:gd name="connsiteX4" fmla="*/ 13471 w 17680"/>
                  <a:gd name="connsiteY4" fmla="*/ 4715 h 10608"/>
                  <a:gd name="connsiteX5" fmla="*/ 15828 w 17680"/>
                  <a:gd name="connsiteY5" fmla="*/ 6062 h 10608"/>
                  <a:gd name="connsiteX6" fmla="*/ 14313 w 17680"/>
                  <a:gd name="connsiteY6" fmla="*/ 6904 h 10608"/>
                  <a:gd name="connsiteX7" fmla="*/ 17681 w 17680"/>
                  <a:gd name="connsiteY7" fmla="*/ 8756 h 10608"/>
                  <a:gd name="connsiteX8" fmla="*/ 15323 w 17680"/>
                  <a:gd name="connsiteY8" fmla="*/ 10103 h 10608"/>
                  <a:gd name="connsiteX9" fmla="*/ 11956 w 17680"/>
                  <a:gd name="connsiteY9" fmla="*/ 8251 h 10608"/>
                  <a:gd name="connsiteX10" fmla="*/ 7914 w 17680"/>
                  <a:gd name="connsiteY10" fmla="*/ 10608 h 10608"/>
                  <a:gd name="connsiteX11" fmla="*/ 5557 w 17680"/>
                  <a:gd name="connsiteY11" fmla="*/ 9261 h 10608"/>
                  <a:gd name="connsiteX12" fmla="*/ 9598 w 17680"/>
                  <a:gd name="connsiteY12" fmla="*/ 6904 h 10608"/>
                  <a:gd name="connsiteX13" fmla="*/ 4883 w 17680"/>
                  <a:gd name="connsiteY13" fmla="*/ 4210 h 10608"/>
                  <a:gd name="connsiteX14" fmla="*/ 7746 w 17680"/>
                  <a:gd name="connsiteY14" fmla="*/ 8083 h 10608"/>
                  <a:gd name="connsiteX15" fmla="*/ 9598 w 17680"/>
                  <a:gd name="connsiteY15" fmla="*/ 6904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680" h="10608">
                    <a:moveTo>
                      <a:pt x="5557" y="9261"/>
                    </a:moveTo>
                    <a:lnTo>
                      <a:pt x="0" y="1347"/>
                    </a:lnTo>
                    <a:lnTo>
                      <a:pt x="2357" y="0"/>
                    </a:lnTo>
                    <a:lnTo>
                      <a:pt x="11956" y="5557"/>
                    </a:lnTo>
                    <a:lnTo>
                      <a:pt x="13471" y="4715"/>
                    </a:lnTo>
                    <a:lnTo>
                      <a:pt x="15828" y="6062"/>
                    </a:lnTo>
                    <a:lnTo>
                      <a:pt x="14313" y="6904"/>
                    </a:lnTo>
                    <a:lnTo>
                      <a:pt x="17681" y="8756"/>
                    </a:lnTo>
                    <a:lnTo>
                      <a:pt x="15323" y="10103"/>
                    </a:lnTo>
                    <a:lnTo>
                      <a:pt x="11956" y="8251"/>
                    </a:lnTo>
                    <a:lnTo>
                      <a:pt x="7914" y="10608"/>
                    </a:lnTo>
                    <a:lnTo>
                      <a:pt x="5557" y="9261"/>
                    </a:lnTo>
                    <a:close/>
                    <a:moveTo>
                      <a:pt x="9598" y="6904"/>
                    </a:moveTo>
                    <a:lnTo>
                      <a:pt x="4883" y="4210"/>
                    </a:lnTo>
                    <a:lnTo>
                      <a:pt x="7746" y="8083"/>
                    </a:lnTo>
                    <a:lnTo>
                      <a:pt x="9598" y="6904"/>
                    </a:lnTo>
                    <a:close/>
                  </a:path>
                </a:pathLst>
              </a:custGeom>
              <a:solidFill>
                <a:srgbClr val="FFFFFF"/>
              </a:solidFill>
              <a:ln w="16828" cap="flat">
                <a:noFill/>
                <a:prstDash val="solid"/>
                <a:miter/>
              </a:ln>
            </p:spPr>
            <p:txBody>
              <a:bodyPr rtlCol="0" anchor="ctr"/>
              <a:lstStyle/>
              <a:p>
                <a:endParaRPr lang="en-IN"/>
              </a:p>
            </p:txBody>
          </p:sp>
          <p:sp>
            <p:nvSpPr>
              <p:cNvPr id="4646" name="Freeform: Shape 4645">
                <a:extLst>
                  <a:ext uri="{FF2B5EF4-FFF2-40B4-BE49-F238E27FC236}">
                    <a16:creationId xmlns:a16="http://schemas.microsoft.com/office/drawing/2014/main" id="{3116C495-223E-43FA-831E-7EB3EA815CDE}"/>
                  </a:ext>
                </a:extLst>
              </p:cNvPr>
              <p:cNvSpPr/>
              <p:nvPr/>
            </p:nvSpPr>
            <p:spPr>
              <a:xfrm>
                <a:off x="7764884" y="4446032"/>
                <a:ext cx="20038" cy="11618"/>
              </a:xfrm>
              <a:custGeom>
                <a:avLst/>
                <a:gdLst>
                  <a:gd name="connsiteX0" fmla="*/ 4546 w 20038"/>
                  <a:gd name="connsiteY0" fmla="*/ 3873 h 11618"/>
                  <a:gd name="connsiteX1" fmla="*/ 7746 w 20038"/>
                  <a:gd name="connsiteY1" fmla="*/ 5725 h 11618"/>
                  <a:gd name="connsiteX2" fmla="*/ 7914 w 20038"/>
                  <a:gd name="connsiteY2" fmla="*/ 4715 h 11618"/>
                  <a:gd name="connsiteX3" fmla="*/ 8588 w 20038"/>
                  <a:gd name="connsiteY3" fmla="*/ 4210 h 11618"/>
                  <a:gd name="connsiteX4" fmla="*/ 11956 w 20038"/>
                  <a:gd name="connsiteY4" fmla="*/ 3536 h 11618"/>
                  <a:gd name="connsiteX5" fmla="*/ 15155 w 20038"/>
                  <a:gd name="connsiteY5" fmla="*/ 4715 h 11618"/>
                  <a:gd name="connsiteX6" fmla="*/ 18354 w 20038"/>
                  <a:gd name="connsiteY6" fmla="*/ 6567 h 11618"/>
                  <a:gd name="connsiteX7" fmla="*/ 20038 w 20038"/>
                  <a:gd name="connsiteY7" fmla="*/ 8756 h 11618"/>
                  <a:gd name="connsiteX8" fmla="*/ 18523 w 20038"/>
                  <a:gd name="connsiteY8" fmla="*/ 10777 h 11618"/>
                  <a:gd name="connsiteX9" fmla="*/ 14987 w 20038"/>
                  <a:gd name="connsiteY9" fmla="*/ 11619 h 11618"/>
                  <a:gd name="connsiteX10" fmla="*/ 11450 w 20038"/>
                  <a:gd name="connsiteY10" fmla="*/ 10777 h 11618"/>
                  <a:gd name="connsiteX11" fmla="*/ 11114 w 20038"/>
                  <a:gd name="connsiteY11" fmla="*/ 10608 h 11618"/>
                  <a:gd name="connsiteX12" fmla="*/ 13134 w 20038"/>
                  <a:gd name="connsiteY12" fmla="*/ 9261 h 11618"/>
                  <a:gd name="connsiteX13" fmla="*/ 13639 w 20038"/>
                  <a:gd name="connsiteY13" fmla="*/ 9430 h 11618"/>
                  <a:gd name="connsiteX14" fmla="*/ 15660 w 20038"/>
                  <a:gd name="connsiteY14" fmla="*/ 9767 h 11618"/>
                  <a:gd name="connsiteX15" fmla="*/ 16165 w 20038"/>
                  <a:gd name="connsiteY15" fmla="*/ 9598 h 11618"/>
                  <a:gd name="connsiteX16" fmla="*/ 16165 w 20038"/>
                  <a:gd name="connsiteY16" fmla="*/ 7914 h 11618"/>
                  <a:gd name="connsiteX17" fmla="*/ 12461 w 20038"/>
                  <a:gd name="connsiteY17" fmla="*/ 5725 h 11618"/>
                  <a:gd name="connsiteX18" fmla="*/ 10945 w 20038"/>
                  <a:gd name="connsiteY18" fmla="*/ 5388 h 11618"/>
                  <a:gd name="connsiteX19" fmla="*/ 10103 w 20038"/>
                  <a:gd name="connsiteY19" fmla="*/ 5725 h 11618"/>
                  <a:gd name="connsiteX20" fmla="*/ 9598 w 20038"/>
                  <a:gd name="connsiteY20" fmla="*/ 6567 h 11618"/>
                  <a:gd name="connsiteX21" fmla="*/ 10272 w 20038"/>
                  <a:gd name="connsiteY21" fmla="*/ 7241 h 11618"/>
                  <a:gd name="connsiteX22" fmla="*/ 10608 w 20038"/>
                  <a:gd name="connsiteY22" fmla="*/ 7409 h 11618"/>
                  <a:gd name="connsiteX23" fmla="*/ 8251 w 20038"/>
                  <a:gd name="connsiteY23" fmla="*/ 8756 h 11618"/>
                  <a:gd name="connsiteX24" fmla="*/ 0 w 20038"/>
                  <a:gd name="connsiteY24" fmla="*/ 3873 h 11618"/>
                  <a:gd name="connsiteX25" fmla="*/ 6736 w 20038"/>
                  <a:gd name="connsiteY25" fmla="*/ 0 h 11618"/>
                  <a:gd name="connsiteX26" fmla="*/ 9093 w 20038"/>
                  <a:gd name="connsiteY26" fmla="*/ 1347 h 11618"/>
                  <a:gd name="connsiteX27" fmla="*/ 4546 w 20038"/>
                  <a:gd name="connsiteY27" fmla="*/ 3873 h 1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038" h="11618">
                    <a:moveTo>
                      <a:pt x="4546" y="3873"/>
                    </a:moveTo>
                    <a:lnTo>
                      <a:pt x="7746" y="5725"/>
                    </a:lnTo>
                    <a:cubicBezTo>
                      <a:pt x="7577" y="5388"/>
                      <a:pt x="7746" y="5052"/>
                      <a:pt x="7914" y="4715"/>
                    </a:cubicBezTo>
                    <a:cubicBezTo>
                      <a:pt x="8083" y="4546"/>
                      <a:pt x="8251" y="4378"/>
                      <a:pt x="8588" y="4210"/>
                    </a:cubicBezTo>
                    <a:cubicBezTo>
                      <a:pt x="9598" y="3705"/>
                      <a:pt x="10608" y="3368"/>
                      <a:pt x="11956" y="3536"/>
                    </a:cubicBezTo>
                    <a:cubicBezTo>
                      <a:pt x="12966" y="3705"/>
                      <a:pt x="13976" y="4041"/>
                      <a:pt x="15155" y="4715"/>
                    </a:cubicBezTo>
                    <a:lnTo>
                      <a:pt x="18354" y="6567"/>
                    </a:lnTo>
                    <a:cubicBezTo>
                      <a:pt x="19533" y="7241"/>
                      <a:pt x="20038" y="7914"/>
                      <a:pt x="20038" y="8756"/>
                    </a:cubicBezTo>
                    <a:cubicBezTo>
                      <a:pt x="20038" y="9598"/>
                      <a:pt x="19533" y="10272"/>
                      <a:pt x="18523" y="10777"/>
                    </a:cubicBezTo>
                    <a:cubicBezTo>
                      <a:pt x="17512" y="11282"/>
                      <a:pt x="16334" y="11619"/>
                      <a:pt x="14987" y="11619"/>
                    </a:cubicBezTo>
                    <a:cubicBezTo>
                      <a:pt x="13639" y="11619"/>
                      <a:pt x="12461" y="11282"/>
                      <a:pt x="11450" y="10777"/>
                    </a:cubicBezTo>
                    <a:lnTo>
                      <a:pt x="11114" y="10608"/>
                    </a:lnTo>
                    <a:lnTo>
                      <a:pt x="13134" y="9261"/>
                    </a:lnTo>
                    <a:lnTo>
                      <a:pt x="13639" y="9430"/>
                    </a:lnTo>
                    <a:cubicBezTo>
                      <a:pt x="14313" y="9767"/>
                      <a:pt x="14987" y="9767"/>
                      <a:pt x="15660" y="9767"/>
                    </a:cubicBezTo>
                    <a:cubicBezTo>
                      <a:pt x="15829" y="9767"/>
                      <a:pt x="15997" y="9598"/>
                      <a:pt x="16165" y="9598"/>
                    </a:cubicBezTo>
                    <a:cubicBezTo>
                      <a:pt x="17176" y="9093"/>
                      <a:pt x="17007" y="8419"/>
                      <a:pt x="16165" y="7914"/>
                    </a:cubicBezTo>
                    <a:lnTo>
                      <a:pt x="12461" y="5725"/>
                    </a:lnTo>
                    <a:cubicBezTo>
                      <a:pt x="11956" y="5388"/>
                      <a:pt x="11450" y="5388"/>
                      <a:pt x="10945" y="5388"/>
                    </a:cubicBezTo>
                    <a:cubicBezTo>
                      <a:pt x="10608" y="5388"/>
                      <a:pt x="10440" y="5557"/>
                      <a:pt x="10103" y="5725"/>
                    </a:cubicBezTo>
                    <a:cubicBezTo>
                      <a:pt x="9767" y="5894"/>
                      <a:pt x="9598" y="6230"/>
                      <a:pt x="9598" y="6567"/>
                    </a:cubicBezTo>
                    <a:cubicBezTo>
                      <a:pt x="9767" y="6904"/>
                      <a:pt x="9935" y="7072"/>
                      <a:pt x="10272" y="7241"/>
                    </a:cubicBezTo>
                    <a:lnTo>
                      <a:pt x="10608" y="7409"/>
                    </a:lnTo>
                    <a:lnTo>
                      <a:pt x="8251" y="8756"/>
                    </a:lnTo>
                    <a:lnTo>
                      <a:pt x="0" y="3873"/>
                    </a:lnTo>
                    <a:lnTo>
                      <a:pt x="6736" y="0"/>
                    </a:lnTo>
                    <a:lnTo>
                      <a:pt x="9093" y="1347"/>
                    </a:lnTo>
                    <a:lnTo>
                      <a:pt x="4546" y="3873"/>
                    </a:lnTo>
                    <a:close/>
                  </a:path>
                </a:pathLst>
              </a:custGeom>
              <a:solidFill>
                <a:srgbClr val="FFFFFF"/>
              </a:solidFill>
              <a:ln w="16828" cap="flat">
                <a:noFill/>
                <a:prstDash val="solid"/>
                <a:miter/>
              </a:ln>
            </p:spPr>
            <p:txBody>
              <a:bodyPr rtlCol="0" anchor="ctr"/>
              <a:lstStyle/>
              <a:p>
                <a:endParaRPr lang="en-IN"/>
              </a:p>
            </p:txBody>
          </p:sp>
          <p:sp>
            <p:nvSpPr>
              <p:cNvPr id="4647" name="Freeform: Shape 4646">
                <a:extLst>
                  <a:ext uri="{FF2B5EF4-FFF2-40B4-BE49-F238E27FC236}">
                    <a16:creationId xmlns:a16="http://schemas.microsoft.com/office/drawing/2014/main" id="{2B7D56CF-A986-4742-86F1-08F5B0EEEA5C}"/>
                  </a:ext>
                </a:extLst>
              </p:cNvPr>
              <p:cNvSpPr/>
              <p:nvPr/>
            </p:nvSpPr>
            <p:spPr>
              <a:xfrm>
                <a:off x="7809059" y="4422794"/>
                <a:ext cx="18296" cy="10608"/>
              </a:xfrm>
              <a:custGeom>
                <a:avLst/>
                <a:gdLst>
                  <a:gd name="connsiteX0" fmla="*/ 6173 w 18296"/>
                  <a:gd name="connsiteY0" fmla="*/ 2357 h 10608"/>
                  <a:gd name="connsiteX1" fmla="*/ 5836 w 18296"/>
                  <a:gd name="connsiteY1" fmla="*/ 2189 h 10608"/>
                  <a:gd name="connsiteX2" fmla="*/ 4657 w 18296"/>
                  <a:gd name="connsiteY2" fmla="*/ 1852 h 10608"/>
                  <a:gd name="connsiteX3" fmla="*/ 3478 w 18296"/>
                  <a:gd name="connsiteY3" fmla="*/ 2189 h 10608"/>
                  <a:gd name="connsiteX4" fmla="*/ 2973 w 18296"/>
                  <a:gd name="connsiteY4" fmla="*/ 2863 h 10608"/>
                  <a:gd name="connsiteX5" fmla="*/ 3647 w 18296"/>
                  <a:gd name="connsiteY5" fmla="*/ 3536 h 10608"/>
                  <a:gd name="connsiteX6" fmla="*/ 6678 w 18296"/>
                  <a:gd name="connsiteY6" fmla="*/ 5220 h 10608"/>
                  <a:gd name="connsiteX7" fmla="*/ 7688 w 18296"/>
                  <a:gd name="connsiteY7" fmla="*/ 3873 h 10608"/>
                  <a:gd name="connsiteX8" fmla="*/ 11056 w 18296"/>
                  <a:gd name="connsiteY8" fmla="*/ 3199 h 10608"/>
                  <a:gd name="connsiteX9" fmla="*/ 14255 w 18296"/>
                  <a:gd name="connsiteY9" fmla="*/ 4210 h 10608"/>
                  <a:gd name="connsiteX10" fmla="*/ 16949 w 18296"/>
                  <a:gd name="connsiteY10" fmla="*/ 5725 h 10608"/>
                  <a:gd name="connsiteX11" fmla="*/ 16949 w 18296"/>
                  <a:gd name="connsiteY11" fmla="*/ 5725 h 10608"/>
                  <a:gd name="connsiteX12" fmla="*/ 18297 w 18296"/>
                  <a:gd name="connsiteY12" fmla="*/ 7746 h 10608"/>
                  <a:gd name="connsiteX13" fmla="*/ 16949 w 18296"/>
                  <a:gd name="connsiteY13" fmla="*/ 9767 h 10608"/>
                  <a:gd name="connsiteX14" fmla="*/ 13413 w 18296"/>
                  <a:gd name="connsiteY14" fmla="*/ 10608 h 10608"/>
                  <a:gd name="connsiteX15" fmla="*/ 9877 w 18296"/>
                  <a:gd name="connsiteY15" fmla="*/ 9767 h 10608"/>
                  <a:gd name="connsiteX16" fmla="*/ 1626 w 18296"/>
                  <a:gd name="connsiteY16" fmla="*/ 5052 h 10608"/>
                  <a:gd name="connsiteX17" fmla="*/ 111 w 18296"/>
                  <a:gd name="connsiteY17" fmla="*/ 3536 h 10608"/>
                  <a:gd name="connsiteX18" fmla="*/ 279 w 18296"/>
                  <a:gd name="connsiteY18" fmla="*/ 1852 h 10608"/>
                  <a:gd name="connsiteX19" fmla="*/ 1289 w 18296"/>
                  <a:gd name="connsiteY19" fmla="*/ 842 h 10608"/>
                  <a:gd name="connsiteX20" fmla="*/ 4825 w 18296"/>
                  <a:gd name="connsiteY20" fmla="*/ 0 h 10608"/>
                  <a:gd name="connsiteX21" fmla="*/ 8362 w 18296"/>
                  <a:gd name="connsiteY21" fmla="*/ 842 h 10608"/>
                  <a:gd name="connsiteX22" fmla="*/ 8698 w 18296"/>
                  <a:gd name="connsiteY22" fmla="*/ 1010 h 10608"/>
                  <a:gd name="connsiteX23" fmla="*/ 6173 w 18296"/>
                  <a:gd name="connsiteY23" fmla="*/ 2357 h 10608"/>
                  <a:gd name="connsiteX24" fmla="*/ 11729 w 18296"/>
                  <a:gd name="connsiteY24" fmla="*/ 8251 h 10608"/>
                  <a:gd name="connsiteX25" fmla="*/ 12908 w 18296"/>
                  <a:gd name="connsiteY25" fmla="*/ 8588 h 10608"/>
                  <a:gd name="connsiteX26" fmla="*/ 14087 w 18296"/>
                  <a:gd name="connsiteY26" fmla="*/ 8251 h 10608"/>
                  <a:gd name="connsiteX27" fmla="*/ 14592 w 18296"/>
                  <a:gd name="connsiteY27" fmla="*/ 7577 h 10608"/>
                  <a:gd name="connsiteX28" fmla="*/ 13918 w 18296"/>
                  <a:gd name="connsiteY28" fmla="*/ 6904 h 10608"/>
                  <a:gd name="connsiteX29" fmla="*/ 11056 w 18296"/>
                  <a:gd name="connsiteY29" fmla="*/ 5220 h 10608"/>
                  <a:gd name="connsiteX30" fmla="*/ 9540 w 18296"/>
                  <a:gd name="connsiteY30" fmla="*/ 4883 h 10608"/>
                  <a:gd name="connsiteX31" fmla="*/ 8698 w 18296"/>
                  <a:gd name="connsiteY31" fmla="*/ 5220 h 10608"/>
                  <a:gd name="connsiteX32" fmla="*/ 8193 w 18296"/>
                  <a:gd name="connsiteY32" fmla="*/ 6062 h 10608"/>
                  <a:gd name="connsiteX33" fmla="*/ 8867 w 18296"/>
                  <a:gd name="connsiteY33" fmla="*/ 6736 h 10608"/>
                  <a:gd name="connsiteX34" fmla="*/ 11729 w 18296"/>
                  <a:gd name="connsiteY34" fmla="*/ 8251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8296" h="10608">
                    <a:moveTo>
                      <a:pt x="6173" y="2357"/>
                    </a:moveTo>
                    <a:lnTo>
                      <a:pt x="5836" y="2189"/>
                    </a:lnTo>
                    <a:cubicBezTo>
                      <a:pt x="5499" y="2021"/>
                      <a:pt x="4994" y="1852"/>
                      <a:pt x="4657" y="1852"/>
                    </a:cubicBezTo>
                    <a:cubicBezTo>
                      <a:pt x="4152" y="1852"/>
                      <a:pt x="3815" y="1852"/>
                      <a:pt x="3478" y="2189"/>
                    </a:cubicBezTo>
                    <a:cubicBezTo>
                      <a:pt x="3142" y="2357"/>
                      <a:pt x="2973" y="2694"/>
                      <a:pt x="2973" y="2863"/>
                    </a:cubicBezTo>
                    <a:cubicBezTo>
                      <a:pt x="2973" y="3199"/>
                      <a:pt x="3310" y="3368"/>
                      <a:pt x="3647" y="3536"/>
                    </a:cubicBezTo>
                    <a:lnTo>
                      <a:pt x="6678" y="5220"/>
                    </a:lnTo>
                    <a:cubicBezTo>
                      <a:pt x="6678" y="4715"/>
                      <a:pt x="7015" y="4210"/>
                      <a:pt x="7688" y="3873"/>
                    </a:cubicBezTo>
                    <a:cubicBezTo>
                      <a:pt x="8698" y="3368"/>
                      <a:pt x="9877" y="3031"/>
                      <a:pt x="11056" y="3199"/>
                    </a:cubicBezTo>
                    <a:cubicBezTo>
                      <a:pt x="12066" y="3368"/>
                      <a:pt x="13245" y="3705"/>
                      <a:pt x="14255" y="4210"/>
                    </a:cubicBezTo>
                    <a:lnTo>
                      <a:pt x="16949" y="5725"/>
                    </a:lnTo>
                    <a:lnTo>
                      <a:pt x="16949" y="5725"/>
                    </a:lnTo>
                    <a:cubicBezTo>
                      <a:pt x="17791" y="6230"/>
                      <a:pt x="18297" y="6904"/>
                      <a:pt x="18297" y="7746"/>
                    </a:cubicBezTo>
                    <a:cubicBezTo>
                      <a:pt x="18297" y="8419"/>
                      <a:pt x="17791" y="9093"/>
                      <a:pt x="16949" y="9767"/>
                    </a:cubicBezTo>
                    <a:cubicBezTo>
                      <a:pt x="15939" y="10272"/>
                      <a:pt x="14760" y="10608"/>
                      <a:pt x="13413" y="10608"/>
                    </a:cubicBezTo>
                    <a:cubicBezTo>
                      <a:pt x="12066" y="10608"/>
                      <a:pt x="10887" y="10272"/>
                      <a:pt x="9877" y="9767"/>
                    </a:cubicBezTo>
                    <a:lnTo>
                      <a:pt x="1626" y="5052"/>
                    </a:lnTo>
                    <a:cubicBezTo>
                      <a:pt x="953" y="4546"/>
                      <a:pt x="447" y="4210"/>
                      <a:pt x="111" y="3536"/>
                    </a:cubicBezTo>
                    <a:cubicBezTo>
                      <a:pt x="-58" y="3031"/>
                      <a:pt x="-58" y="2357"/>
                      <a:pt x="279" y="1852"/>
                    </a:cubicBezTo>
                    <a:cubicBezTo>
                      <a:pt x="447" y="1515"/>
                      <a:pt x="784" y="1179"/>
                      <a:pt x="1289" y="842"/>
                    </a:cubicBezTo>
                    <a:cubicBezTo>
                      <a:pt x="2300" y="337"/>
                      <a:pt x="3478" y="0"/>
                      <a:pt x="4825" y="0"/>
                    </a:cubicBezTo>
                    <a:cubicBezTo>
                      <a:pt x="6173" y="0"/>
                      <a:pt x="7351" y="337"/>
                      <a:pt x="8362" y="842"/>
                    </a:cubicBezTo>
                    <a:lnTo>
                      <a:pt x="8698" y="1010"/>
                    </a:lnTo>
                    <a:lnTo>
                      <a:pt x="6173" y="2357"/>
                    </a:lnTo>
                    <a:close/>
                    <a:moveTo>
                      <a:pt x="11729" y="8251"/>
                    </a:moveTo>
                    <a:cubicBezTo>
                      <a:pt x="12066" y="8419"/>
                      <a:pt x="12571" y="8588"/>
                      <a:pt x="12908" y="8588"/>
                    </a:cubicBezTo>
                    <a:cubicBezTo>
                      <a:pt x="13413" y="8588"/>
                      <a:pt x="13750" y="8588"/>
                      <a:pt x="14087" y="8251"/>
                    </a:cubicBezTo>
                    <a:cubicBezTo>
                      <a:pt x="14424" y="8083"/>
                      <a:pt x="14592" y="7746"/>
                      <a:pt x="14592" y="7577"/>
                    </a:cubicBezTo>
                    <a:cubicBezTo>
                      <a:pt x="14592" y="7241"/>
                      <a:pt x="14255" y="7072"/>
                      <a:pt x="13918" y="6904"/>
                    </a:cubicBezTo>
                    <a:lnTo>
                      <a:pt x="11056" y="5220"/>
                    </a:lnTo>
                    <a:cubicBezTo>
                      <a:pt x="10551" y="4883"/>
                      <a:pt x="10046" y="4883"/>
                      <a:pt x="9540" y="4883"/>
                    </a:cubicBezTo>
                    <a:cubicBezTo>
                      <a:pt x="9204" y="4883"/>
                      <a:pt x="9035" y="5052"/>
                      <a:pt x="8698" y="5220"/>
                    </a:cubicBezTo>
                    <a:cubicBezTo>
                      <a:pt x="8362" y="5388"/>
                      <a:pt x="8193" y="5725"/>
                      <a:pt x="8193" y="6062"/>
                    </a:cubicBezTo>
                    <a:cubicBezTo>
                      <a:pt x="8362" y="6230"/>
                      <a:pt x="8530" y="6567"/>
                      <a:pt x="8867" y="6736"/>
                    </a:cubicBezTo>
                    <a:lnTo>
                      <a:pt x="11729" y="8251"/>
                    </a:lnTo>
                    <a:close/>
                  </a:path>
                </a:pathLst>
              </a:custGeom>
              <a:solidFill>
                <a:srgbClr val="FFFFFF"/>
              </a:solidFill>
              <a:ln w="16828" cap="flat">
                <a:noFill/>
                <a:prstDash val="solid"/>
                <a:miter/>
              </a:ln>
            </p:spPr>
            <p:txBody>
              <a:bodyPr rtlCol="0" anchor="ctr"/>
              <a:lstStyle/>
              <a:p>
                <a:endParaRPr lang="en-IN"/>
              </a:p>
            </p:txBody>
          </p:sp>
          <p:sp>
            <p:nvSpPr>
              <p:cNvPr id="4648" name="Freeform: Shape 4647">
                <a:extLst>
                  <a:ext uri="{FF2B5EF4-FFF2-40B4-BE49-F238E27FC236}">
                    <a16:creationId xmlns:a16="http://schemas.microsoft.com/office/drawing/2014/main" id="{A145EEF8-DD41-4233-B57D-948D43ED2FE1}"/>
                  </a:ext>
                </a:extLst>
              </p:cNvPr>
              <p:cNvSpPr/>
              <p:nvPr/>
            </p:nvSpPr>
            <p:spPr>
              <a:xfrm>
                <a:off x="7683047" y="4447716"/>
                <a:ext cx="19027" cy="11955"/>
              </a:xfrm>
              <a:custGeom>
                <a:avLst/>
                <a:gdLst>
                  <a:gd name="connsiteX0" fmla="*/ 6904 w 19027"/>
                  <a:gd name="connsiteY0" fmla="*/ 0 h 11955"/>
                  <a:gd name="connsiteX1" fmla="*/ 9261 w 19027"/>
                  <a:gd name="connsiteY1" fmla="*/ 1347 h 11955"/>
                  <a:gd name="connsiteX2" fmla="*/ 19028 w 19027"/>
                  <a:gd name="connsiteY2" fmla="*/ 10608 h 11955"/>
                  <a:gd name="connsiteX3" fmla="*/ 16839 w 19027"/>
                  <a:gd name="connsiteY3" fmla="*/ 11956 h 11955"/>
                  <a:gd name="connsiteX4" fmla="*/ 7072 w 19027"/>
                  <a:gd name="connsiteY4" fmla="*/ 2694 h 11955"/>
                  <a:gd name="connsiteX5" fmla="*/ 2357 w 19027"/>
                  <a:gd name="connsiteY5" fmla="*/ 5388 h 11955"/>
                  <a:gd name="connsiteX6" fmla="*/ 0 w 19027"/>
                  <a:gd name="connsiteY6" fmla="*/ 4041 h 11955"/>
                  <a:gd name="connsiteX7" fmla="*/ 6904 w 19027"/>
                  <a:gd name="connsiteY7" fmla="*/ 0 h 1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27" h="11955">
                    <a:moveTo>
                      <a:pt x="6904" y="0"/>
                    </a:moveTo>
                    <a:lnTo>
                      <a:pt x="9261" y="1347"/>
                    </a:lnTo>
                    <a:lnTo>
                      <a:pt x="19028" y="10608"/>
                    </a:lnTo>
                    <a:lnTo>
                      <a:pt x="16839" y="11956"/>
                    </a:lnTo>
                    <a:lnTo>
                      <a:pt x="7072" y="2694"/>
                    </a:lnTo>
                    <a:lnTo>
                      <a:pt x="2357" y="5388"/>
                    </a:lnTo>
                    <a:lnTo>
                      <a:pt x="0" y="4041"/>
                    </a:lnTo>
                    <a:lnTo>
                      <a:pt x="6904" y="0"/>
                    </a:lnTo>
                    <a:close/>
                  </a:path>
                </a:pathLst>
              </a:custGeom>
              <a:solidFill>
                <a:srgbClr val="FFFFFF"/>
              </a:solidFill>
              <a:ln w="16828" cap="flat">
                <a:noFill/>
                <a:prstDash val="solid"/>
                <a:miter/>
              </a:ln>
            </p:spPr>
            <p:txBody>
              <a:bodyPr rtlCol="0" anchor="ctr"/>
              <a:lstStyle/>
              <a:p>
                <a:endParaRPr lang="en-IN"/>
              </a:p>
            </p:txBody>
          </p:sp>
          <p:sp>
            <p:nvSpPr>
              <p:cNvPr id="4649" name="Freeform: Shape 4648">
                <a:extLst>
                  <a:ext uri="{FF2B5EF4-FFF2-40B4-BE49-F238E27FC236}">
                    <a16:creationId xmlns:a16="http://schemas.microsoft.com/office/drawing/2014/main" id="{E79959FF-9430-43F0-BD0B-8EED85E4C8A7}"/>
                  </a:ext>
                </a:extLst>
              </p:cNvPr>
              <p:cNvSpPr/>
              <p:nvPr/>
            </p:nvSpPr>
            <p:spPr>
              <a:xfrm>
                <a:off x="7727165" y="4423973"/>
                <a:ext cx="18691" cy="11113"/>
              </a:xfrm>
              <a:custGeom>
                <a:avLst/>
                <a:gdLst>
                  <a:gd name="connsiteX0" fmla="*/ 17176 w 18691"/>
                  <a:gd name="connsiteY0" fmla="*/ 6062 h 11113"/>
                  <a:gd name="connsiteX1" fmla="*/ 18691 w 18691"/>
                  <a:gd name="connsiteY1" fmla="*/ 8083 h 11113"/>
                  <a:gd name="connsiteX2" fmla="*/ 17176 w 18691"/>
                  <a:gd name="connsiteY2" fmla="*/ 10103 h 11113"/>
                  <a:gd name="connsiteX3" fmla="*/ 17007 w 18691"/>
                  <a:gd name="connsiteY3" fmla="*/ 10272 h 11113"/>
                  <a:gd name="connsiteX4" fmla="*/ 13303 w 18691"/>
                  <a:gd name="connsiteY4" fmla="*/ 11114 h 11113"/>
                  <a:gd name="connsiteX5" fmla="*/ 9767 w 18691"/>
                  <a:gd name="connsiteY5" fmla="*/ 10272 h 11113"/>
                  <a:gd name="connsiteX6" fmla="*/ 8419 w 18691"/>
                  <a:gd name="connsiteY6" fmla="*/ 9430 h 11113"/>
                  <a:gd name="connsiteX7" fmla="*/ 6904 w 18691"/>
                  <a:gd name="connsiteY7" fmla="*/ 7409 h 11113"/>
                  <a:gd name="connsiteX8" fmla="*/ 7072 w 18691"/>
                  <a:gd name="connsiteY8" fmla="*/ 6399 h 11113"/>
                  <a:gd name="connsiteX9" fmla="*/ 4041 w 18691"/>
                  <a:gd name="connsiteY9" fmla="*/ 6230 h 11113"/>
                  <a:gd name="connsiteX10" fmla="*/ 2357 w 18691"/>
                  <a:gd name="connsiteY10" fmla="*/ 5557 h 11113"/>
                  <a:gd name="connsiteX11" fmla="*/ 1515 w 18691"/>
                  <a:gd name="connsiteY11" fmla="*/ 5052 h 11113"/>
                  <a:gd name="connsiteX12" fmla="*/ 0 w 18691"/>
                  <a:gd name="connsiteY12" fmla="*/ 3199 h 11113"/>
                  <a:gd name="connsiteX13" fmla="*/ 1515 w 18691"/>
                  <a:gd name="connsiteY13" fmla="*/ 1010 h 11113"/>
                  <a:gd name="connsiteX14" fmla="*/ 1684 w 18691"/>
                  <a:gd name="connsiteY14" fmla="*/ 842 h 11113"/>
                  <a:gd name="connsiteX15" fmla="*/ 5388 w 18691"/>
                  <a:gd name="connsiteY15" fmla="*/ 0 h 11113"/>
                  <a:gd name="connsiteX16" fmla="*/ 8756 w 18691"/>
                  <a:gd name="connsiteY16" fmla="*/ 842 h 11113"/>
                  <a:gd name="connsiteX17" fmla="*/ 9598 w 18691"/>
                  <a:gd name="connsiteY17" fmla="*/ 1347 h 11113"/>
                  <a:gd name="connsiteX18" fmla="*/ 11114 w 18691"/>
                  <a:gd name="connsiteY18" fmla="*/ 3199 h 11113"/>
                  <a:gd name="connsiteX19" fmla="*/ 10945 w 18691"/>
                  <a:gd name="connsiteY19" fmla="*/ 4041 h 11113"/>
                  <a:gd name="connsiteX20" fmla="*/ 14313 w 18691"/>
                  <a:gd name="connsiteY20" fmla="*/ 4210 h 11113"/>
                  <a:gd name="connsiteX21" fmla="*/ 15997 w 18691"/>
                  <a:gd name="connsiteY21" fmla="*/ 4883 h 11113"/>
                  <a:gd name="connsiteX22" fmla="*/ 17176 w 18691"/>
                  <a:gd name="connsiteY22" fmla="*/ 6062 h 11113"/>
                  <a:gd name="connsiteX23" fmla="*/ 7072 w 18691"/>
                  <a:gd name="connsiteY23" fmla="*/ 2863 h 11113"/>
                  <a:gd name="connsiteX24" fmla="*/ 4210 w 18691"/>
                  <a:gd name="connsiteY24" fmla="*/ 2357 h 11113"/>
                  <a:gd name="connsiteX25" fmla="*/ 3536 w 18691"/>
                  <a:gd name="connsiteY25" fmla="*/ 2526 h 11113"/>
                  <a:gd name="connsiteX26" fmla="*/ 2863 w 18691"/>
                  <a:gd name="connsiteY26" fmla="*/ 3199 h 11113"/>
                  <a:gd name="connsiteX27" fmla="*/ 3199 w 18691"/>
                  <a:gd name="connsiteY27" fmla="*/ 3873 h 11113"/>
                  <a:gd name="connsiteX28" fmla="*/ 4210 w 18691"/>
                  <a:gd name="connsiteY28" fmla="*/ 4546 h 11113"/>
                  <a:gd name="connsiteX29" fmla="*/ 5894 w 18691"/>
                  <a:gd name="connsiteY29" fmla="*/ 5220 h 11113"/>
                  <a:gd name="connsiteX30" fmla="*/ 7746 w 18691"/>
                  <a:gd name="connsiteY30" fmla="*/ 4883 h 11113"/>
                  <a:gd name="connsiteX31" fmla="*/ 8251 w 18691"/>
                  <a:gd name="connsiteY31" fmla="*/ 3873 h 11113"/>
                  <a:gd name="connsiteX32" fmla="*/ 7072 w 18691"/>
                  <a:gd name="connsiteY32" fmla="*/ 2863 h 11113"/>
                  <a:gd name="connsiteX33" fmla="*/ 13808 w 18691"/>
                  <a:gd name="connsiteY33" fmla="*/ 6736 h 11113"/>
                  <a:gd name="connsiteX34" fmla="*/ 11450 w 18691"/>
                  <a:gd name="connsiteY34" fmla="*/ 6062 h 11113"/>
                  <a:gd name="connsiteX35" fmla="*/ 10440 w 18691"/>
                  <a:gd name="connsiteY35" fmla="*/ 6399 h 11113"/>
                  <a:gd name="connsiteX36" fmla="*/ 9935 w 18691"/>
                  <a:gd name="connsiteY36" fmla="*/ 7577 h 11113"/>
                  <a:gd name="connsiteX37" fmla="*/ 10945 w 18691"/>
                  <a:gd name="connsiteY37" fmla="*/ 8419 h 11113"/>
                  <a:gd name="connsiteX38" fmla="*/ 11619 w 18691"/>
                  <a:gd name="connsiteY38" fmla="*/ 8925 h 11113"/>
                  <a:gd name="connsiteX39" fmla="*/ 13303 w 18691"/>
                  <a:gd name="connsiteY39" fmla="*/ 9430 h 11113"/>
                  <a:gd name="connsiteX40" fmla="*/ 14650 w 18691"/>
                  <a:gd name="connsiteY40" fmla="*/ 9093 h 11113"/>
                  <a:gd name="connsiteX41" fmla="*/ 14987 w 18691"/>
                  <a:gd name="connsiteY41" fmla="*/ 7746 h 11113"/>
                  <a:gd name="connsiteX42" fmla="*/ 14481 w 18691"/>
                  <a:gd name="connsiteY42" fmla="*/ 7241 h 11113"/>
                  <a:gd name="connsiteX43" fmla="*/ 13808 w 18691"/>
                  <a:gd name="connsiteY43" fmla="*/ 6736 h 1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8691" h="11113">
                    <a:moveTo>
                      <a:pt x="17176" y="6062"/>
                    </a:moveTo>
                    <a:cubicBezTo>
                      <a:pt x="18186" y="6567"/>
                      <a:pt x="18691" y="7409"/>
                      <a:pt x="18691" y="8083"/>
                    </a:cubicBezTo>
                    <a:cubicBezTo>
                      <a:pt x="18691" y="8925"/>
                      <a:pt x="18186" y="9598"/>
                      <a:pt x="17176" y="10103"/>
                    </a:cubicBezTo>
                    <a:lnTo>
                      <a:pt x="17007" y="10272"/>
                    </a:lnTo>
                    <a:cubicBezTo>
                      <a:pt x="15997" y="10777"/>
                      <a:pt x="14818" y="11114"/>
                      <a:pt x="13303" y="11114"/>
                    </a:cubicBezTo>
                    <a:cubicBezTo>
                      <a:pt x="11956" y="11114"/>
                      <a:pt x="10608" y="10777"/>
                      <a:pt x="9767" y="10272"/>
                    </a:cubicBezTo>
                    <a:lnTo>
                      <a:pt x="8419" y="9430"/>
                    </a:lnTo>
                    <a:cubicBezTo>
                      <a:pt x="7409" y="8925"/>
                      <a:pt x="7072" y="8251"/>
                      <a:pt x="6904" y="7409"/>
                    </a:cubicBezTo>
                    <a:cubicBezTo>
                      <a:pt x="6904" y="7072"/>
                      <a:pt x="6904" y="6736"/>
                      <a:pt x="7072" y="6399"/>
                    </a:cubicBezTo>
                    <a:cubicBezTo>
                      <a:pt x="6062" y="6567"/>
                      <a:pt x="5052" y="6567"/>
                      <a:pt x="4041" y="6230"/>
                    </a:cubicBezTo>
                    <a:cubicBezTo>
                      <a:pt x="3536" y="6062"/>
                      <a:pt x="2863" y="5894"/>
                      <a:pt x="2357" y="5557"/>
                    </a:cubicBezTo>
                    <a:lnTo>
                      <a:pt x="1515" y="5052"/>
                    </a:lnTo>
                    <a:cubicBezTo>
                      <a:pt x="505" y="4546"/>
                      <a:pt x="0" y="3873"/>
                      <a:pt x="0" y="3199"/>
                    </a:cubicBezTo>
                    <a:cubicBezTo>
                      <a:pt x="0" y="2357"/>
                      <a:pt x="337" y="1684"/>
                      <a:pt x="1515" y="1010"/>
                    </a:cubicBezTo>
                    <a:lnTo>
                      <a:pt x="1684" y="842"/>
                    </a:lnTo>
                    <a:cubicBezTo>
                      <a:pt x="2694" y="168"/>
                      <a:pt x="4041" y="0"/>
                      <a:pt x="5388" y="0"/>
                    </a:cubicBezTo>
                    <a:cubicBezTo>
                      <a:pt x="6567" y="0"/>
                      <a:pt x="7746" y="337"/>
                      <a:pt x="8756" y="842"/>
                    </a:cubicBezTo>
                    <a:lnTo>
                      <a:pt x="9598" y="1347"/>
                    </a:lnTo>
                    <a:cubicBezTo>
                      <a:pt x="10608" y="1852"/>
                      <a:pt x="11114" y="2526"/>
                      <a:pt x="11114" y="3199"/>
                    </a:cubicBezTo>
                    <a:cubicBezTo>
                      <a:pt x="11114" y="3536"/>
                      <a:pt x="11114" y="3873"/>
                      <a:pt x="10945" y="4041"/>
                    </a:cubicBezTo>
                    <a:cubicBezTo>
                      <a:pt x="11956" y="3873"/>
                      <a:pt x="13134" y="3873"/>
                      <a:pt x="14313" y="4210"/>
                    </a:cubicBezTo>
                    <a:cubicBezTo>
                      <a:pt x="14987" y="4378"/>
                      <a:pt x="15492" y="4546"/>
                      <a:pt x="15997" y="4883"/>
                    </a:cubicBezTo>
                    <a:lnTo>
                      <a:pt x="17176" y="6062"/>
                    </a:lnTo>
                    <a:close/>
                    <a:moveTo>
                      <a:pt x="7072" y="2863"/>
                    </a:moveTo>
                    <a:cubicBezTo>
                      <a:pt x="6062" y="2189"/>
                      <a:pt x="5052" y="2021"/>
                      <a:pt x="4210" y="2357"/>
                    </a:cubicBezTo>
                    <a:cubicBezTo>
                      <a:pt x="4041" y="2357"/>
                      <a:pt x="3873" y="2526"/>
                      <a:pt x="3536" y="2526"/>
                    </a:cubicBezTo>
                    <a:cubicBezTo>
                      <a:pt x="3199" y="2694"/>
                      <a:pt x="2863" y="3031"/>
                      <a:pt x="2863" y="3199"/>
                    </a:cubicBezTo>
                    <a:cubicBezTo>
                      <a:pt x="2863" y="3368"/>
                      <a:pt x="2863" y="3705"/>
                      <a:pt x="3199" y="3873"/>
                    </a:cubicBezTo>
                    <a:cubicBezTo>
                      <a:pt x="3368" y="4041"/>
                      <a:pt x="3705" y="4378"/>
                      <a:pt x="4210" y="4546"/>
                    </a:cubicBezTo>
                    <a:cubicBezTo>
                      <a:pt x="4883" y="4883"/>
                      <a:pt x="5557" y="5052"/>
                      <a:pt x="5894" y="5220"/>
                    </a:cubicBezTo>
                    <a:cubicBezTo>
                      <a:pt x="6567" y="5220"/>
                      <a:pt x="7072" y="5220"/>
                      <a:pt x="7746" y="4883"/>
                    </a:cubicBezTo>
                    <a:cubicBezTo>
                      <a:pt x="8251" y="4546"/>
                      <a:pt x="8419" y="4210"/>
                      <a:pt x="8251" y="3873"/>
                    </a:cubicBezTo>
                    <a:cubicBezTo>
                      <a:pt x="8083" y="3368"/>
                      <a:pt x="7746" y="3199"/>
                      <a:pt x="7072" y="2863"/>
                    </a:cubicBezTo>
                    <a:close/>
                    <a:moveTo>
                      <a:pt x="13808" y="6736"/>
                    </a:moveTo>
                    <a:cubicBezTo>
                      <a:pt x="12966" y="6230"/>
                      <a:pt x="12124" y="6062"/>
                      <a:pt x="11450" y="6062"/>
                    </a:cubicBezTo>
                    <a:cubicBezTo>
                      <a:pt x="11114" y="6062"/>
                      <a:pt x="10777" y="6230"/>
                      <a:pt x="10440" y="6399"/>
                    </a:cubicBezTo>
                    <a:cubicBezTo>
                      <a:pt x="9767" y="6736"/>
                      <a:pt x="9598" y="7072"/>
                      <a:pt x="9935" y="7577"/>
                    </a:cubicBezTo>
                    <a:cubicBezTo>
                      <a:pt x="10103" y="7914"/>
                      <a:pt x="10440" y="8083"/>
                      <a:pt x="10945" y="8419"/>
                    </a:cubicBezTo>
                    <a:lnTo>
                      <a:pt x="11619" y="8925"/>
                    </a:lnTo>
                    <a:cubicBezTo>
                      <a:pt x="12124" y="9261"/>
                      <a:pt x="12629" y="9430"/>
                      <a:pt x="13303" y="9430"/>
                    </a:cubicBezTo>
                    <a:cubicBezTo>
                      <a:pt x="13808" y="9430"/>
                      <a:pt x="14313" y="9261"/>
                      <a:pt x="14650" y="9093"/>
                    </a:cubicBezTo>
                    <a:cubicBezTo>
                      <a:pt x="15323" y="8756"/>
                      <a:pt x="15323" y="8251"/>
                      <a:pt x="14987" y="7746"/>
                    </a:cubicBezTo>
                    <a:cubicBezTo>
                      <a:pt x="14818" y="7577"/>
                      <a:pt x="14650" y="7409"/>
                      <a:pt x="14481" y="7241"/>
                    </a:cubicBezTo>
                    <a:lnTo>
                      <a:pt x="13808" y="6736"/>
                    </a:lnTo>
                    <a:close/>
                  </a:path>
                </a:pathLst>
              </a:custGeom>
              <a:solidFill>
                <a:srgbClr val="FFFFFF"/>
              </a:solidFill>
              <a:ln w="16828" cap="flat">
                <a:noFill/>
                <a:prstDash val="solid"/>
                <a:miter/>
              </a:ln>
            </p:spPr>
            <p:txBody>
              <a:bodyPr rtlCol="0" anchor="ctr"/>
              <a:lstStyle/>
              <a:p>
                <a:endParaRPr lang="en-IN"/>
              </a:p>
            </p:txBody>
          </p:sp>
          <p:sp>
            <p:nvSpPr>
              <p:cNvPr id="4650" name="Freeform: Shape 4649">
                <a:extLst>
                  <a:ext uri="{FF2B5EF4-FFF2-40B4-BE49-F238E27FC236}">
                    <a16:creationId xmlns:a16="http://schemas.microsoft.com/office/drawing/2014/main" id="{D7A8ED0D-1DA0-459C-841F-5F4610A4E2FA}"/>
                  </a:ext>
                </a:extLst>
              </p:cNvPr>
              <p:cNvSpPr/>
              <p:nvPr/>
            </p:nvSpPr>
            <p:spPr>
              <a:xfrm>
                <a:off x="7768983" y="4400062"/>
                <a:ext cx="18633" cy="10440"/>
              </a:xfrm>
              <a:custGeom>
                <a:avLst/>
                <a:gdLst>
                  <a:gd name="connsiteX0" fmla="*/ 1795 w 18633"/>
                  <a:gd name="connsiteY0" fmla="*/ 842 h 10440"/>
                  <a:gd name="connsiteX1" fmla="*/ 5331 w 18633"/>
                  <a:gd name="connsiteY1" fmla="*/ 0 h 10440"/>
                  <a:gd name="connsiteX2" fmla="*/ 8867 w 18633"/>
                  <a:gd name="connsiteY2" fmla="*/ 842 h 10440"/>
                  <a:gd name="connsiteX3" fmla="*/ 17118 w 18633"/>
                  <a:gd name="connsiteY3" fmla="*/ 5557 h 10440"/>
                  <a:gd name="connsiteX4" fmla="*/ 18633 w 18633"/>
                  <a:gd name="connsiteY4" fmla="*/ 7577 h 10440"/>
                  <a:gd name="connsiteX5" fmla="*/ 17286 w 18633"/>
                  <a:gd name="connsiteY5" fmla="*/ 9598 h 10440"/>
                  <a:gd name="connsiteX6" fmla="*/ 13750 w 18633"/>
                  <a:gd name="connsiteY6" fmla="*/ 10440 h 10440"/>
                  <a:gd name="connsiteX7" fmla="*/ 10214 w 18633"/>
                  <a:gd name="connsiteY7" fmla="*/ 9598 h 10440"/>
                  <a:gd name="connsiteX8" fmla="*/ 9877 w 18633"/>
                  <a:gd name="connsiteY8" fmla="*/ 9430 h 10440"/>
                  <a:gd name="connsiteX9" fmla="*/ 12235 w 18633"/>
                  <a:gd name="connsiteY9" fmla="*/ 8083 h 10440"/>
                  <a:gd name="connsiteX10" fmla="*/ 12571 w 18633"/>
                  <a:gd name="connsiteY10" fmla="*/ 8251 h 10440"/>
                  <a:gd name="connsiteX11" fmla="*/ 13750 w 18633"/>
                  <a:gd name="connsiteY11" fmla="*/ 8588 h 10440"/>
                  <a:gd name="connsiteX12" fmla="*/ 14929 w 18633"/>
                  <a:gd name="connsiteY12" fmla="*/ 8251 h 10440"/>
                  <a:gd name="connsiteX13" fmla="*/ 15434 w 18633"/>
                  <a:gd name="connsiteY13" fmla="*/ 7577 h 10440"/>
                  <a:gd name="connsiteX14" fmla="*/ 14760 w 18633"/>
                  <a:gd name="connsiteY14" fmla="*/ 6904 h 10440"/>
                  <a:gd name="connsiteX15" fmla="*/ 11729 w 18633"/>
                  <a:gd name="connsiteY15" fmla="*/ 5220 h 10440"/>
                  <a:gd name="connsiteX16" fmla="*/ 10719 w 18633"/>
                  <a:gd name="connsiteY16" fmla="*/ 6567 h 10440"/>
                  <a:gd name="connsiteX17" fmla="*/ 7351 w 18633"/>
                  <a:gd name="connsiteY17" fmla="*/ 7241 h 10440"/>
                  <a:gd name="connsiteX18" fmla="*/ 4152 w 18633"/>
                  <a:gd name="connsiteY18" fmla="*/ 6062 h 10440"/>
                  <a:gd name="connsiteX19" fmla="*/ 1458 w 18633"/>
                  <a:gd name="connsiteY19" fmla="*/ 4546 h 10440"/>
                  <a:gd name="connsiteX20" fmla="*/ 1458 w 18633"/>
                  <a:gd name="connsiteY20" fmla="*/ 4546 h 10440"/>
                  <a:gd name="connsiteX21" fmla="*/ 111 w 18633"/>
                  <a:gd name="connsiteY21" fmla="*/ 3031 h 10440"/>
                  <a:gd name="connsiteX22" fmla="*/ 279 w 18633"/>
                  <a:gd name="connsiteY22" fmla="*/ 1515 h 10440"/>
                  <a:gd name="connsiteX23" fmla="*/ 1795 w 18633"/>
                  <a:gd name="connsiteY23" fmla="*/ 842 h 10440"/>
                  <a:gd name="connsiteX24" fmla="*/ 6678 w 18633"/>
                  <a:gd name="connsiteY24" fmla="*/ 2189 h 10440"/>
                  <a:gd name="connsiteX25" fmla="*/ 5499 w 18633"/>
                  <a:gd name="connsiteY25" fmla="*/ 1852 h 10440"/>
                  <a:gd name="connsiteX26" fmla="*/ 4320 w 18633"/>
                  <a:gd name="connsiteY26" fmla="*/ 2189 h 10440"/>
                  <a:gd name="connsiteX27" fmla="*/ 3815 w 18633"/>
                  <a:gd name="connsiteY27" fmla="*/ 2863 h 10440"/>
                  <a:gd name="connsiteX28" fmla="*/ 4489 w 18633"/>
                  <a:gd name="connsiteY28" fmla="*/ 3536 h 10440"/>
                  <a:gd name="connsiteX29" fmla="*/ 7351 w 18633"/>
                  <a:gd name="connsiteY29" fmla="*/ 5220 h 10440"/>
                  <a:gd name="connsiteX30" fmla="*/ 8867 w 18633"/>
                  <a:gd name="connsiteY30" fmla="*/ 5557 h 10440"/>
                  <a:gd name="connsiteX31" fmla="*/ 9709 w 18633"/>
                  <a:gd name="connsiteY31" fmla="*/ 5388 h 10440"/>
                  <a:gd name="connsiteX32" fmla="*/ 9877 w 18633"/>
                  <a:gd name="connsiteY32" fmla="*/ 4210 h 10440"/>
                  <a:gd name="connsiteX33" fmla="*/ 9540 w 18633"/>
                  <a:gd name="connsiteY33" fmla="*/ 3873 h 10440"/>
                  <a:gd name="connsiteX34" fmla="*/ 6678 w 18633"/>
                  <a:gd name="connsiteY34" fmla="*/ 2189 h 10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8633" h="10440">
                    <a:moveTo>
                      <a:pt x="1795" y="842"/>
                    </a:moveTo>
                    <a:cubicBezTo>
                      <a:pt x="2805" y="337"/>
                      <a:pt x="3984" y="0"/>
                      <a:pt x="5331" y="0"/>
                    </a:cubicBezTo>
                    <a:cubicBezTo>
                      <a:pt x="6678" y="0"/>
                      <a:pt x="7857" y="337"/>
                      <a:pt x="8867" y="842"/>
                    </a:cubicBezTo>
                    <a:lnTo>
                      <a:pt x="17118" y="5557"/>
                    </a:lnTo>
                    <a:cubicBezTo>
                      <a:pt x="18128" y="6062"/>
                      <a:pt x="18633" y="6904"/>
                      <a:pt x="18633" y="7577"/>
                    </a:cubicBezTo>
                    <a:cubicBezTo>
                      <a:pt x="18633" y="8419"/>
                      <a:pt x="18128" y="9093"/>
                      <a:pt x="17286" y="9598"/>
                    </a:cubicBezTo>
                    <a:cubicBezTo>
                      <a:pt x="16276" y="10103"/>
                      <a:pt x="15097" y="10440"/>
                      <a:pt x="13750" y="10440"/>
                    </a:cubicBezTo>
                    <a:cubicBezTo>
                      <a:pt x="12403" y="10440"/>
                      <a:pt x="11224" y="10103"/>
                      <a:pt x="10214" y="9598"/>
                    </a:cubicBezTo>
                    <a:lnTo>
                      <a:pt x="9877" y="9430"/>
                    </a:lnTo>
                    <a:lnTo>
                      <a:pt x="12235" y="8083"/>
                    </a:lnTo>
                    <a:lnTo>
                      <a:pt x="12571" y="8251"/>
                    </a:lnTo>
                    <a:cubicBezTo>
                      <a:pt x="12908" y="8419"/>
                      <a:pt x="13413" y="8588"/>
                      <a:pt x="13750" y="8588"/>
                    </a:cubicBezTo>
                    <a:cubicBezTo>
                      <a:pt x="14255" y="8588"/>
                      <a:pt x="14592" y="8588"/>
                      <a:pt x="14929" y="8251"/>
                    </a:cubicBezTo>
                    <a:cubicBezTo>
                      <a:pt x="15266" y="8083"/>
                      <a:pt x="15434" y="7746"/>
                      <a:pt x="15434" y="7577"/>
                    </a:cubicBezTo>
                    <a:cubicBezTo>
                      <a:pt x="15434" y="7241"/>
                      <a:pt x="15097" y="7072"/>
                      <a:pt x="14760" y="6904"/>
                    </a:cubicBezTo>
                    <a:lnTo>
                      <a:pt x="11729" y="5220"/>
                    </a:lnTo>
                    <a:cubicBezTo>
                      <a:pt x="11729" y="5725"/>
                      <a:pt x="11393" y="6230"/>
                      <a:pt x="10719" y="6567"/>
                    </a:cubicBezTo>
                    <a:cubicBezTo>
                      <a:pt x="9709" y="7072"/>
                      <a:pt x="8530" y="7409"/>
                      <a:pt x="7351" y="7241"/>
                    </a:cubicBezTo>
                    <a:cubicBezTo>
                      <a:pt x="6341" y="7072"/>
                      <a:pt x="5162" y="6736"/>
                      <a:pt x="4152" y="6062"/>
                    </a:cubicBezTo>
                    <a:lnTo>
                      <a:pt x="1458" y="4546"/>
                    </a:lnTo>
                    <a:lnTo>
                      <a:pt x="1458" y="4546"/>
                    </a:lnTo>
                    <a:cubicBezTo>
                      <a:pt x="784" y="4041"/>
                      <a:pt x="279" y="3705"/>
                      <a:pt x="111" y="3031"/>
                    </a:cubicBezTo>
                    <a:cubicBezTo>
                      <a:pt x="-58" y="2526"/>
                      <a:pt x="-58" y="2021"/>
                      <a:pt x="279" y="1515"/>
                    </a:cubicBezTo>
                    <a:cubicBezTo>
                      <a:pt x="953" y="1347"/>
                      <a:pt x="1458" y="1010"/>
                      <a:pt x="1795" y="842"/>
                    </a:cubicBezTo>
                    <a:close/>
                    <a:moveTo>
                      <a:pt x="6678" y="2189"/>
                    </a:moveTo>
                    <a:cubicBezTo>
                      <a:pt x="6341" y="2021"/>
                      <a:pt x="5836" y="1852"/>
                      <a:pt x="5499" y="1852"/>
                    </a:cubicBezTo>
                    <a:cubicBezTo>
                      <a:pt x="4994" y="1852"/>
                      <a:pt x="4657" y="1852"/>
                      <a:pt x="4320" y="2189"/>
                    </a:cubicBezTo>
                    <a:cubicBezTo>
                      <a:pt x="3984" y="2357"/>
                      <a:pt x="3815" y="2694"/>
                      <a:pt x="3815" y="2863"/>
                    </a:cubicBezTo>
                    <a:cubicBezTo>
                      <a:pt x="3815" y="3199"/>
                      <a:pt x="4152" y="3368"/>
                      <a:pt x="4489" y="3536"/>
                    </a:cubicBezTo>
                    <a:lnTo>
                      <a:pt x="7351" y="5220"/>
                    </a:lnTo>
                    <a:cubicBezTo>
                      <a:pt x="7857" y="5557"/>
                      <a:pt x="8362" y="5557"/>
                      <a:pt x="8867" y="5557"/>
                    </a:cubicBezTo>
                    <a:cubicBezTo>
                      <a:pt x="9204" y="5557"/>
                      <a:pt x="9372" y="5388"/>
                      <a:pt x="9709" y="5388"/>
                    </a:cubicBezTo>
                    <a:cubicBezTo>
                      <a:pt x="10214" y="5052"/>
                      <a:pt x="10382" y="4715"/>
                      <a:pt x="9877" y="4210"/>
                    </a:cubicBezTo>
                    <a:cubicBezTo>
                      <a:pt x="9709" y="3873"/>
                      <a:pt x="9540" y="3873"/>
                      <a:pt x="9540" y="3873"/>
                    </a:cubicBezTo>
                    <a:lnTo>
                      <a:pt x="6678" y="2189"/>
                    </a:lnTo>
                    <a:close/>
                  </a:path>
                </a:pathLst>
              </a:custGeom>
              <a:solidFill>
                <a:srgbClr val="FFFFFF"/>
              </a:solidFill>
              <a:ln w="16828" cap="flat">
                <a:noFill/>
                <a:prstDash val="solid"/>
                <a:miter/>
              </a:ln>
            </p:spPr>
            <p:txBody>
              <a:bodyPr rtlCol="0" anchor="ctr"/>
              <a:lstStyle/>
              <a:p>
                <a:endParaRPr lang="en-IN"/>
              </a:p>
            </p:txBody>
          </p:sp>
          <p:grpSp>
            <p:nvGrpSpPr>
              <p:cNvPr id="4651" name="Graphic 4202">
                <a:extLst>
                  <a:ext uri="{FF2B5EF4-FFF2-40B4-BE49-F238E27FC236}">
                    <a16:creationId xmlns:a16="http://schemas.microsoft.com/office/drawing/2014/main" id="{D8C93A7D-1944-411F-8F69-6296BBFF6FB9}"/>
                  </a:ext>
                </a:extLst>
              </p:cNvPr>
              <p:cNvGrpSpPr/>
              <p:nvPr/>
            </p:nvGrpSpPr>
            <p:grpSpPr>
              <a:xfrm>
                <a:off x="7678669" y="4397536"/>
                <a:ext cx="35698" cy="19364"/>
                <a:chOff x="7678669" y="4397536"/>
                <a:chExt cx="35698" cy="19364"/>
              </a:xfrm>
              <a:solidFill>
                <a:srgbClr val="FFFFFF"/>
              </a:solidFill>
            </p:grpSpPr>
            <p:sp>
              <p:nvSpPr>
                <p:cNvPr id="4652" name="Freeform: Shape 4651">
                  <a:extLst>
                    <a:ext uri="{FF2B5EF4-FFF2-40B4-BE49-F238E27FC236}">
                      <a16:creationId xmlns:a16="http://schemas.microsoft.com/office/drawing/2014/main" id="{3F46A294-A109-468C-BF37-E61CD4435251}"/>
                    </a:ext>
                  </a:extLst>
                </p:cNvPr>
                <p:cNvSpPr/>
                <p:nvPr/>
              </p:nvSpPr>
              <p:spPr>
                <a:xfrm>
                  <a:off x="7678669" y="4401914"/>
                  <a:ext cx="25931" cy="14986"/>
                </a:xfrm>
                <a:custGeom>
                  <a:avLst/>
                  <a:gdLst>
                    <a:gd name="connsiteX0" fmla="*/ 17512 w 25931"/>
                    <a:gd name="connsiteY0" fmla="*/ 13639 h 14986"/>
                    <a:gd name="connsiteX1" fmla="*/ 15155 w 25931"/>
                    <a:gd name="connsiteY1" fmla="*/ 14987 h 14986"/>
                    <a:gd name="connsiteX2" fmla="*/ 0 w 25931"/>
                    <a:gd name="connsiteY2" fmla="*/ 6230 h 14986"/>
                    <a:gd name="connsiteX3" fmla="*/ 3368 w 25931"/>
                    <a:gd name="connsiteY3" fmla="*/ 4378 h 14986"/>
                    <a:gd name="connsiteX4" fmla="*/ 16502 w 25931"/>
                    <a:gd name="connsiteY4" fmla="*/ 9430 h 14986"/>
                    <a:gd name="connsiteX5" fmla="*/ 7577 w 25931"/>
                    <a:gd name="connsiteY5" fmla="*/ 1852 h 14986"/>
                    <a:gd name="connsiteX6" fmla="*/ 10777 w 25931"/>
                    <a:gd name="connsiteY6" fmla="*/ 0 h 14986"/>
                    <a:gd name="connsiteX7" fmla="*/ 25932 w 25931"/>
                    <a:gd name="connsiteY7" fmla="*/ 8756 h 14986"/>
                    <a:gd name="connsiteX8" fmla="*/ 23574 w 25931"/>
                    <a:gd name="connsiteY8" fmla="*/ 10103 h 14986"/>
                    <a:gd name="connsiteX9" fmla="*/ 13976 w 25931"/>
                    <a:gd name="connsiteY9" fmla="*/ 4546 h 14986"/>
                    <a:gd name="connsiteX10" fmla="*/ 21554 w 25931"/>
                    <a:gd name="connsiteY10" fmla="*/ 11282 h 14986"/>
                    <a:gd name="connsiteX11" fmla="*/ 19701 w 25931"/>
                    <a:gd name="connsiteY11" fmla="*/ 12292 h 14986"/>
                    <a:gd name="connsiteX12" fmla="*/ 7914 w 25931"/>
                    <a:gd name="connsiteY12" fmla="*/ 8083 h 14986"/>
                    <a:gd name="connsiteX13" fmla="*/ 17512 w 25931"/>
                    <a:gd name="connsiteY13" fmla="*/ 13639 h 1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931" h="14986">
                      <a:moveTo>
                        <a:pt x="17512" y="13639"/>
                      </a:moveTo>
                      <a:lnTo>
                        <a:pt x="15155" y="14987"/>
                      </a:lnTo>
                      <a:lnTo>
                        <a:pt x="0" y="6230"/>
                      </a:lnTo>
                      <a:lnTo>
                        <a:pt x="3368" y="4378"/>
                      </a:lnTo>
                      <a:lnTo>
                        <a:pt x="16502" y="9430"/>
                      </a:lnTo>
                      <a:lnTo>
                        <a:pt x="7577" y="1852"/>
                      </a:lnTo>
                      <a:lnTo>
                        <a:pt x="10777" y="0"/>
                      </a:lnTo>
                      <a:lnTo>
                        <a:pt x="25932" y="8756"/>
                      </a:lnTo>
                      <a:lnTo>
                        <a:pt x="23574" y="10103"/>
                      </a:lnTo>
                      <a:lnTo>
                        <a:pt x="13976" y="4546"/>
                      </a:lnTo>
                      <a:lnTo>
                        <a:pt x="21554" y="11282"/>
                      </a:lnTo>
                      <a:lnTo>
                        <a:pt x="19701" y="12292"/>
                      </a:lnTo>
                      <a:lnTo>
                        <a:pt x="7914" y="8083"/>
                      </a:lnTo>
                      <a:lnTo>
                        <a:pt x="17512" y="13639"/>
                      </a:lnTo>
                      <a:close/>
                    </a:path>
                  </a:pathLst>
                </a:custGeom>
                <a:solidFill>
                  <a:srgbClr val="FFFFFF"/>
                </a:solidFill>
                <a:ln w="16828" cap="flat">
                  <a:noFill/>
                  <a:prstDash val="solid"/>
                  <a:miter/>
                </a:ln>
              </p:spPr>
              <p:txBody>
                <a:bodyPr rtlCol="0" anchor="ctr"/>
                <a:lstStyle/>
                <a:p>
                  <a:endParaRPr lang="en-IN"/>
                </a:p>
              </p:txBody>
            </p:sp>
            <p:sp>
              <p:nvSpPr>
                <p:cNvPr id="4653" name="Freeform: Shape 4652">
                  <a:extLst>
                    <a:ext uri="{FF2B5EF4-FFF2-40B4-BE49-F238E27FC236}">
                      <a16:creationId xmlns:a16="http://schemas.microsoft.com/office/drawing/2014/main" id="{DF232F8F-BEB5-4B17-9FC4-E53F47B8F2CA}"/>
                    </a:ext>
                  </a:extLst>
                </p:cNvPr>
                <p:cNvSpPr/>
                <p:nvPr/>
              </p:nvSpPr>
              <p:spPr>
                <a:xfrm>
                  <a:off x="7691466" y="4397536"/>
                  <a:ext cx="22900" cy="12292"/>
                </a:xfrm>
                <a:custGeom>
                  <a:avLst/>
                  <a:gdLst>
                    <a:gd name="connsiteX0" fmla="*/ 3536 w 22900"/>
                    <a:gd name="connsiteY0" fmla="*/ 1010 h 12292"/>
                    <a:gd name="connsiteX1" fmla="*/ 7409 w 22900"/>
                    <a:gd name="connsiteY1" fmla="*/ 0 h 12292"/>
                    <a:gd name="connsiteX2" fmla="*/ 10777 w 22900"/>
                    <a:gd name="connsiteY2" fmla="*/ 1010 h 12292"/>
                    <a:gd name="connsiteX3" fmla="*/ 12966 w 22900"/>
                    <a:gd name="connsiteY3" fmla="*/ 2357 h 12292"/>
                    <a:gd name="connsiteX4" fmla="*/ 14481 w 22900"/>
                    <a:gd name="connsiteY4" fmla="*/ 4715 h 12292"/>
                    <a:gd name="connsiteX5" fmla="*/ 22901 w 22900"/>
                    <a:gd name="connsiteY5" fmla="*/ 7577 h 12292"/>
                    <a:gd name="connsiteX6" fmla="*/ 20375 w 22900"/>
                    <a:gd name="connsiteY6" fmla="*/ 9093 h 12292"/>
                    <a:gd name="connsiteX7" fmla="*/ 13303 w 22900"/>
                    <a:gd name="connsiteY7" fmla="*/ 6567 h 12292"/>
                    <a:gd name="connsiteX8" fmla="*/ 13134 w 22900"/>
                    <a:gd name="connsiteY8" fmla="*/ 6736 h 12292"/>
                    <a:gd name="connsiteX9" fmla="*/ 11787 w 22900"/>
                    <a:gd name="connsiteY9" fmla="*/ 7577 h 12292"/>
                    <a:gd name="connsiteX10" fmla="*/ 17512 w 22900"/>
                    <a:gd name="connsiteY10" fmla="*/ 10945 h 12292"/>
                    <a:gd name="connsiteX11" fmla="*/ 15155 w 22900"/>
                    <a:gd name="connsiteY11" fmla="*/ 12292 h 12292"/>
                    <a:gd name="connsiteX12" fmla="*/ 0 w 22900"/>
                    <a:gd name="connsiteY12" fmla="*/ 3536 h 12292"/>
                    <a:gd name="connsiteX13" fmla="*/ 3536 w 22900"/>
                    <a:gd name="connsiteY13" fmla="*/ 1010 h 12292"/>
                    <a:gd name="connsiteX14" fmla="*/ 8588 w 22900"/>
                    <a:gd name="connsiteY14" fmla="*/ 2357 h 12292"/>
                    <a:gd name="connsiteX15" fmla="*/ 5894 w 22900"/>
                    <a:gd name="connsiteY15" fmla="*/ 2357 h 12292"/>
                    <a:gd name="connsiteX16" fmla="*/ 4546 w 22900"/>
                    <a:gd name="connsiteY16" fmla="*/ 3199 h 12292"/>
                    <a:gd name="connsiteX17" fmla="*/ 9430 w 22900"/>
                    <a:gd name="connsiteY17" fmla="*/ 6062 h 12292"/>
                    <a:gd name="connsiteX18" fmla="*/ 10777 w 22900"/>
                    <a:gd name="connsiteY18" fmla="*/ 5220 h 12292"/>
                    <a:gd name="connsiteX19" fmla="*/ 11282 w 22900"/>
                    <a:gd name="connsiteY19" fmla="*/ 4378 h 12292"/>
                    <a:gd name="connsiteX20" fmla="*/ 10777 w 22900"/>
                    <a:gd name="connsiteY20" fmla="*/ 3536 h 12292"/>
                    <a:gd name="connsiteX21" fmla="*/ 8588 w 22900"/>
                    <a:gd name="connsiteY21" fmla="*/ 2357 h 1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900" h="12292">
                      <a:moveTo>
                        <a:pt x="3536" y="1010"/>
                      </a:moveTo>
                      <a:cubicBezTo>
                        <a:pt x="4883" y="337"/>
                        <a:pt x="6062" y="0"/>
                        <a:pt x="7409" y="0"/>
                      </a:cubicBezTo>
                      <a:cubicBezTo>
                        <a:pt x="8588" y="0"/>
                        <a:pt x="9598" y="337"/>
                        <a:pt x="10777" y="1010"/>
                      </a:cubicBezTo>
                      <a:lnTo>
                        <a:pt x="12966" y="2357"/>
                      </a:lnTo>
                      <a:cubicBezTo>
                        <a:pt x="13976" y="3031"/>
                        <a:pt x="14481" y="3705"/>
                        <a:pt x="14481" y="4715"/>
                      </a:cubicBezTo>
                      <a:lnTo>
                        <a:pt x="22901" y="7577"/>
                      </a:lnTo>
                      <a:lnTo>
                        <a:pt x="20375" y="9093"/>
                      </a:lnTo>
                      <a:lnTo>
                        <a:pt x="13303" y="6567"/>
                      </a:lnTo>
                      <a:cubicBezTo>
                        <a:pt x="13303" y="6567"/>
                        <a:pt x="13134" y="6567"/>
                        <a:pt x="13134" y="6736"/>
                      </a:cubicBezTo>
                      <a:lnTo>
                        <a:pt x="11787" y="7577"/>
                      </a:lnTo>
                      <a:lnTo>
                        <a:pt x="17512" y="10945"/>
                      </a:lnTo>
                      <a:lnTo>
                        <a:pt x="15155" y="12292"/>
                      </a:lnTo>
                      <a:lnTo>
                        <a:pt x="0" y="3536"/>
                      </a:lnTo>
                      <a:lnTo>
                        <a:pt x="3536" y="1010"/>
                      </a:lnTo>
                      <a:close/>
                      <a:moveTo>
                        <a:pt x="8588" y="2357"/>
                      </a:moveTo>
                      <a:cubicBezTo>
                        <a:pt x="7746" y="1852"/>
                        <a:pt x="6904" y="1852"/>
                        <a:pt x="5894" y="2357"/>
                      </a:cubicBezTo>
                      <a:lnTo>
                        <a:pt x="4546" y="3199"/>
                      </a:lnTo>
                      <a:lnTo>
                        <a:pt x="9430" y="6062"/>
                      </a:lnTo>
                      <a:lnTo>
                        <a:pt x="10777" y="5220"/>
                      </a:lnTo>
                      <a:cubicBezTo>
                        <a:pt x="11114" y="5052"/>
                        <a:pt x="11282" y="4715"/>
                        <a:pt x="11282" y="4378"/>
                      </a:cubicBezTo>
                      <a:cubicBezTo>
                        <a:pt x="11282" y="4041"/>
                        <a:pt x="11114" y="3873"/>
                        <a:pt x="10777" y="3536"/>
                      </a:cubicBezTo>
                      <a:lnTo>
                        <a:pt x="8588" y="2357"/>
                      </a:lnTo>
                      <a:close/>
                    </a:path>
                  </a:pathLst>
                </a:custGeom>
                <a:solidFill>
                  <a:srgbClr val="FFFFFF"/>
                </a:solidFill>
                <a:ln w="16828" cap="flat">
                  <a:noFill/>
                  <a:prstDash val="solid"/>
                  <a:miter/>
                </a:ln>
              </p:spPr>
              <p:txBody>
                <a:bodyPr rtlCol="0" anchor="ctr"/>
                <a:lstStyle/>
                <a:p>
                  <a:endParaRPr lang="en-IN"/>
                </a:p>
              </p:txBody>
            </p:sp>
          </p:grpSp>
          <p:grpSp>
            <p:nvGrpSpPr>
              <p:cNvPr id="4654" name="Graphic 4202">
                <a:extLst>
                  <a:ext uri="{FF2B5EF4-FFF2-40B4-BE49-F238E27FC236}">
                    <a16:creationId xmlns:a16="http://schemas.microsoft.com/office/drawing/2014/main" id="{D8C93A7D-1944-411F-8F69-6296BBFF6FB9}"/>
                  </a:ext>
                </a:extLst>
              </p:cNvPr>
              <p:cNvGrpSpPr/>
              <p:nvPr/>
            </p:nvGrpSpPr>
            <p:grpSpPr>
              <a:xfrm>
                <a:off x="7720597" y="4376656"/>
                <a:ext cx="27784" cy="15996"/>
                <a:chOff x="7720597" y="4376656"/>
                <a:chExt cx="27784" cy="15996"/>
              </a:xfrm>
              <a:solidFill>
                <a:srgbClr val="FFFFFF"/>
              </a:solidFill>
            </p:grpSpPr>
            <p:sp>
              <p:nvSpPr>
                <p:cNvPr id="4655" name="Freeform: Shape 4654">
                  <a:extLst>
                    <a:ext uri="{FF2B5EF4-FFF2-40B4-BE49-F238E27FC236}">
                      <a16:creationId xmlns:a16="http://schemas.microsoft.com/office/drawing/2014/main" id="{8F32F33A-B166-4757-A990-0F22A82868BC}"/>
                    </a:ext>
                  </a:extLst>
                </p:cNvPr>
                <p:cNvSpPr/>
                <p:nvPr/>
              </p:nvSpPr>
              <p:spPr>
                <a:xfrm>
                  <a:off x="7720597" y="4377666"/>
                  <a:ext cx="25931" cy="14986"/>
                </a:xfrm>
                <a:custGeom>
                  <a:avLst/>
                  <a:gdLst>
                    <a:gd name="connsiteX0" fmla="*/ 17512 w 25931"/>
                    <a:gd name="connsiteY0" fmla="*/ 13639 h 14986"/>
                    <a:gd name="connsiteX1" fmla="*/ 15155 w 25931"/>
                    <a:gd name="connsiteY1" fmla="*/ 14987 h 14986"/>
                    <a:gd name="connsiteX2" fmla="*/ 0 w 25931"/>
                    <a:gd name="connsiteY2" fmla="*/ 6230 h 14986"/>
                    <a:gd name="connsiteX3" fmla="*/ 3368 w 25931"/>
                    <a:gd name="connsiteY3" fmla="*/ 4378 h 14986"/>
                    <a:gd name="connsiteX4" fmla="*/ 16502 w 25931"/>
                    <a:gd name="connsiteY4" fmla="*/ 9430 h 14986"/>
                    <a:gd name="connsiteX5" fmla="*/ 7577 w 25931"/>
                    <a:gd name="connsiteY5" fmla="*/ 1852 h 14986"/>
                    <a:gd name="connsiteX6" fmla="*/ 10777 w 25931"/>
                    <a:gd name="connsiteY6" fmla="*/ 0 h 14986"/>
                    <a:gd name="connsiteX7" fmla="*/ 25932 w 25931"/>
                    <a:gd name="connsiteY7" fmla="*/ 8756 h 14986"/>
                    <a:gd name="connsiteX8" fmla="*/ 23574 w 25931"/>
                    <a:gd name="connsiteY8" fmla="*/ 10103 h 14986"/>
                    <a:gd name="connsiteX9" fmla="*/ 13976 w 25931"/>
                    <a:gd name="connsiteY9" fmla="*/ 4546 h 14986"/>
                    <a:gd name="connsiteX10" fmla="*/ 21554 w 25931"/>
                    <a:gd name="connsiteY10" fmla="*/ 11282 h 14986"/>
                    <a:gd name="connsiteX11" fmla="*/ 19701 w 25931"/>
                    <a:gd name="connsiteY11" fmla="*/ 12292 h 14986"/>
                    <a:gd name="connsiteX12" fmla="*/ 7914 w 25931"/>
                    <a:gd name="connsiteY12" fmla="*/ 8083 h 14986"/>
                    <a:gd name="connsiteX13" fmla="*/ 17512 w 25931"/>
                    <a:gd name="connsiteY13" fmla="*/ 13639 h 1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931" h="14986">
                      <a:moveTo>
                        <a:pt x="17512" y="13639"/>
                      </a:moveTo>
                      <a:lnTo>
                        <a:pt x="15155" y="14987"/>
                      </a:lnTo>
                      <a:lnTo>
                        <a:pt x="0" y="6230"/>
                      </a:lnTo>
                      <a:lnTo>
                        <a:pt x="3368" y="4378"/>
                      </a:lnTo>
                      <a:lnTo>
                        <a:pt x="16502" y="9430"/>
                      </a:lnTo>
                      <a:lnTo>
                        <a:pt x="7577" y="1852"/>
                      </a:lnTo>
                      <a:lnTo>
                        <a:pt x="10777" y="0"/>
                      </a:lnTo>
                      <a:lnTo>
                        <a:pt x="25932" y="8756"/>
                      </a:lnTo>
                      <a:lnTo>
                        <a:pt x="23574" y="10103"/>
                      </a:lnTo>
                      <a:lnTo>
                        <a:pt x="13976" y="4546"/>
                      </a:lnTo>
                      <a:lnTo>
                        <a:pt x="21554" y="11282"/>
                      </a:lnTo>
                      <a:lnTo>
                        <a:pt x="19701" y="12292"/>
                      </a:lnTo>
                      <a:lnTo>
                        <a:pt x="7914" y="8083"/>
                      </a:lnTo>
                      <a:lnTo>
                        <a:pt x="17512" y="13639"/>
                      </a:lnTo>
                      <a:close/>
                    </a:path>
                  </a:pathLst>
                </a:custGeom>
                <a:solidFill>
                  <a:srgbClr val="FFFFFF"/>
                </a:solidFill>
                <a:ln w="16828" cap="flat">
                  <a:noFill/>
                  <a:prstDash val="solid"/>
                  <a:miter/>
                </a:ln>
              </p:spPr>
              <p:txBody>
                <a:bodyPr rtlCol="0" anchor="ctr"/>
                <a:lstStyle/>
                <a:p>
                  <a:endParaRPr lang="en-IN"/>
                </a:p>
              </p:txBody>
            </p:sp>
            <p:sp>
              <p:nvSpPr>
                <p:cNvPr id="4656" name="Freeform: Shape 4655">
                  <a:extLst>
                    <a:ext uri="{FF2B5EF4-FFF2-40B4-BE49-F238E27FC236}">
                      <a16:creationId xmlns:a16="http://schemas.microsoft.com/office/drawing/2014/main" id="{D17FCDF3-F729-4B0B-9013-5C5F8AD85004}"/>
                    </a:ext>
                  </a:extLst>
                </p:cNvPr>
                <p:cNvSpPr/>
                <p:nvPr/>
              </p:nvSpPr>
              <p:spPr>
                <a:xfrm>
                  <a:off x="7739289" y="4376656"/>
                  <a:ext cx="9092" cy="5220"/>
                </a:xfrm>
                <a:custGeom>
                  <a:avLst/>
                  <a:gdLst>
                    <a:gd name="connsiteX0" fmla="*/ 0 w 9092"/>
                    <a:gd name="connsiteY0" fmla="*/ 3873 h 5220"/>
                    <a:gd name="connsiteX1" fmla="*/ 6736 w 9092"/>
                    <a:gd name="connsiteY1" fmla="*/ 0 h 5220"/>
                    <a:gd name="connsiteX2" fmla="*/ 9093 w 9092"/>
                    <a:gd name="connsiteY2" fmla="*/ 1347 h 5220"/>
                    <a:gd name="connsiteX3" fmla="*/ 2357 w 9092"/>
                    <a:gd name="connsiteY3" fmla="*/ 5220 h 5220"/>
                    <a:gd name="connsiteX4" fmla="*/ 0 w 9092"/>
                    <a:gd name="connsiteY4" fmla="*/ 3873 h 5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2" h="5220">
                      <a:moveTo>
                        <a:pt x="0" y="3873"/>
                      </a:moveTo>
                      <a:lnTo>
                        <a:pt x="6736" y="0"/>
                      </a:lnTo>
                      <a:lnTo>
                        <a:pt x="9093" y="1347"/>
                      </a:lnTo>
                      <a:lnTo>
                        <a:pt x="2357" y="5220"/>
                      </a:lnTo>
                      <a:lnTo>
                        <a:pt x="0" y="3873"/>
                      </a:lnTo>
                      <a:close/>
                    </a:path>
                  </a:pathLst>
                </a:custGeom>
                <a:solidFill>
                  <a:srgbClr val="FFFFFF"/>
                </a:solidFill>
                <a:ln w="16828" cap="flat">
                  <a:noFill/>
                  <a:prstDash val="solid"/>
                  <a:miter/>
                </a:ln>
              </p:spPr>
              <p:txBody>
                <a:bodyPr rtlCol="0" anchor="ctr"/>
                <a:lstStyle/>
                <a:p>
                  <a:endParaRPr lang="en-IN"/>
                </a:p>
              </p:txBody>
            </p:sp>
          </p:grpSp>
          <p:grpSp>
            <p:nvGrpSpPr>
              <p:cNvPr id="4657" name="Graphic 4202">
                <a:extLst>
                  <a:ext uri="{FF2B5EF4-FFF2-40B4-BE49-F238E27FC236}">
                    <a16:creationId xmlns:a16="http://schemas.microsoft.com/office/drawing/2014/main" id="{D8C93A7D-1944-411F-8F69-6296BBFF6FB9}"/>
                  </a:ext>
                </a:extLst>
              </p:cNvPr>
              <p:cNvGrpSpPr/>
              <p:nvPr/>
            </p:nvGrpSpPr>
            <p:grpSpPr>
              <a:xfrm>
                <a:off x="7762695" y="4352071"/>
                <a:ext cx="28625" cy="16333"/>
                <a:chOff x="7762695" y="4352071"/>
                <a:chExt cx="28625" cy="16333"/>
              </a:xfrm>
              <a:solidFill>
                <a:srgbClr val="FFFFFF"/>
              </a:solidFill>
            </p:grpSpPr>
            <p:sp>
              <p:nvSpPr>
                <p:cNvPr id="4658" name="Freeform: Shape 4657">
                  <a:extLst>
                    <a:ext uri="{FF2B5EF4-FFF2-40B4-BE49-F238E27FC236}">
                      <a16:creationId xmlns:a16="http://schemas.microsoft.com/office/drawing/2014/main" id="{239618B0-53E2-4E0F-AACC-82B2CB99EFFD}"/>
                    </a:ext>
                  </a:extLst>
                </p:cNvPr>
                <p:cNvSpPr/>
                <p:nvPr/>
              </p:nvSpPr>
              <p:spPr>
                <a:xfrm>
                  <a:off x="7762695" y="4353418"/>
                  <a:ext cx="25763" cy="14986"/>
                </a:xfrm>
                <a:custGeom>
                  <a:avLst/>
                  <a:gdLst>
                    <a:gd name="connsiteX0" fmla="*/ 17512 w 25763"/>
                    <a:gd name="connsiteY0" fmla="*/ 13639 h 14986"/>
                    <a:gd name="connsiteX1" fmla="*/ 15155 w 25763"/>
                    <a:gd name="connsiteY1" fmla="*/ 14987 h 14986"/>
                    <a:gd name="connsiteX2" fmla="*/ 0 w 25763"/>
                    <a:gd name="connsiteY2" fmla="*/ 6230 h 14986"/>
                    <a:gd name="connsiteX3" fmla="*/ 3368 w 25763"/>
                    <a:gd name="connsiteY3" fmla="*/ 4378 h 14986"/>
                    <a:gd name="connsiteX4" fmla="*/ 16502 w 25763"/>
                    <a:gd name="connsiteY4" fmla="*/ 9430 h 14986"/>
                    <a:gd name="connsiteX5" fmla="*/ 7409 w 25763"/>
                    <a:gd name="connsiteY5" fmla="*/ 1852 h 14986"/>
                    <a:gd name="connsiteX6" fmla="*/ 10608 w 25763"/>
                    <a:gd name="connsiteY6" fmla="*/ 0 h 14986"/>
                    <a:gd name="connsiteX7" fmla="*/ 25763 w 25763"/>
                    <a:gd name="connsiteY7" fmla="*/ 8756 h 14986"/>
                    <a:gd name="connsiteX8" fmla="*/ 23574 w 25763"/>
                    <a:gd name="connsiteY8" fmla="*/ 10103 h 14986"/>
                    <a:gd name="connsiteX9" fmla="*/ 13976 w 25763"/>
                    <a:gd name="connsiteY9" fmla="*/ 4546 h 14986"/>
                    <a:gd name="connsiteX10" fmla="*/ 21554 w 25763"/>
                    <a:gd name="connsiteY10" fmla="*/ 11282 h 14986"/>
                    <a:gd name="connsiteX11" fmla="*/ 19701 w 25763"/>
                    <a:gd name="connsiteY11" fmla="*/ 12292 h 14986"/>
                    <a:gd name="connsiteX12" fmla="*/ 7914 w 25763"/>
                    <a:gd name="connsiteY12" fmla="*/ 8083 h 14986"/>
                    <a:gd name="connsiteX13" fmla="*/ 17512 w 25763"/>
                    <a:gd name="connsiteY13" fmla="*/ 13639 h 1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63" h="14986">
                      <a:moveTo>
                        <a:pt x="17512" y="13639"/>
                      </a:moveTo>
                      <a:lnTo>
                        <a:pt x="15155" y="14987"/>
                      </a:lnTo>
                      <a:lnTo>
                        <a:pt x="0" y="6230"/>
                      </a:lnTo>
                      <a:lnTo>
                        <a:pt x="3368" y="4378"/>
                      </a:lnTo>
                      <a:lnTo>
                        <a:pt x="16502" y="9430"/>
                      </a:lnTo>
                      <a:lnTo>
                        <a:pt x="7409" y="1852"/>
                      </a:lnTo>
                      <a:lnTo>
                        <a:pt x="10608" y="0"/>
                      </a:lnTo>
                      <a:lnTo>
                        <a:pt x="25763" y="8756"/>
                      </a:lnTo>
                      <a:lnTo>
                        <a:pt x="23574" y="10103"/>
                      </a:lnTo>
                      <a:lnTo>
                        <a:pt x="13976" y="4546"/>
                      </a:lnTo>
                      <a:lnTo>
                        <a:pt x="21554" y="11282"/>
                      </a:lnTo>
                      <a:lnTo>
                        <a:pt x="19701" y="12292"/>
                      </a:lnTo>
                      <a:lnTo>
                        <a:pt x="7914" y="8083"/>
                      </a:lnTo>
                      <a:lnTo>
                        <a:pt x="17512" y="13639"/>
                      </a:lnTo>
                      <a:close/>
                    </a:path>
                  </a:pathLst>
                </a:custGeom>
                <a:solidFill>
                  <a:srgbClr val="FFFFFF"/>
                </a:solidFill>
                <a:ln w="16828" cap="flat">
                  <a:noFill/>
                  <a:prstDash val="solid"/>
                  <a:miter/>
                </a:ln>
              </p:spPr>
              <p:txBody>
                <a:bodyPr rtlCol="0" anchor="ctr"/>
                <a:lstStyle/>
                <a:p>
                  <a:endParaRPr lang="en-IN"/>
                </a:p>
              </p:txBody>
            </p:sp>
            <p:sp>
              <p:nvSpPr>
                <p:cNvPr id="4659" name="Freeform: Shape 4658">
                  <a:extLst>
                    <a:ext uri="{FF2B5EF4-FFF2-40B4-BE49-F238E27FC236}">
                      <a16:creationId xmlns:a16="http://schemas.microsoft.com/office/drawing/2014/main" id="{45EBF554-1138-479A-B40D-5A8D32615899}"/>
                    </a:ext>
                  </a:extLst>
                </p:cNvPr>
                <p:cNvSpPr/>
                <p:nvPr/>
              </p:nvSpPr>
              <p:spPr>
                <a:xfrm>
                  <a:off x="7781891" y="4352071"/>
                  <a:ext cx="9429" cy="5556"/>
                </a:xfrm>
                <a:custGeom>
                  <a:avLst/>
                  <a:gdLst>
                    <a:gd name="connsiteX0" fmla="*/ 4715 w 9429"/>
                    <a:gd name="connsiteY0" fmla="*/ 1684 h 5556"/>
                    <a:gd name="connsiteX1" fmla="*/ 7746 w 9429"/>
                    <a:gd name="connsiteY1" fmla="*/ 0 h 5556"/>
                    <a:gd name="connsiteX2" fmla="*/ 9430 w 9429"/>
                    <a:gd name="connsiteY2" fmla="*/ 1010 h 5556"/>
                    <a:gd name="connsiteX3" fmla="*/ 6399 w 9429"/>
                    <a:gd name="connsiteY3" fmla="*/ 2694 h 5556"/>
                    <a:gd name="connsiteX4" fmla="*/ 9430 w 9429"/>
                    <a:gd name="connsiteY4" fmla="*/ 4546 h 5556"/>
                    <a:gd name="connsiteX5" fmla="*/ 7746 w 9429"/>
                    <a:gd name="connsiteY5" fmla="*/ 5557 h 5556"/>
                    <a:gd name="connsiteX6" fmla="*/ 4715 w 9429"/>
                    <a:gd name="connsiteY6" fmla="*/ 3705 h 5556"/>
                    <a:gd name="connsiteX7" fmla="*/ 1684 w 9429"/>
                    <a:gd name="connsiteY7" fmla="*/ 5388 h 5556"/>
                    <a:gd name="connsiteX8" fmla="*/ 0 w 9429"/>
                    <a:gd name="connsiteY8" fmla="*/ 4378 h 5556"/>
                    <a:gd name="connsiteX9" fmla="*/ 3031 w 9429"/>
                    <a:gd name="connsiteY9" fmla="*/ 2694 h 5556"/>
                    <a:gd name="connsiteX10" fmla="*/ 0 w 9429"/>
                    <a:gd name="connsiteY10" fmla="*/ 1010 h 5556"/>
                    <a:gd name="connsiteX11" fmla="*/ 1684 w 9429"/>
                    <a:gd name="connsiteY11" fmla="*/ 0 h 5556"/>
                    <a:gd name="connsiteX12" fmla="*/ 4715 w 9429"/>
                    <a:gd name="connsiteY12" fmla="*/ 1684 h 5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29" h="5556">
                      <a:moveTo>
                        <a:pt x="4715" y="1684"/>
                      </a:moveTo>
                      <a:lnTo>
                        <a:pt x="7746" y="0"/>
                      </a:lnTo>
                      <a:lnTo>
                        <a:pt x="9430" y="1010"/>
                      </a:lnTo>
                      <a:lnTo>
                        <a:pt x="6399" y="2694"/>
                      </a:lnTo>
                      <a:lnTo>
                        <a:pt x="9430" y="4546"/>
                      </a:lnTo>
                      <a:lnTo>
                        <a:pt x="7746" y="5557"/>
                      </a:lnTo>
                      <a:lnTo>
                        <a:pt x="4715" y="3705"/>
                      </a:lnTo>
                      <a:lnTo>
                        <a:pt x="1684" y="5388"/>
                      </a:lnTo>
                      <a:lnTo>
                        <a:pt x="0" y="4378"/>
                      </a:lnTo>
                      <a:lnTo>
                        <a:pt x="3031" y="2694"/>
                      </a:lnTo>
                      <a:lnTo>
                        <a:pt x="0" y="1010"/>
                      </a:lnTo>
                      <a:lnTo>
                        <a:pt x="1684" y="0"/>
                      </a:lnTo>
                      <a:lnTo>
                        <a:pt x="4715" y="1684"/>
                      </a:lnTo>
                      <a:close/>
                    </a:path>
                  </a:pathLst>
                </a:custGeom>
                <a:solidFill>
                  <a:srgbClr val="FFFFFF"/>
                </a:solidFill>
                <a:ln w="16828" cap="flat">
                  <a:noFill/>
                  <a:prstDash val="solid"/>
                  <a:miter/>
                </a:ln>
              </p:spPr>
              <p:txBody>
                <a:bodyPr rtlCol="0" anchor="ctr"/>
                <a:lstStyle/>
                <a:p>
                  <a:endParaRPr lang="en-IN"/>
                </a:p>
              </p:txBody>
            </p:sp>
          </p:grpSp>
          <p:grpSp>
            <p:nvGrpSpPr>
              <p:cNvPr id="4660" name="Graphic 4202">
                <a:extLst>
                  <a:ext uri="{FF2B5EF4-FFF2-40B4-BE49-F238E27FC236}">
                    <a16:creationId xmlns:a16="http://schemas.microsoft.com/office/drawing/2014/main" id="{D8C93A7D-1944-411F-8F69-6296BBFF6FB9}"/>
                  </a:ext>
                </a:extLst>
              </p:cNvPr>
              <p:cNvGrpSpPr/>
              <p:nvPr/>
            </p:nvGrpSpPr>
            <p:grpSpPr>
              <a:xfrm>
                <a:off x="7811190" y="4375141"/>
                <a:ext cx="17680" cy="10271"/>
                <a:chOff x="7811190" y="4375141"/>
                <a:chExt cx="17680" cy="10271"/>
              </a:xfrm>
              <a:solidFill>
                <a:srgbClr val="FFFFFF"/>
              </a:solidFill>
            </p:grpSpPr>
            <p:sp>
              <p:nvSpPr>
                <p:cNvPr id="4661" name="Freeform: Shape 4660">
                  <a:extLst>
                    <a:ext uri="{FF2B5EF4-FFF2-40B4-BE49-F238E27FC236}">
                      <a16:creationId xmlns:a16="http://schemas.microsoft.com/office/drawing/2014/main" id="{5B398BB0-6C13-406C-A127-18A3502FCFD2}"/>
                    </a:ext>
                  </a:extLst>
                </p:cNvPr>
                <p:cNvSpPr/>
                <p:nvPr/>
              </p:nvSpPr>
              <p:spPr>
                <a:xfrm>
                  <a:off x="7811190" y="4375309"/>
                  <a:ext cx="17680" cy="10103"/>
                </a:xfrm>
                <a:custGeom>
                  <a:avLst/>
                  <a:gdLst>
                    <a:gd name="connsiteX0" fmla="*/ 0 w 17680"/>
                    <a:gd name="connsiteY0" fmla="*/ 8251 h 10103"/>
                    <a:gd name="connsiteX1" fmla="*/ 14481 w 17680"/>
                    <a:gd name="connsiteY1" fmla="*/ 0 h 10103"/>
                    <a:gd name="connsiteX2" fmla="*/ 17681 w 17680"/>
                    <a:gd name="connsiteY2" fmla="*/ 1852 h 10103"/>
                    <a:gd name="connsiteX3" fmla="*/ 3199 w 17680"/>
                    <a:gd name="connsiteY3" fmla="*/ 10103 h 10103"/>
                    <a:gd name="connsiteX4" fmla="*/ 0 w 17680"/>
                    <a:gd name="connsiteY4" fmla="*/ 8251 h 10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80" h="10103">
                      <a:moveTo>
                        <a:pt x="0" y="8251"/>
                      </a:moveTo>
                      <a:lnTo>
                        <a:pt x="14481" y="0"/>
                      </a:lnTo>
                      <a:lnTo>
                        <a:pt x="17681" y="1852"/>
                      </a:lnTo>
                      <a:lnTo>
                        <a:pt x="3199" y="10103"/>
                      </a:lnTo>
                      <a:lnTo>
                        <a:pt x="0" y="8251"/>
                      </a:lnTo>
                      <a:close/>
                    </a:path>
                  </a:pathLst>
                </a:custGeom>
                <a:solidFill>
                  <a:srgbClr val="FFFFFF"/>
                </a:solidFill>
                <a:ln w="16828" cap="flat">
                  <a:noFill/>
                  <a:prstDash val="solid"/>
                  <a:miter/>
                </a:ln>
              </p:spPr>
              <p:txBody>
                <a:bodyPr rtlCol="0" anchor="ctr"/>
                <a:lstStyle/>
                <a:p>
                  <a:endParaRPr lang="en-IN"/>
                </a:p>
              </p:txBody>
            </p:sp>
            <p:sp>
              <p:nvSpPr>
                <p:cNvPr id="4662" name="Freeform: Shape 4661">
                  <a:extLst>
                    <a:ext uri="{FF2B5EF4-FFF2-40B4-BE49-F238E27FC236}">
                      <a16:creationId xmlns:a16="http://schemas.microsoft.com/office/drawing/2014/main" id="{ACAE687C-114D-481A-80F5-359C20C203DB}"/>
                    </a:ext>
                  </a:extLst>
                </p:cNvPr>
                <p:cNvSpPr/>
                <p:nvPr/>
              </p:nvSpPr>
              <p:spPr>
                <a:xfrm>
                  <a:off x="7811443" y="4375141"/>
                  <a:ext cx="5388" cy="3367"/>
                </a:xfrm>
                <a:custGeom>
                  <a:avLst/>
                  <a:gdLst>
                    <a:gd name="connsiteX0" fmla="*/ 758 w 5388"/>
                    <a:gd name="connsiteY0" fmla="*/ 2863 h 3367"/>
                    <a:gd name="connsiteX1" fmla="*/ 758 w 5388"/>
                    <a:gd name="connsiteY1" fmla="*/ 505 h 3367"/>
                    <a:gd name="connsiteX2" fmla="*/ 4631 w 5388"/>
                    <a:gd name="connsiteY2" fmla="*/ 505 h 3367"/>
                    <a:gd name="connsiteX3" fmla="*/ 4631 w 5388"/>
                    <a:gd name="connsiteY3" fmla="*/ 2863 h 3367"/>
                    <a:gd name="connsiteX4" fmla="*/ 758 w 5388"/>
                    <a:gd name="connsiteY4" fmla="*/ 2863 h 3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 h="3367">
                      <a:moveTo>
                        <a:pt x="758" y="2863"/>
                      </a:moveTo>
                      <a:cubicBezTo>
                        <a:pt x="-253" y="2189"/>
                        <a:pt x="-253" y="1179"/>
                        <a:pt x="758" y="505"/>
                      </a:cubicBezTo>
                      <a:cubicBezTo>
                        <a:pt x="1768" y="-168"/>
                        <a:pt x="3620" y="-168"/>
                        <a:pt x="4631" y="505"/>
                      </a:cubicBezTo>
                      <a:cubicBezTo>
                        <a:pt x="5641" y="1179"/>
                        <a:pt x="5641" y="2189"/>
                        <a:pt x="4631" y="2863"/>
                      </a:cubicBezTo>
                      <a:cubicBezTo>
                        <a:pt x="3620" y="3536"/>
                        <a:pt x="1768" y="3536"/>
                        <a:pt x="758" y="2863"/>
                      </a:cubicBezTo>
                      <a:close/>
                    </a:path>
                  </a:pathLst>
                </a:custGeom>
                <a:solidFill>
                  <a:srgbClr val="FFFFFF"/>
                </a:solidFill>
                <a:ln w="16828" cap="flat">
                  <a:noFill/>
                  <a:prstDash val="solid"/>
                  <a:miter/>
                </a:ln>
              </p:spPr>
              <p:txBody>
                <a:bodyPr rtlCol="0" anchor="ctr"/>
                <a:lstStyle/>
                <a:p>
                  <a:endParaRPr lang="en-IN"/>
                </a:p>
              </p:txBody>
            </p:sp>
            <p:sp>
              <p:nvSpPr>
                <p:cNvPr id="4663" name="Freeform: Shape 4662">
                  <a:extLst>
                    <a:ext uri="{FF2B5EF4-FFF2-40B4-BE49-F238E27FC236}">
                      <a16:creationId xmlns:a16="http://schemas.microsoft.com/office/drawing/2014/main" id="{3D49F5D1-3D6E-49AB-81A6-9D827D8736B9}"/>
                    </a:ext>
                  </a:extLst>
                </p:cNvPr>
                <p:cNvSpPr/>
                <p:nvPr/>
              </p:nvSpPr>
              <p:spPr>
                <a:xfrm>
                  <a:off x="7822893" y="4381876"/>
                  <a:ext cx="5388" cy="3367"/>
                </a:xfrm>
                <a:custGeom>
                  <a:avLst/>
                  <a:gdLst>
                    <a:gd name="connsiteX0" fmla="*/ 758 w 5388"/>
                    <a:gd name="connsiteY0" fmla="*/ 2863 h 3367"/>
                    <a:gd name="connsiteX1" fmla="*/ 758 w 5388"/>
                    <a:gd name="connsiteY1" fmla="*/ 505 h 3367"/>
                    <a:gd name="connsiteX2" fmla="*/ 4631 w 5388"/>
                    <a:gd name="connsiteY2" fmla="*/ 505 h 3367"/>
                    <a:gd name="connsiteX3" fmla="*/ 4631 w 5388"/>
                    <a:gd name="connsiteY3" fmla="*/ 2863 h 3367"/>
                    <a:gd name="connsiteX4" fmla="*/ 758 w 5388"/>
                    <a:gd name="connsiteY4" fmla="*/ 2863 h 3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 h="3367">
                      <a:moveTo>
                        <a:pt x="758" y="2863"/>
                      </a:moveTo>
                      <a:cubicBezTo>
                        <a:pt x="-253" y="2189"/>
                        <a:pt x="-253" y="1179"/>
                        <a:pt x="758" y="505"/>
                      </a:cubicBezTo>
                      <a:cubicBezTo>
                        <a:pt x="1768" y="-168"/>
                        <a:pt x="3620" y="-168"/>
                        <a:pt x="4631" y="505"/>
                      </a:cubicBezTo>
                      <a:cubicBezTo>
                        <a:pt x="5641" y="1179"/>
                        <a:pt x="5641" y="2189"/>
                        <a:pt x="4631" y="2863"/>
                      </a:cubicBezTo>
                      <a:cubicBezTo>
                        <a:pt x="3620" y="3536"/>
                        <a:pt x="1936" y="3536"/>
                        <a:pt x="758" y="2863"/>
                      </a:cubicBezTo>
                      <a:close/>
                    </a:path>
                  </a:pathLst>
                </a:custGeom>
                <a:solidFill>
                  <a:srgbClr val="FFFFFF"/>
                </a:solidFill>
                <a:ln w="16828" cap="flat">
                  <a:noFill/>
                  <a:prstDash val="solid"/>
                  <a:miter/>
                </a:ln>
              </p:spPr>
              <p:txBody>
                <a:bodyPr rtlCol="0" anchor="ctr"/>
                <a:lstStyle/>
                <a:p>
                  <a:endParaRPr lang="en-IN"/>
                </a:p>
              </p:txBody>
            </p:sp>
          </p:grpSp>
          <p:sp>
            <p:nvSpPr>
              <p:cNvPr id="4664" name="Freeform: Shape 4663">
                <a:extLst>
                  <a:ext uri="{FF2B5EF4-FFF2-40B4-BE49-F238E27FC236}">
                    <a16:creationId xmlns:a16="http://schemas.microsoft.com/office/drawing/2014/main" id="{000932AE-AE4D-42F7-91E3-9C52139490B6}"/>
                  </a:ext>
                </a:extLst>
              </p:cNvPr>
              <p:cNvSpPr/>
              <p:nvPr/>
            </p:nvSpPr>
            <p:spPr>
              <a:xfrm>
                <a:off x="7725267" y="4259980"/>
                <a:ext cx="456878" cy="235558"/>
              </a:xfrm>
              <a:custGeom>
                <a:avLst/>
                <a:gdLst>
                  <a:gd name="connsiteX0" fmla="*/ 80367 w 456878"/>
                  <a:gd name="connsiteY0" fmla="*/ 100174 h 235558"/>
                  <a:gd name="connsiteX1" fmla="*/ 41806 w 456878"/>
                  <a:gd name="connsiteY1" fmla="*/ 142776 h 235558"/>
                  <a:gd name="connsiteX2" fmla="*/ 16042 w 456878"/>
                  <a:gd name="connsiteY2" fmla="*/ 175949 h 235558"/>
                  <a:gd name="connsiteX3" fmla="*/ 551 w 456878"/>
                  <a:gd name="connsiteY3" fmla="*/ 165340 h 235558"/>
                  <a:gd name="connsiteX4" fmla="*/ 21936 w 456878"/>
                  <a:gd name="connsiteY4" fmla="*/ 106573 h 235558"/>
                  <a:gd name="connsiteX5" fmla="*/ 71611 w 456878"/>
                  <a:gd name="connsiteY5" fmla="*/ 28945 h 235558"/>
                  <a:gd name="connsiteX6" fmla="*/ 108319 w 456878"/>
                  <a:gd name="connsiteY6" fmla="*/ 25578 h 235558"/>
                  <a:gd name="connsiteX7" fmla="*/ 124484 w 456878"/>
                  <a:gd name="connsiteY7" fmla="*/ 12275 h 235558"/>
                  <a:gd name="connsiteX8" fmla="*/ 151763 w 456878"/>
                  <a:gd name="connsiteY8" fmla="*/ 12275 h 235558"/>
                  <a:gd name="connsiteX9" fmla="*/ 157657 w 456878"/>
                  <a:gd name="connsiteY9" fmla="*/ 3856 h 235558"/>
                  <a:gd name="connsiteX10" fmla="*/ 183757 w 456878"/>
                  <a:gd name="connsiteY10" fmla="*/ 3856 h 235558"/>
                  <a:gd name="connsiteX11" fmla="*/ 199249 w 456878"/>
                  <a:gd name="connsiteY11" fmla="*/ 151 h 235558"/>
                  <a:gd name="connsiteX12" fmla="*/ 254480 w 456878"/>
                  <a:gd name="connsiteY12" fmla="*/ 29956 h 235558"/>
                  <a:gd name="connsiteX13" fmla="*/ 322173 w 456878"/>
                  <a:gd name="connsiteY13" fmla="*/ 89565 h 235558"/>
                  <a:gd name="connsiteX14" fmla="*/ 366290 w 456878"/>
                  <a:gd name="connsiteY14" fmla="*/ 129642 h 235558"/>
                  <a:gd name="connsiteX15" fmla="*/ 410071 w 456878"/>
                  <a:gd name="connsiteY15" fmla="*/ 150185 h 235558"/>
                  <a:gd name="connsiteX16" fmla="*/ 456378 w 456878"/>
                  <a:gd name="connsiteY16" fmla="*/ 187399 h 235558"/>
                  <a:gd name="connsiteX17" fmla="*/ 446107 w 456878"/>
                  <a:gd name="connsiteY17" fmla="*/ 203228 h 235558"/>
                  <a:gd name="connsiteX18" fmla="*/ 401989 w 456878"/>
                  <a:gd name="connsiteY18" fmla="*/ 230843 h 235558"/>
                  <a:gd name="connsiteX19" fmla="*/ 327393 w 456878"/>
                  <a:gd name="connsiteY19" fmla="*/ 234211 h 235558"/>
                  <a:gd name="connsiteX20" fmla="*/ 260542 w 456878"/>
                  <a:gd name="connsiteY20" fmla="*/ 211479 h 235558"/>
                  <a:gd name="connsiteX21" fmla="*/ 226696 w 456878"/>
                  <a:gd name="connsiteY21" fmla="*/ 198176 h 235558"/>
                  <a:gd name="connsiteX22" fmla="*/ 154963 w 456878"/>
                  <a:gd name="connsiteY22" fmla="*/ 199691 h 235558"/>
                  <a:gd name="connsiteX23" fmla="*/ 97879 w 456878"/>
                  <a:gd name="connsiteY23" fmla="*/ 193461 h 235558"/>
                  <a:gd name="connsiteX24" fmla="*/ 82724 w 456878"/>
                  <a:gd name="connsiteY24" fmla="*/ 176117 h 235558"/>
                  <a:gd name="connsiteX25" fmla="*/ 88955 w 456878"/>
                  <a:gd name="connsiteY25" fmla="*/ 143450 h 235558"/>
                  <a:gd name="connsiteX26" fmla="*/ 87271 w 456878"/>
                  <a:gd name="connsiteY26" fmla="*/ 124422 h 235558"/>
                  <a:gd name="connsiteX27" fmla="*/ 84576 w 456878"/>
                  <a:gd name="connsiteY27" fmla="*/ 113308 h 235558"/>
                  <a:gd name="connsiteX28" fmla="*/ 80367 w 456878"/>
                  <a:gd name="connsiteY28" fmla="*/ 100174 h 235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56878" h="235558">
                    <a:moveTo>
                      <a:pt x="80367" y="100174"/>
                    </a:moveTo>
                    <a:cubicBezTo>
                      <a:pt x="80367" y="100174"/>
                      <a:pt x="53593" y="110446"/>
                      <a:pt x="41806" y="142776"/>
                    </a:cubicBezTo>
                    <a:cubicBezTo>
                      <a:pt x="30019" y="175107"/>
                      <a:pt x="16042" y="175949"/>
                      <a:pt x="16042" y="175949"/>
                    </a:cubicBezTo>
                    <a:cubicBezTo>
                      <a:pt x="16042" y="175949"/>
                      <a:pt x="-3491" y="176622"/>
                      <a:pt x="551" y="165340"/>
                    </a:cubicBezTo>
                    <a:cubicBezTo>
                      <a:pt x="4592" y="153890"/>
                      <a:pt x="17053" y="114992"/>
                      <a:pt x="21936" y="106573"/>
                    </a:cubicBezTo>
                    <a:cubicBezTo>
                      <a:pt x="26651" y="98153"/>
                      <a:pt x="64538" y="31976"/>
                      <a:pt x="71611" y="28945"/>
                    </a:cubicBezTo>
                    <a:cubicBezTo>
                      <a:pt x="78514" y="26083"/>
                      <a:pt x="98384" y="26420"/>
                      <a:pt x="108319" y="25578"/>
                    </a:cubicBezTo>
                    <a:cubicBezTo>
                      <a:pt x="118254" y="24736"/>
                      <a:pt x="123474" y="13790"/>
                      <a:pt x="124484" y="12275"/>
                    </a:cubicBezTo>
                    <a:cubicBezTo>
                      <a:pt x="125495" y="10759"/>
                      <a:pt x="146880" y="14127"/>
                      <a:pt x="151763" y="12275"/>
                    </a:cubicBezTo>
                    <a:cubicBezTo>
                      <a:pt x="156647" y="10423"/>
                      <a:pt x="155468" y="5708"/>
                      <a:pt x="157657" y="3856"/>
                    </a:cubicBezTo>
                    <a:cubicBezTo>
                      <a:pt x="159846" y="2003"/>
                      <a:pt x="181905" y="4192"/>
                      <a:pt x="183757" y="3856"/>
                    </a:cubicBezTo>
                    <a:cubicBezTo>
                      <a:pt x="185610" y="3519"/>
                      <a:pt x="191166" y="-859"/>
                      <a:pt x="199249" y="151"/>
                    </a:cubicBezTo>
                    <a:cubicBezTo>
                      <a:pt x="207332" y="1330"/>
                      <a:pt x="241515" y="20021"/>
                      <a:pt x="254480" y="29956"/>
                    </a:cubicBezTo>
                    <a:cubicBezTo>
                      <a:pt x="267278" y="39891"/>
                      <a:pt x="322173" y="89565"/>
                      <a:pt x="322173" y="89565"/>
                    </a:cubicBezTo>
                    <a:cubicBezTo>
                      <a:pt x="322173" y="89565"/>
                      <a:pt x="361912" y="127116"/>
                      <a:pt x="366290" y="129642"/>
                    </a:cubicBezTo>
                    <a:cubicBezTo>
                      <a:pt x="370668" y="132168"/>
                      <a:pt x="402999" y="147659"/>
                      <a:pt x="410071" y="150185"/>
                    </a:cubicBezTo>
                    <a:cubicBezTo>
                      <a:pt x="416975" y="152711"/>
                      <a:pt x="454863" y="185884"/>
                      <a:pt x="456378" y="187399"/>
                    </a:cubicBezTo>
                    <a:cubicBezTo>
                      <a:pt x="457894" y="188915"/>
                      <a:pt x="456378" y="193966"/>
                      <a:pt x="446107" y="203228"/>
                    </a:cubicBezTo>
                    <a:cubicBezTo>
                      <a:pt x="435835" y="212489"/>
                      <a:pt x="424048" y="223434"/>
                      <a:pt x="401989" y="230843"/>
                    </a:cubicBezTo>
                    <a:cubicBezTo>
                      <a:pt x="379930" y="238252"/>
                      <a:pt x="339517" y="234885"/>
                      <a:pt x="327393" y="234211"/>
                    </a:cubicBezTo>
                    <a:cubicBezTo>
                      <a:pt x="315269" y="233538"/>
                      <a:pt x="266773" y="215857"/>
                      <a:pt x="260542" y="211479"/>
                    </a:cubicBezTo>
                    <a:cubicBezTo>
                      <a:pt x="254312" y="207101"/>
                      <a:pt x="232253" y="199018"/>
                      <a:pt x="226696" y="198176"/>
                    </a:cubicBezTo>
                    <a:cubicBezTo>
                      <a:pt x="221140" y="197502"/>
                      <a:pt x="157489" y="200702"/>
                      <a:pt x="154963" y="199691"/>
                    </a:cubicBezTo>
                    <a:cubicBezTo>
                      <a:pt x="152437" y="198513"/>
                      <a:pt x="109330" y="195987"/>
                      <a:pt x="97879" y="193461"/>
                    </a:cubicBezTo>
                    <a:cubicBezTo>
                      <a:pt x="86429" y="190935"/>
                      <a:pt x="81714" y="181674"/>
                      <a:pt x="82724" y="176117"/>
                    </a:cubicBezTo>
                    <a:cubicBezTo>
                      <a:pt x="83735" y="170560"/>
                      <a:pt x="86766" y="152206"/>
                      <a:pt x="88955" y="143450"/>
                    </a:cubicBezTo>
                    <a:cubicBezTo>
                      <a:pt x="91144" y="134693"/>
                      <a:pt x="87271" y="124422"/>
                      <a:pt x="87271" y="124422"/>
                    </a:cubicBezTo>
                    <a:cubicBezTo>
                      <a:pt x="87271" y="124422"/>
                      <a:pt x="86092" y="121559"/>
                      <a:pt x="84576" y="113308"/>
                    </a:cubicBezTo>
                    <a:cubicBezTo>
                      <a:pt x="83061" y="105731"/>
                      <a:pt x="81882" y="99669"/>
                      <a:pt x="80367" y="100174"/>
                    </a:cubicBezTo>
                    <a:close/>
                  </a:path>
                </a:pathLst>
              </a:custGeom>
              <a:solidFill>
                <a:srgbClr val="FED4BD"/>
              </a:solidFill>
              <a:ln w="16828" cap="flat">
                <a:noFill/>
                <a:prstDash val="solid"/>
                <a:miter/>
              </a:ln>
            </p:spPr>
            <p:txBody>
              <a:bodyPr rtlCol="0" anchor="ctr"/>
              <a:lstStyle/>
              <a:p>
                <a:endParaRPr lang="en-IN"/>
              </a:p>
            </p:txBody>
          </p:sp>
        </p:grpSp>
        <p:sp>
          <p:nvSpPr>
            <p:cNvPr id="4665" name="Freeform: Shape 4664">
              <a:extLst>
                <a:ext uri="{FF2B5EF4-FFF2-40B4-BE49-F238E27FC236}">
                  <a16:creationId xmlns:a16="http://schemas.microsoft.com/office/drawing/2014/main" id="{4F01A615-DA7A-446B-AF7A-C1EA66FA60D9}"/>
                </a:ext>
              </a:extLst>
            </p:cNvPr>
            <p:cNvSpPr/>
            <p:nvPr/>
          </p:nvSpPr>
          <p:spPr>
            <a:xfrm>
              <a:off x="7203477" y="4329844"/>
              <a:ext cx="439934" cy="365740"/>
            </a:xfrm>
            <a:custGeom>
              <a:avLst/>
              <a:gdLst>
                <a:gd name="connsiteX0" fmla="*/ 2720 w 468922"/>
                <a:gd name="connsiteY0" fmla="*/ 103054 h 457680"/>
                <a:gd name="connsiteX1" fmla="*/ 204449 w 468922"/>
                <a:gd name="connsiteY1" fmla="*/ 0 h 457680"/>
                <a:gd name="connsiteX2" fmla="*/ 204449 w 468922"/>
                <a:gd name="connsiteY2" fmla="*/ 0 h 457680"/>
                <a:gd name="connsiteX3" fmla="*/ 230718 w 468922"/>
                <a:gd name="connsiteY3" fmla="*/ 91940 h 457680"/>
                <a:gd name="connsiteX4" fmla="*/ 434805 w 468922"/>
                <a:gd name="connsiteY4" fmla="*/ 246521 h 457680"/>
                <a:gd name="connsiteX5" fmla="*/ 465788 w 468922"/>
                <a:gd name="connsiteY5" fmla="*/ 354626 h 457680"/>
                <a:gd name="connsiteX6" fmla="*/ 465788 w 468922"/>
                <a:gd name="connsiteY6" fmla="*/ 354626 h 457680"/>
                <a:gd name="connsiteX7" fmla="*/ 264059 w 468922"/>
                <a:gd name="connsiteY7" fmla="*/ 457680 h 457680"/>
                <a:gd name="connsiteX8" fmla="*/ 264059 w 468922"/>
                <a:gd name="connsiteY8" fmla="*/ 457680 h 457680"/>
                <a:gd name="connsiteX9" fmla="*/ 233075 w 468922"/>
                <a:gd name="connsiteY9" fmla="*/ 349575 h 457680"/>
                <a:gd name="connsiteX10" fmla="*/ 28988 w 468922"/>
                <a:gd name="connsiteY10" fmla="*/ 194826 h 457680"/>
                <a:gd name="connsiteX11" fmla="*/ 2720 w 468922"/>
                <a:gd name="connsiteY11" fmla="*/ 103054 h 457680"/>
                <a:gd name="connsiteX12" fmla="*/ 2720 w 468922"/>
                <a:gd name="connsiteY12" fmla="*/ 103054 h 457680"/>
                <a:gd name="connsiteX0" fmla="*/ 2720 w 468922"/>
                <a:gd name="connsiteY0" fmla="*/ 103054 h 457680"/>
                <a:gd name="connsiteX1" fmla="*/ 204449 w 468922"/>
                <a:gd name="connsiteY1" fmla="*/ 0 h 457680"/>
                <a:gd name="connsiteX2" fmla="*/ 204449 w 468922"/>
                <a:gd name="connsiteY2" fmla="*/ 0 h 457680"/>
                <a:gd name="connsiteX3" fmla="*/ 230718 w 468922"/>
                <a:gd name="connsiteY3" fmla="*/ 91940 h 457680"/>
                <a:gd name="connsiteX4" fmla="*/ 434805 w 468922"/>
                <a:gd name="connsiteY4" fmla="*/ 246521 h 457680"/>
                <a:gd name="connsiteX5" fmla="*/ 465788 w 468922"/>
                <a:gd name="connsiteY5" fmla="*/ 354626 h 457680"/>
                <a:gd name="connsiteX6" fmla="*/ 465788 w 468922"/>
                <a:gd name="connsiteY6" fmla="*/ 354626 h 457680"/>
                <a:gd name="connsiteX7" fmla="*/ 264059 w 468922"/>
                <a:gd name="connsiteY7" fmla="*/ 457680 h 457680"/>
                <a:gd name="connsiteX8" fmla="*/ 264059 w 468922"/>
                <a:gd name="connsiteY8" fmla="*/ 457680 h 457680"/>
                <a:gd name="connsiteX9" fmla="*/ 233075 w 468922"/>
                <a:gd name="connsiteY9" fmla="*/ 349575 h 457680"/>
                <a:gd name="connsiteX10" fmla="*/ 28988 w 468922"/>
                <a:gd name="connsiteY10" fmla="*/ 194826 h 457680"/>
                <a:gd name="connsiteX11" fmla="*/ 2720 w 468922"/>
                <a:gd name="connsiteY11" fmla="*/ 103054 h 457680"/>
                <a:gd name="connsiteX0" fmla="*/ 2720 w 468922"/>
                <a:gd name="connsiteY0" fmla="*/ 103054 h 457680"/>
                <a:gd name="connsiteX1" fmla="*/ 204449 w 468922"/>
                <a:gd name="connsiteY1" fmla="*/ 0 h 457680"/>
                <a:gd name="connsiteX2" fmla="*/ 230718 w 468922"/>
                <a:gd name="connsiteY2" fmla="*/ 91940 h 457680"/>
                <a:gd name="connsiteX3" fmla="*/ 434805 w 468922"/>
                <a:gd name="connsiteY3" fmla="*/ 246521 h 457680"/>
                <a:gd name="connsiteX4" fmla="*/ 465788 w 468922"/>
                <a:gd name="connsiteY4" fmla="*/ 354626 h 457680"/>
                <a:gd name="connsiteX5" fmla="*/ 465788 w 468922"/>
                <a:gd name="connsiteY5" fmla="*/ 354626 h 457680"/>
                <a:gd name="connsiteX6" fmla="*/ 264059 w 468922"/>
                <a:gd name="connsiteY6" fmla="*/ 457680 h 457680"/>
                <a:gd name="connsiteX7" fmla="*/ 264059 w 468922"/>
                <a:gd name="connsiteY7" fmla="*/ 457680 h 457680"/>
                <a:gd name="connsiteX8" fmla="*/ 233075 w 468922"/>
                <a:gd name="connsiteY8" fmla="*/ 349575 h 457680"/>
                <a:gd name="connsiteX9" fmla="*/ 28988 w 468922"/>
                <a:gd name="connsiteY9" fmla="*/ 194826 h 457680"/>
                <a:gd name="connsiteX10" fmla="*/ 2720 w 468922"/>
                <a:gd name="connsiteY10" fmla="*/ 103054 h 457680"/>
                <a:gd name="connsiteX0" fmla="*/ 2720 w 468922"/>
                <a:gd name="connsiteY0" fmla="*/ 11114 h 365740"/>
                <a:gd name="connsiteX1" fmla="*/ 230718 w 468922"/>
                <a:gd name="connsiteY1" fmla="*/ 0 h 365740"/>
                <a:gd name="connsiteX2" fmla="*/ 434805 w 468922"/>
                <a:gd name="connsiteY2" fmla="*/ 154581 h 365740"/>
                <a:gd name="connsiteX3" fmla="*/ 465788 w 468922"/>
                <a:gd name="connsiteY3" fmla="*/ 262686 h 365740"/>
                <a:gd name="connsiteX4" fmla="*/ 465788 w 468922"/>
                <a:gd name="connsiteY4" fmla="*/ 262686 h 365740"/>
                <a:gd name="connsiteX5" fmla="*/ 264059 w 468922"/>
                <a:gd name="connsiteY5" fmla="*/ 365740 h 365740"/>
                <a:gd name="connsiteX6" fmla="*/ 264059 w 468922"/>
                <a:gd name="connsiteY6" fmla="*/ 365740 h 365740"/>
                <a:gd name="connsiteX7" fmla="*/ 233075 w 468922"/>
                <a:gd name="connsiteY7" fmla="*/ 257635 h 365740"/>
                <a:gd name="connsiteX8" fmla="*/ 28988 w 468922"/>
                <a:gd name="connsiteY8" fmla="*/ 102886 h 365740"/>
                <a:gd name="connsiteX9" fmla="*/ 2720 w 468922"/>
                <a:gd name="connsiteY9" fmla="*/ 11114 h 365740"/>
                <a:gd name="connsiteX0" fmla="*/ 1 w 439935"/>
                <a:gd name="connsiteY0" fmla="*/ 103626 h 366480"/>
                <a:gd name="connsiteX1" fmla="*/ 201731 w 439935"/>
                <a:gd name="connsiteY1" fmla="*/ 740 h 366480"/>
                <a:gd name="connsiteX2" fmla="*/ 405818 w 439935"/>
                <a:gd name="connsiteY2" fmla="*/ 155321 h 366480"/>
                <a:gd name="connsiteX3" fmla="*/ 436801 w 439935"/>
                <a:gd name="connsiteY3" fmla="*/ 263426 h 366480"/>
                <a:gd name="connsiteX4" fmla="*/ 436801 w 439935"/>
                <a:gd name="connsiteY4" fmla="*/ 263426 h 366480"/>
                <a:gd name="connsiteX5" fmla="*/ 235072 w 439935"/>
                <a:gd name="connsiteY5" fmla="*/ 366480 h 366480"/>
                <a:gd name="connsiteX6" fmla="*/ 235072 w 439935"/>
                <a:gd name="connsiteY6" fmla="*/ 366480 h 366480"/>
                <a:gd name="connsiteX7" fmla="*/ 204088 w 439935"/>
                <a:gd name="connsiteY7" fmla="*/ 258375 h 366480"/>
                <a:gd name="connsiteX8" fmla="*/ 1 w 439935"/>
                <a:gd name="connsiteY8" fmla="*/ 103626 h 366480"/>
                <a:gd name="connsiteX0" fmla="*/ 0 w 439934"/>
                <a:gd name="connsiteY0" fmla="*/ 103626 h 366480"/>
                <a:gd name="connsiteX1" fmla="*/ 201730 w 439934"/>
                <a:gd name="connsiteY1" fmla="*/ 740 h 366480"/>
                <a:gd name="connsiteX2" fmla="*/ 405817 w 439934"/>
                <a:gd name="connsiteY2" fmla="*/ 155321 h 366480"/>
                <a:gd name="connsiteX3" fmla="*/ 436800 w 439934"/>
                <a:gd name="connsiteY3" fmla="*/ 263426 h 366480"/>
                <a:gd name="connsiteX4" fmla="*/ 436800 w 439934"/>
                <a:gd name="connsiteY4" fmla="*/ 263426 h 366480"/>
                <a:gd name="connsiteX5" fmla="*/ 235071 w 439934"/>
                <a:gd name="connsiteY5" fmla="*/ 366480 h 366480"/>
                <a:gd name="connsiteX6" fmla="*/ 235071 w 439934"/>
                <a:gd name="connsiteY6" fmla="*/ 366480 h 366480"/>
                <a:gd name="connsiteX7" fmla="*/ 204087 w 439934"/>
                <a:gd name="connsiteY7" fmla="*/ 258375 h 366480"/>
                <a:gd name="connsiteX8" fmla="*/ 0 w 439934"/>
                <a:gd name="connsiteY8" fmla="*/ 103626 h 366480"/>
                <a:gd name="connsiteX0" fmla="*/ 0 w 439934"/>
                <a:gd name="connsiteY0" fmla="*/ 102886 h 365740"/>
                <a:gd name="connsiteX1" fmla="*/ 201730 w 439934"/>
                <a:gd name="connsiteY1" fmla="*/ 0 h 365740"/>
                <a:gd name="connsiteX2" fmla="*/ 405817 w 439934"/>
                <a:gd name="connsiteY2" fmla="*/ 154581 h 365740"/>
                <a:gd name="connsiteX3" fmla="*/ 436800 w 439934"/>
                <a:gd name="connsiteY3" fmla="*/ 262686 h 365740"/>
                <a:gd name="connsiteX4" fmla="*/ 436800 w 439934"/>
                <a:gd name="connsiteY4" fmla="*/ 262686 h 365740"/>
                <a:gd name="connsiteX5" fmla="*/ 235071 w 439934"/>
                <a:gd name="connsiteY5" fmla="*/ 365740 h 365740"/>
                <a:gd name="connsiteX6" fmla="*/ 235071 w 439934"/>
                <a:gd name="connsiteY6" fmla="*/ 365740 h 365740"/>
                <a:gd name="connsiteX7" fmla="*/ 204087 w 439934"/>
                <a:gd name="connsiteY7" fmla="*/ 257635 h 365740"/>
                <a:gd name="connsiteX8" fmla="*/ 0 w 439934"/>
                <a:gd name="connsiteY8" fmla="*/ 102886 h 36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934" h="365740">
                  <a:moveTo>
                    <a:pt x="0" y="102886"/>
                  </a:moveTo>
                  <a:cubicBezTo>
                    <a:pt x="68717" y="59947"/>
                    <a:pt x="123461" y="31255"/>
                    <a:pt x="201730" y="0"/>
                  </a:cubicBezTo>
                  <a:lnTo>
                    <a:pt x="405817" y="154581"/>
                  </a:lnTo>
                  <a:cubicBezTo>
                    <a:pt x="432759" y="174956"/>
                    <a:pt x="446567" y="223283"/>
                    <a:pt x="436800" y="262686"/>
                  </a:cubicBezTo>
                  <a:lnTo>
                    <a:pt x="436800" y="262686"/>
                  </a:lnTo>
                  <a:lnTo>
                    <a:pt x="235071" y="365740"/>
                  </a:lnTo>
                  <a:lnTo>
                    <a:pt x="235071" y="365740"/>
                  </a:lnTo>
                  <a:cubicBezTo>
                    <a:pt x="245006" y="326506"/>
                    <a:pt x="231029" y="278178"/>
                    <a:pt x="204087" y="257635"/>
                  </a:cubicBezTo>
                  <a:lnTo>
                    <a:pt x="0" y="102886"/>
                  </a:lnTo>
                  <a:close/>
                </a:path>
              </a:pathLst>
            </a:custGeom>
            <a:solidFill>
              <a:schemeClr val="bg1"/>
            </a:solidFill>
            <a:ln w="0" cap="flat">
              <a:solidFill>
                <a:schemeClr val="bg1">
                  <a:lumMod val="75000"/>
                </a:schemeClr>
              </a:solidFill>
              <a:prstDash val="solid"/>
              <a:miter/>
            </a:ln>
          </p:spPr>
          <p:txBody>
            <a:bodyPr rtlCol="0" anchor="ctr"/>
            <a:lstStyle/>
            <a:p>
              <a:endParaRPr lang="en-IN"/>
            </a:p>
          </p:txBody>
        </p:sp>
        <p:sp>
          <p:nvSpPr>
            <p:cNvPr id="4666" name="Freeform: Shape 4665">
              <a:extLst>
                <a:ext uri="{FF2B5EF4-FFF2-40B4-BE49-F238E27FC236}">
                  <a16:creationId xmlns:a16="http://schemas.microsoft.com/office/drawing/2014/main" id="{8C182BB8-603E-4332-B369-5308179AF70B}"/>
                </a:ext>
              </a:extLst>
            </p:cNvPr>
            <p:cNvSpPr/>
            <p:nvPr/>
          </p:nvSpPr>
          <p:spPr>
            <a:xfrm>
              <a:off x="7361088" y="4506484"/>
              <a:ext cx="48832" cy="25763"/>
            </a:xfrm>
            <a:custGeom>
              <a:avLst/>
              <a:gdLst>
                <a:gd name="connsiteX0" fmla="*/ 45633 w 48832"/>
                <a:gd name="connsiteY0" fmla="*/ 0 h 25763"/>
                <a:gd name="connsiteX1" fmla="*/ 0 w 48832"/>
                <a:gd name="connsiteY1" fmla="*/ 23406 h 25763"/>
                <a:gd name="connsiteX2" fmla="*/ 3199 w 48832"/>
                <a:gd name="connsiteY2" fmla="*/ 25763 h 25763"/>
                <a:gd name="connsiteX3" fmla="*/ 48833 w 48832"/>
                <a:gd name="connsiteY3" fmla="*/ 2526 h 25763"/>
              </a:gdLst>
              <a:ahLst/>
              <a:cxnLst>
                <a:cxn ang="0">
                  <a:pos x="connsiteX0" y="connsiteY0"/>
                </a:cxn>
                <a:cxn ang="0">
                  <a:pos x="connsiteX1" y="connsiteY1"/>
                </a:cxn>
                <a:cxn ang="0">
                  <a:pos x="connsiteX2" y="connsiteY2"/>
                </a:cxn>
                <a:cxn ang="0">
                  <a:pos x="connsiteX3" y="connsiteY3"/>
                </a:cxn>
              </a:cxnLst>
              <a:rect l="l" t="t" r="r" b="b"/>
              <a:pathLst>
                <a:path w="48832" h="25763">
                  <a:moveTo>
                    <a:pt x="45633" y="0"/>
                  </a:moveTo>
                  <a:lnTo>
                    <a:pt x="0" y="23406"/>
                  </a:lnTo>
                  <a:lnTo>
                    <a:pt x="3199" y="25763"/>
                  </a:lnTo>
                  <a:lnTo>
                    <a:pt x="48833" y="2526"/>
                  </a:lnTo>
                  <a:close/>
                </a:path>
              </a:pathLst>
            </a:custGeom>
            <a:solidFill>
              <a:srgbClr val="808189"/>
            </a:solidFill>
            <a:ln w="16828" cap="flat">
              <a:noFill/>
              <a:prstDash val="solid"/>
              <a:miter/>
            </a:ln>
          </p:spPr>
          <p:txBody>
            <a:bodyPr rtlCol="0" anchor="ctr"/>
            <a:lstStyle/>
            <a:p>
              <a:endParaRPr lang="en-IN"/>
            </a:p>
          </p:txBody>
        </p:sp>
        <p:sp>
          <p:nvSpPr>
            <p:cNvPr id="4667" name="Freeform: Shape 4666">
              <a:extLst>
                <a:ext uri="{FF2B5EF4-FFF2-40B4-BE49-F238E27FC236}">
                  <a16:creationId xmlns:a16="http://schemas.microsoft.com/office/drawing/2014/main" id="{4AEBA59D-74D5-4364-B7B7-045753FA5430}"/>
                </a:ext>
              </a:extLst>
            </p:cNvPr>
            <p:cNvSpPr/>
            <p:nvPr/>
          </p:nvSpPr>
          <p:spPr>
            <a:xfrm>
              <a:off x="7413625" y="4494528"/>
              <a:ext cx="19701" cy="10776"/>
            </a:xfrm>
            <a:custGeom>
              <a:avLst/>
              <a:gdLst>
                <a:gd name="connsiteX0" fmla="*/ 16502 w 19701"/>
                <a:gd name="connsiteY0" fmla="*/ 0 h 10776"/>
                <a:gd name="connsiteX1" fmla="*/ 0 w 19701"/>
                <a:gd name="connsiteY1" fmla="*/ 8419 h 10776"/>
                <a:gd name="connsiteX2" fmla="*/ 3199 w 19701"/>
                <a:gd name="connsiteY2" fmla="*/ 10777 h 10776"/>
                <a:gd name="connsiteX3" fmla="*/ 19701 w 19701"/>
                <a:gd name="connsiteY3" fmla="*/ 2357 h 10776"/>
              </a:gdLst>
              <a:ahLst/>
              <a:cxnLst>
                <a:cxn ang="0">
                  <a:pos x="connsiteX0" y="connsiteY0"/>
                </a:cxn>
                <a:cxn ang="0">
                  <a:pos x="connsiteX1" y="connsiteY1"/>
                </a:cxn>
                <a:cxn ang="0">
                  <a:pos x="connsiteX2" y="connsiteY2"/>
                </a:cxn>
                <a:cxn ang="0">
                  <a:pos x="connsiteX3" y="connsiteY3"/>
                </a:cxn>
              </a:cxnLst>
              <a:rect l="l" t="t" r="r" b="b"/>
              <a:pathLst>
                <a:path w="19701" h="10776">
                  <a:moveTo>
                    <a:pt x="16502" y="0"/>
                  </a:moveTo>
                  <a:lnTo>
                    <a:pt x="0" y="8419"/>
                  </a:lnTo>
                  <a:lnTo>
                    <a:pt x="3199" y="10777"/>
                  </a:lnTo>
                  <a:lnTo>
                    <a:pt x="19701" y="2357"/>
                  </a:lnTo>
                  <a:close/>
                </a:path>
              </a:pathLst>
            </a:custGeom>
            <a:solidFill>
              <a:srgbClr val="808189"/>
            </a:solidFill>
            <a:ln w="16828" cap="flat">
              <a:noFill/>
              <a:prstDash val="solid"/>
              <a:miter/>
            </a:ln>
          </p:spPr>
          <p:txBody>
            <a:bodyPr rtlCol="0" anchor="ctr"/>
            <a:lstStyle/>
            <a:p>
              <a:endParaRPr lang="en-IN"/>
            </a:p>
          </p:txBody>
        </p:sp>
        <p:sp>
          <p:nvSpPr>
            <p:cNvPr id="4668" name="Freeform: Shape 4667">
              <a:extLst>
                <a:ext uri="{FF2B5EF4-FFF2-40B4-BE49-F238E27FC236}">
                  <a16:creationId xmlns:a16="http://schemas.microsoft.com/office/drawing/2014/main" id="{B5A0A171-A6D5-407C-ADC9-C76E510370BD}"/>
                </a:ext>
              </a:extLst>
            </p:cNvPr>
            <p:cNvSpPr/>
            <p:nvPr/>
          </p:nvSpPr>
          <p:spPr>
            <a:xfrm>
              <a:off x="7437031" y="4485267"/>
              <a:ext cx="14481" cy="8082"/>
            </a:xfrm>
            <a:custGeom>
              <a:avLst/>
              <a:gdLst>
                <a:gd name="connsiteX0" fmla="*/ 11282 w 14481"/>
                <a:gd name="connsiteY0" fmla="*/ 0 h 8082"/>
                <a:gd name="connsiteX1" fmla="*/ 0 w 14481"/>
                <a:gd name="connsiteY1" fmla="*/ 5725 h 8082"/>
                <a:gd name="connsiteX2" fmla="*/ 3368 w 14481"/>
                <a:gd name="connsiteY2" fmla="*/ 8083 h 8082"/>
                <a:gd name="connsiteX3" fmla="*/ 14481 w 14481"/>
                <a:gd name="connsiteY3" fmla="*/ 2357 h 8082"/>
              </a:gdLst>
              <a:ahLst/>
              <a:cxnLst>
                <a:cxn ang="0">
                  <a:pos x="connsiteX0" y="connsiteY0"/>
                </a:cxn>
                <a:cxn ang="0">
                  <a:pos x="connsiteX1" y="connsiteY1"/>
                </a:cxn>
                <a:cxn ang="0">
                  <a:pos x="connsiteX2" y="connsiteY2"/>
                </a:cxn>
                <a:cxn ang="0">
                  <a:pos x="connsiteX3" y="connsiteY3"/>
                </a:cxn>
              </a:cxnLst>
              <a:rect l="l" t="t" r="r" b="b"/>
              <a:pathLst>
                <a:path w="14481" h="8082">
                  <a:moveTo>
                    <a:pt x="11282" y="0"/>
                  </a:moveTo>
                  <a:lnTo>
                    <a:pt x="0" y="5725"/>
                  </a:lnTo>
                  <a:lnTo>
                    <a:pt x="3368" y="8083"/>
                  </a:lnTo>
                  <a:lnTo>
                    <a:pt x="14481" y="2357"/>
                  </a:lnTo>
                  <a:close/>
                </a:path>
              </a:pathLst>
            </a:custGeom>
            <a:solidFill>
              <a:srgbClr val="808189"/>
            </a:solidFill>
            <a:ln w="16828" cap="flat">
              <a:noFill/>
              <a:prstDash val="solid"/>
              <a:miter/>
            </a:ln>
          </p:spPr>
          <p:txBody>
            <a:bodyPr rtlCol="0" anchor="ctr"/>
            <a:lstStyle/>
            <a:p>
              <a:endParaRPr lang="en-IN"/>
            </a:p>
          </p:txBody>
        </p:sp>
        <p:sp>
          <p:nvSpPr>
            <p:cNvPr id="4669" name="Freeform: Shape 4668">
              <a:extLst>
                <a:ext uri="{FF2B5EF4-FFF2-40B4-BE49-F238E27FC236}">
                  <a16:creationId xmlns:a16="http://schemas.microsoft.com/office/drawing/2014/main" id="{5426566E-7FA5-49FA-8758-F49D77E228A8}"/>
                </a:ext>
              </a:extLst>
            </p:cNvPr>
            <p:cNvSpPr/>
            <p:nvPr/>
          </p:nvSpPr>
          <p:spPr>
            <a:xfrm>
              <a:off x="7353679" y="4511535"/>
              <a:ext cx="28120" cy="15154"/>
            </a:xfrm>
            <a:custGeom>
              <a:avLst/>
              <a:gdLst>
                <a:gd name="connsiteX0" fmla="*/ 24921 w 28120"/>
                <a:gd name="connsiteY0" fmla="*/ 0 h 15154"/>
                <a:gd name="connsiteX1" fmla="*/ 0 w 28120"/>
                <a:gd name="connsiteY1" fmla="*/ 12798 h 15154"/>
                <a:gd name="connsiteX2" fmla="*/ 3199 w 28120"/>
                <a:gd name="connsiteY2" fmla="*/ 15155 h 15154"/>
                <a:gd name="connsiteX3" fmla="*/ 28121 w 28120"/>
                <a:gd name="connsiteY3" fmla="*/ 2526 h 15154"/>
              </a:gdLst>
              <a:ahLst/>
              <a:cxnLst>
                <a:cxn ang="0">
                  <a:pos x="connsiteX0" y="connsiteY0"/>
                </a:cxn>
                <a:cxn ang="0">
                  <a:pos x="connsiteX1" y="connsiteY1"/>
                </a:cxn>
                <a:cxn ang="0">
                  <a:pos x="connsiteX2" y="connsiteY2"/>
                </a:cxn>
                <a:cxn ang="0">
                  <a:pos x="connsiteX3" y="connsiteY3"/>
                </a:cxn>
              </a:cxnLst>
              <a:rect l="l" t="t" r="r" b="b"/>
              <a:pathLst>
                <a:path w="28120" h="15154">
                  <a:moveTo>
                    <a:pt x="24921" y="0"/>
                  </a:moveTo>
                  <a:lnTo>
                    <a:pt x="0" y="12798"/>
                  </a:lnTo>
                  <a:lnTo>
                    <a:pt x="3199" y="15155"/>
                  </a:lnTo>
                  <a:lnTo>
                    <a:pt x="28121" y="2526"/>
                  </a:lnTo>
                  <a:close/>
                </a:path>
              </a:pathLst>
            </a:custGeom>
            <a:solidFill>
              <a:srgbClr val="808189"/>
            </a:solidFill>
            <a:ln w="16828" cap="flat">
              <a:noFill/>
              <a:prstDash val="solid"/>
              <a:miter/>
            </a:ln>
          </p:spPr>
          <p:txBody>
            <a:bodyPr rtlCol="0" anchor="ctr"/>
            <a:lstStyle/>
            <a:p>
              <a:endParaRPr lang="en-IN"/>
            </a:p>
          </p:txBody>
        </p:sp>
        <p:sp>
          <p:nvSpPr>
            <p:cNvPr id="4670" name="Freeform: Shape 4669">
              <a:extLst>
                <a:ext uri="{FF2B5EF4-FFF2-40B4-BE49-F238E27FC236}">
                  <a16:creationId xmlns:a16="http://schemas.microsoft.com/office/drawing/2014/main" id="{AC875B9B-5D52-4B01-9DD7-CD8C45BCE22A}"/>
                </a:ext>
              </a:extLst>
            </p:cNvPr>
            <p:cNvSpPr/>
            <p:nvPr/>
          </p:nvSpPr>
          <p:spPr>
            <a:xfrm>
              <a:off x="7385504" y="4492339"/>
              <a:ext cx="33677" cy="18017"/>
            </a:xfrm>
            <a:custGeom>
              <a:avLst/>
              <a:gdLst>
                <a:gd name="connsiteX0" fmla="*/ 30478 w 33677"/>
                <a:gd name="connsiteY0" fmla="*/ 0 h 18017"/>
                <a:gd name="connsiteX1" fmla="*/ 0 w 33677"/>
                <a:gd name="connsiteY1" fmla="*/ 15660 h 18017"/>
                <a:gd name="connsiteX2" fmla="*/ 3199 w 33677"/>
                <a:gd name="connsiteY2" fmla="*/ 18018 h 18017"/>
                <a:gd name="connsiteX3" fmla="*/ 33678 w 33677"/>
                <a:gd name="connsiteY3" fmla="*/ 2526 h 18017"/>
              </a:gdLst>
              <a:ahLst/>
              <a:cxnLst>
                <a:cxn ang="0">
                  <a:pos x="connsiteX0" y="connsiteY0"/>
                </a:cxn>
                <a:cxn ang="0">
                  <a:pos x="connsiteX1" y="connsiteY1"/>
                </a:cxn>
                <a:cxn ang="0">
                  <a:pos x="connsiteX2" y="connsiteY2"/>
                </a:cxn>
                <a:cxn ang="0">
                  <a:pos x="connsiteX3" y="connsiteY3"/>
                </a:cxn>
              </a:cxnLst>
              <a:rect l="l" t="t" r="r" b="b"/>
              <a:pathLst>
                <a:path w="33677" h="18017">
                  <a:moveTo>
                    <a:pt x="30478" y="0"/>
                  </a:moveTo>
                  <a:lnTo>
                    <a:pt x="0" y="15660"/>
                  </a:lnTo>
                  <a:lnTo>
                    <a:pt x="3199" y="18018"/>
                  </a:lnTo>
                  <a:lnTo>
                    <a:pt x="33678" y="2526"/>
                  </a:lnTo>
                  <a:close/>
                </a:path>
              </a:pathLst>
            </a:custGeom>
            <a:solidFill>
              <a:srgbClr val="808189"/>
            </a:solidFill>
            <a:ln w="16828" cap="flat">
              <a:noFill/>
              <a:prstDash val="solid"/>
              <a:miter/>
            </a:ln>
          </p:spPr>
          <p:txBody>
            <a:bodyPr rtlCol="0" anchor="ctr"/>
            <a:lstStyle/>
            <a:p>
              <a:endParaRPr lang="en-IN"/>
            </a:p>
          </p:txBody>
        </p:sp>
        <p:sp>
          <p:nvSpPr>
            <p:cNvPr id="4671" name="Freeform: Shape 4670">
              <a:extLst>
                <a:ext uri="{FF2B5EF4-FFF2-40B4-BE49-F238E27FC236}">
                  <a16:creationId xmlns:a16="http://schemas.microsoft.com/office/drawing/2014/main" id="{CF9851B5-9D01-4CA3-8253-5ADF74D75B8E}"/>
                </a:ext>
              </a:extLst>
            </p:cNvPr>
            <p:cNvSpPr/>
            <p:nvPr/>
          </p:nvSpPr>
          <p:spPr>
            <a:xfrm>
              <a:off x="7423055" y="4483078"/>
              <a:ext cx="14313" cy="8251"/>
            </a:xfrm>
            <a:custGeom>
              <a:avLst/>
              <a:gdLst>
                <a:gd name="connsiteX0" fmla="*/ 11114 w 14313"/>
                <a:gd name="connsiteY0" fmla="*/ 0 h 8251"/>
                <a:gd name="connsiteX1" fmla="*/ 0 w 14313"/>
                <a:gd name="connsiteY1" fmla="*/ 5725 h 8251"/>
                <a:gd name="connsiteX2" fmla="*/ 3199 w 14313"/>
                <a:gd name="connsiteY2" fmla="*/ 8251 h 8251"/>
                <a:gd name="connsiteX3" fmla="*/ 14313 w 14313"/>
                <a:gd name="connsiteY3" fmla="*/ 2526 h 8251"/>
              </a:gdLst>
              <a:ahLst/>
              <a:cxnLst>
                <a:cxn ang="0">
                  <a:pos x="connsiteX0" y="connsiteY0"/>
                </a:cxn>
                <a:cxn ang="0">
                  <a:pos x="connsiteX1" y="connsiteY1"/>
                </a:cxn>
                <a:cxn ang="0">
                  <a:pos x="connsiteX2" y="connsiteY2"/>
                </a:cxn>
                <a:cxn ang="0">
                  <a:pos x="connsiteX3" y="connsiteY3"/>
                </a:cxn>
              </a:cxnLst>
              <a:rect l="l" t="t" r="r" b="b"/>
              <a:pathLst>
                <a:path w="14313" h="8251">
                  <a:moveTo>
                    <a:pt x="11114" y="0"/>
                  </a:moveTo>
                  <a:lnTo>
                    <a:pt x="0" y="5725"/>
                  </a:lnTo>
                  <a:lnTo>
                    <a:pt x="3199" y="8251"/>
                  </a:lnTo>
                  <a:lnTo>
                    <a:pt x="14313" y="2526"/>
                  </a:lnTo>
                  <a:close/>
                </a:path>
              </a:pathLst>
            </a:custGeom>
            <a:solidFill>
              <a:srgbClr val="808189"/>
            </a:solidFill>
            <a:ln w="16828" cap="flat">
              <a:noFill/>
              <a:prstDash val="solid"/>
              <a:miter/>
            </a:ln>
          </p:spPr>
          <p:txBody>
            <a:bodyPr rtlCol="0" anchor="ctr"/>
            <a:lstStyle/>
            <a:p>
              <a:endParaRPr lang="en-IN"/>
            </a:p>
          </p:txBody>
        </p:sp>
        <p:sp>
          <p:nvSpPr>
            <p:cNvPr id="4672" name="Freeform: Shape 4671">
              <a:extLst>
                <a:ext uri="{FF2B5EF4-FFF2-40B4-BE49-F238E27FC236}">
                  <a16:creationId xmlns:a16="http://schemas.microsoft.com/office/drawing/2014/main" id="{DB301921-5279-4B85-A7FD-9C58D2E7FA8B}"/>
                </a:ext>
              </a:extLst>
            </p:cNvPr>
            <p:cNvSpPr/>
            <p:nvPr/>
          </p:nvSpPr>
          <p:spPr>
            <a:xfrm>
              <a:off x="7440231" y="4474321"/>
              <a:ext cx="14481" cy="8082"/>
            </a:xfrm>
            <a:custGeom>
              <a:avLst/>
              <a:gdLst>
                <a:gd name="connsiteX0" fmla="*/ 11282 w 14481"/>
                <a:gd name="connsiteY0" fmla="*/ 0 h 8082"/>
                <a:gd name="connsiteX1" fmla="*/ 0 w 14481"/>
                <a:gd name="connsiteY1" fmla="*/ 5725 h 8082"/>
                <a:gd name="connsiteX2" fmla="*/ 3199 w 14481"/>
                <a:gd name="connsiteY2" fmla="*/ 8083 h 8082"/>
                <a:gd name="connsiteX3" fmla="*/ 14481 w 14481"/>
                <a:gd name="connsiteY3" fmla="*/ 2357 h 8082"/>
              </a:gdLst>
              <a:ahLst/>
              <a:cxnLst>
                <a:cxn ang="0">
                  <a:pos x="connsiteX0" y="connsiteY0"/>
                </a:cxn>
                <a:cxn ang="0">
                  <a:pos x="connsiteX1" y="connsiteY1"/>
                </a:cxn>
                <a:cxn ang="0">
                  <a:pos x="connsiteX2" y="connsiteY2"/>
                </a:cxn>
                <a:cxn ang="0">
                  <a:pos x="connsiteX3" y="connsiteY3"/>
                </a:cxn>
              </a:cxnLst>
              <a:rect l="l" t="t" r="r" b="b"/>
              <a:pathLst>
                <a:path w="14481" h="8082">
                  <a:moveTo>
                    <a:pt x="11282" y="0"/>
                  </a:moveTo>
                  <a:lnTo>
                    <a:pt x="0" y="5725"/>
                  </a:lnTo>
                  <a:lnTo>
                    <a:pt x="3199" y="8083"/>
                  </a:lnTo>
                  <a:lnTo>
                    <a:pt x="14481" y="2357"/>
                  </a:lnTo>
                  <a:close/>
                </a:path>
              </a:pathLst>
            </a:custGeom>
            <a:solidFill>
              <a:srgbClr val="808189"/>
            </a:solidFill>
            <a:ln w="16828" cap="flat">
              <a:noFill/>
              <a:prstDash val="solid"/>
              <a:miter/>
            </a:ln>
          </p:spPr>
          <p:txBody>
            <a:bodyPr rtlCol="0" anchor="ctr"/>
            <a:lstStyle/>
            <a:p>
              <a:endParaRPr lang="en-IN"/>
            </a:p>
          </p:txBody>
        </p:sp>
        <p:sp>
          <p:nvSpPr>
            <p:cNvPr id="4673" name="Freeform: Shape 4672">
              <a:extLst>
                <a:ext uri="{FF2B5EF4-FFF2-40B4-BE49-F238E27FC236}">
                  <a16:creationId xmlns:a16="http://schemas.microsoft.com/office/drawing/2014/main" id="{57896737-20B6-4B0B-8FF2-4911ADD179F5}"/>
                </a:ext>
              </a:extLst>
            </p:cNvPr>
            <p:cNvSpPr/>
            <p:nvPr/>
          </p:nvSpPr>
          <p:spPr>
            <a:xfrm>
              <a:off x="7346270" y="4509515"/>
              <a:ext cx="21216" cy="11618"/>
            </a:xfrm>
            <a:custGeom>
              <a:avLst/>
              <a:gdLst>
                <a:gd name="connsiteX0" fmla="*/ 18018 w 21216"/>
                <a:gd name="connsiteY0" fmla="*/ 0 h 11618"/>
                <a:gd name="connsiteX1" fmla="*/ 0 w 21216"/>
                <a:gd name="connsiteY1" fmla="*/ 9093 h 11618"/>
                <a:gd name="connsiteX2" fmla="*/ 3199 w 21216"/>
                <a:gd name="connsiteY2" fmla="*/ 11619 h 11618"/>
                <a:gd name="connsiteX3" fmla="*/ 21217 w 21216"/>
                <a:gd name="connsiteY3" fmla="*/ 2357 h 11618"/>
              </a:gdLst>
              <a:ahLst/>
              <a:cxnLst>
                <a:cxn ang="0">
                  <a:pos x="connsiteX0" y="connsiteY0"/>
                </a:cxn>
                <a:cxn ang="0">
                  <a:pos x="connsiteX1" y="connsiteY1"/>
                </a:cxn>
                <a:cxn ang="0">
                  <a:pos x="connsiteX2" y="connsiteY2"/>
                </a:cxn>
                <a:cxn ang="0">
                  <a:pos x="connsiteX3" y="connsiteY3"/>
                </a:cxn>
              </a:cxnLst>
              <a:rect l="l" t="t" r="r" b="b"/>
              <a:pathLst>
                <a:path w="21216" h="11618">
                  <a:moveTo>
                    <a:pt x="18018" y="0"/>
                  </a:moveTo>
                  <a:lnTo>
                    <a:pt x="0" y="9093"/>
                  </a:lnTo>
                  <a:lnTo>
                    <a:pt x="3199" y="11619"/>
                  </a:lnTo>
                  <a:lnTo>
                    <a:pt x="21217" y="2357"/>
                  </a:lnTo>
                  <a:close/>
                </a:path>
              </a:pathLst>
            </a:custGeom>
            <a:solidFill>
              <a:srgbClr val="808189"/>
            </a:solidFill>
            <a:ln w="16828" cap="flat">
              <a:noFill/>
              <a:prstDash val="solid"/>
              <a:miter/>
            </a:ln>
          </p:spPr>
          <p:txBody>
            <a:bodyPr rtlCol="0" anchor="ctr"/>
            <a:lstStyle/>
            <a:p>
              <a:endParaRPr lang="en-IN"/>
            </a:p>
          </p:txBody>
        </p:sp>
        <p:sp>
          <p:nvSpPr>
            <p:cNvPr id="4674" name="Freeform: Shape 4673">
              <a:extLst>
                <a:ext uri="{FF2B5EF4-FFF2-40B4-BE49-F238E27FC236}">
                  <a16:creationId xmlns:a16="http://schemas.microsoft.com/office/drawing/2014/main" id="{1D7ABC0A-ADD9-4301-9F4C-001E1692773D}"/>
                </a:ext>
              </a:extLst>
            </p:cNvPr>
            <p:cNvSpPr/>
            <p:nvPr/>
          </p:nvSpPr>
          <p:spPr>
            <a:xfrm>
              <a:off x="7371191" y="4502779"/>
              <a:ext cx="9429" cy="5556"/>
            </a:xfrm>
            <a:custGeom>
              <a:avLst/>
              <a:gdLst>
                <a:gd name="connsiteX0" fmla="*/ 6230 w 9429"/>
                <a:gd name="connsiteY0" fmla="*/ 0 h 5556"/>
                <a:gd name="connsiteX1" fmla="*/ 0 w 9429"/>
                <a:gd name="connsiteY1" fmla="*/ 3199 h 5556"/>
                <a:gd name="connsiteX2" fmla="*/ 3368 w 9429"/>
                <a:gd name="connsiteY2" fmla="*/ 5557 h 5556"/>
                <a:gd name="connsiteX3" fmla="*/ 9430 w 9429"/>
                <a:gd name="connsiteY3" fmla="*/ 2357 h 5556"/>
              </a:gdLst>
              <a:ahLst/>
              <a:cxnLst>
                <a:cxn ang="0">
                  <a:pos x="connsiteX0" y="connsiteY0"/>
                </a:cxn>
                <a:cxn ang="0">
                  <a:pos x="connsiteX1" y="connsiteY1"/>
                </a:cxn>
                <a:cxn ang="0">
                  <a:pos x="connsiteX2" y="connsiteY2"/>
                </a:cxn>
                <a:cxn ang="0">
                  <a:pos x="connsiteX3" y="connsiteY3"/>
                </a:cxn>
              </a:cxnLst>
              <a:rect l="l" t="t" r="r" b="b"/>
              <a:pathLst>
                <a:path w="9429" h="5556">
                  <a:moveTo>
                    <a:pt x="6230" y="0"/>
                  </a:moveTo>
                  <a:lnTo>
                    <a:pt x="0" y="3199"/>
                  </a:lnTo>
                  <a:lnTo>
                    <a:pt x="3368" y="5557"/>
                  </a:lnTo>
                  <a:lnTo>
                    <a:pt x="9430" y="2357"/>
                  </a:lnTo>
                  <a:close/>
                </a:path>
              </a:pathLst>
            </a:custGeom>
            <a:solidFill>
              <a:srgbClr val="808189"/>
            </a:solidFill>
            <a:ln w="16828" cap="flat">
              <a:noFill/>
              <a:prstDash val="solid"/>
              <a:miter/>
            </a:ln>
          </p:spPr>
          <p:txBody>
            <a:bodyPr rtlCol="0" anchor="ctr"/>
            <a:lstStyle/>
            <a:p>
              <a:endParaRPr lang="en-IN"/>
            </a:p>
          </p:txBody>
        </p:sp>
        <p:sp>
          <p:nvSpPr>
            <p:cNvPr id="4675" name="Freeform: Shape 4674">
              <a:extLst>
                <a:ext uri="{FF2B5EF4-FFF2-40B4-BE49-F238E27FC236}">
                  <a16:creationId xmlns:a16="http://schemas.microsoft.com/office/drawing/2014/main" id="{3297F441-BDC6-4028-9413-41EB94F3AAA5}"/>
                </a:ext>
              </a:extLst>
            </p:cNvPr>
            <p:cNvSpPr/>
            <p:nvPr/>
          </p:nvSpPr>
          <p:spPr>
            <a:xfrm>
              <a:off x="7384326" y="4493518"/>
              <a:ext cx="14481" cy="8082"/>
            </a:xfrm>
            <a:custGeom>
              <a:avLst/>
              <a:gdLst>
                <a:gd name="connsiteX0" fmla="*/ 11282 w 14481"/>
                <a:gd name="connsiteY0" fmla="*/ 0 h 8082"/>
                <a:gd name="connsiteX1" fmla="*/ 0 w 14481"/>
                <a:gd name="connsiteY1" fmla="*/ 5725 h 8082"/>
                <a:gd name="connsiteX2" fmla="*/ 3368 w 14481"/>
                <a:gd name="connsiteY2" fmla="*/ 8083 h 8082"/>
                <a:gd name="connsiteX3" fmla="*/ 14481 w 14481"/>
                <a:gd name="connsiteY3" fmla="*/ 2357 h 8082"/>
              </a:gdLst>
              <a:ahLst/>
              <a:cxnLst>
                <a:cxn ang="0">
                  <a:pos x="connsiteX0" y="connsiteY0"/>
                </a:cxn>
                <a:cxn ang="0">
                  <a:pos x="connsiteX1" y="connsiteY1"/>
                </a:cxn>
                <a:cxn ang="0">
                  <a:pos x="connsiteX2" y="connsiteY2"/>
                </a:cxn>
                <a:cxn ang="0">
                  <a:pos x="connsiteX3" y="connsiteY3"/>
                </a:cxn>
              </a:cxnLst>
              <a:rect l="l" t="t" r="r" b="b"/>
              <a:pathLst>
                <a:path w="14481" h="8082">
                  <a:moveTo>
                    <a:pt x="11282" y="0"/>
                  </a:moveTo>
                  <a:lnTo>
                    <a:pt x="0" y="5725"/>
                  </a:lnTo>
                  <a:lnTo>
                    <a:pt x="3368" y="8083"/>
                  </a:lnTo>
                  <a:lnTo>
                    <a:pt x="14481" y="2357"/>
                  </a:lnTo>
                  <a:close/>
                </a:path>
              </a:pathLst>
            </a:custGeom>
            <a:solidFill>
              <a:srgbClr val="808189"/>
            </a:solidFill>
            <a:ln w="16828" cap="flat">
              <a:noFill/>
              <a:prstDash val="solid"/>
              <a:miter/>
            </a:ln>
          </p:spPr>
          <p:txBody>
            <a:bodyPr rtlCol="0" anchor="ctr"/>
            <a:lstStyle/>
            <a:p>
              <a:endParaRPr lang="en-IN"/>
            </a:p>
          </p:txBody>
        </p:sp>
        <p:sp>
          <p:nvSpPr>
            <p:cNvPr id="4676" name="Freeform: Shape 4675">
              <a:extLst>
                <a:ext uri="{FF2B5EF4-FFF2-40B4-BE49-F238E27FC236}">
                  <a16:creationId xmlns:a16="http://schemas.microsoft.com/office/drawing/2014/main" id="{517CE135-4F84-420B-AD50-DE64AF2C6683}"/>
                </a:ext>
              </a:extLst>
            </p:cNvPr>
            <p:cNvSpPr/>
            <p:nvPr/>
          </p:nvSpPr>
          <p:spPr>
            <a:xfrm>
              <a:off x="7338861" y="4479205"/>
              <a:ext cx="69712" cy="36371"/>
            </a:xfrm>
            <a:custGeom>
              <a:avLst/>
              <a:gdLst>
                <a:gd name="connsiteX0" fmla="*/ 66513 w 69712"/>
                <a:gd name="connsiteY0" fmla="*/ 0 h 36371"/>
                <a:gd name="connsiteX1" fmla="*/ 0 w 69712"/>
                <a:gd name="connsiteY1" fmla="*/ 33846 h 36371"/>
                <a:gd name="connsiteX2" fmla="*/ 3199 w 69712"/>
                <a:gd name="connsiteY2" fmla="*/ 36372 h 36371"/>
                <a:gd name="connsiteX3" fmla="*/ 69713 w 69712"/>
                <a:gd name="connsiteY3" fmla="*/ 2357 h 36371"/>
              </a:gdLst>
              <a:ahLst/>
              <a:cxnLst>
                <a:cxn ang="0">
                  <a:pos x="connsiteX0" y="connsiteY0"/>
                </a:cxn>
                <a:cxn ang="0">
                  <a:pos x="connsiteX1" y="connsiteY1"/>
                </a:cxn>
                <a:cxn ang="0">
                  <a:pos x="connsiteX2" y="connsiteY2"/>
                </a:cxn>
                <a:cxn ang="0">
                  <a:pos x="connsiteX3" y="connsiteY3"/>
                </a:cxn>
              </a:cxnLst>
              <a:rect l="l" t="t" r="r" b="b"/>
              <a:pathLst>
                <a:path w="69712" h="36371">
                  <a:moveTo>
                    <a:pt x="66513" y="0"/>
                  </a:moveTo>
                  <a:lnTo>
                    <a:pt x="0" y="33846"/>
                  </a:lnTo>
                  <a:lnTo>
                    <a:pt x="3199" y="36372"/>
                  </a:lnTo>
                  <a:lnTo>
                    <a:pt x="69713" y="2357"/>
                  </a:lnTo>
                  <a:close/>
                </a:path>
              </a:pathLst>
            </a:custGeom>
            <a:solidFill>
              <a:srgbClr val="808189"/>
            </a:solidFill>
            <a:ln w="16828" cap="flat">
              <a:noFill/>
              <a:prstDash val="solid"/>
              <a:miter/>
            </a:ln>
          </p:spPr>
          <p:txBody>
            <a:bodyPr rtlCol="0" anchor="ctr"/>
            <a:lstStyle/>
            <a:p>
              <a:endParaRPr lang="en-IN"/>
            </a:p>
          </p:txBody>
        </p:sp>
        <p:sp>
          <p:nvSpPr>
            <p:cNvPr id="4677" name="Freeform: Shape 4676">
              <a:extLst>
                <a:ext uri="{FF2B5EF4-FFF2-40B4-BE49-F238E27FC236}">
                  <a16:creationId xmlns:a16="http://schemas.microsoft.com/office/drawing/2014/main" id="{6323BB14-4907-4C89-B3BF-797D447E51BD}"/>
                </a:ext>
              </a:extLst>
            </p:cNvPr>
            <p:cNvSpPr/>
            <p:nvPr/>
          </p:nvSpPr>
          <p:spPr>
            <a:xfrm>
              <a:off x="7412278" y="4467081"/>
              <a:ext cx="19701" cy="10945"/>
            </a:xfrm>
            <a:custGeom>
              <a:avLst/>
              <a:gdLst>
                <a:gd name="connsiteX0" fmla="*/ 16502 w 19701"/>
                <a:gd name="connsiteY0" fmla="*/ 0 h 10945"/>
                <a:gd name="connsiteX1" fmla="*/ 0 w 19701"/>
                <a:gd name="connsiteY1" fmla="*/ 8419 h 10945"/>
                <a:gd name="connsiteX2" fmla="*/ 3368 w 19701"/>
                <a:gd name="connsiteY2" fmla="*/ 10945 h 10945"/>
                <a:gd name="connsiteX3" fmla="*/ 19701 w 19701"/>
                <a:gd name="connsiteY3" fmla="*/ 2526 h 10945"/>
              </a:gdLst>
              <a:ahLst/>
              <a:cxnLst>
                <a:cxn ang="0">
                  <a:pos x="connsiteX0" y="connsiteY0"/>
                </a:cxn>
                <a:cxn ang="0">
                  <a:pos x="connsiteX1" y="connsiteY1"/>
                </a:cxn>
                <a:cxn ang="0">
                  <a:pos x="connsiteX2" y="connsiteY2"/>
                </a:cxn>
                <a:cxn ang="0">
                  <a:pos x="connsiteX3" y="connsiteY3"/>
                </a:cxn>
              </a:cxnLst>
              <a:rect l="l" t="t" r="r" b="b"/>
              <a:pathLst>
                <a:path w="19701" h="10945">
                  <a:moveTo>
                    <a:pt x="16502" y="0"/>
                  </a:moveTo>
                  <a:lnTo>
                    <a:pt x="0" y="8419"/>
                  </a:lnTo>
                  <a:lnTo>
                    <a:pt x="3368" y="10945"/>
                  </a:lnTo>
                  <a:lnTo>
                    <a:pt x="19701" y="2526"/>
                  </a:lnTo>
                  <a:close/>
                </a:path>
              </a:pathLst>
            </a:custGeom>
            <a:solidFill>
              <a:srgbClr val="808189"/>
            </a:solidFill>
            <a:ln w="16828" cap="flat">
              <a:noFill/>
              <a:prstDash val="solid"/>
              <a:miter/>
            </a:ln>
          </p:spPr>
          <p:txBody>
            <a:bodyPr rtlCol="0" anchor="ctr"/>
            <a:lstStyle/>
            <a:p>
              <a:endParaRPr lang="en-IN"/>
            </a:p>
          </p:txBody>
        </p:sp>
        <p:sp>
          <p:nvSpPr>
            <p:cNvPr id="4678" name="Freeform: Shape 4677">
              <a:extLst>
                <a:ext uri="{FF2B5EF4-FFF2-40B4-BE49-F238E27FC236}">
                  <a16:creationId xmlns:a16="http://schemas.microsoft.com/office/drawing/2014/main" id="{AC1A0DAD-BEC6-415B-BBA1-58EC2E76CBBF}"/>
                </a:ext>
              </a:extLst>
            </p:cNvPr>
            <p:cNvSpPr/>
            <p:nvPr/>
          </p:nvSpPr>
          <p:spPr>
            <a:xfrm>
              <a:off x="7331452" y="4498233"/>
              <a:ext cx="21385" cy="11787"/>
            </a:xfrm>
            <a:custGeom>
              <a:avLst/>
              <a:gdLst>
                <a:gd name="connsiteX0" fmla="*/ 18018 w 21385"/>
                <a:gd name="connsiteY0" fmla="*/ 0 h 11787"/>
                <a:gd name="connsiteX1" fmla="*/ 0 w 21385"/>
                <a:gd name="connsiteY1" fmla="*/ 9261 h 11787"/>
                <a:gd name="connsiteX2" fmla="*/ 3368 w 21385"/>
                <a:gd name="connsiteY2" fmla="*/ 11787 h 11787"/>
                <a:gd name="connsiteX3" fmla="*/ 21385 w 21385"/>
                <a:gd name="connsiteY3" fmla="*/ 2526 h 11787"/>
              </a:gdLst>
              <a:ahLst/>
              <a:cxnLst>
                <a:cxn ang="0">
                  <a:pos x="connsiteX0" y="connsiteY0"/>
                </a:cxn>
                <a:cxn ang="0">
                  <a:pos x="connsiteX1" y="connsiteY1"/>
                </a:cxn>
                <a:cxn ang="0">
                  <a:pos x="connsiteX2" y="connsiteY2"/>
                </a:cxn>
                <a:cxn ang="0">
                  <a:pos x="connsiteX3" y="connsiteY3"/>
                </a:cxn>
              </a:cxnLst>
              <a:rect l="l" t="t" r="r" b="b"/>
              <a:pathLst>
                <a:path w="21385" h="11787">
                  <a:moveTo>
                    <a:pt x="18018" y="0"/>
                  </a:moveTo>
                  <a:lnTo>
                    <a:pt x="0" y="9261"/>
                  </a:lnTo>
                  <a:lnTo>
                    <a:pt x="3368" y="11787"/>
                  </a:lnTo>
                  <a:lnTo>
                    <a:pt x="21385" y="2526"/>
                  </a:lnTo>
                  <a:close/>
                </a:path>
              </a:pathLst>
            </a:custGeom>
            <a:solidFill>
              <a:srgbClr val="808189"/>
            </a:solidFill>
            <a:ln w="16828" cap="flat">
              <a:noFill/>
              <a:prstDash val="solid"/>
              <a:miter/>
            </a:ln>
          </p:spPr>
          <p:txBody>
            <a:bodyPr rtlCol="0" anchor="ctr"/>
            <a:lstStyle/>
            <a:p>
              <a:endParaRPr lang="en-IN"/>
            </a:p>
          </p:txBody>
        </p:sp>
        <p:sp>
          <p:nvSpPr>
            <p:cNvPr id="4679" name="Freeform: Shape 4678">
              <a:extLst>
                <a:ext uri="{FF2B5EF4-FFF2-40B4-BE49-F238E27FC236}">
                  <a16:creationId xmlns:a16="http://schemas.microsoft.com/office/drawing/2014/main" id="{BB69F232-A908-47E6-9BEB-22B8D521DF6B}"/>
                </a:ext>
              </a:extLst>
            </p:cNvPr>
            <p:cNvSpPr/>
            <p:nvPr/>
          </p:nvSpPr>
          <p:spPr>
            <a:xfrm>
              <a:off x="7356542" y="4476679"/>
              <a:ext cx="38560" cy="20543"/>
            </a:xfrm>
            <a:custGeom>
              <a:avLst/>
              <a:gdLst>
                <a:gd name="connsiteX0" fmla="*/ 35193 w 38560"/>
                <a:gd name="connsiteY0" fmla="*/ 0 h 20543"/>
                <a:gd name="connsiteX1" fmla="*/ 0 w 38560"/>
                <a:gd name="connsiteY1" fmla="*/ 18018 h 20543"/>
                <a:gd name="connsiteX2" fmla="*/ 3199 w 38560"/>
                <a:gd name="connsiteY2" fmla="*/ 20543 h 20543"/>
                <a:gd name="connsiteX3" fmla="*/ 38561 w 38560"/>
                <a:gd name="connsiteY3" fmla="*/ 2526 h 20543"/>
              </a:gdLst>
              <a:ahLst/>
              <a:cxnLst>
                <a:cxn ang="0">
                  <a:pos x="connsiteX0" y="connsiteY0"/>
                </a:cxn>
                <a:cxn ang="0">
                  <a:pos x="connsiteX1" y="connsiteY1"/>
                </a:cxn>
                <a:cxn ang="0">
                  <a:pos x="connsiteX2" y="connsiteY2"/>
                </a:cxn>
                <a:cxn ang="0">
                  <a:pos x="connsiteX3" y="connsiteY3"/>
                </a:cxn>
              </a:cxnLst>
              <a:rect l="l" t="t" r="r" b="b"/>
              <a:pathLst>
                <a:path w="38560" h="20543">
                  <a:moveTo>
                    <a:pt x="35193" y="0"/>
                  </a:moveTo>
                  <a:lnTo>
                    <a:pt x="0" y="18018"/>
                  </a:lnTo>
                  <a:lnTo>
                    <a:pt x="3199" y="20543"/>
                  </a:lnTo>
                  <a:lnTo>
                    <a:pt x="38561" y="2526"/>
                  </a:lnTo>
                  <a:close/>
                </a:path>
              </a:pathLst>
            </a:custGeom>
            <a:solidFill>
              <a:srgbClr val="808189"/>
            </a:solidFill>
            <a:ln w="16828" cap="flat">
              <a:noFill/>
              <a:prstDash val="solid"/>
              <a:miter/>
            </a:ln>
          </p:spPr>
          <p:txBody>
            <a:bodyPr rtlCol="0" anchor="ctr"/>
            <a:lstStyle/>
            <a:p>
              <a:endParaRPr lang="en-IN"/>
            </a:p>
          </p:txBody>
        </p:sp>
        <p:sp>
          <p:nvSpPr>
            <p:cNvPr id="4680" name="Freeform: Shape 4679">
              <a:extLst>
                <a:ext uri="{FF2B5EF4-FFF2-40B4-BE49-F238E27FC236}">
                  <a16:creationId xmlns:a16="http://schemas.microsoft.com/office/drawing/2014/main" id="{3E271948-AB1A-4A7E-BD7F-C6AD879C3C85}"/>
                </a:ext>
              </a:extLst>
            </p:cNvPr>
            <p:cNvSpPr/>
            <p:nvPr/>
          </p:nvSpPr>
          <p:spPr>
            <a:xfrm>
              <a:off x="7398807" y="4467417"/>
              <a:ext cx="14313" cy="8251"/>
            </a:xfrm>
            <a:custGeom>
              <a:avLst/>
              <a:gdLst>
                <a:gd name="connsiteX0" fmla="*/ 11114 w 14313"/>
                <a:gd name="connsiteY0" fmla="*/ 0 h 8251"/>
                <a:gd name="connsiteX1" fmla="*/ 0 w 14313"/>
                <a:gd name="connsiteY1" fmla="*/ 5725 h 8251"/>
                <a:gd name="connsiteX2" fmla="*/ 3199 w 14313"/>
                <a:gd name="connsiteY2" fmla="*/ 8251 h 8251"/>
                <a:gd name="connsiteX3" fmla="*/ 14313 w 14313"/>
                <a:gd name="connsiteY3" fmla="*/ 2526 h 8251"/>
              </a:gdLst>
              <a:ahLst/>
              <a:cxnLst>
                <a:cxn ang="0">
                  <a:pos x="connsiteX0" y="connsiteY0"/>
                </a:cxn>
                <a:cxn ang="0">
                  <a:pos x="connsiteX1" y="connsiteY1"/>
                </a:cxn>
                <a:cxn ang="0">
                  <a:pos x="connsiteX2" y="connsiteY2"/>
                </a:cxn>
                <a:cxn ang="0">
                  <a:pos x="connsiteX3" y="connsiteY3"/>
                </a:cxn>
              </a:cxnLst>
              <a:rect l="l" t="t" r="r" b="b"/>
              <a:pathLst>
                <a:path w="14313" h="8251">
                  <a:moveTo>
                    <a:pt x="11114" y="0"/>
                  </a:moveTo>
                  <a:lnTo>
                    <a:pt x="0" y="5725"/>
                  </a:lnTo>
                  <a:lnTo>
                    <a:pt x="3199" y="8251"/>
                  </a:lnTo>
                  <a:lnTo>
                    <a:pt x="14313" y="2526"/>
                  </a:lnTo>
                  <a:close/>
                </a:path>
              </a:pathLst>
            </a:custGeom>
            <a:solidFill>
              <a:srgbClr val="808189"/>
            </a:solidFill>
            <a:ln w="16828" cap="flat">
              <a:noFill/>
              <a:prstDash val="solid"/>
              <a:miter/>
            </a:ln>
          </p:spPr>
          <p:txBody>
            <a:bodyPr rtlCol="0" anchor="ctr"/>
            <a:lstStyle/>
            <a:p>
              <a:endParaRPr lang="en-IN"/>
            </a:p>
          </p:txBody>
        </p:sp>
        <p:sp>
          <p:nvSpPr>
            <p:cNvPr id="4681" name="Freeform: Shape 4680">
              <a:extLst>
                <a:ext uri="{FF2B5EF4-FFF2-40B4-BE49-F238E27FC236}">
                  <a16:creationId xmlns:a16="http://schemas.microsoft.com/office/drawing/2014/main" id="{025E37C7-3C21-46A1-AB17-5D5C292C08AE}"/>
                </a:ext>
              </a:extLst>
            </p:cNvPr>
            <p:cNvSpPr/>
            <p:nvPr/>
          </p:nvSpPr>
          <p:spPr>
            <a:xfrm>
              <a:off x="7324211" y="4483078"/>
              <a:ext cx="40076" cy="21216"/>
            </a:xfrm>
            <a:custGeom>
              <a:avLst/>
              <a:gdLst>
                <a:gd name="connsiteX0" fmla="*/ 36709 w 40076"/>
                <a:gd name="connsiteY0" fmla="*/ 0 h 21216"/>
                <a:gd name="connsiteX1" fmla="*/ 0 w 40076"/>
                <a:gd name="connsiteY1" fmla="*/ 18860 h 21216"/>
                <a:gd name="connsiteX2" fmla="*/ 3199 w 40076"/>
                <a:gd name="connsiteY2" fmla="*/ 21217 h 21216"/>
                <a:gd name="connsiteX3" fmla="*/ 40076 w 40076"/>
                <a:gd name="connsiteY3" fmla="*/ 2526 h 21216"/>
              </a:gdLst>
              <a:ahLst/>
              <a:cxnLst>
                <a:cxn ang="0">
                  <a:pos x="connsiteX0" y="connsiteY0"/>
                </a:cxn>
                <a:cxn ang="0">
                  <a:pos x="connsiteX1" y="connsiteY1"/>
                </a:cxn>
                <a:cxn ang="0">
                  <a:pos x="connsiteX2" y="connsiteY2"/>
                </a:cxn>
                <a:cxn ang="0">
                  <a:pos x="connsiteX3" y="connsiteY3"/>
                </a:cxn>
              </a:cxnLst>
              <a:rect l="l" t="t" r="r" b="b"/>
              <a:pathLst>
                <a:path w="40076" h="21216">
                  <a:moveTo>
                    <a:pt x="36709" y="0"/>
                  </a:moveTo>
                  <a:lnTo>
                    <a:pt x="0" y="18860"/>
                  </a:lnTo>
                  <a:lnTo>
                    <a:pt x="3199" y="21217"/>
                  </a:lnTo>
                  <a:lnTo>
                    <a:pt x="40076" y="2526"/>
                  </a:lnTo>
                  <a:close/>
                </a:path>
              </a:pathLst>
            </a:custGeom>
            <a:solidFill>
              <a:srgbClr val="808189"/>
            </a:solidFill>
            <a:ln w="16828" cap="flat">
              <a:noFill/>
              <a:prstDash val="solid"/>
              <a:miter/>
            </a:ln>
          </p:spPr>
          <p:txBody>
            <a:bodyPr rtlCol="0" anchor="ctr"/>
            <a:lstStyle/>
            <a:p>
              <a:endParaRPr lang="en-IN"/>
            </a:p>
          </p:txBody>
        </p:sp>
        <p:sp>
          <p:nvSpPr>
            <p:cNvPr id="4682" name="Freeform: Shape 4681">
              <a:extLst>
                <a:ext uri="{FF2B5EF4-FFF2-40B4-BE49-F238E27FC236}">
                  <a16:creationId xmlns:a16="http://schemas.microsoft.com/office/drawing/2014/main" id="{DECF770D-E111-41EA-9E4E-806A7CC43CD5}"/>
                </a:ext>
              </a:extLst>
            </p:cNvPr>
            <p:cNvSpPr/>
            <p:nvPr/>
          </p:nvSpPr>
          <p:spPr>
            <a:xfrm>
              <a:off x="7367992" y="4465902"/>
              <a:ext cx="29804" cy="15996"/>
            </a:xfrm>
            <a:custGeom>
              <a:avLst/>
              <a:gdLst>
                <a:gd name="connsiteX0" fmla="*/ 26605 w 29804"/>
                <a:gd name="connsiteY0" fmla="*/ 0 h 15996"/>
                <a:gd name="connsiteX1" fmla="*/ 0 w 29804"/>
                <a:gd name="connsiteY1" fmla="*/ 13639 h 15996"/>
                <a:gd name="connsiteX2" fmla="*/ 3199 w 29804"/>
                <a:gd name="connsiteY2" fmla="*/ 15997 h 15996"/>
                <a:gd name="connsiteX3" fmla="*/ 29805 w 29804"/>
                <a:gd name="connsiteY3" fmla="*/ 2526 h 15996"/>
              </a:gdLst>
              <a:ahLst/>
              <a:cxnLst>
                <a:cxn ang="0">
                  <a:pos x="connsiteX0" y="connsiteY0"/>
                </a:cxn>
                <a:cxn ang="0">
                  <a:pos x="connsiteX1" y="connsiteY1"/>
                </a:cxn>
                <a:cxn ang="0">
                  <a:pos x="connsiteX2" y="connsiteY2"/>
                </a:cxn>
                <a:cxn ang="0">
                  <a:pos x="connsiteX3" y="connsiteY3"/>
                </a:cxn>
              </a:cxnLst>
              <a:rect l="l" t="t" r="r" b="b"/>
              <a:pathLst>
                <a:path w="29804" h="15996">
                  <a:moveTo>
                    <a:pt x="26605" y="0"/>
                  </a:moveTo>
                  <a:lnTo>
                    <a:pt x="0" y="13639"/>
                  </a:lnTo>
                  <a:lnTo>
                    <a:pt x="3199" y="15997"/>
                  </a:lnTo>
                  <a:lnTo>
                    <a:pt x="29805" y="2526"/>
                  </a:lnTo>
                  <a:close/>
                </a:path>
              </a:pathLst>
            </a:custGeom>
            <a:solidFill>
              <a:srgbClr val="808189"/>
            </a:solidFill>
            <a:ln w="16828" cap="flat">
              <a:noFill/>
              <a:prstDash val="solid"/>
              <a:miter/>
            </a:ln>
          </p:spPr>
          <p:txBody>
            <a:bodyPr rtlCol="0" anchor="ctr"/>
            <a:lstStyle/>
            <a:p>
              <a:endParaRPr lang="en-IN"/>
            </a:p>
          </p:txBody>
        </p:sp>
        <p:sp>
          <p:nvSpPr>
            <p:cNvPr id="4683" name="Freeform: Shape 4682">
              <a:extLst>
                <a:ext uri="{FF2B5EF4-FFF2-40B4-BE49-F238E27FC236}">
                  <a16:creationId xmlns:a16="http://schemas.microsoft.com/office/drawing/2014/main" id="{4D7C9EC5-2068-4284-9EB1-4088568F4822}"/>
                </a:ext>
              </a:extLst>
            </p:cNvPr>
            <p:cNvSpPr/>
            <p:nvPr/>
          </p:nvSpPr>
          <p:spPr>
            <a:xfrm>
              <a:off x="7401670" y="4453104"/>
              <a:ext cx="21216" cy="11618"/>
            </a:xfrm>
            <a:custGeom>
              <a:avLst/>
              <a:gdLst>
                <a:gd name="connsiteX0" fmla="*/ 18018 w 21216"/>
                <a:gd name="connsiteY0" fmla="*/ 0 h 11618"/>
                <a:gd name="connsiteX1" fmla="*/ 0 w 21216"/>
                <a:gd name="connsiteY1" fmla="*/ 9261 h 11618"/>
                <a:gd name="connsiteX2" fmla="*/ 3199 w 21216"/>
                <a:gd name="connsiteY2" fmla="*/ 11619 h 11618"/>
                <a:gd name="connsiteX3" fmla="*/ 21217 w 21216"/>
                <a:gd name="connsiteY3" fmla="*/ 2526 h 11618"/>
              </a:gdLst>
              <a:ahLst/>
              <a:cxnLst>
                <a:cxn ang="0">
                  <a:pos x="connsiteX0" y="connsiteY0"/>
                </a:cxn>
                <a:cxn ang="0">
                  <a:pos x="connsiteX1" y="connsiteY1"/>
                </a:cxn>
                <a:cxn ang="0">
                  <a:pos x="connsiteX2" y="connsiteY2"/>
                </a:cxn>
                <a:cxn ang="0">
                  <a:pos x="connsiteX3" y="connsiteY3"/>
                </a:cxn>
              </a:cxnLst>
              <a:rect l="l" t="t" r="r" b="b"/>
              <a:pathLst>
                <a:path w="21216" h="11618">
                  <a:moveTo>
                    <a:pt x="18018" y="0"/>
                  </a:moveTo>
                  <a:lnTo>
                    <a:pt x="0" y="9261"/>
                  </a:lnTo>
                  <a:lnTo>
                    <a:pt x="3199" y="11619"/>
                  </a:lnTo>
                  <a:lnTo>
                    <a:pt x="21217" y="2526"/>
                  </a:lnTo>
                  <a:close/>
                </a:path>
              </a:pathLst>
            </a:custGeom>
            <a:solidFill>
              <a:srgbClr val="808189"/>
            </a:solidFill>
            <a:ln w="16828" cap="flat">
              <a:noFill/>
              <a:prstDash val="solid"/>
              <a:miter/>
            </a:ln>
          </p:spPr>
          <p:txBody>
            <a:bodyPr rtlCol="0" anchor="ctr"/>
            <a:lstStyle/>
            <a:p>
              <a:endParaRPr lang="en-IN"/>
            </a:p>
          </p:txBody>
        </p:sp>
        <p:sp>
          <p:nvSpPr>
            <p:cNvPr id="4684" name="Freeform: Shape 4683">
              <a:extLst>
                <a:ext uri="{FF2B5EF4-FFF2-40B4-BE49-F238E27FC236}">
                  <a16:creationId xmlns:a16="http://schemas.microsoft.com/office/drawing/2014/main" id="{322E3A44-304C-4341-8115-EE7E4BA3ECFE}"/>
                </a:ext>
              </a:extLst>
            </p:cNvPr>
            <p:cNvSpPr/>
            <p:nvPr/>
          </p:nvSpPr>
          <p:spPr>
            <a:xfrm>
              <a:off x="7316802" y="4489982"/>
              <a:ext cx="15660" cy="8756"/>
            </a:xfrm>
            <a:custGeom>
              <a:avLst/>
              <a:gdLst>
                <a:gd name="connsiteX0" fmla="*/ 12461 w 15660"/>
                <a:gd name="connsiteY0" fmla="*/ 0 h 8756"/>
                <a:gd name="connsiteX1" fmla="*/ 0 w 15660"/>
                <a:gd name="connsiteY1" fmla="*/ 6399 h 8756"/>
                <a:gd name="connsiteX2" fmla="*/ 3199 w 15660"/>
                <a:gd name="connsiteY2" fmla="*/ 8756 h 8756"/>
                <a:gd name="connsiteX3" fmla="*/ 15660 w 15660"/>
                <a:gd name="connsiteY3" fmla="*/ 2526 h 8756"/>
              </a:gdLst>
              <a:ahLst/>
              <a:cxnLst>
                <a:cxn ang="0">
                  <a:pos x="connsiteX0" y="connsiteY0"/>
                </a:cxn>
                <a:cxn ang="0">
                  <a:pos x="connsiteX1" y="connsiteY1"/>
                </a:cxn>
                <a:cxn ang="0">
                  <a:pos x="connsiteX2" y="connsiteY2"/>
                </a:cxn>
                <a:cxn ang="0">
                  <a:pos x="connsiteX3" y="connsiteY3"/>
                </a:cxn>
              </a:cxnLst>
              <a:rect l="l" t="t" r="r" b="b"/>
              <a:pathLst>
                <a:path w="15660" h="8756">
                  <a:moveTo>
                    <a:pt x="12461" y="0"/>
                  </a:moveTo>
                  <a:lnTo>
                    <a:pt x="0" y="6399"/>
                  </a:lnTo>
                  <a:lnTo>
                    <a:pt x="3199" y="8756"/>
                  </a:lnTo>
                  <a:lnTo>
                    <a:pt x="15660" y="2526"/>
                  </a:lnTo>
                  <a:close/>
                </a:path>
              </a:pathLst>
            </a:custGeom>
            <a:solidFill>
              <a:srgbClr val="808189"/>
            </a:solidFill>
            <a:ln w="16828" cap="flat">
              <a:noFill/>
              <a:prstDash val="solid"/>
              <a:miter/>
            </a:ln>
          </p:spPr>
          <p:txBody>
            <a:bodyPr rtlCol="0" anchor="ctr"/>
            <a:lstStyle/>
            <a:p>
              <a:endParaRPr lang="en-IN"/>
            </a:p>
          </p:txBody>
        </p:sp>
        <p:sp>
          <p:nvSpPr>
            <p:cNvPr id="4685" name="Freeform: Shape 4684">
              <a:extLst>
                <a:ext uri="{FF2B5EF4-FFF2-40B4-BE49-F238E27FC236}">
                  <a16:creationId xmlns:a16="http://schemas.microsoft.com/office/drawing/2014/main" id="{2BA60F6C-FD99-4C7A-A54E-6B4D04F7BFD0}"/>
                </a:ext>
              </a:extLst>
            </p:cNvPr>
            <p:cNvSpPr/>
            <p:nvPr/>
          </p:nvSpPr>
          <p:spPr>
            <a:xfrm>
              <a:off x="7336167" y="4478026"/>
              <a:ext cx="19701" cy="10776"/>
            </a:xfrm>
            <a:custGeom>
              <a:avLst/>
              <a:gdLst>
                <a:gd name="connsiteX0" fmla="*/ 16502 w 19701"/>
                <a:gd name="connsiteY0" fmla="*/ 0 h 10776"/>
                <a:gd name="connsiteX1" fmla="*/ 0 w 19701"/>
                <a:gd name="connsiteY1" fmla="*/ 8419 h 10776"/>
                <a:gd name="connsiteX2" fmla="*/ 3199 w 19701"/>
                <a:gd name="connsiteY2" fmla="*/ 10777 h 10776"/>
                <a:gd name="connsiteX3" fmla="*/ 19701 w 19701"/>
                <a:gd name="connsiteY3" fmla="*/ 2357 h 10776"/>
              </a:gdLst>
              <a:ahLst/>
              <a:cxnLst>
                <a:cxn ang="0">
                  <a:pos x="connsiteX0" y="connsiteY0"/>
                </a:cxn>
                <a:cxn ang="0">
                  <a:pos x="connsiteX1" y="connsiteY1"/>
                </a:cxn>
                <a:cxn ang="0">
                  <a:pos x="connsiteX2" y="connsiteY2"/>
                </a:cxn>
                <a:cxn ang="0">
                  <a:pos x="connsiteX3" y="connsiteY3"/>
                </a:cxn>
              </a:cxnLst>
              <a:rect l="l" t="t" r="r" b="b"/>
              <a:pathLst>
                <a:path w="19701" h="10776">
                  <a:moveTo>
                    <a:pt x="16502" y="0"/>
                  </a:moveTo>
                  <a:lnTo>
                    <a:pt x="0" y="8419"/>
                  </a:lnTo>
                  <a:lnTo>
                    <a:pt x="3199" y="10777"/>
                  </a:lnTo>
                  <a:lnTo>
                    <a:pt x="19701" y="2357"/>
                  </a:lnTo>
                  <a:close/>
                </a:path>
              </a:pathLst>
            </a:custGeom>
            <a:solidFill>
              <a:srgbClr val="808189"/>
            </a:solidFill>
            <a:ln w="16828" cap="flat">
              <a:noFill/>
              <a:prstDash val="solid"/>
              <a:miter/>
            </a:ln>
          </p:spPr>
          <p:txBody>
            <a:bodyPr rtlCol="0" anchor="ctr"/>
            <a:lstStyle/>
            <a:p>
              <a:endParaRPr lang="en-IN"/>
            </a:p>
          </p:txBody>
        </p:sp>
        <p:sp>
          <p:nvSpPr>
            <p:cNvPr id="4686" name="Freeform: Shape 4685">
              <a:extLst>
                <a:ext uri="{FF2B5EF4-FFF2-40B4-BE49-F238E27FC236}">
                  <a16:creationId xmlns:a16="http://schemas.microsoft.com/office/drawing/2014/main" id="{784F9D77-7394-4A01-988D-E5F2137CC4A4}"/>
                </a:ext>
              </a:extLst>
            </p:cNvPr>
            <p:cNvSpPr/>
            <p:nvPr/>
          </p:nvSpPr>
          <p:spPr>
            <a:xfrm>
              <a:off x="7359573" y="4460850"/>
              <a:ext cx="29804" cy="15996"/>
            </a:xfrm>
            <a:custGeom>
              <a:avLst/>
              <a:gdLst>
                <a:gd name="connsiteX0" fmla="*/ 26605 w 29804"/>
                <a:gd name="connsiteY0" fmla="*/ 0 h 15996"/>
                <a:gd name="connsiteX1" fmla="*/ 0 w 29804"/>
                <a:gd name="connsiteY1" fmla="*/ 13639 h 15996"/>
                <a:gd name="connsiteX2" fmla="*/ 3368 w 29804"/>
                <a:gd name="connsiteY2" fmla="*/ 15997 h 15996"/>
                <a:gd name="connsiteX3" fmla="*/ 29805 w 29804"/>
                <a:gd name="connsiteY3" fmla="*/ 2526 h 15996"/>
              </a:gdLst>
              <a:ahLst/>
              <a:cxnLst>
                <a:cxn ang="0">
                  <a:pos x="connsiteX0" y="connsiteY0"/>
                </a:cxn>
                <a:cxn ang="0">
                  <a:pos x="connsiteX1" y="connsiteY1"/>
                </a:cxn>
                <a:cxn ang="0">
                  <a:pos x="connsiteX2" y="connsiteY2"/>
                </a:cxn>
                <a:cxn ang="0">
                  <a:pos x="connsiteX3" y="connsiteY3"/>
                </a:cxn>
              </a:cxnLst>
              <a:rect l="l" t="t" r="r" b="b"/>
              <a:pathLst>
                <a:path w="29804" h="15996">
                  <a:moveTo>
                    <a:pt x="26605" y="0"/>
                  </a:moveTo>
                  <a:lnTo>
                    <a:pt x="0" y="13639"/>
                  </a:lnTo>
                  <a:lnTo>
                    <a:pt x="3368" y="15997"/>
                  </a:lnTo>
                  <a:lnTo>
                    <a:pt x="29805" y="2526"/>
                  </a:lnTo>
                  <a:close/>
                </a:path>
              </a:pathLst>
            </a:custGeom>
            <a:solidFill>
              <a:srgbClr val="808189"/>
            </a:solidFill>
            <a:ln w="16828" cap="flat">
              <a:noFill/>
              <a:prstDash val="solid"/>
              <a:miter/>
            </a:ln>
          </p:spPr>
          <p:txBody>
            <a:bodyPr rtlCol="0" anchor="ctr"/>
            <a:lstStyle/>
            <a:p>
              <a:endParaRPr lang="en-IN"/>
            </a:p>
          </p:txBody>
        </p:sp>
        <p:sp>
          <p:nvSpPr>
            <p:cNvPr id="4687" name="Freeform: Shape 4686">
              <a:extLst>
                <a:ext uri="{FF2B5EF4-FFF2-40B4-BE49-F238E27FC236}">
                  <a16:creationId xmlns:a16="http://schemas.microsoft.com/office/drawing/2014/main" id="{B95B188A-3703-4EFD-A083-B16285414BB0}"/>
                </a:ext>
              </a:extLst>
            </p:cNvPr>
            <p:cNvSpPr/>
            <p:nvPr/>
          </p:nvSpPr>
          <p:spPr>
            <a:xfrm>
              <a:off x="7309393" y="4471290"/>
              <a:ext cx="41423" cy="21890"/>
            </a:xfrm>
            <a:custGeom>
              <a:avLst/>
              <a:gdLst>
                <a:gd name="connsiteX0" fmla="*/ 38056 w 41423"/>
                <a:gd name="connsiteY0" fmla="*/ 0 h 21890"/>
                <a:gd name="connsiteX1" fmla="*/ 0 w 41423"/>
                <a:gd name="connsiteY1" fmla="*/ 19533 h 21890"/>
                <a:gd name="connsiteX2" fmla="*/ 3199 w 41423"/>
                <a:gd name="connsiteY2" fmla="*/ 21891 h 21890"/>
                <a:gd name="connsiteX3" fmla="*/ 41424 w 41423"/>
                <a:gd name="connsiteY3" fmla="*/ 2357 h 21890"/>
              </a:gdLst>
              <a:ahLst/>
              <a:cxnLst>
                <a:cxn ang="0">
                  <a:pos x="connsiteX0" y="connsiteY0"/>
                </a:cxn>
                <a:cxn ang="0">
                  <a:pos x="connsiteX1" y="connsiteY1"/>
                </a:cxn>
                <a:cxn ang="0">
                  <a:pos x="connsiteX2" y="connsiteY2"/>
                </a:cxn>
                <a:cxn ang="0">
                  <a:pos x="connsiteX3" y="connsiteY3"/>
                </a:cxn>
              </a:cxnLst>
              <a:rect l="l" t="t" r="r" b="b"/>
              <a:pathLst>
                <a:path w="41423" h="21890">
                  <a:moveTo>
                    <a:pt x="38056" y="0"/>
                  </a:moveTo>
                  <a:lnTo>
                    <a:pt x="0" y="19533"/>
                  </a:lnTo>
                  <a:lnTo>
                    <a:pt x="3199" y="21891"/>
                  </a:lnTo>
                  <a:lnTo>
                    <a:pt x="41424" y="2357"/>
                  </a:lnTo>
                  <a:close/>
                </a:path>
              </a:pathLst>
            </a:custGeom>
            <a:solidFill>
              <a:srgbClr val="808189"/>
            </a:solidFill>
            <a:ln w="16828" cap="flat">
              <a:noFill/>
              <a:prstDash val="solid"/>
              <a:miter/>
            </a:ln>
          </p:spPr>
          <p:txBody>
            <a:bodyPr rtlCol="0" anchor="ctr"/>
            <a:lstStyle/>
            <a:p>
              <a:endParaRPr lang="en-IN"/>
            </a:p>
          </p:txBody>
        </p:sp>
        <p:sp>
          <p:nvSpPr>
            <p:cNvPr id="4688" name="Freeform: Shape 4687">
              <a:extLst>
                <a:ext uri="{FF2B5EF4-FFF2-40B4-BE49-F238E27FC236}">
                  <a16:creationId xmlns:a16="http://schemas.microsoft.com/office/drawing/2014/main" id="{DE5CA2DA-5D7A-4798-BC89-F746B015174E}"/>
                </a:ext>
              </a:extLst>
            </p:cNvPr>
            <p:cNvSpPr/>
            <p:nvPr/>
          </p:nvSpPr>
          <p:spPr>
            <a:xfrm>
              <a:off x="7354521" y="4449400"/>
              <a:ext cx="38897" cy="20711"/>
            </a:xfrm>
            <a:custGeom>
              <a:avLst/>
              <a:gdLst>
                <a:gd name="connsiteX0" fmla="*/ 35698 w 38897"/>
                <a:gd name="connsiteY0" fmla="*/ 0 h 20711"/>
                <a:gd name="connsiteX1" fmla="*/ 0 w 38897"/>
                <a:gd name="connsiteY1" fmla="*/ 18354 h 20711"/>
                <a:gd name="connsiteX2" fmla="*/ 3199 w 38897"/>
                <a:gd name="connsiteY2" fmla="*/ 20712 h 20711"/>
                <a:gd name="connsiteX3" fmla="*/ 38898 w 38897"/>
                <a:gd name="connsiteY3" fmla="*/ 2526 h 20711"/>
              </a:gdLst>
              <a:ahLst/>
              <a:cxnLst>
                <a:cxn ang="0">
                  <a:pos x="connsiteX0" y="connsiteY0"/>
                </a:cxn>
                <a:cxn ang="0">
                  <a:pos x="connsiteX1" y="connsiteY1"/>
                </a:cxn>
                <a:cxn ang="0">
                  <a:pos x="connsiteX2" y="connsiteY2"/>
                </a:cxn>
                <a:cxn ang="0">
                  <a:pos x="connsiteX3" y="connsiteY3"/>
                </a:cxn>
              </a:cxnLst>
              <a:rect l="l" t="t" r="r" b="b"/>
              <a:pathLst>
                <a:path w="38897" h="20711">
                  <a:moveTo>
                    <a:pt x="35698" y="0"/>
                  </a:moveTo>
                  <a:lnTo>
                    <a:pt x="0" y="18354"/>
                  </a:lnTo>
                  <a:lnTo>
                    <a:pt x="3199" y="20712"/>
                  </a:lnTo>
                  <a:lnTo>
                    <a:pt x="38898" y="2526"/>
                  </a:lnTo>
                  <a:close/>
                </a:path>
              </a:pathLst>
            </a:custGeom>
            <a:solidFill>
              <a:srgbClr val="808189"/>
            </a:solidFill>
            <a:ln w="16828" cap="flat">
              <a:noFill/>
              <a:prstDash val="solid"/>
              <a:miter/>
            </a:ln>
          </p:spPr>
          <p:txBody>
            <a:bodyPr rtlCol="0" anchor="ctr"/>
            <a:lstStyle/>
            <a:p>
              <a:endParaRPr lang="en-IN"/>
            </a:p>
          </p:txBody>
        </p:sp>
        <p:sp>
          <p:nvSpPr>
            <p:cNvPr id="4689" name="Freeform: Shape 4688">
              <a:extLst>
                <a:ext uri="{FF2B5EF4-FFF2-40B4-BE49-F238E27FC236}">
                  <a16:creationId xmlns:a16="http://schemas.microsoft.com/office/drawing/2014/main" id="{11B9A4FF-C98C-4F3A-8693-E37163939E96}"/>
                </a:ext>
              </a:extLst>
            </p:cNvPr>
            <p:cNvSpPr/>
            <p:nvPr/>
          </p:nvSpPr>
          <p:spPr>
            <a:xfrm>
              <a:off x="7397292" y="4440139"/>
              <a:ext cx="14313" cy="8251"/>
            </a:xfrm>
            <a:custGeom>
              <a:avLst/>
              <a:gdLst>
                <a:gd name="connsiteX0" fmla="*/ 11114 w 14313"/>
                <a:gd name="connsiteY0" fmla="*/ 0 h 8251"/>
                <a:gd name="connsiteX1" fmla="*/ 0 w 14313"/>
                <a:gd name="connsiteY1" fmla="*/ 5725 h 8251"/>
                <a:gd name="connsiteX2" fmla="*/ 3199 w 14313"/>
                <a:gd name="connsiteY2" fmla="*/ 8251 h 8251"/>
                <a:gd name="connsiteX3" fmla="*/ 14313 w 14313"/>
                <a:gd name="connsiteY3" fmla="*/ 2526 h 8251"/>
              </a:gdLst>
              <a:ahLst/>
              <a:cxnLst>
                <a:cxn ang="0">
                  <a:pos x="connsiteX0" y="connsiteY0"/>
                </a:cxn>
                <a:cxn ang="0">
                  <a:pos x="connsiteX1" y="connsiteY1"/>
                </a:cxn>
                <a:cxn ang="0">
                  <a:pos x="connsiteX2" y="connsiteY2"/>
                </a:cxn>
                <a:cxn ang="0">
                  <a:pos x="connsiteX3" y="connsiteY3"/>
                </a:cxn>
              </a:cxnLst>
              <a:rect l="l" t="t" r="r" b="b"/>
              <a:pathLst>
                <a:path w="14313" h="8251">
                  <a:moveTo>
                    <a:pt x="11114" y="0"/>
                  </a:moveTo>
                  <a:lnTo>
                    <a:pt x="0" y="5725"/>
                  </a:lnTo>
                  <a:lnTo>
                    <a:pt x="3199" y="8251"/>
                  </a:lnTo>
                  <a:lnTo>
                    <a:pt x="14313" y="2526"/>
                  </a:lnTo>
                  <a:close/>
                </a:path>
              </a:pathLst>
            </a:custGeom>
            <a:solidFill>
              <a:srgbClr val="808189"/>
            </a:solidFill>
            <a:ln w="16828" cap="flat">
              <a:noFill/>
              <a:prstDash val="solid"/>
              <a:miter/>
            </a:ln>
          </p:spPr>
          <p:txBody>
            <a:bodyPr rtlCol="0" anchor="ctr"/>
            <a:lstStyle/>
            <a:p>
              <a:endParaRPr lang="en-IN"/>
            </a:p>
          </p:txBody>
        </p:sp>
        <p:sp>
          <p:nvSpPr>
            <p:cNvPr id="4690" name="Freeform: Shape 4689">
              <a:extLst>
                <a:ext uri="{FF2B5EF4-FFF2-40B4-BE49-F238E27FC236}">
                  <a16:creationId xmlns:a16="http://schemas.microsoft.com/office/drawing/2014/main" id="{F726CBC0-0F89-44B0-BB15-8DE20A6FE5FD}"/>
                </a:ext>
              </a:extLst>
            </p:cNvPr>
            <p:cNvSpPr/>
            <p:nvPr/>
          </p:nvSpPr>
          <p:spPr>
            <a:xfrm>
              <a:off x="7414636" y="4431214"/>
              <a:ext cx="14481" cy="8251"/>
            </a:xfrm>
            <a:custGeom>
              <a:avLst/>
              <a:gdLst>
                <a:gd name="connsiteX0" fmla="*/ 11114 w 14481"/>
                <a:gd name="connsiteY0" fmla="*/ 0 h 8251"/>
                <a:gd name="connsiteX1" fmla="*/ 0 w 14481"/>
                <a:gd name="connsiteY1" fmla="*/ 5725 h 8251"/>
                <a:gd name="connsiteX2" fmla="*/ 3199 w 14481"/>
                <a:gd name="connsiteY2" fmla="*/ 8251 h 8251"/>
                <a:gd name="connsiteX3" fmla="*/ 14481 w 14481"/>
                <a:gd name="connsiteY3" fmla="*/ 2526 h 8251"/>
              </a:gdLst>
              <a:ahLst/>
              <a:cxnLst>
                <a:cxn ang="0">
                  <a:pos x="connsiteX0" y="connsiteY0"/>
                </a:cxn>
                <a:cxn ang="0">
                  <a:pos x="connsiteX1" y="connsiteY1"/>
                </a:cxn>
                <a:cxn ang="0">
                  <a:pos x="connsiteX2" y="connsiteY2"/>
                </a:cxn>
                <a:cxn ang="0">
                  <a:pos x="connsiteX3" y="connsiteY3"/>
                </a:cxn>
              </a:cxnLst>
              <a:rect l="l" t="t" r="r" b="b"/>
              <a:pathLst>
                <a:path w="14481" h="8251">
                  <a:moveTo>
                    <a:pt x="11114" y="0"/>
                  </a:moveTo>
                  <a:lnTo>
                    <a:pt x="0" y="5725"/>
                  </a:lnTo>
                  <a:lnTo>
                    <a:pt x="3199" y="8251"/>
                  </a:lnTo>
                  <a:lnTo>
                    <a:pt x="14481" y="2526"/>
                  </a:lnTo>
                  <a:close/>
                </a:path>
              </a:pathLst>
            </a:custGeom>
            <a:solidFill>
              <a:srgbClr val="808189"/>
            </a:solidFill>
            <a:ln w="16828" cap="flat">
              <a:noFill/>
              <a:prstDash val="solid"/>
              <a:miter/>
            </a:ln>
          </p:spPr>
          <p:txBody>
            <a:bodyPr rtlCol="0" anchor="ctr"/>
            <a:lstStyle/>
            <a:p>
              <a:endParaRPr lang="en-IN"/>
            </a:p>
          </p:txBody>
        </p:sp>
        <p:sp>
          <p:nvSpPr>
            <p:cNvPr id="4691" name="Freeform: Shape 4690">
              <a:extLst>
                <a:ext uri="{FF2B5EF4-FFF2-40B4-BE49-F238E27FC236}">
                  <a16:creationId xmlns:a16="http://schemas.microsoft.com/office/drawing/2014/main" id="{E6C643BC-7C76-4CEF-BCAD-600EED83F66B}"/>
                </a:ext>
              </a:extLst>
            </p:cNvPr>
            <p:cNvSpPr/>
            <p:nvPr/>
          </p:nvSpPr>
          <p:spPr>
            <a:xfrm>
              <a:off x="7301984" y="4473479"/>
              <a:ext cx="26100" cy="14144"/>
            </a:xfrm>
            <a:custGeom>
              <a:avLst/>
              <a:gdLst>
                <a:gd name="connsiteX0" fmla="*/ 22901 w 26100"/>
                <a:gd name="connsiteY0" fmla="*/ 0 h 14144"/>
                <a:gd name="connsiteX1" fmla="*/ 0 w 26100"/>
                <a:gd name="connsiteY1" fmla="*/ 11787 h 14144"/>
                <a:gd name="connsiteX2" fmla="*/ 3199 w 26100"/>
                <a:gd name="connsiteY2" fmla="*/ 14145 h 14144"/>
                <a:gd name="connsiteX3" fmla="*/ 26100 w 26100"/>
                <a:gd name="connsiteY3" fmla="*/ 2526 h 14144"/>
              </a:gdLst>
              <a:ahLst/>
              <a:cxnLst>
                <a:cxn ang="0">
                  <a:pos x="connsiteX0" y="connsiteY0"/>
                </a:cxn>
                <a:cxn ang="0">
                  <a:pos x="connsiteX1" y="connsiteY1"/>
                </a:cxn>
                <a:cxn ang="0">
                  <a:pos x="connsiteX2" y="connsiteY2"/>
                </a:cxn>
                <a:cxn ang="0">
                  <a:pos x="connsiteX3" y="connsiteY3"/>
                </a:cxn>
              </a:cxnLst>
              <a:rect l="l" t="t" r="r" b="b"/>
              <a:pathLst>
                <a:path w="26100" h="14144">
                  <a:moveTo>
                    <a:pt x="22901" y="0"/>
                  </a:moveTo>
                  <a:lnTo>
                    <a:pt x="0" y="11787"/>
                  </a:lnTo>
                  <a:lnTo>
                    <a:pt x="3199" y="14145"/>
                  </a:lnTo>
                  <a:lnTo>
                    <a:pt x="26100" y="2526"/>
                  </a:lnTo>
                  <a:close/>
                </a:path>
              </a:pathLst>
            </a:custGeom>
            <a:solidFill>
              <a:srgbClr val="808189"/>
            </a:solidFill>
            <a:ln w="16828" cap="flat">
              <a:noFill/>
              <a:prstDash val="solid"/>
              <a:miter/>
            </a:ln>
          </p:spPr>
          <p:txBody>
            <a:bodyPr rtlCol="0" anchor="ctr"/>
            <a:lstStyle/>
            <a:p>
              <a:endParaRPr lang="en-IN"/>
            </a:p>
          </p:txBody>
        </p:sp>
        <p:sp>
          <p:nvSpPr>
            <p:cNvPr id="4692" name="Freeform: Shape 4691">
              <a:extLst>
                <a:ext uri="{FF2B5EF4-FFF2-40B4-BE49-F238E27FC236}">
                  <a16:creationId xmlns:a16="http://schemas.microsoft.com/office/drawing/2014/main" id="{3BDB3079-3613-44B2-8E31-F05476421F80}"/>
                </a:ext>
              </a:extLst>
            </p:cNvPr>
            <p:cNvSpPr/>
            <p:nvPr/>
          </p:nvSpPr>
          <p:spPr>
            <a:xfrm>
              <a:off x="7499335" y="4443001"/>
              <a:ext cx="34856" cy="18522"/>
            </a:xfrm>
            <a:custGeom>
              <a:avLst/>
              <a:gdLst>
                <a:gd name="connsiteX0" fmla="*/ 0 w 34856"/>
                <a:gd name="connsiteY0" fmla="*/ 16165 h 18522"/>
                <a:gd name="connsiteX1" fmla="*/ 31657 w 34856"/>
                <a:gd name="connsiteY1" fmla="*/ 0 h 18522"/>
                <a:gd name="connsiteX2" fmla="*/ 34856 w 34856"/>
                <a:gd name="connsiteY2" fmla="*/ 2357 h 18522"/>
                <a:gd name="connsiteX3" fmla="*/ 3199 w 34856"/>
                <a:gd name="connsiteY3" fmla="*/ 18523 h 18522"/>
              </a:gdLst>
              <a:ahLst/>
              <a:cxnLst>
                <a:cxn ang="0">
                  <a:pos x="connsiteX0" y="connsiteY0"/>
                </a:cxn>
                <a:cxn ang="0">
                  <a:pos x="connsiteX1" y="connsiteY1"/>
                </a:cxn>
                <a:cxn ang="0">
                  <a:pos x="connsiteX2" y="connsiteY2"/>
                </a:cxn>
                <a:cxn ang="0">
                  <a:pos x="connsiteX3" y="connsiteY3"/>
                </a:cxn>
              </a:cxnLst>
              <a:rect l="l" t="t" r="r" b="b"/>
              <a:pathLst>
                <a:path w="34856" h="18522">
                  <a:moveTo>
                    <a:pt x="0" y="16165"/>
                  </a:moveTo>
                  <a:lnTo>
                    <a:pt x="31657" y="0"/>
                  </a:lnTo>
                  <a:lnTo>
                    <a:pt x="34856" y="2357"/>
                  </a:lnTo>
                  <a:lnTo>
                    <a:pt x="3199" y="18523"/>
                  </a:lnTo>
                  <a:close/>
                </a:path>
              </a:pathLst>
            </a:custGeom>
            <a:solidFill>
              <a:srgbClr val="808189"/>
            </a:solidFill>
            <a:ln w="16828" cap="flat">
              <a:noFill/>
              <a:prstDash val="solid"/>
              <a:miter/>
            </a:ln>
          </p:spPr>
          <p:txBody>
            <a:bodyPr rtlCol="0" anchor="ctr"/>
            <a:lstStyle/>
            <a:p>
              <a:endParaRPr lang="en-IN"/>
            </a:p>
          </p:txBody>
        </p:sp>
        <p:sp>
          <p:nvSpPr>
            <p:cNvPr id="4693" name="Freeform: Shape 4692">
              <a:extLst>
                <a:ext uri="{FF2B5EF4-FFF2-40B4-BE49-F238E27FC236}">
                  <a16:creationId xmlns:a16="http://schemas.microsoft.com/office/drawing/2014/main" id="{55EC11E8-AB18-4EDC-843F-1A2317EA34A9}"/>
                </a:ext>
              </a:extLst>
            </p:cNvPr>
            <p:cNvSpPr/>
            <p:nvPr/>
          </p:nvSpPr>
          <p:spPr>
            <a:xfrm>
              <a:off x="7498830" y="4437444"/>
              <a:ext cx="28120" cy="15154"/>
            </a:xfrm>
            <a:custGeom>
              <a:avLst/>
              <a:gdLst>
                <a:gd name="connsiteX0" fmla="*/ 0 w 28120"/>
                <a:gd name="connsiteY0" fmla="*/ 12629 h 15154"/>
                <a:gd name="connsiteX1" fmla="*/ 24753 w 28120"/>
                <a:gd name="connsiteY1" fmla="*/ 0 h 15154"/>
                <a:gd name="connsiteX2" fmla="*/ 28121 w 28120"/>
                <a:gd name="connsiteY2" fmla="*/ 2357 h 15154"/>
                <a:gd name="connsiteX3" fmla="*/ 3199 w 28120"/>
                <a:gd name="connsiteY3" fmla="*/ 15155 h 15154"/>
              </a:gdLst>
              <a:ahLst/>
              <a:cxnLst>
                <a:cxn ang="0">
                  <a:pos x="connsiteX0" y="connsiteY0"/>
                </a:cxn>
                <a:cxn ang="0">
                  <a:pos x="connsiteX1" y="connsiteY1"/>
                </a:cxn>
                <a:cxn ang="0">
                  <a:pos x="connsiteX2" y="connsiteY2"/>
                </a:cxn>
                <a:cxn ang="0">
                  <a:pos x="connsiteX3" y="connsiteY3"/>
                </a:cxn>
              </a:cxnLst>
              <a:rect l="l" t="t" r="r" b="b"/>
              <a:pathLst>
                <a:path w="28120" h="15154">
                  <a:moveTo>
                    <a:pt x="0" y="12629"/>
                  </a:moveTo>
                  <a:lnTo>
                    <a:pt x="24753" y="0"/>
                  </a:lnTo>
                  <a:lnTo>
                    <a:pt x="28121" y="2357"/>
                  </a:lnTo>
                  <a:lnTo>
                    <a:pt x="3199" y="15155"/>
                  </a:lnTo>
                  <a:close/>
                </a:path>
              </a:pathLst>
            </a:custGeom>
            <a:solidFill>
              <a:srgbClr val="808189"/>
            </a:solidFill>
            <a:ln w="16828" cap="flat">
              <a:noFill/>
              <a:prstDash val="solid"/>
              <a:miter/>
            </a:ln>
          </p:spPr>
          <p:txBody>
            <a:bodyPr rtlCol="0" anchor="ctr"/>
            <a:lstStyle/>
            <a:p>
              <a:endParaRPr lang="en-IN"/>
            </a:p>
          </p:txBody>
        </p:sp>
        <p:sp>
          <p:nvSpPr>
            <p:cNvPr id="4694" name="Freeform: Shape 4693">
              <a:extLst>
                <a:ext uri="{FF2B5EF4-FFF2-40B4-BE49-F238E27FC236}">
                  <a16:creationId xmlns:a16="http://schemas.microsoft.com/office/drawing/2014/main" id="{21C28C8D-7CE3-4956-B27E-001D5A39B2E4}"/>
                </a:ext>
              </a:extLst>
            </p:cNvPr>
            <p:cNvSpPr/>
            <p:nvPr/>
          </p:nvSpPr>
          <p:spPr>
            <a:xfrm>
              <a:off x="7498325" y="4431887"/>
              <a:ext cx="21216" cy="11618"/>
            </a:xfrm>
            <a:custGeom>
              <a:avLst/>
              <a:gdLst>
                <a:gd name="connsiteX0" fmla="*/ 0 w 21216"/>
                <a:gd name="connsiteY0" fmla="*/ 9093 h 11618"/>
                <a:gd name="connsiteX1" fmla="*/ 18018 w 21216"/>
                <a:gd name="connsiteY1" fmla="*/ 0 h 11618"/>
                <a:gd name="connsiteX2" fmla="*/ 21217 w 21216"/>
                <a:gd name="connsiteY2" fmla="*/ 2357 h 11618"/>
                <a:gd name="connsiteX3" fmla="*/ 3199 w 21216"/>
                <a:gd name="connsiteY3" fmla="*/ 11619 h 11618"/>
              </a:gdLst>
              <a:ahLst/>
              <a:cxnLst>
                <a:cxn ang="0">
                  <a:pos x="connsiteX0" y="connsiteY0"/>
                </a:cxn>
                <a:cxn ang="0">
                  <a:pos x="connsiteX1" y="connsiteY1"/>
                </a:cxn>
                <a:cxn ang="0">
                  <a:pos x="connsiteX2" y="connsiteY2"/>
                </a:cxn>
                <a:cxn ang="0">
                  <a:pos x="connsiteX3" y="connsiteY3"/>
                </a:cxn>
              </a:cxnLst>
              <a:rect l="l" t="t" r="r" b="b"/>
              <a:pathLst>
                <a:path w="21216" h="11618">
                  <a:moveTo>
                    <a:pt x="0" y="9093"/>
                  </a:moveTo>
                  <a:lnTo>
                    <a:pt x="18018" y="0"/>
                  </a:lnTo>
                  <a:lnTo>
                    <a:pt x="21217" y="2357"/>
                  </a:lnTo>
                  <a:lnTo>
                    <a:pt x="3199" y="11619"/>
                  </a:lnTo>
                  <a:close/>
                </a:path>
              </a:pathLst>
            </a:custGeom>
            <a:solidFill>
              <a:srgbClr val="808189"/>
            </a:solidFill>
            <a:ln w="16828" cap="flat">
              <a:noFill/>
              <a:prstDash val="solid"/>
              <a:miter/>
            </a:ln>
          </p:spPr>
          <p:txBody>
            <a:bodyPr rtlCol="0" anchor="ctr"/>
            <a:lstStyle/>
            <a:p>
              <a:endParaRPr lang="en-IN"/>
            </a:p>
          </p:txBody>
        </p:sp>
        <p:sp>
          <p:nvSpPr>
            <p:cNvPr id="4695" name="Freeform: Shape 4694">
              <a:extLst>
                <a:ext uri="{FF2B5EF4-FFF2-40B4-BE49-F238E27FC236}">
                  <a16:creationId xmlns:a16="http://schemas.microsoft.com/office/drawing/2014/main" id="{0382CF16-357C-4E88-B133-C9CA3586E6BA}"/>
                </a:ext>
              </a:extLst>
            </p:cNvPr>
            <p:cNvSpPr/>
            <p:nvPr/>
          </p:nvSpPr>
          <p:spPr>
            <a:xfrm>
              <a:off x="7482665" y="4426162"/>
              <a:ext cx="29467" cy="15828"/>
            </a:xfrm>
            <a:custGeom>
              <a:avLst/>
              <a:gdLst>
                <a:gd name="connsiteX0" fmla="*/ 0 w 29467"/>
                <a:gd name="connsiteY0" fmla="*/ 13471 h 15828"/>
                <a:gd name="connsiteX1" fmla="*/ 26269 w 29467"/>
                <a:gd name="connsiteY1" fmla="*/ 0 h 15828"/>
                <a:gd name="connsiteX2" fmla="*/ 29468 w 29467"/>
                <a:gd name="connsiteY2" fmla="*/ 2526 h 15828"/>
                <a:gd name="connsiteX3" fmla="*/ 3368 w 29467"/>
                <a:gd name="connsiteY3" fmla="*/ 15829 h 15828"/>
              </a:gdLst>
              <a:ahLst/>
              <a:cxnLst>
                <a:cxn ang="0">
                  <a:pos x="connsiteX0" y="connsiteY0"/>
                </a:cxn>
                <a:cxn ang="0">
                  <a:pos x="connsiteX1" y="connsiteY1"/>
                </a:cxn>
                <a:cxn ang="0">
                  <a:pos x="connsiteX2" y="connsiteY2"/>
                </a:cxn>
                <a:cxn ang="0">
                  <a:pos x="connsiteX3" y="connsiteY3"/>
                </a:cxn>
              </a:cxnLst>
              <a:rect l="l" t="t" r="r" b="b"/>
              <a:pathLst>
                <a:path w="29467" h="15828">
                  <a:moveTo>
                    <a:pt x="0" y="13471"/>
                  </a:moveTo>
                  <a:lnTo>
                    <a:pt x="26269" y="0"/>
                  </a:lnTo>
                  <a:lnTo>
                    <a:pt x="29468" y="2526"/>
                  </a:lnTo>
                  <a:lnTo>
                    <a:pt x="3368" y="15829"/>
                  </a:lnTo>
                  <a:close/>
                </a:path>
              </a:pathLst>
            </a:custGeom>
            <a:solidFill>
              <a:srgbClr val="808189"/>
            </a:solidFill>
            <a:ln w="16828" cap="flat">
              <a:noFill/>
              <a:prstDash val="solid"/>
              <a:miter/>
            </a:ln>
          </p:spPr>
          <p:txBody>
            <a:bodyPr rtlCol="0" anchor="ctr"/>
            <a:lstStyle/>
            <a:p>
              <a:endParaRPr lang="en-IN"/>
            </a:p>
          </p:txBody>
        </p:sp>
        <p:sp>
          <p:nvSpPr>
            <p:cNvPr id="4696" name="Freeform: Shape 4695">
              <a:extLst>
                <a:ext uri="{FF2B5EF4-FFF2-40B4-BE49-F238E27FC236}">
                  <a16:creationId xmlns:a16="http://schemas.microsoft.com/office/drawing/2014/main" id="{8C3F1827-F6DC-4B13-B16D-3D48EC302278}"/>
                </a:ext>
              </a:extLst>
            </p:cNvPr>
            <p:cNvSpPr/>
            <p:nvPr/>
          </p:nvSpPr>
          <p:spPr>
            <a:xfrm>
              <a:off x="7483506" y="4420605"/>
              <a:ext cx="21216" cy="11618"/>
            </a:xfrm>
            <a:custGeom>
              <a:avLst/>
              <a:gdLst>
                <a:gd name="connsiteX0" fmla="*/ 0 w 21216"/>
                <a:gd name="connsiteY0" fmla="*/ 9261 h 11618"/>
                <a:gd name="connsiteX1" fmla="*/ 18018 w 21216"/>
                <a:gd name="connsiteY1" fmla="*/ 0 h 11618"/>
                <a:gd name="connsiteX2" fmla="*/ 21217 w 21216"/>
                <a:gd name="connsiteY2" fmla="*/ 2526 h 11618"/>
                <a:gd name="connsiteX3" fmla="*/ 3199 w 21216"/>
                <a:gd name="connsiteY3" fmla="*/ 11619 h 11618"/>
              </a:gdLst>
              <a:ahLst/>
              <a:cxnLst>
                <a:cxn ang="0">
                  <a:pos x="connsiteX0" y="connsiteY0"/>
                </a:cxn>
                <a:cxn ang="0">
                  <a:pos x="connsiteX1" y="connsiteY1"/>
                </a:cxn>
                <a:cxn ang="0">
                  <a:pos x="connsiteX2" y="connsiteY2"/>
                </a:cxn>
                <a:cxn ang="0">
                  <a:pos x="connsiteX3" y="connsiteY3"/>
                </a:cxn>
              </a:cxnLst>
              <a:rect l="l" t="t" r="r" b="b"/>
              <a:pathLst>
                <a:path w="21216" h="11618">
                  <a:moveTo>
                    <a:pt x="0" y="9261"/>
                  </a:moveTo>
                  <a:lnTo>
                    <a:pt x="18018" y="0"/>
                  </a:lnTo>
                  <a:lnTo>
                    <a:pt x="21217" y="2526"/>
                  </a:lnTo>
                  <a:lnTo>
                    <a:pt x="3199" y="11619"/>
                  </a:lnTo>
                  <a:close/>
                </a:path>
              </a:pathLst>
            </a:custGeom>
            <a:solidFill>
              <a:srgbClr val="808189"/>
            </a:solidFill>
            <a:ln w="16828" cap="flat">
              <a:noFill/>
              <a:prstDash val="solid"/>
              <a:miter/>
            </a:ln>
          </p:spPr>
          <p:txBody>
            <a:bodyPr rtlCol="0" anchor="ctr"/>
            <a:lstStyle/>
            <a:p>
              <a:endParaRPr lang="en-IN"/>
            </a:p>
          </p:txBody>
        </p:sp>
        <p:sp>
          <p:nvSpPr>
            <p:cNvPr id="4697" name="Freeform: Shape 4696">
              <a:extLst>
                <a:ext uri="{FF2B5EF4-FFF2-40B4-BE49-F238E27FC236}">
                  <a16:creationId xmlns:a16="http://schemas.microsoft.com/office/drawing/2014/main" id="{FBFD72A5-D171-41B5-929E-DF3D90178E52}"/>
                </a:ext>
              </a:extLst>
            </p:cNvPr>
            <p:cNvSpPr/>
            <p:nvPr/>
          </p:nvSpPr>
          <p:spPr>
            <a:xfrm>
              <a:off x="7471382" y="4415049"/>
              <a:ext cx="26100" cy="14144"/>
            </a:xfrm>
            <a:custGeom>
              <a:avLst/>
              <a:gdLst>
                <a:gd name="connsiteX0" fmla="*/ 0 w 26100"/>
                <a:gd name="connsiteY0" fmla="*/ 11619 h 14144"/>
                <a:gd name="connsiteX1" fmla="*/ 22732 w 26100"/>
                <a:gd name="connsiteY1" fmla="*/ 0 h 14144"/>
                <a:gd name="connsiteX2" fmla="*/ 26100 w 26100"/>
                <a:gd name="connsiteY2" fmla="*/ 2526 h 14144"/>
                <a:gd name="connsiteX3" fmla="*/ 3199 w 26100"/>
                <a:gd name="connsiteY3" fmla="*/ 14145 h 14144"/>
              </a:gdLst>
              <a:ahLst/>
              <a:cxnLst>
                <a:cxn ang="0">
                  <a:pos x="connsiteX0" y="connsiteY0"/>
                </a:cxn>
                <a:cxn ang="0">
                  <a:pos x="connsiteX1" y="connsiteY1"/>
                </a:cxn>
                <a:cxn ang="0">
                  <a:pos x="connsiteX2" y="connsiteY2"/>
                </a:cxn>
                <a:cxn ang="0">
                  <a:pos x="connsiteX3" y="connsiteY3"/>
                </a:cxn>
              </a:cxnLst>
              <a:rect l="l" t="t" r="r" b="b"/>
              <a:pathLst>
                <a:path w="26100" h="14144">
                  <a:moveTo>
                    <a:pt x="0" y="11619"/>
                  </a:moveTo>
                  <a:lnTo>
                    <a:pt x="22732" y="0"/>
                  </a:lnTo>
                  <a:lnTo>
                    <a:pt x="26100" y="2526"/>
                  </a:lnTo>
                  <a:lnTo>
                    <a:pt x="3199" y="14145"/>
                  </a:lnTo>
                  <a:close/>
                </a:path>
              </a:pathLst>
            </a:custGeom>
            <a:solidFill>
              <a:srgbClr val="808189"/>
            </a:solidFill>
            <a:ln w="16828" cap="flat">
              <a:noFill/>
              <a:prstDash val="solid"/>
              <a:miter/>
            </a:ln>
          </p:spPr>
          <p:txBody>
            <a:bodyPr rtlCol="0" anchor="ctr"/>
            <a:lstStyle/>
            <a:p>
              <a:endParaRPr lang="en-IN"/>
            </a:p>
          </p:txBody>
        </p:sp>
        <p:sp>
          <p:nvSpPr>
            <p:cNvPr id="4698" name="Freeform: Shape 4697">
              <a:extLst>
                <a:ext uri="{FF2B5EF4-FFF2-40B4-BE49-F238E27FC236}">
                  <a16:creationId xmlns:a16="http://schemas.microsoft.com/office/drawing/2014/main" id="{FEEE31B8-4502-49C8-B6AF-84C20DEB71C5}"/>
                </a:ext>
              </a:extLst>
            </p:cNvPr>
            <p:cNvSpPr/>
            <p:nvPr/>
          </p:nvSpPr>
          <p:spPr>
            <a:xfrm>
              <a:off x="7474413" y="4409492"/>
              <a:ext cx="15660" cy="8756"/>
            </a:xfrm>
            <a:custGeom>
              <a:avLst/>
              <a:gdLst>
                <a:gd name="connsiteX0" fmla="*/ 0 w 15660"/>
                <a:gd name="connsiteY0" fmla="*/ 6399 h 8756"/>
                <a:gd name="connsiteX1" fmla="*/ 12461 w 15660"/>
                <a:gd name="connsiteY1" fmla="*/ 0 h 8756"/>
                <a:gd name="connsiteX2" fmla="*/ 15660 w 15660"/>
                <a:gd name="connsiteY2" fmla="*/ 2357 h 8756"/>
                <a:gd name="connsiteX3" fmla="*/ 3199 w 15660"/>
                <a:gd name="connsiteY3" fmla="*/ 8756 h 8756"/>
              </a:gdLst>
              <a:ahLst/>
              <a:cxnLst>
                <a:cxn ang="0">
                  <a:pos x="connsiteX0" y="connsiteY0"/>
                </a:cxn>
                <a:cxn ang="0">
                  <a:pos x="connsiteX1" y="connsiteY1"/>
                </a:cxn>
                <a:cxn ang="0">
                  <a:pos x="connsiteX2" y="connsiteY2"/>
                </a:cxn>
                <a:cxn ang="0">
                  <a:pos x="connsiteX3" y="connsiteY3"/>
                </a:cxn>
              </a:cxnLst>
              <a:rect l="l" t="t" r="r" b="b"/>
              <a:pathLst>
                <a:path w="15660" h="8756">
                  <a:moveTo>
                    <a:pt x="0" y="6399"/>
                  </a:moveTo>
                  <a:lnTo>
                    <a:pt x="12461" y="0"/>
                  </a:lnTo>
                  <a:lnTo>
                    <a:pt x="15660" y="2357"/>
                  </a:lnTo>
                  <a:lnTo>
                    <a:pt x="3199" y="8756"/>
                  </a:lnTo>
                  <a:close/>
                </a:path>
              </a:pathLst>
            </a:custGeom>
            <a:solidFill>
              <a:srgbClr val="808189"/>
            </a:solidFill>
            <a:ln w="16828" cap="flat">
              <a:noFill/>
              <a:prstDash val="solid"/>
              <a:miter/>
            </a:ln>
          </p:spPr>
          <p:txBody>
            <a:bodyPr rtlCol="0" anchor="ctr"/>
            <a:lstStyle/>
            <a:p>
              <a:endParaRPr lang="en-IN"/>
            </a:p>
          </p:txBody>
        </p:sp>
        <p:sp>
          <p:nvSpPr>
            <p:cNvPr id="4699" name="Freeform: Shape 4698">
              <a:extLst>
                <a:ext uri="{FF2B5EF4-FFF2-40B4-BE49-F238E27FC236}">
                  <a16:creationId xmlns:a16="http://schemas.microsoft.com/office/drawing/2014/main" id="{38F81E29-C4C4-4F66-BDE0-C7BE66AA7A91}"/>
                </a:ext>
              </a:extLst>
            </p:cNvPr>
            <p:cNvSpPr/>
            <p:nvPr/>
          </p:nvSpPr>
          <p:spPr>
            <a:xfrm>
              <a:off x="7455386" y="4403935"/>
              <a:ext cx="27278" cy="14649"/>
            </a:xfrm>
            <a:custGeom>
              <a:avLst/>
              <a:gdLst>
                <a:gd name="connsiteX0" fmla="*/ 0 w 27278"/>
                <a:gd name="connsiteY0" fmla="*/ 12292 h 14649"/>
                <a:gd name="connsiteX1" fmla="*/ 24080 w 27278"/>
                <a:gd name="connsiteY1" fmla="*/ 0 h 14649"/>
                <a:gd name="connsiteX2" fmla="*/ 27279 w 27278"/>
                <a:gd name="connsiteY2" fmla="*/ 2357 h 14649"/>
                <a:gd name="connsiteX3" fmla="*/ 3199 w 27278"/>
                <a:gd name="connsiteY3" fmla="*/ 14650 h 14649"/>
              </a:gdLst>
              <a:ahLst/>
              <a:cxnLst>
                <a:cxn ang="0">
                  <a:pos x="connsiteX0" y="connsiteY0"/>
                </a:cxn>
                <a:cxn ang="0">
                  <a:pos x="connsiteX1" y="connsiteY1"/>
                </a:cxn>
                <a:cxn ang="0">
                  <a:pos x="connsiteX2" y="connsiteY2"/>
                </a:cxn>
                <a:cxn ang="0">
                  <a:pos x="connsiteX3" y="connsiteY3"/>
                </a:cxn>
              </a:cxnLst>
              <a:rect l="l" t="t" r="r" b="b"/>
              <a:pathLst>
                <a:path w="27278" h="14649">
                  <a:moveTo>
                    <a:pt x="0" y="12292"/>
                  </a:moveTo>
                  <a:lnTo>
                    <a:pt x="24080" y="0"/>
                  </a:lnTo>
                  <a:lnTo>
                    <a:pt x="27279" y="2357"/>
                  </a:lnTo>
                  <a:lnTo>
                    <a:pt x="3199" y="14650"/>
                  </a:lnTo>
                  <a:close/>
                </a:path>
              </a:pathLst>
            </a:custGeom>
            <a:solidFill>
              <a:srgbClr val="808189"/>
            </a:solidFill>
            <a:ln w="16828" cap="flat">
              <a:noFill/>
              <a:prstDash val="solid"/>
              <a:miter/>
            </a:ln>
          </p:spPr>
          <p:txBody>
            <a:bodyPr rtlCol="0" anchor="ctr"/>
            <a:lstStyle/>
            <a:p>
              <a:endParaRPr lang="en-IN"/>
            </a:p>
          </p:txBody>
        </p:sp>
        <p:sp>
          <p:nvSpPr>
            <p:cNvPr id="4700" name="Freeform: Shape 4699">
              <a:extLst>
                <a:ext uri="{FF2B5EF4-FFF2-40B4-BE49-F238E27FC236}">
                  <a16:creationId xmlns:a16="http://schemas.microsoft.com/office/drawing/2014/main" id="{63EEF6A6-4184-432A-B3B4-F76E36D674DA}"/>
                </a:ext>
              </a:extLst>
            </p:cNvPr>
            <p:cNvSpPr/>
            <p:nvPr/>
          </p:nvSpPr>
          <p:spPr>
            <a:xfrm>
              <a:off x="7449155" y="4398378"/>
              <a:ext cx="26100" cy="13976"/>
            </a:xfrm>
            <a:custGeom>
              <a:avLst/>
              <a:gdLst>
                <a:gd name="connsiteX0" fmla="*/ 0 w 26100"/>
                <a:gd name="connsiteY0" fmla="*/ 11619 h 13976"/>
                <a:gd name="connsiteX1" fmla="*/ 22901 w 26100"/>
                <a:gd name="connsiteY1" fmla="*/ 0 h 13976"/>
                <a:gd name="connsiteX2" fmla="*/ 26100 w 26100"/>
                <a:gd name="connsiteY2" fmla="*/ 2357 h 13976"/>
                <a:gd name="connsiteX3" fmla="*/ 3368 w 26100"/>
                <a:gd name="connsiteY3" fmla="*/ 13976 h 13976"/>
              </a:gdLst>
              <a:ahLst/>
              <a:cxnLst>
                <a:cxn ang="0">
                  <a:pos x="connsiteX0" y="connsiteY0"/>
                </a:cxn>
                <a:cxn ang="0">
                  <a:pos x="connsiteX1" y="connsiteY1"/>
                </a:cxn>
                <a:cxn ang="0">
                  <a:pos x="connsiteX2" y="connsiteY2"/>
                </a:cxn>
                <a:cxn ang="0">
                  <a:pos x="connsiteX3" y="connsiteY3"/>
                </a:cxn>
              </a:cxnLst>
              <a:rect l="l" t="t" r="r" b="b"/>
              <a:pathLst>
                <a:path w="26100" h="13976">
                  <a:moveTo>
                    <a:pt x="0" y="11619"/>
                  </a:moveTo>
                  <a:lnTo>
                    <a:pt x="22901" y="0"/>
                  </a:lnTo>
                  <a:lnTo>
                    <a:pt x="26100" y="2357"/>
                  </a:lnTo>
                  <a:lnTo>
                    <a:pt x="3368" y="13976"/>
                  </a:lnTo>
                  <a:close/>
                </a:path>
              </a:pathLst>
            </a:custGeom>
            <a:solidFill>
              <a:srgbClr val="808189"/>
            </a:solidFill>
            <a:ln w="16828" cap="flat">
              <a:noFill/>
              <a:prstDash val="solid"/>
              <a:miter/>
            </a:ln>
          </p:spPr>
          <p:txBody>
            <a:bodyPr rtlCol="0" anchor="ctr"/>
            <a:lstStyle/>
            <a:p>
              <a:endParaRPr lang="en-IN"/>
            </a:p>
          </p:txBody>
        </p:sp>
        <p:sp>
          <p:nvSpPr>
            <p:cNvPr id="4701" name="Freeform: Shape 4700">
              <a:extLst>
                <a:ext uri="{FF2B5EF4-FFF2-40B4-BE49-F238E27FC236}">
                  <a16:creationId xmlns:a16="http://schemas.microsoft.com/office/drawing/2014/main" id="{BCE307D8-A29D-4544-BA5F-5F7B9B26BCCE}"/>
                </a:ext>
              </a:extLst>
            </p:cNvPr>
            <p:cNvSpPr/>
            <p:nvPr/>
          </p:nvSpPr>
          <p:spPr>
            <a:xfrm>
              <a:off x="7331788" y="4465060"/>
              <a:ext cx="12965" cy="7409"/>
            </a:xfrm>
            <a:custGeom>
              <a:avLst/>
              <a:gdLst>
                <a:gd name="connsiteX0" fmla="*/ 9767 w 12965"/>
                <a:gd name="connsiteY0" fmla="*/ 0 h 7409"/>
                <a:gd name="connsiteX1" fmla="*/ 0 w 12965"/>
                <a:gd name="connsiteY1" fmla="*/ 4883 h 7409"/>
                <a:gd name="connsiteX2" fmla="*/ 3368 w 12965"/>
                <a:gd name="connsiteY2" fmla="*/ 7409 h 7409"/>
                <a:gd name="connsiteX3" fmla="*/ 12966 w 12965"/>
                <a:gd name="connsiteY3" fmla="*/ 2357 h 7409"/>
              </a:gdLst>
              <a:ahLst/>
              <a:cxnLst>
                <a:cxn ang="0">
                  <a:pos x="connsiteX0" y="connsiteY0"/>
                </a:cxn>
                <a:cxn ang="0">
                  <a:pos x="connsiteX1" y="connsiteY1"/>
                </a:cxn>
                <a:cxn ang="0">
                  <a:pos x="connsiteX2" y="connsiteY2"/>
                </a:cxn>
                <a:cxn ang="0">
                  <a:pos x="connsiteX3" y="connsiteY3"/>
                </a:cxn>
              </a:cxnLst>
              <a:rect l="l" t="t" r="r" b="b"/>
              <a:pathLst>
                <a:path w="12965" h="7409">
                  <a:moveTo>
                    <a:pt x="9767" y="0"/>
                  </a:moveTo>
                  <a:lnTo>
                    <a:pt x="0" y="4883"/>
                  </a:lnTo>
                  <a:lnTo>
                    <a:pt x="3368" y="7409"/>
                  </a:lnTo>
                  <a:lnTo>
                    <a:pt x="12966" y="2357"/>
                  </a:lnTo>
                  <a:close/>
                </a:path>
              </a:pathLst>
            </a:custGeom>
            <a:solidFill>
              <a:srgbClr val="808189"/>
            </a:solidFill>
            <a:ln w="16828" cap="flat">
              <a:noFill/>
              <a:prstDash val="solid"/>
              <a:miter/>
            </a:ln>
          </p:spPr>
          <p:txBody>
            <a:bodyPr rtlCol="0" anchor="ctr"/>
            <a:lstStyle/>
            <a:p>
              <a:endParaRPr lang="en-IN"/>
            </a:p>
          </p:txBody>
        </p:sp>
        <p:sp>
          <p:nvSpPr>
            <p:cNvPr id="4702" name="Freeform: Shape 4701">
              <a:extLst>
                <a:ext uri="{FF2B5EF4-FFF2-40B4-BE49-F238E27FC236}">
                  <a16:creationId xmlns:a16="http://schemas.microsoft.com/office/drawing/2014/main" id="{7FC480EE-AF2B-4CED-AE1D-8035E40435AC}"/>
                </a:ext>
              </a:extLst>
            </p:cNvPr>
            <p:cNvSpPr/>
            <p:nvPr/>
          </p:nvSpPr>
          <p:spPr>
            <a:xfrm>
              <a:off x="7348627" y="4450242"/>
              <a:ext cx="25089" cy="13639"/>
            </a:xfrm>
            <a:custGeom>
              <a:avLst/>
              <a:gdLst>
                <a:gd name="connsiteX0" fmla="*/ 21722 w 25089"/>
                <a:gd name="connsiteY0" fmla="*/ 0 h 13639"/>
                <a:gd name="connsiteX1" fmla="*/ 0 w 25089"/>
                <a:gd name="connsiteY1" fmla="*/ 11114 h 13639"/>
                <a:gd name="connsiteX2" fmla="*/ 3199 w 25089"/>
                <a:gd name="connsiteY2" fmla="*/ 13639 h 13639"/>
                <a:gd name="connsiteX3" fmla="*/ 25090 w 25089"/>
                <a:gd name="connsiteY3" fmla="*/ 2526 h 13639"/>
              </a:gdLst>
              <a:ahLst/>
              <a:cxnLst>
                <a:cxn ang="0">
                  <a:pos x="connsiteX0" y="connsiteY0"/>
                </a:cxn>
                <a:cxn ang="0">
                  <a:pos x="connsiteX1" y="connsiteY1"/>
                </a:cxn>
                <a:cxn ang="0">
                  <a:pos x="connsiteX2" y="connsiteY2"/>
                </a:cxn>
                <a:cxn ang="0">
                  <a:pos x="connsiteX3" y="connsiteY3"/>
                </a:cxn>
              </a:cxnLst>
              <a:rect l="l" t="t" r="r" b="b"/>
              <a:pathLst>
                <a:path w="25089" h="13639">
                  <a:moveTo>
                    <a:pt x="21722" y="0"/>
                  </a:moveTo>
                  <a:lnTo>
                    <a:pt x="0" y="11114"/>
                  </a:lnTo>
                  <a:lnTo>
                    <a:pt x="3199" y="13639"/>
                  </a:lnTo>
                  <a:lnTo>
                    <a:pt x="25090" y="2526"/>
                  </a:lnTo>
                  <a:close/>
                </a:path>
              </a:pathLst>
            </a:custGeom>
            <a:solidFill>
              <a:srgbClr val="808189"/>
            </a:solidFill>
            <a:ln w="16828" cap="flat">
              <a:noFill/>
              <a:prstDash val="solid"/>
              <a:miter/>
            </a:ln>
          </p:spPr>
          <p:txBody>
            <a:bodyPr rtlCol="0" anchor="ctr"/>
            <a:lstStyle/>
            <a:p>
              <a:endParaRPr lang="en-IN"/>
            </a:p>
          </p:txBody>
        </p:sp>
        <p:sp>
          <p:nvSpPr>
            <p:cNvPr id="4703" name="Freeform: Shape 4702">
              <a:extLst>
                <a:ext uri="{FF2B5EF4-FFF2-40B4-BE49-F238E27FC236}">
                  <a16:creationId xmlns:a16="http://schemas.microsoft.com/office/drawing/2014/main" id="{B7681E53-A8F4-45DC-9764-05D5498962E2}"/>
                </a:ext>
              </a:extLst>
            </p:cNvPr>
            <p:cNvSpPr/>
            <p:nvPr/>
          </p:nvSpPr>
          <p:spPr>
            <a:xfrm>
              <a:off x="7320170" y="4408313"/>
              <a:ext cx="40076" cy="21385"/>
            </a:xfrm>
            <a:custGeom>
              <a:avLst/>
              <a:gdLst>
                <a:gd name="connsiteX0" fmla="*/ 36877 w 40076"/>
                <a:gd name="connsiteY0" fmla="*/ 0 h 21385"/>
                <a:gd name="connsiteX1" fmla="*/ 0 w 40076"/>
                <a:gd name="connsiteY1" fmla="*/ 18860 h 21385"/>
                <a:gd name="connsiteX2" fmla="*/ 3199 w 40076"/>
                <a:gd name="connsiteY2" fmla="*/ 21385 h 21385"/>
                <a:gd name="connsiteX3" fmla="*/ 40076 w 40076"/>
                <a:gd name="connsiteY3" fmla="*/ 2526 h 21385"/>
              </a:gdLst>
              <a:ahLst/>
              <a:cxnLst>
                <a:cxn ang="0">
                  <a:pos x="connsiteX0" y="connsiteY0"/>
                </a:cxn>
                <a:cxn ang="0">
                  <a:pos x="connsiteX1" y="connsiteY1"/>
                </a:cxn>
                <a:cxn ang="0">
                  <a:pos x="connsiteX2" y="connsiteY2"/>
                </a:cxn>
                <a:cxn ang="0">
                  <a:pos x="connsiteX3" y="connsiteY3"/>
                </a:cxn>
              </a:cxnLst>
              <a:rect l="l" t="t" r="r" b="b"/>
              <a:pathLst>
                <a:path w="40076" h="21385">
                  <a:moveTo>
                    <a:pt x="36877" y="0"/>
                  </a:moveTo>
                  <a:lnTo>
                    <a:pt x="0" y="18860"/>
                  </a:lnTo>
                  <a:lnTo>
                    <a:pt x="3199" y="21385"/>
                  </a:lnTo>
                  <a:lnTo>
                    <a:pt x="40076" y="2526"/>
                  </a:lnTo>
                  <a:close/>
                </a:path>
              </a:pathLst>
            </a:custGeom>
            <a:solidFill>
              <a:srgbClr val="808189"/>
            </a:solidFill>
            <a:ln w="16828" cap="flat">
              <a:noFill/>
              <a:prstDash val="solid"/>
              <a:miter/>
            </a:ln>
          </p:spPr>
          <p:txBody>
            <a:bodyPr rtlCol="0" anchor="ctr"/>
            <a:lstStyle/>
            <a:p>
              <a:endParaRPr lang="en-IN"/>
            </a:p>
          </p:txBody>
        </p:sp>
        <p:sp>
          <p:nvSpPr>
            <p:cNvPr id="4704" name="Freeform: Shape 4703">
              <a:extLst>
                <a:ext uri="{FF2B5EF4-FFF2-40B4-BE49-F238E27FC236}">
                  <a16:creationId xmlns:a16="http://schemas.microsoft.com/office/drawing/2014/main" id="{7BAB0114-15DD-4695-9D1B-D4856B035323}"/>
                </a:ext>
              </a:extLst>
            </p:cNvPr>
            <p:cNvSpPr/>
            <p:nvPr/>
          </p:nvSpPr>
          <p:spPr>
            <a:xfrm>
              <a:off x="7367824" y="4395516"/>
              <a:ext cx="17680" cy="9766"/>
            </a:xfrm>
            <a:custGeom>
              <a:avLst/>
              <a:gdLst>
                <a:gd name="connsiteX0" fmla="*/ 14481 w 17680"/>
                <a:gd name="connsiteY0" fmla="*/ 0 h 9766"/>
                <a:gd name="connsiteX1" fmla="*/ 0 w 17680"/>
                <a:gd name="connsiteY1" fmla="*/ 7409 h 9766"/>
                <a:gd name="connsiteX2" fmla="*/ 3199 w 17680"/>
                <a:gd name="connsiteY2" fmla="*/ 9767 h 9766"/>
                <a:gd name="connsiteX3" fmla="*/ 17681 w 17680"/>
                <a:gd name="connsiteY3" fmla="*/ 2357 h 9766"/>
              </a:gdLst>
              <a:ahLst/>
              <a:cxnLst>
                <a:cxn ang="0">
                  <a:pos x="connsiteX0" y="connsiteY0"/>
                </a:cxn>
                <a:cxn ang="0">
                  <a:pos x="connsiteX1" y="connsiteY1"/>
                </a:cxn>
                <a:cxn ang="0">
                  <a:pos x="connsiteX2" y="connsiteY2"/>
                </a:cxn>
                <a:cxn ang="0">
                  <a:pos x="connsiteX3" y="connsiteY3"/>
                </a:cxn>
              </a:cxnLst>
              <a:rect l="l" t="t" r="r" b="b"/>
              <a:pathLst>
                <a:path w="17680" h="9766">
                  <a:moveTo>
                    <a:pt x="14481" y="0"/>
                  </a:moveTo>
                  <a:lnTo>
                    <a:pt x="0" y="7409"/>
                  </a:lnTo>
                  <a:lnTo>
                    <a:pt x="3199" y="9767"/>
                  </a:lnTo>
                  <a:lnTo>
                    <a:pt x="17681" y="2357"/>
                  </a:lnTo>
                  <a:close/>
                </a:path>
              </a:pathLst>
            </a:custGeom>
            <a:solidFill>
              <a:srgbClr val="808189"/>
            </a:solidFill>
            <a:ln w="16828" cap="flat">
              <a:noFill/>
              <a:prstDash val="solid"/>
              <a:miter/>
            </a:ln>
          </p:spPr>
          <p:txBody>
            <a:bodyPr rtlCol="0" anchor="ctr"/>
            <a:lstStyle/>
            <a:p>
              <a:endParaRPr lang="en-IN"/>
            </a:p>
          </p:txBody>
        </p:sp>
      </p:grpSp>
      <p:pic>
        <p:nvPicPr>
          <p:cNvPr id="4705" name="Graphic 4704">
            <a:extLst>
              <a:ext uri="{FF2B5EF4-FFF2-40B4-BE49-F238E27FC236}">
                <a16:creationId xmlns:a16="http://schemas.microsoft.com/office/drawing/2014/main" id="{6EA45846-0B37-4032-AEF9-5DD9397AD2F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53412" y="4386262"/>
            <a:ext cx="514350" cy="561975"/>
          </a:xfrm>
          <a:prstGeom prst="rect">
            <a:avLst/>
          </a:prstGeom>
        </p:spPr>
      </p:pic>
      <p:pic>
        <p:nvPicPr>
          <p:cNvPr id="4706" name="Graphic 4705">
            <a:extLst>
              <a:ext uri="{FF2B5EF4-FFF2-40B4-BE49-F238E27FC236}">
                <a16:creationId xmlns:a16="http://schemas.microsoft.com/office/drawing/2014/main" id="{E9CF02AA-8BF5-4A81-AFD5-F1B3E5813C6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77363" y="4040187"/>
            <a:ext cx="342900" cy="514350"/>
          </a:xfrm>
          <a:prstGeom prst="rect">
            <a:avLst/>
          </a:prstGeom>
        </p:spPr>
      </p:pic>
      <p:pic>
        <p:nvPicPr>
          <p:cNvPr id="4707" name="Graphic 4706">
            <a:extLst>
              <a:ext uri="{FF2B5EF4-FFF2-40B4-BE49-F238E27FC236}">
                <a16:creationId xmlns:a16="http://schemas.microsoft.com/office/drawing/2014/main" id="{CA617B24-A593-4D70-94D9-EDAC002FDC1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801225" y="4914900"/>
            <a:ext cx="400050" cy="514350"/>
          </a:xfrm>
          <a:prstGeom prst="rect">
            <a:avLst/>
          </a:prstGeom>
        </p:spPr>
      </p:pic>
      <p:sp>
        <p:nvSpPr>
          <p:cNvPr id="804" name="TextBox 803">
            <a:extLst>
              <a:ext uri="{FF2B5EF4-FFF2-40B4-BE49-F238E27FC236}">
                <a16:creationId xmlns:a16="http://schemas.microsoft.com/office/drawing/2014/main" id="{B88A937F-1D0D-46FB-954F-1D90339F98FA}"/>
              </a:ext>
            </a:extLst>
          </p:cNvPr>
          <p:cNvSpPr txBox="1"/>
          <p:nvPr/>
        </p:nvSpPr>
        <p:spPr>
          <a:xfrm>
            <a:off x="10091738" y="4459492"/>
            <a:ext cx="651366"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lvl="0">
              <a:defRPr/>
            </a:pPr>
            <a:r>
              <a:rPr lang="en-US" sz="1000">
                <a:solidFill>
                  <a:srgbClr val="3C3C41"/>
                </a:solidFill>
              </a:rPr>
              <a:t>Balance</a:t>
            </a:r>
            <a:br>
              <a:rPr lang="en-US" sz="1000">
                <a:solidFill>
                  <a:srgbClr val="3C3C41"/>
                </a:solidFill>
              </a:rPr>
            </a:br>
            <a:r>
              <a:rPr lang="en-US" sz="1000">
                <a:solidFill>
                  <a:srgbClr val="3C3C41"/>
                </a:solidFill>
              </a:rPr>
              <a:t>sheets</a:t>
            </a:r>
          </a:p>
        </p:txBody>
      </p:sp>
      <p:pic>
        <p:nvPicPr>
          <p:cNvPr id="4708" name="Graphic 4707">
            <a:extLst>
              <a:ext uri="{FF2B5EF4-FFF2-40B4-BE49-F238E27FC236}">
                <a16:creationId xmlns:a16="http://schemas.microsoft.com/office/drawing/2014/main" id="{5BD89AB7-F7DD-470C-9394-948BB8A6D4F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844212" y="4661054"/>
            <a:ext cx="461963" cy="450696"/>
          </a:xfrm>
          <a:prstGeom prst="rect">
            <a:avLst/>
          </a:prstGeom>
        </p:spPr>
      </p:pic>
      <p:pic>
        <p:nvPicPr>
          <p:cNvPr id="4709" name="Graphic 4708">
            <a:extLst>
              <a:ext uri="{FF2B5EF4-FFF2-40B4-BE49-F238E27FC236}">
                <a16:creationId xmlns:a16="http://schemas.microsoft.com/office/drawing/2014/main" id="{E8C28BAC-BF64-41A3-8CFB-8AE14C4990E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566660" y="2186940"/>
            <a:ext cx="486784" cy="689610"/>
          </a:xfrm>
          <a:prstGeom prst="rect">
            <a:avLst/>
          </a:prstGeom>
        </p:spPr>
      </p:pic>
      <p:pic>
        <p:nvPicPr>
          <p:cNvPr id="4710" name="Graphic 4709">
            <a:extLst>
              <a:ext uri="{FF2B5EF4-FFF2-40B4-BE49-F238E27FC236}">
                <a16:creationId xmlns:a16="http://schemas.microsoft.com/office/drawing/2014/main" id="{458FA79A-CA82-44E3-B90E-758EDF8BB94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005763" y="1382077"/>
            <a:ext cx="438150" cy="533400"/>
          </a:xfrm>
          <a:prstGeom prst="rect">
            <a:avLst/>
          </a:prstGeom>
        </p:spPr>
      </p:pic>
      <p:pic>
        <p:nvPicPr>
          <p:cNvPr id="4711" name="Graphic 4710">
            <a:extLst>
              <a:ext uri="{FF2B5EF4-FFF2-40B4-BE49-F238E27FC236}">
                <a16:creationId xmlns:a16="http://schemas.microsoft.com/office/drawing/2014/main" id="{423B092F-D986-4E49-BEA1-356D1AD6C7C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744610" y="1940990"/>
            <a:ext cx="302418" cy="443546"/>
          </a:xfrm>
          <a:prstGeom prst="rect">
            <a:avLst/>
          </a:prstGeom>
        </p:spPr>
      </p:pic>
      <p:grpSp>
        <p:nvGrpSpPr>
          <p:cNvPr id="4713" name="Graphic 4711">
            <a:extLst>
              <a:ext uri="{FF2B5EF4-FFF2-40B4-BE49-F238E27FC236}">
                <a16:creationId xmlns:a16="http://schemas.microsoft.com/office/drawing/2014/main" id="{2CE7B2AF-48A2-4D6A-B3EF-8D671D43F7A5}"/>
              </a:ext>
            </a:extLst>
          </p:cNvPr>
          <p:cNvGrpSpPr/>
          <p:nvPr/>
        </p:nvGrpSpPr>
        <p:grpSpPr>
          <a:xfrm>
            <a:off x="6563778" y="1892899"/>
            <a:ext cx="613854" cy="285211"/>
            <a:chOff x="5586412" y="2038507"/>
            <a:chExt cx="613854" cy="285211"/>
          </a:xfrm>
          <a:solidFill>
            <a:schemeClr val="accent1"/>
          </a:solidFill>
        </p:grpSpPr>
        <p:grpSp>
          <p:nvGrpSpPr>
            <p:cNvPr id="4714" name="Graphic 4711">
              <a:extLst>
                <a:ext uri="{FF2B5EF4-FFF2-40B4-BE49-F238E27FC236}">
                  <a16:creationId xmlns:a16="http://schemas.microsoft.com/office/drawing/2014/main" id="{2CE7B2AF-48A2-4D6A-B3EF-8D671D43F7A5}"/>
                </a:ext>
              </a:extLst>
            </p:cNvPr>
            <p:cNvGrpSpPr/>
            <p:nvPr/>
          </p:nvGrpSpPr>
          <p:grpSpPr>
            <a:xfrm>
              <a:off x="5586412" y="2140957"/>
              <a:ext cx="307181" cy="182761"/>
              <a:chOff x="5586412" y="2140957"/>
              <a:chExt cx="307181" cy="182761"/>
            </a:xfrm>
            <a:solidFill>
              <a:schemeClr val="accent1"/>
            </a:solidFill>
          </p:grpSpPr>
          <p:sp>
            <p:nvSpPr>
              <p:cNvPr id="4715" name="Freeform: Shape 4714">
                <a:extLst>
                  <a:ext uri="{FF2B5EF4-FFF2-40B4-BE49-F238E27FC236}">
                    <a16:creationId xmlns:a16="http://schemas.microsoft.com/office/drawing/2014/main" id="{44E8D43B-F9EB-4B00-B04F-AC06C7ABFBD2}"/>
                  </a:ext>
                </a:extLst>
              </p:cNvPr>
              <p:cNvSpPr/>
              <p:nvPr/>
            </p:nvSpPr>
            <p:spPr>
              <a:xfrm>
                <a:off x="5586412" y="2140957"/>
                <a:ext cx="307181" cy="182761"/>
              </a:xfrm>
              <a:custGeom>
                <a:avLst/>
                <a:gdLst>
                  <a:gd name="connsiteX0" fmla="*/ 0 w 307181"/>
                  <a:gd name="connsiteY0" fmla="*/ 71605 h 182761"/>
                  <a:gd name="connsiteX1" fmla="*/ 72104 w 307181"/>
                  <a:gd name="connsiteY1" fmla="*/ 106276 h 182761"/>
                  <a:gd name="connsiteX2" fmla="*/ 181547 w 307181"/>
                  <a:gd name="connsiteY2" fmla="*/ 182762 h 182761"/>
                  <a:gd name="connsiteX3" fmla="*/ 307181 w 307181"/>
                  <a:gd name="connsiteY3" fmla="*/ 109610 h 182761"/>
                  <a:gd name="connsiteX4" fmla="*/ 224219 w 307181"/>
                  <a:gd name="connsiteY4" fmla="*/ 51698 h 182761"/>
                  <a:gd name="connsiteX5" fmla="*/ 123253 w 307181"/>
                  <a:gd name="connsiteY5" fmla="*/ 930 h 182761"/>
                  <a:gd name="connsiteX6" fmla="*/ 0 w 307181"/>
                  <a:gd name="connsiteY6" fmla="*/ 71605 h 18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181" h="182761">
                    <a:moveTo>
                      <a:pt x="0" y="71605"/>
                    </a:moveTo>
                    <a:cubicBezTo>
                      <a:pt x="0" y="71605"/>
                      <a:pt x="32480" y="70748"/>
                      <a:pt x="72104" y="106276"/>
                    </a:cubicBezTo>
                    <a:cubicBezTo>
                      <a:pt x="111728" y="141804"/>
                      <a:pt x="181547" y="182762"/>
                      <a:pt x="181547" y="182762"/>
                    </a:cubicBezTo>
                    <a:lnTo>
                      <a:pt x="307181" y="109610"/>
                    </a:lnTo>
                    <a:cubicBezTo>
                      <a:pt x="307181" y="109610"/>
                      <a:pt x="232029" y="58842"/>
                      <a:pt x="224219" y="51698"/>
                    </a:cubicBezTo>
                    <a:cubicBezTo>
                      <a:pt x="216408" y="44554"/>
                      <a:pt x="162592" y="-7548"/>
                      <a:pt x="123253" y="930"/>
                    </a:cubicBezTo>
                    <a:cubicBezTo>
                      <a:pt x="91440" y="19408"/>
                      <a:pt x="0" y="71605"/>
                      <a:pt x="0" y="71605"/>
                    </a:cubicBezTo>
                    <a:close/>
                  </a:path>
                </a:pathLst>
              </a:custGeom>
              <a:solidFill>
                <a:schemeClr val="bg1"/>
              </a:solidFill>
              <a:ln w="0" cap="flat">
                <a:solidFill>
                  <a:schemeClr val="bg1">
                    <a:lumMod val="75000"/>
                  </a:schemeClr>
                </a:solidFill>
                <a:prstDash val="solid"/>
                <a:miter/>
              </a:ln>
            </p:spPr>
            <p:txBody>
              <a:bodyPr rtlCol="0" anchor="ctr"/>
              <a:lstStyle/>
              <a:p>
                <a:endParaRPr lang="en-IN"/>
              </a:p>
            </p:txBody>
          </p:sp>
          <p:grpSp>
            <p:nvGrpSpPr>
              <p:cNvPr id="4716" name="Graphic 4711">
                <a:extLst>
                  <a:ext uri="{FF2B5EF4-FFF2-40B4-BE49-F238E27FC236}">
                    <a16:creationId xmlns:a16="http://schemas.microsoft.com/office/drawing/2014/main" id="{2CE7B2AF-48A2-4D6A-B3EF-8D671D43F7A5}"/>
                  </a:ext>
                </a:extLst>
              </p:cNvPr>
              <p:cNvGrpSpPr/>
              <p:nvPr/>
            </p:nvGrpSpPr>
            <p:grpSpPr>
              <a:xfrm>
                <a:off x="5656135" y="2169985"/>
                <a:ext cx="58292" cy="30384"/>
                <a:chOff x="5656135" y="2169985"/>
                <a:chExt cx="58292" cy="30384"/>
              </a:xfrm>
              <a:solidFill>
                <a:srgbClr val="000000"/>
              </a:solidFill>
            </p:grpSpPr>
            <p:sp>
              <p:nvSpPr>
                <p:cNvPr id="4717" name="Freeform: Shape 4716">
                  <a:extLst>
                    <a:ext uri="{FF2B5EF4-FFF2-40B4-BE49-F238E27FC236}">
                      <a16:creationId xmlns:a16="http://schemas.microsoft.com/office/drawing/2014/main" id="{E639F5D1-1EEA-4724-A230-128DB53732F7}"/>
                    </a:ext>
                  </a:extLst>
                </p:cNvPr>
                <p:cNvSpPr/>
                <p:nvPr/>
              </p:nvSpPr>
              <p:spPr>
                <a:xfrm>
                  <a:off x="5656135" y="2185303"/>
                  <a:ext cx="24764" cy="15067"/>
                </a:xfrm>
                <a:custGeom>
                  <a:avLst/>
                  <a:gdLst>
                    <a:gd name="connsiteX0" fmla="*/ 19336 w 24764"/>
                    <a:gd name="connsiteY0" fmla="*/ 11829 h 15067"/>
                    <a:gd name="connsiteX1" fmla="*/ 17336 w 24764"/>
                    <a:gd name="connsiteY1" fmla="*/ 12876 h 15067"/>
                    <a:gd name="connsiteX2" fmla="*/ 10858 w 24764"/>
                    <a:gd name="connsiteY2" fmla="*/ 8781 h 15067"/>
                    <a:gd name="connsiteX3" fmla="*/ 12668 w 24764"/>
                    <a:gd name="connsiteY3" fmla="*/ 7733 h 15067"/>
                    <a:gd name="connsiteX4" fmla="*/ 20383 w 24764"/>
                    <a:gd name="connsiteY4" fmla="*/ 7257 h 15067"/>
                    <a:gd name="connsiteX5" fmla="*/ 19336 w 24764"/>
                    <a:gd name="connsiteY5" fmla="*/ 11829 h 15067"/>
                    <a:gd name="connsiteX6" fmla="*/ 9144 w 24764"/>
                    <a:gd name="connsiteY6" fmla="*/ 7637 h 15067"/>
                    <a:gd name="connsiteX7" fmla="*/ 3619 w 24764"/>
                    <a:gd name="connsiteY7" fmla="*/ 4209 h 15067"/>
                    <a:gd name="connsiteX8" fmla="*/ 5429 w 24764"/>
                    <a:gd name="connsiteY8" fmla="*/ 2970 h 15067"/>
                    <a:gd name="connsiteX9" fmla="*/ 12001 w 24764"/>
                    <a:gd name="connsiteY9" fmla="*/ 2589 h 15067"/>
                    <a:gd name="connsiteX10" fmla="*/ 11144 w 24764"/>
                    <a:gd name="connsiteY10" fmla="*/ 6590 h 15067"/>
                    <a:gd name="connsiteX11" fmla="*/ 9144 w 24764"/>
                    <a:gd name="connsiteY11" fmla="*/ 7637 h 15067"/>
                    <a:gd name="connsiteX12" fmla="*/ 3715 w 24764"/>
                    <a:gd name="connsiteY12" fmla="*/ 1923 h 15067"/>
                    <a:gd name="connsiteX13" fmla="*/ 0 w 24764"/>
                    <a:gd name="connsiteY13" fmla="*/ 4494 h 15067"/>
                    <a:gd name="connsiteX14" fmla="*/ 16764 w 24764"/>
                    <a:gd name="connsiteY14" fmla="*/ 15067 h 15067"/>
                    <a:gd name="connsiteX15" fmla="*/ 20383 w 24764"/>
                    <a:gd name="connsiteY15" fmla="*/ 13162 h 15067"/>
                    <a:gd name="connsiteX16" fmla="*/ 24765 w 24764"/>
                    <a:gd name="connsiteY16" fmla="*/ 8685 h 15067"/>
                    <a:gd name="connsiteX17" fmla="*/ 22765 w 24764"/>
                    <a:gd name="connsiteY17" fmla="*/ 5733 h 15067"/>
                    <a:gd name="connsiteX18" fmla="*/ 14954 w 24764"/>
                    <a:gd name="connsiteY18" fmla="*/ 5066 h 15067"/>
                    <a:gd name="connsiteX19" fmla="*/ 14859 w 24764"/>
                    <a:gd name="connsiteY19" fmla="*/ 5066 h 15067"/>
                    <a:gd name="connsiteX20" fmla="*/ 14002 w 24764"/>
                    <a:gd name="connsiteY20" fmla="*/ 1065 h 15067"/>
                    <a:gd name="connsiteX21" fmla="*/ 9525 w 24764"/>
                    <a:gd name="connsiteY21" fmla="*/ 18 h 15067"/>
                    <a:gd name="connsiteX22" fmla="*/ 3715 w 24764"/>
                    <a:gd name="connsiteY22" fmla="*/ 1923 h 1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764" h="15067">
                      <a:moveTo>
                        <a:pt x="19336" y="11829"/>
                      </a:moveTo>
                      <a:cubicBezTo>
                        <a:pt x="18574" y="12305"/>
                        <a:pt x="17907" y="12591"/>
                        <a:pt x="17336" y="12876"/>
                      </a:cubicBezTo>
                      <a:lnTo>
                        <a:pt x="10858" y="8781"/>
                      </a:lnTo>
                      <a:lnTo>
                        <a:pt x="12668" y="7733"/>
                      </a:lnTo>
                      <a:cubicBezTo>
                        <a:pt x="15049" y="6304"/>
                        <a:pt x="18098" y="5733"/>
                        <a:pt x="20383" y="7257"/>
                      </a:cubicBezTo>
                      <a:cubicBezTo>
                        <a:pt x="22860" y="8685"/>
                        <a:pt x="21622" y="10495"/>
                        <a:pt x="19336" y="11829"/>
                      </a:cubicBezTo>
                      <a:moveTo>
                        <a:pt x="9144" y="7637"/>
                      </a:moveTo>
                      <a:lnTo>
                        <a:pt x="3619" y="4209"/>
                      </a:lnTo>
                      <a:cubicBezTo>
                        <a:pt x="3905" y="3923"/>
                        <a:pt x="4382" y="3542"/>
                        <a:pt x="5429" y="2970"/>
                      </a:cubicBezTo>
                      <a:cubicBezTo>
                        <a:pt x="7715" y="1637"/>
                        <a:pt x="10001" y="1256"/>
                        <a:pt x="12001" y="2589"/>
                      </a:cubicBezTo>
                      <a:cubicBezTo>
                        <a:pt x="13621" y="3637"/>
                        <a:pt x="13525" y="5161"/>
                        <a:pt x="11144" y="6590"/>
                      </a:cubicBezTo>
                      <a:lnTo>
                        <a:pt x="9144" y="7637"/>
                      </a:lnTo>
                      <a:moveTo>
                        <a:pt x="3715" y="1923"/>
                      </a:moveTo>
                      <a:cubicBezTo>
                        <a:pt x="2191" y="2780"/>
                        <a:pt x="762" y="3828"/>
                        <a:pt x="0" y="4494"/>
                      </a:cubicBezTo>
                      <a:lnTo>
                        <a:pt x="16764" y="15067"/>
                      </a:lnTo>
                      <a:cubicBezTo>
                        <a:pt x="17621" y="14686"/>
                        <a:pt x="18860" y="14115"/>
                        <a:pt x="20383" y="13162"/>
                      </a:cubicBezTo>
                      <a:cubicBezTo>
                        <a:pt x="23146" y="11543"/>
                        <a:pt x="24574" y="10114"/>
                        <a:pt x="24765" y="8685"/>
                      </a:cubicBezTo>
                      <a:cubicBezTo>
                        <a:pt x="24765" y="7637"/>
                        <a:pt x="24289" y="6590"/>
                        <a:pt x="22765" y="5733"/>
                      </a:cubicBezTo>
                      <a:cubicBezTo>
                        <a:pt x="20193" y="4113"/>
                        <a:pt x="16955" y="4399"/>
                        <a:pt x="14954" y="5066"/>
                      </a:cubicBezTo>
                      <a:lnTo>
                        <a:pt x="14859" y="5066"/>
                      </a:lnTo>
                      <a:cubicBezTo>
                        <a:pt x="16002" y="3637"/>
                        <a:pt x="15621" y="2018"/>
                        <a:pt x="14002" y="1065"/>
                      </a:cubicBezTo>
                      <a:cubicBezTo>
                        <a:pt x="12668" y="208"/>
                        <a:pt x="11144" y="-78"/>
                        <a:pt x="9525" y="18"/>
                      </a:cubicBezTo>
                      <a:cubicBezTo>
                        <a:pt x="7715" y="113"/>
                        <a:pt x="5905" y="684"/>
                        <a:pt x="3715" y="1923"/>
                      </a:cubicBezTo>
                    </a:path>
                  </a:pathLst>
                </a:custGeom>
                <a:solidFill>
                  <a:srgbClr val="000000"/>
                </a:solidFill>
                <a:ln w="9525" cap="flat">
                  <a:noFill/>
                  <a:prstDash val="solid"/>
                  <a:miter/>
                </a:ln>
              </p:spPr>
              <p:txBody>
                <a:bodyPr rtlCol="0" anchor="ctr"/>
                <a:lstStyle/>
                <a:p>
                  <a:endParaRPr lang="en-IN"/>
                </a:p>
              </p:txBody>
            </p:sp>
            <p:sp>
              <p:nvSpPr>
                <p:cNvPr id="4718" name="Freeform: Shape 4717">
                  <a:extLst>
                    <a:ext uri="{FF2B5EF4-FFF2-40B4-BE49-F238E27FC236}">
                      <a16:creationId xmlns:a16="http://schemas.microsoft.com/office/drawing/2014/main" id="{E3481AAC-71A7-42CA-90C8-32ED56927FF6}"/>
                    </a:ext>
                  </a:extLst>
                </p:cNvPr>
                <p:cNvSpPr/>
                <p:nvPr/>
              </p:nvSpPr>
              <p:spPr>
                <a:xfrm>
                  <a:off x="5669660" y="2180463"/>
                  <a:ext cx="19335" cy="12001"/>
                </a:xfrm>
                <a:custGeom>
                  <a:avLst/>
                  <a:gdLst>
                    <a:gd name="connsiteX0" fmla="*/ 2286 w 19335"/>
                    <a:gd name="connsiteY0" fmla="*/ 0 h 12001"/>
                    <a:gd name="connsiteX1" fmla="*/ 0 w 19335"/>
                    <a:gd name="connsiteY1" fmla="*/ 1238 h 12001"/>
                    <a:gd name="connsiteX2" fmla="*/ 17050 w 19335"/>
                    <a:gd name="connsiteY2" fmla="*/ 12002 h 12001"/>
                    <a:gd name="connsiteX3" fmla="*/ 19336 w 19335"/>
                    <a:gd name="connsiteY3" fmla="*/ 10763 h 12001"/>
                    <a:gd name="connsiteX4" fmla="*/ 2286 w 19335"/>
                    <a:gd name="connsiteY4" fmla="*/ 0 h 12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35" h="12001">
                      <a:moveTo>
                        <a:pt x="2286" y="0"/>
                      </a:moveTo>
                      <a:lnTo>
                        <a:pt x="0" y="1238"/>
                      </a:lnTo>
                      <a:lnTo>
                        <a:pt x="17050" y="12002"/>
                      </a:lnTo>
                      <a:lnTo>
                        <a:pt x="19336" y="10763"/>
                      </a:lnTo>
                      <a:lnTo>
                        <a:pt x="2286" y="0"/>
                      </a:lnTo>
                    </a:path>
                  </a:pathLst>
                </a:custGeom>
                <a:solidFill>
                  <a:srgbClr val="000000"/>
                </a:solidFill>
                <a:ln w="9525" cap="flat">
                  <a:noFill/>
                  <a:prstDash val="solid"/>
                  <a:miter/>
                </a:ln>
              </p:spPr>
              <p:txBody>
                <a:bodyPr rtlCol="0" anchor="ctr"/>
                <a:lstStyle/>
                <a:p>
                  <a:endParaRPr lang="en-IN"/>
                </a:p>
              </p:txBody>
            </p:sp>
            <p:sp>
              <p:nvSpPr>
                <p:cNvPr id="4719" name="Freeform: Shape 4718">
                  <a:extLst>
                    <a:ext uri="{FF2B5EF4-FFF2-40B4-BE49-F238E27FC236}">
                      <a16:creationId xmlns:a16="http://schemas.microsoft.com/office/drawing/2014/main" id="{9B9EC2BC-8630-47C3-9F26-FBA37749F50D}"/>
                    </a:ext>
                  </a:extLst>
                </p:cNvPr>
                <p:cNvSpPr/>
                <p:nvPr/>
              </p:nvSpPr>
              <p:spPr>
                <a:xfrm>
                  <a:off x="5675756" y="2176938"/>
                  <a:ext cx="26670" cy="12001"/>
                </a:xfrm>
                <a:custGeom>
                  <a:avLst/>
                  <a:gdLst>
                    <a:gd name="connsiteX0" fmla="*/ 2286 w 26670"/>
                    <a:gd name="connsiteY0" fmla="*/ 0 h 12001"/>
                    <a:gd name="connsiteX1" fmla="*/ 0 w 26670"/>
                    <a:gd name="connsiteY1" fmla="*/ 1238 h 12001"/>
                    <a:gd name="connsiteX2" fmla="*/ 17050 w 26670"/>
                    <a:gd name="connsiteY2" fmla="*/ 12002 h 12001"/>
                    <a:gd name="connsiteX3" fmla="*/ 26670 w 26670"/>
                    <a:gd name="connsiteY3" fmla="*/ 6477 h 12001"/>
                    <a:gd name="connsiteX4" fmla="*/ 24765 w 26670"/>
                    <a:gd name="connsiteY4" fmla="*/ 5334 h 12001"/>
                    <a:gd name="connsiteX5" fmla="*/ 17431 w 26670"/>
                    <a:gd name="connsiteY5" fmla="*/ 9525 h 12001"/>
                    <a:gd name="connsiteX6" fmla="*/ 2286 w 26670"/>
                    <a:gd name="connsiteY6" fmla="*/ 0 h 1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 h="12001">
                      <a:moveTo>
                        <a:pt x="2286" y="0"/>
                      </a:moveTo>
                      <a:lnTo>
                        <a:pt x="0" y="1238"/>
                      </a:lnTo>
                      <a:lnTo>
                        <a:pt x="17050" y="12002"/>
                      </a:lnTo>
                      <a:lnTo>
                        <a:pt x="26670" y="6477"/>
                      </a:lnTo>
                      <a:lnTo>
                        <a:pt x="24765" y="5334"/>
                      </a:lnTo>
                      <a:lnTo>
                        <a:pt x="17431" y="9525"/>
                      </a:lnTo>
                      <a:lnTo>
                        <a:pt x="2286" y="0"/>
                      </a:lnTo>
                    </a:path>
                  </a:pathLst>
                </a:custGeom>
                <a:solidFill>
                  <a:srgbClr val="000000"/>
                </a:solidFill>
                <a:ln w="9525" cap="flat">
                  <a:noFill/>
                  <a:prstDash val="solid"/>
                  <a:miter/>
                </a:ln>
              </p:spPr>
              <p:txBody>
                <a:bodyPr rtlCol="0" anchor="ctr"/>
                <a:lstStyle/>
                <a:p>
                  <a:endParaRPr lang="en-IN"/>
                </a:p>
              </p:txBody>
            </p:sp>
            <p:sp>
              <p:nvSpPr>
                <p:cNvPr id="4720" name="Freeform: Shape 4719">
                  <a:extLst>
                    <a:ext uri="{FF2B5EF4-FFF2-40B4-BE49-F238E27FC236}">
                      <a16:creationId xmlns:a16="http://schemas.microsoft.com/office/drawing/2014/main" id="{5D42D0AD-EE86-4734-A911-7CF06B38B491}"/>
                    </a:ext>
                  </a:extLst>
                </p:cNvPr>
                <p:cNvSpPr/>
                <p:nvPr/>
              </p:nvSpPr>
              <p:spPr>
                <a:xfrm>
                  <a:off x="5687853" y="2169985"/>
                  <a:ext cx="26574" cy="12001"/>
                </a:xfrm>
                <a:custGeom>
                  <a:avLst/>
                  <a:gdLst>
                    <a:gd name="connsiteX0" fmla="*/ 2191 w 26574"/>
                    <a:gd name="connsiteY0" fmla="*/ 0 h 12001"/>
                    <a:gd name="connsiteX1" fmla="*/ 0 w 26574"/>
                    <a:gd name="connsiteY1" fmla="*/ 1238 h 12001"/>
                    <a:gd name="connsiteX2" fmla="*/ 17050 w 26574"/>
                    <a:gd name="connsiteY2" fmla="*/ 12002 h 12001"/>
                    <a:gd name="connsiteX3" fmla="*/ 26575 w 26574"/>
                    <a:gd name="connsiteY3" fmla="*/ 6477 h 12001"/>
                    <a:gd name="connsiteX4" fmla="*/ 24765 w 26574"/>
                    <a:gd name="connsiteY4" fmla="*/ 5334 h 12001"/>
                    <a:gd name="connsiteX5" fmla="*/ 17431 w 26574"/>
                    <a:gd name="connsiteY5" fmla="*/ 9620 h 12001"/>
                    <a:gd name="connsiteX6" fmla="*/ 2191 w 26574"/>
                    <a:gd name="connsiteY6" fmla="*/ 0 h 1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74" h="12001">
                      <a:moveTo>
                        <a:pt x="2191" y="0"/>
                      </a:moveTo>
                      <a:lnTo>
                        <a:pt x="0" y="1238"/>
                      </a:lnTo>
                      <a:lnTo>
                        <a:pt x="17050" y="12002"/>
                      </a:lnTo>
                      <a:lnTo>
                        <a:pt x="26575" y="6477"/>
                      </a:lnTo>
                      <a:lnTo>
                        <a:pt x="24765" y="5334"/>
                      </a:lnTo>
                      <a:lnTo>
                        <a:pt x="17431" y="9620"/>
                      </a:lnTo>
                      <a:lnTo>
                        <a:pt x="2191" y="0"/>
                      </a:lnTo>
                    </a:path>
                  </a:pathLst>
                </a:custGeom>
                <a:solidFill>
                  <a:srgbClr val="000000"/>
                </a:solidFill>
                <a:ln w="9525" cap="flat">
                  <a:noFill/>
                  <a:prstDash val="solid"/>
                  <a:miter/>
                </a:ln>
              </p:spPr>
              <p:txBody>
                <a:bodyPr rtlCol="0" anchor="ctr"/>
                <a:lstStyle/>
                <a:p>
                  <a:endParaRPr lang="en-IN"/>
                </a:p>
              </p:txBody>
            </p:sp>
          </p:grpSp>
          <p:sp>
            <p:nvSpPr>
              <p:cNvPr id="4721" name="Freeform: Shape 4720">
                <a:extLst>
                  <a:ext uri="{FF2B5EF4-FFF2-40B4-BE49-F238E27FC236}">
                    <a16:creationId xmlns:a16="http://schemas.microsoft.com/office/drawing/2014/main" id="{F98500BF-795E-4CFE-8D49-514A63EE53F8}"/>
                  </a:ext>
                </a:extLst>
              </p:cNvPr>
              <p:cNvSpPr/>
              <p:nvPr/>
            </p:nvSpPr>
            <p:spPr>
              <a:xfrm>
                <a:off x="5668708" y="2177796"/>
                <a:ext cx="179736" cy="113919"/>
              </a:xfrm>
              <a:custGeom>
                <a:avLst/>
                <a:gdLst>
                  <a:gd name="connsiteX0" fmla="*/ 92869 w 179736"/>
                  <a:gd name="connsiteY0" fmla="*/ 113919 h 113919"/>
                  <a:gd name="connsiteX1" fmla="*/ 0 w 179736"/>
                  <a:gd name="connsiteY1" fmla="*/ 43624 h 113919"/>
                  <a:gd name="connsiteX2" fmla="*/ 78867 w 179736"/>
                  <a:gd name="connsiteY2" fmla="*/ 0 h 113919"/>
                  <a:gd name="connsiteX3" fmla="*/ 179737 w 179736"/>
                  <a:gd name="connsiteY3" fmla="*/ 71152 h 113919"/>
                </a:gdLst>
                <a:ahLst/>
                <a:cxnLst>
                  <a:cxn ang="0">
                    <a:pos x="connsiteX0" y="connsiteY0"/>
                  </a:cxn>
                  <a:cxn ang="0">
                    <a:pos x="connsiteX1" y="connsiteY1"/>
                  </a:cxn>
                  <a:cxn ang="0">
                    <a:pos x="connsiteX2" y="connsiteY2"/>
                  </a:cxn>
                  <a:cxn ang="0">
                    <a:pos x="connsiteX3" y="connsiteY3"/>
                  </a:cxn>
                </a:cxnLst>
                <a:rect l="l" t="t" r="r" b="b"/>
                <a:pathLst>
                  <a:path w="179736" h="113919">
                    <a:moveTo>
                      <a:pt x="92869" y="113919"/>
                    </a:moveTo>
                    <a:lnTo>
                      <a:pt x="0" y="43624"/>
                    </a:lnTo>
                    <a:lnTo>
                      <a:pt x="78867" y="0"/>
                    </a:lnTo>
                    <a:lnTo>
                      <a:pt x="179737" y="71152"/>
                    </a:lnTo>
                    <a:close/>
                  </a:path>
                </a:pathLst>
              </a:custGeom>
              <a:noFill/>
              <a:ln w="9525" cap="flat">
                <a:noFill/>
                <a:prstDash val="solid"/>
                <a:miter/>
              </a:ln>
            </p:spPr>
            <p:txBody>
              <a:bodyPr rtlCol="0" anchor="ctr"/>
              <a:lstStyle/>
              <a:p>
                <a:endParaRPr lang="en-IN"/>
              </a:p>
            </p:txBody>
          </p:sp>
          <p:grpSp>
            <p:nvGrpSpPr>
              <p:cNvPr id="4722" name="Graphic 4711">
                <a:extLst>
                  <a:ext uri="{FF2B5EF4-FFF2-40B4-BE49-F238E27FC236}">
                    <a16:creationId xmlns:a16="http://schemas.microsoft.com/office/drawing/2014/main" id="{2CE7B2AF-48A2-4D6A-B3EF-8D671D43F7A5}"/>
                  </a:ext>
                </a:extLst>
              </p:cNvPr>
              <p:cNvGrpSpPr/>
              <p:nvPr/>
            </p:nvGrpSpPr>
            <p:grpSpPr>
              <a:xfrm>
                <a:off x="5668708" y="2188654"/>
                <a:ext cx="179736" cy="103060"/>
                <a:chOff x="5668708" y="2188654"/>
                <a:chExt cx="179736" cy="103060"/>
              </a:xfrm>
              <a:solidFill>
                <a:srgbClr val="383838"/>
              </a:solidFill>
            </p:grpSpPr>
            <p:sp>
              <p:nvSpPr>
                <p:cNvPr id="4723" name="Freeform: Shape 4722">
                  <a:extLst>
                    <a:ext uri="{FF2B5EF4-FFF2-40B4-BE49-F238E27FC236}">
                      <a16:creationId xmlns:a16="http://schemas.microsoft.com/office/drawing/2014/main" id="{A03E212B-9411-47BD-8986-B5969C3050EF}"/>
                    </a:ext>
                  </a:extLst>
                </p:cNvPr>
                <p:cNvSpPr/>
                <p:nvPr/>
              </p:nvSpPr>
              <p:spPr>
                <a:xfrm>
                  <a:off x="5668708" y="2203894"/>
                  <a:ext cx="38195" cy="22288"/>
                </a:xfrm>
                <a:custGeom>
                  <a:avLst/>
                  <a:gdLst>
                    <a:gd name="connsiteX0" fmla="*/ 31623 w 38195"/>
                    <a:gd name="connsiteY0" fmla="*/ 0 h 22288"/>
                    <a:gd name="connsiteX1" fmla="*/ 0 w 38195"/>
                    <a:gd name="connsiteY1" fmla="*/ 17526 h 22288"/>
                    <a:gd name="connsiteX2" fmla="*/ 6382 w 38195"/>
                    <a:gd name="connsiteY2" fmla="*/ 22289 h 22288"/>
                    <a:gd name="connsiteX3" fmla="*/ 38195 w 38195"/>
                    <a:gd name="connsiteY3" fmla="*/ 4858 h 22288"/>
                    <a:gd name="connsiteX4" fmla="*/ 31623 w 38195"/>
                    <a:gd name="connsiteY4" fmla="*/ 0 h 22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5" h="22288">
                      <a:moveTo>
                        <a:pt x="31623" y="0"/>
                      </a:moveTo>
                      <a:lnTo>
                        <a:pt x="0" y="17526"/>
                      </a:lnTo>
                      <a:lnTo>
                        <a:pt x="6382" y="22289"/>
                      </a:lnTo>
                      <a:lnTo>
                        <a:pt x="38195" y="4858"/>
                      </a:lnTo>
                      <a:lnTo>
                        <a:pt x="31623" y="0"/>
                      </a:lnTo>
                    </a:path>
                  </a:pathLst>
                </a:custGeom>
                <a:solidFill>
                  <a:srgbClr val="383838"/>
                </a:solidFill>
                <a:ln w="9525" cap="flat">
                  <a:noFill/>
                  <a:prstDash val="solid"/>
                  <a:miter/>
                </a:ln>
              </p:spPr>
              <p:txBody>
                <a:bodyPr rtlCol="0" anchor="ctr"/>
                <a:lstStyle/>
                <a:p>
                  <a:endParaRPr lang="en-IN"/>
                </a:p>
              </p:txBody>
            </p:sp>
            <p:sp>
              <p:nvSpPr>
                <p:cNvPr id="4724" name="Freeform: Shape 4723">
                  <a:extLst>
                    <a:ext uri="{FF2B5EF4-FFF2-40B4-BE49-F238E27FC236}">
                      <a16:creationId xmlns:a16="http://schemas.microsoft.com/office/drawing/2014/main" id="{117B34D8-8951-4923-B2B8-677C9EE66253}"/>
                    </a:ext>
                  </a:extLst>
                </p:cNvPr>
                <p:cNvSpPr/>
                <p:nvPr/>
              </p:nvSpPr>
              <p:spPr>
                <a:xfrm>
                  <a:off x="5682900" y="2188654"/>
                  <a:ext cx="87058" cy="48387"/>
                </a:xfrm>
                <a:custGeom>
                  <a:avLst/>
                  <a:gdLst>
                    <a:gd name="connsiteX0" fmla="*/ 80010 w 87058"/>
                    <a:gd name="connsiteY0" fmla="*/ 0 h 48387"/>
                    <a:gd name="connsiteX1" fmla="*/ 0 w 87058"/>
                    <a:gd name="connsiteY1" fmla="*/ 43434 h 48387"/>
                    <a:gd name="connsiteX2" fmla="*/ 6477 w 87058"/>
                    <a:gd name="connsiteY2" fmla="*/ 48387 h 48387"/>
                    <a:gd name="connsiteX3" fmla="*/ 87059 w 87058"/>
                    <a:gd name="connsiteY3" fmla="*/ 4953 h 48387"/>
                    <a:gd name="connsiteX4" fmla="*/ 80010 w 87058"/>
                    <a:gd name="connsiteY4" fmla="*/ 0 h 4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058" h="48387">
                      <a:moveTo>
                        <a:pt x="80010" y="0"/>
                      </a:moveTo>
                      <a:lnTo>
                        <a:pt x="0" y="43434"/>
                      </a:lnTo>
                      <a:lnTo>
                        <a:pt x="6477" y="48387"/>
                      </a:lnTo>
                      <a:lnTo>
                        <a:pt x="87059" y="4953"/>
                      </a:lnTo>
                      <a:lnTo>
                        <a:pt x="80010" y="0"/>
                      </a:lnTo>
                    </a:path>
                  </a:pathLst>
                </a:custGeom>
                <a:solidFill>
                  <a:srgbClr val="383838"/>
                </a:solidFill>
                <a:ln w="9525" cap="flat">
                  <a:noFill/>
                  <a:prstDash val="solid"/>
                  <a:miter/>
                </a:ln>
              </p:spPr>
              <p:txBody>
                <a:bodyPr rtlCol="0" anchor="ctr"/>
                <a:lstStyle/>
                <a:p>
                  <a:endParaRPr lang="en-IN"/>
                </a:p>
              </p:txBody>
            </p:sp>
            <p:sp>
              <p:nvSpPr>
                <p:cNvPr id="4725" name="Freeform: Shape 4724">
                  <a:extLst>
                    <a:ext uri="{FF2B5EF4-FFF2-40B4-BE49-F238E27FC236}">
                      <a16:creationId xmlns:a16="http://schemas.microsoft.com/office/drawing/2014/main" id="{0FE1AE33-C60B-4B0F-9F37-98E069901EDE}"/>
                    </a:ext>
                  </a:extLst>
                </p:cNvPr>
                <p:cNvSpPr/>
                <p:nvPr/>
              </p:nvSpPr>
              <p:spPr>
                <a:xfrm>
                  <a:off x="5700331" y="2201989"/>
                  <a:ext cx="88677" cy="48386"/>
                </a:xfrm>
                <a:custGeom>
                  <a:avLst/>
                  <a:gdLst>
                    <a:gd name="connsiteX0" fmla="*/ 81534 w 88677"/>
                    <a:gd name="connsiteY0" fmla="*/ 0 h 48386"/>
                    <a:gd name="connsiteX1" fmla="*/ 0 w 88677"/>
                    <a:gd name="connsiteY1" fmla="*/ 43339 h 48386"/>
                    <a:gd name="connsiteX2" fmla="*/ 6572 w 88677"/>
                    <a:gd name="connsiteY2" fmla="*/ 48387 h 48386"/>
                    <a:gd name="connsiteX3" fmla="*/ 88678 w 88677"/>
                    <a:gd name="connsiteY3" fmla="*/ 5048 h 48386"/>
                    <a:gd name="connsiteX4" fmla="*/ 81534 w 88677"/>
                    <a:gd name="connsiteY4" fmla="*/ 0 h 48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7" h="48386">
                      <a:moveTo>
                        <a:pt x="81534" y="0"/>
                      </a:moveTo>
                      <a:lnTo>
                        <a:pt x="0" y="43339"/>
                      </a:lnTo>
                      <a:lnTo>
                        <a:pt x="6572" y="48387"/>
                      </a:lnTo>
                      <a:lnTo>
                        <a:pt x="88678" y="5048"/>
                      </a:lnTo>
                      <a:lnTo>
                        <a:pt x="81534" y="0"/>
                      </a:lnTo>
                    </a:path>
                  </a:pathLst>
                </a:custGeom>
                <a:solidFill>
                  <a:srgbClr val="383838"/>
                </a:solidFill>
                <a:ln w="9525" cap="flat">
                  <a:noFill/>
                  <a:prstDash val="solid"/>
                  <a:miter/>
                </a:ln>
              </p:spPr>
              <p:txBody>
                <a:bodyPr rtlCol="0" anchor="ctr"/>
                <a:lstStyle/>
                <a:p>
                  <a:endParaRPr lang="en-IN"/>
                </a:p>
              </p:txBody>
            </p:sp>
            <p:sp>
              <p:nvSpPr>
                <p:cNvPr id="4726" name="Freeform: Shape 4725">
                  <a:extLst>
                    <a:ext uri="{FF2B5EF4-FFF2-40B4-BE49-F238E27FC236}">
                      <a16:creationId xmlns:a16="http://schemas.microsoft.com/office/drawing/2014/main" id="{97C451CE-C3F7-4009-81F3-E6881852F33F}"/>
                    </a:ext>
                  </a:extLst>
                </p:cNvPr>
                <p:cNvSpPr/>
                <p:nvPr/>
              </p:nvSpPr>
              <p:spPr>
                <a:xfrm>
                  <a:off x="5718142" y="2215610"/>
                  <a:ext cx="90296" cy="48291"/>
                </a:xfrm>
                <a:custGeom>
                  <a:avLst/>
                  <a:gdLst>
                    <a:gd name="connsiteX0" fmla="*/ 83058 w 90296"/>
                    <a:gd name="connsiteY0" fmla="*/ 0 h 48291"/>
                    <a:gd name="connsiteX1" fmla="*/ 0 w 90296"/>
                    <a:gd name="connsiteY1" fmla="*/ 43243 h 48291"/>
                    <a:gd name="connsiteX2" fmla="*/ 6667 w 90296"/>
                    <a:gd name="connsiteY2" fmla="*/ 48292 h 48291"/>
                    <a:gd name="connsiteX3" fmla="*/ 90297 w 90296"/>
                    <a:gd name="connsiteY3" fmla="*/ 5143 h 48291"/>
                    <a:gd name="connsiteX4" fmla="*/ 83058 w 90296"/>
                    <a:gd name="connsiteY4" fmla="*/ 0 h 48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6" h="48291">
                      <a:moveTo>
                        <a:pt x="83058" y="0"/>
                      </a:moveTo>
                      <a:lnTo>
                        <a:pt x="0" y="43243"/>
                      </a:lnTo>
                      <a:lnTo>
                        <a:pt x="6667" y="48292"/>
                      </a:lnTo>
                      <a:lnTo>
                        <a:pt x="90297" y="5143"/>
                      </a:lnTo>
                      <a:lnTo>
                        <a:pt x="83058" y="0"/>
                      </a:lnTo>
                    </a:path>
                  </a:pathLst>
                </a:custGeom>
                <a:solidFill>
                  <a:srgbClr val="383838"/>
                </a:solidFill>
                <a:ln w="9525" cap="flat">
                  <a:noFill/>
                  <a:prstDash val="solid"/>
                  <a:miter/>
                </a:ln>
              </p:spPr>
              <p:txBody>
                <a:bodyPr rtlCol="0" anchor="ctr"/>
                <a:lstStyle/>
                <a:p>
                  <a:endParaRPr lang="en-IN"/>
                </a:p>
              </p:txBody>
            </p:sp>
            <p:sp>
              <p:nvSpPr>
                <p:cNvPr id="4727" name="Freeform: Shape 4726">
                  <a:extLst>
                    <a:ext uri="{FF2B5EF4-FFF2-40B4-BE49-F238E27FC236}">
                      <a16:creationId xmlns:a16="http://schemas.microsoft.com/office/drawing/2014/main" id="{704C0EDB-7EA1-49CE-942F-027C76EFAAB9}"/>
                    </a:ext>
                  </a:extLst>
                </p:cNvPr>
                <p:cNvSpPr/>
                <p:nvPr/>
              </p:nvSpPr>
              <p:spPr>
                <a:xfrm>
                  <a:off x="5736240" y="2229516"/>
                  <a:ext cx="92011" cy="48196"/>
                </a:xfrm>
                <a:custGeom>
                  <a:avLst/>
                  <a:gdLst>
                    <a:gd name="connsiteX0" fmla="*/ 84582 w 92011"/>
                    <a:gd name="connsiteY0" fmla="*/ 0 h 48196"/>
                    <a:gd name="connsiteX1" fmla="*/ 0 w 92011"/>
                    <a:gd name="connsiteY1" fmla="*/ 42958 h 48196"/>
                    <a:gd name="connsiteX2" fmla="*/ 6763 w 92011"/>
                    <a:gd name="connsiteY2" fmla="*/ 48196 h 48196"/>
                    <a:gd name="connsiteX3" fmla="*/ 92012 w 92011"/>
                    <a:gd name="connsiteY3" fmla="*/ 5239 h 48196"/>
                    <a:gd name="connsiteX4" fmla="*/ 84582 w 92011"/>
                    <a:gd name="connsiteY4" fmla="*/ 0 h 48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11" h="48196">
                      <a:moveTo>
                        <a:pt x="84582" y="0"/>
                      </a:moveTo>
                      <a:lnTo>
                        <a:pt x="0" y="42958"/>
                      </a:lnTo>
                      <a:lnTo>
                        <a:pt x="6763" y="48196"/>
                      </a:lnTo>
                      <a:lnTo>
                        <a:pt x="92012" y="5239"/>
                      </a:lnTo>
                      <a:lnTo>
                        <a:pt x="84582" y="0"/>
                      </a:lnTo>
                    </a:path>
                  </a:pathLst>
                </a:custGeom>
                <a:solidFill>
                  <a:srgbClr val="383838"/>
                </a:solidFill>
                <a:ln w="9525" cap="flat">
                  <a:noFill/>
                  <a:prstDash val="solid"/>
                  <a:miter/>
                </a:ln>
              </p:spPr>
              <p:txBody>
                <a:bodyPr rtlCol="0" anchor="ctr"/>
                <a:lstStyle/>
                <a:p>
                  <a:endParaRPr lang="en-IN"/>
                </a:p>
              </p:txBody>
            </p:sp>
            <p:sp>
              <p:nvSpPr>
                <p:cNvPr id="4728" name="Freeform: Shape 4727">
                  <a:extLst>
                    <a:ext uri="{FF2B5EF4-FFF2-40B4-BE49-F238E27FC236}">
                      <a16:creationId xmlns:a16="http://schemas.microsoft.com/office/drawing/2014/main" id="{DFBE1F5D-3328-4E28-978C-99EDDDA94ABE}"/>
                    </a:ext>
                  </a:extLst>
                </p:cNvPr>
                <p:cNvSpPr/>
                <p:nvPr/>
              </p:nvSpPr>
              <p:spPr>
                <a:xfrm>
                  <a:off x="5754623" y="2243613"/>
                  <a:ext cx="93821" cy="48101"/>
                </a:xfrm>
                <a:custGeom>
                  <a:avLst/>
                  <a:gdLst>
                    <a:gd name="connsiteX0" fmla="*/ 86296 w 93821"/>
                    <a:gd name="connsiteY0" fmla="*/ 0 h 48101"/>
                    <a:gd name="connsiteX1" fmla="*/ 0 w 93821"/>
                    <a:gd name="connsiteY1" fmla="*/ 42863 h 48101"/>
                    <a:gd name="connsiteX2" fmla="*/ 6953 w 93821"/>
                    <a:gd name="connsiteY2" fmla="*/ 48101 h 48101"/>
                    <a:gd name="connsiteX3" fmla="*/ 93821 w 93821"/>
                    <a:gd name="connsiteY3" fmla="*/ 5334 h 48101"/>
                    <a:gd name="connsiteX4" fmla="*/ 86296 w 93821"/>
                    <a:gd name="connsiteY4" fmla="*/ 0 h 48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821" h="48101">
                      <a:moveTo>
                        <a:pt x="86296" y="0"/>
                      </a:moveTo>
                      <a:lnTo>
                        <a:pt x="0" y="42863"/>
                      </a:lnTo>
                      <a:lnTo>
                        <a:pt x="6953" y="48101"/>
                      </a:lnTo>
                      <a:lnTo>
                        <a:pt x="93821" y="5334"/>
                      </a:lnTo>
                      <a:lnTo>
                        <a:pt x="86296" y="0"/>
                      </a:lnTo>
                    </a:path>
                  </a:pathLst>
                </a:custGeom>
                <a:solidFill>
                  <a:srgbClr val="383838"/>
                </a:solidFill>
                <a:ln w="9525" cap="flat">
                  <a:noFill/>
                  <a:prstDash val="solid"/>
                  <a:miter/>
                </a:ln>
              </p:spPr>
              <p:txBody>
                <a:bodyPr rtlCol="0" anchor="ctr"/>
                <a:lstStyle/>
                <a:p>
                  <a:endParaRPr lang="en-IN"/>
                </a:p>
              </p:txBody>
            </p:sp>
          </p:grpSp>
        </p:grpSp>
        <p:grpSp>
          <p:nvGrpSpPr>
            <p:cNvPr id="4729" name="Graphic 4711">
              <a:extLst>
                <a:ext uri="{FF2B5EF4-FFF2-40B4-BE49-F238E27FC236}">
                  <a16:creationId xmlns:a16="http://schemas.microsoft.com/office/drawing/2014/main" id="{2CE7B2AF-48A2-4D6A-B3EF-8D671D43F7A5}"/>
                </a:ext>
              </a:extLst>
            </p:cNvPr>
            <p:cNvGrpSpPr/>
            <p:nvPr/>
          </p:nvGrpSpPr>
          <p:grpSpPr>
            <a:xfrm>
              <a:off x="5761386" y="2075754"/>
              <a:ext cx="292558" cy="178111"/>
              <a:chOff x="5761386" y="2075754"/>
              <a:chExt cx="292558" cy="178111"/>
            </a:xfrm>
            <a:solidFill>
              <a:schemeClr val="accent1"/>
            </a:solidFill>
          </p:grpSpPr>
          <p:grpSp>
            <p:nvGrpSpPr>
              <p:cNvPr id="4730" name="Graphic 4711">
                <a:extLst>
                  <a:ext uri="{FF2B5EF4-FFF2-40B4-BE49-F238E27FC236}">
                    <a16:creationId xmlns:a16="http://schemas.microsoft.com/office/drawing/2014/main" id="{2CE7B2AF-48A2-4D6A-B3EF-8D671D43F7A5}"/>
                  </a:ext>
                </a:extLst>
              </p:cNvPr>
              <p:cNvGrpSpPr/>
              <p:nvPr/>
            </p:nvGrpSpPr>
            <p:grpSpPr>
              <a:xfrm>
                <a:off x="5761386" y="2075754"/>
                <a:ext cx="292558" cy="178111"/>
                <a:chOff x="5761386" y="2075754"/>
                <a:chExt cx="292558" cy="178111"/>
              </a:xfrm>
              <a:solidFill>
                <a:schemeClr val="accent1"/>
              </a:solidFill>
            </p:grpSpPr>
            <p:sp>
              <p:nvSpPr>
                <p:cNvPr id="4731" name="Freeform: Shape 4730">
                  <a:extLst>
                    <a:ext uri="{FF2B5EF4-FFF2-40B4-BE49-F238E27FC236}">
                      <a16:creationId xmlns:a16="http://schemas.microsoft.com/office/drawing/2014/main" id="{869B9698-AADE-4086-A643-B4963047A5DA}"/>
                    </a:ext>
                  </a:extLst>
                </p:cNvPr>
                <p:cNvSpPr/>
                <p:nvPr/>
              </p:nvSpPr>
              <p:spPr>
                <a:xfrm>
                  <a:off x="5761386" y="2084961"/>
                  <a:ext cx="292512" cy="168904"/>
                </a:xfrm>
                <a:custGeom>
                  <a:avLst/>
                  <a:gdLst>
                    <a:gd name="connsiteX0" fmla="*/ 292513 w 292512"/>
                    <a:gd name="connsiteY0" fmla="*/ 104074 h 168904"/>
                    <a:gd name="connsiteX1" fmla="*/ 274796 w 292512"/>
                    <a:gd name="connsiteY1" fmla="*/ 101026 h 168904"/>
                    <a:gd name="connsiteX2" fmla="*/ 102013 w 292512"/>
                    <a:gd name="connsiteY2" fmla="*/ 1299 h 168904"/>
                    <a:gd name="connsiteX3" fmla="*/ 89059 w 292512"/>
                    <a:gd name="connsiteY3" fmla="*/ 1870 h 168904"/>
                    <a:gd name="connsiteX4" fmla="*/ 9049 w 292512"/>
                    <a:gd name="connsiteY4" fmla="*/ 48067 h 168904"/>
                    <a:gd name="connsiteX5" fmla="*/ 0 w 292512"/>
                    <a:gd name="connsiteY5" fmla="*/ 46543 h 168904"/>
                    <a:gd name="connsiteX6" fmla="*/ 0 w 292512"/>
                    <a:gd name="connsiteY6" fmla="*/ 55687 h 168904"/>
                    <a:gd name="connsiteX7" fmla="*/ 0 w 292512"/>
                    <a:gd name="connsiteY7" fmla="*/ 55687 h 168904"/>
                    <a:gd name="connsiteX8" fmla="*/ 2191 w 292512"/>
                    <a:gd name="connsiteY8" fmla="*/ 58925 h 168904"/>
                    <a:gd name="connsiteX9" fmla="*/ 190405 w 292512"/>
                    <a:gd name="connsiteY9" fmla="*/ 167605 h 168904"/>
                    <a:gd name="connsiteX10" fmla="*/ 203359 w 292512"/>
                    <a:gd name="connsiteY10" fmla="*/ 167034 h 168904"/>
                    <a:gd name="connsiteX11" fmla="*/ 289274 w 292512"/>
                    <a:gd name="connsiteY11" fmla="*/ 117409 h 168904"/>
                    <a:gd name="connsiteX12" fmla="*/ 292418 w 292512"/>
                    <a:gd name="connsiteY12" fmla="*/ 113122 h 168904"/>
                    <a:gd name="connsiteX13" fmla="*/ 292418 w 292512"/>
                    <a:gd name="connsiteY13" fmla="*/ 113122 h 168904"/>
                    <a:gd name="connsiteX14" fmla="*/ 292418 w 292512"/>
                    <a:gd name="connsiteY14" fmla="*/ 104074 h 16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2512" h="168904">
                      <a:moveTo>
                        <a:pt x="292513" y="104074"/>
                      </a:moveTo>
                      <a:lnTo>
                        <a:pt x="274796" y="101026"/>
                      </a:lnTo>
                      <a:lnTo>
                        <a:pt x="102013" y="1299"/>
                      </a:lnTo>
                      <a:cubicBezTo>
                        <a:pt x="98679" y="-606"/>
                        <a:pt x="92869" y="-416"/>
                        <a:pt x="89059" y="1870"/>
                      </a:cubicBezTo>
                      <a:lnTo>
                        <a:pt x="9049" y="48067"/>
                      </a:lnTo>
                      <a:lnTo>
                        <a:pt x="0" y="46543"/>
                      </a:lnTo>
                      <a:lnTo>
                        <a:pt x="0" y="55687"/>
                      </a:lnTo>
                      <a:lnTo>
                        <a:pt x="0" y="55687"/>
                      </a:lnTo>
                      <a:cubicBezTo>
                        <a:pt x="0" y="56925"/>
                        <a:pt x="762" y="58068"/>
                        <a:pt x="2191" y="58925"/>
                      </a:cubicBezTo>
                      <a:lnTo>
                        <a:pt x="190405" y="167605"/>
                      </a:lnTo>
                      <a:cubicBezTo>
                        <a:pt x="193738" y="169510"/>
                        <a:pt x="199549" y="169320"/>
                        <a:pt x="203359" y="167034"/>
                      </a:cubicBezTo>
                      <a:lnTo>
                        <a:pt x="289274" y="117409"/>
                      </a:lnTo>
                      <a:cubicBezTo>
                        <a:pt x="291370" y="116170"/>
                        <a:pt x="292513" y="114646"/>
                        <a:pt x="292418" y="113122"/>
                      </a:cubicBezTo>
                      <a:lnTo>
                        <a:pt x="292418" y="113122"/>
                      </a:lnTo>
                      <a:lnTo>
                        <a:pt x="292418" y="104074"/>
                      </a:lnTo>
                      <a:close/>
                    </a:path>
                  </a:pathLst>
                </a:custGeom>
                <a:solidFill>
                  <a:srgbClr val="545454"/>
                </a:solidFill>
                <a:ln w="9525" cap="flat">
                  <a:noFill/>
                  <a:prstDash val="solid"/>
                  <a:miter/>
                </a:ln>
              </p:spPr>
              <p:txBody>
                <a:bodyPr rtlCol="0" anchor="ctr"/>
                <a:lstStyle/>
                <a:p>
                  <a:endParaRPr lang="en-IN"/>
                </a:p>
              </p:txBody>
            </p:sp>
            <p:sp>
              <p:nvSpPr>
                <p:cNvPr id="4732" name="Freeform: Shape 4731">
                  <a:extLst>
                    <a:ext uri="{FF2B5EF4-FFF2-40B4-BE49-F238E27FC236}">
                      <a16:creationId xmlns:a16="http://schemas.microsoft.com/office/drawing/2014/main" id="{FA791185-6A21-49AB-BBE8-5DC6DC8A4FCF}"/>
                    </a:ext>
                  </a:extLst>
                </p:cNvPr>
                <p:cNvSpPr/>
                <p:nvPr/>
              </p:nvSpPr>
              <p:spPr>
                <a:xfrm>
                  <a:off x="5761410" y="2075754"/>
                  <a:ext cx="292479" cy="169030"/>
                </a:xfrm>
                <a:custGeom>
                  <a:avLst/>
                  <a:gdLst>
                    <a:gd name="connsiteX0" fmla="*/ 289250 w 292479"/>
                    <a:gd name="connsiteY0" fmla="*/ 117567 h 169030"/>
                    <a:gd name="connsiteX1" fmla="*/ 203334 w 292479"/>
                    <a:gd name="connsiteY1" fmla="*/ 167192 h 169030"/>
                    <a:gd name="connsiteX2" fmla="*/ 190380 w 292479"/>
                    <a:gd name="connsiteY2" fmla="*/ 167764 h 169030"/>
                    <a:gd name="connsiteX3" fmla="*/ 2261 w 292479"/>
                    <a:gd name="connsiteY3" fmla="*/ 58988 h 169030"/>
                    <a:gd name="connsiteX4" fmla="*/ 3214 w 292479"/>
                    <a:gd name="connsiteY4" fmla="*/ 51464 h 169030"/>
                    <a:gd name="connsiteX5" fmla="*/ 89129 w 292479"/>
                    <a:gd name="connsiteY5" fmla="*/ 1838 h 169030"/>
                    <a:gd name="connsiteX6" fmla="*/ 102083 w 292479"/>
                    <a:gd name="connsiteY6" fmla="*/ 1267 h 169030"/>
                    <a:gd name="connsiteX7" fmla="*/ 290297 w 292479"/>
                    <a:gd name="connsiteY7" fmla="*/ 109947 h 169030"/>
                    <a:gd name="connsiteX8" fmla="*/ 289250 w 292479"/>
                    <a:gd name="connsiteY8" fmla="*/ 117567 h 16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2479" h="169030">
                      <a:moveTo>
                        <a:pt x="289250" y="117567"/>
                      </a:moveTo>
                      <a:lnTo>
                        <a:pt x="203334" y="167192"/>
                      </a:lnTo>
                      <a:cubicBezTo>
                        <a:pt x="199524" y="169383"/>
                        <a:pt x="193714" y="169669"/>
                        <a:pt x="190380" y="167764"/>
                      </a:cubicBezTo>
                      <a:lnTo>
                        <a:pt x="2261" y="58988"/>
                      </a:lnTo>
                      <a:cubicBezTo>
                        <a:pt x="-1072" y="57083"/>
                        <a:pt x="-691" y="53750"/>
                        <a:pt x="3214" y="51464"/>
                      </a:cubicBezTo>
                      <a:lnTo>
                        <a:pt x="89129" y="1838"/>
                      </a:lnTo>
                      <a:cubicBezTo>
                        <a:pt x="92939" y="-352"/>
                        <a:pt x="98750" y="-638"/>
                        <a:pt x="102083" y="1267"/>
                      </a:cubicBezTo>
                      <a:lnTo>
                        <a:pt x="290297" y="109947"/>
                      </a:lnTo>
                      <a:cubicBezTo>
                        <a:pt x="293536" y="111947"/>
                        <a:pt x="293155" y="115281"/>
                        <a:pt x="289250" y="117567"/>
                      </a:cubicBezTo>
                      <a:close/>
                    </a:path>
                  </a:pathLst>
                </a:custGeom>
                <a:solidFill>
                  <a:srgbClr val="343434"/>
                </a:solidFill>
                <a:ln w="9525" cap="flat">
                  <a:noFill/>
                  <a:prstDash val="solid"/>
                  <a:miter/>
                </a:ln>
              </p:spPr>
              <p:txBody>
                <a:bodyPr rtlCol="0" anchor="ctr"/>
                <a:lstStyle/>
                <a:p>
                  <a:endParaRPr lang="en-IN"/>
                </a:p>
              </p:txBody>
            </p:sp>
            <p:sp>
              <p:nvSpPr>
                <p:cNvPr id="4733" name="Freeform: Shape 4732">
                  <a:extLst>
                    <a:ext uri="{FF2B5EF4-FFF2-40B4-BE49-F238E27FC236}">
                      <a16:creationId xmlns:a16="http://schemas.microsoft.com/office/drawing/2014/main" id="{45D3DB0A-4F86-4793-B599-80D7ED8310A4}"/>
                    </a:ext>
                  </a:extLst>
                </p:cNvPr>
                <p:cNvSpPr/>
                <p:nvPr/>
              </p:nvSpPr>
              <p:spPr>
                <a:xfrm>
                  <a:off x="5761422" y="2130933"/>
                  <a:ext cx="292522" cy="113789"/>
                </a:xfrm>
                <a:custGeom>
                  <a:avLst/>
                  <a:gdLst>
                    <a:gd name="connsiteX0" fmla="*/ 289238 w 292522"/>
                    <a:gd name="connsiteY0" fmla="*/ 61150 h 113789"/>
                    <a:gd name="connsiteX1" fmla="*/ 203322 w 292522"/>
                    <a:gd name="connsiteY1" fmla="*/ 110776 h 113789"/>
                    <a:gd name="connsiteX2" fmla="*/ 190368 w 292522"/>
                    <a:gd name="connsiteY2" fmla="*/ 111347 h 113789"/>
                    <a:gd name="connsiteX3" fmla="*/ 2249 w 292522"/>
                    <a:gd name="connsiteY3" fmla="*/ 2667 h 113789"/>
                    <a:gd name="connsiteX4" fmla="*/ 59 w 292522"/>
                    <a:gd name="connsiteY4" fmla="*/ 0 h 113789"/>
                    <a:gd name="connsiteX5" fmla="*/ 2249 w 292522"/>
                    <a:gd name="connsiteY5" fmla="*/ 3810 h 113789"/>
                    <a:gd name="connsiteX6" fmla="*/ 190463 w 292522"/>
                    <a:gd name="connsiteY6" fmla="*/ 112490 h 113789"/>
                    <a:gd name="connsiteX7" fmla="*/ 203417 w 292522"/>
                    <a:gd name="connsiteY7" fmla="*/ 111919 h 113789"/>
                    <a:gd name="connsiteX8" fmla="*/ 289333 w 292522"/>
                    <a:gd name="connsiteY8" fmla="*/ 62294 h 113789"/>
                    <a:gd name="connsiteX9" fmla="*/ 292476 w 292522"/>
                    <a:gd name="connsiteY9" fmla="*/ 57436 h 113789"/>
                    <a:gd name="connsiteX10" fmla="*/ 289238 w 292522"/>
                    <a:gd name="connsiteY10" fmla="*/ 61150 h 11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2522" h="113789">
                      <a:moveTo>
                        <a:pt x="289238" y="61150"/>
                      </a:moveTo>
                      <a:lnTo>
                        <a:pt x="203322" y="110776"/>
                      </a:lnTo>
                      <a:cubicBezTo>
                        <a:pt x="199512" y="112967"/>
                        <a:pt x="193702" y="113252"/>
                        <a:pt x="190368" y="111347"/>
                      </a:cubicBezTo>
                      <a:lnTo>
                        <a:pt x="2249" y="2667"/>
                      </a:lnTo>
                      <a:cubicBezTo>
                        <a:pt x="1011" y="1905"/>
                        <a:pt x="249" y="1048"/>
                        <a:pt x="59" y="0"/>
                      </a:cubicBezTo>
                      <a:cubicBezTo>
                        <a:pt x="-227" y="1429"/>
                        <a:pt x="535" y="2858"/>
                        <a:pt x="2249" y="3810"/>
                      </a:cubicBezTo>
                      <a:lnTo>
                        <a:pt x="190463" y="112490"/>
                      </a:lnTo>
                      <a:cubicBezTo>
                        <a:pt x="193797" y="114395"/>
                        <a:pt x="199607" y="114205"/>
                        <a:pt x="203417" y="111919"/>
                      </a:cubicBezTo>
                      <a:lnTo>
                        <a:pt x="289333" y="62294"/>
                      </a:lnTo>
                      <a:cubicBezTo>
                        <a:pt x="291714" y="60960"/>
                        <a:pt x="292762" y="59055"/>
                        <a:pt x="292476" y="57436"/>
                      </a:cubicBezTo>
                      <a:cubicBezTo>
                        <a:pt x="292190" y="58864"/>
                        <a:pt x="291143" y="60103"/>
                        <a:pt x="289238" y="61150"/>
                      </a:cubicBezTo>
                      <a:close/>
                    </a:path>
                  </a:pathLst>
                </a:custGeom>
                <a:solidFill>
                  <a:srgbClr val="343434"/>
                </a:solidFill>
                <a:ln w="9525" cap="flat">
                  <a:noFill/>
                  <a:prstDash val="solid"/>
                  <a:miter/>
                </a:ln>
              </p:spPr>
              <p:txBody>
                <a:bodyPr rtlCol="0" anchor="ctr"/>
                <a:lstStyle/>
                <a:p>
                  <a:endParaRPr lang="en-IN"/>
                </a:p>
              </p:txBody>
            </p:sp>
            <p:sp>
              <p:nvSpPr>
                <p:cNvPr id="4734" name="Freeform: Shape 4733">
                  <a:extLst>
                    <a:ext uri="{FF2B5EF4-FFF2-40B4-BE49-F238E27FC236}">
                      <a16:creationId xmlns:a16="http://schemas.microsoft.com/office/drawing/2014/main" id="{FB651958-DACF-49B5-B4F8-A75264D2C579}"/>
                    </a:ext>
                  </a:extLst>
                </p:cNvPr>
                <p:cNvSpPr/>
                <p:nvPr/>
              </p:nvSpPr>
              <p:spPr>
                <a:xfrm>
                  <a:off x="5764434" y="2077592"/>
                  <a:ext cx="286416" cy="165353"/>
                </a:xfrm>
                <a:custGeom>
                  <a:avLst/>
                  <a:gdLst>
                    <a:gd name="connsiteX0" fmla="*/ 286417 w 286416"/>
                    <a:gd name="connsiteY0" fmla="*/ 107728 h 165353"/>
                    <a:gd name="connsiteX1" fmla="*/ 186595 w 286416"/>
                    <a:gd name="connsiteY1" fmla="*/ 165354 h 165353"/>
                    <a:gd name="connsiteX2" fmla="*/ 0 w 286416"/>
                    <a:gd name="connsiteY2" fmla="*/ 57626 h 165353"/>
                    <a:gd name="connsiteX3" fmla="*/ 99822 w 286416"/>
                    <a:gd name="connsiteY3" fmla="*/ 0 h 165353"/>
                  </a:gdLst>
                  <a:ahLst/>
                  <a:cxnLst>
                    <a:cxn ang="0">
                      <a:pos x="connsiteX0" y="connsiteY0"/>
                    </a:cxn>
                    <a:cxn ang="0">
                      <a:pos x="connsiteX1" y="connsiteY1"/>
                    </a:cxn>
                    <a:cxn ang="0">
                      <a:pos x="connsiteX2" y="connsiteY2"/>
                    </a:cxn>
                    <a:cxn ang="0">
                      <a:pos x="connsiteX3" y="connsiteY3"/>
                    </a:cxn>
                  </a:cxnLst>
                  <a:rect l="l" t="t" r="r" b="b"/>
                  <a:pathLst>
                    <a:path w="286416" h="165353">
                      <a:moveTo>
                        <a:pt x="286417" y="107728"/>
                      </a:moveTo>
                      <a:lnTo>
                        <a:pt x="186595" y="165354"/>
                      </a:lnTo>
                      <a:lnTo>
                        <a:pt x="0" y="57626"/>
                      </a:lnTo>
                      <a:lnTo>
                        <a:pt x="99822" y="0"/>
                      </a:lnTo>
                      <a:close/>
                    </a:path>
                  </a:pathLst>
                </a:custGeom>
                <a:solidFill>
                  <a:srgbClr val="2376BC"/>
                </a:solidFill>
                <a:ln w="9525" cap="flat">
                  <a:noFill/>
                  <a:prstDash val="solid"/>
                  <a:miter/>
                </a:ln>
              </p:spPr>
              <p:txBody>
                <a:bodyPr rtlCol="0" anchor="ctr"/>
                <a:lstStyle/>
                <a:p>
                  <a:endParaRPr lang="en-IN"/>
                </a:p>
              </p:txBody>
            </p:sp>
            <p:sp>
              <p:nvSpPr>
                <p:cNvPr id="4735" name="Freeform: Shape 4734">
                  <a:extLst>
                    <a:ext uri="{FF2B5EF4-FFF2-40B4-BE49-F238E27FC236}">
                      <a16:creationId xmlns:a16="http://schemas.microsoft.com/office/drawing/2014/main" id="{581776A9-0149-42C6-9DCE-7CBECB2E60F6}"/>
                    </a:ext>
                  </a:extLst>
                </p:cNvPr>
                <p:cNvSpPr/>
                <p:nvPr/>
              </p:nvSpPr>
              <p:spPr>
                <a:xfrm>
                  <a:off x="5804759" y="2098756"/>
                  <a:ext cx="16065" cy="9298"/>
                </a:xfrm>
                <a:custGeom>
                  <a:avLst/>
                  <a:gdLst>
                    <a:gd name="connsiteX0" fmla="*/ 15586 w 16065"/>
                    <a:gd name="connsiteY0" fmla="*/ 1411 h 9298"/>
                    <a:gd name="connsiteX1" fmla="*/ 2346 w 16065"/>
                    <a:gd name="connsiteY1" fmla="*/ 9031 h 9298"/>
                    <a:gd name="connsiteX2" fmla="*/ 441 w 16065"/>
                    <a:gd name="connsiteY2" fmla="*/ 9126 h 9298"/>
                    <a:gd name="connsiteX3" fmla="*/ 346 w 16065"/>
                    <a:gd name="connsiteY3" fmla="*/ 9031 h 9298"/>
                    <a:gd name="connsiteX4" fmla="*/ 441 w 16065"/>
                    <a:gd name="connsiteY4" fmla="*/ 7888 h 9298"/>
                    <a:gd name="connsiteX5" fmla="*/ 13681 w 16065"/>
                    <a:gd name="connsiteY5" fmla="*/ 268 h 9298"/>
                    <a:gd name="connsiteX6" fmla="*/ 15586 w 16065"/>
                    <a:gd name="connsiteY6" fmla="*/ 173 h 9298"/>
                    <a:gd name="connsiteX7" fmla="*/ 15681 w 16065"/>
                    <a:gd name="connsiteY7" fmla="*/ 268 h 9298"/>
                    <a:gd name="connsiteX8" fmla="*/ 15586 w 16065"/>
                    <a:gd name="connsiteY8" fmla="*/ 1411 h 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65" h="9298">
                      <a:moveTo>
                        <a:pt x="15586" y="1411"/>
                      </a:moveTo>
                      <a:lnTo>
                        <a:pt x="2346" y="9031"/>
                      </a:lnTo>
                      <a:cubicBezTo>
                        <a:pt x="1775" y="9317"/>
                        <a:pt x="918" y="9412"/>
                        <a:pt x="441" y="9126"/>
                      </a:cubicBezTo>
                      <a:lnTo>
                        <a:pt x="346" y="9031"/>
                      </a:lnTo>
                      <a:cubicBezTo>
                        <a:pt x="-130" y="8745"/>
                        <a:pt x="-130" y="8269"/>
                        <a:pt x="441" y="7888"/>
                      </a:cubicBezTo>
                      <a:lnTo>
                        <a:pt x="13681" y="268"/>
                      </a:lnTo>
                      <a:cubicBezTo>
                        <a:pt x="14253" y="-18"/>
                        <a:pt x="15110" y="-113"/>
                        <a:pt x="15586" y="173"/>
                      </a:cubicBezTo>
                      <a:lnTo>
                        <a:pt x="15681" y="268"/>
                      </a:lnTo>
                      <a:cubicBezTo>
                        <a:pt x="16253" y="554"/>
                        <a:pt x="16158" y="1030"/>
                        <a:pt x="15586" y="1411"/>
                      </a:cubicBezTo>
                      <a:close/>
                    </a:path>
                  </a:pathLst>
                </a:custGeom>
                <a:solidFill>
                  <a:srgbClr val="FFFFFF"/>
                </a:solidFill>
                <a:ln w="9525" cap="flat">
                  <a:noFill/>
                  <a:prstDash val="solid"/>
                  <a:miter/>
                </a:ln>
              </p:spPr>
              <p:txBody>
                <a:bodyPr rtlCol="0" anchor="ctr"/>
                <a:lstStyle/>
                <a:p>
                  <a:endParaRPr lang="en-IN"/>
                </a:p>
              </p:txBody>
            </p:sp>
          </p:grpSp>
          <p:grpSp>
            <p:nvGrpSpPr>
              <p:cNvPr id="768" name="Graphic 4711">
                <a:extLst>
                  <a:ext uri="{FF2B5EF4-FFF2-40B4-BE49-F238E27FC236}">
                    <a16:creationId xmlns:a16="http://schemas.microsoft.com/office/drawing/2014/main" id="{2CE7B2AF-48A2-4D6A-B3EF-8D671D43F7A5}"/>
                  </a:ext>
                </a:extLst>
              </p:cNvPr>
              <p:cNvGrpSpPr/>
              <p:nvPr/>
            </p:nvGrpSpPr>
            <p:grpSpPr>
              <a:xfrm>
                <a:off x="5783103" y="2128551"/>
                <a:ext cx="230695" cy="89249"/>
                <a:chOff x="5783103" y="2128551"/>
                <a:chExt cx="230695" cy="89249"/>
              </a:xfrm>
              <a:solidFill>
                <a:srgbClr val="FFFFFF"/>
              </a:solidFill>
            </p:grpSpPr>
            <p:sp>
              <p:nvSpPr>
                <p:cNvPr id="769" name="Freeform: Shape 768">
                  <a:extLst>
                    <a:ext uri="{FF2B5EF4-FFF2-40B4-BE49-F238E27FC236}">
                      <a16:creationId xmlns:a16="http://schemas.microsoft.com/office/drawing/2014/main" id="{7C3D4D00-C1C3-4401-94B8-F4AC39906E41}"/>
                    </a:ext>
                  </a:extLst>
                </p:cNvPr>
                <p:cNvSpPr/>
                <p:nvPr/>
              </p:nvSpPr>
              <p:spPr>
                <a:xfrm>
                  <a:off x="5783103" y="2133885"/>
                  <a:ext cx="5619" cy="3238"/>
                </a:xfrm>
                <a:custGeom>
                  <a:avLst/>
                  <a:gdLst>
                    <a:gd name="connsiteX0" fmla="*/ 5620 w 5619"/>
                    <a:gd name="connsiteY0" fmla="*/ 2286 h 3238"/>
                    <a:gd name="connsiteX1" fmla="*/ 4001 w 5619"/>
                    <a:gd name="connsiteY1" fmla="*/ 3239 h 3238"/>
                    <a:gd name="connsiteX2" fmla="*/ 0 w 5619"/>
                    <a:gd name="connsiteY2" fmla="*/ 953 h 3238"/>
                    <a:gd name="connsiteX3" fmla="*/ 1715 w 5619"/>
                    <a:gd name="connsiteY3" fmla="*/ 0 h 3238"/>
                  </a:gdLst>
                  <a:ahLst/>
                  <a:cxnLst>
                    <a:cxn ang="0">
                      <a:pos x="connsiteX0" y="connsiteY0"/>
                    </a:cxn>
                    <a:cxn ang="0">
                      <a:pos x="connsiteX1" y="connsiteY1"/>
                    </a:cxn>
                    <a:cxn ang="0">
                      <a:pos x="connsiteX2" y="connsiteY2"/>
                    </a:cxn>
                    <a:cxn ang="0">
                      <a:pos x="connsiteX3" y="connsiteY3"/>
                    </a:cxn>
                  </a:cxnLst>
                  <a:rect l="l" t="t" r="r" b="b"/>
                  <a:pathLst>
                    <a:path w="5619" h="3238">
                      <a:moveTo>
                        <a:pt x="5620" y="2286"/>
                      </a:moveTo>
                      <a:lnTo>
                        <a:pt x="4001" y="3239"/>
                      </a:lnTo>
                      <a:lnTo>
                        <a:pt x="0" y="953"/>
                      </a:lnTo>
                      <a:lnTo>
                        <a:pt x="1715" y="0"/>
                      </a:lnTo>
                      <a:close/>
                    </a:path>
                  </a:pathLst>
                </a:custGeom>
                <a:solidFill>
                  <a:srgbClr val="FFFFFF"/>
                </a:solidFill>
                <a:ln w="9525" cap="flat">
                  <a:noFill/>
                  <a:prstDash val="solid"/>
                  <a:miter/>
                </a:ln>
              </p:spPr>
              <p:txBody>
                <a:bodyPr rtlCol="0" anchor="ctr"/>
                <a:lstStyle/>
                <a:p>
                  <a:endParaRPr lang="en-IN"/>
                </a:p>
              </p:txBody>
            </p:sp>
            <p:sp>
              <p:nvSpPr>
                <p:cNvPr id="770" name="Freeform: Shape 769">
                  <a:extLst>
                    <a:ext uri="{FF2B5EF4-FFF2-40B4-BE49-F238E27FC236}">
                      <a16:creationId xmlns:a16="http://schemas.microsoft.com/office/drawing/2014/main" id="{D4AAF62A-53AF-45B1-8857-E37F57D23292}"/>
                    </a:ext>
                  </a:extLst>
                </p:cNvPr>
                <p:cNvSpPr/>
                <p:nvPr/>
              </p:nvSpPr>
              <p:spPr>
                <a:xfrm>
                  <a:off x="5786151" y="2132076"/>
                  <a:ext cx="5715" cy="3238"/>
                </a:xfrm>
                <a:custGeom>
                  <a:avLst/>
                  <a:gdLst>
                    <a:gd name="connsiteX0" fmla="*/ 5715 w 5715"/>
                    <a:gd name="connsiteY0" fmla="*/ 2286 h 3238"/>
                    <a:gd name="connsiteX1" fmla="*/ 4001 w 5715"/>
                    <a:gd name="connsiteY1" fmla="*/ 3239 h 3238"/>
                    <a:gd name="connsiteX2" fmla="*/ 0 w 5715"/>
                    <a:gd name="connsiteY2" fmla="*/ 952 h 3238"/>
                    <a:gd name="connsiteX3" fmla="*/ 1715 w 5715"/>
                    <a:gd name="connsiteY3" fmla="*/ 0 h 3238"/>
                  </a:gdLst>
                  <a:ahLst/>
                  <a:cxnLst>
                    <a:cxn ang="0">
                      <a:pos x="connsiteX0" y="connsiteY0"/>
                    </a:cxn>
                    <a:cxn ang="0">
                      <a:pos x="connsiteX1" y="connsiteY1"/>
                    </a:cxn>
                    <a:cxn ang="0">
                      <a:pos x="connsiteX2" y="connsiteY2"/>
                    </a:cxn>
                    <a:cxn ang="0">
                      <a:pos x="connsiteX3" y="connsiteY3"/>
                    </a:cxn>
                  </a:cxnLst>
                  <a:rect l="l" t="t" r="r" b="b"/>
                  <a:pathLst>
                    <a:path w="5715" h="3238">
                      <a:moveTo>
                        <a:pt x="5715" y="2286"/>
                      </a:moveTo>
                      <a:lnTo>
                        <a:pt x="4001" y="3239"/>
                      </a:lnTo>
                      <a:lnTo>
                        <a:pt x="0" y="952"/>
                      </a:lnTo>
                      <a:lnTo>
                        <a:pt x="1715" y="0"/>
                      </a:lnTo>
                      <a:close/>
                    </a:path>
                  </a:pathLst>
                </a:custGeom>
                <a:solidFill>
                  <a:srgbClr val="FFFFFF"/>
                </a:solidFill>
                <a:ln w="9525" cap="flat">
                  <a:noFill/>
                  <a:prstDash val="solid"/>
                  <a:miter/>
                </a:ln>
              </p:spPr>
              <p:txBody>
                <a:bodyPr rtlCol="0" anchor="ctr"/>
                <a:lstStyle/>
                <a:p>
                  <a:endParaRPr lang="en-IN"/>
                </a:p>
              </p:txBody>
            </p:sp>
            <p:sp>
              <p:nvSpPr>
                <p:cNvPr id="771" name="Freeform: Shape 770">
                  <a:extLst>
                    <a:ext uri="{FF2B5EF4-FFF2-40B4-BE49-F238E27FC236}">
                      <a16:creationId xmlns:a16="http://schemas.microsoft.com/office/drawing/2014/main" id="{6C947978-9A01-4776-B281-F42E0CA18437}"/>
                    </a:ext>
                  </a:extLst>
                </p:cNvPr>
                <p:cNvSpPr/>
                <p:nvPr/>
              </p:nvSpPr>
              <p:spPr>
                <a:xfrm>
                  <a:off x="5789294" y="2130266"/>
                  <a:ext cx="5619" cy="3333"/>
                </a:xfrm>
                <a:custGeom>
                  <a:avLst/>
                  <a:gdLst>
                    <a:gd name="connsiteX0" fmla="*/ 5620 w 5619"/>
                    <a:gd name="connsiteY0" fmla="*/ 2286 h 3333"/>
                    <a:gd name="connsiteX1" fmla="*/ 3905 w 5619"/>
                    <a:gd name="connsiteY1" fmla="*/ 3334 h 3333"/>
                    <a:gd name="connsiteX2" fmla="*/ 0 w 5619"/>
                    <a:gd name="connsiteY2" fmla="*/ 1048 h 3333"/>
                    <a:gd name="connsiteX3" fmla="*/ 1619 w 5619"/>
                    <a:gd name="connsiteY3" fmla="*/ 0 h 3333"/>
                  </a:gdLst>
                  <a:ahLst/>
                  <a:cxnLst>
                    <a:cxn ang="0">
                      <a:pos x="connsiteX0" y="connsiteY0"/>
                    </a:cxn>
                    <a:cxn ang="0">
                      <a:pos x="connsiteX1" y="connsiteY1"/>
                    </a:cxn>
                    <a:cxn ang="0">
                      <a:pos x="connsiteX2" y="connsiteY2"/>
                    </a:cxn>
                    <a:cxn ang="0">
                      <a:pos x="connsiteX3" y="connsiteY3"/>
                    </a:cxn>
                  </a:cxnLst>
                  <a:rect l="l" t="t" r="r" b="b"/>
                  <a:pathLst>
                    <a:path w="5619" h="3333">
                      <a:moveTo>
                        <a:pt x="5620" y="2286"/>
                      </a:moveTo>
                      <a:lnTo>
                        <a:pt x="3905" y="3334"/>
                      </a:lnTo>
                      <a:lnTo>
                        <a:pt x="0" y="1048"/>
                      </a:lnTo>
                      <a:lnTo>
                        <a:pt x="1619" y="0"/>
                      </a:lnTo>
                      <a:close/>
                    </a:path>
                  </a:pathLst>
                </a:custGeom>
                <a:solidFill>
                  <a:srgbClr val="FFFFFF"/>
                </a:solidFill>
                <a:ln w="9525" cap="flat">
                  <a:noFill/>
                  <a:prstDash val="solid"/>
                  <a:miter/>
                </a:ln>
              </p:spPr>
              <p:txBody>
                <a:bodyPr rtlCol="0" anchor="ctr"/>
                <a:lstStyle/>
                <a:p>
                  <a:endParaRPr lang="en-IN"/>
                </a:p>
              </p:txBody>
            </p:sp>
            <p:sp>
              <p:nvSpPr>
                <p:cNvPr id="772" name="Freeform: Shape 771">
                  <a:extLst>
                    <a:ext uri="{FF2B5EF4-FFF2-40B4-BE49-F238E27FC236}">
                      <a16:creationId xmlns:a16="http://schemas.microsoft.com/office/drawing/2014/main" id="{10BAA1BC-2779-4632-A2F5-8F7C4A6BFB9D}"/>
                    </a:ext>
                  </a:extLst>
                </p:cNvPr>
                <p:cNvSpPr/>
                <p:nvPr/>
              </p:nvSpPr>
              <p:spPr>
                <a:xfrm>
                  <a:off x="5792342" y="2128551"/>
                  <a:ext cx="5619" cy="3238"/>
                </a:xfrm>
                <a:custGeom>
                  <a:avLst/>
                  <a:gdLst>
                    <a:gd name="connsiteX0" fmla="*/ 5620 w 5619"/>
                    <a:gd name="connsiteY0" fmla="*/ 2286 h 3238"/>
                    <a:gd name="connsiteX1" fmla="*/ 4001 w 5619"/>
                    <a:gd name="connsiteY1" fmla="*/ 3239 h 3238"/>
                    <a:gd name="connsiteX2" fmla="*/ 0 w 5619"/>
                    <a:gd name="connsiteY2" fmla="*/ 952 h 3238"/>
                    <a:gd name="connsiteX3" fmla="*/ 1714 w 5619"/>
                    <a:gd name="connsiteY3" fmla="*/ 0 h 3238"/>
                  </a:gdLst>
                  <a:ahLst/>
                  <a:cxnLst>
                    <a:cxn ang="0">
                      <a:pos x="connsiteX0" y="connsiteY0"/>
                    </a:cxn>
                    <a:cxn ang="0">
                      <a:pos x="connsiteX1" y="connsiteY1"/>
                    </a:cxn>
                    <a:cxn ang="0">
                      <a:pos x="connsiteX2" y="connsiteY2"/>
                    </a:cxn>
                    <a:cxn ang="0">
                      <a:pos x="connsiteX3" y="connsiteY3"/>
                    </a:cxn>
                  </a:cxnLst>
                  <a:rect l="l" t="t" r="r" b="b"/>
                  <a:pathLst>
                    <a:path w="5619" h="3238">
                      <a:moveTo>
                        <a:pt x="5620" y="2286"/>
                      </a:moveTo>
                      <a:lnTo>
                        <a:pt x="4001" y="3239"/>
                      </a:lnTo>
                      <a:lnTo>
                        <a:pt x="0" y="952"/>
                      </a:lnTo>
                      <a:lnTo>
                        <a:pt x="1714" y="0"/>
                      </a:lnTo>
                      <a:close/>
                    </a:path>
                  </a:pathLst>
                </a:custGeom>
                <a:solidFill>
                  <a:srgbClr val="FFFFFF"/>
                </a:solidFill>
                <a:ln w="9525" cap="flat">
                  <a:noFill/>
                  <a:prstDash val="solid"/>
                  <a:miter/>
                </a:ln>
              </p:spPr>
              <p:txBody>
                <a:bodyPr rtlCol="0" anchor="ctr"/>
                <a:lstStyle/>
                <a:p>
                  <a:endParaRPr lang="en-IN"/>
                </a:p>
              </p:txBody>
            </p:sp>
            <p:sp>
              <p:nvSpPr>
                <p:cNvPr id="773" name="Freeform: Shape 772">
                  <a:extLst>
                    <a:ext uri="{FF2B5EF4-FFF2-40B4-BE49-F238E27FC236}">
                      <a16:creationId xmlns:a16="http://schemas.microsoft.com/office/drawing/2014/main" id="{777596E6-6B00-4F87-8ABD-7D98FB178CE8}"/>
                    </a:ext>
                  </a:extLst>
                </p:cNvPr>
                <p:cNvSpPr/>
                <p:nvPr/>
              </p:nvSpPr>
              <p:spPr>
                <a:xfrm>
                  <a:off x="6002654" y="2213324"/>
                  <a:ext cx="5048" cy="2952"/>
                </a:xfrm>
                <a:custGeom>
                  <a:avLst/>
                  <a:gdLst>
                    <a:gd name="connsiteX0" fmla="*/ 5048 w 5048"/>
                    <a:gd name="connsiteY0" fmla="*/ 1238 h 2952"/>
                    <a:gd name="connsiteX1" fmla="*/ 2000 w 5048"/>
                    <a:gd name="connsiteY1" fmla="*/ 2953 h 2952"/>
                    <a:gd name="connsiteX2" fmla="*/ 0 w 5048"/>
                    <a:gd name="connsiteY2" fmla="*/ 1810 h 2952"/>
                    <a:gd name="connsiteX3" fmla="*/ 2953 w 5048"/>
                    <a:gd name="connsiteY3" fmla="*/ 0 h 2952"/>
                  </a:gdLst>
                  <a:ahLst/>
                  <a:cxnLst>
                    <a:cxn ang="0">
                      <a:pos x="connsiteX0" y="connsiteY0"/>
                    </a:cxn>
                    <a:cxn ang="0">
                      <a:pos x="connsiteX1" y="connsiteY1"/>
                    </a:cxn>
                    <a:cxn ang="0">
                      <a:pos x="connsiteX2" y="connsiteY2"/>
                    </a:cxn>
                    <a:cxn ang="0">
                      <a:pos x="connsiteX3" y="connsiteY3"/>
                    </a:cxn>
                  </a:cxnLst>
                  <a:rect l="l" t="t" r="r" b="b"/>
                  <a:pathLst>
                    <a:path w="5048" h="2952">
                      <a:moveTo>
                        <a:pt x="5048" y="1238"/>
                      </a:moveTo>
                      <a:lnTo>
                        <a:pt x="2000" y="2953"/>
                      </a:lnTo>
                      <a:lnTo>
                        <a:pt x="0" y="1810"/>
                      </a:lnTo>
                      <a:lnTo>
                        <a:pt x="2953" y="0"/>
                      </a:lnTo>
                      <a:close/>
                    </a:path>
                  </a:pathLst>
                </a:custGeom>
                <a:solidFill>
                  <a:srgbClr val="FFFFFF"/>
                </a:solidFill>
                <a:ln w="9525" cap="flat">
                  <a:noFill/>
                  <a:prstDash val="solid"/>
                  <a:miter/>
                </a:ln>
              </p:spPr>
              <p:txBody>
                <a:bodyPr rtlCol="0" anchor="ctr"/>
                <a:lstStyle/>
                <a:p>
                  <a:endParaRPr lang="en-IN"/>
                </a:p>
              </p:txBody>
            </p:sp>
            <p:sp>
              <p:nvSpPr>
                <p:cNvPr id="774" name="Freeform: Shape 773">
                  <a:extLst>
                    <a:ext uri="{FF2B5EF4-FFF2-40B4-BE49-F238E27FC236}">
                      <a16:creationId xmlns:a16="http://schemas.microsoft.com/office/drawing/2014/main" id="{C5C6D9A0-6E91-467F-9384-E1917B27B190}"/>
                    </a:ext>
                  </a:extLst>
                </p:cNvPr>
                <p:cNvSpPr/>
                <p:nvPr/>
              </p:nvSpPr>
              <p:spPr>
                <a:xfrm>
                  <a:off x="6005130" y="2214848"/>
                  <a:ext cx="5143" cy="2952"/>
                </a:xfrm>
                <a:custGeom>
                  <a:avLst/>
                  <a:gdLst>
                    <a:gd name="connsiteX0" fmla="*/ 5144 w 5143"/>
                    <a:gd name="connsiteY0" fmla="*/ 1143 h 2952"/>
                    <a:gd name="connsiteX1" fmla="*/ 2096 w 5143"/>
                    <a:gd name="connsiteY1" fmla="*/ 2953 h 2952"/>
                    <a:gd name="connsiteX2" fmla="*/ 0 w 5143"/>
                    <a:gd name="connsiteY2" fmla="*/ 1714 h 2952"/>
                    <a:gd name="connsiteX3" fmla="*/ 3048 w 5143"/>
                    <a:gd name="connsiteY3" fmla="*/ 0 h 2952"/>
                  </a:gdLst>
                  <a:ahLst/>
                  <a:cxnLst>
                    <a:cxn ang="0">
                      <a:pos x="connsiteX0" y="connsiteY0"/>
                    </a:cxn>
                    <a:cxn ang="0">
                      <a:pos x="connsiteX1" y="connsiteY1"/>
                    </a:cxn>
                    <a:cxn ang="0">
                      <a:pos x="connsiteX2" y="connsiteY2"/>
                    </a:cxn>
                    <a:cxn ang="0">
                      <a:pos x="connsiteX3" y="connsiteY3"/>
                    </a:cxn>
                  </a:cxnLst>
                  <a:rect l="l" t="t" r="r" b="b"/>
                  <a:pathLst>
                    <a:path w="5143" h="2952">
                      <a:moveTo>
                        <a:pt x="5144" y="1143"/>
                      </a:moveTo>
                      <a:lnTo>
                        <a:pt x="2096" y="2953"/>
                      </a:lnTo>
                      <a:lnTo>
                        <a:pt x="0" y="1714"/>
                      </a:lnTo>
                      <a:lnTo>
                        <a:pt x="3048" y="0"/>
                      </a:lnTo>
                      <a:close/>
                    </a:path>
                  </a:pathLst>
                </a:custGeom>
                <a:solidFill>
                  <a:srgbClr val="FFFFFF"/>
                </a:solidFill>
                <a:ln w="9525" cap="flat">
                  <a:noFill/>
                  <a:prstDash val="solid"/>
                  <a:miter/>
                </a:ln>
              </p:spPr>
              <p:txBody>
                <a:bodyPr rtlCol="0" anchor="ctr"/>
                <a:lstStyle/>
                <a:p>
                  <a:endParaRPr lang="en-IN"/>
                </a:p>
              </p:txBody>
            </p:sp>
            <p:sp>
              <p:nvSpPr>
                <p:cNvPr id="775" name="Freeform: Shape 774">
                  <a:extLst>
                    <a:ext uri="{FF2B5EF4-FFF2-40B4-BE49-F238E27FC236}">
                      <a16:creationId xmlns:a16="http://schemas.microsoft.com/office/drawing/2014/main" id="{B62511CC-9102-4CB2-9518-7509BFA37A6A}"/>
                    </a:ext>
                  </a:extLst>
                </p:cNvPr>
                <p:cNvSpPr/>
                <p:nvPr/>
              </p:nvSpPr>
              <p:spPr>
                <a:xfrm>
                  <a:off x="6006178" y="2211228"/>
                  <a:ext cx="5048" cy="2952"/>
                </a:xfrm>
                <a:custGeom>
                  <a:avLst/>
                  <a:gdLst>
                    <a:gd name="connsiteX0" fmla="*/ 5048 w 5048"/>
                    <a:gd name="connsiteY0" fmla="*/ 1238 h 2952"/>
                    <a:gd name="connsiteX1" fmla="*/ 2000 w 5048"/>
                    <a:gd name="connsiteY1" fmla="*/ 2953 h 2952"/>
                    <a:gd name="connsiteX2" fmla="*/ 0 w 5048"/>
                    <a:gd name="connsiteY2" fmla="*/ 1810 h 2952"/>
                    <a:gd name="connsiteX3" fmla="*/ 2953 w 5048"/>
                    <a:gd name="connsiteY3" fmla="*/ 0 h 2952"/>
                  </a:gdLst>
                  <a:ahLst/>
                  <a:cxnLst>
                    <a:cxn ang="0">
                      <a:pos x="connsiteX0" y="connsiteY0"/>
                    </a:cxn>
                    <a:cxn ang="0">
                      <a:pos x="connsiteX1" y="connsiteY1"/>
                    </a:cxn>
                    <a:cxn ang="0">
                      <a:pos x="connsiteX2" y="connsiteY2"/>
                    </a:cxn>
                    <a:cxn ang="0">
                      <a:pos x="connsiteX3" y="connsiteY3"/>
                    </a:cxn>
                  </a:cxnLst>
                  <a:rect l="l" t="t" r="r" b="b"/>
                  <a:pathLst>
                    <a:path w="5048" h="2952">
                      <a:moveTo>
                        <a:pt x="5048" y="1238"/>
                      </a:moveTo>
                      <a:lnTo>
                        <a:pt x="2000" y="2953"/>
                      </a:lnTo>
                      <a:lnTo>
                        <a:pt x="0" y="1810"/>
                      </a:lnTo>
                      <a:lnTo>
                        <a:pt x="2953" y="0"/>
                      </a:lnTo>
                      <a:close/>
                    </a:path>
                  </a:pathLst>
                </a:custGeom>
                <a:solidFill>
                  <a:srgbClr val="FFFFFF"/>
                </a:solidFill>
                <a:ln w="9525" cap="flat">
                  <a:noFill/>
                  <a:prstDash val="solid"/>
                  <a:miter/>
                </a:ln>
              </p:spPr>
              <p:txBody>
                <a:bodyPr rtlCol="0" anchor="ctr"/>
                <a:lstStyle/>
                <a:p>
                  <a:endParaRPr lang="en-IN"/>
                </a:p>
              </p:txBody>
            </p:sp>
            <p:sp>
              <p:nvSpPr>
                <p:cNvPr id="776" name="Freeform: Shape 775">
                  <a:extLst>
                    <a:ext uri="{FF2B5EF4-FFF2-40B4-BE49-F238E27FC236}">
                      <a16:creationId xmlns:a16="http://schemas.microsoft.com/office/drawing/2014/main" id="{963275DB-31F6-4BE5-AF83-745F5BE9B24E}"/>
                    </a:ext>
                  </a:extLst>
                </p:cNvPr>
                <p:cNvSpPr/>
                <p:nvPr/>
              </p:nvSpPr>
              <p:spPr>
                <a:xfrm>
                  <a:off x="6008655" y="2212752"/>
                  <a:ext cx="5143" cy="2952"/>
                </a:xfrm>
                <a:custGeom>
                  <a:avLst/>
                  <a:gdLst>
                    <a:gd name="connsiteX0" fmla="*/ 5143 w 5143"/>
                    <a:gd name="connsiteY0" fmla="*/ 1143 h 2952"/>
                    <a:gd name="connsiteX1" fmla="*/ 2095 w 5143"/>
                    <a:gd name="connsiteY1" fmla="*/ 2953 h 2952"/>
                    <a:gd name="connsiteX2" fmla="*/ 0 w 5143"/>
                    <a:gd name="connsiteY2" fmla="*/ 1715 h 2952"/>
                    <a:gd name="connsiteX3" fmla="*/ 3048 w 5143"/>
                    <a:gd name="connsiteY3" fmla="*/ 0 h 2952"/>
                  </a:gdLst>
                  <a:ahLst/>
                  <a:cxnLst>
                    <a:cxn ang="0">
                      <a:pos x="connsiteX0" y="connsiteY0"/>
                    </a:cxn>
                    <a:cxn ang="0">
                      <a:pos x="connsiteX1" y="connsiteY1"/>
                    </a:cxn>
                    <a:cxn ang="0">
                      <a:pos x="connsiteX2" y="connsiteY2"/>
                    </a:cxn>
                    <a:cxn ang="0">
                      <a:pos x="connsiteX3" y="connsiteY3"/>
                    </a:cxn>
                  </a:cxnLst>
                  <a:rect l="l" t="t" r="r" b="b"/>
                  <a:pathLst>
                    <a:path w="5143" h="2952">
                      <a:moveTo>
                        <a:pt x="5143" y="1143"/>
                      </a:moveTo>
                      <a:lnTo>
                        <a:pt x="2095" y="2953"/>
                      </a:lnTo>
                      <a:lnTo>
                        <a:pt x="0" y="1715"/>
                      </a:lnTo>
                      <a:lnTo>
                        <a:pt x="3048" y="0"/>
                      </a:lnTo>
                      <a:close/>
                    </a:path>
                  </a:pathLst>
                </a:custGeom>
                <a:solidFill>
                  <a:srgbClr val="FFFFFF"/>
                </a:solidFill>
                <a:ln w="9525" cap="flat">
                  <a:noFill/>
                  <a:prstDash val="solid"/>
                  <a:miter/>
                </a:ln>
              </p:spPr>
              <p:txBody>
                <a:bodyPr rtlCol="0" anchor="ctr"/>
                <a:lstStyle/>
                <a:p>
                  <a:endParaRPr lang="en-IN"/>
                </a:p>
              </p:txBody>
            </p:sp>
          </p:grpSp>
        </p:grpSp>
        <p:grpSp>
          <p:nvGrpSpPr>
            <p:cNvPr id="777" name="Graphic 4711">
              <a:extLst>
                <a:ext uri="{FF2B5EF4-FFF2-40B4-BE49-F238E27FC236}">
                  <a16:creationId xmlns:a16="http://schemas.microsoft.com/office/drawing/2014/main" id="{2CE7B2AF-48A2-4D6A-B3EF-8D671D43F7A5}"/>
                </a:ext>
              </a:extLst>
            </p:cNvPr>
            <p:cNvGrpSpPr/>
            <p:nvPr/>
          </p:nvGrpSpPr>
          <p:grpSpPr>
            <a:xfrm>
              <a:off x="5849823" y="2122148"/>
              <a:ext cx="78204" cy="47857"/>
              <a:chOff x="5849823" y="2122148"/>
              <a:chExt cx="78204" cy="47857"/>
            </a:xfrm>
            <a:solidFill>
              <a:schemeClr val="accent1"/>
            </a:solidFill>
          </p:grpSpPr>
          <p:sp>
            <p:nvSpPr>
              <p:cNvPr id="778" name="Freeform: Shape 777">
                <a:extLst>
                  <a:ext uri="{FF2B5EF4-FFF2-40B4-BE49-F238E27FC236}">
                    <a16:creationId xmlns:a16="http://schemas.microsoft.com/office/drawing/2014/main" id="{0298F4F9-DEE3-41B6-8231-424BD14249C1}"/>
                  </a:ext>
                </a:extLst>
              </p:cNvPr>
              <p:cNvSpPr/>
              <p:nvPr/>
            </p:nvSpPr>
            <p:spPr>
              <a:xfrm>
                <a:off x="5849823" y="2122148"/>
                <a:ext cx="78204" cy="47857"/>
              </a:xfrm>
              <a:custGeom>
                <a:avLst/>
                <a:gdLst>
                  <a:gd name="connsiteX0" fmla="*/ 29577 w 78204"/>
                  <a:gd name="connsiteY0" fmla="*/ 19071 h 47857"/>
                  <a:gd name="connsiteX1" fmla="*/ 29577 w 78204"/>
                  <a:gd name="connsiteY1" fmla="*/ 19071 h 47857"/>
                  <a:gd name="connsiteX2" fmla="*/ 32911 w 78204"/>
                  <a:gd name="connsiteY2" fmla="*/ 22119 h 47857"/>
                  <a:gd name="connsiteX3" fmla="*/ 37959 w 78204"/>
                  <a:gd name="connsiteY3" fmla="*/ 27167 h 47857"/>
                  <a:gd name="connsiteX4" fmla="*/ 42150 w 78204"/>
                  <a:gd name="connsiteY4" fmla="*/ 24596 h 47857"/>
                  <a:gd name="connsiteX5" fmla="*/ 34340 w 78204"/>
                  <a:gd name="connsiteY5" fmla="*/ 21262 h 47857"/>
                  <a:gd name="connsiteX6" fmla="*/ 29577 w 78204"/>
                  <a:gd name="connsiteY6" fmla="*/ 19071 h 47857"/>
                  <a:gd name="connsiteX7" fmla="*/ 18528 w 78204"/>
                  <a:gd name="connsiteY7" fmla="*/ 25072 h 47857"/>
                  <a:gd name="connsiteX8" fmla="*/ 17004 w 78204"/>
                  <a:gd name="connsiteY8" fmla="*/ 26215 h 47857"/>
                  <a:gd name="connsiteX9" fmla="*/ 25672 w 78204"/>
                  <a:gd name="connsiteY9" fmla="*/ 31835 h 47857"/>
                  <a:gd name="connsiteX10" fmla="*/ 27386 w 78204"/>
                  <a:gd name="connsiteY10" fmla="*/ 31073 h 47857"/>
                  <a:gd name="connsiteX11" fmla="*/ 26148 w 78204"/>
                  <a:gd name="connsiteY11" fmla="*/ 25834 h 47857"/>
                  <a:gd name="connsiteX12" fmla="*/ 18528 w 78204"/>
                  <a:gd name="connsiteY12" fmla="*/ 25072 h 47857"/>
                  <a:gd name="connsiteX13" fmla="*/ 43579 w 78204"/>
                  <a:gd name="connsiteY13" fmla="*/ 35264 h 47857"/>
                  <a:gd name="connsiteX14" fmla="*/ 25958 w 78204"/>
                  <a:gd name="connsiteY14" fmla="*/ 17928 h 47857"/>
                  <a:gd name="connsiteX15" fmla="*/ 28148 w 78204"/>
                  <a:gd name="connsiteY15" fmla="*/ 16595 h 47857"/>
                  <a:gd name="connsiteX16" fmla="*/ 55295 w 78204"/>
                  <a:gd name="connsiteY16" fmla="*/ 28120 h 47857"/>
                  <a:gd name="connsiteX17" fmla="*/ 53390 w 78204"/>
                  <a:gd name="connsiteY17" fmla="*/ 29263 h 47857"/>
                  <a:gd name="connsiteX18" fmla="*/ 44817 w 78204"/>
                  <a:gd name="connsiteY18" fmla="*/ 25643 h 47857"/>
                  <a:gd name="connsiteX19" fmla="*/ 39864 w 78204"/>
                  <a:gd name="connsiteY19" fmla="*/ 28596 h 47857"/>
                  <a:gd name="connsiteX20" fmla="*/ 45389 w 78204"/>
                  <a:gd name="connsiteY20" fmla="*/ 34025 h 47857"/>
                  <a:gd name="connsiteX21" fmla="*/ 43579 w 78204"/>
                  <a:gd name="connsiteY21" fmla="*/ 35264 h 47857"/>
                  <a:gd name="connsiteX22" fmla="*/ 48341 w 78204"/>
                  <a:gd name="connsiteY22" fmla="*/ 18023 h 47857"/>
                  <a:gd name="connsiteX23" fmla="*/ 48341 w 78204"/>
                  <a:gd name="connsiteY23" fmla="*/ 18023 h 47857"/>
                  <a:gd name="connsiteX24" fmla="*/ 45198 w 78204"/>
                  <a:gd name="connsiteY24" fmla="*/ 14213 h 47857"/>
                  <a:gd name="connsiteX25" fmla="*/ 41007 w 78204"/>
                  <a:gd name="connsiteY25" fmla="*/ 8975 h 47857"/>
                  <a:gd name="connsiteX26" fmla="*/ 43103 w 78204"/>
                  <a:gd name="connsiteY26" fmla="*/ 7736 h 47857"/>
                  <a:gd name="connsiteX27" fmla="*/ 51199 w 78204"/>
                  <a:gd name="connsiteY27" fmla="*/ 18881 h 47857"/>
                  <a:gd name="connsiteX28" fmla="*/ 60724 w 78204"/>
                  <a:gd name="connsiteY28" fmla="*/ 25072 h 47857"/>
                  <a:gd name="connsiteX29" fmla="*/ 58914 w 78204"/>
                  <a:gd name="connsiteY29" fmla="*/ 26215 h 47857"/>
                  <a:gd name="connsiteX30" fmla="*/ 49389 w 78204"/>
                  <a:gd name="connsiteY30" fmla="*/ 20119 h 47857"/>
                  <a:gd name="connsiteX31" fmla="*/ 32054 w 78204"/>
                  <a:gd name="connsiteY31" fmla="*/ 14499 h 47857"/>
                  <a:gd name="connsiteX32" fmla="*/ 34149 w 78204"/>
                  <a:gd name="connsiteY32" fmla="*/ 13261 h 47857"/>
                  <a:gd name="connsiteX33" fmla="*/ 42341 w 78204"/>
                  <a:gd name="connsiteY33" fmla="*/ 16023 h 47857"/>
                  <a:gd name="connsiteX34" fmla="*/ 48341 w 78204"/>
                  <a:gd name="connsiteY34" fmla="*/ 18023 h 47857"/>
                  <a:gd name="connsiteX35" fmla="*/ 35292 w 78204"/>
                  <a:gd name="connsiteY35" fmla="*/ 40217 h 47857"/>
                  <a:gd name="connsiteX36" fmla="*/ 13194 w 78204"/>
                  <a:gd name="connsiteY36" fmla="*/ 25929 h 47857"/>
                  <a:gd name="connsiteX37" fmla="*/ 16242 w 78204"/>
                  <a:gd name="connsiteY37" fmla="*/ 23548 h 47857"/>
                  <a:gd name="connsiteX38" fmla="*/ 22052 w 78204"/>
                  <a:gd name="connsiteY38" fmla="*/ 22405 h 47857"/>
                  <a:gd name="connsiteX39" fmla="*/ 27958 w 78204"/>
                  <a:gd name="connsiteY39" fmla="*/ 24691 h 47857"/>
                  <a:gd name="connsiteX40" fmla="*/ 31673 w 78204"/>
                  <a:gd name="connsiteY40" fmla="*/ 28406 h 47857"/>
                  <a:gd name="connsiteX41" fmla="*/ 29863 w 78204"/>
                  <a:gd name="connsiteY41" fmla="*/ 32597 h 47857"/>
                  <a:gd name="connsiteX42" fmla="*/ 28244 w 78204"/>
                  <a:gd name="connsiteY42" fmla="*/ 33359 h 47857"/>
                  <a:gd name="connsiteX43" fmla="*/ 37197 w 78204"/>
                  <a:gd name="connsiteY43" fmla="*/ 39169 h 47857"/>
                  <a:gd name="connsiteX44" fmla="*/ 35292 w 78204"/>
                  <a:gd name="connsiteY44" fmla="*/ 40217 h 47857"/>
                  <a:gd name="connsiteX45" fmla="*/ 47865 w 78204"/>
                  <a:gd name="connsiteY45" fmla="*/ 1450 h 47857"/>
                  <a:gd name="connsiteX46" fmla="*/ 2526 w 78204"/>
                  <a:gd name="connsiteY46" fmla="*/ 28501 h 47857"/>
                  <a:gd name="connsiteX47" fmla="*/ 7670 w 78204"/>
                  <a:gd name="connsiteY47" fmla="*/ 42693 h 47857"/>
                  <a:gd name="connsiteX48" fmla="*/ 30339 w 78204"/>
                  <a:gd name="connsiteY48" fmla="*/ 46408 h 47857"/>
                  <a:gd name="connsiteX49" fmla="*/ 75678 w 78204"/>
                  <a:gd name="connsiteY49" fmla="*/ 19357 h 47857"/>
                  <a:gd name="connsiteX50" fmla="*/ 70535 w 78204"/>
                  <a:gd name="connsiteY50" fmla="*/ 5165 h 47857"/>
                  <a:gd name="connsiteX51" fmla="*/ 47865 w 78204"/>
                  <a:gd name="connsiteY51" fmla="*/ 1450 h 4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8204" h="47857">
                    <a:moveTo>
                      <a:pt x="29577" y="19071"/>
                    </a:moveTo>
                    <a:lnTo>
                      <a:pt x="29577" y="19071"/>
                    </a:lnTo>
                    <a:cubicBezTo>
                      <a:pt x="30625" y="20119"/>
                      <a:pt x="31768" y="21071"/>
                      <a:pt x="32911" y="22119"/>
                    </a:cubicBezTo>
                    <a:lnTo>
                      <a:pt x="37959" y="27167"/>
                    </a:lnTo>
                    <a:lnTo>
                      <a:pt x="42150" y="24596"/>
                    </a:lnTo>
                    <a:lnTo>
                      <a:pt x="34340" y="21262"/>
                    </a:lnTo>
                    <a:cubicBezTo>
                      <a:pt x="32625" y="20500"/>
                      <a:pt x="31101" y="19738"/>
                      <a:pt x="29577" y="19071"/>
                    </a:cubicBezTo>
                    <a:moveTo>
                      <a:pt x="18528" y="25072"/>
                    </a:moveTo>
                    <a:cubicBezTo>
                      <a:pt x="17766" y="25548"/>
                      <a:pt x="17195" y="25929"/>
                      <a:pt x="17004" y="26215"/>
                    </a:cubicBezTo>
                    <a:lnTo>
                      <a:pt x="25672" y="31835"/>
                    </a:lnTo>
                    <a:cubicBezTo>
                      <a:pt x="26243" y="31739"/>
                      <a:pt x="26815" y="31454"/>
                      <a:pt x="27386" y="31073"/>
                    </a:cubicBezTo>
                    <a:cubicBezTo>
                      <a:pt x="29577" y="29739"/>
                      <a:pt x="29196" y="27834"/>
                      <a:pt x="26148" y="25834"/>
                    </a:cubicBezTo>
                    <a:cubicBezTo>
                      <a:pt x="23291" y="24024"/>
                      <a:pt x="20528" y="23929"/>
                      <a:pt x="18528" y="25072"/>
                    </a:cubicBezTo>
                    <a:moveTo>
                      <a:pt x="43579" y="35264"/>
                    </a:moveTo>
                    <a:lnTo>
                      <a:pt x="25958" y="17928"/>
                    </a:lnTo>
                    <a:lnTo>
                      <a:pt x="28148" y="16595"/>
                    </a:lnTo>
                    <a:lnTo>
                      <a:pt x="55295" y="28120"/>
                    </a:lnTo>
                    <a:lnTo>
                      <a:pt x="53390" y="29263"/>
                    </a:lnTo>
                    <a:lnTo>
                      <a:pt x="44817" y="25643"/>
                    </a:lnTo>
                    <a:lnTo>
                      <a:pt x="39864" y="28596"/>
                    </a:lnTo>
                    <a:lnTo>
                      <a:pt x="45389" y="34025"/>
                    </a:lnTo>
                    <a:lnTo>
                      <a:pt x="43579" y="35264"/>
                    </a:lnTo>
                    <a:moveTo>
                      <a:pt x="48341" y="18023"/>
                    </a:moveTo>
                    <a:lnTo>
                      <a:pt x="48341" y="18023"/>
                    </a:lnTo>
                    <a:cubicBezTo>
                      <a:pt x="47294" y="16785"/>
                      <a:pt x="46341" y="15547"/>
                      <a:pt x="45198" y="14213"/>
                    </a:cubicBezTo>
                    <a:lnTo>
                      <a:pt x="41007" y="8975"/>
                    </a:lnTo>
                    <a:lnTo>
                      <a:pt x="43103" y="7736"/>
                    </a:lnTo>
                    <a:lnTo>
                      <a:pt x="51199" y="18881"/>
                    </a:lnTo>
                    <a:lnTo>
                      <a:pt x="60724" y="25072"/>
                    </a:lnTo>
                    <a:lnTo>
                      <a:pt x="58914" y="26215"/>
                    </a:lnTo>
                    <a:lnTo>
                      <a:pt x="49389" y="20119"/>
                    </a:lnTo>
                    <a:lnTo>
                      <a:pt x="32054" y="14499"/>
                    </a:lnTo>
                    <a:lnTo>
                      <a:pt x="34149" y="13261"/>
                    </a:lnTo>
                    <a:lnTo>
                      <a:pt x="42341" y="16023"/>
                    </a:lnTo>
                    <a:cubicBezTo>
                      <a:pt x="44531" y="16690"/>
                      <a:pt x="46341" y="17357"/>
                      <a:pt x="48341" y="18023"/>
                    </a:cubicBezTo>
                    <a:moveTo>
                      <a:pt x="35292" y="40217"/>
                    </a:moveTo>
                    <a:lnTo>
                      <a:pt x="13194" y="25929"/>
                    </a:lnTo>
                    <a:cubicBezTo>
                      <a:pt x="13861" y="25262"/>
                      <a:pt x="14813" y="24405"/>
                      <a:pt x="16242" y="23548"/>
                    </a:cubicBezTo>
                    <a:cubicBezTo>
                      <a:pt x="18052" y="22500"/>
                      <a:pt x="20052" y="22119"/>
                      <a:pt x="22052" y="22405"/>
                    </a:cubicBezTo>
                    <a:cubicBezTo>
                      <a:pt x="23862" y="22595"/>
                      <a:pt x="25958" y="23453"/>
                      <a:pt x="27958" y="24691"/>
                    </a:cubicBezTo>
                    <a:cubicBezTo>
                      <a:pt x="29958" y="26024"/>
                      <a:pt x="31196" y="27263"/>
                      <a:pt x="31673" y="28406"/>
                    </a:cubicBezTo>
                    <a:cubicBezTo>
                      <a:pt x="32339" y="30025"/>
                      <a:pt x="31577" y="31549"/>
                      <a:pt x="29863" y="32597"/>
                    </a:cubicBezTo>
                    <a:cubicBezTo>
                      <a:pt x="29291" y="32882"/>
                      <a:pt x="28815" y="33168"/>
                      <a:pt x="28244" y="33359"/>
                    </a:cubicBezTo>
                    <a:lnTo>
                      <a:pt x="37197" y="39169"/>
                    </a:lnTo>
                    <a:lnTo>
                      <a:pt x="35292" y="40217"/>
                    </a:lnTo>
                    <a:moveTo>
                      <a:pt x="47865" y="1450"/>
                    </a:moveTo>
                    <a:lnTo>
                      <a:pt x="2526" y="28501"/>
                    </a:lnTo>
                    <a:cubicBezTo>
                      <a:pt x="-2332" y="31358"/>
                      <a:pt x="50" y="37740"/>
                      <a:pt x="7670" y="42693"/>
                    </a:cubicBezTo>
                    <a:cubicBezTo>
                      <a:pt x="15385" y="47646"/>
                      <a:pt x="25481" y="49361"/>
                      <a:pt x="30339" y="46408"/>
                    </a:cubicBezTo>
                    <a:lnTo>
                      <a:pt x="75678" y="19357"/>
                    </a:lnTo>
                    <a:cubicBezTo>
                      <a:pt x="80536" y="16499"/>
                      <a:pt x="78155" y="10118"/>
                      <a:pt x="70535" y="5165"/>
                    </a:cubicBezTo>
                    <a:cubicBezTo>
                      <a:pt x="62819" y="212"/>
                      <a:pt x="52628" y="-1503"/>
                      <a:pt x="47865" y="1450"/>
                    </a:cubicBezTo>
                  </a:path>
                </a:pathLst>
              </a:custGeom>
              <a:solidFill>
                <a:srgbClr val="FF8B00"/>
              </a:solidFill>
              <a:ln w="9525" cap="flat">
                <a:noFill/>
                <a:prstDash val="solid"/>
                <a:miter/>
              </a:ln>
            </p:spPr>
            <p:txBody>
              <a:bodyPr rtlCol="0" anchor="ctr"/>
              <a:lstStyle/>
              <a:p>
                <a:endParaRPr lang="en-IN"/>
              </a:p>
            </p:txBody>
          </p:sp>
          <p:sp>
            <p:nvSpPr>
              <p:cNvPr id="779" name="Freeform: Shape 778">
                <a:extLst>
                  <a:ext uri="{FF2B5EF4-FFF2-40B4-BE49-F238E27FC236}">
                    <a16:creationId xmlns:a16="http://schemas.microsoft.com/office/drawing/2014/main" id="{A9A5847A-26C5-4E4D-977C-5B169EEF3882}"/>
                  </a:ext>
                </a:extLst>
              </p:cNvPr>
              <p:cNvSpPr/>
              <p:nvPr/>
            </p:nvSpPr>
            <p:spPr>
              <a:xfrm>
                <a:off x="5863018" y="2144557"/>
                <a:ext cx="23907" cy="17903"/>
              </a:xfrm>
              <a:custGeom>
                <a:avLst/>
                <a:gdLst>
                  <a:gd name="connsiteX0" fmla="*/ 14288 w 23907"/>
                  <a:gd name="connsiteY0" fmla="*/ 8760 h 17903"/>
                  <a:gd name="connsiteX1" fmla="*/ 12573 w 23907"/>
                  <a:gd name="connsiteY1" fmla="*/ 9522 h 17903"/>
                  <a:gd name="connsiteX2" fmla="*/ 3905 w 23907"/>
                  <a:gd name="connsiteY2" fmla="*/ 3902 h 17903"/>
                  <a:gd name="connsiteX3" fmla="*/ 5429 w 23907"/>
                  <a:gd name="connsiteY3" fmla="*/ 2759 h 17903"/>
                  <a:gd name="connsiteX4" fmla="*/ 13144 w 23907"/>
                  <a:gd name="connsiteY4" fmla="*/ 3616 h 17903"/>
                  <a:gd name="connsiteX5" fmla="*/ 14288 w 23907"/>
                  <a:gd name="connsiteY5" fmla="*/ 8760 h 17903"/>
                  <a:gd name="connsiteX6" fmla="*/ 3048 w 23907"/>
                  <a:gd name="connsiteY6" fmla="*/ 1235 h 17903"/>
                  <a:gd name="connsiteX7" fmla="*/ 0 w 23907"/>
                  <a:gd name="connsiteY7" fmla="*/ 3616 h 17903"/>
                  <a:gd name="connsiteX8" fmla="*/ 22098 w 23907"/>
                  <a:gd name="connsiteY8" fmla="*/ 17904 h 17903"/>
                  <a:gd name="connsiteX9" fmla="*/ 23908 w 23907"/>
                  <a:gd name="connsiteY9" fmla="*/ 16856 h 17903"/>
                  <a:gd name="connsiteX10" fmla="*/ 14954 w 23907"/>
                  <a:gd name="connsiteY10" fmla="*/ 11046 h 17903"/>
                  <a:gd name="connsiteX11" fmla="*/ 16573 w 23907"/>
                  <a:gd name="connsiteY11" fmla="*/ 10284 h 17903"/>
                  <a:gd name="connsiteX12" fmla="*/ 18383 w 23907"/>
                  <a:gd name="connsiteY12" fmla="*/ 6093 h 17903"/>
                  <a:gd name="connsiteX13" fmla="*/ 14668 w 23907"/>
                  <a:gd name="connsiteY13" fmla="*/ 2378 h 17903"/>
                  <a:gd name="connsiteX14" fmla="*/ 8763 w 23907"/>
                  <a:gd name="connsiteY14" fmla="*/ 92 h 17903"/>
                  <a:gd name="connsiteX15" fmla="*/ 3048 w 23907"/>
                  <a:gd name="connsiteY15" fmla="*/ 1235 h 17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907" h="17903">
                    <a:moveTo>
                      <a:pt x="14288" y="8760"/>
                    </a:moveTo>
                    <a:cubicBezTo>
                      <a:pt x="13716" y="9141"/>
                      <a:pt x="13144" y="9331"/>
                      <a:pt x="12573" y="9522"/>
                    </a:cubicBezTo>
                    <a:lnTo>
                      <a:pt x="3905" y="3902"/>
                    </a:lnTo>
                    <a:cubicBezTo>
                      <a:pt x="4096" y="3616"/>
                      <a:pt x="4572" y="3235"/>
                      <a:pt x="5429" y="2759"/>
                    </a:cubicBezTo>
                    <a:cubicBezTo>
                      <a:pt x="7429" y="1521"/>
                      <a:pt x="10192" y="1711"/>
                      <a:pt x="13144" y="3616"/>
                    </a:cubicBezTo>
                    <a:cubicBezTo>
                      <a:pt x="16192" y="5521"/>
                      <a:pt x="16478" y="7426"/>
                      <a:pt x="14288" y="8760"/>
                    </a:cubicBezTo>
                    <a:moveTo>
                      <a:pt x="3048" y="1235"/>
                    </a:moveTo>
                    <a:cubicBezTo>
                      <a:pt x="1619" y="2092"/>
                      <a:pt x="667" y="2949"/>
                      <a:pt x="0" y="3616"/>
                    </a:cubicBezTo>
                    <a:lnTo>
                      <a:pt x="22098" y="17904"/>
                    </a:lnTo>
                    <a:lnTo>
                      <a:pt x="23908" y="16856"/>
                    </a:lnTo>
                    <a:lnTo>
                      <a:pt x="14954" y="11046"/>
                    </a:lnTo>
                    <a:cubicBezTo>
                      <a:pt x="15526" y="10855"/>
                      <a:pt x="16097" y="10665"/>
                      <a:pt x="16573" y="10284"/>
                    </a:cubicBezTo>
                    <a:cubicBezTo>
                      <a:pt x="18383" y="9236"/>
                      <a:pt x="19050" y="7712"/>
                      <a:pt x="18383" y="6093"/>
                    </a:cubicBezTo>
                    <a:cubicBezTo>
                      <a:pt x="17907" y="4950"/>
                      <a:pt x="16669" y="3711"/>
                      <a:pt x="14668" y="2378"/>
                    </a:cubicBezTo>
                    <a:cubicBezTo>
                      <a:pt x="12668" y="1044"/>
                      <a:pt x="10573" y="282"/>
                      <a:pt x="8763" y="92"/>
                    </a:cubicBezTo>
                    <a:cubicBezTo>
                      <a:pt x="6763" y="-194"/>
                      <a:pt x="4858" y="187"/>
                      <a:pt x="3048" y="1235"/>
                    </a:cubicBezTo>
                  </a:path>
                </a:pathLst>
              </a:custGeom>
              <a:solidFill>
                <a:srgbClr val="F9F9F9"/>
              </a:solidFill>
              <a:ln w="9525" cap="flat">
                <a:noFill/>
                <a:prstDash val="solid"/>
                <a:miter/>
              </a:ln>
            </p:spPr>
            <p:txBody>
              <a:bodyPr rtlCol="0" anchor="ctr"/>
              <a:lstStyle/>
              <a:p>
                <a:endParaRPr lang="en-IN"/>
              </a:p>
            </p:txBody>
          </p:sp>
          <p:sp>
            <p:nvSpPr>
              <p:cNvPr id="780" name="Freeform: Shape 779">
                <a:extLst>
                  <a:ext uri="{FF2B5EF4-FFF2-40B4-BE49-F238E27FC236}">
                    <a16:creationId xmlns:a16="http://schemas.microsoft.com/office/drawing/2014/main" id="{42F90C95-591E-450C-8A88-CB683121592F}"/>
                  </a:ext>
                </a:extLst>
              </p:cNvPr>
              <p:cNvSpPr/>
              <p:nvPr/>
            </p:nvSpPr>
            <p:spPr>
              <a:xfrm>
                <a:off x="5875781" y="2138838"/>
                <a:ext cx="29432" cy="18669"/>
              </a:xfrm>
              <a:custGeom>
                <a:avLst/>
                <a:gdLst>
                  <a:gd name="connsiteX0" fmla="*/ 12002 w 29432"/>
                  <a:gd name="connsiteY0" fmla="*/ 10382 h 18669"/>
                  <a:gd name="connsiteX1" fmla="*/ 6953 w 29432"/>
                  <a:gd name="connsiteY1" fmla="*/ 5334 h 18669"/>
                  <a:gd name="connsiteX2" fmla="*/ 3620 w 29432"/>
                  <a:gd name="connsiteY2" fmla="*/ 2286 h 18669"/>
                  <a:gd name="connsiteX3" fmla="*/ 3620 w 29432"/>
                  <a:gd name="connsiteY3" fmla="*/ 2286 h 18669"/>
                  <a:gd name="connsiteX4" fmla="*/ 8382 w 29432"/>
                  <a:gd name="connsiteY4" fmla="*/ 4477 h 18669"/>
                  <a:gd name="connsiteX5" fmla="*/ 16193 w 29432"/>
                  <a:gd name="connsiteY5" fmla="*/ 7810 h 18669"/>
                  <a:gd name="connsiteX6" fmla="*/ 12002 w 29432"/>
                  <a:gd name="connsiteY6" fmla="*/ 10382 h 18669"/>
                  <a:gd name="connsiteX7" fmla="*/ 2191 w 29432"/>
                  <a:gd name="connsiteY7" fmla="*/ 0 h 18669"/>
                  <a:gd name="connsiteX8" fmla="*/ 0 w 29432"/>
                  <a:gd name="connsiteY8" fmla="*/ 1333 h 18669"/>
                  <a:gd name="connsiteX9" fmla="*/ 17621 w 29432"/>
                  <a:gd name="connsiteY9" fmla="*/ 18669 h 18669"/>
                  <a:gd name="connsiteX10" fmla="*/ 19526 w 29432"/>
                  <a:gd name="connsiteY10" fmla="*/ 17526 h 18669"/>
                  <a:gd name="connsiteX11" fmla="*/ 14002 w 29432"/>
                  <a:gd name="connsiteY11" fmla="*/ 12097 h 18669"/>
                  <a:gd name="connsiteX12" fmla="*/ 18955 w 29432"/>
                  <a:gd name="connsiteY12" fmla="*/ 9144 h 18669"/>
                  <a:gd name="connsiteX13" fmla="*/ 27527 w 29432"/>
                  <a:gd name="connsiteY13" fmla="*/ 12764 h 18669"/>
                  <a:gd name="connsiteX14" fmla="*/ 29432 w 29432"/>
                  <a:gd name="connsiteY14" fmla="*/ 11621 h 18669"/>
                  <a:gd name="connsiteX15" fmla="*/ 2191 w 29432"/>
                  <a:gd name="connsiteY15" fmla="*/ 0 h 1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432" h="18669">
                    <a:moveTo>
                      <a:pt x="12002" y="10382"/>
                    </a:moveTo>
                    <a:lnTo>
                      <a:pt x="6953" y="5334"/>
                    </a:lnTo>
                    <a:cubicBezTo>
                      <a:pt x="5906" y="4286"/>
                      <a:pt x="4763" y="3239"/>
                      <a:pt x="3620" y="2286"/>
                    </a:cubicBezTo>
                    <a:lnTo>
                      <a:pt x="3620" y="2286"/>
                    </a:lnTo>
                    <a:cubicBezTo>
                      <a:pt x="5144" y="2953"/>
                      <a:pt x="6668" y="3715"/>
                      <a:pt x="8382" y="4477"/>
                    </a:cubicBezTo>
                    <a:lnTo>
                      <a:pt x="16193" y="7810"/>
                    </a:lnTo>
                    <a:lnTo>
                      <a:pt x="12002" y="10382"/>
                    </a:lnTo>
                    <a:moveTo>
                      <a:pt x="2191" y="0"/>
                    </a:moveTo>
                    <a:lnTo>
                      <a:pt x="0" y="1333"/>
                    </a:lnTo>
                    <a:lnTo>
                      <a:pt x="17621" y="18669"/>
                    </a:lnTo>
                    <a:lnTo>
                      <a:pt x="19526" y="17526"/>
                    </a:lnTo>
                    <a:lnTo>
                      <a:pt x="14002" y="12097"/>
                    </a:lnTo>
                    <a:lnTo>
                      <a:pt x="18955" y="9144"/>
                    </a:lnTo>
                    <a:lnTo>
                      <a:pt x="27527" y="12764"/>
                    </a:lnTo>
                    <a:lnTo>
                      <a:pt x="29432" y="11621"/>
                    </a:lnTo>
                    <a:lnTo>
                      <a:pt x="2191" y="0"/>
                    </a:lnTo>
                  </a:path>
                </a:pathLst>
              </a:custGeom>
              <a:solidFill>
                <a:srgbClr val="F9F9F9"/>
              </a:solidFill>
              <a:ln w="9525" cap="flat">
                <a:noFill/>
                <a:prstDash val="solid"/>
                <a:miter/>
              </a:ln>
            </p:spPr>
            <p:txBody>
              <a:bodyPr rtlCol="0" anchor="ctr"/>
              <a:lstStyle/>
              <a:p>
                <a:endParaRPr lang="en-IN"/>
              </a:p>
            </p:txBody>
          </p:sp>
          <p:sp>
            <p:nvSpPr>
              <p:cNvPr id="781" name="Freeform: Shape 780">
                <a:extLst>
                  <a:ext uri="{FF2B5EF4-FFF2-40B4-BE49-F238E27FC236}">
                    <a16:creationId xmlns:a16="http://schemas.microsoft.com/office/drawing/2014/main" id="{B71E60C6-FE0C-4948-98FD-DCCF3338FF13}"/>
                  </a:ext>
                </a:extLst>
              </p:cNvPr>
              <p:cNvSpPr/>
              <p:nvPr/>
            </p:nvSpPr>
            <p:spPr>
              <a:xfrm>
                <a:off x="5881877" y="2129980"/>
                <a:ext cx="28670" cy="18383"/>
              </a:xfrm>
              <a:custGeom>
                <a:avLst/>
                <a:gdLst>
                  <a:gd name="connsiteX0" fmla="*/ 11049 w 28670"/>
                  <a:gd name="connsiteY0" fmla="*/ 0 h 18383"/>
                  <a:gd name="connsiteX1" fmla="*/ 8953 w 28670"/>
                  <a:gd name="connsiteY1" fmla="*/ 1238 h 18383"/>
                  <a:gd name="connsiteX2" fmla="*/ 13145 w 28670"/>
                  <a:gd name="connsiteY2" fmla="*/ 6477 h 18383"/>
                  <a:gd name="connsiteX3" fmla="*/ 16288 w 28670"/>
                  <a:gd name="connsiteY3" fmla="*/ 10287 h 18383"/>
                  <a:gd name="connsiteX4" fmla="*/ 16288 w 28670"/>
                  <a:gd name="connsiteY4" fmla="*/ 10287 h 18383"/>
                  <a:gd name="connsiteX5" fmla="*/ 10287 w 28670"/>
                  <a:gd name="connsiteY5" fmla="*/ 8191 h 18383"/>
                  <a:gd name="connsiteX6" fmla="*/ 2095 w 28670"/>
                  <a:gd name="connsiteY6" fmla="*/ 5429 h 18383"/>
                  <a:gd name="connsiteX7" fmla="*/ 0 w 28670"/>
                  <a:gd name="connsiteY7" fmla="*/ 6667 h 18383"/>
                  <a:gd name="connsiteX8" fmla="*/ 17335 w 28670"/>
                  <a:gd name="connsiteY8" fmla="*/ 12287 h 18383"/>
                  <a:gd name="connsiteX9" fmla="*/ 26860 w 28670"/>
                  <a:gd name="connsiteY9" fmla="*/ 18383 h 18383"/>
                  <a:gd name="connsiteX10" fmla="*/ 28670 w 28670"/>
                  <a:gd name="connsiteY10" fmla="*/ 17240 h 18383"/>
                  <a:gd name="connsiteX11" fmla="*/ 19145 w 28670"/>
                  <a:gd name="connsiteY11" fmla="*/ 11049 h 18383"/>
                  <a:gd name="connsiteX12" fmla="*/ 11049 w 28670"/>
                  <a:gd name="connsiteY12" fmla="*/ 0 h 1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670" h="18383">
                    <a:moveTo>
                      <a:pt x="11049" y="0"/>
                    </a:moveTo>
                    <a:lnTo>
                      <a:pt x="8953" y="1238"/>
                    </a:lnTo>
                    <a:lnTo>
                      <a:pt x="13145" y="6477"/>
                    </a:lnTo>
                    <a:cubicBezTo>
                      <a:pt x="14288" y="7906"/>
                      <a:pt x="15240" y="9144"/>
                      <a:pt x="16288" y="10287"/>
                    </a:cubicBezTo>
                    <a:lnTo>
                      <a:pt x="16288" y="10287"/>
                    </a:lnTo>
                    <a:cubicBezTo>
                      <a:pt x="14288" y="9525"/>
                      <a:pt x="12478" y="8954"/>
                      <a:pt x="10287" y="8191"/>
                    </a:cubicBezTo>
                    <a:lnTo>
                      <a:pt x="2095" y="5429"/>
                    </a:lnTo>
                    <a:lnTo>
                      <a:pt x="0" y="6667"/>
                    </a:lnTo>
                    <a:lnTo>
                      <a:pt x="17335" y="12287"/>
                    </a:lnTo>
                    <a:lnTo>
                      <a:pt x="26860" y="18383"/>
                    </a:lnTo>
                    <a:lnTo>
                      <a:pt x="28670" y="17240"/>
                    </a:lnTo>
                    <a:lnTo>
                      <a:pt x="19145" y="11049"/>
                    </a:lnTo>
                    <a:lnTo>
                      <a:pt x="11049" y="0"/>
                    </a:lnTo>
                  </a:path>
                </a:pathLst>
              </a:custGeom>
              <a:solidFill>
                <a:srgbClr val="F9F9F9"/>
              </a:solidFill>
              <a:ln w="9525" cap="flat">
                <a:noFill/>
                <a:prstDash val="solid"/>
                <a:miter/>
              </a:ln>
            </p:spPr>
            <p:txBody>
              <a:bodyPr rtlCol="0" anchor="ctr"/>
              <a:lstStyle/>
              <a:p>
                <a:endParaRPr lang="en-IN"/>
              </a:p>
            </p:txBody>
          </p:sp>
        </p:grpSp>
        <p:sp>
          <p:nvSpPr>
            <p:cNvPr id="782" name="Freeform: Shape 781">
              <a:extLst>
                <a:ext uri="{FF2B5EF4-FFF2-40B4-BE49-F238E27FC236}">
                  <a16:creationId xmlns:a16="http://schemas.microsoft.com/office/drawing/2014/main" id="{92C5C41C-C788-4FC3-8CB9-2430FCEAB6CF}"/>
                </a:ext>
              </a:extLst>
            </p:cNvPr>
            <p:cNvSpPr/>
            <p:nvPr/>
          </p:nvSpPr>
          <p:spPr>
            <a:xfrm>
              <a:off x="5901322" y="2038507"/>
              <a:ext cx="298943" cy="154386"/>
            </a:xfrm>
            <a:custGeom>
              <a:avLst/>
              <a:gdLst>
                <a:gd name="connsiteX0" fmla="*/ 52564 w 298943"/>
                <a:gd name="connsiteY0" fmla="*/ 65470 h 154386"/>
                <a:gd name="connsiteX1" fmla="*/ 27322 w 298943"/>
                <a:gd name="connsiteY1" fmla="*/ 93378 h 154386"/>
                <a:gd name="connsiteX2" fmla="*/ 10463 w 298943"/>
                <a:gd name="connsiteY2" fmla="*/ 115095 h 154386"/>
                <a:gd name="connsiteX3" fmla="*/ 366 w 298943"/>
                <a:gd name="connsiteY3" fmla="*/ 108142 h 154386"/>
                <a:gd name="connsiteX4" fmla="*/ 14368 w 298943"/>
                <a:gd name="connsiteY4" fmla="*/ 69661 h 154386"/>
                <a:gd name="connsiteX5" fmla="*/ 46849 w 298943"/>
                <a:gd name="connsiteY5" fmla="*/ 18893 h 154386"/>
                <a:gd name="connsiteX6" fmla="*/ 70947 w 298943"/>
                <a:gd name="connsiteY6" fmla="*/ 16702 h 154386"/>
                <a:gd name="connsiteX7" fmla="*/ 81519 w 298943"/>
                <a:gd name="connsiteY7" fmla="*/ 8034 h 154386"/>
                <a:gd name="connsiteX8" fmla="*/ 99331 w 298943"/>
                <a:gd name="connsiteY8" fmla="*/ 8034 h 154386"/>
                <a:gd name="connsiteX9" fmla="*/ 103141 w 298943"/>
                <a:gd name="connsiteY9" fmla="*/ 2510 h 154386"/>
                <a:gd name="connsiteX10" fmla="*/ 120191 w 298943"/>
                <a:gd name="connsiteY10" fmla="*/ 2510 h 154386"/>
                <a:gd name="connsiteX11" fmla="*/ 130288 w 298943"/>
                <a:gd name="connsiteY11" fmla="*/ 129 h 154386"/>
                <a:gd name="connsiteX12" fmla="*/ 166387 w 298943"/>
                <a:gd name="connsiteY12" fmla="*/ 19655 h 154386"/>
                <a:gd name="connsiteX13" fmla="*/ 210679 w 298943"/>
                <a:gd name="connsiteY13" fmla="*/ 58707 h 154386"/>
                <a:gd name="connsiteX14" fmla="*/ 239539 w 298943"/>
                <a:gd name="connsiteY14" fmla="*/ 84996 h 154386"/>
                <a:gd name="connsiteX15" fmla="*/ 268210 w 298943"/>
                <a:gd name="connsiteY15" fmla="*/ 98522 h 154386"/>
                <a:gd name="connsiteX16" fmla="*/ 298594 w 298943"/>
                <a:gd name="connsiteY16" fmla="*/ 122811 h 154386"/>
                <a:gd name="connsiteX17" fmla="*/ 291832 w 298943"/>
                <a:gd name="connsiteY17" fmla="*/ 133193 h 154386"/>
                <a:gd name="connsiteX18" fmla="*/ 262971 w 298943"/>
                <a:gd name="connsiteY18" fmla="*/ 151290 h 154386"/>
                <a:gd name="connsiteX19" fmla="*/ 214108 w 298943"/>
                <a:gd name="connsiteY19" fmla="*/ 153481 h 154386"/>
                <a:gd name="connsiteX20" fmla="*/ 170292 w 298943"/>
                <a:gd name="connsiteY20" fmla="*/ 138527 h 154386"/>
                <a:gd name="connsiteX21" fmla="*/ 148099 w 298943"/>
                <a:gd name="connsiteY21" fmla="*/ 129859 h 154386"/>
                <a:gd name="connsiteX22" fmla="*/ 101141 w 298943"/>
                <a:gd name="connsiteY22" fmla="*/ 130812 h 154386"/>
                <a:gd name="connsiteX23" fmla="*/ 63803 w 298943"/>
                <a:gd name="connsiteY23" fmla="*/ 126716 h 154386"/>
                <a:gd name="connsiteX24" fmla="*/ 53897 w 298943"/>
                <a:gd name="connsiteY24" fmla="*/ 115381 h 154386"/>
                <a:gd name="connsiteX25" fmla="*/ 57993 w 298943"/>
                <a:gd name="connsiteY25" fmla="*/ 93950 h 154386"/>
                <a:gd name="connsiteX26" fmla="*/ 56850 w 298943"/>
                <a:gd name="connsiteY26" fmla="*/ 81472 h 154386"/>
                <a:gd name="connsiteX27" fmla="*/ 55040 w 298943"/>
                <a:gd name="connsiteY27" fmla="*/ 74233 h 154386"/>
                <a:gd name="connsiteX28" fmla="*/ 52564 w 298943"/>
                <a:gd name="connsiteY28" fmla="*/ 65470 h 154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8943" h="154386">
                  <a:moveTo>
                    <a:pt x="52564" y="65470"/>
                  </a:moveTo>
                  <a:cubicBezTo>
                    <a:pt x="52564" y="65470"/>
                    <a:pt x="34942" y="72233"/>
                    <a:pt x="27322" y="93378"/>
                  </a:cubicBezTo>
                  <a:cubicBezTo>
                    <a:pt x="19607" y="114524"/>
                    <a:pt x="10463" y="115095"/>
                    <a:pt x="10463" y="115095"/>
                  </a:cubicBezTo>
                  <a:cubicBezTo>
                    <a:pt x="10463" y="115095"/>
                    <a:pt x="-2300" y="115572"/>
                    <a:pt x="366" y="108142"/>
                  </a:cubicBezTo>
                  <a:cubicBezTo>
                    <a:pt x="3034" y="100713"/>
                    <a:pt x="11225" y="75186"/>
                    <a:pt x="14368" y="69661"/>
                  </a:cubicBezTo>
                  <a:cubicBezTo>
                    <a:pt x="17512" y="64137"/>
                    <a:pt x="42277" y="20798"/>
                    <a:pt x="46849" y="18893"/>
                  </a:cubicBezTo>
                  <a:cubicBezTo>
                    <a:pt x="51420" y="16988"/>
                    <a:pt x="64470" y="17178"/>
                    <a:pt x="70947" y="16702"/>
                  </a:cubicBezTo>
                  <a:cubicBezTo>
                    <a:pt x="77424" y="16226"/>
                    <a:pt x="80853" y="8987"/>
                    <a:pt x="81519" y="8034"/>
                  </a:cubicBezTo>
                  <a:cubicBezTo>
                    <a:pt x="82282" y="7082"/>
                    <a:pt x="96188" y="9273"/>
                    <a:pt x="99331" y="8034"/>
                  </a:cubicBezTo>
                  <a:cubicBezTo>
                    <a:pt x="102475" y="6796"/>
                    <a:pt x="101713" y="3653"/>
                    <a:pt x="103141" y="2510"/>
                  </a:cubicBezTo>
                  <a:cubicBezTo>
                    <a:pt x="104570" y="1272"/>
                    <a:pt x="119048" y="2796"/>
                    <a:pt x="120191" y="2510"/>
                  </a:cubicBezTo>
                  <a:cubicBezTo>
                    <a:pt x="121429" y="2224"/>
                    <a:pt x="125049" y="-633"/>
                    <a:pt x="130288" y="129"/>
                  </a:cubicBezTo>
                  <a:cubicBezTo>
                    <a:pt x="135526" y="891"/>
                    <a:pt x="158005" y="13178"/>
                    <a:pt x="166387" y="19655"/>
                  </a:cubicBezTo>
                  <a:cubicBezTo>
                    <a:pt x="174769" y="26132"/>
                    <a:pt x="210679" y="58707"/>
                    <a:pt x="210679" y="58707"/>
                  </a:cubicBezTo>
                  <a:cubicBezTo>
                    <a:pt x="210679" y="58707"/>
                    <a:pt x="236682" y="83282"/>
                    <a:pt x="239539" y="84996"/>
                  </a:cubicBezTo>
                  <a:cubicBezTo>
                    <a:pt x="242397" y="86711"/>
                    <a:pt x="263638" y="96807"/>
                    <a:pt x="268210" y="98522"/>
                  </a:cubicBezTo>
                  <a:cubicBezTo>
                    <a:pt x="272782" y="100236"/>
                    <a:pt x="297547" y="121858"/>
                    <a:pt x="298594" y="122811"/>
                  </a:cubicBezTo>
                  <a:cubicBezTo>
                    <a:pt x="299642" y="123763"/>
                    <a:pt x="298594" y="127192"/>
                    <a:pt x="291832" y="133193"/>
                  </a:cubicBezTo>
                  <a:cubicBezTo>
                    <a:pt x="285069" y="139194"/>
                    <a:pt x="277354" y="146433"/>
                    <a:pt x="262971" y="151290"/>
                  </a:cubicBezTo>
                  <a:cubicBezTo>
                    <a:pt x="248493" y="156148"/>
                    <a:pt x="222013" y="153957"/>
                    <a:pt x="214108" y="153481"/>
                  </a:cubicBezTo>
                  <a:cubicBezTo>
                    <a:pt x="206202" y="153005"/>
                    <a:pt x="174388" y="141480"/>
                    <a:pt x="170292" y="138527"/>
                  </a:cubicBezTo>
                  <a:cubicBezTo>
                    <a:pt x="166197" y="135669"/>
                    <a:pt x="151719" y="130335"/>
                    <a:pt x="148099" y="129859"/>
                  </a:cubicBezTo>
                  <a:cubicBezTo>
                    <a:pt x="144480" y="129383"/>
                    <a:pt x="102856" y="131574"/>
                    <a:pt x="101141" y="130812"/>
                  </a:cubicBezTo>
                  <a:cubicBezTo>
                    <a:pt x="99427" y="130050"/>
                    <a:pt x="71328" y="128430"/>
                    <a:pt x="63803" y="126716"/>
                  </a:cubicBezTo>
                  <a:cubicBezTo>
                    <a:pt x="56374" y="125001"/>
                    <a:pt x="53230" y="119001"/>
                    <a:pt x="53897" y="115381"/>
                  </a:cubicBezTo>
                  <a:cubicBezTo>
                    <a:pt x="54659" y="111762"/>
                    <a:pt x="56564" y="99760"/>
                    <a:pt x="57993" y="93950"/>
                  </a:cubicBezTo>
                  <a:cubicBezTo>
                    <a:pt x="59421" y="88140"/>
                    <a:pt x="56850" y="81472"/>
                    <a:pt x="56850" y="81472"/>
                  </a:cubicBezTo>
                  <a:cubicBezTo>
                    <a:pt x="56850" y="81472"/>
                    <a:pt x="55992" y="79567"/>
                    <a:pt x="55040" y="74233"/>
                  </a:cubicBezTo>
                  <a:cubicBezTo>
                    <a:pt x="54373" y="69090"/>
                    <a:pt x="53611" y="65184"/>
                    <a:pt x="52564" y="65470"/>
                  </a:cubicBezTo>
                  <a:close/>
                </a:path>
              </a:pathLst>
            </a:custGeom>
            <a:solidFill>
              <a:srgbClr val="FED4BD"/>
            </a:solidFill>
            <a:ln w="9525" cap="flat">
              <a:noFill/>
              <a:prstDash val="solid"/>
              <a:miter/>
            </a:ln>
          </p:spPr>
          <p:txBody>
            <a:bodyPr rtlCol="0" anchor="ctr"/>
            <a:lstStyle/>
            <a:p>
              <a:endParaRPr lang="en-IN"/>
            </a:p>
          </p:txBody>
        </p:sp>
      </p:grpSp>
      <p:sp>
        <p:nvSpPr>
          <p:cNvPr id="825" name="Rectangle 824">
            <a:extLst>
              <a:ext uri="{FF2B5EF4-FFF2-40B4-BE49-F238E27FC236}">
                <a16:creationId xmlns:a16="http://schemas.microsoft.com/office/drawing/2014/main" id="{06785A6F-847B-4FEF-9E81-4CE7FA50C7CB}"/>
              </a:ext>
            </a:extLst>
          </p:cNvPr>
          <p:cNvSpPr/>
          <p:nvPr/>
        </p:nvSpPr>
        <p:spPr>
          <a:xfrm>
            <a:off x="10400607" y="5799278"/>
            <a:ext cx="2476347" cy="905376"/>
          </a:xfrm>
          <a:prstGeom prst="rect">
            <a:avLst/>
          </a:prstGeom>
          <a:no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30E5D0"/>
                </a:solidFill>
                <a:effectLst/>
                <a:uLnTx/>
                <a:uFillTx/>
                <a:latin typeface="Segoe UI Semibold" panose="020B0702040204020203" pitchFamily="34" charset="0"/>
                <a:ea typeface="+mn-ea"/>
                <a:cs typeface="Segoe UI Semibold" panose="020B0702040204020203" pitchFamily="34" charset="0"/>
              </a:rPr>
              <a:t>Cash / Bank</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Treasury</a:t>
            </a:r>
          </a:p>
          <a:p>
            <a:pPr marL="0" marR="0" lvl="0" indent="0" algn="l" defTabSz="914400" rtl="0" eaLnBrk="1" fontAlgn="base" latinLnBrk="0" hangingPunct="1">
              <a:lnSpc>
                <a:spcPct val="100000"/>
              </a:lnSpc>
              <a:spcBef>
                <a:spcPts val="100"/>
              </a:spcBef>
              <a:spcAft>
                <a:spcPts val="200"/>
              </a:spcAft>
              <a:buClrTx/>
              <a:buSzTx/>
              <a:buFontTx/>
              <a:buNone/>
              <a:tabLst/>
              <a:defRPr/>
            </a:pPr>
            <a:r>
              <a:rPr lang="en-US" sz="1100">
                <a:solidFill>
                  <a:srgbClr val="FFFFFF"/>
                </a:solidFill>
                <a:latin typeface="Segoe UI"/>
              </a:rPr>
              <a:t>Reconciliation</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Intelligent Cashflow</a:t>
            </a:r>
          </a:p>
        </p:txBody>
      </p:sp>
      <p:cxnSp>
        <p:nvCxnSpPr>
          <p:cNvPr id="828" name="Straight Connector 827">
            <a:extLst>
              <a:ext uri="{FF2B5EF4-FFF2-40B4-BE49-F238E27FC236}">
                <a16:creationId xmlns:a16="http://schemas.microsoft.com/office/drawing/2014/main" id="{04AA4DEE-91F8-44CD-90E7-43942D8DA3A2}"/>
              </a:ext>
            </a:extLst>
          </p:cNvPr>
          <p:cNvCxnSpPr>
            <a:cxnSpLocks/>
          </p:cNvCxnSpPr>
          <p:nvPr/>
        </p:nvCxnSpPr>
        <p:spPr>
          <a:xfrm>
            <a:off x="9387574" y="5940839"/>
            <a:ext cx="957988" cy="0"/>
          </a:xfrm>
          <a:prstGeom prst="line">
            <a:avLst/>
          </a:prstGeom>
          <a:ln w="6350">
            <a:solidFill>
              <a:schemeClr val="accent5"/>
            </a:solidFill>
            <a:headEnd type="none"/>
            <a:tailEnd type="oval"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477229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C4B930C7-CA9A-4729-AD96-0FEB1F43044D}"/>
              </a:ext>
            </a:extLst>
          </p:cNvPr>
          <p:cNvGrpSpPr/>
          <p:nvPr/>
        </p:nvGrpSpPr>
        <p:grpSpPr>
          <a:xfrm>
            <a:off x="5638800" y="0"/>
            <a:ext cx="6553200" cy="6858000"/>
            <a:chOff x="5638800" y="0"/>
            <a:chExt cx="6553200" cy="6858000"/>
          </a:xfrm>
        </p:grpSpPr>
        <p:sp>
          <p:nvSpPr>
            <p:cNvPr id="21" name="Oval 20">
              <a:extLst>
                <a:ext uri="{FF2B5EF4-FFF2-40B4-BE49-F238E27FC236}">
                  <a16:creationId xmlns:a16="http://schemas.microsoft.com/office/drawing/2014/main" id="{9F18EE1D-EE3F-4BCA-87F9-88D39C601968}"/>
                </a:ext>
              </a:extLst>
            </p:cNvPr>
            <p:cNvSpPr/>
            <p:nvPr/>
          </p:nvSpPr>
          <p:spPr bwMode="auto">
            <a:xfrm>
              <a:off x="5967412" y="145143"/>
              <a:ext cx="680131" cy="2862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F96AD8FB-2170-4792-9D67-02723690D9D5}"/>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10" name="Rectangle 9">
            <a:extLst>
              <a:ext uri="{FF2B5EF4-FFF2-40B4-BE49-F238E27FC236}">
                <a16:creationId xmlns:a16="http://schemas.microsoft.com/office/drawing/2014/main" id="{0CAE5681-EF4B-407A-A005-A2C50D14E5D3}"/>
              </a:ext>
            </a:extLst>
          </p:cNvPr>
          <p:cNvSpPr/>
          <p:nvPr/>
        </p:nvSpPr>
        <p:spPr bwMode="auto">
          <a:xfrm>
            <a:off x="527050" y="2393020"/>
            <a:ext cx="4984749" cy="2617130"/>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Take advantage of a customizable and configurable tax engine and rules that determine tax applicability, calculation, posting, and settlement based on legal and business requirement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Configure features to let partners and customers create extensions and customizations based on their needs, without coding</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Comply with local and regional deployments for government regulations that require data to be stored or serviced differently than other countries/regions</a:t>
            </a:r>
          </a:p>
        </p:txBody>
      </p:sp>
      <p:sp>
        <p:nvSpPr>
          <p:cNvPr id="11" name="TextBox 10">
            <a:extLst>
              <a:ext uri="{FF2B5EF4-FFF2-40B4-BE49-F238E27FC236}">
                <a16:creationId xmlns:a16="http://schemas.microsoft.com/office/drawing/2014/main" id="{16D31CC6-5C97-4F14-ACCF-0C7143F38B78}"/>
              </a:ext>
            </a:extLst>
          </p:cNvPr>
          <p:cNvSpPr txBox="1"/>
          <p:nvPr/>
        </p:nvSpPr>
        <p:spPr>
          <a:xfrm>
            <a:off x="527049" y="1231900"/>
            <a:ext cx="411752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Globalization and taxes configuration</a:t>
            </a:r>
          </a:p>
        </p:txBody>
      </p:sp>
      <p:sp>
        <p:nvSpPr>
          <p:cNvPr id="15" name="TextBox 14">
            <a:extLst>
              <a:ext uri="{FF2B5EF4-FFF2-40B4-BE49-F238E27FC236}">
                <a16:creationId xmlns:a16="http://schemas.microsoft.com/office/drawing/2014/main" id="{267569CE-7B2F-493F-BEFD-22A4DDA62EE2}"/>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Keep up with frequently changing regulatory requirements: </a:t>
            </a:r>
          </a:p>
        </p:txBody>
      </p:sp>
      <p:sp>
        <p:nvSpPr>
          <p:cNvPr id="19" name="!! TAX MANAGEMENT">
            <a:extLst>
              <a:ext uri="{FF2B5EF4-FFF2-40B4-BE49-F238E27FC236}">
                <a16:creationId xmlns:a16="http://schemas.microsoft.com/office/drawing/2014/main" id="{E5D56692-09DE-43E7-A68C-FF662EFE72BD}"/>
              </a:ext>
            </a:extLst>
          </p:cNvPr>
          <p:cNvSpPr/>
          <p:nvPr/>
        </p:nvSpPr>
        <p:spPr bwMode="auto">
          <a:xfrm>
            <a:off x="477131" y="1267711"/>
            <a:ext cx="4152925" cy="880403"/>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solidFill>
                <a:srgbClr val="3C3C41"/>
              </a:solidFill>
              <a:effectLst/>
              <a:uLnTx/>
              <a:uFillTx/>
              <a:latin typeface="Segoe UI Semibold"/>
              <a:ea typeface="+mn-ea"/>
              <a:cs typeface="+mn-cs"/>
            </a:endParaRPr>
          </a:p>
        </p:txBody>
      </p:sp>
      <p:pic>
        <p:nvPicPr>
          <p:cNvPr id="12" name="globaltax">
            <a:hlinkClick r:id="" action="ppaction://media"/>
            <a:extLst>
              <a:ext uri="{FF2B5EF4-FFF2-40B4-BE49-F238E27FC236}">
                <a16:creationId xmlns:a16="http://schemas.microsoft.com/office/drawing/2014/main" id="{CA9156F3-E05F-4D60-BC4B-AEE6FB73494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236626" y="1267711"/>
            <a:ext cx="6979186" cy="4150617"/>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11679460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9733"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2"/>
                                        </p:tgtEl>
                                      </p:cBhvr>
                                    </p:cmd>
                                  </p:childTnLst>
                                </p:cTn>
                              </p:par>
                            </p:childTnLst>
                          </p:cTn>
                        </p:par>
                      </p:childTnLst>
                    </p:cTn>
                  </p:par>
                </p:childTnLst>
              </p:cTn>
              <p:nextCondLst>
                <p:cond evt="onClick" delay="0">
                  <p:tgtEl>
                    <p:spTgt spid="12"/>
                  </p:tgtEl>
                </p:cond>
              </p:nextCondLst>
            </p:seq>
            <p:video>
              <p:cMediaNode vol="80000">
                <p:cTn id="12" fill="hold" display="0">
                  <p:stCondLst>
                    <p:cond delay="indefinite"/>
                  </p:stCondLst>
                </p:cTn>
                <p:tgtEl>
                  <p:spTgt spid="12"/>
                </p:tgtEl>
              </p:cMediaNode>
            </p:vide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16BBD058-773A-41DD-AE62-8906236FA509}"/>
              </a:ext>
            </a:extLst>
          </p:cNvPr>
          <p:cNvGrpSpPr/>
          <p:nvPr/>
        </p:nvGrpSpPr>
        <p:grpSpPr>
          <a:xfrm>
            <a:off x="5638800" y="0"/>
            <a:ext cx="6553200" cy="6858000"/>
            <a:chOff x="5638800" y="0"/>
            <a:chExt cx="6553200" cy="6858000"/>
          </a:xfrm>
        </p:grpSpPr>
        <p:sp>
          <p:nvSpPr>
            <p:cNvPr id="27" name="Oval 26">
              <a:extLst>
                <a:ext uri="{FF2B5EF4-FFF2-40B4-BE49-F238E27FC236}">
                  <a16:creationId xmlns:a16="http://schemas.microsoft.com/office/drawing/2014/main" id="{2A781B58-9DCA-4CDF-911B-0E832DBAC084}"/>
                </a:ext>
              </a:extLst>
            </p:cNvPr>
            <p:cNvSpPr/>
            <p:nvPr/>
          </p:nvSpPr>
          <p:spPr bwMode="auto">
            <a:xfrm>
              <a:off x="5967412" y="145143"/>
              <a:ext cx="680131" cy="2862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E4AEA652-4403-423D-91A6-B86309EC8A7A}"/>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10" name="Rectangle 9">
            <a:extLst>
              <a:ext uri="{FF2B5EF4-FFF2-40B4-BE49-F238E27FC236}">
                <a16:creationId xmlns:a16="http://schemas.microsoft.com/office/drawing/2014/main" id="{F5D99EEF-F145-4C4E-B9E5-7DEC37685425}"/>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Manage revenue pricing, schedule, sale order reallocations, reporting, and more</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Enable users to enter prices recognized as different from what the customer is charged</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Use revenue schedules to determine the number of months for the revenue deferral</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Reallocate multiple sales order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View the status of schedule records created for deferred revenue</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Comply with IFRS 15 and ASC 606.</a:t>
            </a:r>
          </a:p>
        </p:txBody>
      </p:sp>
      <p:sp>
        <p:nvSpPr>
          <p:cNvPr id="11" name="TextBox 10">
            <a:extLst>
              <a:ext uri="{FF2B5EF4-FFF2-40B4-BE49-F238E27FC236}">
                <a16:creationId xmlns:a16="http://schemas.microsoft.com/office/drawing/2014/main" id="{EBCB2530-87FA-4654-9664-8B7C4ED8DE6C}"/>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Revenue recognition</a:t>
            </a:r>
          </a:p>
        </p:txBody>
      </p:sp>
      <p:sp>
        <p:nvSpPr>
          <p:cNvPr id="15" name="TextBox 14">
            <a:extLst>
              <a:ext uri="{FF2B5EF4-FFF2-40B4-BE49-F238E27FC236}">
                <a16:creationId xmlns:a16="http://schemas.microsoft.com/office/drawing/2014/main" id="{FEF6CA00-28AE-4174-BED3-65A9D7FDE1F1}"/>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Elevate financial capabilities with intelligent processes: </a:t>
            </a:r>
          </a:p>
        </p:txBody>
      </p:sp>
      <p:sp>
        <p:nvSpPr>
          <p:cNvPr id="25" name="!!REVENUE RECOGNITION">
            <a:extLst>
              <a:ext uri="{FF2B5EF4-FFF2-40B4-BE49-F238E27FC236}">
                <a16:creationId xmlns:a16="http://schemas.microsoft.com/office/drawing/2014/main" id="{58EC9833-6D86-4F6E-996B-779D0464090A}"/>
              </a:ext>
            </a:extLst>
          </p:cNvPr>
          <p:cNvSpPr/>
          <p:nvPr/>
        </p:nvSpPr>
        <p:spPr bwMode="auto">
          <a:xfrm>
            <a:off x="483372" y="1461480"/>
            <a:ext cx="3580628" cy="538740"/>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solidFill>
                <a:srgbClr val="3C3C41"/>
              </a:solidFill>
              <a:effectLst/>
              <a:uLnTx/>
              <a:uFillTx/>
              <a:latin typeface="Segoe UI"/>
              <a:ea typeface="+mn-ea"/>
              <a:cs typeface="+mn-cs"/>
            </a:endParaRPr>
          </a:p>
        </p:txBody>
      </p:sp>
      <p:pic>
        <p:nvPicPr>
          <p:cNvPr id="12" name="Screen Recording 1">
            <a:hlinkClick r:id="" action="ppaction://media"/>
            <a:extLst>
              <a:ext uri="{FF2B5EF4-FFF2-40B4-BE49-F238E27FC236}">
                <a16:creationId xmlns:a16="http://schemas.microsoft.com/office/drawing/2014/main" id="{4B0AFAC1-9F8E-4D5C-9CD3-CA483B41F2EC}"/>
              </a:ext>
            </a:extLst>
          </p:cNvPr>
          <p:cNvPicPr>
            <a:picLocks/>
          </p:cNvPicPr>
          <p:nvPr>
            <a:videoFile r:link="rId1"/>
            <p:extLst>
              <p:ext uri="{DAA4B4D4-6D71-4841-9C94-3DE7FCFB9230}">
                <p14:media xmlns:p14="http://schemas.microsoft.com/office/powerpoint/2010/main" r:embed="rId2">
                  <p14:trim end="1416.8"/>
                </p14:media>
              </p:ext>
            </p:extLst>
          </p:nvPr>
        </p:nvPicPr>
        <p:blipFill rotWithShape="1">
          <a:blip r:embed="rId5"/>
          <a:srcRect t="4595"/>
          <a:stretch/>
        </p:blipFill>
        <p:spPr>
          <a:xfrm>
            <a:off x="5239376" y="1522509"/>
            <a:ext cx="6869167" cy="3812981"/>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18761807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37020"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2"/>
                                        </p:tgtEl>
                                      </p:cBhvr>
                                    </p:cmd>
                                  </p:childTnLst>
                                </p:cTn>
                              </p:par>
                            </p:childTnLst>
                          </p:cTn>
                        </p:par>
                      </p:childTnLst>
                    </p:cTn>
                  </p:par>
                </p:childTnLst>
              </p:cTn>
              <p:nextCondLst>
                <p:cond evt="onClick" delay="0">
                  <p:tgtEl>
                    <p:spTgt spid="12"/>
                  </p:tgtEl>
                </p:cond>
              </p:nextCondLst>
            </p:seq>
            <p:video>
              <p:cMediaNode vol="80000" mute="1">
                <p:cTn id="12" fill="hold" display="0">
                  <p:stCondLst>
                    <p:cond delay="indefinite"/>
                  </p:stCondLst>
                </p:cTn>
                <p:tgtEl>
                  <p:spTgt spid="12"/>
                </p:tgtEl>
              </p:cMediaNode>
            </p:vide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07D05433-B824-432D-9F08-C442B0485B8F}"/>
              </a:ext>
            </a:extLst>
          </p:cNvPr>
          <p:cNvGrpSpPr/>
          <p:nvPr/>
        </p:nvGrpSpPr>
        <p:grpSpPr>
          <a:xfrm>
            <a:off x="5638800" y="0"/>
            <a:ext cx="6553200" cy="6858000"/>
            <a:chOff x="5638800" y="0"/>
            <a:chExt cx="6553200" cy="6858000"/>
          </a:xfrm>
        </p:grpSpPr>
        <p:sp>
          <p:nvSpPr>
            <p:cNvPr id="21" name="Oval 20">
              <a:extLst>
                <a:ext uri="{FF2B5EF4-FFF2-40B4-BE49-F238E27FC236}">
                  <a16:creationId xmlns:a16="http://schemas.microsoft.com/office/drawing/2014/main" id="{67786466-06FA-495A-9956-2CD386283910}"/>
                </a:ext>
              </a:extLst>
            </p:cNvPr>
            <p:cNvSpPr/>
            <p:nvPr/>
          </p:nvSpPr>
          <p:spPr bwMode="auto">
            <a:xfrm>
              <a:off x="5967412" y="145143"/>
              <a:ext cx="680131" cy="2862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465F62F2-587D-45A5-A6DA-8A5195C461B8}"/>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78C875D4-19DB-4AA7-B0DD-1B8739C6F6E0}"/>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Get enterprise-grade credit management capabilities to proactively suggest credit control activities</a:t>
            </a:r>
          </a:p>
          <a:p>
            <a:pPr marL="171450" lvl="0" indent="-171450" defTabSz="932472" fontAlgn="base">
              <a:spcAft>
                <a:spcPts val="600"/>
              </a:spcAft>
              <a:buFont typeface="Arial" panose="020B0604020202020204" pitchFamily="34" charset="0"/>
              <a:buChar char="•"/>
              <a:defRPr/>
            </a:pPr>
            <a:r>
              <a:rPr lang="en-US" sz="1600">
                <a:solidFill>
                  <a:srgbClr val="3C3C41"/>
                </a:solidFill>
                <a:cs typeface="Segoe UI"/>
              </a:rPr>
              <a:t>Manage credit risks while ensuring that customers have the flexibility to take advantage of promotions and make the purchases they need.</a:t>
            </a:r>
          </a:p>
          <a:p>
            <a:pPr marL="171450" lvl="0" indent="-171450" defTabSz="932472" fontAlgn="base">
              <a:spcAft>
                <a:spcPts val="600"/>
              </a:spcAft>
              <a:buFont typeface="Arial" panose="020B0604020202020204" pitchFamily="34" charset="0"/>
              <a:buChar char="•"/>
              <a:defRPr/>
            </a:pPr>
            <a:r>
              <a:rPr lang="en-US" sz="1600">
                <a:solidFill>
                  <a:srgbClr val="3C3C41"/>
                </a:solidFill>
                <a:cs typeface="Segoe UI"/>
              </a:rPr>
              <a:t>Implement supported functionalities such as:</a:t>
            </a:r>
          </a:p>
          <a:p>
            <a:pPr marL="457200" lvl="0" indent="-230188" defTabSz="932472" fontAlgn="base">
              <a:spcAft>
                <a:spcPts val="600"/>
              </a:spcAft>
              <a:buFont typeface="Segoe UI" panose="020B0502040204020203" pitchFamily="34" charset="0"/>
              <a:buChar char="–"/>
              <a:defRPr/>
            </a:pPr>
            <a:r>
              <a:rPr lang="en-US" sz="1400">
                <a:solidFill>
                  <a:srgbClr val="3C3C41"/>
                </a:solidFill>
                <a:cs typeface="Segoe UI"/>
              </a:rPr>
              <a:t>Management of risk scores</a:t>
            </a:r>
          </a:p>
          <a:p>
            <a:pPr marL="457200" lvl="0" indent="-230188" defTabSz="932472" fontAlgn="base">
              <a:spcAft>
                <a:spcPts val="600"/>
              </a:spcAft>
              <a:buFont typeface="Segoe UI" panose="020B0502040204020203" pitchFamily="34" charset="0"/>
              <a:buChar char="–"/>
              <a:defRPr/>
            </a:pPr>
            <a:r>
              <a:rPr lang="en-US" sz="1400">
                <a:solidFill>
                  <a:srgbClr val="3C3C41"/>
                </a:solidFill>
                <a:cs typeface="Segoe UI"/>
              </a:rPr>
              <a:t>System-suggested credit limits</a:t>
            </a:r>
          </a:p>
          <a:p>
            <a:pPr marL="457200" lvl="0" indent="-230188" defTabSz="932472" fontAlgn="base">
              <a:spcAft>
                <a:spcPts val="600"/>
              </a:spcAft>
              <a:buFont typeface="Segoe UI" panose="020B0502040204020203" pitchFamily="34" charset="0"/>
              <a:buChar char="–"/>
              <a:defRPr/>
            </a:pPr>
            <a:r>
              <a:rPr lang="en-US" sz="1400">
                <a:solidFill>
                  <a:srgbClr val="3C3C41"/>
                </a:solidFill>
                <a:cs typeface="Segoe UI"/>
              </a:rPr>
              <a:t>Configurable blocking rules</a:t>
            </a:r>
          </a:p>
          <a:p>
            <a:pPr marL="457200" lvl="0" indent="-230188" defTabSz="932472" fontAlgn="base">
              <a:spcAft>
                <a:spcPts val="600"/>
              </a:spcAft>
              <a:buFont typeface="Segoe UI" panose="020B0502040204020203" pitchFamily="34" charset="0"/>
              <a:buChar char="–"/>
              <a:defRPr/>
            </a:pPr>
            <a:r>
              <a:rPr lang="en-US" sz="1400">
                <a:solidFill>
                  <a:srgbClr val="3C3C41"/>
                </a:solidFill>
                <a:cs typeface="Segoe UI"/>
              </a:rPr>
              <a:t>Automation of credit cases and more</a:t>
            </a:r>
          </a:p>
        </p:txBody>
      </p:sp>
      <p:sp>
        <p:nvSpPr>
          <p:cNvPr id="10" name="TextBox 9">
            <a:extLst>
              <a:ext uri="{FF2B5EF4-FFF2-40B4-BE49-F238E27FC236}">
                <a16:creationId xmlns:a16="http://schemas.microsoft.com/office/drawing/2014/main" id="{A4B224C9-6704-4D9D-B3BF-4DA04BDA8388}"/>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Elevate financial capabilities with intelligent processes: </a:t>
            </a:r>
          </a:p>
        </p:txBody>
      </p:sp>
      <p:sp>
        <p:nvSpPr>
          <p:cNvPr id="19" name="!!CREDIT MANAGEMENT">
            <a:extLst>
              <a:ext uri="{FF2B5EF4-FFF2-40B4-BE49-F238E27FC236}">
                <a16:creationId xmlns:a16="http://schemas.microsoft.com/office/drawing/2014/main" id="{B19E3AD2-A711-4B00-B93C-6C1E304DED09}"/>
              </a:ext>
            </a:extLst>
          </p:cNvPr>
          <p:cNvSpPr/>
          <p:nvPr/>
        </p:nvSpPr>
        <p:spPr bwMode="auto">
          <a:xfrm>
            <a:off x="483506" y="1404348"/>
            <a:ext cx="4843237" cy="538740"/>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solidFill>
                <a:srgbClr val="3C3C41"/>
              </a:solidFill>
              <a:effectLst/>
              <a:uLnTx/>
              <a:uFillTx/>
              <a:latin typeface="Segoe UI Semibold"/>
              <a:ea typeface="+mn-ea"/>
              <a:cs typeface="+mn-cs"/>
            </a:endParaRPr>
          </a:p>
        </p:txBody>
      </p:sp>
      <p:pic>
        <p:nvPicPr>
          <p:cNvPr id="2" name="Picture 1">
            <a:extLst>
              <a:ext uri="{FF2B5EF4-FFF2-40B4-BE49-F238E27FC236}">
                <a16:creationId xmlns:a16="http://schemas.microsoft.com/office/drawing/2014/main" id="{F6184DE1-186E-4E9D-9585-97CECE25E7B9}"/>
              </a:ext>
            </a:extLst>
          </p:cNvPr>
          <p:cNvPicPr>
            <a:picLocks noChangeAspect="1"/>
          </p:cNvPicPr>
          <p:nvPr/>
        </p:nvPicPr>
        <p:blipFill>
          <a:blip r:embed="rId3"/>
          <a:stretch>
            <a:fillRect/>
          </a:stretch>
        </p:blipFill>
        <p:spPr>
          <a:xfrm>
            <a:off x="5379224" y="1592495"/>
            <a:ext cx="6637945" cy="3329355"/>
          </a:xfrm>
          <a:prstGeom prst="rect">
            <a:avLst/>
          </a:prstGeom>
          <a:scene3d>
            <a:camera prst="perspectiveLeft"/>
            <a:lightRig rig="threePt" dir="t"/>
          </a:scene3d>
        </p:spPr>
      </p:pic>
      <p:sp>
        <p:nvSpPr>
          <p:cNvPr id="11" name="TextBox 10">
            <a:extLst>
              <a:ext uri="{FF2B5EF4-FFF2-40B4-BE49-F238E27FC236}">
                <a16:creationId xmlns:a16="http://schemas.microsoft.com/office/drawing/2014/main" id="{06436F15-5B7F-4F6D-B5D9-25C12DC1AECC}"/>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Proactive credit management</a:t>
            </a:r>
          </a:p>
        </p:txBody>
      </p:sp>
    </p:spTree>
    <p:extLst>
      <p:ext uri="{BB962C8B-B14F-4D97-AF65-F5344CB8AC3E}">
        <p14:creationId xmlns:p14="http://schemas.microsoft.com/office/powerpoint/2010/main" val="36927147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319314"/>
            <a:ext cx="11333080" cy="648293"/>
          </a:xfrm>
        </p:spPr>
        <p:txBody>
          <a:bodyPr/>
          <a:lstStyle/>
          <a:p>
            <a:r>
              <a:rPr lang="en-AU" sz="3600" spc="-50" dirty="0">
                <a:ln w="3175">
                  <a:noFill/>
                </a:ln>
                <a:solidFill>
                  <a:srgbClr val="1A1A1A"/>
                </a:solidFill>
                <a:latin typeface="Segoe UI Semibold"/>
                <a:ea typeface="+mn-ea"/>
                <a:cs typeface="Segoe UI" pitchFamily="34" charset="0"/>
              </a:rPr>
              <a:t>Continue…</a:t>
            </a:r>
          </a:p>
        </p:txBody>
      </p:sp>
      <p:graphicFrame>
        <p:nvGraphicFramePr>
          <p:cNvPr id="4" name="Content Placeholder 4">
            <a:extLst>
              <a:ext uri="{FF2B5EF4-FFF2-40B4-BE49-F238E27FC236}">
                <a16:creationId xmlns:a16="http://schemas.microsoft.com/office/drawing/2014/main" id="{6C5676AD-2E8E-4C68-BD5E-C540499153DB}"/>
              </a:ext>
            </a:extLst>
          </p:cNvPr>
          <p:cNvGraphicFramePr>
            <a:graphicFrameLocks/>
          </p:cNvGraphicFramePr>
          <p:nvPr>
            <p:extLst>
              <p:ext uri="{D42A27DB-BD31-4B8C-83A1-F6EECF244321}">
                <p14:modId xmlns:p14="http://schemas.microsoft.com/office/powerpoint/2010/main" val="3398418297"/>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3373021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5EE44-88FE-4247-A3CD-BDDF169E2445}"/>
              </a:ext>
            </a:extLst>
          </p:cNvPr>
          <p:cNvSpPr>
            <a:spLocks noGrp="1"/>
          </p:cNvSpPr>
          <p:nvPr>
            <p:ph type="title"/>
          </p:nvPr>
        </p:nvSpPr>
        <p:spPr>
          <a:xfrm>
            <a:off x="455995" y="984260"/>
            <a:ext cx="5335205" cy="4889480"/>
          </a:xfrm>
        </p:spPr>
        <p:txBody>
          <a:bodyPr/>
          <a:lstStyle/>
          <a:p>
            <a:pPr lvl="0"/>
            <a:r>
              <a:rPr lang="en-US" sz="4300" dirty="0"/>
              <a:t>Supporting modern supply chain management</a:t>
            </a:r>
          </a:p>
        </p:txBody>
      </p:sp>
      <p:pic>
        <p:nvPicPr>
          <p:cNvPr id="6" name="Picture Placeholder 5">
            <a:extLst>
              <a:ext uri="{FF2B5EF4-FFF2-40B4-BE49-F238E27FC236}">
                <a16:creationId xmlns:a16="http://schemas.microsoft.com/office/drawing/2014/main" id="{B70872E2-CC9A-BA47-909F-6D36005CB967}"/>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l="16" r="16"/>
          <a:stretch/>
        </p:blipFill>
        <p:spPr>
          <a:xfrm>
            <a:off x="5970588" y="0"/>
            <a:ext cx="6221412" cy="6858000"/>
          </a:xfrm>
        </p:spPr>
      </p:pic>
    </p:spTree>
    <p:extLst>
      <p:ext uri="{BB962C8B-B14F-4D97-AF65-F5344CB8AC3E}">
        <p14:creationId xmlns:p14="http://schemas.microsoft.com/office/powerpoint/2010/main" val="2983942860"/>
      </p:ext>
    </p:extLst>
  </p:cSld>
  <p:clrMapOvr>
    <a:masterClrMapping/>
  </p:clrMapOvr>
  <p:transition spd="slow">
    <p:push dir="u"/>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accent6">
            <a:lumMod val="10000"/>
          </a:schemeClr>
        </a:solidFill>
        <a:effectLst/>
      </p:bgPr>
    </p:bg>
    <p:spTree>
      <p:nvGrpSpPr>
        <p:cNvPr id="1" name=""/>
        <p:cNvGrpSpPr/>
        <p:nvPr/>
      </p:nvGrpSpPr>
      <p:grpSpPr>
        <a:xfrm>
          <a:off x="0" y="0"/>
          <a:ext cx="0" cy="0"/>
          <a:chOff x="0" y="0"/>
          <a:chExt cx="0" cy="0"/>
        </a:xfrm>
      </p:grpSpPr>
      <p:pic>
        <p:nvPicPr>
          <p:cNvPr id="3074" name="Picture 2" descr="Core product capabilities">
            <a:extLst>
              <a:ext uri="{FF2B5EF4-FFF2-40B4-BE49-F238E27FC236}">
                <a16:creationId xmlns:a16="http://schemas.microsoft.com/office/drawing/2014/main" id="{A4BFC1C0-16CE-4D5C-A9B6-6D64A76A4C5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7238" y="428625"/>
            <a:ext cx="10677525" cy="6000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089555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2" name="think-cell Slide" r:id="rId5" imgW="378" imgH="377" progId="TCLayout.ActiveDocument.1">
                  <p:embed/>
                </p:oleObj>
              </mc:Choice>
              <mc:Fallback>
                <p:oleObj name="think-cell Slide" r:id="rId5" imgW="378" imgH="377"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033D9F1-D73D-4E70-A055-7621E1C5A5D3}"/>
              </a:ext>
            </a:extLst>
          </p:cNvPr>
          <p:cNvSpPr>
            <a:spLocks noGrp="1"/>
          </p:cNvSpPr>
          <p:nvPr>
            <p:ph type="title"/>
          </p:nvPr>
        </p:nvSpPr>
        <p:spPr/>
        <p:txBody>
          <a:bodyPr/>
          <a:lstStyle/>
          <a:p>
            <a:r>
              <a:rPr lang="en-US"/>
              <a:t>Traditional manufacturing doesn’t have a digital feedback loop</a:t>
            </a:r>
          </a:p>
        </p:txBody>
      </p:sp>
      <p:sp>
        <p:nvSpPr>
          <p:cNvPr id="18" name="Rectangle 17">
            <a:extLst>
              <a:ext uri="{FF2B5EF4-FFF2-40B4-BE49-F238E27FC236}">
                <a16:creationId xmlns:a16="http://schemas.microsoft.com/office/drawing/2014/main" id="{413C22F4-2B72-4BFA-A51C-74D935A2B40E}"/>
              </a:ext>
            </a:extLst>
          </p:cNvPr>
          <p:cNvSpPr/>
          <p:nvPr/>
        </p:nvSpPr>
        <p:spPr bwMode="auto">
          <a:xfrm>
            <a:off x="1459345" y="5753100"/>
            <a:ext cx="10732655" cy="11049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Rectangle 18">
            <a:extLst>
              <a:ext uri="{FF2B5EF4-FFF2-40B4-BE49-F238E27FC236}">
                <a16:creationId xmlns:a16="http://schemas.microsoft.com/office/drawing/2014/main" id="{F9269667-C6BB-4FE9-92CF-AF372F848B2C}"/>
              </a:ext>
            </a:extLst>
          </p:cNvPr>
          <p:cNvSpPr/>
          <p:nvPr/>
        </p:nvSpPr>
        <p:spPr bwMode="auto">
          <a:xfrm>
            <a:off x="0" y="5753100"/>
            <a:ext cx="1803095" cy="11049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19A885"/>
              </a:solidFill>
              <a:effectLst/>
              <a:uLnTx/>
              <a:uFillTx/>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99C15C52-A55C-4A43-9438-20DE9B6D5A8F}"/>
              </a:ext>
            </a:extLst>
          </p:cNvPr>
          <p:cNvSpPr/>
          <p:nvPr/>
        </p:nvSpPr>
        <p:spPr bwMode="auto">
          <a:xfrm>
            <a:off x="316094" y="5997774"/>
            <a:ext cx="1546578" cy="615553"/>
          </a:xfrm>
          <a:prstGeom prst="rect">
            <a:avLst/>
          </a:prstGeom>
          <a:noFill/>
          <a:ln w="3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1227077" rtl="0" eaLnBrk="1" fontAlgn="base"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3C3C41"/>
                </a:solidFill>
                <a:effectLst/>
                <a:uLnTx/>
                <a:uFillTx/>
                <a:latin typeface="Segoe UI Semibold" panose="020B0702040204020203" pitchFamily="34" charset="0"/>
                <a:ea typeface="Segoe UI" pitchFamily="34" charset="0"/>
                <a:cs typeface="Segoe UI Semibold" panose="020B0702040204020203" pitchFamily="34" charset="0"/>
              </a:rPr>
              <a:t>Digital hotspots</a:t>
            </a:r>
          </a:p>
        </p:txBody>
      </p:sp>
      <p:grpSp>
        <p:nvGrpSpPr>
          <p:cNvPr id="21" name="Group 20">
            <a:extLst>
              <a:ext uri="{FF2B5EF4-FFF2-40B4-BE49-F238E27FC236}">
                <a16:creationId xmlns:a16="http://schemas.microsoft.com/office/drawing/2014/main" id="{9B3CFAF9-2B28-4529-972A-03EC002A057F}"/>
              </a:ext>
            </a:extLst>
          </p:cNvPr>
          <p:cNvGrpSpPr/>
          <p:nvPr/>
        </p:nvGrpSpPr>
        <p:grpSpPr>
          <a:xfrm>
            <a:off x="2425700" y="5689286"/>
            <a:ext cx="9516164" cy="1106401"/>
            <a:chOff x="2425700" y="5402832"/>
            <a:chExt cx="9516164" cy="1106401"/>
          </a:xfrm>
          <a:noFill/>
        </p:grpSpPr>
        <p:sp>
          <p:nvSpPr>
            <p:cNvPr id="23" name="Rectangle 22">
              <a:extLst>
                <a:ext uri="{FF2B5EF4-FFF2-40B4-BE49-F238E27FC236}">
                  <a16:creationId xmlns:a16="http://schemas.microsoft.com/office/drawing/2014/main" id="{A0BEAC11-90CE-46CE-B272-09E84B642FB8}"/>
                </a:ext>
              </a:extLst>
            </p:cNvPr>
            <p:cNvSpPr/>
            <p:nvPr/>
          </p:nvSpPr>
          <p:spPr>
            <a:xfrm>
              <a:off x="2425700" y="5402832"/>
              <a:ext cx="2476347" cy="1106401"/>
            </a:xfrm>
            <a:prstGeom prst="rect">
              <a:avLst/>
            </a:prstGeom>
            <a:grp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Inbound/outbound logistic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distributed order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Optimize transportation and routing</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onitor supply chain performance</a:t>
              </a:r>
            </a:p>
          </p:txBody>
        </p:sp>
        <p:sp>
          <p:nvSpPr>
            <p:cNvPr id="24" name="Rectangle 23">
              <a:extLst>
                <a:ext uri="{FF2B5EF4-FFF2-40B4-BE49-F238E27FC236}">
                  <a16:creationId xmlns:a16="http://schemas.microsoft.com/office/drawing/2014/main" id="{F7C468D3-5EA6-4C2A-9EE4-B9DB3A71DD99}"/>
                </a:ext>
              </a:extLst>
            </p:cNvPr>
            <p:cNvSpPr/>
            <p:nvPr/>
          </p:nvSpPr>
          <p:spPr>
            <a:xfrm>
              <a:off x="5815887" y="5402832"/>
              <a:ext cx="2350771" cy="1106401"/>
            </a:xfrm>
            <a:prstGeom prst="rect">
              <a:avLst/>
            </a:prstGeom>
            <a:grp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Warehousing</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distributed inventory</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capacity and consumption</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onitor inventory lifecycle</a:t>
              </a:r>
            </a:p>
          </p:txBody>
        </p:sp>
        <p:sp>
          <p:nvSpPr>
            <p:cNvPr id="25" name="Rectangle 24">
              <a:extLst>
                <a:ext uri="{FF2B5EF4-FFF2-40B4-BE49-F238E27FC236}">
                  <a16:creationId xmlns:a16="http://schemas.microsoft.com/office/drawing/2014/main" id="{0392C1EF-F6FC-4D81-A9B2-2ED61F741012}"/>
                </a:ext>
              </a:extLst>
            </p:cNvPr>
            <p:cNvSpPr/>
            <p:nvPr/>
          </p:nvSpPr>
          <p:spPr>
            <a:xfrm>
              <a:off x="9080498" y="5402832"/>
              <a:ext cx="2861366" cy="1106401"/>
            </a:xfrm>
            <a:prstGeom prst="rect">
              <a:avLst/>
            </a:prstGeom>
            <a:grp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Manufacturing execution system</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MRO and WIP inventorie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production and maintenance</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Remotely monitor and control</a:t>
              </a:r>
            </a:p>
          </p:txBody>
        </p:sp>
      </p:grpSp>
      <p:sp>
        <p:nvSpPr>
          <p:cNvPr id="2" name="Oval 1">
            <a:extLst>
              <a:ext uri="{FF2B5EF4-FFF2-40B4-BE49-F238E27FC236}">
                <a16:creationId xmlns:a16="http://schemas.microsoft.com/office/drawing/2014/main" id="{1C6DFC8F-9A4B-4F01-9C29-89C364C56AFF}"/>
              </a:ext>
            </a:extLst>
          </p:cNvPr>
          <p:cNvSpPr/>
          <p:nvPr/>
        </p:nvSpPr>
        <p:spPr bwMode="auto">
          <a:xfrm>
            <a:off x="3721894" y="2307432"/>
            <a:ext cx="64294" cy="6191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73284F02-159E-44C6-9388-9CD0EBA2F8A1}"/>
              </a:ext>
            </a:extLst>
          </p:cNvPr>
          <p:cNvSpPr/>
          <p:nvPr/>
        </p:nvSpPr>
        <p:spPr bwMode="auto">
          <a:xfrm>
            <a:off x="6693694" y="3781425"/>
            <a:ext cx="66675" cy="7858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39" name="Freeform: Shape 5538">
            <a:extLst>
              <a:ext uri="{FF2B5EF4-FFF2-40B4-BE49-F238E27FC236}">
                <a16:creationId xmlns:a16="http://schemas.microsoft.com/office/drawing/2014/main" id="{DBE0A70B-F83E-4145-8DCD-8FE1B5755764}"/>
              </a:ext>
            </a:extLst>
          </p:cNvPr>
          <p:cNvSpPr/>
          <p:nvPr/>
        </p:nvSpPr>
        <p:spPr>
          <a:xfrm>
            <a:off x="0" y="1705792"/>
            <a:ext cx="12192000" cy="2984018"/>
          </a:xfrm>
          <a:custGeom>
            <a:avLst/>
            <a:gdLst>
              <a:gd name="connsiteX0" fmla="*/ 4817979 w 12192000"/>
              <a:gd name="connsiteY0" fmla="*/ 13 h 2984018"/>
              <a:gd name="connsiteX1" fmla="*/ 5276495 w 12192000"/>
              <a:gd name="connsiteY1" fmla="*/ 47612 h 2984018"/>
              <a:gd name="connsiteX2" fmla="*/ 5284406 w 12192000"/>
              <a:gd name="connsiteY2" fmla="*/ 49747 h 2984018"/>
              <a:gd name="connsiteX3" fmla="*/ 5893290 w 12192000"/>
              <a:gd name="connsiteY3" fmla="*/ 559662 h 2984018"/>
              <a:gd name="connsiteX4" fmla="*/ 5673875 w 12192000"/>
              <a:gd name="connsiteY4" fmla="*/ 1211750 h 2984018"/>
              <a:gd name="connsiteX5" fmla="*/ 5416282 w 12192000"/>
              <a:gd name="connsiteY5" fmla="*/ 1463065 h 2984018"/>
              <a:gd name="connsiteX6" fmla="*/ 5041003 w 12192000"/>
              <a:gd name="connsiteY6" fmla="*/ 1967202 h 2984018"/>
              <a:gd name="connsiteX7" fmla="*/ 5248360 w 12192000"/>
              <a:gd name="connsiteY7" fmla="*/ 2572318 h 2984018"/>
              <a:gd name="connsiteX8" fmla="*/ 6797823 w 12192000"/>
              <a:gd name="connsiteY8" fmla="*/ 2606605 h 2984018"/>
              <a:gd name="connsiteX9" fmla="*/ 7987332 w 12192000"/>
              <a:gd name="connsiteY9" fmla="*/ 1842863 h 2984018"/>
              <a:gd name="connsiteX10" fmla="*/ 8618320 w 12192000"/>
              <a:gd name="connsiteY10" fmla="*/ 1414836 h 2984018"/>
              <a:gd name="connsiteX11" fmla="*/ 8627740 w 12192000"/>
              <a:gd name="connsiteY11" fmla="*/ 1409436 h 2984018"/>
              <a:gd name="connsiteX12" fmla="*/ 11158726 w 12192000"/>
              <a:gd name="connsiteY12" fmla="*/ 1187635 h 2984018"/>
              <a:gd name="connsiteX13" fmla="*/ 11186859 w 12192000"/>
              <a:gd name="connsiteY13" fmla="*/ 1194920 h 2984018"/>
              <a:gd name="connsiteX14" fmla="*/ 12005659 w 12192000"/>
              <a:gd name="connsiteY14" fmla="*/ 1468643 h 2984018"/>
              <a:gd name="connsiteX15" fmla="*/ 12192000 w 12192000"/>
              <a:gd name="connsiteY15" fmla="*/ 1551542 h 2984018"/>
              <a:gd name="connsiteX16" fmla="*/ 12192000 w 12192000"/>
              <a:gd name="connsiteY16" fmla="*/ 1761396 h 2984018"/>
              <a:gd name="connsiteX17" fmla="*/ 11931705 w 12192000"/>
              <a:gd name="connsiteY17" fmla="*/ 1645711 h 2984018"/>
              <a:gd name="connsiteX18" fmla="*/ 11135742 w 12192000"/>
              <a:gd name="connsiteY18" fmla="*/ 1379796 h 2984018"/>
              <a:gd name="connsiteX19" fmla="*/ 11111377 w 12192000"/>
              <a:gd name="connsiteY19" fmla="*/ 1373516 h 2984018"/>
              <a:gd name="connsiteX20" fmla="*/ 8718921 w 12192000"/>
              <a:gd name="connsiteY20" fmla="*/ 1578486 h 2984018"/>
              <a:gd name="connsiteX21" fmla="*/ 8096348 w 12192000"/>
              <a:gd name="connsiteY21" fmla="*/ 2000987 h 2984018"/>
              <a:gd name="connsiteX22" fmla="*/ 6885740 w 12192000"/>
              <a:gd name="connsiteY22" fmla="*/ 2777414 h 2984018"/>
              <a:gd name="connsiteX23" fmla="*/ 6883353 w 12192000"/>
              <a:gd name="connsiteY23" fmla="*/ 2778670 h 2984018"/>
              <a:gd name="connsiteX24" fmla="*/ 5995776 w 12192000"/>
              <a:gd name="connsiteY24" fmla="*/ 2984018 h 2984018"/>
              <a:gd name="connsiteX25" fmla="*/ 5129799 w 12192000"/>
              <a:gd name="connsiteY25" fmla="*/ 2723157 h 2984018"/>
              <a:gd name="connsiteX26" fmla="*/ 4853491 w 12192000"/>
              <a:gd name="connsiteY26" fmla="*/ 1925882 h 2984018"/>
              <a:gd name="connsiteX27" fmla="*/ 5289932 w 12192000"/>
              <a:gd name="connsiteY27" fmla="*/ 1318505 h 2984018"/>
              <a:gd name="connsiteX28" fmla="*/ 5526678 w 12192000"/>
              <a:gd name="connsiteY28" fmla="*/ 1088416 h 2984018"/>
              <a:gd name="connsiteX29" fmla="*/ 5529317 w 12192000"/>
              <a:gd name="connsiteY29" fmla="*/ 1085401 h 2984018"/>
              <a:gd name="connsiteX30" fmla="*/ 5708037 w 12192000"/>
              <a:gd name="connsiteY30" fmla="*/ 609774 h 2984018"/>
              <a:gd name="connsiteX31" fmla="*/ 5229146 w 12192000"/>
              <a:gd name="connsiteY31" fmla="*/ 233492 h 2984018"/>
              <a:gd name="connsiteX32" fmla="*/ 3430752 w 12192000"/>
              <a:gd name="connsiteY32" fmla="*/ 654737 h 2984018"/>
              <a:gd name="connsiteX33" fmla="*/ 2529609 w 12192000"/>
              <a:gd name="connsiteY33" fmla="*/ 1500492 h 2984018"/>
              <a:gd name="connsiteX34" fmla="*/ 2526344 w 12192000"/>
              <a:gd name="connsiteY34" fmla="*/ 1503130 h 2984018"/>
              <a:gd name="connsiteX35" fmla="*/ 1151709 w 12192000"/>
              <a:gd name="connsiteY35" fmla="*/ 1551735 h 2984018"/>
              <a:gd name="connsiteX36" fmla="*/ 0 w 12192000"/>
              <a:gd name="connsiteY36" fmla="*/ 970501 h 2984018"/>
              <a:gd name="connsiteX37" fmla="*/ 0 w 12192000"/>
              <a:gd name="connsiteY37" fmla="*/ 758839 h 2984018"/>
              <a:gd name="connsiteX38" fmla="*/ 1260 w 12192000"/>
              <a:gd name="connsiteY38" fmla="*/ 756343 h 2984018"/>
              <a:gd name="connsiteX39" fmla="*/ 1238118 w 12192000"/>
              <a:gd name="connsiteY39" fmla="*/ 1380549 h 2984018"/>
              <a:gd name="connsiteX40" fmla="*/ 2404517 w 12192000"/>
              <a:gd name="connsiteY40" fmla="*/ 1354928 h 2984018"/>
              <a:gd name="connsiteX41" fmla="*/ 3306413 w 12192000"/>
              <a:gd name="connsiteY41" fmla="*/ 508796 h 2984018"/>
              <a:gd name="connsiteX42" fmla="*/ 4817979 w 12192000"/>
              <a:gd name="connsiteY42" fmla="*/ 13 h 298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2000" h="2984018">
                <a:moveTo>
                  <a:pt x="4817979" y="13"/>
                </a:moveTo>
                <a:cubicBezTo>
                  <a:pt x="4983764" y="-530"/>
                  <a:pt x="5139659" y="15899"/>
                  <a:pt x="5276495" y="47612"/>
                </a:cubicBezTo>
                <a:lnTo>
                  <a:pt x="5284406" y="49747"/>
                </a:lnTo>
                <a:cubicBezTo>
                  <a:pt x="5622006" y="159014"/>
                  <a:pt x="5832503" y="335224"/>
                  <a:pt x="5893290" y="559662"/>
                </a:cubicBezTo>
                <a:cubicBezTo>
                  <a:pt x="5931722" y="701709"/>
                  <a:pt x="5924815" y="929915"/>
                  <a:pt x="5673875" y="1211750"/>
                </a:cubicBezTo>
                <a:cubicBezTo>
                  <a:pt x="5596509" y="1305820"/>
                  <a:pt x="5504826" y="1385824"/>
                  <a:pt x="5416282" y="1463065"/>
                </a:cubicBezTo>
                <a:cubicBezTo>
                  <a:pt x="5248360" y="1609760"/>
                  <a:pt x="5089609" y="1748291"/>
                  <a:pt x="5041003" y="1967202"/>
                </a:cubicBezTo>
                <a:cubicBezTo>
                  <a:pt x="4986998" y="2213996"/>
                  <a:pt x="5058712" y="2423363"/>
                  <a:pt x="5248360" y="2572318"/>
                </a:cubicBezTo>
                <a:cubicBezTo>
                  <a:pt x="5602287" y="2850259"/>
                  <a:pt x="6268064" y="2864954"/>
                  <a:pt x="6797823" y="2606605"/>
                </a:cubicBezTo>
                <a:cubicBezTo>
                  <a:pt x="7141451" y="2426377"/>
                  <a:pt x="7571488" y="2129722"/>
                  <a:pt x="7987332" y="1842863"/>
                </a:cubicBezTo>
                <a:cubicBezTo>
                  <a:pt x="8197075" y="1698053"/>
                  <a:pt x="8414103" y="1548469"/>
                  <a:pt x="8618320" y="1414836"/>
                </a:cubicBezTo>
                <a:lnTo>
                  <a:pt x="8627740" y="1409436"/>
                </a:lnTo>
                <a:cubicBezTo>
                  <a:pt x="9773541" y="833333"/>
                  <a:pt x="10674683" y="1063799"/>
                  <a:pt x="11158726" y="1187635"/>
                </a:cubicBezTo>
                <a:lnTo>
                  <a:pt x="11186859" y="1194920"/>
                </a:lnTo>
                <a:cubicBezTo>
                  <a:pt x="11448065" y="1269241"/>
                  <a:pt x="11724107" y="1353664"/>
                  <a:pt x="12005659" y="1468643"/>
                </a:cubicBezTo>
                <a:lnTo>
                  <a:pt x="12192000" y="1551542"/>
                </a:lnTo>
                <a:lnTo>
                  <a:pt x="12192000" y="1761396"/>
                </a:lnTo>
                <a:lnTo>
                  <a:pt x="11931705" y="1645711"/>
                </a:lnTo>
                <a:cubicBezTo>
                  <a:pt x="11659143" y="1534537"/>
                  <a:pt x="11390448" y="1452327"/>
                  <a:pt x="11135742" y="1379796"/>
                </a:cubicBezTo>
                <a:lnTo>
                  <a:pt x="11111377" y="1373516"/>
                </a:lnTo>
                <a:cubicBezTo>
                  <a:pt x="10620050" y="1247921"/>
                  <a:pt x="9798283" y="1037675"/>
                  <a:pt x="8718921" y="1578486"/>
                </a:cubicBezTo>
                <a:cubicBezTo>
                  <a:pt x="8517970" y="1710110"/>
                  <a:pt x="8303705" y="1857935"/>
                  <a:pt x="8096348" y="2000987"/>
                </a:cubicBezTo>
                <a:cubicBezTo>
                  <a:pt x="7675229" y="2291488"/>
                  <a:pt x="7239917" y="2591911"/>
                  <a:pt x="6885740" y="2777414"/>
                </a:cubicBezTo>
                <a:lnTo>
                  <a:pt x="6883353" y="2778670"/>
                </a:lnTo>
                <a:cubicBezTo>
                  <a:pt x="6601519" y="2915945"/>
                  <a:pt x="6290044" y="2984018"/>
                  <a:pt x="5995776" y="2984018"/>
                </a:cubicBezTo>
                <a:cubicBezTo>
                  <a:pt x="5661818" y="2984018"/>
                  <a:pt x="5350218" y="2896353"/>
                  <a:pt x="5129799" y="2723157"/>
                </a:cubicBezTo>
                <a:cubicBezTo>
                  <a:pt x="4881750" y="2528360"/>
                  <a:pt x="4783660" y="2245144"/>
                  <a:pt x="4853491" y="1925882"/>
                </a:cubicBezTo>
                <a:cubicBezTo>
                  <a:pt x="4915912" y="1645177"/>
                  <a:pt x="5106061" y="1479141"/>
                  <a:pt x="5289932" y="1318505"/>
                </a:cubicBezTo>
                <a:cubicBezTo>
                  <a:pt x="5376970" y="1242520"/>
                  <a:pt x="5459109" y="1170806"/>
                  <a:pt x="5526678" y="1088416"/>
                </a:cubicBezTo>
                <a:lnTo>
                  <a:pt x="5529317" y="1085401"/>
                </a:lnTo>
                <a:cubicBezTo>
                  <a:pt x="5636951" y="964830"/>
                  <a:pt x="5755388" y="784476"/>
                  <a:pt x="5708037" y="609774"/>
                </a:cubicBezTo>
                <a:cubicBezTo>
                  <a:pt x="5665838" y="454036"/>
                  <a:pt x="5495908" y="320529"/>
                  <a:pt x="5229146" y="233492"/>
                </a:cubicBezTo>
                <a:cubicBezTo>
                  <a:pt x="4740455" y="121712"/>
                  <a:pt x="3946319" y="231357"/>
                  <a:pt x="3430752" y="654737"/>
                </a:cubicBezTo>
                <a:lnTo>
                  <a:pt x="2529609" y="1500492"/>
                </a:lnTo>
                <a:lnTo>
                  <a:pt x="2526344" y="1503130"/>
                </a:lnTo>
                <a:cubicBezTo>
                  <a:pt x="2249407" y="1721037"/>
                  <a:pt x="1701060" y="1829174"/>
                  <a:pt x="1151709" y="1551735"/>
                </a:cubicBezTo>
                <a:lnTo>
                  <a:pt x="0" y="970501"/>
                </a:lnTo>
                <a:lnTo>
                  <a:pt x="0" y="758839"/>
                </a:lnTo>
                <a:lnTo>
                  <a:pt x="1260" y="756343"/>
                </a:lnTo>
                <a:lnTo>
                  <a:pt x="1238118" y="1380549"/>
                </a:lnTo>
                <a:cubicBezTo>
                  <a:pt x="1710480" y="1619054"/>
                  <a:pt x="2172795" y="1534654"/>
                  <a:pt x="2404517" y="1354928"/>
                </a:cubicBezTo>
                <a:lnTo>
                  <a:pt x="3306413" y="508796"/>
                </a:lnTo>
                <a:cubicBezTo>
                  <a:pt x="3734252" y="156031"/>
                  <a:pt x="4320623" y="1644"/>
                  <a:pt x="4817979" y="13"/>
                </a:cubicBezTo>
                <a:close/>
              </a:path>
            </a:pathLst>
          </a:custGeom>
          <a:solidFill>
            <a:srgbClr val="49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41" name="Freeform: Shape 5540">
            <a:extLst>
              <a:ext uri="{FF2B5EF4-FFF2-40B4-BE49-F238E27FC236}">
                <a16:creationId xmlns:a16="http://schemas.microsoft.com/office/drawing/2014/main" id="{7578E78E-FDD9-4BB0-9EE5-C918210A2DA9}"/>
              </a:ext>
            </a:extLst>
          </p:cNvPr>
          <p:cNvSpPr/>
          <p:nvPr/>
        </p:nvSpPr>
        <p:spPr>
          <a:xfrm>
            <a:off x="0" y="1791472"/>
            <a:ext cx="12192000" cy="2809417"/>
          </a:xfrm>
          <a:custGeom>
            <a:avLst/>
            <a:gdLst>
              <a:gd name="connsiteX0" fmla="*/ 4815898 w 12192000"/>
              <a:gd name="connsiteY0" fmla="*/ 13 h 2809417"/>
              <a:gd name="connsiteX1" fmla="*/ 5257026 w 12192000"/>
              <a:gd name="connsiteY1" fmla="*/ 45829 h 2809417"/>
              <a:gd name="connsiteX2" fmla="*/ 5809895 w 12192000"/>
              <a:gd name="connsiteY2" fmla="*/ 496338 h 2809417"/>
              <a:gd name="connsiteX3" fmla="*/ 5608064 w 12192000"/>
              <a:gd name="connsiteY3" fmla="*/ 1069803 h 2809417"/>
              <a:gd name="connsiteX4" fmla="*/ 5359386 w 12192000"/>
              <a:gd name="connsiteY4" fmla="*/ 1312201 h 2809417"/>
              <a:gd name="connsiteX5" fmla="*/ 4956603 w 12192000"/>
              <a:gd name="connsiteY5" fmla="*/ 1862558 h 2809417"/>
              <a:gd name="connsiteX6" fmla="*/ 5194982 w 12192000"/>
              <a:gd name="connsiteY6" fmla="*/ 2554334 h 2809417"/>
              <a:gd name="connsiteX7" fmla="*/ 6836758 w 12192000"/>
              <a:gd name="connsiteY7" fmla="*/ 2597664 h 2809417"/>
              <a:gd name="connsiteX8" fmla="*/ 8036188 w 12192000"/>
              <a:gd name="connsiteY8" fmla="*/ 1828019 h 2809417"/>
              <a:gd name="connsiteX9" fmla="*/ 8665418 w 12192000"/>
              <a:gd name="connsiteY9" fmla="*/ 1401122 h 2809417"/>
              <a:gd name="connsiteX10" fmla="*/ 11137123 w 12192000"/>
              <a:gd name="connsiteY10" fmla="*/ 1185225 h 2809417"/>
              <a:gd name="connsiteX11" fmla="*/ 11162745 w 12192000"/>
              <a:gd name="connsiteY11" fmla="*/ 1191756 h 2809417"/>
              <a:gd name="connsiteX12" fmla="*/ 11971954 w 12192000"/>
              <a:gd name="connsiteY12" fmla="*/ 1462122 h 2809417"/>
              <a:gd name="connsiteX13" fmla="*/ 12192000 w 12192000"/>
              <a:gd name="connsiteY13" fmla="*/ 1559985 h 2809417"/>
              <a:gd name="connsiteX14" fmla="*/ 12192000 w 12192000"/>
              <a:gd name="connsiteY14" fmla="*/ 1580937 h 2809417"/>
              <a:gd name="connsiteX15" fmla="*/ 11964420 w 12192000"/>
              <a:gd name="connsiteY15" fmla="*/ 1479737 h 2809417"/>
              <a:gd name="connsiteX16" fmla="*/ 11157595 w 12192000"/>
              <a:gd name="connsiteY16" fmla="*/ 1210218 h 2809417"/>
              <a:gd name="connsiteX17" fmla="*/ 11132226 w 12192000"/>
              <a:gd name="connsiteY17" fmla="*/ 1203688 h 2809417"/>
              <a:gd name="connsiteX18" fmla="*/ 8674711 w 12192000"/>
              <a:gd name="connsiteY18" fmla="*/ 1417575 h 2809417"/>
              <a:gd name="connsiteX19" fmla="*/ 8046863 w 12192000"/>
              <a:gd name="connsiteY19" fmla="*/ 1843718 h 2809417"/>
              <a:gd name="connsiteX20" fmla="*/ 6845172 w 12192000"/>
              <a:gd name="connsiteY20" fmla="*/ 2614745 h 2809417"/>
              <a:gd name="connsiteX21" fmla="*/ 5997031 w 12192000"/>
              <a:gd name="connsiteY21" fmla="*/ 2809417 h 2809417"/>
              <a:gd name="connsiteX22" fmla="*/ 5183176 w 12192000"/>
              <a:gd name="connsiteY22" fmla="*/ 2569656 h 2809417"/>
              <a:gd name="connsiteX23" fmla="*/ 4937889 w 12192000"/>
              <a:gd name="connsiteY23" fmla="*/ 1858664 h 2809417"/>
              <a:gd name="connsiteX24" fmla="*/ 5346827 w 12192000"/>
              <a:gd name="connsiteY24" fmla="*/ 1297884 h 2809417"/>
              <a:gd name="connsiteX25" fmla="*/ 5593495 w 12192000"/>
              <a:gd name="connsiteY25" fmla="*/ 1057495 h 2809417"/>
              <a:gd name="connsiteX26" fmla="*/ 5791432 w 12192000"/>
              <a:gd name="connsiteY26" fmla="*/ 501487 h 2809417"/>
              <a:gd name="connsiteX27" fmla="*/ 5251876 w 12192000"/>
              <a:gd name="connsiteY27" fmla="*/ 64417 h 2809417"/>
              <a:gd name="connsiteX28" fmla="*/ 3373606 w 12192000"/>
              <a:gd name="connsiteY28" fmla="*/ 504376 h 2809417"/>
              <a:gd name="connsiteX29" fmla="*/ 2473594 w 12192000"/>
              <a:gd name="connsiteY29" fmla="*/ 1349001 h 2809417"/>
              <a:gd name="connsiteX30" fmla="*/ 1190643 w 12192000"/>
              <a:gd name="connsiteY30" fmla="*/ 1388940 h 2809417"/>
              <a:gd name="connsiteX31" fmla="*/ 0 w 12192000"/>
              <a:gd name="connsiteY31" fmla="*/ 788058 h 2809417"/>
              <a:gd name="connsiteX32" fmla="*/ 0 w 12192000"/>
              <a:gd name="connsiteY32" fmla="*/ 766603 h 2809417"/>
              <a:gd name="connsiteX33" fmla="*/ 1199309 w 12192000"/>
              <a:gd name="connsiteY33" fmla="*/ 1371859 h 2809417"/>
              <a:gd name="connsiteX34" fmla="*/ 2461160 w 12192000"/>
              <a:gd name="connsiteY34" fmla="*/ 1334432 h 2809417"/>
              <a:gd name="connsiteX35" fmla="*/ 3360921 w 12192000"/>
              <a:gd name="connsiteY35" fmla="*/ 489932 h 2809417"/>
              <a:gd name="connsiteX36" fmla="*/ 4815898 w 12192000"/>
              <a:gd name="connsiteY36" fmla="*/ 13 h 2809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2000" h="2809417">
                <a:moveTo>
                  <a:pt x="4815898" y="13"/>
                </a:moveTo>
                <a:cubicBezTo>
                  <a:pt x="4975419" y="-508"/>
                  <a:pt x="5125403" y="15310"/>
                  <a:pt x="5257026" y="45829"/>
                </a:cubicBezTo>
                <a:cubicBezTo>
                  <a:pt x="5566240" y="145802"/>
                  <a:pt x="5757144" y="301540"/>
                  <a:pt x="5809895" y="496338"/>
                </a:cubicBezTo>
                <a:cubicBezTo>
                  <a:pt x="5857118" y="670789"/>
                  <a:pt x="5787287" y="869103"/>
                  <a:pt x="5608064" y="1069803"/>
                </a:cubicBezTo>
                <a:cubicBezTo>
                  <a:pt x="5535219" y="1158725"/>
                  <a:pt x="5445795" y="1236719"/>
                  <a:pt x="5359386" y="1312201"/>
                </a:cubicBezTo>
                <a:cubicBezTo>
                  <a:pt x="5188325" y="1461534"/>
                  <a:pt x="5011362" y="1616015"/>
                  <a:pt x="4956603" y="1862558"/>
                </a:cubicBezTo>
                <a:cubicBezTo>
                  <a:pt x="4894937" y="2144267"/>
                  <a:pt x="4977452" y="2383525"/>
                  <a:pt x="5194982" y="2554334"/>
                </a:cubicBezTo>
                <a:cubicBezTo>
                  <a:pt x="5573400" y="2851491"/>
                  <a:pt x="6279242" y="2870205"/>
                  <a:pt x="6836758" y="2597664"/>
                </a:cubicBezTo>
                <a:cubicBezTo>
                  <a:pt x="7184906" y="2415175"/>
                  <a:pt x="7617706" y="2116636"/>
                  <a:pt x="8036188" y="1828019"/>
                </a:cubicBezTo>
                <a:cubicBezTo>
                  <a:pt x="8245554" y="1683585"/>
                  <a:pt x="8462080" y="1534253"/>
                  <a:pt x="8665418" y="1401122"/>
                </a:cubicBezTo>
                <a:cubicBezTo>
                  <a:pt x="9783211" y="838960"/>
                  <a:pt x="10630851" y="1055737"/>
                  <a:pt x="11137123" y="1185225"/>
                </a:cubicBezTo>
                <a:lnTo>
                  <a:pt x="11162745" y="1191756"/>
                </a:lnTo>
                <a:cubicBezTo>
                  <a:pt x="11421407" y="1265417"/>
                  <a:pt x="11694341" y="1348828"/>
                  <a:pt x="11971954" y="1462122"/>
                </a:cubicBezTo>
                <a:lnTo>
                  <a:pt x="12192000" y="1559985"/>
                </a:lnTo>
                <a:lnTo>
                  <a:pt x="12192000" y="1580937"/>
                </a:lnTo>
                <a:lnTo>
                  <a:pt x="11964420" y="1479737"/>
                </a:lnTo>
                <a:cubicBezTo>
                  <a:pt x="11687637" y="1366796"/>
                  <a:pt x="11415410" y="1283597"/>
                  <a:pt x="11157595" y="1210218"/>
                </a:cubicBezTo>
                <a:lnTo>
                  <a:pt x="11132226" y="1203688"/>
                </a:lnTo>
                <a:cubicBezTo>
                  <a:pt x="10628464" y="1074827"/>
                  <a:pt x="9785346" y="859181"/>
                  <a:pt x="8674711" y="1417575"/>
                </a:cubicBezTo>
                <a:cubicBezTo>
                  <a:pt x="8472504" y="1549952"/>
                  <a:pt x="8256105" y="1699284"/>
                  <a:pt x="8046863" y="1843718"/>
                </a:cubicBezTo>
                <a:cubicBezTo>
                  <a:pt x="7627879" y="2132712"/>
                  <a:pt x="7194703" y="2431628"/>
                  <a:pt x="6845172" y="2614745"/>
                </a:cubicBezTo>
                <a:cubicBezTo>
                  <a:pt x="6579288" y="2744987"/>
                  <a:pt x="6279619" y="2809417"/>
                  <a:pt x="5997031" y="2809417"/>
                </a:cubicBezTo>
                <a:cubicBezTo>
                  <a:pt x="5680658" y="2809417"/>
                  <a:pt x="5385762" y="2728785"/>
                  <a:pt x="5183176" y="2569656"/>
                </a:cubicBezTo>
                <a:cubicBezTo>
                  <a:pt x="4959492" y="2393949"/>
                  <a:pt x="4874591" y="2148035"/>
                  <a:pt x="4937889" y="1858664"/>
                </a:cubicBezTo>
                <a:cubicBezTo>
                  <a:pt x="4994156" y="1605842"/>
                  <a:pt x="5173380" y="1449351"/>
                  <a:pt x="5346827" y="1297884"/>
                </a:cubicBezTo>
                <a:cubicBezTo>
                  <a:pt x="5432609" y="1222904"/>
                  <a:pt x="5521404" y="1145537"/>
                  <a:pt x="5593495" y="1057495"/>
                </a:cubicBezTo>
                <a:cubicBezTo>
                  <a:pt x="5768574" y="861442"/>
                  <a:pt x="5836898" y="669282"/>
                  <a:pt x="5791432" y="501487"/>
                </a:cubicBezTo>
                <a:cubicBezTo>
                  <a:pt x="5740441" y="313220"/>
                  <a:pt x="5553933" y="162130"/>
                  <a:pt x="5251876" y="64417"/>
                </a:cubicBezTo>
                <a:cubicBezTo>
                  <a:pt x="4730659" y="-56405"/>
                  <a:pt x="3917557" y="55877"/>
                  <a:pt x="3373606" y="504376"/>
                </a:cubicBezTo>
                <a:lnTo>
                  <a:pt x="2473594" y="1349001"/>
                </a:lnTo>
                <a:cubicBezTo>
                  <a:pt x="2216752" y="1551083"/>
                  <a:pt x="1706209" y="1649423"/>
                  <a:pt x="1190643" y="1388940"/>
                </a:cubicBezTo>
                <a:lnTo>
                  <a:pt x="0" y="788058"/>
                </a:lnTo>
                <a:lnTo>
                  <a:pt x="0" y="766603"/>
                </a:lnTo>
                <a:lnTo>
                  <a:pt x="1199309" y="1371859"/>
                </a:lnTo>
                <a:cubicBezTo>
                  <a:pt x="1707465" y="1628449"/>
                  <a:pt x="2209719" y="1532369"/>
                  <a:pt x="2461160" y="1334432"/>
                </a:cubicBezTo>
                <a:lnTo>
                  <a:pt x="3360921" y="489932"/>
                </a:lnTo>
                <a:cubicBezTo>
                  <a:pt x="3772935" y="150167"/>
                  <a:pt x="4337336" y="1573"/>
                  <a:pt x="4815898" y="13"/>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368A067-2321-4B03-894B-2CDA0217CAAF}"/>
              </a:ext>
            </a:extLst>
          </p:cNvPr>
          <p:cNvSpPr/>
          <p:nvPr/>
        </p:nvSpPr>
        <p:spPr>
          <a:xfrm>
            <a:off x="905165" y="2995285"/>
            <a:ext cx="173069" cy="163021"/>
          </a:xfrm>
          <a:custGeom>
            <a:avLst/>
            <a:gdLst>
              <a:gd name="connsiteX0" fmla="*/ 0 w 173069"/>
              <a:gd name="connsiteY0" fmla="*/ 81511 h 163021"/>
              <a:gd name="connsiteX1" fmla="*/ 86535 w 173069"/>
              <a:gd name="connsiteY1" fmla="*/ 0 h 163021"/>
              <a:gd name="connsiteX2" fmla="*/ 173070 w 173069"/>
              <a:gd name="connsiteY2" fmla="*/ 81511 h 163021"/>
              <a:gd name="connsiteX3" fmla="*/ 86535 w 173069"/>
              <a:gd name="connsiteY3" fmla="*/ 163022 h 163021"/>
              <a:gd name="connsiteX4" fmla="*/ 0 w 173069"/>
              <a:gd name="connsiteY4" fmla="*/ 81511 h 163021"/>
              <a:gd name="connsiteX5" fmla="*/ 0 w 173069"/>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069" h="163021">
                <a:moveTo>
                  <a:pt x="0" y="81511"/>
                </a:moveTo>
                <a:cubicBezTo>
                  <a:pt x="0" y="36548"/>
                  <a:pt x="38683" y="0"/>
                  <a:pt x="86535" y="0"/>
                </a:cubicBezTo>
                <a:cubicBezTo>
                  <a:pt x="134387" y="0"/>
                  <a:pt x="173070" y="36548"/>
                  <a:pt x="173070" y="81511"/>
                </a:cubicBezTo>
                <a:cubicBezTo>
                  <a:pt x="173070" y="126474"/>
                  <a:pt x="134387" y="163022"/>
                  <a:pt x="86535" y="163022"/>
                </a:cubicBezTo>
                <a:cubicBezTo>
                  <a:pt x="38683" y="163022"/>
                  <a:pt x="0" y="126600"/>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C086C53A-FA93-4842-96F2-C427D1D49FAD}"/>
              </a:ext>
            </a:extLst>
          </p:cNvPr>
          <p:cNvSpPr/>
          <p:nvPr/>
        </p:nvSpPr>
        <p:spPr>
          <a:xfrm>
            <a:off x="900392" y="2990638"/>
            <a:ext cx="182614" cy="172567"/>
          </a:xfrm>
          <a:custGeom>
            <a:avLst/>
            <a:gdLst>
              <a:gd name="connsiteX0" fmla="*/ 91307 w 182614"/>
              <a:gd name="connsiteY0" fmla="*/ 172567 h 172567"/>
              <a:gd name="connsiteX1" fmla="*/ 0 w 182614"/>
              <a:gd name="connsiteY1" fmla="*/ 86284 h 172567"/>
              <a:gd name="connsiteX2" fmla="*/ 91307 w 182614"/>
              <a:gd name="connsiteY2" fmla="*/ 0 h 172567"/>
              <a:gd name="connsiteX3" fmla="*/ 182615 w 182614"/>
              <a:gd name="connsiteY3" fmla="*/ 86284 h 172567"/>
              <a:gd name="connsiteX4" fmla="*/ 91307 w 182614"/>
              <a:gd name="connsiteY4" fmla="*/ 172567 h 172567"/>
              <a:gd name="connsiteX5" fmla="*/ 91307 w 182614"/>
              <a:gd name="connsiteY5" fmla="*/ 9545 h 172567"/>
              <a:gd name="connsiteX6" fmla="*/ 9545 w 182614"/>
              <a:gd name="connsiteY6" fmla="*/ 86284 h 172567"/>
              <a:gd name="connsiteX7" fmla="*/ 91307 w 182614"/>
              <a:gd name="connsiteY7" fmla="*/ 163022 h 172567"/>
              <a:gd name="connsiteX8" fmla="*/ 173070 w 182614"/>
              <a:gd name="connsiteY8" fmla="*/ 86284 h 172567"/>
              <a:gd name="connsiteX9" fmla="*/ 91307 w 182614"/>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614" h="172567">
                <a:moveTo>
                  <a:pt x="91307" y="172567"/>
                </a:moveTo>
                <a:cubicBezTo>
                  <a:pt x="40944" y="172567"/>
                  <a:pt x="0" y="133884"/>
                  <a:pt x="0" y="86284"/>
                </a:cubicBezTo>
                <a:cubicBezTo>
                  <a:pt x="0" y="38683"/>
                  <a:pt x="40944" y="0"/>
                  <a:pt x="91307" y="0"/>
                </a:cubicBezTo>
                <a:cubicBezTo>
                  <a:pt x="141671" y="0"/>
                  <a:pt x="182615" y="38683"/>
                  <a:pt x="182615" y="86284"/>
                </a:cubicBezTo>
                <a:cubicBezTo>
                  <a:pt x="182615" y="133884"/>
                  <a:pt x="141671" y="172567"/>
                  <a:pt x="91307" y="172567"/>
                </a:cubicBezTo>
                <a:close/>
                <a:moveTo>
                  <a:pt x="91307" y="9545"/>
                </a:moveTo>
                <a:cubicBezTo>
                  <a:pt x="46219" y="9545"/>
                  <a:pt x="9545" y="43958"/>
                  <a:pt x="9545" y="86284"/>
                </a:cubicBezTo>
                <a:cubicBezTo>
                  <a:pt x="9545" y="128609"/>
                  <a:pt x="46219" y="163022"/>
                  <a:pt x="91307" y="163022"/>
                </a:cubicBezTo>
                <a:cubicBezTo>
                  <a:pt x="136396" y="163022"/>
                  <a:pt x="173070" y="128609"/>
                  <a:pt x="173070" y="86284"/>
                </a:cubicBezTo>
                <a:cubicBezTo>
                  <a:pt x="173070" y="43958"/>
                  <a:pt x="136396" y="9545"/>
                  <a:pt x="91307"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DB2C2538-8636-4C01-B4CB-FB1917EF7687}"/>
              </a:ext>
            </a:extLst>
          </p:cNvPr>
          <p:cNvSpPr/>
          <p:nvPr/>
        </p:nvSpPr>
        <p:spPr>
          <a:xfrm>
            <a:off x="1703194" y="3235172"/>
            <a:ext cx="163524" cy="163021"/>
          </a:xfrm>
          <a:custGeom>
            <a:avLst/>
            <a:gdLst>
              <a:gd name="connsiteX0" fmla="*/ 0 w 163524"/>
              <a:gd name="connsiteY0" fmla="*/ 81511 h 163021"/>
              <a:gd name="connsiteX1" fmla="*/ 81762 w 163524"/>
              <a:gd name="connsiteY1" fmla="*/ 0 h 163021"/>
              <a:gd name="connsiteX2" fmla="*/ 163525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851" y="0"/>
                  <a:pt x="163525" y="36548"/>
                  <a:pt x="163525" y="81511"/>
                </a:cubicBezTo>
                <a:cubicBezTo>
                  <a:pt x="163525" y="126474"/>
                  <a:pt x="126976" y="163022"/>
                  <a:pt x="81762" y="163022"/>
                </a:cubicBezTo>
                <a:cubicBezTo>
                  <a:pt x="36674"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38B7694B-E21B-4365-BA85-19934DF3E549}"/>
              </a:ext>
            </a:extLst>
          </p:cNvPr>
          <p:cNvSpPr/>
          <p:nvPr/>
        </p:nvSpPr>
        <p:spPr>
          <a:xfrm>
            <a:off x="1698421" y="3230399"/>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6799546B-16AF-4F65-9515-39445A6DE2D2}"/>
              </a:ext>
            </a:extLst>
          </p:cNvPr>
          <p:cNvSpPr/>
          <p:nvPr/>
        </p:nvSpPr>
        <p:spPr>
          <a:xfrm>
            <a:off x="2443701" y="2995285"/>
            <a:ext cx="163524" cy="163021"/>
          </a:xfrm>
          <a:custGeom>
            <a:avLst/>
            <a:gdLst>
              <a:gd name="connsiteX0" fmla="*/ 0 w 163524"/>
              <a:gd name="connsiteY0" fmla="*/ 81511 h 163021"/>
              <a:gd name="connsiteX1" fmla="*/ 81762 w 163524"/>
              <a:gd name="connsiteY1" fmla="*/ 0 h 163021"/>
              <a:gd name="connsiteX2" fmla="*/ 163524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976" y="0"/>
                  <a:pt x="163524" y="36548"/>
                  <a:pt x="163524" y="81511"/>
                </a:cubicBezTo>
                <a:cubicBezTo>
                  <a:pt x="163524" y="126474"/>
                  <a:pt x="126976" y="163022"/>
                  <a:pt x="81762" y="163022"/>
                </a:cubicBezTo>
                <a:cubicBezTo>
                  <a:pt x="36548" y="163022"/>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E12D6C16-5A04-42DD-9A9F-1C6853594A8E}"/>
              </a:ext>
            </a:extLst>
          </p:cNvPr>
          <p:cNvSpPr/>
          <p:nvPr/>
        </p:nvSpPr>
        <p:spPr>
          <a:xfrm>
            <a:off x="2438803" y="2990638"/>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4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4" y="128609"/>
                  <a:pt x="163524" y="86284"/>
                </a:cubicBezTo>
                <a:cubicBezTo>
                  <a:pt x="163524"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382FDAE4-A93A-44A6-93D7-82B5E2A45774}"/>
              </a:ext>
            </a:extLst>
          </p:cNvPr>
          <p:cNvSpPr/>
          <p:nvPr/>
        </p:nvSpPr>
        <p:spPr>
          <a:xfrm>
            <a:off x="3107093" y="2371958"/>
            <a:ext cx="163524" cy="163022"/>
          </a:xfrm>
          <a:custGeom>
            <a:avLst/>
            <a:gdLst>
              <a:gd name="connsiteX0" fmla="*/ 0 w 163524"/>
              <a:gd name="connsiteY0" fmla="*/ 81511 h 163022"/>
              <a:gd name="connsiteX1" fmla="*/ 81762 w 163524"/>
              <a:gd name="connsiteY1" fmla="*/ 0 h 163022"/>
              <a:gd name="connsiteX2" fmla="*/ 163524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1" y="0"/>
                  <a:pt x="163524" y="36548"/>
                  <a:pt x="163524" y="81511"/>
                </a:cubicBezTo>
                <a:cubicBezTo>
                  <a:pt x="163524" y="126474"/>
                  <a:pt x="126977" y="163022"/>
                  <a:pt x="81762" y="163022"/>
                </a:cubicBezTo>
                <a:cubicBezTo>
                  <a:pt x="36674"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85702971-4B35-438B-BC32-3079B9E2652D}"/>
              </a:ext>
            </a:extLst>
          </p:cNvPr>
          <p:cNvSpPr/>
          <p:nvPr/>
        </p:nvSpPr>
        <p:spPr>
          <a:xfrm>
            <a:off x="3102320" y="2367186"/>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9D8E2C86-61C0-4313-A305-891D0899F348}"/>
              </a:ext>
            </a:extLst>
          </p:cNvPr>
          <p:cNvSpPr/>
          <p:nvPr/>
        </p:nvSpPr>
        <p:spPr>
          <a:xfrm>
            <a:off x="3799497" y="1921199"/>
            <a:ext cx="163524" cy="163022"/>
          </a:xfrm>
          <a:custGeom>
            <a:avLst/>
            <a:gdLst>
              <a:gd name="connsiteX0" fmla="*/ 0 w 163524"/>
              <a:gd name="connsiteY0" fmla="*/ 81511 h 163022"/>
              <a:gd name="connsiteX1" fmla="*/ 81762 w 163524"/>
              <a:gd name="connsiteY1" fmla="*/ 0 h 163022"/>
              <a:gd name="connsiteX2" fmla="*/ 163524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976" y="0"/>
                  <a:pt x="163524" y="36548"/>
                  <a:pt x="163524" y="81511"/>
                </a:cubicBezTo>
                <a:cubicBezTo>
                  <a:pt x="163524" y="126474"/>
                  <a:pt x="126976" y="163022"/>
                  <a:pt x="81762" y="163022"/>
                </a:cubicBezTo>
                <a:cubicBezTo>
                  <a:pt x="36548" y="163022"/>
                  <a:pt x="0" y="126474"/>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025E0B8F-F24B-4177-A162-568B1D2675B6}"/>
              </a:ext>
            </a:extLst>
          </p:cNvPr>
          <p:cNvSpPr/>
          <p:nvPr/>
        </p:nvSpPr>
        <p:spPr>
          <a:xfrm>
            <a:off x="3794599" y="1916426"/>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D9E7584C-ED15-4184-81EB-802CAC6373AA}"/>
              </a:ext>
            </a:extLst>
          </p:cNvPr>
          <p:cNvSpPr/>
          <p:nvPr/>
        </p:nvSpPr>
        <p:spPr>
          <a:xfrm>
            <a:off x="4578311" y="1729416"/>
            <a:ext cx="163524" cy="163022"/>
          </a:xfrm>
          <a:custGeom>
            <a:avLst/>
            <a:gdLst>
              <a:gd name="connsiteX0" fmla="*/ 0 w 163524"/>
              <a:gd name="connsiteY0" fmla="*/ 81511 h 163022"/>
              <a:gd name="connsiteX1" fmla="*/ 81762 w 163524"/>
              <a:gd name="connsiteY1" fmla="*/ 0 h 163022"/>
              <a:gd name="connsiteX2" fmla="*/ 163524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3B6B72A5-3520-47C1-B839-54AC9FB37443}"/>
              </a:ext>
            </a:extLst>
          </p:cNvPr>
          <p:cNvSpPr/>
          <p:nvPr/>
        </p:nvSpPr>
        <p:spPr>
          <a:xfrm>
            <a:off x="4573538" y="1724643"/>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4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4" y="128609"/>
                  <a:pt x="163524" y="86284"/>
                </a:cubicBezTo>
                <a:cubicBezTo>
                  <a:pt x="163524" y="43958"/>
                  <a:pt x="128860"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1C304E9C-C381-4803-A234-854BD69B76B6}"/>
              </a:ext>
            </a:extLst>
          </p:cNvPr>
          <p:cNvSpPr/>
          <p:nvPr/>
        </p:nvSpPr>
        <p:spPr>
          <a:xfrm>
            <a:off x="5357124" y="1844460"/>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1" y="0"/>
                  <a:pt x="163525" y="36548"/>
                  <a:pt x="163525" y="81511"/>
                </a:cubicBezTo>
                <a:cubicBezTo>
                  <a:pt x="163525" y="126474"/>
                  <a:pt x="126977" y="163022"/>
                  <a:pt x="81762" y="163022"/>
                </a:cubicBezTo>
                <a:cubicBezTo>
                  <a:pt x="36674"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C636A5F1-3AC4-4FC8-94F0-732B17A08436}"/>
              </a:ext>
            </a:extLst>
          </p:cNvPr>
          <p:cNvSpPr/>
          <p:nvPr/>
        </p:nvSpPr>
        <p:spPr>
          <a:xfrm>
            <a:off x="5352351" y="1839688"/>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E91A5B0-D082-422F-A05A-D8F25294DEEF}"/>
              </a:ext>
            </a:extLst>
          </p:cNvPr>
          <p:cNvSpPr/>
          <p:nvPr/>
        </p:nvSpPr>
        <p:spPr>
          <a:xfrm>
            <a:off x="5692336" y="2503456"/>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1" y="0"/>
                  <a:pt x="163525" y="36548"/>
                  <a:pt x="163525" y="81511"/>
                </a:cubicBezTo>
                <a:cubicBezTo>
                  <a:pt x="163525" y="126474"/>
                  <a:pt x="126977" y="163022"/>
                  <a:pt x="81762" y="163022"/>
                </a:cubicBezTo>
                <a:cubicBezTo>
                  <a:pt x="36674" y="163148"/>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B2C7BAD9-72E2-4E51-A53D-EA68D2676F34}"/>
              </a:ext>
            </a:extLst>
          </p:cNvPr>
          <p:cNvSpPr/>
          <p:nvPr/>
        </p:nvSpPr>
        <p:spPr>
          <a:xfrm>
            <a:off x="5687564" y="2498809"/>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2627D01B-8FC9-41F8-95D9-728831BF7559}"/>
              </a:ext>
            </a:extLst>
          </p:cNvPr>
          <p:cNvSpPr/>
          <p:nvPr/>
        </p:nvSpPr>
        <p:spPr>
          <a:xfrm>
            <a:off x="5155167" y="3110456"/>
            <a:ext cx="163524" cy="163021"/>
          </a:xfrm>
          <a:custGeom>
            <a:avLst/>
            <a:gdLst>
              <a:gd name="connsiteX0" fmla="*/ 0 w 163524"/>
              <a:gd name="connsiteY0" fmla="*/ 81511 h 163021"/>
              <a:gd name="connsiteX1" fmla="*/ 81762 w 163524"/>
              <a:gd name="connsiteY1" fmla="*/ 0 h 163021"/>
              <a:gd name="connsiteX2" fmla="*/ 163524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851" y="0"/>
                  <a:pt x="163524" y="36548"/>
                  <a:pt x="163524" y="81511"/>
                </a:cubicBezTo>
                <a:cubicBezTo>
                  <a:pt x="163524" y="126474"/>
                  <a:pt x="126976" y="163022"/>
                  <a:pt x="81762" y="163022"/>
                </a:cubicBezTo>
                <a:cubicBezTo>
                  <a:pt x="36673" y="163022"/>
                  <a:pt x="0" y="126474"/>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873D6495-53AE-4309-A7C2-62A5CC034958}"/>
              </a:ext>
            </a:extLst>
          </p:cNvPr>
          <p:cNvSpPr/>
          <p:nvPr/>
        </p:nvSpPr>
        <p:spPr>
          <a:xfrm>
            <a:off x="5150395" y="3105683"/>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4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4" y="128609"/>
                  <a:pt x="163524" y="86284"/>
                </a:cubicBezTo>
                <a:cubicBezTo>
                  <a:pt x="163524"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DD1C6285-631B-42A8-B75C-6114DB7B16A8}"/>
              </a:ext>
            </a:extLst>
          </p:cNvPr>
          <p:cNvSpPr/>
          <p:nvPr/>
        </p:nvSpPr>
        <p:spPr>
          <a:xfrm>
            <a:off x="4837915" y="3743453"/>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1" y="0"/>
                  <a:pt x="163525" y="36548"/>
                  <a:pt x="163525" y="81511"/>
                </a:cubicBezTo>
                <a:cubicBezTo>
                  <a:pt x="163525" y="126474"/>
                  <a:pt x="126977" y="163022"/>
                  <a:pt x="81762" y="163022"/>
                </a:cubicBezTo>
                <a:cubicBezTo>
                  <a:pt x="36548"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0002FAC3-6B4A-4C64-A225-103ED93A5D30}"/>
              </a:ext>
            </a:extLst>
          </p:cNvPr>
          <p:cNvSpPr/>
          <p:nvPr/>
        </p:nvSpPr>
        <p:spPr>
          <a:xfrm>
            <a:off x="4833142" y="3738681"/>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399"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6F571AFF-DBA8-4E34-B431-2D10766717D6}"/>
              </a:ext>
            </a:extLst>
          </p:cNvPr>
          <p:cNvSpPr/>
          <p:nvPr/>
        </p:nvSpPr>
        <p:spPr>
          <a:xfrm>
            <a:off x="5212941" y="4341033"/>
            <a:ext cx="163524" cy="163022"/>
          </a:xfrm>
          <a:custGeom>
            <a:avLst/>
            <a:gdLst>
              <a:gd name="connsiteX0" fmla="*/ 0 w 163524"/>
              <a:gd name="connsiteY0" fmla="*/ 81511 h 163022"/>
              <a:gd name="connsiteX1" fmla="*/ 81762 w 163524"/>
              <a:gd name="connsiteY1" fmla="*/ 0 h 163022"/>
              <a:gd name="connsiteX2" fmla="*/ 163524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6960E8CE-697D-49BE-9DDC-A6F0393D65B7}"/>
              </a:ext>
            </a:extLst>
          </p:cNvPr>
          <p:cNvSpPr/>
          <p:nvPr/>
        </p:nvSpPr>
        <p:spPr>
          <a:xfrm>
            <a:off x="5208169" y="4336261"/>
            <a:ext cx="173069" cy="172567"/>
          </a:xfrm>
          <a:custGeom>
            <a:avLst/>
            <a:gdLst>
              <a:gd name="connsiteX0" fmla="*/ 86535 w 173069"/>
              <a:gd name="connsiteY0" fmla="*/ 172567 h 172567"/>
              <a:gd name="connsiteX1" fmla="*/ 0 w 173069"/>
              <a:gd name="connsiteY1" fmla="*/ 86283 h 172567"/>
              <a:gd name="connsiteX2" fmla="*/ 86535 w 173069"/>
              <a:gd name="connsiteY2" fmla="*/ 0 h 172567"/>
              <a:gd name="connsiteX3" fmla="*/ 173070 w 173069"/>
              <a:gd name="connsiteY3" fmla="*/ 86283 h 172567"/>
              <a:gd name="connsiteX4" fmla="*/ 86535 w 173069"/>
              <a:gd name="connsiteY4" fmla="*/ 172567 h 172567"/>
              <a:gd name="connsiteX5" fmla="*/ 86535 w 173069"/>
              <a:gd name="connsiteY5" fmla="*/ 9545 h 172567"/>
              <a:gd name="connsiteX6" fmla="*/ 9545 w 173069"/>
              <a:gd name="connsiteY6" fmla="*/ 86283 h 172567"/>
              <a:gd name="connsiteX7" fmla="*/ 86535 w 173069"/>
              <a:gd name="connsiteY7" fmla="*/ 163022 h 172567"/>
              <a:gd name="connsiteX8" fmla="*/ 163524 w 173069"/>
              <a:gd name="connsiteY8" fmla="*/ 86283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3"/>
                </a:cubicBezTo>
                <a:cubicBezTo>
                  <a:pt x="0" y="38683"/>
                  <a:pt x="38809" y="0"/>
                  <a:pt x="86535" y="0"/>
                </a:cubicBezTo>
                <a:cubicBezTo>
                  <a:pt x="134261" y="0"/>
                  <a:pt x="173070" y="38683"/>
                  <a:pt x="173070" y="86283"/>
                </a:cubicBezTo>
                <a:cubicBezTo>
                  <a:pt x="173070" y="133884"/>
                  <a:pt x="134135" y="172567"/>
                  <a:pt x="86535" y="172567"/>
                </a:cubicBezTo>
                <a:close/>
                <a:moveTo>
                  <a:pt x="86535" y="9545"/>
                </a:moveTo>
                <a:cubicBezTo>
                  <a:pt x="44084" y="9545"/>
                  <a:pt x="9545" y="43958"/>
                  <a:pt x="9545" y="86283"/>
                </a:cubicBezTo>
                <a:cubicBezTo>
                  <a:pt x="9545" y="128609"/>
                  <a:pt x="44084" y="163022"/>
                  <a:pt x="86535" y="163022"/>
                </a:cubicBezTo>
                <a:cubicBezTo>
                  <a:pt x="128986" y="163022"/>
                  <a:pt x="163524" y="128609"/>
                  <a:pt x="163524" y="86283"/>
                </a:cubicBezTo>
                <a:cubicBezTo>
                  <a:pt x="163399" y="43958"/>
                  <a:pt x="128860"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D9509CFB-B1DB-4E03-9294-DFEFD6303EF3}"/>
              </a:ext>
            </a:extLst>
          </p:cNvPr>
          <p:cNvSpPr/>
          <p:nvPr/>
        </p:nvSpPr>
        <p:spPr>
          <a:xfrm>
            <a:off x="5962993" y="4508828"/>
            <a:ext cx="163524" cy="163021"/>
          </a:xfrm>
          <a:custGeom>
            <a:avLst/>
            <a:gdLst>
              <a:gd name="connsiteX0" fmla="*/ 0 w 163524"/>
              <a:gd name="connsiteY0" fmla="*/ 81511 h 163021"/>
              <a:gd name="connsiteX1" fmla="*/ 81762 w 163524"/>
              <a:gd name="connsiteY1" fmla="*/ 0 h 163021"/>
              <a:gd name="connsiteX2" fmla="*/ 163524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599"/>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026CC46C-1873-4E0F-A0FE-5BCCE298906B}"/>
              </a:ext>
            </a:extLst>
          </p:cNvPr>
          <p:cNvSpPr/>
          <p:nvPr/>
        </p:nvSpPr>
        <p:spPr>
          <a:xfrm>
            <a:off x="5958095" y="4504181"/>
            <a:ext cx="173069" cy="172567"/>
          </a:xfrm>
          <a:custGeom>
            <a:avLst/>
            <a:gdLst>
              <a:gd name="connsiteX0" fmla="*/ 86535 w 173069"/>
              <a:gd name="connsiteY0" fmla="*/ 172568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8 h 172567"/>
              <a:gd name="connsiteX5" fmla="*/ 86535 w 173069"/>
              <a:gd name="connsiteY5" fmla="*/ 9420 h 172567"/>
              <a:gd name="connsiteX6" fmla="*/ 9545 w 173069"/>
              <a:gd name="connsiteY6" fmla="*/ 86158 h 172567"/>
              <a:gd name="connsiteX7" fmla="*/ 86535 w 173069"/>
              <a:gd name="connsiteY7" fmla="*/ 162896 h 172567"/>
              <a:gd name="connsiteX8" fmla="*/ 163524 w 173069"/>
              <a:gd name="connsiteY8" fmla="*/ 86158 h 172567"/>
              <a:gd name="connsiteX9" fmla="*/ 86535 w 173069"/>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8"/>
                </a:moveTo>
                <a:cubicBezTo>
                  <a:pt x="38809" y="172568"/>
                  <a:pt x="0" y="133884"/>
                  <a:pt x="0" y="86284"/>
                </a:cubicBezTo>
                <a:cubicBezTo>
                  <a:pt x="0" y="38683"/>
                  <a:pt x="38809" y="0"/>
                  <a:pt x="86535" y="0"/>
                </a:cubicBezTo>
                <a:cubicBezTo>
                  <a:pt x="134261" y="0"/>
                  <a:pt x="173070" y="38683"/>
                  <a:pt x="173070" y="86284"/>
                </a:cubicBezTo>
                <a:cubicBezTo>
                  <a:pt x="173070" y="133759"/>
                  <a:pt x="134261" y="172568"/>
                  <a:pt x="86535" y="172568"/>
                </a:cubicBezTo>
                <a:close/>
                <a:moveTo>
                  <a:pt x="86535" y="9420"/>
                </a:moveTo>
                <a:cubicBezTo>
                  <a:pt x="44084" y="9420"/>
                  <a:pt x="9545" y="43833"/>
                  <a:pt x="9545" y="86158"/>
                </a:cubicBezTo>
                <a:cubicBezTo>
                  <a:pt x="9545" y="128484"/>
                  <a:pt x="44084" y="162896"/>
                  <a:pt x="86535" y="162896"/>
                </a:cubicBezTo>
                <a:cubicBezTo>
                  <a:pt x="128986" y="162896"/>
                  <a:pt x="163524" y="128484"/>
                  <a:pt x="163524" y="86158"/>
                </a:cubicBezTo>
                <a:cubicBezTo>
                  <a:pt x="163524" y="43833"/>
                  <a:pt x="128986" y="9420"/>
                  <a:pt x="86535"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2C20E138-0697-437C-84A9-438554272795}"/>
              </a:ext>
            </a:extLst>
          </p:cNvPr>
          <p:cNvSpPr/>
          <p:nvPr/>
        </p:nvSpPr>
        <p:spPr>
          <a:xfrm>
            <a:off x="6758260" y="4316040"/>
            <a:ext cx="163523" cy="163021"/>
          </a:xfrm>
          <a:custGeom>
            <a:avLst/>
            <a:gdLst>
              <a:gd name="connsiteX0" fmla="*/ 0 w 163523"/>
              <a:gd name="connsiteY0" fmla="*/ 81511 h 163021"/>
              <a:gd name="connsiteX1" fmla="*/ 81762 w 163523"/>
              <a:gd name="connsiteY1" fmla="*/ 0 h 163021"/>
              <a:gd name="connsiteX2" fmla="*/ 163524 w 163523"/>
              <a:gd name="connsiteY2" fmla="*/ 81511 h 163021"/>
              <a:gd name="connsiteX3" fmla="*/ 81762 w 163523"/>
              <a:gd name="connsiteY3" fmla="*/ 163022 h 163021"/>
              <a:gd name="connsiteX4" fmla="*/ 0 w 163523"/>
              <a:gd name="connsiteY4" fmla="*/ 81511 h 163021"/>
              <a:gd name="connsiteX5" fmla="*/ 0 w 163523"/>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3" h="163021">
                <a:moveTo>
                  <a:pt x="0" y="81511"/>
                </a:moveTo>
                <a:cubicBezTo>
                  <a:pt x="0" y="36548"/>
                  <a:pt x="36548" y="0"/>
                  <a:pt x="81762" y="0"/>
                </a:cubicBezTo>
                <a:cubicBezTo>
                  <a:pt x="126976" y="0"/>
                  <a:pt x="163524" y="36548"/>
                  <a:pt x="163524" y="81511"/>
                </a:cubicBezTo>
                <a:cubicBezTo>
                  <a:pt x="163524" y="126474"/>
                  <a:pt x="126976" y="163022"/>
                  <a:pt x="81762" y="163022"/>
                </a:cubicBezTo>
                <a:cubicBezTo>
                  <a:pt x="36548" y="163022"/>
                  <a:pt x="0" y="126599"/>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A5BA42E0-5FFD-41C4-950D-A8BF1C46DE5A}"/>
              </a:ext>
            </a:extLst>
          </p:cNvPr>
          <p:cNvSpPr/>
          <p:nvPr/>
        </p:nvSpPr>
        <p:spPr>
          <a:xfrm>
            <a:off x="6753361" y="4311268"/>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69 w 173069"/>
              <a:gd name="connsiteY3" fmla="*/ 86284 h 172567"/>
              <a:gd name="connsiteX4" fmla="*/ 86535 w 173069"/>
              <a:gd name="connsiteY4" fmla="*/ 172567 h 172567"/>
              <a:gd name="connsiteX5" fmla="*/ 86535 w 173069"/>
              <a:gd name="connsiteY5" fmla="*/ 9545 h 172567"/>
              <a:gd name="connsiteX6" fmla="*/ 9671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8" y="172567"/>
                  <a:pt x="0" y="133884"/>
                  <a:pt x="0" y="86284"/>
                </a:cubicBezTo>
                <a:cubicBezTo>
                  <a:pt x="0" y="38683"/>
                  <a:pt x="38808" y="0"/>
                  <a:pt x="86535" y="0"/>
                </a:cubicBezTo>
                <a:cubicBezTo>
                  <a:pt x="134261" y="0"/>
                  <a:pt x="173069" y="38683"/>
                  <a:pt x="173069" y="86284"/>
                </a:cubicBezTo>
                <a:cubicBezTo>
                  <a:pt x="173195" y="133884"/>
                  <a:pt x="134261" y="172567"/>
                  <a:pt x="86535" y="172567"/>
                </a:cubicBezTo>
                <a:close/>
                <a:moveTo>
                  <a:pt x="86535" y="9545"/>
                </a:moveTo>
                <a:cubicBezTo>
                  <a:pt x="44084" y="9545"/>
                  <a:pt x="9671" y="43958"/>
                  <a:pt x="9671" y="86284"/>
                </a:cubicBezTo>
                <a:cubicBezTo>
                  <a:pt x="9671" y="128609"/>
                  <a:pt x="44210"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6320E659-EC70-4989-9ABF-26818B3C62F6}"/>
              </a:ext>
            </a:extLst>
          </p:cNvPr>
          <p:cNvSpPr/>
          <p:nvPr/>
        </p:nvSpPr>
        <p:spPr>
          <a:xfrm>
            <a:off x="7414869" y="3922049"/>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9" y="0"/>
                  <a:pt x="81762" y="0"/>
                </a:cubicBezTo>
                <a:cubicBezTo>
                  <a:pt x="126976" y="0"/>
                  <a:pt x="163525" y="36548"/>
                  <a:pt x="163525" y="81511"/>
                </a:cubicBezTo>
                <a:cubicBezTo>
                  <a:pt x="163525" y="126474"/>
                  <a:pt x="126976" y="163022"/>
                  <a:pt x="81762" y="163022"/>
                </a:cubicBezTo>
                <a:cubicBezTo>
                  <a:pt x="36549" y="163022"/>
                  <a:pt x="0" y="126474"/>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A0EB44B5-B3BA-48E6-9A5F-2934B9F484EB}"/>
              </a:ext>
            </a:extLst>
          </p:cNvPr>
          <p:cNvSpPr/>
          <p:nvPr/>
        </p:nvSpPr>
        <p:spPr>
          <a:xfrm>
            <a:off x="7410096" y="3917277"/>
            <a:ext cx="173070" cy="172567"/>
          </a:xfrm>
          <a:custGeom>
            <a:avLst/>
            <a:gdLst>
              <a:gd name="connsiteX0" fmla="*/ 86535 w 173070"/>
              <a:gd name="connsiteY0" fmla="*/ 172567 h 172567"/>
              <a:gd name="connsiteX1" fmla="*/ 0 w 173070"/>
              <a:gd name="connsiteY1" fmla="*/ 86284 h 172567"/>
              <a:gd name="connsiteX2" fmla="*/ 86535 w 173070"/>
              <a:gd name="connsiteY2" fmla="*/ 0 h 172567"/>
              <a:gd name="connsiteX3" fmla="*/ 173070 w 173070"/>
              <a:gd name="connsiteY3" fmla="*/ 86284 h 172567"/>
              <a:gd name="connsiteX4" fmla="*/ 86535 w 173070"/>
              <a:gd name="connsiteY4" fmla="*/ 172567 h 172567"/>
              <a:gd name="connsiteX5" fmla="*/ 86535 w 173070"/>
              <a:gd name="connsiteY5" fmla="*/ 9545 h 172567"/>
              <a:gd name="connsiteX6" fmla="*/ 9545 w 173070"/>
              <a:gd name="connsiteY6" fmla="*/ 86284 h 172567"/>
              <a:gd name="connsiteX7" fmla="*/ 86535 w 173070"/>
              <a:gd name="connsiteY7" fmla="*/ 163022 h 172567"/>
              <a:gd name="connsiteX8" fmla="*/ 163399 w 173070"/>
              <a:gd name="connsiteY8" fmla="*/ 86284 h 172567"/>
              <a:gd name="connsiteX9" fmla="*/ 86535 w 173070"/>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70"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399" y="128609"/>
                  <a:pt x="163399" y="86284"/>
                </a:cubicBezTo>
                <a:cubicBezTo>
                  <a:pt x="163399"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C07735CD-A5BB-4CD7-91F4-9D67573F365C}"/>
              </a:ext>
            </a:extLst>
          </p:cNvPr>
          <p:cNvSpPr/>
          <p:nvPr/>
        </p:nvSpPr>
        <p:spPr>
          <a:xfrm>
            <a:off x="8068716" y="3465261"/>
            <a:ext cx="163524" cy="163021"/>
          </a:xfrm>
          <a:custGeom>
            <a:avLst/>
            <a:gdLst>
              <a:gd name="connsiteX0" fmla="*/ 0 w 163524"/>
              <a:gd name="connsiteY0" fmla="*/ 81511 h 163021"/>
              <a:gd name="connsiteX1" fmla="*/ 81762 w 163524"/>
              <a:gd name="connsiteY1" fmla="*/ 0 h 163021"/>
              <a:gd name="connsiteX2" fmla="*/ 163525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9" y="0"/>
                  <a:pt x="81762" y="0"/>
                </a:cubicBezTo>
                <a:cubicBezTo>
                  <a:pt x="126976" y="0"/>
                  <a:pt x="163525" y="36548"/>
                  <a:pt x="163525" y="81511"/>
                </a:cubicBezTo>
                <a:cubicBezTo>
                  <a:pt x="163525" y="126474"/>
                  <a:pt x="126976" y="163022"/>
                  <a:pt x="81762" y="163022"/>
                </a:cubicBezTo>
                <a:cubicBezTo>
                  <a:pt x="36549" y="163022"/>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6F4AA2A2-C40A-49DD-B2C3-ACA61AA55253}"/>
              </a:ext>
            </a:extLst>
          </p:cNvPr>
          <p:cNvSpPr/>
          <p:nvPr/>
        </p:nvSpPr>
        <p:spPr>
          <a:xfrm>
            <a:off x="8063943" y="3460614"/>
            <a:ext cx="173070" cy="172567"/>
          </a:xfrm>
          <a:custGeom>
            <a:avLst/>
            <a:gdLst>
              <a:gd name="connsiteX0" fmla="*/ 86535 w 173070"/>
              <a:gd name="connsiteY0" fmla="*/ 172567 h 172567"/>
              <a:gd name="connsiteX1" fmla="*/ 0 w 173070"/>
              <a:gd name="connsiteY1" fmla="*/ 86284 h 172567"/>
              <a:gd name="connsiteX2" fmla="*/ 86535 w 173070"/>
              <a:gd name="connsiteY2" fmla="*/ 0 h 172567"/>
              <a:gd name="connsiteX3" fmla="*/ 173070 w 173070"/>
              <a:gd name="connsiteY3" fmla="*/ 86284 h 172567"/>
              <a:gd name="connsiteX4" fmla="*/ 86535 w 173070"/>
              <a:gd name="connsiteY4" fmla="*/ 172567 h 172567"/>
              <a:gd name="connsiteX5" fmla="*/ 86535 w 173070"/>
              <a:gd name="connsiteY5" fmla="*/ 9420 h 172567"/>
              <a:gd name="connsiteX6" fmla="*/ 9545 w 173070"/>
              <a:gd name="connsiteY6" fmla="*/ 86158 h 172567"/>
              <a:gd name="connsiteX7" fmla="*/ 86535 w 173070"/>
              <a:gd name="connsiteY7" fmla="*/ 162896 h 172567"/>
              <a:gd name="connsiteX8" fmla="*/ 163399 w 173070"/>
              <a:gd name="connsiteY8" fmla="*/ 86158 h 172567"/>
              <a:gd name="connsiteX9" fmla="*/ 86535 w 173070"/>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70"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420"/>
                </a:moveTo>
                <a:cubicBezTo>
                  <a:pt x="44084" y="9420"/>
                  <a:pt x="9545" y="43832"/>
                  <a:pt x="9545" y="86158"/>
                </a:cubicBezTo>
                <a:cubicBezTo>
                  <a:pt x="9545" y="128483"/>
                  <a:pt x="44084" y="162896"/>
                  <a:pt x="86535" y="162896"/>
                </a:cubicBezTo>
                <a:cubicBezTo>
                  <a:pt x="128986" y="162896"/>
                  <a:pt x="163399" y="128483"/>
                  <a:pt x="163399" y="86158"/>
                </a:cubicBezTo>
                <a:cubicBezTo>
                  <a:pt x="163399" y="43832"/>
                  <a:pt x="128986" y="9420"/>
                  <a:pt x="86535"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0B97DD17-5E5C-46CC-8AFA-9C14845282C5}"/>
              </a:ext>
            </a:extLst>
          </p:cNvPr>
          <p:cNvSpPr/>
          <p:nvPr/>
        </p:nvSpPr>
        <p:spPr>
          <a:xfrm>
            <a:off x="8751449" y="3043263"/>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9" y="0"/>
                  <a:pt x="81762" y="0"/>
                </a:cubicBezTo>
                <a:cubicBezTo>
                  <a:pt x="126851" y="0"/>
                  <a:pt x="163525" y="36548"/>
                  <a:pt x="163525" y="81511"/>
                </a:cubicBezTo>
                <a:cubicBezTo>
                  <a:pt x="163525" y="126474"/>
                  <a:pt x="126977" y="163022"/>
                  <a:pt x="81762" y="163022"/>
                </a:cubicBezTo>
                <a:cubicBezTo>
                  <a:pt x="36549" y="163022"/>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F76D815A-296C-4D5B-A638-4412C8B85E96}"/>
              </a:ext>
            </a:extLst>
          </p:cNvPr>
          <p:cNvSpPr/>
          <p:nvPr/>
        </p:nvSpPr>
        <p:spPr>
          <a:xfrm>
            <a:off x="8746677" y="3038616"/>
            <a:ext cx="173069" cy="172567"/>
          </a:xfrm>
          <a:custGeom>
            <a:avLst/>
            <a:gdLst>
              <a:gd name="connsiteX0" fmla="*/ 86534 w 173069"/>
              <a:gd name="connsiteY0" fmla="*/ 172567 h 172567"/>
              <a:gd name="connsiteX1" fmla="*/ 0 w 173069"/>
              <a:gd name="connsiteY1" fmla="*/ 86284 h 172567"/>
              <a:gd name="connsiteX2" fmla="*/ 86534 w 173069"/>
              <a:gd name="connsiteY2" fmla="*/ 0 h 172567"/>
              <a:gd name="connsiteX3" fmla="*/ 173069 w 173069"/>
              <a:gd name="connsiteY3" fmla="*/ 86284 h 172567"/>
              <a:gd name="connsiteX4" fmla="*/ 86534 w 173069"/>
              <a:gd name="connsiteY4" fmla="*/ 172567 h 172567"/>
              <a:gd name="connsiteX5" fmla="*/ 86534 w 173069"/>
              <a:gd name="connsiteY5" fmla="*/ 9420 h 172567"/>
              <a:gd name="connsiteX6" fmla="*/ 9670 w 173069"/>
              <a:gd name="connsiteY6" fmla="*/ 86158 h 172567"/>
              <a:gd name="connsiteX7" fmla="*/ 86534 w 173069"/>
              <a:gd name="connsiteY7" fmla="*/ 162896 h 172567"/>
              <a:gd name="connsiteX8" fmla="*/ 163524 w 173069"/>
              <a:gd name="connsiteY8" fmla="*/ 86158 h 172567"/>
              <a:gd name="connsiteX9" fmla="*/ 86534 w 173069"/>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4" y="172567"/>
                </a:moveTo>
                <a:cubicBezTo>
                  <a:pt x="38808" y="172567"/>
                  <a:pt x="0" y="133884"/>
                  <a:pt x="0" y="86284"/>
                </a:cubicBezTo>
                <a:cubicBezTo>
                  <a:pt x="0" y="38683"/>
                  <a:pt x="38808" y="0"/>
                  <a:pt x="86534" y="0"/>
                </a:cubicBezTo>
                <a:cubicBezTo>
                  <a:pt x="134261" y="0"/>
                  <a:pt x="173069" y="38683"/>
                  <a:pt x="173069" y="86284"/>
                </a:cubicBezTo>
                <a:cubicBezTo>
                  <a:pt x="173069" y="133759"/>
                  <a:pt x="134261" y="172567"/>
                  <a:pt x="86534" y="172567"/>
                </a:cubicBezTo>
                <a:close/>
                <a:moveTo>
                  <a:pt x="86534" y="9420"/>
                </a:moveTo>
                <a:cubicBezTo>
                  <a:pt x="44083" y="9420"/>
                  <a:pt x="9670" y="43833"/>
                  <a:pt x="9670" y="86158"/>
                </a:cubicBezTo>
                <a:cubicBezTo>
                  <a:pt x="9670" y="128483"/>
                  <a:pt x="44209" y="162896"/>
                  <a:pt x="86534" y="162896"/>
                </a:cubicBezTo>
                <a:cubicBezTo>
                  <a:pt x="128985" y="162896"/>
                  <a:pt x="163524" y="128483"/>
                  <a:pt x="163524" y="86158"/>
                </a:cubicBezTo>
                <a:cubicBezTo>
                  <a:pt x="163398" y="43833"/>
                  <a:pt x="128985" y="9420"/>
                  <a:pt x="86534"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67E33260-FEF3-4783-8E86-56D8348D6187}"/>
              </a:ext>
            </a:extLst>
          </p:cNvPr>
          <p:cNvSpPr/>
          <p:nvPr/>
        </p:nvSpPr>
        <p:spPr>
          <a:xfrm>
            <a:off x="9588036" y="2803502"/>
            <a:ext cx="163523" cy="163021"/>
          </a:xfrm>
          <a:custGeom>
            <a:avLst/>
            <a:gdLst>
              <a:gd name="connsiteX0" fmla="*/ 0 w 163523"/>
              <a:gd name="connsiteY0" fmla="*/ 81511 h 163021"/>
              <a:gd name="connsiteX1" fmla="*/ 81762 w 163523"/>
              <a:gd name="connsiteY1" fmla="*/ 0 h 163021"/>
              <a:gd name="connsiteX2" fmla="*/ 163524 w 163523"/>
              <a:gd name="connsiteY2" fmla="*/ 81511 h 163021"/>
              <a:gd name="connsiteX3" fmla="*/ 81762 w 163523"/>
              <a:gd name="connsiteY3" fmla="*/ 163022 h 163021"/>
              <a:gd name="connsiteX4" fmla="*/ 0 w 163523"/>
              <a:gd name="connsiteY4" fmla="*/ 81511 h 163021"/>
              <a:gd name="connsiteX5" fmla="*/ 0 w 163523"/>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3" h="163021">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600"/>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92D6B8BC-A1BA-4EDF-AC81-FECC2CEC2C55}"/>
              </a:ext>
            </a:extLst>
          </p:cNvPr>
          <p:cNvSpPr/>
          <p:nvPr/>
        </p:nvSpPr>
        <p:spPr>
          <a:xfrm>
            <a:off x="9583138" y="2798855"/>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69 w 173069"/>
              <a:gd name="connsiteY3" fmla="*/ 86284 h 172567"/>
              <a:gd name="connsiteX4" fmla="*/ 86535 w 173069"/>
              <a:gd name="connsiteY4" fmla="*/ 172567 h 172567"/>
              <a:gd name="connsiteX5" fmla="*/ 86535 w 173069"/>
              <a:gd name="connsiteY5" fmla="*/ 9420 h 172567"/>
              <a:gd name="connsiteX6" fmla="*/ 9545 w 173069"/>
              <a:gd name="connsiteY6" fmla="*/ 86158 h 172567"/>
              <a:gd name="connsiteX7" fmla="*/ 86535 w 173069"/>
              <a:gd name="connsiteY7" fmla="*/ 162896 h 172567"/>
              <a:gd name="connsiteX8" fmla="*/ 163399 w 173069"/>
              <a:gd name="connsiteY8" fmla="*/ 86158 h 172567"/>
              <a:gd name="connsiteX9" fmla="*/ 86535 w 173069"/>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69" y="38683"/>
                  <a:pt x="173069" y="86284"/>
                </a:cubicBezTo>
                <a:cubicBezTo>
                  <a:pt x="173069" y="133758"/>
                  <a:pt x="134261" y="172567"/>
                  <a:pt x="86535" y="172567"/>
                </a:cubicBezTo>
                <a:close/>
                <a:moveTo>
                  <a:pt x="86535" y="9420"/>
                </a:moveTo>
                <a:cubicBezTo>
                  <a:pt x="44084" y="9420"/>
                  <a:pt x="9545" y="43833"/>
                  <a:pt x="9545" y="86158"/>
                </a:cubicBezTo>
                <a:cubicBezTo>
                  <a:pt x="9545" y="128483"/>
                  <a:pt x="44084" y="162896"/>
                  <a:pt x="86535" y="162896"/>
                </a:cubicBezTo>
                <a:cubicBezTo>
                  <a:pt x="128986" y="162896"/>
                  <a:pt x="163399" y="128483"/>
                  <a:pt x="163399" y="86158"/>
                </a:cubicBezTo>
                <a:cubicBezTo>
                  <a:pt x="163525" y="43833"/>
                  <a:pt x="128986" y="9420"/>
                  <a:pt x="86535"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CB432413-0250-46BB-8431-9611772F3C5A}"/>
              </a:ext>
            </a:extLst>
          </p:cNvPr>
          <p:cNvSpPr/>
          <p:nvPr/>
        </p:nvSpPr>
        <p:spPr>
          <a:xfrm>
            <a:off x="10482272" y="2803502"/>
            <a:ext cx="163523" cy="163021"/>
          </a:xfrm>
          <a:custGeom>
            <a:avLst/>
            <a:gdLst>
              <a:gd name="connsiteX0" fmla="*/ 0 w 163523"/>
              <a:gd name="connsiteY0" fmla="*/ 81511 h 163021"/>
              <a:gd name="connsiteX1" fmla="*/ 81762 w 163523"/>
              <a:gd name="connsiteY1" fmla="*/ 0 h 163021"/>
              <a:gd name="connsiteX2" fmla="*/ 163524 w 163523"/>
              <a:gd name="connsiteY2" fmla="*/ 81511 h 163021"/>
              <a:gd name="connsiteX3" fmla="*/ 81762 w 163523"/>
              <a:gd name="connsiteY3" fmla="*/ 163022 h 163021"/>
              <a:gd name="connsiteX4" fmla="*/ 0 w 163523"/>
              <a:gd name="connsiteY4" fmla="*/ 81511 h 163021"/>
              <a:gd name="connsiteX5" fmla="*/ 0 w 163523"/>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3" h="163021">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600112B9-D88D-45A9-92F6-74790F96A7EC}"/>
              </a:ext>
            </a:extLst>
          </p:cNvPr>
          <p:cNvSpPr/>
          <p:nvPr/>
        </p:nvSpPr>
        <p:spPr>
          <a:xfrm>
            <a:off x="10477499" y="2798855"/>
            <a:ext cx="173069" cy="172567"/>
          </a:xfrm>
          <a:custGeom>
            <a:avLst/>
            <a:gdLst>
              <a:gd name="connsiteX0" fmla="*/ 86534 w 173069"/>
              <a:gd name="connsiteY0" fmla="*/ 172567 h 172567"/>
              <a:gd name="connsiteX1" fmla="*/ 0 w 173069"/>
              <a:gd name="connsiteY1" fmla="*/ 86284 h 172567"/>
              <a:gd name="connsiteX2" fmla="*/ 86534 w 173069"/>
              <a:gd name="connsiteY2" fmla="*/ 0 h 172567"/>
              <a:gd name="connsiteX3" fmla="*/ 173069 w 173069"/>
              <a:gd name="connsiteY3" fmla="*/ 86284 h 172567"/>
              <a:gd name="connsiteX4" fmla="*/ 86534 w 173069"/>
              <a:gd name="connsiteY4" fmla="*/ 172567 h 172567"/>
              <a:gd name="connsiteX5" fmla="*/ 86534 w 173069"/>
              <a:gd name="connsiteY5" fmla="*/ 9420 h 172567"/>
              <a:gd name="connsiteX6" fmla="*/ 9545 w 173069"/>
              <a:gd name="connsiteY6" fmla="*/ 86158 h 172567"/>
              <a:gd name="connsiteX7" fmla="*/ 86534 w 173069"/>
              <a:gd name="connsiteY7" fmla="*/ 162896 h 172567"/>
              <a:gd name="connsiteX8" fmla="*/ 163398 w 173069"/>
              <a:gd name="connsiteY8" fmla="*/ 86158 h 172567"/>
              <a:gd name="connsiteX9" fmla="*/ 86534 w 173069"/>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4" y="172567"/>
                </a:moveTo>
                <a:cubicBezTo>
                  <a:pt x="38808" y="172567"/>
                  <a:pt x="0" y="133884"/>
                  <a:pt x="0" y="86284"/>
                </a:cubicBezTo>
                <a:cubicBezTo>
                  <a:pt x="0" y="38683"/>
                  <a:pt x="38808" y="0"/>
                  <a:pt x="86534" y="0"/>
                </a:cubicBezTo>
                <a:cubicBezTo>
                  <a:pt x="134261" y="0"/>
                  <a:pt x="173069" y="38683"/>
                  <a:pt x="173069" y="86284"/>
                </a:cubicBezTo>
                <a:cubicBezTo>
                  <a:pt x="173069" y="133758"/>
                  <a:pt x="134135" y="172567"/>
                  <a:pt x="86534" y="172567"/>
                </a:cubicBezTo>
                <a:close/>
                <a:moveTo>
                  <a:pt x="86534" y="9420"/>
                </a:moveTo>
                <a:cubicBezTo>
                  <a:pt x="44083" y="9420"/>
                  <a:pt x="9545" y="43833"/>
                  <a:pt x="9545" y="86158"/>
                </a:cubicBezTo>
                <a:cubicBezTo>
                  <a:pt x="9545" y="128483"/>
                  <a:pt x="44083" y="162896"/>
                  <a:pt x="86534" y="162896"/>
                </a:cubicBezTo>
                <a:cubicBezTo>
                  <a:pt x="128985" y="162896"/>
                  <a:pt x="163398" y="128483"/>
                  <a:pt x="163398" y="86158"/>
                </a:cubicBezTo>
                <a:cubicBezTo>
                  <a:pt x="163398" y="43833"/>
                  <a:pt x="128860" y="9420"/>
                  <a:pt x="86534"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E5F6F4B4-20C7-4D69-8E83-628982E91076}"/>
              </a:ext>
            </a:extLst>
          </p:cNvPr>
          <p:cNvSpPr/>
          <p:nvPr/>
        </p:nvSpPr>
        <p:spPr>
          <a:xfrm>
            <a:off x="11318733" y="2976195"/>
            <a:ext cx="163524" cy="163021"/>
          </a:xfrm>
          <a:custGeom>
            <a:avLst/>
            <a:gdLst>
              <a:gd name="connsiteX0" fmla="*/ 0 w 163524"/>
              <a:gd name="connsiteY0" fmla="*/ 81511 h 163021"/>
              <a:gd name="connsiteX1" fmla="*/ 81762 w 163524"/>
              <a:gd name="connsiteY1" fmla="*/ 0 h 163021"/>
              <a:gd name="connsiteX2" fmla="*/ 163525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850" y="0"/>
                  <a:pt x="163525" y="36548"/>
                  <a:pt x="163525" y="81511"/>
                </a:cubicBezTo>
                <a:cubicBezTo>
                  <a:pt x="163525" y="126474"/>
                  <a:pt x="126976" y="163022"/>
                  <a:pt x="81762" y="163022"/>
                </a:cubicBezTo>
                <a:cubicBezTo>
                  <a:pt x="36673"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4655972F-98B4-47DD-8ACE-CA406996E585}"/>
              </a:ext>
            </a:extLst>
          </p:cNvPr>
          <p:cNvSpPr/>
          <p:nvPr/>
        </p:nvSpPr>
        <p:spPr>
          <a:xfrm>
            <a:off x="11313960" y="2971422"/>
            <a:ext cx="173070" cy="172567"/>
          </a:xfrm>
          <a:custGeom>
            <a:avLst/>
            <a:gdLst>
              <a:gd name="connsiteX0" fmla="*/ 86535 w 173070"/>
              <a:gd name="connsiteY0" fmla="*/ 172567 h 172567"/>
              <a:gd name="connsiteX1" fmla="*/ 0 w 173070"/>
              <a:gd name="connsiteY1" fmla="*/ 86284 h 172567"/>
              <a:gd name="connsiteX2" fmla="*/ 86535 w 173070"/>
              <a:gd name="connsiteY2" fmla="*/ 0 h 172567"/>
              <a:gd name="connsiteX3" fmla="*/ 173070 w 173070"/>
              <a:gd name="connsiteY3" fmla="*/ 86284 h 172567"/>
              <a:gd name="connsiteX4" fmla="*/ 86535 w 173070"/>
              <a:gd name="connsiteY4" fmla="*/ 172567 h 172567"/>
              <a:gd name="connsiteX5" fmla="*/ 86535 w 173070"/>
              <a:gd name="connsiteY5" fmla="*/ 9545 h 172567"/>
              <a:gd name="connsiteX6" fmla="*/ 9671 w 173070"/>
              <a:gd name="connsiteY6" fmla="*/ 86284 h 172567"/>
              <a:gd name="connsiteX7" fmla="*/ 86535 w 173070"/>
              <a:gd name="connsiteY7" fmla="*/ 163022 h 172567"/>
              <a:gd name="connsiteX8" fmla="*/ 163525 w 173070"/>
              <a:gd name="connsiteY8" fmla="*/ 86284 h 172567"/>
              <a:gd name="connsiteX9" fmla="*/ 86535 w 173070"/>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70"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671" y="43958"/>
                  <a:pt x="9671" y="86284"/>
                </a:cubicBezTo>
                <a:cubicBezTo>
                  <a:pt x="9671" y="128609"/>
                  <a:pt x="44210"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2BD9F9F-70BF-49BB-92B2-B6FB9F3F1814}"/>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56E134C3-BF56-422C-A4D4-9D739D4399D5}"/>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DB63270F-ABA0-4C47-A180-C266AF9B704A}"/>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6419A63F-94A9-4CB5-9482-A68F83B3EEA7}"/>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0E6FC446-C7F2-406D-89C0-4F51298AE22D}"/>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8C2F882A-572F-43D0-BDF5-9FD8A1EF0E4C}"/>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95657171-E0B2-481C-A26D-A15175FF2AA0}"/>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5C29533F-41AE-48C4-B42C-9A93E8ED2C10}"/>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39CF2FAD-1416-4D4A-A702-1DBE07729424}"/>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509C16AB-3689-40E1-BB03-D1AAD718CCD4}"/>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C4A3D3EB-9949-4D08-88C6-AC4242886570}"/>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9E38BC07-6BC2-4C8E-B825-C5DA52F1C19B}"/>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433B159D-DE68-4A97-9D9A-4B8C2CBFDC5E}"/>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8B1F1105-C1FA-4CCC-B94E-DF87FC2CDE3F}"/>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4DF56BE9-9B1F-404C-A284-188A5E262AB7}"/>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E2820191-41BD-4091-A267-99ED4BF5D6D1}"/>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74F644A0-1416-4CCF-9B36-A4E1648AB89F}"/>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AAF723F3-BF42-440D-9B59-EB56C4CE98B4}"/>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E976A5F1-8926-47AF-AAEB-615C82469D12}"/>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A5DBBC5E-8763-43EA-94CA-27EECD006157}"/>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8" name="Graphic 4">
            <a:extLst>
              <a:ext uri="{FF2B5EF4-FFF2-40B4-BE49-F238E27FC236}">
                <a16:creationId xmlns:a16="http://schemas.microsoft.com/office/drawing/2014/main" id="{84FB7ED1-A2DF-40A1-A747-5F7CF3F14040}"/>
              </a:ext>
            </a:extLst>
          </p:cNvPr>
          <p:cNvGrpSpPr/>
          <p:nvPr/>
        </p:nvGrpSpPr>
        <p:grpSpPr>
          <a:xfrm>
            <a:off x="545210" y="2324107"/>
            <a:ext cx="671429" cy="583644"/>
            <a:chOff x="545210" y="2324107"/>
            <a:chExt cx="671429" cy="583644"/>
          </a:xfrm>
          <a:solidFill>
            <a:schemeClr val="accent1"/>
          </a:solidFill>
        </p:grpSpPr>
        <p:sp>
          <p:nvSpPr>
            <p:cNvPr id="79" name="Freeform: Shape 78">
              <a:extLst>
                <a:ext uri="{FF2B5EF4-FFF2-40B4-BE49-F238E27FC236}">
                  <a16:creationId xmlns:a16="http://schemas.microsoft.com/office/drawing/2014/main" id="{E5EFB6A7-E95D-41F5-B3EB-2FCEC84B7245}"/>
                </a:ext>
              </a:extLst>
            </p:cNvPr>
            <p:cNvSpPr/>
            <p:nvPr/>
          </p:nvSpPr>
          <p:spPr>
            <a:xfrm>
              <a:off x="1012925" y="2783609"/>
              <a:ext cx="19980" cy="36772"/>
            </a:xfrm>
            <a:custGeom>
              <a:avLst/>
              <a:gdLst>
                <a:gd name="connsiteX0" fmla="*/ 17960 w 19980"/>
                <a:gd name="connsiteY0" fmla="*/ 27303 h 36772"/>
                <a:gd name="connsiteX1" fmla="*/ 2135 w 19980"/>
                <a:gd name="connsiteY1" fmla="*/ 36472 h 36772"/>
                <a:gd name="connsiteX2" fmla="*/ 628 w 19980"/>
                <a:gd name="connsiteY2" fmla="*/ 36598 h 36772"/>
                <a:gd name="connsiteX3" fmla="*/ 0 w 19980"/>
                <a:gd name="connsiteY3" fmla="*/ 35216 h 36772"/>
                <a:gd name="connsiteX4" fmla="*/ 0 w 19980"/>
                <a:gd name="connsiteY4" fmla="*/ 12986 h 36772"/>
                <a:gd name="connsiteX5" fmla="*/ 2010 w 19980"/>
                <a:gd name="connsiteY5" fmla="*/ 9469 h 36772"/>
                <a:gd name="connsiteX6" fmla="*/ 17834 w 19980"/>
                <a:gd name="connsiteY6" fmla="*/ 301 h 36772"/>
                <a:gd name="connsiteX7" fmla="*/ 19342 w 19980"/>
                <a:gd name="connsiteY7" fmla="*/ 175 h 36772"/>
                <a:gd name="connsiteX8" fmla="*/ 19970 w 19980"/>
                <a:gd name="connsiteY8" fmla="*/ 1557 h 36772"/>
                <a:gd name="connsiteX9" fmla="*/ 19970 w 19980"/>
                <a:gd name="connsiteY9" fmla="*/ 23787 h 36772"/>
                <a:gd name="connsiteX10" fmla="*/ 17960 w 19980"/>
                <a:gd name="connsiteY10" fmla="*/ 27303 h 3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80" h="36772">
                  <a:moveTo>
                    <a:pt x="17960" y="27303"/>
                  </a:moveTo>
                  <a:lnTo>
                    <a:pt x="2135" y="36472"/>
                  </a:lnTo>
                  <a:cubicBezTo>
                    <a:pt x="1633" y="36849"/>
                    <a:pt x="1005" y="36849"/>
                    <a:pt x="628" y="36598"/>
                  </a:cubicBezTo>
                  <a:cubicBezTo>
                    <a:pt x="251" y="36346"/>
                    <a:pt x="0" y="35970"/>
                    <a:pt x="0" y="35216"/>
                  </a:cubicBezTo>
                  <a:lnTo>
                    <a:pt x="0" y="12986"/>
                  </a:lnTo>
                  <a:cubicBezTo>
                    <a:pt x="0" y="11730"/>
                    <a:pt x="879" y="10097"/>
                    <a:pt x="2010" y="9469"/>
                  </a:cubicBezTo>
                  <a:lnTo>
                    <a:pt x="17834" y="301"/>
                  </a:lnTo>
                  <a:cubicBezTo>
                    <a:pt x="18462" y="-76"/>
                    <a:pt x="18965" y="-76"/>
                    <a:pt x="19342" y="175"/>
                  </a:cubicBezTo>
                  <a:cubicBezTo>
                    <a:pt x="19718" y="426"/>
                    <a:pt x="19970" y="803"/>
                    <a:pt x="19970" y="1557"/>
                  </a:cubicBezTo>
                  <a:lnTo>
                    <a:pt x="19970" y="23787"/>
                  </a:lnTo>
                  <a:cubicBezTo>
                    <a:pt x="20095" y="25043"/>
                    <a:pt x="19090" y="26550"/>
                    <a:pt x="17960" y="27303"/>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61FDFB82-BFCC-4392-AA40-480810AEB1F5}"/>
                </a:ext>
              </a:extLst>
            </p:cNvPr>
            <p:cNvSpPr/>
            <p:nvPr/>
          </p:nvSpPr>
          <p:spPr>
            <a:xfrm>
              <a:off x="1020461" y="2808526"/>
              <a:ext cx="502" cy="34915"/>
            </a:xfrm>
            <a:custGeom>
              <a:avLst/>
              <a:gdLst>
                <a:gd name="connsiteX0" fmla="*/ 502 w 502"/>
                <a:gd name="connsiteY0" fmla="*/ 34915 h 34915"/>
                <a:gd name="connsiteX1" fmla="*/ 0 w 502"/>
                <a:gd name="connsiteY1" fmla="*/ 34539 h 34915"/>
                <a:gd name="connsiteX2" fmla="*/ 0 w 502"/>
                <a:gd name="connsiteY2" fmla="*/ 0 h 34915"/>
                <a:gd name="connsiteX3" fmla="*/ 502 w 502"/>
                <a:gd name="connsiteY3" fmla="*/ 251 h 34915"/>
              </a:gdLst>
              <a:ahLst/>
              <a:cxnLst>
                <a:cxn ang="0">
                  <a:pos x="connsiteX0" y="connsiteY0"/>
                </a:cxn>
                <a:cxn ang="0">
                  <a:pos x="connsiteX1" y="connsiteY1"/>
                </a:cxn>
                <a:cxn ang="0">
                  <a:pos x="connsiteX2" y="connsiteY2"/>
                </a:cxn>
                <a:cxn ang="0">
                  <a:pos x="connsiteX3" y="connsiteY3"/>
                </a:cxn>
              </a:cxnLst>
              <a:rect l="l" t="t" r="r" b="b"/>
              <a:pathLst>
                <a:path w="502" h="34915">
                  <a:moveTo>
                    <a:pt x="502" y="34915"/>
                  </a:moveTo>
                  <a:lnTo>
                    <a:pt x="0" y="34539"/>
                  </a:lnTo>
                  <a:lnTo>
                    <a:pt x="0" y="0"/>
                  </a:lnTo>
                  <a:lnTo>
                    <a:pt x="502" y="251"/>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B0F7CB2A-626B-434E-A8B2-3D7FE867BE29}"/>
                </a:ext>
              </a:extLst>
            </p:cNvPr>
            <p:cNvSpPr/>
            <p:nvPr/>
          </p:nvSpPr>
          <p:spPr>
            <a:xfrm>
              <a:off x="1200508" y="2745729"/>
              <a:ext cx="11861" cy="14569"/>
            </a:xfrm>
            <a:custGeom>
              <a:avLst/>
              <a:gdLst>
                <a:gd name="connsiteX0" fmla="*/ 1186 w 11861"/>
                <a:gd name="connsiteY0" fmla="*/ 14569 h 14569"/>
                <a:gd name="connsiteX1" fmla="*/ 181 w 11861"/>
                <a:gd name="connsiteY1" fmla="*/ 13941 h 14569"/>
                <a:gd name="connsiteX2" fmla="*/ 558 w 11861"/>
                <a:gd name="connsiteY2" fmla="*/ 12308 h 14569"/>
                <a:gd name="connsiteX3" fmla="*/ 9601 w 11861"/>
                <a:gd name="connsiteY3" fmla="*/ 1130 h 14569"/>
                <a:gd name="connsiteX4" fmla="*/ 10731 w 11861"/>
                <a:gd name="connsiteY4" fmla="*/ 0 h 14569"/>
                <a:gd name="connsiteX5" fmla="*/ 11862 w 11861"/>
                <a:gd name="connsiteY5" fmla="*/ 1130 h 14569"/>
                <a:gd name="connsiteX6" fmla="*/ 1689 w 11861"/>
                <a:gd name="connsiteY6" fmla="*/ 14318 h 14569"/>
                <a:gd name="connsiteX7" fmla="*/ 1186 w 11861"/>
                <a:gd name="connsiteY7" fmla="*/ 14569 h 1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61" h="14569">
                  <a:moveTo>
                    <a:pt x="1186" y="14569"/>
                  </a:moveTo>
                  <a:cubicBezTo>
                    <a:pt x="809" y="14569"/>
                    <a:pt x="433" y="14318"/>
                    <a:pt x="181" y="13941"/>
                  </a:cubicBezTo>
                  <a:cubicBezTo>
                    <a:pt x="-195" y="13439"/>
                    <a:pt x="56" y="12685"/>
                    <a:pt x="558" y="12308"/>
                  </a:cubicBezTo>
                  <a:cubicBezTo>
                    <a:pt x="6461" y="8917"/>
                    <a:pt x="9601" y="5024"/>
                    <a:pt x="9601" y="1130"/>
                  </a:cubicBezTo>
                  <a:cubicBezTo>
                    <a:pt x="9601" y="502"/>
                    <a:pt x="10103" y="0"/>
                    <a:pt x="10731" y="0"/>
                  </a:cubicBezTo>
                  <a:cubicBezTo>
                    <a:pt x="11359" y="0"/>
                    <a:pt x="11862" y="502"/>
                    <a:pt x="11862" y="1130"/>
                  </a:cubicBezTo>
                  <a:cubicBezTo>
                    <a:pt x="11862" y="6029"/>
                    <a:pt x="8471" y="10424"/>
                    <a:pt x="1689" y="14318"/>
                  </a:cubicBezTo>
                  <a:cubicBezTo>
                    <a:pt x="1563" y="14443"/>
                    <a:pt x="1312" y="14569"/>
                    <a:pt x="1186" y="1456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569A6AD9-1941-4726-9973-84092852210D}"/>
                </a:ext>
              </a:extLst>
            </p:cNvPr>
            <p:cNvSpPr/>
            <p:nvPr/>
          </p:nvSpPr>
          <p:spPr>
            <a:xfrm>
              <a:off x="1206467" y="2715397"/>
              <a:ext cx="10173" cy="35268"/>
            </a:xfrm>
            <a:custGeom>
              <a:avLst/>
              <a:gdLst>
                <a:gd name="connsiteX0" fmla="*/ 7536 w 10173"/>
                <a:gd name="connsiteY0" fmla="*/ 30959 h 35268"/>
                <a:gd name="connsiteX1" fmla="*/ 2135 w 10173"/>
                <a:gd name="connsiteY1" fmla="*/ 34853 h 35268"/>
                <a:gd name="connsiteX2" fmla="*/ 502 w 10173"/>
                <a:gd name="connsiteY2" fmla="*/ 35104 h 35268"/>
                <a:gd name="connsiteX3" fmla="*/ 0 w 10173"/>
                <a:gd name="connsiteY3" fmla="*/ 33848 h 35268"/>
                <a:gd name="connsiteX4" fmla="*/ 0 w 10173"/>
                <a:gd name="connsiteY4" fmla="*/ 6091 h 35268"/>
                <a:gd name="connsiteX5" fmla="*/ 2135 w 10173"/>
                <a:gd name="connsiteY5" fmla="*/ 2575 h 35268"/>
                <a:gd name="connsiteX6" fmla="*/ 7536 w 10173"/>
                <a:gd name="connsiteY6" fmla="*/ 188 h 35268"/>
                <a:gd name="connsiteX7" fmla="*/ 9294 w 10173"/>
                <a:gd name="connsiteY7" fmla="*/ 188 h 35268"/>
                <a:gd name="connsiteX8" fmla="*/ 10173 w 10173"/>
                <a:gd name="connsiteY8" fmla="*/ 2072 h 35268"/>
                <a:gd name="connsiteX9" fmla="*/ 10173 w 10173"/>
                <a:gd name="connsiteY9" fmla="*/ 25935 h 35268"/>
                <a:gd name="connsiteX10" fmla="*/ 7536 w 10173"/>
                <a:gd name="connsiteY10" fmla="*/ 30959 h 3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3" h="35268">
                  <a:moveTo>
                    <a:pt x="7536" y="30959"/>
                  </a:moveTo>
                  <a:lnTo>
                    <a:pt x="2135" y="34853"/>
                  </a:lnTo>
                  <a:cubicBezTo>
                    <a:pt x="1507" y="35355"/>
                    <a:pt x="879" y="35355"/>
                    <a:pt x="502" y="35104"/>
                  </a:cubicBezTo>
                  <a:cubicBezTo>
                    <a:pt x="126" y="34853"/>
                    <a:pt x="0" y="34476"/>
                    <a:pt x="0" y="33848"/>
                  </a:cubicBezTo>
                  <a:lnTo>
                    <a:pt x="0" y="6091"/>
                  </a:lnTo>
                  <a:cubicBezTo>
                    <a:pt x="0" y="4710"/>
                    <a:pt x="1005" y="3077"/>
                    <a:pt x="2135" y="2575"/>
                  </a:cubicBezTo>
                  <a:lnTo>
                    <a:pt x="7536" y="188"/>
                  </a:lnTo>
                  <a:cubicBezTo>
                    <a:pt x="8289" y="-63"/>
                    <a:pt x="8792" y="-63"/>
                    <a:pt x="9294" y="188"/>
                  </a:cubicBezTo>
                  <a:cubicBezTo>
                    <a:pt x="9796" y="565"/>
                    <a:pt x="10173" y="1193"/>
                    <a:pt x="10173" y="2072"/>
                  </a:cubicBezTo>
                  <a:lnTo>
                    <a:pt x="10173" y="25935"/>
                  </a:lnTo>
                  <a:cubicBezTo>
                    <a:pt x="10173" y="27819"/>
                    <a:pt x="9043" y="29954"/>
                    <a:pt x="7536" y="3095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AF785735-E72C-4C8B-B37E-EB6C995A18E5}"/>
                </a:ext>
              </a:extLst>
            </p:cNvPr>
            <p:cNvSpPr/>
            <p:nvPr/>
          </p:nvSpPr>
          <p:spPr>
            <a:xfrm>
              <a:off x="1204457" y="2714267"/>
              <a:ext cx="11303" cy="36234"/>
            </a:xfrm>
            <a:custGeom>
              <a:avLst/>
              <a:gdLst>
                <a:gd name="connsiteX0" fmla="*/ 2010 w 11303"/>
                <a:gd name="connsiteY0" fmla="*/ 34978 h 36234"/>
                <a:gd name="connsiteX1" fmla="*/ 2010 w 11303"/>
                <a:gd name="connsiteY1" fmla="*/ 7222 h 36234"/>
                <a:gd name="connsiteX2" fmla="*/ 4145 w 11303"/>
                <a:gd name="connsiteY2" fmla="*/ 3705 h 36234"/>
                <a:gd name="connsiteX3" fmla="*/ 9545 w 11303"/>
                <a:gd name="connsiteY3" fmla="*/ 1319 h 36234"/>
                <a:gd name="connsiteX4" fmla="*/ 11304 w 11303"/>
                <a:gd name="connsiteY4" fmla="*/ 1319 h 36234"/>
                <a:gd name="connsiteX5" fmla="*/ 9294 w 11303"/>
                <a:gd name="connsiteY5" fmla="*/ 188 h 36234"/>
                <a:gd name="connsiteX6" fmla="*/ 7536 w 11303"/>
                <a:gd name="connsiteY6" fmla="*/ 188 h 36234"/>
                <a:gd name="connsiteX7" fmla="*/ 2135 w 11303"/>
                <a:gd name="connsiteY7" fmla="*/ 2575 h 36234"/>
                <a:gd name="connsiteX8" fmla="*/ 0 w 11303"/>
                <a:gd name="connsiteY8" fmla="*/ 6091 h 36234"/>
                <a:gd name="connsiteX9" fmla="*/ 0 w 11303"/>
                <a:gd name="connsiteY9" fmla="*/ 33848 h 36234"/>
                <a:gd name="connsiteX10" fmla="*/ 628 w 11303"/>
                <a:gd name="connsiteY10" fmla="*/ 35104 h 36234"/>
                <a:gd name="connsiteX11" fmla="*/ 2637 w 11303"/>
                <a:gd name="connsiteY11" fmla="*/ 36234 h 36234"/>
                <a:gd name="connsiteX12" fmla="*/ 2010 w 11303"/>
                <a:gd name="connsiteY12" fmla="*/ 34978 h 36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03" h="36234">
                  <a:moveTo>
                    <a:pt x="2010" y="34978"/>
                  </a:moveTo>
                  <a:lnTo>
                    <a:pt x="2010" y="7222"/>
                  </a:lnTo>
                  <a:cubicBezTo>
                    <a:pt x="2010" y="5840"/>
                    <a:pt x="3014" y="4207"/>
                    <a:pt x="4145" y="3705"/>
                  </a:cubicBezTo>
                  <a:lnTo>
                    <a:pt x="9545" y="1319"/>
                  </a:lnTo>
                  <a:cubicBezTo>
                    <a:pt x="10299" y="1068"/>
                    <a:pt x="10801" y="1068"/>
                    <a:pt x="11304" y="1319"/>
                  </a:cubicBezTo>
                  <a:cubicBezTo>
                    <a:pt x="11304" y="1319"/>
                    <a:pt x="9796" y="440"/>
                    <a:pt x="9294" y="188"/>
                  </a:cubicBezTo>
                  <a:cubicBezTo>
                    <a:pt x="8792" y="-63"/>
                    <a:pt x="8164" y="-63"/>
                    <a:pt x="7536" y="188"/>
                  </a:cubicBezTo>
                  <a:lnTo>
                    <a:pt x="2135" y="2575"/>
                  </a:lnTo>
                  <a:cubicBezTo>
                    <a:pt x="1005" y="3077"/>
                    <a:pt x="0" y="4710"/>
                    <a:pt x="0" y="6091"/>
                  </a:cubicBezTo>
                  <a:lnTo>
                    <a:pt x="0" y="33848"/>
                  </a:lnTo>
                  <a:cubicBezTo>
                    <a:pt x="0" y="34476"/>
                    <a:pt x="251" y="34853"/>
                    <a:pt x="628" y="35104"/>
                  </a:cubicBezTo>
                  <a:cubicBezTo>
                    <a:pt x="1005" y="35355"/>
                    <a:pt x="2637" y="36234"/>
                    <a:pt x="2637" y="36234"/>
                  </a:cubicBezTo>
                  <a:cubicBezTo>
                    <a:pt x="2261" y="36109"/>
                    <a:pt x="2010" y="35606"/>
                    <a:pt x="2010" y="3497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9BA01FD4-4FDD-463A-BB39-2A8E8D34DAD2}"/>
                </a:ext>
              </a:extLst>
            </p:cNvPr>
            <p:cNvSpPr/>
            <p:nvPr/>
          </p:nvSpPr>
          <p:spPr>
            <a:xfrm>
              <a:off x="1200508" y="2710552"/>
              <a:ext cx="11987" cy="5912"/>
            </a:xfrm>
            <a:custGeom>
              <a:avLst/>
              <a:gdLst>
                <a:gd name="connsiteX0" fmla="*/ 10731 w 11987"/>
                <a:gd name="connsiteY0" fmla="*/ 5913 h 5912"/>
                <a:gd name="connsiteX1" fmla="*/ 9601 w 11987"/>
                <a:gd name="connsiteY1" fmla="*/ 4782 h 5912"/>
                <a:gd name="connsiteX2" fmla="*/ 8847 w 11987"/>
                <a:gd name="connsiteY2" fmla="*/ 2522 h 5912"/>
                <a:gd name="connsiteX3" fmla="*/ 1814 w 11987"/>
                <a:gd name="connsiteY3" fmla="*/ 4657 h 5912"/>
                <a:gd name="connsiteX4" fmla="*/ 181 w 11987"/>
                <a:gd name="connsiteY4" fmla="*/ 4280 h 5912"/>
                <a:gd name="connsiteX5" fmla="*/ 558 w 11987"/>
                <a:gd name="connsiteY5" fmla="*/ 2647 h 5912"/>
                <a:gd name="connsiteX6" fmla="*/ 9978 w 11987"/>
                <a:gd name="connsiteY6" fmla="*/ 512 h 5912"/>
                <a:gd name="connsiteX7" fmla="*/ 11987 w 11987"/>
                <a:gd name="connsiteY7" fmla="*/ 4782 h 5912"/>
                <a:gd name="connsiteX8" fmla="*/ 10731 w 11987"/>
                <a:gd name="connsiteY8" fmla="*/ 5913 h 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87" h="5912">
                  <a:moveTo>
                    <a:pt x="10731" y="5913"/>
                  </a:moveTo>
                  <a:cubicBezTo>
                    <a:pt x="10103" y="5913"/>
                    <a:pt x="9601" y="5410"/>
                    <a:pt x="9601" y="4782"/>
                  </a:cubicBezTo>
                  <a:cubicBezTo>
                    <a:pt x="9601" y="3903"/>
                    <a:pt x="9475" y="2898"/>
                    <a:pt x="8847" y="2522"/>
                  </a:cubicBezTo>
                  <a:cubicBezTo>
                    <a:pt x="8345" y="2270"/>
                    <a:pt x="6587" y="1894"/>
                    <a:pt x="1814" y="4657"/>
                  </a:cubicBezTo>
                  <a:cubicBezTo>
                    <a:pt x="1312" y="5033"/>
                    <a:pt x="558" y="4782"/>
                    <a:pt x="181" y="4280"/>
                  </a:cubicBezTo>
                  <a:cubicBezTo>
                    <a:pt x="-195" y="3778"/>
                    <a:pt x="56" y="3024"/>
                    <a:pt x="558" y="2647"/>
                  </a:cubicBezTo>
                  <a:cubicBezTo>
                    <a:pt x="4954" y="135"/>
                    <a:pt x="7968" y="-618"/>
                    <a:pt x="9978" y="512"/>
                  </a:cubicBezTo>
                  <a:cubicBezTo>
                    <a:pt x="11234" y="1266"/>
                    <a:pt x="11987" y="2647"/>
                    <a:pt x="11987" y="4782"/>
                  </a:cubicBezTo>
                  <a:cubicBezTo>
                    <a:pt x="11862" y="5410"/>
                    <a:pt x="11359" y="5913"/>
                    <a:pt x="10731" y="591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34B21088-35C5-46F4-8242-49C3B37F3292}"/>
                </a:ext>
              </a:extLst>
            </p:cNvPr>
            <p:cNvSpPr/>
            <p:nvPr/>
          </p:nvSpPr>
          <p:spPr>
            <a:xfrm>
              <a:off x="1202573" y="2704408"/>
              <a:ext cx="4144" cy="60160"/>
            </a:xfrm>
            <a:custGeom>
              <a:avLst/>
              <a:gdLst>
                <a:gd name="connsiteX0" fmla="*/ 0 w 4144"/>
                <a:gd name="connsiteY0" fmla="*/ 2512 h 60160"/>
                <a:gd name="connsiteX1" fmla="*/ 0 w 4144"/>
                <a:gd name="connsiteY1" fmla="*/ 54257 h 60160"/>
                <a:gd name="connsiteX2" fmla="*/ 3140 w 4144"/>
                <a:gd name="connsiteY2" fmla="*/ 60160 h 60160"/>
                <a:gd name="connsiteX3" fmla="*/ 3140 w 4144"/>
                <a:gd name="connsiteY3" fmla="*/ 60160 h 60160"/>
                <a:gd name="connsiteX4" fmla="*/ 4145 w 4144"/>
                <a:gd name="connsiteY4" fmla="*/ 59532 h 60160"/>
                <a:gd name="connsiteX5" fmla="*/ 1005 w 4144"/>
                <a:gd name="connsiteY5" fmla="*/ 53629 h 60160"/>
                <a:gd name="connsiteX6" fmla="*/ 1005 w 4144"/>
                <a:gd name="connsiteY6" fmla="*/ 1884 h 60160"/>
                <a:gd name="connsiteX7" fmla="*/ 1633 w 4144"/>
                <a:gd name="connsiteY7" fmla="*/ 0 h 60160"/>
                <a:gd name="connsiteX8" fmla="*/ 0 w 4144"/>
                <a:gd name="connsiteY8" fmla="*/ 2512 h 6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44" h="60160">
                  <a:moveTo>
                    <a:pt x="0" y="2512"/>
                  </a:moveTo>
                  <a:lnTo>
                    <a:pt x="0" y="54257"/>
                  </a:lnTo>
                  <a:cubicBezTo>
                    <a:pt x="0" y="56392"/>
                    <a:pt x="1382" y="58904"/>
                    <a:pt x="3140" y="60160"/>
                  </a:cubicBezTo>
                  <a:lnTo>
                    <a:pt x="3140" y="60160"/>
                  </a:lnTo>
                  <a:lnTo>
                    <a:pt x="4145" y="59532"/>
                  </a:lnTo>
                  <a:cubicBezTo>
                    <a:pt x="2386" y="58276"/>
                    <a:pt x="1005" y="55764"/>
                    <a:pt x="1005" y="53629"/>
                  </a:cubicBezTo>
                  <a:lnTo>
                    <a:pt x="1005" y="1884"/>
                  </a:lnTo>
                  <a:cubicBezTo>
                    <a:pt x="1005" y="1005"/>
                    <a:pt x="1256" y="377"/>
                    <a:pt x="1633" y="0"/>
                  </a:cubicBezTo>
                  <a:cubicBezTo>
                    <a:pt x="754" y="126"/>
                    <a:pt x="0" y="1005"/>
                    <a:pt x="0" y="2512"/>
                  </a:cubicBezTo>
                  <a:close/>
                </a:path>
              </a:pathLst>
            </a:custGeom>
            <a:solidFill>
              <a:srgbClr val="EB1C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202591C1-C19F-4817-8A11-C94A38AA1EE7}"/>
                </a:ext>
              </a:extLst>
            </p:cNvPr>
            <p:cNvSpPr/>
            <p:nvPr/>
          </p:nvSpPr>
          <p:spPr>
            <a:xfrm>
              <a:off x="1157234" y="2682791"/>
              <a:ext cx="37678" cy="63235"/>
            </a:xfrm>
            <a:custGeom>
              <a:avLst/>
              <a:gdLst>
                <a:gd name="connsiteX0" fmla="*/ 37678 w 37678"/>
                <a:gd name="connsiteY0" fmla="*/ 61933 h 63235"/>
                <a:gd name="connsiteX1" fmla="*/ 37302 w 37678"/>
                <a:gd name="connsiteY1" fmla="*/ 61807 h 63235"/>
                <a:gd name="connsiteX2" fmla="*/ 4521 w 37678"/>
                <a:gd name="connsiteY2" fmla="*/ 42968 h 63235"/>
                <a:gd name="connsiteX3" fmla="*/ 2010 w 37678"/>
                <a:gd name="connsiteY3" fmla="*/ 38070 h 63235"/>
                <a:gd name="connsiteX4" fmla="*/ 2010 w 37678"/>
                <a:gd name="connsiteY4" fmla="*/ 1145 h 63235"/>
                <a:gd name="connsiteX5" fmla="*/ 2135 w 37678"/>
                <a:gd name="connsiteY5" fmla="*/ 140 h 63235"/>
                <a:gd name="connsiteX6" fmla="*/ 0 w 37678"/>
                <a:gd name="connsiteY6" fmla="*/ 2275 h 63235"/>
                <a:gd name="connsiteX7" fmla="*/ 0 w 37678"/>
                <a:gd name="connsiteY7" fmla="*/ 39200 h 63235"/>
                <a:gd name="connsiteX8" fmla="*/ 2512 w 37678"/>
                <a:gd name="connsiteY8" fmla="*/ 44098 h 63235"/>
                <a:gd name="connsiteX9" fmla="*/ 35292 w 37678"/>
                <a:gd name="connsiteY9" fmla="*/ 62938 h 63235"/>
                <a:gd name="connsiteX10" fmla="*/ 37678 w 37678"/>
                <a:gd name="connsiteY10" fmla="*/ 61933 h 6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8" h="63235">
                  <a:moveTo>
                    <a:pt x="37678" y="61933"/>
                  </a:moveTo>
                  <a:cubicBezTo>
                    <a:pt x="37553" y="61933"/>
                    <a:pt x="37427" y="61807"/>
                    <a:pt x="37302" y="61807"/>
                  </a:cubicBezTo>
                  <a:lnTo>
                    <a:pt x="4521" y="42968"/>
                  </a:lnTo>
                  <a:cubicBezTo>
                    <a:pt x="3140" y="42214"/>
                    <a:pt x="2010" y="39954"/>
                    <a:pt x="2010" y="38070"/>
                  </a:cubicBezTo>
                  <a:lnTo>
                    <a:pt x="2010" y="1145"/>
                  </a:lnTo>
                  <a:cubicBezTo>
                    <a:pt x="2010" y="768"/>
                    <a:pt x="2010" y="517"/>
                    <a:pt x="2135" y="140"/>
                  </a:cubicBezTo>
                  <a:cubicBezTo>
                    <a:pt x="879" y="-362"/>
                    <a:pt x="0" y="517"/>
                    <a:pt x="0" y="2275"/>
                  </a:cubicBezTo>
                  <a:lnTo>
                    <a:pt x="0" y="39200"/>
                  </a:lnTo>
                  <a:cubicBezTo>
                    <a:pt x="0" y="41084"/>
                    <a:pt x="1130" y="43219"/>
                    <a:pt x="2512" y="44098"/>
                  </a:cubicBezTo>
                  <a:lnTo>
                    <a:pt x="35292" y="62938"/>
                  </a:lnTo>
                  <a:cubicBezTo>
                    <a:pt x="36423" y="63566"/>
                    <a:pt x="37302" y="63189"/>
                    <a:pt x="37678" y="6193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E90BFAFA-21DC-4D8D-B4E8-6240735AC357}"/>
                </a:ext>
              </a:extLst>
            </p:cNvPr>
            <p:cNvSpPr/>
            <p:nvPr/>
          </p:nvSpPr>
          <p:spPr>
            <a:xfrm>
              <a:off x="1157108" y="2682894"/>
              <a:ext cx="37813" cy="63123"/>
            </a:xfrm>
            <a:custGeom>
              <a:avLst/>
              <a:gdLst>
                <a:gd name="connsiteX0" fmla="*/ 35292 w 37813"/>
                <a:gd name="connsiteY0" fmla="*/ 19128 h 63123"/>
                <a:gd name="connsiteX1" fmla="*/ 2512 w 37813"/>
                <a:gd name="connsiteY1" fmla="*/ 289 h 63123"/>
                <a:gd name="connsiteX2" fmla="*/ 0 w 37813"/>
                <a:gd name="connsiteY2" fmla="*/ 2173 h 63123"/>
                <a:gd name="connsiteX3" fmla="*/ 0 w 37813"/>
                <a:gd name="connsiteY3" fmla="*/ 39098 h 63123"/>
                <a:gd name="connsiteX4" fmla="*/ 2512 w 37813"/>
                <a:gd name="connsiteY4" fmla="*/ 43996 h 63123"/>
                <a:gd name="connsiteX5" fmla="*/ 35292 w 37813"/>
                <a:gd name="connsiteY5" fmla="*/ 62835 h 63123"/>
                <a:gd name="connsiteX6" fmla="*/ 37804 w 37813"/>
                <a:gd name="connsiteY6" fmla="*/ 60951 h 63123"/>
                <a:gd name="connsiteX7" fmla="*/ 37804 w 37813"/>
                <a:gd name="connsiteY7" fmla="*/ 24026 h 63123"/>
                <a:gd name="connsiteX8" fmla="*/ 35292 w 37813"/>
                <a:gd name="connsiteY8" fmla="*/ 19128 h 6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13" h="63123">
                  <a:moveTo>
                    <a:pt x="35292" y="19128"/>
                  </a:moveTo>
                  <a:lnTo>
                    <a:pt x="2512" y="289"/>
                  </a:lnTo>
                  <a:cubicBezTo>
                    <a:pt x="1130" y="-465"/>
                    <a:pt x="0" y="289"/>
                    <a:pt x="0" y="2173"/>
                  </a:cubicBezTo>
                  <a:lnTo>
                    <a:pt x="0" y="39098"/>
                  </a:lnTo>
                  <a:cubicBezTo>
                    <a:pt x="0" y="40981"/>
                    <a:pt x="1130" y="43117"/>
                    <a:pt x="2512" y="43996"/>
                  </a:cubicBezTo>
                  <a:lnTo>
                    <a:pt x="35292" y="62835"/>
                  </a:lnTo>
                  <a:cubicBezTo>
                    <a:pt x="36674" y="63589"/>
                    <a:pt x="37804" y="62835"/>
                    <a:pt x="37804" y="60951"/>
                  </a:cubicBezTo>
                  <a:lnTo>
                    <a:pt x="37804" y="24026"/>
                  </a:lnTo>
                  <a:cubicBezTo>
                    <a:pt x="37930" y="22142"/>
                    <a:pt x="36799" y="20007"/>
                    <a:pt x="35292" y="19128"/>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7127734D-5CD4-4A48-A1AB-8E6AE8D1FC8F}"/>
                </a:ext>
              </a:extLst>
            </p:cNvPr>
            <p:cNvSpPr/>
            <p:nvPr/>
          </p:nvSpPr>
          <p:spPr>
            <a:xfrm>
              <a:off x="1211616" y="2800990"/>
              <a:ext cx="2888" cy="52875"/>
            </a:xfrm>
            <a:custGeom>
              <a:avLst/>
              <a:gdLst>
                <a:gd name="connsiteX0" fmla="*/ 2889 w 2888"/>
                <a:gd name="connsiteY0" fmla="*/ 0 h 52875"/>
                <a:gd name="connsiteX1" fmla="*/ 126 w 2888"/>
                <a:gd name="connsiteY1" fmla="*/ 3893 h 52875"/>
                <a:gd name="connsiteX2" fmla="*/ 0 w 2888"/>
                <a:gd name="connsiteY2" fmla="*/ 3893 h 52875"/>
                <a:gd name="connsiteX3" fmla="*/ 0 w 2888"/>
                <a:gd name="connsiteY3" fmla="*/ 52875 h 52875"/>
                <a:gd name="connsiteX4" fmla="*/ 126 w 2888"/>
                <a:gd name="connsiteY4" fmla="*/ 52750 h 52875"/>
                <a:gd name="connsiteX5" fmla="*/ 2889 w 2888"/>
                <a:gd name="connsiteY5" fmla="*/ 48856 h 52875"/>
                <a:gd name="connsiteX6" fmla="*/ 2889 w 2888"/>
                <a:gd name="connsiteY6" fmla="*/ 0 h 5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8" h="52875">
                  <a:moveTo>
                    <a:pt x="2889" y="0"/>
                  </a:moveTo>
                  <a:cubicBezTo>
                    <a:pt x="2889" y="1382"/>
                    <a:pt x="2010" y="2763"/>
                    <a:pt x="126" y="3893"/>
                  </a:cubicBezTo>
                  <a:lnTo>
                    <a:pt x="0" y="3893"/>
                  </a:lnTo>
                  <a:lnTo>
                    <a:pt x="0" y="52875"/>
                  </a:lnTo>
                  <a:lnTo>
                    <a:pt x="126" y="52750"/>
                  </a:lnTo>
                  <a:cubicBezTo>
                    <a:pt x="2010" y="51619"/>
                    <a:pt x="2889" y="50238"/>
                    <a:pt x="2889" y="48856"/>
                  </a:cubicBezTo>
                  <a:cubicBezTo>
                    <a:pt x="2889" y="47600"/>
                    <a:pt x="2889" y="0"/>
                    <a:pt x="2889" y="0"/>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1D4872A9-1E99-4C14-892A-0D62638E826E}"/>
                </a:ext>
              </a:extLst>
            </p:cNvPr>
            <p:cNvSpPr/>
            <p:nvPr/>
          </p:nvSpPr>
          <p:spPr>
            <a:xfrm>
              <a:off x="1210486" y="2804256"/>
              <a:ext cx="1130" cy="49610"/>
            </a:xfrm>
            <a:custGeom>
              <a:avLst/>
              <a:gdLst>
                <a:gd name="connsiteX0" fmla="*/ 126 w 1130"/>
                <a:gd name="connsiteY0" fmla="*/ 0 h 49610"/>
                <a:gd name="connsiteX1" fmla="*/ 0 w 1130"/>
                <a:gd name="connsiteY1" fmla="*/ 4521 h 49610"/>
                <a:gd name="connsiteX2" fmla="*/ 126 w 1130"/>
                <a:gd name="connsiteY2" fmla="*/ 49108 h 49610"/>
                <a:gd name="connsiteX3" fmla="*/ 1130 w 1130"/>
                <a:gd name="connsiteY3" fmla="*/ 49610 h 49610"/>
                <a:gd name="connsiteX4" fmla="*/ 1130 w 1130"/>
                <a:gd name="connsiteY4" fmla="*/ 628 h 49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49610">
                  <a:moveTo>
                    <a:pt x="126" y="0"/>
                  </a:moveTo>
                  <a:lnTo>
                    <a:pt x="0" y="4521"/>
                  </a:lnTo>
                  <a:lnTo>
                    <a:pt x="126" y="49108"/>
                  </a:lnTo>
                  <a:lnTo>
                    <a:pt x="1130" y="49610"/>
                  </a:lnTo>
                  <a:lnTo>
                    <a:pt x="1130" y="628"/>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BA5E310C-024C-4EC8-8007-5CB1B6A8ADD9}"/>
                </a:ext>
              </a:extLst>
            </p:cNvPr>
            <p:cNvSpPr/>
            <p:nvPr/>
          </p:nvSpPr>
          <p:spPr>
            <a:xfrm>
              <a:off x="1212872" y="2804256"/>
              <a:ext cx="1507" cy="25746"/>
            </a:xfrm>
            <a:custGeom>
              <a:avLst/>
              <a:gdLst>
                <a:gd name="connsiteX0" fmla="*/ 0 w 1507"/>
                <a:gd name="connsiteY0" fmla="*/ 25747 h 25746"/>
                <a:gd name="connsiteX1" fmla="*/ 1507 w 1507"/>
                <a:gd name="connsiteY1" fmla="*/ 21477 h 25746"/>
                <a:gd name="connsiteX2" fmla="*/ 1507 w 1507"/>
                <a:gd name="connsiteY2" fmla="*/ 0 h 25746"/>
                <a:gd name="connsiteX3" fmla="*/ 0 w 1507"/>
                <a:gd name="connsiteY3" fmla="*/ 3014 h 25746"/>
                <a:gd name="connsiteX4" fmla="*/ 0 w 1507"/>
                <a:gd name="connsiteY4" fmla="*/ 25747 h 25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 h="25746">
                  <a:moveTo>
                    <a:pt x="0" y="25747"/>
                  </a:moveTo>
                  <a:cubicBezTo>
                    <a:pt x="0" y="25747"/>
                    <a:pt x="1507" y="24240"/>
                    <a:pt x="1507" y="21477"/>
                  </a:cubicBezTo>
                  <a:cubicBezTo>
                    <a:pt x="1507" y="18714"/>
                    <a:pt x="1507" y="0"/>
                    <a:pt x="1507" y="0"/>
                  </a:cubicBezTo>
                  <a:cubicBezTo>
                    <a:pt x="1507" y="1758"/>
                    <a:pt x="0" y="3014"/>
                    <a:pt x="0" y="3014"/>
                  </a:cubicBezTo>
                  <a:lnTo>
                    <a:pt x="0" y="25747"/>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CE675AE8-BC09-4387-B138-361DF0CEE7DA}"/>
                </a:ext>
              </a:extLst>
            </p:cNvPr>
            <p:cNvSpPr/>
            <p:nvPr/>
          </p:nvSpPr>
          <p:spPr>
            <a:xfrm>
              <a:off x="1131738" y="2804256"/>
              <a:ext cx="78873" cy="94572"/>
            </a:xfrm>
            <a:custGeom>
              <a:avLst/>
              <a:gdLst>
                <a:gd name="connsiteX0" fmla="*/ 0 w 78873"/>
                <a:gd name="connsiteY0" fmla="*/ 45591 h 94572"/>
                <a:gd name="connsiteX1" fmla="*/ 0 w 78873"/>
                <a:gd name="connsiteY1" fmla="*/ 94573 h 94572"/>
                <a:gd name="connsiteX2" fmla="*/ 78874 w 78873"/>
                <a:gd name="connsiteY2" fmla="*/ 49108 h 94572"/>
                <a:gd name="connsiteX3" fmla="*/ 78874 w 78873"/>
                <a:gd name="connsiteY3" fmla="*/ 0 h 94572"/>
              </a:gdLst>
              <a:ahLst/>
              <a:cxnLst>
                <a:cxn ang="0">
                  <a:pos x="connsiteX0" y="connsiteY0"/>
                </a:cxn>
                <a:cxn ang="0">
                  <a:pos x="connsiteX1" y="connsiteY1"/>
                </a:cxn>
                <a:cxn ang="0">
                  <a:pos x="connsiteX2" y="connsiteY2"/>
                </a:cxn>
                <a:cxn ang="0">
                  <a:pos x="connsiteX3" y="connsiteY3"/>
                </a:cxn>
              </a:cxnLst>
              <a:rect l="l" t="t" r="r" b="b"/>
              <a:pathLst>
                <a:path w="78873" h="94572">
                  <a:moveTo>
                    <a:pt x="0" y="45591"/>
                  </a:moveTo>
                  <a:lnTo>
                    <a:pt x="0" y="94573"/>
                  </a:lnTo>
                  <a:lnTo>
                    <a:pt x="78874" y="49108"/>
                  </a:lnTo>
                  <a:lnTo>
                    <a:pt x="78874"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8B514FB4-59CD-480E-9761-852BAC32936F}"/>
                </a:ext>
              </a:extLst>
            </p:cNvPr>
            <p:cNvSpPr/>
            <p:nvPr/>
          </p:nvSpPr>
          <p:spPr>
            <a:xfrm>
              <a:off x="1131110" y="2849847"/>
              <a:ext cx="627" cy="628"/>
            </a:xfrm>
            <a:custGeom>
              <a:avLst/>
              <a:gdLst>
                <a:gd name="connsiteX0" fmla="*/ 0 w 627"/>
                <a:gd name="connsiteY0" fmla="*/ 377 h 628"/>
                <a:gd name="connsiteX1" fmla="*/ 628 w 627"/>
                <a:gd name="connsiteY1" fmla="*/ 628 h 628"/>
                <a:gd name="connsiteX2" fmla="*/ 628 w 627"/>
                <a:gd name="connsiteY2" fmla="*/ 0 h 628"/>
              </a:gdLst>
              <a:ahLst/>
              <a:cxnLst>
                <a:cxn ang="0">
                  <a:pos x="connsiteX0" y="connsiteY0"/>
                </a:cxn>
                <a:cxn ang="0">
                  <a:pos x="connsiteX1" y="connsiteY1"/>
                </a:cxn>
                <a:cxn ang="0">
                  <a:pos x="connsiteX2" y="connsiteY2"/>
                </a:cxn>
              </a:cxnLst>
              <a:rect l="l" t="t" r="r" b="b"/>
              <a:pathLst>
                <a:path w="627" h="628">
                  <a:moveTo>
                    <a:pt x="0" y="377"/>
                  </a:moveTo>
                  <a:lnTo>
                    <a:pt x="628" y="628"/>
                  </a:lnTo>
                  <a:lnTo>
                    <a:pt x="628" y="0"/>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55760DF1-B73A-4DCA-A946-4C68ED5D7F7A}"/>
                </a:ext>
              </a:extLst>
            </p:cNvPr>
            <p:cNvSpPr/>
            <p:nvPr/>
          </p:nvSpPr>
          <p:spPr>
            <a:xfrm>
              <a:off x="1209983" y="2804256"/>
              <a:ext cx="627" cy="49358"/>
            </a:xfrm>
            <a:custGeom>
              <a:avLst/>
              <a:gdLst>
                <a:gd name="connsiteX0" fmla="*/ 0 w 627"/>
                <a:gd name="connsiteY0" fmla="*/ 49359 h 49358"/>
                <a:gd name="connsiteX1" fmla="*/ 628 w 627"/>
                <a:gd name="connsiteY1" fmla="*/ 49108 h 49358"/>
                <a:gd name="connsiteX2" fmla="*/ 628 w 627"/>
                <a:gd name="connsiteY2" fmla="*/ 0 h 49358"/>
                <a:gd name="connsiteX3" fmla="*/ 0 w 627"/>
                <a:gd name="connsiteY3" fmla="*/ 377 h 49358"/>
              </a:gdLst>
              <a:ahLst/>
              <a:cxnLst>
                <a:cxn ang="0">
                  <a:pos x="connsiteX0" y="connsiteY0"/>
                </a:cxn>
                <a:cxn ang="0">
                  <a:pos x="connsiteX1" y="connsiteY1"/>
                </a:cxn>
                <a:cxn ang="0">
                  <a:pos x="connsiteX2" y="connsiteY2"/>
                </a:cxn>
                <a:cxn ang="0">
                  <a:pos x="connsiteX3" y="connsiteY3"/>
                </a:cxn>
              </a:cxnLst>
              <a:rect l="l" t="t" r="r" b="b"/>
              <a:pathLst>
                <a:path w="627" h="49358">
                  <a:moveTo>
                    <a:pt x="0" y="49359"/>
                  </a:moveTo>
                  <a:lnTo>
                    <a:pt x="628" y="49108"/>
                  </a:lnTo>
                  <a:lnTo>
                    <a:pt x="628" y="0"/>
                  </a:lnTo>
                  <a:lnTo>
                    <a:pt x="0"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94" name="Graphic 4">
              <a:extLst>
                <a:ext uri="{FF2B5EF4-FFF2-40B4-BE49-F238E27FC236}">
                  <a16:creationId xmlns:a16="http://schemas.microsoft.com/office/drawing/2014/main" id="{84FB7ED1-A2DF-40A1-A747-5F7CF3F14040}"/>
                </a:ext>
              </a:extLst>
            </p:cNvPr>
            <p:cNvGrpSpPr/>
            <p:nvPr/>
          </p:nvGrpSpPr>
          <p:grpSpPr>
            <a:xfrm>
              <a:off x="1142413" y="2811415"/>
              <a:ext cx="56768" cy="55861"/>
              <a:chOff x="1142413" y="2811415"/>
              <a:chExt cx="56768" cy="55861"/>
            </a:xfrm>
            <a:solidFill>
              <a:schemeClr val="accent1"/>
            </a:solidFill>
          </p:grpSpPr>
          <p:sp>
            <p:nvSpPr>
              <p:cNvPr id="95" name="Freeform: Shape 94">
                <a:extLst>
                  <a:ext uri="{FF2B5EF4-FFF2-40B4-BE49-F238E27FC236}">
                    <a16:creationId xmlns:a16="http://schemas.microsoft.com/office/drawing/2014/main" id="{D111DFB5-7A89-4384-8C77-F7DE1C4BCD23}"/>
                  </a:ext>
                </a:extLst>
              </p:cNvPr>
              <p:cNvSpPr/>
              <p:nvPr/>
            </p:nvSpPr>
            <p:spPr>
              <a:xfrm>
                <a:off x="1142413" y="2811415"/>
                <a:ext cx="56768" cy="55861"/>
              </a:xfrm>
              <a:custGeom>
                <a:avLst/>
                <a:gdLst>
                  <a:gd name="connsiteX0" fmla="*/ 0 w 56768"/>
                  <a:gd name="connsiteY0" fmla="*/ 32906 h 55861"/>
                  <a:gd name="connsiteX1" fmla="*/ 5401 w 56768"/>
                  <a:gd name="connsiteY1" fmla="*/ 51368 h 55861"/>
                  <a:gd name="connsiteX2" fmla="*/ 14695 w 56768"/>
                  <a:gd name="connsiteY2" fmla="*/ 55136 h 55861"/>
                  <a:gd name="connsiteX3" fmla="*/ 27756 w 56768"/>
                  <a:gd name="connsiteY3" fmla="*/ 48480 h 55861"/>
                  <a:gd name="connsiteX4" fmla="*/ 28384 w 56768"/>
                  <a:gd name="connsiteY4" fmla="*/ 48103 h 55861"/>
                  <a:gd name="connsiteX5" fmla="*/ 42074 w 56768"/>
                  <a:gd name="connsiteY5" fmla="*/ 39186 h 55861"/>
                  <a:gd name="connsiteX6" fmla="*/ 51368 w 56768"/>
                  <a:gd name="connsiteY6" fmla="*/ 24616 h 55861"/>
                  <a:gd name="connsiteX7" fmla="*/ 56769 w 56768"/>
                  <a:gd name="connsiteY7" fmla="*/ 0 h 55861"/>
                  <a:gd name="connsiteX8" fmla="*/ 0 w 56768"/>
                  <a:gd name="connsiteY8" fmla="*/ 32906 h 5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768" h="55861">
                    <a:moveTo>
                      <a:pt x="0" y="32906"/>
                    </a:moveTo>
                    <a:lnTo>
                      <a:pt x="5401" y="51368"/>
                    </a:lnTo>
                    <a:cubicBezTo>
                      <a:pt x="6531" y="55387"/>
                      <a:pt x="10299" y="56894"/>
                      <a:pt x="14695" y="55136"/>
                    </a:cubicBezTo>
                    <a:cubicBezTo>
                      <a:pt x="19844" y="53127"/>
                      <a:pt x="24491" y="50489"/>
                      <a:pt x="27756" y="48480"/>
                    </a:cubicBezTo>
                    <a:lnTo>
                      <a:pt x="28384" y="48103"/>
                    </a:lnTo>
                    <a:cubicBezTo>
                      <a:pt x="34287" y="44712"/>
                      <a:pt x="38558" y="41949"/>
                      <a:pt x="42074" y="39186"/>
                    </a:cubicBezTo>
                    <a:cubicBezTo>
                      <a:pt x="46596" y="35794"/>
                      <a:pt x="50238" y="30017"/>
                      <a:pt x="51368" y="24616"/>
                    </a:cubicBezTo>
                    <a:lnTo>
                      <a:pt x="56769" y="0"/>
                    </a:lnTo>
                    <a:lnTo>
                      <a:pt x="0" y="32906"/>
                    </a:lnTo>
                    <a:close/>
                  </a:path>
                </a:pathLst>
              </a:custGeom>
              <a:solidFill>
                <a:srgbClr val="B0B0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7F0C88DF-9DA9-4AD5-ABE2-94B087889395}"/>
                  </a:ext>
                </a:extLst>
              </p:cNvPr>
              <p:cNvSpPr/>
              <p:nvPr/>
            </p:nvSpPr>
            <p:spPr>
              <a:xfrm>
                <a:off x="1145930" y="2815685"/>
                <a:ext cx="49986" cy="47932"/>
              </a:xfrm>
              <a:custGeom>
                <a:avLst/>
                <a:gdLst>
                  <a:gd name="connsiteX0" fmla="*/ 0 w 49986"/>
                  <a:gd name="connsiteY0" fmla="*/ 28887 h 47932"/>
                  <a:gd name="connsiteX1" fmla="*/ 4521 w 49986"/>
                  <a:gd name="connsiteY1" fmla="*/ 44586 h 47932"/>
                  <a:gd name="connsiteX2" fmla="*/ 11680 w 49986"/>
                  <a:gd name="connsiteY2" fmla="*/ 47349 h 47932"/>
                  <a:gd name="connsiteX3" fmla="*/ 24993 w 49986"/>
                  <a:gd name="connsiteY3" fmla="*/ 40567 h 47932"/>
                  <a:gd name="connsiteX4" fmla="*/ 38306 w 49986"/>
                  <a:gd name="connsiteY4" fmla="*/ 32027 h 47932"/>
                  <a:gd name="connsiteX5" fmla="*/ 45465 w 49986"/>
                  <a:gd name="connsiteY5" fmla="*/ 20974 h 47932"/>
                  <a:gd name="connsiteX6" fmla="*/ 49987 w 49986"/>
                  <a:gd name="connsiteY6" fmla="*/ 0 h 47932"/>
                  <a:gd name="connsiteX7" fmla="*/ 0 w 49986"/>
                  <a:gd name="connsiteY7" fmla="*/ 28887 h 4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86" h="47932">
                    <a:moveTo>
                      <a:pt x="0" y="28887"/>
                    </a:moveTo>
                    <a:lnTo>
                      <a:pt x="4521" y="44586"/>
                    </a:lnTo>
                    <a:cubicBezTo>
                      <a:pt x="5400" y="47601"/>
                      <a:pt x="8164" y="48731"/>
                      <a:pt x="11680" y="47349"/>
                    </a:cubicBezTo>
                    <a:cubicBezTo>
                      <a:pt x="16830" y="45340"/>
                      <a:pt x="21351" y="42702"/>
                      <a:pt x="24993" y="40567"/>
                    </a:cubicBezTo>
                    <a:cubicBezTo>
                      <a:pt x="30017" y="37678"/>
                      <a:pt x="34413" y="34915"/>
                      <a:pt x="38306" y="32027"/>
                    </a:cubicBezTo>
                    <a:cubicBezTo>
                      <a:pt x="41697" y="29389"/>
                      <a:pt x="44460" y="25119"/>
                      <a:pt x="45465" y="20974"/>
                    </a:cubicBezTo>
                    <a:lnTo>
                      <a:pt x="49987" y="0"/>
                    </a:lnTo>
                    <a:lnTo>
                      <a:pt x="0" y="2888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97" name="Graphic 4">
                <a:extLst>
                  <a:ext uri="{FF2B5EF4-FFF2-40B4-BE49-F238E27FC236}">
                    <a16:creationId xmlns:a16="http://schemas.microsoft.com/office/drawing/2014/main" id="{84FB7ED1-A2DF-40A1-A747-5F7CF3F14040}"/>
                  </a:ext>
                </a:extLst>
              </p:cNvPr>
              <p:cNvGrpSpPr/>
              <p:nvPr/>
            </p:nvGrpSpPr>
            <p:grpSpPr>
              <a:xfrm>
                <a:off x="1146307" y="2817820"/>
                <a:ext cx="49107" cy="45891"/>
                <a:chOff x="1146307" y="2817820"/>
                <a:chExt cx="49107" cy="45891"/>
              </a:xfrm>
              <a:solidFill>
                <a:srgbClr val="454351"/>
              </a:solidFill>
            </p:grpSpPr>
            <p:sp>
              <p:nvSpPr>
                <p:cNvPr id="98" name="Freeform: Shape 97">
                  <a:extLst>
                    <a:ext uri="{FF2B5EF4-FFF2-40B4-BE49-F238E27FC236}">
                      <a16:creationId xmlns:a16="http://schemas.microsoft.com/office/drawing/2014/main" id="{05EBECB4-F91D-49B5-B0FB-314A696671DB}"/>
                    </a:ext>
                  </a:extLst>
                </p:cNvPr>
                <p:cNvSpPr/>
                <p:nvPr/>
              </p:nvSpPr>
              <p:spPr>
                <a:xfrm>
                  <a:off x="1153089" y="2842939"/>
                  <a:ext cx="35417" cy="20772"/>
                </a:xfrm>
                <a:custGeom>
                  <a:avLst/>
                  <a:gdLst>
                    <a:gd name="connsiteX0" fmla="*/ 32780 w 35417"/>
                    <a:gd name="connsiteY0" fmla="*/ 3266 h 20772"/>
                    <a:gd name="connsiteX1" fmla="*/ 35418 w 35417"/>
                    <a:gd name="connsiteY1" fmla="*/ 0 h 20772"/>
                    <a:gd name="connsiteX2" fmla="*/ 0 w 35417"/>
                    <a:gd name="connsiteY2" fmla="*/ 20472 h 20772"/>
                    <a:gd name="connsiteX3" fmla="*/ 2637 w 35417"/>
                    <a:gd name="connsiteY3" fmla="*/ 20723 h 20772"/>
                    <a:gd name="connsiteX4" fmla="*/ 32780 w 35417"/>
                    <a:gd name="connsiteY4" fmla="*/ 3266 h 20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17" h="20772">
                      <a:moveTo>
                        <a:pt x="32780" y="3266"/>
                      </a:moveTo>
                      <a:cubicBezTo>
                        <a:pt x="33785" y="2261"/>
                        <a:pt x="34664" y="1130"/>
                        <a:pt x="35418" y="0"/>
                      </a:cubicBezTo>
                      <a:lnTo>
                        <a:pt x="0" y="20472"/>
                      </a:lnTo>
                      <a:cubicBezTo>
                        <a:pt x="754" y="20723"/>
                        <a:pt x="1633" y="20849"/>
                        <a:pt x="2637" y="20723"/>
                      </a:cubicBezTo>
                      <a:lnTo>
                        <a:pt x="32780" y="3266"/>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B12B374-E939-4BEA-8E65-B9AA51012892}"/>
                    </a:ext>
                  </a:extLst>
                </p:cNvPr>
                <p:cNvSpPr/>
                <p:nvPr/>
              </p:nvSpPr>
              <p:spPr>
                <a:xfrm>
                  <a:off x="1149823" y="2834022"/>
                  <a:ext cx="42074" cy="25746"/>
                </a:xfrm>
                <a:custGeom>
                  <a:avLst/>
                  <a:gdLst>
                    <a:gd name="connsiteX0" fmla="*/ 0 w 42074"/>
                    <a:gd name="connsiteY0" fmla="*/ 24240 h 25746"/>
                    <a:gd name="connsiteX1" fmla="*/ 502 w 42074"/>
                    <a:gd name="connsiteY1" fmla="*/ 25747 h 25746"/>
                    <a:gd name="connsiteX2" fmla="*/ 41572 w 42074"/>
                    <a:gd name="connsiteY2" fmla="*/ 2009 h 25746"/>
                    <a:gd name="connsiteX3" fmla="*/ 42074 w 42074"/>
                    <a:gd name="connsiteY3" fmla="*/ 0 h 25746"/>
                  </a:gdLst>
                  <a:ahLst/>
                  <a:cxnLst>
                    <a:cxn ang="0">
                      <a:pos x="connsiteX0" y="connsiteY0"/>
                    </a:cxn>
                    <a:cxn ang="0">
                      <a:pos x="connsiteX1" y="connsiteY1"/>
                    </a:cxn>
                    <a:cxn ang="0">
                      <a:pos x="connsiteX2" y="connsiteY2"/>
                    </a:cxn>
                    <a:cxn ang="0">
                      <a:pos x="connsiteX3" y="connsiteY3"/>
                    </a:cxn>
                  </a:cxnLst>
                  <a:rect l="l" t="t" r="r" b="b"/>
                  <a:pathLst>
                    <a:path w="42074" h="25746">
                      <a:moveTo>
                        <a:pt x="0" y="24240"/>
                      </a:moveTo>
                      <a:lnTo>
                        <a:pt x="502" y="25747"/>
                      </a:lnTo>
                      <a:lnTo>
                        <a:pt x="41572" y="2009"/>
                      </a:lnTo>
                      <a:lnTo>
                        <a:pt x="42074"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6872E448-894B-4118-B516-997B41D6260A}"/>
                    </a:ext>
                  </a:extLst>
                </p:cNvPr>
                <p:cNvSpPr/>
                <p:nvPr/>
              </p:nvSpPr>
              <p:spPr>
                <a:xfrm>
                  <a:off x="1150828" y="2838041"/>
                  <a:ext cx="40064" cy="24365"/>
                </a:xfrm>
                <a:custGeom>
                  <a:avLst/>
                  <a:gdLst>
                    <a:gd name="connsiteX0" fmla="*/ 0 w 40064"/>
                    <a:gd name="connsiteY0" fmla="*/ 23109 h 24365"/>
                    <a:gd name="connsiteX1" fmla="*/ 879 w 40064"/>
                    <a:gd name="connsiteY1" fmla="*/ 24365 h 24365"/>
                    <a:gd name="connsiteX2" fmla="*/ 39186 w 40064"/>
                    <a:gd name="connsiteY2" fmla="*/ 2261 h 24365"/>
                    <a:gd name="connsiteX3" fmla="*/ 40065 w 40064"/>
                    <a:gd name="connsiteY3" fmla="*/ 0 h 24365"/>
                    <a:gd name="connsiteX4" fmla="*/ 0 w 40064"/>
                    <a:gd name="connsiteY4" fmla="*/ 23109 h 24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4" h="24365">
                      <a:moveTo>
                        <a:pt x="0" y="23109"/>
                      </a:moveTo>
                      <a:cubicBezTo>
                        <a:pt x="251" y="23612"/>
                        <a:pt x="502" y="23989"/>
                        <a:pt x="879" y="24365"/>
                      </a:cubicBezTo>
                      <a:lnTo>
                        <a:pt x="39186" y="2261"/>
                      </a:lnTo>
                      <a:cubicBezTo>
                        <a:pt x="39562" y="1507"/>
                        <a:pt x="39814" y="754"/>
                        <a:pt x="40065" y="0"/>
                      </a:cubicBezTo>
                      <a:lnTo>
                        <a:pt x="0" y="2310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53B306AE-A8E2-49DE-A97C-8D5A9FDED4DD}"/>
                    </a:ext>
                  </a:extLst>
                </p:cNvPr>
                <p:cNvSpPr/>
                <p:nvPr/>
              </p:nvSpPr>
              <p:spPr>
                <a:xfrm>
                  <a:off x="1146307" y="2817820"/>
                  <a:ext cx="49107" cy="29891"/>
                </a:xfrm>
                <a:custGeom>
                  <a:avLst/>
                  <a:gdLst>
                    <a:gd name="connsiteX0" fmla="*/ 0 w 49107"/>
                    <a:gd name="connsiteY0" fmla="*/ 28259 h 29891"/>
                    <a:gd name="connsiteX1" fmla="*/ 502 w 49107"/>
                    <a:gd name="connsiteY1" fmla="*/ 29892 h 29891"/>
                    <a:gd name="connsiteX2" fmla="*/ 48605 w 49107"/>
                    <a:gd name="connsiteY2" fmla="*/ 2010 h 29891"/>
                    <a:gd name="connsiteX3" fmla="*/ 49108 w 49107"/>
                    <a:gd name="connsiteY3" fmla="*/ 0 h 29891"/>
                  </a:gdLst>
                  <a:ahLst/>
                  <a:cxnLst>
                    <a:cxn ang="0">
                      <a:pos x="connsiteX0" y="connsiteY0"/>
                    </a:cxn>
                    <a:cxn ang="0">
                      <a:pos x="connsiteX1" y="connsiteY1"/>
                    </a:cxn>
                    <a:cxn ang="0">
                      <a:pos x="connsiteX2" y="connsiteY2"/>
                    </a:cxn>
                    <a:cxn ang="0">
                      <a:pos x="connsiteX3" y="connsiteY3"/>
                    </a:cxn>
                  </a:cxnLst>
                  <a:rect l="l" t="t" r="r" b="b"/>
                  <a:pathLst>
                    <a:path w="49107" h="29891">
                      <a:moveTo>
                        <a:pt x="0" y="28259"/>
                      </a:moveTo>
                      <a:lnTo>
                        <a:pt x="502" y="29892"/>
                      </a:lnTo>
                      <a:lnTo>
                        <a:pt x="48605" y="2010"/>
                      </a:lnTo>
                      <a:lnTo>
                        <a:pt x="49108"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ADE990AC-43F3-44D8-9C10-77F8F7E60060}"/>
                    </a:ext>
                  </a:extLst>
                </p:cNvPr>
                <p:cNvSpPr/>
                <p:nvPr/>
              </p:nvSpPr>
              <p:spPr>
                <a:xfrm>
                  <a:off x="1147186" y="2821839"/>
                  <a:ext cx="47349" cy="28886"/>
                </a:xfrm>
                <a:custGeom>
                  <a:avLst/>
                  <a:gdLst>
                    <a:gd name="connsiteX0" fmla="*/ 0 w 47349"/>
                    <a:gd name="connsiteY0" fmla="*/ 27380 h 28886"/>
                    <a:gd name="connsiteX1" fmla="*/ 502 w 47349"/>
                    <a:gd name="connsiteY1" fmla="*/ 28887 h 28886"/>
                    <a:gd name="connsiteX2" fmla="*/ 46847 w 47349"/>
                    <a:gd name="connsiteY2" fmla="*/ 2010 h 28886"/>
                    <a:gd name="connsiteX3" fmla="*/ 47349 w 47349"/>
                    <a:gd name="connsiteY3" fmla="*/ 0 h 28886"/>
                  </a:gdLst>
                  <a:ahLst/>
                  <a:cxnLst>
                    <a:cxn ang="0">
                      <a:pos x="connsiteX0" y="connsiteY0"/>
                    </a:cxn>
                    <a:cxn ang="0">
                      <a:pos x="connsiteX1" y="connsiteY1"/>
                    </a:cxn>
                    <a:cxn ang="0">
                      <a:pos x="connsiteX2" y="connsiteY2"/>
                    </a:cxn>
                    <a:cxn ang="0">
                      <a:pos x="connsiteX3" y="connsiteY3"/>
                    </a:cxn>
                  </a:cxnLst>
                  <a:rect l="l" t="t" r="r" b="b"/>
                  <a:pathLst>
                    <a:path w="47349" h="28886">
                      <a:moveTo>
                        <a:pt x="0" y="27380"/>
                      </a:moveTo>
                      <a:lnTo>
                        <a:pt x="502" y="28887"/>
                      </a:lnTo>
                      <a:lnTo>
                        <a:pt x="46847" y="2010"/>
                      </a:lnTo>
                      <a:lnTo>
                        <a:pt x="47349"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8A4BC497-82C5-4CF4-8B46-478C6C22CE1F}"/>
                    </a:ext>
                  </a:extLst>
                </p:cNvPr>
                <p:cNvSpPr/>
                <p:nvPr/>
              </p:nvSpPr>
              <p:spPr>
                <a:xfrm>
                  <a:off x="1148065" y="2825858"/>
                  <a:ext cx="45590" cy="27882"/>
                </a:xfrm>
                <a:custGeom>
                  <a:avLst/>
                  <a:gdLst>
                    <a:gd name="connsiteX0" fmla="*/ 0 w 45590"/>
                    <a:gd name="connsiteY0" fmla="*/ 26375 h 27882"/>
                    <a:gd name="connsiteX1" fmla="*/ 502 w 45590"/>
                    <a:gd name="connsiteY1" fmla="*/ 27882 h 27882"/>
                    <a:gd name="connsiteX2" fmla="*/ 45088 w 45590"/>
                    <a:gd name="connsiteY2" fmla="*/ 2010 h 27882"/>
                    <a:gd name="connsiteX3" fmla="*/ 45591 w 45590"/>
                    <a:gd name="connsiteY3" fmla="*/ 0 h 27882"/>
                  </a:gdLst>
                  <a:ahLst/>
                  <a:cxnLst>
                    <a:cxn ang="0">
                      <a:pos x="connsiteX0" y="connsiteY0"/>
                    </a:cxn>
                    <a:cxn ang="0">
                      <a:pos x="connsiteX1" y="connsiteY1"/>
                    </a:cxn>
                    <a:cxn ang="0">
                      <a:pos x="connsiteX2" y="connsiteY2"/>
                    </a:cxn>
                    <a:cxn ang="0">
                      <a:pos x="connsiteX3" y="connsiteY3"/>
                    </a:cxn>
                  </a:cxnLst>
                  <a:rect l="l" t="t" r="r" b="b"/>
                  <a:pathLst>
                    <a:path w="45590" h="27882">
                      <a:moveTo>
                        <a:pt x="0" y="26375"/>
                      </a:moveTo>
                      <a:lnTo>
                        <a:pt x="502" y="27882"/>
                      </a:lnTo>
                      <a:lnTo>
                        <a:pt x="45088" y="2010"/>
                      </a:lnTo>
                      <a:lnTo>
                        <a:pt x="45591"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7891E0D0-71E1-471D-83FE-6AB35C78AC59}"/>
                    </a:ext>
                  </a:extLst>
                </p:cNvPr>
                <p:cNvSpPr/>
                <p:nvPr/>
              </p:nvSpPr>
              <p:spPr>
                <a:xfrm>
                  <a:off x="1148944" y="2829877"/>
                  <a:ext cx="43832" cy="26877"/>
                </a:xfrm>
                <a:custGeom>
                  <a:avLst/>
                  <a:gdLst>
                    <a:gd name="connsiteX0" fmla="*/ 0 w 43832"/>
                    <a:gd name="connsiteY0" fmla="*/ 25370 h 26877"/>
                    <a:gd name="connsiteX1" fmla="*/ 502 w 43832"/>
                    <a:gd name="connsiteY1" fmla="*/ 26877 h 26877"/>
                    <a:gd name="connsiteX2" fmla="*/ 43330 w 43832"/>
                    <a:gd name="connsiteY2" fmla="*/ 2135 h 26877"/>
                    <a:gd name="connsiteX3" fmla="*/ 43833 w 43832"/>
                    <a:gd name="connsiteY3" fmla="*/ 0 h 26877"/>
                  </a:gdLst>
                  <a:ahLst/>
                  <a:cxnLst>
                    <a:cxn ang="0">
                      <a:pos x="connsiteX0" y="connsiteY0"/>
                    </a:cxn>
                    <a:cxn ang="0">
                      <a:pos x="connsiteX1" y="connsiteY1"/>
                    </a:cxn>
                    <a:cxn ang="0">
                      <a:pos x="connsiteX2" y="connsiteY2"/>
                    </a:cxn>
                    <a:cxn ang="0">
                      <a:pos x="connsiteX3" y="connsiteY3"/>
                    </a:cxn>
                  </a:cxnLst>
                  <a:rect l="l" t="t" r="r" b="b"/>
                  <a:pathLst>
                    <a:path w="43832" h="26877">
                      <a:moveTo>
                        <a:pt x="0" y="25370"/>
                      </a:moveTo>
                      <a:lnTo>
                        <a:pt x="502" y="26877"/>
                      </a:lnTo>
                      <a:lnTo>
                        <a:pt x="43330" y="2135"/>
                      </a:lnTo>
                      <a:lnTo>
                        <a:pt x="43833"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05" name="Graphic 4">
              <a:extLst>
                <a:ext uri="{FF2B5EF4-FFF2-40B4-BE49-F238E27FC236}">
                  <a16:creationId xmlns:a16="http://schemas.microsoft.com/office/drawing/2014/main" id="{84FB7ED1-A2DF-40A1-A747-5F7CF3F14040}"/>
                </a:ext>
              </a:extLst>
            </p:cNvPr>
            <p:cNvGrpSpPr/>
            <p:nvPr/>
          </p:nvGrpSpPr>
          <p:grpSpPr>
            <a:xfrm>
              <a:off x="1133119" y="2849321"/>
              <a:ext cx="12011" cy="26321"/>
              <a:chOff x="1133119" y="2849321"/>
              <a:chExt cx="12011" cy="26321"/>
            </a:xfrm>
            <a:solidFill>
              <a:schemeClr val="accent1"/>
            </a:solidFill>
          </p:grpSpPr>
          <p:sp>
            <p:nvSpPr>
              <p:cNvPr id="106" name="Freeform: Shape 105">
                <a:extLst>
                  <a:ext uri="{FF2B5EF4-FFF2-40B4-BE49-F238E27FC236}">
                    <a16:creationId xmlns:a16="http://schemas.microsoft.com/office/drawing/2014/main" id="{EB1C7E55-1158-4843-A212-A86F870AF543}"/>
                  </a:ext>
                </a:extLst>
              </p:cNvPr>
              <p:cNvSpPr/>
              <p:nvPr/>
            </p:nvSpPr>
            <p:spPr>
              <a:xfrm>
                <a:off x="1134250" y="2850004"/>
                <a:ext cx="10881" cy="25639"/>
              </a:xfrm>
              <a:custGeom>
                <a:avLst/>
                <a:gdLst>
                  <a:gd name="connsiteX0" fmla="*/ 3893 w 10881"/>
                  <a:gd name="connsiteY0" fmla="*/ 220 h 25639"/>
                  <a:gd name="connsiteX1" fmla="*/ 1381 w 10881"/>
                  <a:gd name="connsiteY1" fmla="*/ 1727 h 25639"/>
                  <a:gd name="connsiteX2" fmla="*/ 0 w 10881"/>
                  <a:gd name="connsiteY2" fmla="*/ 3988 h 25639"/>
                  <a:gd name="connsiteX3" fmla="*/ 0 w 10881"/>
                  <a:gd name="connsiteY3" fmla="*/ 23832 h 25639"/>
                  <a:gd name="connsiteX4" fmla="*/ 754 w 10881"/>
                  <a:gd name="connsiteY4" fmla="*/ 25464 h 25639"/>
                  <a:gd name="connsiteX5" fmla="*/ 2512 w 10881"/>
                  <a:gd name="connsiteY5" fmla="*/ 25339 h 25639"/>
                  <a:gd name="connsiteX6" fmla="*/ 8917 w 10881"/>
                  <a:gd name="connsiteY6" fmla="*/ 21697 h 25639"/>
                  <a:gd name="connsiteX7" fmla="*/ 10801 w 10881"/>
                  <a:gd name="connsiteY7" fmla="*/ 17803 h 25639"/>
                  <a:gd name="connsiteX8" fmla="*/ 5903 w 10881"/>
                  <a:gd name="connsiteY8" fmla="*/ 973 h 25639"/>
                  <a:gd name="connsiteX9" fmla="*/ 5401 w 10881"/>
                  <a:gd name="connsiteY9" fmla="*/ 345 h 25639"/>
                  <a:gd name="connsiteX10" fmla="*/ 3893 w 10881"/>
                  <a:gd name="connsiteY10" fmla="*/ 220 h 25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81" h="25639">
                    <a:moveTo>
                      <a:pt x="3893" y="220"/>
                    </a:moveTo>
                    <a:lnTo>
                      <a:pt x="1381" y="1727"/>
                    </a:lnTo>
                    <a:cubicBezTo>
                      <a:pt x="628" y="2104"/>
                      <a:pt x="0" y="3234"/>
                      <a:pt x="0" y="3988"/>
                    </a:cubicBezTo>
                    <a:lnTo>
                      <a:pt x="0" y="23832"/>
                    </a:lnTo>
                    <a:cubicBezTo>
                      <a:pt x="0" y="24585"/>
                      <a:pt x="251" y="25213"/>
                      <a:pt x="754" y="25464"/>
                    </a:cubicBezTo>
                    <a:cubicBezTo>
                      <a:pt x="1256" y="25716"/>
                      <a:pt x="1758" y="25716"/>
                      <a:pt x="2512" y="25339"/>
                    </a:cubicBezTo>
                    <a:lnTo>
                      <a:pt x="8917" y="21697"/>
                    </a:lnTo>
                    <a:cubicBezTo>
                      <a:pt x="10173" y="20943"/>
                      <a:pt x="11178" y="19059"/>
                      <a:pt x="10801" y="17803"/>
                    </a:cubicBezTo>
                    <a:lnTo>
                      <a:pt x="5903" y="973"/>
                    </a:lnTo>
                    <a:cubicBezTo>
                      <a:pt x="5777" y="597"/>
                      <a:pt x="5652" y="471"/>
                      <a:pt x="5401" y="345"/>
                    </a:cubicBezTo>
                    <a:cubicBezTo>
                      <a:pt x="4898" y="-157"/>
                      <a:pt x="4396" y="-31"/>
                      <a:pt x="3893" y="220"/>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539F7EEF-C8D0-4B87-9C50-DD70751A43AA}"/>
                  </a:ext>
                </a:extLst>
              </p:cNvPr>
              <p:cNvSpPr/>
              <p:nvPr/>
            </p:nvSpPr>
            <p:spPr>
              <a:xfrm>
                <a:off x="1133119" y="2849321"/>
                <a:ext cx="6782" cy="26272"/>
              </a:xfrm>
              <a:custGeom>
                <a:avLst/>
                <a:gdLst>
                  <a:gd name="connsiteX0" fmla="*/ 1758 w 6782"/>
                  <a:gd name="connsiteY0" fmla="*/ 26147 h 26272"/>
                  <a:gd name="connsiteX1" fmla="*/ 1005 w 6782"/>
                  <a:gd name="connsiteY1" fmla="*/ 24514 h 26272"/>
                  <a:gd name="connsiteX2" fmla="*/ 1005 w 6782"/>
                  <a:gd name="connsiteY2" fmla="*/ 4670 h 26272"/>
                  <a:gd name="connsiteX3" fmla="*/ 2386 w 6782"/>
                  <a:gd name="connsiteY3" fmla="*/ 2409 h 26272"/>
                  <a:gd name="connsiteX4" fmla="*/ 4898 w 6782"/>
                  <a:gd name="connsiteY4" fmla="*/ 902 h 26272"/>
                  <a:gd name="connsiteX5" fmla="*/ 6280 w 6782"/>
                  <a:gd name="connsiteY5" fmla="*/ 777 h 26272"/>
                  <a:gd name="connsiteX6" fmla="*/ 6782 w 6782"/>
                  <a:gd name="connsiteY6" fmla="*/ 1405 h 26272"/>
                  <a:gd name="connsiteX7" fmla="*/ 4521 w 6782"/>
                  <a:gd name="connsiteY7" fmla="*/ 23 h 26272"/>
                  <a:gd name="connsiteX8" fmla="*/ 3893 w 6782"/>
                  <a:gd name="connsiteY8" fmla="*/ 274 h 26272"/>
                  <a:gd name="connsiteX9" fmla="*/ 1382 w 6782"/>
                  <a:gd name="connsiteY9" fmla="*/ 1781 h 26272"/>
                  <a:gd name="connsiteX10" fmla="*/ 0 w 6782"/>
                  <a:gd name="connsiteY10" fmla="*/ 4042 h 26272"/>
                  <a:gd name="connsiteX11" fmla="*/ 0 w 6782"/>
                  <a:gd name="connsiteY11" fmla="*/ 23886 h 26272"/>
                  <a:gd name="connsiteX12" fmla="*/ 0 w 6782"/>
                  <a:gd name="connsiteY12" fmla="*/ 24514 h 26272"/>
                  <a:gd name="connsiteX13" fmla="*/ 2386 w 6782"/>
                  <a:gd name="connsiteY13" fmla="*/ 26272 h 26272"/>
                  <a:gd name="connsiteX14" fmla="*/ 2386 w 6782"/>
                  <a:gd name="connsiteY14" fmla="*/ 26272 h 26272"/>
                  <a:gd name="connsiteX15" fmla="*/ 1758 w 6782"/>
                  <a:gd name="connsiteY15" fmla="*/ 26147 h 26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82" h="26272">
                    <a:moveTo>
                      <a:pt x="1758" y="26147"/>
                    </a:moveTo>
                    <a:cubicBezTo>
                      <a:pt x="1256" y="25896"/>
                      <a:pt x="1005" y="25393"/>
                      <a:pt x="1005" y="24514"/>
                    </a:cubicBezTo>
                    <a:lnTo>
                      <a:pt x="1005" y="4670"/>
                    </a:lnTo>
                    <a:cubicBezTo>
                      <a:pt x="1005" y="3791"/>
                      <a:pt x="1633" y="2786"/>
                      <a:pt x="2386" y="2409"/>
                    </a:cubicBezTo>
                    <a:lnTo>
                      <a:pt x="4898" y="902"/>
                    </a:lnTo>
                    <a:cubicBezTo>
                      <a:pt x="5401" y="651"/>
                      <a:pt x="5903" y="525"/>
                      <a:pt x="6280" y="777"/>
                    </a:cubicBezTo>
                    <a:cubicBezTo>
                      <a:pt x="6531" y="902"/>
                      <a:pt x="6657" y="1153"/>
                      <a:pt x="6782" y="1405"/>
                    </a:cubicBezTo>
                    <a:cubicBezTo>
                      <a:pt x="6405" y="274"/>
                      <a:pt x="5401" y="-103"/>
                      <a:pt x="4521" y="23"/>
                    </a:cubicBezTo>
                    <a:cubicBezTo>
                      <a:pt x="4396" y="23"/>
                      <a:pt x="4145" y="149"/>
                      <a:pt x="3893" y="274"/>
                    </a:cubicBezTo>
                    <a:lnTo>
                      <a:pt x="1382" y="1781"/>
                    </a:lnTo>
                    <a:cubicBezTo>
                      <a:pt x="628" y="2158"/>
                      <a:pt x="0" y="3289"/>
                      <a:pt x="0" y="4042"/>
                    </a:cubicBezTo>
                    <a:lnTo>
                      <a:pt x="0" y="23886"/>
                    </a:lnTo>
                    <a:cubicBezTo>
                      <a:pt x="0" y="24137"/>
                      <a:pt x="0" y="24263"/>
                      <a:pt x="0" y="24514"/>
                    </a:cubicBezTo>
                    <a:cubicBezTo>
                      <a:pt x="251" y="26021"/>
                      <a:pt x="1507" y="26272"/>
                      <a:pt x="2386" y="26272"/>
                    </a:cubicBezTo>
                    <a:lnTo>
                      <a:pt x="2386" y="26272"/>
                    </a:lnTo>
                    <a:cubicBezTo>
                      <a:pt x="2261" y="26272"/>
                      <a:pt x="2010" y="26272"/>
                      <a:pt x="1758" y="26147"/>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574EEADF-C2D2-42F7-BFFE-7227A8D8CB31}"/>
                  </a:ext>
                </a:extLst>
              </p:cNvPr>
              <p:cNvSpPr/>
              <p:nvPr/>
            </p:nvSpPr>
            <p:spPr>
              <a:xfrm>
                <a:off x="1133536" y="2861749"/>
                <a:ext cx="10964" cy="12711"/>
              </a:xfrm>
              <a:custGeom>
                <a:avLst/>
                <a:gdLst>
                  <a:gd name="connsiteX0" fmla="*/ 8245 w 10964"/>
                  <a:gd name="connsiteY0" fmla="*/ 1570 h 12711"/>
                  <a:gd name="connsiteX1" fmla="*/ 8201 w 10964"/>
                  <a:gd name="connsiteY1" fmla="*/ 7926 h 12711"/>
                  <a:gd name="connsiteX2" fmla="*/ 2719 w 10964"/>
                  <a:gd name="connsiteY2" fmla="*/ 11141 h 12711"/>
                  <a:gd name="connsiteX3" fmla="*/ 2763 w 10964"/>
                  <a:gd name="connsiteY3" fmla="*/ 4786 h 12711"/>
                  <a:gd name="connsiteX4" fmla="*/ 8245 w 10964"/>
                  <a:gd name="connsiteY4" fmla="*/ 1570 h 1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4" h="12711">
                    <a:moveTo>
                      <a:pt x="8245" y="1570"/>
                    </a:moveTo>
                    <a:cubicBezTo>
                      <a:pt x="9747" y="2437"/>
                      <a:pt x="9727" y="5282"/>
                      <a:pt x="8201" y="7926"/>
                    </a:cubicBezTo>
                    <a:cubicBezTo>
                      <a:pt x="6675" y="10569"/>
                      <a:pt x="4221" y="12008"/>
                      <a:pt x="2719" y="11141"/>
                    </a:cubicBezTo>
                    <a:cubicBezTo>
                      <a:pt x="1217" y="10274"/>
                      <a:pt x="1237" y="7429"/>
                      <a:pt x="2763" y="4786"/>
                    </a:cubicBezTo>
                    <a:cubicBezTo>
                      <a:pt x="4289" y="2143"/>
                      <a:pt x="6743" y="703"/>
                      <a:pt x="8245" y="1570"/>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86944BFD-3905-4148-A417-F93F16D40E4E}"/>
                  </a:ext>
                </a:extLst>
              </p:cNvPr>
              <p:cNvSpPr/>
              <p:nvPr/>
            </p:nvSpPr>
            <p:spPr>
              <a:xfrm>
                <a:off x="1135003" y="2855810"/>
                <a:ext cx="5274" cy="6716"/>
              </a:xfrm>
              <a:custGeom>
                <a:avLst/>
                <a:gdLst>
                  <a:gd name="connsiteX0" fmla="*/ 5275 w 5274"/>
                  <a:gd name="connsiteY0" fmla="*/ 1823 h 6716"/>
                  <a:gd name="connsiteX1" fmla="*/ 2637 w 5274"/>
                  <a:gd name="connsiteY1" fmla="*/ 6345 h 6716"/>
                  <a:gd name="connsiteX2" fmla="*/ 0 w 5274"/>
                  <a:gd name="connsiteY2" fmla="*/ 4838 h 6716"/>
                  <a:gd name="connsiteX3" fmla="*/ 2637 w 5274"/>
                  <a:gd name="connsiteY3" fmla="*/ 316 h 6716"/>
                  <a:gd name="connsiteX4" fmla="*/ 5275 w 5274"/>
                  <a:gd name="connsiteY4" fmla="*/ 1823 h 6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716">
                    <a:moveTo>
                      <a:pt x="5275" y="1823"/>
                    </a:moveTo>
                    <a:cubicBezTo>
                      <a:pt x="5275" y="3456"/>
                      <a:pt x="4145" y="5466"/>
                      <a:pt x="2637" y="6345"/>
                    </a:cubicBezTo>
                    <a:cubicBezTo>
                      <a:pt x="1256" y="7224"/>
                      <a:pt x="0" y="6471"/>
                      <a:pt x="0" y="4838"/>
                    </a:cubicBezTo>
                    <a:cubicBezTo>
                      <a:pt x="0" y="3205"/>
                      <a:pt x="1130" y="1196"/>
                      <a:pt x="2637" y="316"/>
                    </a:cubicBezTo>
                    <a:cubicBezTo>
                      <a:pt x="4145" y="-437"/>
                      <a:pt x="5275" y="191"/>
                      <a:pt x="5275" y="1823"/>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16558031-7C5E-4C7D-9C26-ABAB011F81A8}"/>
                  </a:ext>
                </a:extLst>
              </p:cNvPr>
              <p:cNvSpPr/>
              <p:nvPr/>
            </p:nvSpPr>
            <p:spPr>
              <a:xfrm>
                <a:off x="1135003" y="2851057"/>
                <a:ext cx="4019" cy="4486"/>
              </a:xfrm>
              <a:custGeom>
                <a:avLst/>
                <a:gdLst>
                  <a:gd name="connsiteX0" fmla="*/ 3391 w 4019"/>
                  <a:gd name="connsiteY0" fmla="*/ 2934 h 4486"/>
                  <a:gd name="connsiteX1" fmla="*/ 628 w 4019"/>
                  <a:gd name="connsiteY1" fmla="*/ 4441 h 4486"/>
                  <a:gd name="connsiteX2" fmla="*/ 0 w 4019"/>
                  <a:gd name="connsiteY2" fmla="*/ 3939 h 4486"/>
                  <a:gd name="connsiteX3" fmla="*/ 0 w 4019"/>
                  <a:gd name="connsiteY3" fmla="*/ 2683 h 4486"/>
                  <a:gd name="connsiteX4" fmla="*/ 628 w 4019"/>
                  <a:gd name="connsiteY4" fmla="*/ 1552 h 4486"/>
                  <a:gd name="connsiteX5" fmla="*/ 3391 w 4019"/>
                  <a:gd name="connsiteY5" fmla="*/ 45 h 4486"/>
                  <a:gd name="connsiteX6" fmla="*/ 4019 w 4019"/>
                  <a:gd name="connsiteY6" fmla="*/ 548 h 4486"/>
                  <a:gd name="connsiteX7" fmla="*/ 4019 w 4019"/>
                  <a:gd name="connsiteY7" fmla="*/ 1804 h 4486"/>
                  <a:gd name="connsiteX8" fmla="*/ 3391 w 4019"/>
                  <a:gd name="connsiteY8" fmla="*/ 2934 h 4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4486">
                    <a:moveTo>
                      <a:pt x="3391" y="2934"/>
                    </a:moveTo>
                    <a:lnTo>
                      <a:pt x="628" y="4441"/>
                    </a:lnTo>
                    <a:cubicBezTo>
                      <a:pt x="251" y="4567"/>
                      <a:pt x="0" y="4441"/>
                      <a:pt x="0" y="3939"/>
                    </a:cubicBezTo>
                    <a:lnTo>
                      <a:pt x="0" y="2683"/>
                    </a:lnTo>
                    <a:cubicBezTo>
                      <a:pt x="0" y="2306"/>
                      <a:pt x="251" y="1804"/>
                      <a:pt x="628" y="1552"/>
                    </a:cubicBezTo>
                    <a:lnTo>
                      <a:pt x="3391" y="45"/>
                    </a:lnTo>
                    <a:cubicBezTo>
                      <a:pt x="3768" y="-80"/>
                      <a:pt x="4019" y="45"/>
                      <a:pt x="4019" y="548"/>
                    </a:cubicBezTo>
                    <a:lnTo>
                      <a:pt x="4019" y="1804"/>
                    </a:lnTo>
                    <a:cubicBezTo>
                      <a:pt x="4019" y="2306"/>
                      <a:pt x="3768" y="2808"/>
                      <a:pt x="3391" y="2934"/>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1" name="Graphic 4">
              <a:extLst>
                <a:ext uri="{FF2B5EF4-FFF2-40B4-BE49-F238E27FC236}">
                  <a16:creationId xmlns:a16="http://schemas.microsoft.com/office/drawing/2014/main" id="{84FB7ED1-A2DF-40A1-A747-5F7CF3F14040}"/>
                </a:ext>
              </a:extLst>
            </p:cNvPr>
            <p:cNvGrpSpPr/>
            <p:nvPr/>
          </p:nvGrpSpPr>
          <p:grpSpPr>
            <a:xfrm>
              <a:off x="1197706" y="2808903"/>
              <a:ext cx="11774" cy="29661"/>
              <a:chOff x="1197706" y="2808903"/>
              <a:chExt cx="11774" cy="29661"/>
            </a:xfrm>
            <a:solidFill>
              <a:schemeClr val="accent1"/>
            </a:solidFill>
          </p:grpSpPr>
          <p:sp>
            <p:nvSpPr>
              <p:cNvPr id="112" name="Freeform: Shape 111">
                <a:extLst>
                  <a:ext uri="{FF2B5EF4-FFF2-40B4-BE49-F238E27FC236}">
                    <a16:creationId xmlns:a16="http://schemas.microsoft.com/office/drawing/2014/main" id="{7C45CC19-CB2D-4966-A48C-489D8242FD9A}"/>
                  </a:ext>
                </a:extLst>
              </p:cNvPr>
              <p:cNvSpPr/>
              <p:nvPr/>
            </p:nvSpPr>
            <p:spPr>
              <a:xfrm>
                <a:off x="1198600" y="2809612"/>
                <a:ext cx="10881" cy="28952"/>
              </a:xfrm>
              <a:custGeom>
                <a:avLst/>
                <a:gdLst>
                  <a:gd name="connsiteX0" fmla="*/ 6988 w 10881"/>
                  <a:gd name="connsiteY0" fmla="*/ 1677 h 28952"/>
                  <a:gd name="connsiteX1" fmla="*/ 9500 w 10881"/>
                  <a:gd name="connsiteY1" fmla="*/ 170 h 28952"/>
                  <a:gd name="connsiteX2" fmla="*/ 10881 w 10881"/>
                  <a:gd name="connsiteY2" fmla="*/ 923 h 28952"/>
                  <a:gd name="connsiteX3" fmla="*/ 10881 w 10881"/>
                  <a:gd name="connsiteY3" fmla="*/ 20767 h 28952"/>
                  <a:gd name="connsiteX4" fmla="*/ 8369 w 10881"/>
                  <a:gd name="connsiteY4" fmla="*/ 25037 h 28952"/>
                  <a:gd name="connsiteX5" fmla="*/ 1964 w 10881"/>
                  <a:gd name="connsiteY5" fmla="*/ 28680 h 28952"/>
                  <a:gd name="connsiteX6" fmla="*/ 80 w 10881"/>
                  <a:gd name="connsiteY6" fmla="*/ 26921 h 28952"/>
                  <a:gd name="connsiteX7" fmla="*/ 4978 w 10881"/>
                  <a:gd name="connsiteY7" fmla="*/ 4314 h 28952"/>
                  <a:gd name="connsiteX8" fmla="*/ 6988 w 10881"/>
                  <a:gd name="connsiteY8" fmla="*/ 1677 h 28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1" h="28952">
                    <a:moveTo>
                      <a:pt x="6988" y="1677"/>
                    </a:moveTo>
                    <a:lnTo>
                      <a:pt x="9500" y="170"/>
                    </a:lnTo>
                    <a:cubicBezTo>
                      <a:pt x="10253" y="-207"/>
                      <a:pt x="10881" y="44"/>
                      <a:pt x="10881" y="923"/>
                    </a:cubicBezTo>
                    <a:lnTo>
                      <a:pt x="10881" y="20767"/>
                    </a:lnTo>
                    <a:cubicBezTo>
                      <a:pt x="10881" y="22274"/>
                      <a:pt x="9751" y="24284"/>
                      <a:pt x="8369" y="25037"/>
                    </a:cubicBezTo>
                    <a:lnTo>
                      <a:pt x="1964" y="28680"/>
                    </a:lnTo>
                    <a:cubicBezTo>
                      <a:pt x="708" y="29433"/>
                      <a:pt x="-297" y="28554"/>
                      <a:pt x="80" y="26921"/>
                    </a:cubicBezTo>
                    <a:lnTo>
                      <a:pt x="4978" y="4314"/>
                    </a:lnTo>
                    <a:cubicBezTo>
                      <a:pt x="5355" y="3309"/>
                      <a:pt x="6109" y="2179"/>
                      <a:pt x="6988" y="1677"/>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B7867745-4864-4E04-8986-89FA1DB18689}"/>
                  </a:ext>
                </a:extLst>
              </p:cNvPr>
              <p:cNvSpPr/>
              <p:nvPr/>
            </p:nvSpPr>
            <p:spPr>
              <a:xfrm>
                <a:off x="1197706" y="2808903"/>
                <a:ext cx="11648" cy="29640"/>
              </a:xfrm>
              <a:custGeom>
                <a:avLst/>
                <a:gdLst>
                  <a:gd name="connsiteX0" fmla="*/ 1099 w 11648"/>
                  <a:gd name="connsiteY0" fmla="*/ 27631 h 29640"/>
                  <a:gd name="connsiteX1" fmla="*/ 5997 w 11648"/>
                  <a:gd name="connsiteY1" fmla="*/ 5024 h 29640"/>
                  <a:gd name="connsiteX2" fmla="*/ 7881 w 11648"/>
                  <a:gd name="connsiteY2" fmla="*/ 2261 h 29640"/>
                  <a:gd name="connsiteX3" fmla="*/ 10393 w 11648"/>
                  <a:gd name="connsiteY3" fmla="*/ 754 h 29640"/>
                  <a:gd name="connsiteX4" fmla="*/ 11649 w 11648"/>
                  <a:gd name="connsiteY4" fmla="*/ 1005 h 29640"/>
                  <a:gd name="connsiteX5" fmla="*/ 11649 w 11648"/>
                  <a:gd name="connsiteY5" fmla="*/ 1005 h 29640"/>
                  <a:gd name="connsiteX6" fmla="*/ 10142 w 11648"/>
                  <a:gd name="connsiteY6" fmla="*/ 0 h 29640"/>
                  <a:gd name="connsiteX7" fmla="*/ 9388 w 11648"/>
                  <a:gd name="connsiteY7" fmla="*/ 126 h 29640"/>
                  <a:gd name="connsiteX8" fmla="*/ 6876 w 11648"/>
                  <a:gd name="connsiteY8" fmla="*/ 1633 h 29640"/>
                  <a:gd name="connsiteX9" fmla="*/ 4992 w 11648"/>
                  <a:gd name="connsiteY9" fmla="*/ 4396 h 29640"/>
                  <a:gd name="connsiteX10" fmla="*/ 94 w 11648"/>
                  <a:gd name="connsiteY10" fmla="*/ 27003 h 29640"/>
                  <a:gd name="connsiteX11" fmla="*/ 94 w 11648"/>
                  <a:gd name="connsiteY11" fmla="*/ 28133 h 29640"/>
                  <a:gd name="connsiteX12" fmla="*/ 2104 w 11648"/>
                  <a:gd name="connsiteY12" fmla="*/ 29640 h 29640"/>
                  <a:gd name="connsiteX13" fmla="*/ 1099 w 11648"/>
                  <a:gd name="connsiteY13" fmla="*/ 27631 h 29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48" h="29640">
                    <a:moveTo>
                      <a:pt x="1099" y="27631"/>
                    </a:moveTo>
                    <a:lnTo>
                      <a:pt x="5997" y="5024"/>
                    </a:lnTo>
                    <a:cubicBezTo>
                      <a:pt x="6248" y="3893"/>
                      <a:pt x="7002" y="2763"/>
                      <a:pt x="7881" y="2261"/>
                    </a:cubicBezTo>
                    <a:lnTo>
                      <a:pt x="10393" y="754"/>
                    </a:lnTo>
                    <a:cubicBezTo>
                      <a:pt x="10895" y="377"/>
                      <a:pt x="11398" y="502"/>
                      <a:pt x="11649" y="1005"/>
                    </a:cubicBezTo>
                    <a:lnTo>
                      <a:pt x="11649" y="1005"/>
                    </a:lnTo>
                    <a:cubicBezTo>
                      <a:pt x="11398" y="502"/>
                      <a:pt x="10770" y="126"/>
                      <a:pt x="10142" y="0"/>
                    </a:cubicBezTo>
                    <a:cubicBezTo>
                      <a:pt x="9765" y="0"/>
                      <a:pt x="9514" y="126"/>
                      <a:pt x="9388" y="126"/>
                    </a:cubicBezTo>
                    <a:lnTo>
                      <a:pt x="6876" y="1633"/>
                    </a:lnTo>
                    <a:cubicBezTo>
                      <a:pt x="5997" y="2135"/>
                      <a:pt x="5244" y="3265"/>
                      <a:pt x="4992" y="4396"/>
                    </a:cubicBezTo>
                    <a:lnTo>
                      <a:pt x="94" y="27003"/>
                    </a:lnTo>
                    <a:cubicBezTo>
                      <a:pt x="-31" y="27505"/>
                      <a:pt x="-31" y="27882"/>
                      <a:pt x="94" y="28133"/>
                    </a:cubicBezTo>
                    <a:cubicBezTo>
                      <a:pt x="345" y="29264"/>
                      <a:pt x="1350" y="29640"/>
                      <a:pt x="2104" y="29640"/>
                    </a:cubicBezTo>
                    <a:cubicBezTo>
                      <a:pt x="1350" y="29640"/>
                      <a:pt x="848" y="28887"/>
                      <a:pt x="1099" y="27631"/>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51DC63A4-72B3-4D45-A7A6-DDEAA27A62E3}"/>
                  </a:ext>
                </a:extLst>
              </p:cNvPr>
              <p:cNvSpPr/>
              <p:nvPr/>
            </p:nvSpPr>
            <p:spPr>
              <a:xfrm>
                <a:off x="1200815" y="2825066"/>
                <a:ext cx="7786" cy="10124"/>
              </a:xfrm>
              <a:custGeom>
                <a:avLst/>
                <a:gdLst>
                  <a:gd name="connsiteX0" fmla="*/ 0 w 7786"/>
                  <a:gd name="connsiteY0" fmla="*/ 7323 h 10124"/>
                  <a:gd name="connsiteX1" fmla="*/ 3893 w 7786"/>
                  <a:gd name="connsiteY1" fmla="*/ 9583 h 10124"/>
                  <a:gd name="connsiteX2" fmla="*/ 7787 w 7786"/>
                  <a:gd name="connsiteY2" fmla="*/ 2801 h 10124"/>
                  <a:gd name="connsiteX3" fmla="*/ 3893 w 7786"/>
                  <a:gd name="connsiteY3" fmla="*/ 541 h 10124"/>
                  <a:gd name="connsiteX4" fmla="*/ 0 w 7786"/>
                  <a:gd name="connsiteY4" fmla="*/ 7323 h 10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6" h="10124">
                    <a:moveTo>
                      <a:pt x="0" y="7323"/>
                    </a:moveTo>
                    <a:cubicBezTo>
                      <a:pt x="0" y="9835"/>
                      <a:pt x="1758" y="10839"/>
                      <a:pt x="3893" y="9583"/>
                    </a:cubicBezTo>
                    <a:cubicBezTo>
                      <a:pt x="6029" y="8328"/>
                      <a:pt x="7787" y="5313"/>
                      <a:pt x="7787" y="2801"/>
                    </a:cubicBezTo>
                    <a:cubicBezTo>
                      <a:pt x="7787" y="290"/>
                      <a:pt x="6029" y="-715"/>
                      <a:pt x="3893" y="541"/>
                    </a:cubicBezTo>
                    <a:cubicBezTo>
                      <a:pt x="1758" y="1797"/>
                      <a:pt x="0" y="4811"/>
                      <a:pt x="0" y="7323"/>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1C151710-2A0E-421F-B1C0-C31421B555B1}"/>
                  </a:ext>
                </a:extLst>
              </p:cNvPr>
              <p:cNvSpPr/>
              <p:nvPr/>
            </p:nvSpPr>
            <p:spPr>
              <a:xfrm>
                <a:off x="1203452" y="2816373"/>
                <a:ext cx="5275" cy="6661"/>
              </a:xfrm>
              <a:custGeom>
                <a:avLst/>
                <a:gdLst>
                  <a:gd name="connsiteX0" fmla="*/ 0 w 5275"/>
                  <a:gd name="connsiteY0" fmla="*/ 4838 h 6661"/>
                  <a:gd name="connsiteX1" fmla="*/ 2637 w 5275"/>
                  <a:gd name="connsiteY1" fmla="*/ 6345 h 6661"/>
                  <a:gd name="connsiteX2" fmla="*/ 5275 w 5275"/>
                  <a:gd name="connsiteY2" fmla="*/ 1823 h 6661"/>
                  <a:gd name="connsiteX3" fmla="*/ 2637 w 5275"/>
                  <a:gd name="connsiteY3" fmla="*/ 316 h 6661"/>
                  <a:gd name="connsiteX4" fmla="*/ 0 w 5275"/>
                  <a:gd name="connsiteY4" fmla="*/ 4838 h 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661">
                    <a:moveTo>
                      <a:pt x="0" y="4838"/>
                    </a:moveTo>
                    <a:cubicBezTo>
                      <a:pt x="0" y="6471"/>
                      <a:pt x="1130" y="7098"/>
                      <a:pt x="2637" y="6345"/>
                    </a:cubicBezTo>
                    <a:cubicBezTo>
                      <a:pt x="4019" y="5466"/>
                      <a:pt x="5275" y="3582"/>
                      <a:pt x="5275" y="1823"/>
                    </a:cubicBezTo>
                    <a:cubicBezTo>
                      <a:pt x="5275" y="191"/>
                      <a:pt x="4145" y="-437"/>
                      <a:pt x="2637" y="316"/>
                    </a:cubicBezTo>
                    <a:cubicBezTo>
                      <a:pt x="1130" y="1196"/>
                      <a:pt x="0" y="3205"/>
                      <a:pt x="0" y="4838"/>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17743058-4E5A-4291-91FA-6A37FDB16FC5}"/>
                  </a:ext>
                </a:extLst>
              </p:cNvPr>
              <p:cNvSpPr/>
              <p:nvPr/>
            </p:nvSpPr>
            <p:spPr>
              <a:xfrm>
                <a:off x="1204708" y="2811005"/>
                <a:ext cx="4019" cy="4473"/>
              </a:xfrm>
              <a:custGeom>
                <a:avLst/>
                <a:gdLst>
                  <a:gd name="connsiteX0" fmla="*/ 628 w 4019"/>
                  <a:gd name="connsiteY0" fmla="*/ 4428 h 4473"/>
                  <a:gd name="connsiteX1" fmla="*/ 3391 w 4019"/>
                  <a:gd name="connsiteY1" fmla="*/ 2921 h 4473"/>
                  <a:gd name="connsiteX2" fmla="*/ 4019 w 4019"/>
                  <a:gd name="connsiteY2" fmla="*/ 1791 h 4473"/>
                  <a:gd name="connsiteX3" fmla="*/ 4019 w 4019"/>
                  <a:gd name="connsiteY3" fmla="*/ 535 h 4473"/>
                  <a:gd name="connsiteX4" fmla="*/ 3391 w 4019"/>
                  <a:gd name="connsiteY4" fmla="*/ 33 h 4473"/>
                  <a:gd name="connsiteX5" fmla="*/ 628 w 4019"/>
                  <a:gd name="connsiteY5" fmla="*/ 1540 h 4473"/>
                  <a:gd name="connsiteX6" fmla="*/ 0 w 4019"/>
                  <a:gd name="connsiteY6" fmla="*/ 2670 h 4473"/>
                  <a:gd name="connsiteX7" fmla="*/ 0 w 4019"/>
                  <a:gd name="connsiteY7" fmla="*/ 3926 h 4473"/>
                  <a:gd name="connsiteX8" fmla="*/ 628 w 4019"/>
                  <a:gd name="connsiteY8" fmla="*/ 4428 h 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4473">
                    <a:moveTo>
                      <a:pt x="628" y="4428"/>
                    </a:moveTo>
                    <a:lnTo>
                      <a:pt x="3391" y="2921"/>
                    </a:lnTo>
                    <a:cubicBezTo>
                      <a:pt x="3768" y="2796"/>
                      <a:pt x="4019" y="2293"/>
                      <a:pt x="4019" y="1791"/>
                    </a:cubicBezTo>
                    <a:lnTo>
                      <a:pt x="4019" y="535"/>
                    </a:lnTo>
                    <a:cubicBezTo>
                      <a:pt x="4019" y="158"/>
                      <a:pt x="3768" y="-93"/>
                      <a:pt x="3391" y="33"/>
                    </a:cubicBezTo>
                    <a:lnTo>
                      <a:pt x="628" y="1540"/>
                    </a:lnTo>
                    <a:cubicBezTo>
                      <a:pt x="251" y="1665"/>
                      <a:pt x="0" y="2168"/>
                      <a:pt x="0" y="2670"/>
                    </a:cubicBezTo>
                    <a:lnTo>
                      <a:pt x="0" y="3926"/>
                    </a:lnTo>
                    <a:cubicBezTo>
                      <a:pt x="0" y="4428"/>
                      <a:pt x="251" y="4554"/>
                      <a:pt x="628" y="4428"/>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7" name="Graphic 4">
              <a:extLst>
                <a:ext uri="{FF2B5EF4-FFF2-40B4-BE49-F238E27FC236}">
                  <a16:creationId xmlns:a16="http://schemas.microsoft.com/office/drawing/2014/main" id="{84FB7ED1-A2DF-40A1-A747-5F7CF3F14040}"/>
                </a:ext>
              </a:extLst>
            </p:cNvPr>
            <p:cNvGrpSpPr/>
            <p:nvPr/>
          </p:nvGrpSpPr>
          <p:grpSpPr>
            <a:xfrm>
              <a:off x="1131738" y="2839548"/>
              <a:ext cx="79250" cy="59908"/>
              <a:chOff x="1131738" y="2839548"/>
              <a:chExt cx="79250" cy="59908"/>
            </a:xfrm>
            <a:solidFill>
              <a:schemeClr val="accent1"/>
            </a:solidFill>
          </p:grpSpPr>
          <p:sp>
            <p:nvSpPr>
              <p:cNvPr id="118" name="Freeform: Shape 117">
                <a:extLst>
                  <a:ext uri="{FF2B5EF4-FFF2-40B4-BE49-F238E27FC236}">
                    <a16:creationId xmlns:a16="http://schemas.microsoft.com/office/drawing/2014/main" id="{59C56996-EEFB-4FA2-B685-EE089CBF81E7}"/>
                  </a:ext>
                </a:extLst>
              </p:cNvPr>
              <p:cNvSpPr/>
              <p:nvPr/>
            </p:nvSpPr>
            <p:spPr>
              <a:xfrm>
                <a:off x="1131738" y="2884636"/>
                <a:ext cx="1004" cy="14820"/>
              </a:xfrm>
              <a:custGeom>
                <a:avLst/>
                <a:gdLst>
                  <a:gd name="connsiteX0" fmla="*/ 0 w 1004"/>
                  <a:gd name="connsiteY0" fmla="*/ 0 h 14820"/>
                  <a:gd name="connsiteX1" fmla="*/ 0 w 1004"/>
                  <a:gd name="connsiteY1" fmla="*/ 14192 h 14820"/>
                  <a:gd name="connsiteX2" fmla="*/ 1005 w 1004"/>
                  <a:gd name="connsiteY2" fmla="*/ 14820 h 14820"/>
                  <a:gd name="connsiteX3" fmla="*/ 1005 w 1004"/>
                  <a:gd name="connsiteY3" fmla="*/ 3642 h 14820"/>
                </a:gdLst>
                <a:ahLst/>
                <a:cxnLst>
                  <a:cxn ang="0">
                    <a:pos x="connsiteX0" y="connsiteY0"/>
                  </a:cxn>
                  <a:cxn ang="0">
                    <a:pos x="connsiteX1" y="connsiteY1"/>
                  </a:cxn>
                  <a:cxn ang="0">
                    <a:pos x="connsiteX2" y="connsiteY2"/>
                  </a:cxn>
                  <a:cxn ang="0">
                    <a:pos x="connsiteX3" y="connsiteY3"/>
                  </a:cxn>
                </a:cxnLst>
                <a:rect l="l" t="t" r="r" b="b"/>
                <a:pathLst>
                  <a:path w="1004" h="14820">
                    <a:moveTo>
                      <a:pt x="0" y="0"/>
                    </a:moveTo>
                    <a:lnTo>
                      <a:pt x="0" y="14192"/>
                    </a:lnTo>
                    <a:lnTo>
                      <a:pt x="1005" y="14820"/>
                    </a:lnTo>
                    <a:lnTo>
                      <a:pt x="1005" y="3642"/>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A6A4EC51-C7C4-431F-9836-7D4D3E64F4E8}"/>
                  </a:ext>
                </a:extLst>
              </p:cNvPr>
              <p:cNvSpPr/>
              <p:nvPr/>
            </p:nvSpPr>
            <p:spPr>
              <a:xfrm>
                <a:off x="1132743" y="2843065"/>
                <a:ext cx="78245" cy="56391"/>
              </a:xfrm>
              <a:custGeom>
                <a:avLst/>
                <a:gdLst>
                  <a:gd name="connsiteX0" fmla="*/ 78246 w 78245"/>
                  <a:gd name="connsiteY0" fmla="*/ 11178 h 56391"/>
                  <a:gd name="connsiteX1" fmla="*/ 0 w 78245"/>
                  <a:gd name="connsiteY1" fmla="*/ 56392 h 56391"/>
                  <a:gd name="connsiteX2" fmla="*/ 0 w 78245"/>
                  <a:gd name="connsiteY2" fmla="*/ 45214 h 56391"/>
                  <a:gd name="connsiteX3" fmla="*/ 78246 w 78245"/>
                  <a:gd name="connsiteY3" fmla="*/ 0 h 56391"/>
                </a:gdLst>
                <a:ahLst/>
                <a:cxnLst>
                  <a:cxn ang="0">
                    <a:pos x="connsiteX0" y="connsiteY0"/>
                  </a:cxn>
                  <a:cxn ang="0">
                    <a:pos x="connsiteX1" y="connsiteY1"/>
                  </a:cxn>
                  <a:cxn ang="0">
                    <a:pos x="connsiteX2" y="connsiteY2"/>
                  </a:cxn>
                  <a:cxn ang="0">
                    <a:pos x="connsiteX3" y="connsiteY3"/>
                  </a:cxn>
                </a:cxnLst>
                <a:rect l="l" t="t" r="r" b="b"/>
                <a:pathLst>
                  <a:path w="78245" h="56391">
                    <a:moveTo>
                      <a:pt x="78246" y="11178"/>
                    </a:moveTo>
                    <a:lnTo>
                      <a:pt x="0" y="56392"/>
                    </a:lnTo>
                    <a:lnTo>
                      <a:pt x="0" y="45214"/>
                    </a:lnTo>
                    <a:lnTo>
                      <a:pt x="78246"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69D46C0-B4AB-4EDF-B86B-987D1D734C38}"/>
                  </a:ext>
                </a:extLst>
              </p:cNvPr>
              <p:cNvSpPr/>
              <p:nvPr/>
            </p:nvSpPr>
            <p:spPr>
              <a:xfrm>
                <a:off x="1131738" y="2839548"/>
                <a:ext cx="79250" cy="48730"/>
              </a:xfrm>
              <a:custGeom>
                <a:avLst/>
                <a:gdLst>
                  <a:gd name="connsiteX0" fmla="*/ 79250 w 79250"/>
                  <a:gd name="connsiteY0" fmla="*/ 3517 h 48730"/>
                  <a:gd name="connsiteX1" fmla="*/ 1005 w 79250"/>
                  <a:gd name="connsiteY1" fmla="*/ 48731 h 48730"/>
                  <a:gd name="connsiteX2" fmla="*/ 0 w 79250"/>
                  <a:gd name="connsiteY2" fmla="*/ 45088 h 48730"/>
                  <a:gd name="connsiteX3" fmla="*/ 78246 w 79250"/>
                  <a:gd name="connsiteY3" fmla="*/ 0 h 48730"/>
                </a:gdLst>
                <a:ahLst/>
                <a:cxnLst>
                  <a:cxn ang="0">
                    <a:pos x="connsiteX0" y="connsiteY0"/>
                  </a:cxn>
                  <a:cxn ang="0">
                    <a:pos x="connsiteX1" y="connsiteY1"/>
                  </a:cxn>
                  <a:cxn ang="0">
                    <a:pos x="connsiteX2" y="connsiteY2"/>
                  </a:cxn>
                  <a:cxn ang="0">
                    <a:pos x="connsiteX3" y="connsiteY3"/>
                  </a:cxn>
                </a:cxnLst>
                <a:rect l="l" t="t" r="r" b="b"/>
                <a:pathLst>
                  <a:path w="79250" h="48730">
                    <a:moveTo>
                      <a:pt x="79250" y="3517"/>
                    </a:moveTo>
                    <a:lnTo>
                      <a:pt x="1005" y="48731"/>
                    </a:lnTo>
                    <a:lnTo>
                      <a:pt x="0" y="45088"/>
                    </a:lnTo>
                    <a:lnTo>
                      <a:pt x="78246" y="0"/>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1" name="Freeform: Shape 120">
              <a:extLst>
                <a:ext uri="{FF2B5EF4-FFF2-40B4-BE49-F238E27FC236}">
                  <a16:creationId xmlns:a16="http://schemas.microsoft.com/office/drawing/2014/main" id="{026E2617-5C92-4712-BA06-54F617677AE5}"/>
                </a:ext>
              </a:extLst>
            </p:cNvPr>
            <p:cNvSpPr/>
            <p:nvPr/>
          </p:nvSpPr>
          <p:spPr>
            <a:xfrm>
              <a:off x="1151456" y="2857766"/>
              <a:ext cx="40818" cy="26988"/>
            </a:xfrm>
            <a:custGeom>
              <a:avLst/>
              <a:gdLst>
                <a:gd name="connsiteX0" fmla="*/ 38934 w 40818"/>
                <a:gd name="connsiteY0" fmla="*/ 5268 h 26988"/>
                <a:gd name="connsiteX1" fmla="*/ 1884 w 40818"/>
                <a:gd name="connsiteY1" fmla="*/ 26744 h 26988"/>
                <a:gd name="connsiteX2" fmla="*/ 0 w 40818"/>
                <a:gd name="connsiteY2" fmla="*/ 25363 h 26988"/>
                <a:gd name="connsiteX3" fmla="*/ 0 w 40818"/>
                <a:gd name="connsiteY3" fmla="*/ 25363 h 26988"/>
                <a:gd name="connsiteX4" fmla="*/ 1884 w 40818"/>
                <a:gd name="connsiteY4" fmla="*/ 21721 h 26988"/>
                <a:gd name="connsiteX5" fmla="*/ 38934 w 40818"/>
                <a:gd name="connsiteY5" fmla="*/ 244 h 26988"/>
                <a:gd name="connsiteX6" fmla="*/ 40818 w 40818"/>
                <a:gd name="connsiteY6" fmla="*/ 1625 h 26988"/>
                <a:gd name="connsiteX7" fmla="*/ 40818 w 40818"/>
                <a:gd name="connsiteY7" fmla="*/ 1625 h 26988"/>
                <a:gd name="connsiteX8" fmla="*/ 38934 w 40818"/>
                <a:gd name="connsiteY8" fmla="*/ 5268 h 2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18" h="26988">
                  <a:moveTo>
                    <a:pt x="38934" y="5268"/>
                  </a:moveTo>
                  <a:lnTo>
                    <a:pt x="1884" y="26744"/>
                  </a:lnTo>
                  <a:cubicBezTo>
                    <a:pt x="879" y="27372"/>
                    <a:pt x="0" y="26744"/>
                    <a:pt x="0" y="25363"/>
                  </a:cubicBezTo>
                  <a:lnTo>
                    <a:pt x="0" y="25363"/>
                  </a:lnTo>
                  <a:cubicBezTo>
                    <a:pt x="0" y="23981"/>
                    <a:pt x="879" y="22349"/>
                    <a:pt x="1884" y="21721"/>
                  </a:cubicBezTo>
                  <a:lnTo>
                    <a:pt x="38934" y="244"/>
                  </a:lnTo>
                  <a:cubicBezTo>
                    <a:pt x="39939" y="-384"/>
                    <a:pt x="40818" y="244"/>
                    <a:pt x="40818" y="1625"/>
                  </a:cubicBezTo>
                  <a:lnTo>
                    <a:pt x="40818" y="1625"/>
                  </a:lnTo>
                  <a:cubicBezTo>
                    <a:pt x="40818" y="3133"/>
                    <a:pt x="40065" y="4640"/>
                    <a:pt x="38934" y="5268"/>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2" name="Graphic 4">
              <a:extLst>
                <a:ext uri="{FF2B5EF4-FFF2-40B4-BE49-F238E27FC236}">
                  <a16:creationId xmlns:a16="http://schemas.microsoft.com/office/drawing/2014/main" id="{84FB7ED1-A2DF-40A1-A747-5F7CF3F14040}"/>
                </a:ext>
              </a:extLst>
            </p:cNvPr>
            <p:cNvGrpSpPr/>
            <p:nvPr/>
          </p:nvGrpSpPr>
          <p:grpSpPr>
            <a:xfrm>
              <a:off x="1135631" y="2885777"/>
              <a:ext cx="6782" cy="8896"/>
              <a:chOff x="1135631" y="2885777"/>
              <a:chExt cx="6782" cy="8896"/>
            </a:xfrm>
            <a:solidFill>
              <a:schemeClr val="accent1"/>
            </a:solidFill>
          </p:grpSpPr>
          <p:sp>
            <p:nvSpPr>
              <p:cNvPr id="123" name="Freeform: Shape 122">
                <a:extLst>
                  <a:ext uri="{FF2B5EF4-FFF2-40B4-BE49-F238E27FC236}">
                    <a16:creationId xmlns:a16="http://schemas.microsoft.com/office/drawing/2014/main" id="{BD423404-779E-4E18-BB68-7753CBF3CB08}"/>
                  </a:ext>
                </a:extLst>
              </p:cNvPr>
              <p:cNvSpPr/>
              <p:nvPr/>
            </p:nvSpPr>
            <p:spPr>
              <a:xfrm>
                <a:off x="1135631" y="2885777"/>
                <a:ext cx="6782" cy="8896"/>
              </a:xfrm>
              <a:custGeom>
                <a:avLst/>
                <a:gdLst>
                  <a:gd name="connsiteX0" fmla="*/ 6782 w 6782"/>
                  <a:gd name="connsiteY0" fmla="*/ 2501 h 8896"/>
                  <a:gd name="connsiteX1" fmla="*/ 3391 w 6782"/>
                  <a:gd name="connsiteY1" fmla="*/ 8404 h 8896"/>
                  <a:gd name="connsiteX2" fmla="*/ 0 w 6782"/>
                  <a:gd name="connsiteY2" fmla="*/ 6395 h 8896"/>
                  <a:gd name="connsiteX3" fmla="*/ 3391 w 6782"/>
                  <a:gd name="connsiteY3" fmla="*/ 492 h 8896"/>
                  <a:gd name="connsiteX4" fmla="*/ 6782 w 6782"/>
                  <a:gd name="connsiteY4" fmla="*/ 2501 h 8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2" h="8896">
                    <a:moveTo>
                      <a:pt x="6782" y="2501"/>
                    </a:moveTo>
                    <a:cubicBezTo>
                      <a:pt x="6782" y="4636"/>
                      <a:pt x="5275" y="7274"/>
                      <a:pt x="3391" y="8404"/>
                    </a:cubicBezTo>
                    <a:cubicBezTo>
                      <a:pt x="1507" y="9535"/>
                      <a:pt x="0" y="8656"/>
                      <a:pt x="0" y="6395"/>
                    </a:cubicBezTo>
                    <a:cubicBezTo>
                      <a:pt x="0" y="4134"/>
                      <a:pt x="1507" y="1622"/>
                      <a:pt x="3391" y="492"/>
                    </a:cubicBezTo>
                    <a:cubicBezTo>
                      <a:pt x="5275" y="-639"/>
                      <a:pt x="6782" y="241"/>
                      <a:pt x="6782" y="2501"/>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12F6CBE7-2890-435E-83A4-CD95969250DD}"/>
                  </a:ext>
                </a:extLst>
              </p:cNvPr>
              <p:cNvSpPr/>
              <p:nvPr/>
            </p:nvSpPr>
            <p:spPr>
              <a:xfrm>
                <a:off x="1136385" y="2886754"/>
                <a:ext cx="5274" cy="6920"/>
              </a:xfrm>
              <a:custGeom>
                <a:avLst/>
                <a:gdLst>
                  <a:gd name="connsiteX0" fmla="*/ 5275 w 5274"/>
                  <a:gd name="connsiteY0" fmla="*/ 1902 h 6920"/>
                  <a:gd name="connsiteX1" fmla="*/ 2637 w 5274"/>
                  <a:gd name="connsiteY1" fmla="*/ 6549 h 6920"/>
                  <a:gd name="connsiteX2" fmla="*/ 0 w 5274"/>
                  <a:gd name="connsiteY2" fmla="*/ 5042 h 6920"/>
                  <a:gd name="connsiteX3" fmla="*/ 2637 w 5274"/>
                  <a:gd name="connsiteY3" fmla="*/ 395 h 6920"/>
                  <a:gd name="connsiteX4" fmla="*/ 5275 w 5274"/>
                  <a:gd name="connsiteY4" fmla="*/ 1902 h 6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920">
                    <a:moveTo>
                      <a:pt x="5275" y="1902"/>
                    </a:moveTo>
                    <a:cubicBezTo>
                      <a:pt x="5275" y="3660"/>
                      <a:pt x="4019" y="5670"/>
                      <a:pt x="2637" y="6549"/>
                    </a:cubicBezTo>
                    <a:cubicBezTo>
                      <a:pt x="1130" y="7428"/>
                      <a:pt x="0" y="6674"/>
                      <a:pt x="0" y="5042"/>
                    </a:cubicBezTo>
                    <a:cubicBezTo>
                      <a:pt x="0" y="3283"/>
                      <a:pt x="1256" y="1274"/>
                      <a:pt x="2637" y="395"/>
                    </a:cubicBezTo>
                    <a:cubicBezTo>
                      <a:pt x="4019" y="-485"/>
                      <a:pt x="5275" y="143"/>
                      <a:pt x="5275" y="190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5" name="Graphic 4">
              <a:extLst>
                <a:ext uri="{FF2B5EF4-FFF2-40B4-BE49-F238E27FC236}">
                  <a16:creationId xmlns:a16="http://schemas.microsoft.com/office/drawing/2014/main" id="{84FB7ED1-A2DF-40A1-A747-5F7CF3F14040}"/>
                </a:ext>
              </a:extLst>
            </p:cNvPr>
            <p:cNvGrpSpPr/>
            <p:nvPr/>
          </p:nvGrpSpPr>
          <p:grpSpPr>
            <a:xfrm>
              <a:off x="1201317" y="2847925"/>
              <a:ext cx="6782" cy="8741"/>
              <a:chOff x="1201317" y="2847925"/>
              <a:chExt cx="6782" cy="8741"/>
            </a:xfrm>
            <a:solidFill>
              <a:schemeClr val="accent1"/>
            </a:solidFill>
          </p:grpSpPr>
          <p:sp>
            <p:nvSpPr>
              <p:cNvPr id="126" name="Freeform: Shape 125">
                <a:extLst>
                  <a:ext uri="{FF2B5EF4-FFF2-40B4-BE49-F238E27FC236}">
                    <a16:creationId xmlns:a16="http://schemas.microsoft.com/office/drawing/2014/main" id="{FF2C8BF6-EC0D-405A-825C-554C9F7DDC82}"/>
                  </a:ext>
                </a:extLst>
              </p:cNvPr>
              <p:cNvSpPr/>
              <p:nvPr/>
            </p:nvSpPr>
            <p:spPr>
              <a:xfrm>
                <a:off x="1201317" y="2847925"/>
                <a:ext cx="6782" cy="8741"/>
              </a:xfrm>
              <a:custGeom>
                <a:avLst/>
                <a:gdLst>
                  <a:gd name="connsiteX0" fmla="*/ 0 w 6782"/>
                  <a:gd name="connsiteY0" fmla="*/ 6318 h 8741"/>
                  <a:gd name="connsiteX1" fmla="*/ 3391 w 6782"/>
                  <a:gd name="connsiteY1" fmla="*/ 8327 h 8741"/>
                  <a:gd name="connsiteX2" fmla="*/ 6782 w 6782"/>
                  <a:gd name="connsiteY2" fmla="*/ 2424 h 8741"/>
                  <a:gd name="connsiteX3" fmla="*/ 3391 w 6782"/>
                  <a:gd name="connsiteY3" fmla="*/ 415 h 8741"/>
                  <a:gd name="connsiteX4" fmla="*/ 0 w 6782"/>
                  <a:gd name="connsiteY4" fmla="*/ 6318 h 8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2" h="8741">
                    <a:moveTo>
                      <a:pt x="0" y="6318"/>
                    </a:moveTo>
                    <a:cubicBezTo>
                      <a:pt x="0" y="8453"/>
                      <a:pt x="1507" y="9332"/>
                      <a:pt x="3391" y="8327"/>
                    </a:cubicBezTo>
                    <a:cubicBezTo>
                      <a:pt x="5275" y="7197"/>
                      <a:pt x="6782" y="4559"/>
                      <a:pt x="6782" y="2424"/>
                    </a:cubicBezTo>
                    <a:cubicBezTo>
                      <a:pt x="6782" y="289"/>
                      <a:pt x="5275" y="-590"/>
                      <a:pt x="3391" y="415"/>
                    </a:cubicBezTo>
                    <a:cubicBezTo>
                      <a:pt x="1507" y="1545"/>
                      <a:pt x="0" y="4183"/>
                      <a:pt x="0" y="631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65C15A1C-2368-4289-AF9B-3B1106021DB1}"/>
                  </a:ext>
                </a:extLst>
              </p:cNvPr>
              <p:cNvSpPr/>
              <p:nvPr/>
            </p:nvSpPr>
            <p:spPr>
              <a:xfrm>
                <a:off x="1202071" y="2848824"/>
                <a:ext cx="5275" cy="6943"/>
              </a:xfrm>
              <a:custGeom>
                <a:avLst/>
                <a:gdLst>
                  <a:gd name="connsiteX0" fmla="*/ 0 w 5275"/>
                  <a:gd name="connsiteY0" fmla="*/ 5042 h 6943"/>
                  <a:gd name="connsiteX1" fmla="*/ 2637 w 5275"/>
                  <a:gd name="connsiteY1" fmla="*/ 6549 h 6943"/>
                  <a:gd name="connsiteX2" fmla="*/ 5275 w 5275"/>
                  <a:gd name="connsiteY2" fmla="*/ 1902 h 6943"/>
                  <a:gd name="connsiteX3" fmla="*/ 2637 w 5275"/>
                  <a:gd name="connsiteY3" fmla="*/ 394 h 6943"/>
                  <a:gd name="connsiteX4" fmla="*/ 0 w 5275"/>
                  <a:gd name="connsiteY4" fmla="*/ 5042 h 6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943">
                    <a:moveTo>
                      <a:pt x="0" y="5042"/>
                    </a:moveTo>
                    <a:cubicBezTo>
                      <a:pt x="0" y="6800"/>
                      <a:pt x="1256" y="7428"/>
                      <a:pt x="2637" y="6549"/>
                    </a:cubicBezTo>
                    <a:cubicBezTo>
                      <a:pt x="4145" y="5669"/>
                      <a:pt x="5275" y="3660"/>
                      <a:pt x="5275" y="1902"/>
                    </a:cubicBezTo>
                    <a:cubicBezTo>
                      <a:pt x="5275" y="143"/>
                      <a:pt x="4019" y="-485"/>
                      <a:pt x="2637" y="394"/>
                    </a:cubicBezTo>
                    <a:cubicBezTo>
                      <a:pt x="1130" y="1274"/>
                      <a:pt x="0" y="3283"/>
                      <a:pt x="0" y="504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8" name="Freeform: Shape 127">
              <a:extLst>
                <a:ext uri="{FF2B5EF4-FFF2-40B4-BE49-F238E27FC236}">
                  <a16:creationId xmlns:a16="http://schemas.microsoft.com/office/drawing/2014/main" id="{C775BAAA-A9E0-4BC9-A665-41AA35B74E9D}"/>
                </a:ext>
              </a:extLst>
            </p:cNvPr>
            <p:cNvSpPr/>
            <p:nvPr/>
          </p:nvSpPr>
          <p:spPr>
            <a:xfrm>
              <a:off x="1021089" y="2792073"/>
              <a:ext cx="191908" cy="58370"/>
            </a:xfrm>
            <a:custGeom>
              <a:avLst/>
              <a:gdLst>
                <a:gd name="connsiteX0" fmla="*/ 191783 w 191908"/>
                <a:gd name="connsiteY0" fmla="*/ 6657 h 58370"/>
                <a:gd name="connsiteX1" fmla="*/ 189271 w 191908"/>
                <a:gd name="connsiteY1" fmla="*/ 9169 h 58370"/>
                <a:gd name="connsiteX2" fmla="*/ 188643 w 191908"/>
                <a:gd name="connsiteY2" fmla="*/ 9545 h 58370"/>
                <a:gd name="connsiteX3" fmla="*/ 111026 w 191908"/>
                <a:gd name="connsiteY3" fmla="*/ 54383 h 58370"/>
                <a:gd name="connsiteX4" fmla="*/ 97713 w 191908"/>
                <a:gd name="connsiteY4" fmla="*/ 54383 h 58370"/>
                <a:gd name="connsiteX5" fmla="*/ 4019 w 191908"/>
                <a:gd name="connsiteY5" fmla="*/ 0 h 58370"/>
                <a:gd name="connsiteX6" fmla="*/ 0 w 191908"/>
                <a:gd name="connsiteY6" fmla="*/ 2261 h 58370"/>
                <a:gd name="connsiteX7" fmla="*/ 5777 w 191908"/>
                <a:gd name="connsiteY7" fmla="*/ 5652 h 58370"/>
                <a:gd name="connsiteX8" fmla="*/ 8792 w 191908"/>
                <a:gd name="connsiteY8" fmla="*/ 5526 h 58370"/>
                <a:gd name="connsiteX9" fmla="*/ 97587 w 191908"/>
                <a:gd name="connsiteY9" fmla="*/ 56769 h 58370"/>
                <a:gd name="connsiteX10" fmla="*/ 110775 w 191908"/>
                <a:gd name="connsiteY10" fmla="*/ 56769 h 58370"/>
                <a:gd name="connsiteX11" fmla="*/ 189146 w 191908"/>
                <a:gd name="connsiteY11" fmla="*/ 11555 h 58370"/>
                <a:gd name="connsiteX12" fmla="*/ 191909 w 191908"/>
                <a:gd name="connsiteY12" fmla="*/ 7787 h 58370"/>
                <a:gd name="connsiteX13" fmla="*/ 191783 w 191908"/>
                <a:gd name="connsiteY13" fmla="*/ 6657 h 58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1908" h="58370">
                  <a:moveTo>
                    <a:pt x="191783" y="6657"/>
                  </a:moveTo>
                  <a:cubicBezTo>
                    <a:pt x="191281" y="7410"/>
                    <a:pt x="190402" y="8289"/>
                    <a:pt x="189271" y="9169"/>
                  </a:cubicBezTo>
                  <a:cubicBezTo>
                    <a:pt x="189146" y="9294"/>
                    <a:pt x="188895" y="9420"/>
                    <a:pt x="188643" y="9545"/>
                  </a:cubicBezTo>
                  <a:lnTo>
                    <a:pt x="111026" y="54383"/>
                  </a:lnTo>
                  <a:cubicBezTo>
                    <a:pt x="107384" y="56518"/>
                    <a:pt x="101355" y="56518"/>
                    <a:pt x="97713" y="54383"/>
                  </a:cubicBezTo>
                  <a:lnTo>
                    <a:pt x="4019" y="0"/>
                  </a:lnTo>
                  <a:lnTo>
                    <a:pt x="0" y="2261"/>
                  </a:lnTo>
                  <a:lnTo>
                    <a:pt x="5777" y="5652"/>
                  </a:lnTo>
                  <a:lnTo>
                    <a:pt x="8792" y="5526"/>
                  </a:lnTo>
                  <a:lnTo>
                    <a:pt x="97587" y="56769"/>
                  </a:lnTo>
                  <a:cubicBezTo>
                    <a:pt x="101229" y="58904"/>
                    <a:pt x="107132" y="58904"/>
                    <a:pt x="110775" y="56769"/>
                  </a:cubicBezTo>
                  <a:lnTo>
                    <a:pt x="189146" y="11555"/>
                  </a:lnTo>
                  <a:cubicBezTo>
                    <a:pt x="190904" y="10550"/>
                    <a:pt x="191909" y="9169"/>
                    <a:pt x="191909" y="7787"/>
                  </a:cubicBezTo>
                  <a:cubicBezTo>
                    <a:pt x="191909" y="7410"/>
                    <a:pt x="191909" y="7033"/>
                    <a:pt x="191783" y="6657"/>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9" name="Graphic 4">
              <a:extLst>
                <a:ext uri="{FF2B5EF4-FFF2-40B4-BE49-F238E27FC236}">
                  <a16:creationId xmlns:a16="http://schemas.microsoft.com/office/drawing/2014/main" id="{84FB7ED1-A2DF-40A1-A747-5F7CF3F14040}"/>
                </a:ext>
              </a:extLst>
            </p:cNvPr>
            <p:cNvGrpSpPr/>
            <p:nvPr/>
          </p:nvGrpSpPr>
          <p:grpSpPr>
            <a:xfrm>
              <a:off x="1059144" y="2836031"/>
              <a:ext cx="27254" cy="29389"/>
              <a:chOff x="1059144" y="2836031"/>
              <a:chExt cx="27254" cy="29389"/>
            </a:xfrm>
            <a:solidFill>
              <a:schemeClr val="accent1"/>
            </a:solidFill>
          </p:grpSpPr>
          <p:sp>
            <p:nvSpPr>
              <p:cNvPr id="130" name="Freeform: Shape 129">
                <a:extLst>
                  <a:ext uri="{FF2B5EF4-FFF2-40B4-BE49-F238E27FC236}">
                    <a16:creationId xmlns:a16="http://schemas.microsoft.com/office/drawing/2014/main" id="{C9C192DB-E6DD-4BA0-A048-658C69A38AFA}"/>
                  </a:ext>
                </a:extLst>
              </p:cNvPr>
              <p:cNvSpPr/>
              <p:nvPr/>
            </p:nvSpPr>
            <p:spPr>
              <a:xfrm>
                <a:off x="1063163" y="2837538"/>
                <a:ext cx="23235" cy="22481"/>
              </a:xfrm>
              <a:custGeom>
                <a:avLst/>
                <a:gdLst>
                  <a:gd name="connsiteX0" fmla="*/ 2637 w 23235"/>
                  <a:gd name="connsiteY0" fmla="*/ 7410 h 22481"/>
                  <a:gd name="connsiteX1" fmla="*/ 0 w 23235"/>
                  <a:gd name="connsiteY1" fmla="*/ 17583 h 22481"/>
                  <a:gd name="connsiteX2" fmla="*/ 0 w 23235"/>
                  <a:gd name="connsiteY2" fmla="*/ 22481 h 22481"/>
                  <a:gd name="connsiteX3" fmla="*/ 23235 w 23235"/>
                  <a:gd name="connsiteY3" fmla="*/ 9043 h 22481"/>
                  <a:gd name="connsiteX4" fmla="*/ 7661 w 23235"/>
                  <a:gd name="connsiteY4" fmla="*/ 0 h 22481"/>
                  <a:gd name="connsiteX5" fmla="*/ 2637 w 23235"/>
                  <a:gd name="connsiteY5" fmla="*/ 7410 h 2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35" h="22481">
                    <a:moveTo>
                      <a:pt x="2637" y="7410"/>
                    </a:moveTo>
                    <a:cubicBezTo>
                      <a:pt x="879" y="10048"/>
                      <a:pt x="0" y="13439"/>
                      <a:pt x="0" y="17583"/>
                    </a:cubicBezTo>
                    <a:lnTo>
                      <a:pt x="0" y="22481"/>
                    </a:lnTo>
                    <a:lnTo>
                      <a:pt x="23235" y="9043"/>
                    </a:lnTo>
                    <a:lnTo>
                      <a:pt x="7661" y="0"/>
                    </a:lnTo>
                    <a:lnTo>
                      <a:pt x="2637" y="741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864159FE-8A27-4C92-9452-3B113FC2AF21}"/>
                  </a:ext>
                </a:extLst>
              </p:cNvPr>
              <p:cNvSpPr/>
              <p:nvPr/>
            </p:nvSpPr>
            <p:spPr>
              <a:xfrm>
                <a:off x="1059144" y="2836031"/>
                <a:ext cx="11680" cy="29389"/>
              </a:xfrm>
              <a:custGeom>
                <a:avLst/>
                <a:gdLst>
                  <a:gd name="connsiteX0" fmla="*/ 8792 w 11680"/>
                  <a:gd name="connsiteY0" fmla="*/ 2135 h 29389"/>
                  <a:gd name="connsiteX1" fmla="*/ 2637 w 11680"/>
                  <a:gd name="connsiteY1" fmla="*/ 11304 h 29389"/>
                  <a:gd name="connsiteX2" fmla="*/ 0 w 11680"/>
                  <a:gd name="connsiteY2" fmla="*/ 21477 h 29389"/>
                  <a:gd name="connsiteX3" fmla="*/ 0 w 11680"/>
                  <a:gd name="connsiteY3" fmla="*/ 29389 h 29389"/>
                  <a:gd name="connsiteX4" fmla="*/ 2386 w 11680"/>
                  <a:gd name="connsiteY4" fmla="*/ 28008 h 29389"/>
                  <a:gd name="connsiteX5" fmla="*/ 4019 w 11680"/>
                  <a:gd name="connsiteY5" fmla="*/ 25119 h 29389"/>
                  <a:gd name="connsiteX6" fmla="*/ 4019 w 11680"/>
                  <a:gd name="connsiteY6" fmla="*/ 19090 h 29389"/>
                  <a:gd name="connsiteX7" fmla="*/ 6657 w 11680"/>
                  <a:gd name="connsiteY7" fmla="*/ 8917 h 29389"/>
                  <a:gd name="connsiteX8" fmla="*/ 11680 w 11680"/>
                  <a:gd name="connsiteY8" fmla="*/ 1633 h 29389"/>
                  <a:gd name="connsiteX9" fmla="*/ 8917 w 11680"/>
                  <a:gd name="connsiteY9" fmla="*/ 0 h 29389"/>
                  <a:gd name="connsiteX10" fmla="*/ 8917 w 11680"/>
                  <a:gd name="connsiteY10" fmla="*/ 2135 h 2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80" h="29389">
                    <a:moveTo>
                      <a:pt x="8792" y="2135"/>
                    </a:moveTo>
                    <a:lnTo>
                      <a:pt x="2637" y="11304"/>
                    </a:lnTo>
                    <a:cubicBezTo>
                      <a:pt x="879" y="13941"/>
                      <a:pt x="0" y="17332"/>
                      <a:pt x="0" y="21477"/>
                    </a:cubicBezTo>
                    <a:lnTo>
                      <a:pt x="0" y="29389"/>
                    </a:lnTo>
                    <a:lnTo>
                      <a:pt x="2386" y="28008"/>
                    </a:lnTo>
                    <a:cubicBezTo>
                      <a:pt x="3391" y="27380"/>
                      <a:pt x="4019" y="26249"/>
                      <a:pt x="4019" y="25119"/>
                    </a:cubicBezTo>
                    <a:lnTo>
                      <a:pt x="4019" y="19090"/>
                    </a:lnTo>
                    <a:cubicBezTo>
                      <a:pt x="4019" y="14946"/>
                      <a:pt x="4898" y="11429"/>
                      <a:pt x="6657" y="8917"/>
                    </a:cubicBezTo>
                    <a:lnTo>
                      <a:pt x="11680" y="1633"/>
                    </a:lnTo>
                    <a:lnTo>
                      <a:pt x="8917" y="0"/>
                    </a:lnTo>
                    <a:lnTo>
                      <a:pt x="8917" y="2135"/>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2" name="Graphic 4">
              <a:extLst>
                <a:ext uri="{FF2B5EF4-FFF2-40B4-BE49-F238E27FC236}">
                  <a16:creationId xmlns:a16="http://schemas.microsoft.com/office/drawing/2014/main" id="{84FB7ED1-A2DF-40A1-A747-5F7CF3F14040}"/>
                </a:ext>
              </a:extLst>
            </p:cNvPr>
            <p:cNvGrpSpPr/>
            <p:nvPr/>
          </p:nvGrpSpPr>
          <p:grpSpPr>
            <a:xfrm>
              <a:off x="1055576" y="2840919"/>
              <a:ext cx="62682" cy="66832"/>
              <a:chOff x="1055576" y="2840919"/>
              <a:chExt cx="62682" cy="66832"/>
            </a:xfrm>
            <a:solidFill>
              <a:schemeClr val="accent1"/>
            </a:solidFill>
          </p:grpSpPr>
          <p:grpSp>
            <p:nvGrpSpPr>
              <p:cNvPr id="133" name="Graphic 4">
                <a:extLst>
                  <a:ext uri="{FF2B5EF4-FFF2-40B4-BE49-F238E27FC236}">
                    <a16:creationId xmlns:a16="http://schemas.microsoft.com/office/drawing/2014/main" id="{84FB7ED1-A2DF-40A1-A747-5F7CF3F14040}"/>
                  </a:ext>
                </a:extLst>
              </p:cNvPr>
              <p:cNvGrpSpPr/>
              <p:nvPr/>
            </p:nvGrpSpPr>
            <p:grpSpPr>
              <a:xfrm>
                <a:off x="1055576" y="2840919"/>
                <a:ext cx="62682" cy="66832"/>
                <a:chOff x="1055576" y="2840919"/>
                <a:chExt cx="62682" cy="66832"/>
              </a:xfrm>
              <a:solidFill>
                <a:schemeClr val="accent1"/>
              </a:solidFill>
            </p:grpSpPr>
            <p:sp>
              <p:nvSpPr>
                <p:cNvPr id="134" name="Freeform: Shape 133">
                  <a:extLst>
                    <a:ext uri="{FF2B5EF4-FFF2-40B4-BE49-F238E27FC236}">
                      <a16:creationId xmlns:a16="http://schemas.microsoft.com/office/drawing/2014/main" id="{96F9C0C3-5ACE-4DB2-8DBD-F4792EF13813}"/>
                    </a:ext>
                  </a:extLst>
                </p:cNvPr>
                <p:cNvSpPr/>
                <p:nvPr/>
              </p:nvSpPr>
              <p:spPr>
                <a:xfrm>
                  <a:off x="1070573" y="2840919"/>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5" y="-115"/>
                        <a:pt x="18211" y="10"/>
                      </a:cubicBezTo>
                      <a:cubicBezTo>
                        <a:pt x="17206" y="10"/>
                        <a:pt x="16202" y="10"/>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8" y="47360"/>
                        <a:pt x="45340" y="46857"/>
                      </a:cubicBezTo>
                      <a:cubicBezTo>
                        <a:pt x="49359" y="40327"/>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719FF5AA-DA6F-4BCB-B4CC-A2D28EE0C964}"/>
                    </a:ext>
                  </a:extLst>
                </p:cNvPr>
                <p:cNvSpPr/>
                <p:nvPr/>
              </p:nvSpPr>
              <p:spPr>
                <a:xfrm>
                  <a:off x="1064663" y="2846684"/>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6"/>
                      </a:cubicBezTo>
                      <a:cubicBezTo>
                        <a:pt x="-496" y="13462"/>
                        <a:pt x="26884" y="54029"/>
                        <a:pt x="26884" y="54029"/>
                      </a:cubicBezTo>
                      <a:cubicBezTo>
                        <a:pt x="30024" y="54657"/>
                        <a:pt x="34420" y="54154"/>
                        <a:pt x="35927" y="53275"/>
                      </a:cubicBezTo>
                      <a:cubicBezTo>
                        <a:pt x="44467" y="48377"/>
                        <a:pt x="44342"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BF9AA0E-7051-45A9-971F-22D669EB2F37}"/>
                    </a:ext>
                  </a:extLst>
                </p:cNvPr>
                <p:cNvSpPr/>
                <p:nvPr/>
              </p:nvSpPr>
              <p:spPr>
                <a:xfrm>
                  <a:off x="1055576" y="2841919"/>
                  <a:ext cx="57006" cy="65832"/>
                </a:xfrm>
                <a:custGeom>
                  <a:avLst/>
                  <a:gdLst>
                    <a:gd name="connsiteX0" fmla="*/ 42752 w 57006"/>
                    <a:gd name="connsiteY0" fmla="*/ 24690 h 65832"/>
                    <a:gd name="connsiteX1" fmla="*/ 42758 w 57006"/>
                    <a:gd name="connsiteY1" fmla="*/ 57606 h 65832"/>
                    <a:gd name="connsiteX2" fmla="*/ 14255 w 57006"/>
                    <a:gd name="connsiteY2" fmla="*/ 41143 h 65832"/>
                    <a:gd name="connsiteX3" fmla="*/ 14248 w 57006"/>
                    <a:gd name="connsiteY3" fmla="*/ 8226 h 65832"/>
                    <a:gd name="connsiteX4" fmla="*/ 42752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90"/>
                      </a:moveTo>
                      <a:cubicBezTo>
                        <a:pt x="50624" y="38326"/>
                        <a:pt x="50627" y="53063"/>
                        <a:pt x="42758" y="57606"/>
                      </a:cubicBezTo>
                      <a:cubicBezTo>
                        <a:pt x="34889" y="62149"/>
                        <a:pt x="22128" y="54778"/>
                        <a:pt x="14255" y="41143"/>
                      </a:cubicBezTo>
                      <a:cubicBezTo>
                        <a:pt x="6382" y="27507"/>
                        <a:pt x="6379" y="12770"/>
                        <a:pt x="14248" y="8226"/>
                      </a:cubicBezTo>
                      <a:cubicBezTo>
                        <a:pt x="22117" y="3683"/>
                        <a:pt x="34879" y="11054"/>
                        <a:pt x="42752"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7" name="Graphic 4">
                <a:extLst>
                  <a:ext uri="{FF2B5EF4-FFF2-40B4-BE49-F238E27FC236}">
                    <a16:creationId xmlns:a16="http://schemas.microsoft.com/office/drawing/2014/main" id="{84FB7ED1-A2DF-40A1-A747-5F7CF3F14040}"/>
                  </a:ext>
                </a:extLst>
              </p:cNvPr>
              <p:cNvGrpSpPr/>
              <p:nvPr/>
            </p:nvGrpSpPr>
            <p:grpSpPr>
              <a:xfrm>
                <a:off x="1070636" y="2857325"/>
                <a:ext cx="27128" cy="35155"/>
                <a:chOff x="1070636" y="2857325"/>
                <a:chExt cx="27128" cy="35155"/>
              </a:xfrm>
              <a:solidFill>
                <a:schemeClr val="accent1"/>
              </a:solidFill>
            </p:grpSpPr>
            <p:sp>
              <p:nvSpPr>
                <p:cNvPr id="138" name="Freeform: Shape 137">
                  <a:extLst>
                    <a:ext uri="{FF2B5EF4-FFF2-40B4-BE49-F238E27FC236}">
                      <a16:creationId xmlns:a16="http://schemas.microsoft.com/office/drawing/2014/main" id="{37A3DBD6-A682-4C20-ADBE-A60941AC2CC7}"/>
                    </a:ext>
                  </a:extLst>
                </p:cNvPr>
                <p:cNvSpPr/>
                <p:nvPr/>
              </p:nvSpPr>
              <p:spPr>
                <a:xfrm>
                  <a:off x="1071546" y="2858534"/>
                  <a:ext cx="25275" cy="32612"/>
                </a:xfrm>
                <a:custGeom>
                  <a:avLst/>
                  <a:gdLst>
                    <a:gd name="connsiteX0" fmla="*/ 21508 w 25275"/>
                    <a:gd name="connsiteY0" fmla="*/ 31754 h 32612"/>
                    <a:gd name="connsiteX1" fmla="*/ 3674 w 25275"/>
                    <a:gd name="connsiteY1" fmla="*/ 21456 h 32612"/>
                    <a:gd name="connsiteX2" fmla="*/ 3674 w 25275"/>
                    <a:gd name="connsiteY2" fmla="*/ 858 h 32612"/>
                    <a:gd name="connsiteX3" fmla="*/ 21508 w 25275"/>
                    <a:gd name="connsiteY3" fmla="*/ 11157 h 32612"/>
                    <a:gd name="connsiteX4" fmla="*/ 21508 w 25275"/>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5" h="32612">
                      <a:moveTo>
                        <a:pt x="21508" y="31754"/>
                      </a:moveTo>
                      <a:cubicBezTo>
                        <a:pt x="16610" y="34643"/>
                        <a:pt x="8572" y="29996"/>
                        <a:pt x="3674" y="21456"/>
                      </a:cubicBezTo>
                      <a:cubicBezTo>
                        <a:pt x="-1225" y="12915"/>
                        <a:pt x="-1225" y="3747"/>
                        <a:pt x="3674" y="858"/>
                      </a:cubicBezTo>
                      <a:cubicBezTo>
                        <a:pt x="8572" y="-2031"/>
                        <a:pt x="16610" y="2616"/>
                        <a:pt x="21508" y="11157"/>
                      </a:cubicBezTo>
                      <a:cubicBezTo>
                        <a:pt x="26532" y="19697"/>
                        <a:pt x="26532" y="28991"/>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4DA1BC8C-D8B7-46EC-998B-1EC1035A7F03}"/>
                    </a:ext>
                  </a:extLst>
                </p:cNvPr>
                <p:cNvSpPr/>
                <p:nvPr/>
              </p:nvSpPr>
              <p:spPr>
                <a:xfrm>
                  <a:off x="1070636" y="2857325"/>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584 w 27128"/>
                    <a:gd name="connsiteY11" fmla="*/ 2193 h 35155"/>
                    <a:gd name="connsiteX12" fmla="*/ 10110 w 27128"/>
                    <a:gd name="connsiteY12" fmla="*/ 1690 h 35155"/>
                    <a:gd name="connsiteX13" fmla="*/ 10110 w 27128"/>
                    <a:gd name="connsiteY13" fmla="*/ 8849 h 35155"/>
                    <a:gd name="connsiteX14" fmla="*/ 8854 w 27128"/>
                    <a:gd name="connsiteY14" fmla="*/ 9226 h 35155"/>
                    <a:gd name="connsiteX15" fmla="*/ 2952 w 27128"/>
                    <a:gd name="connsiteY15" fmla="*/ 3574 h 35155"/>
                    <a:gd name="connsiteX16" fmla="*/ 4584 w 27128"/>
                    <a:gd name="connsiteY16" fmla="*/ 2193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3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1"/>
                        <a:pt x="9231" y="-2203"/>
                        <a:pt x="3956" y="937"/>
                      </a:cubicBezTo>
                      <a:cubicBezTo>
                        <a:pt x="-1319" y="3951"/>
                        <a:pt x="-1319" y="13999"/>
                        <a:pt x="3956" y="23167"/>
                      </a:cubicBezTo>
                      <a:cubicBezTo>
                        <a:pt x="9231" y="32335"/>
                        <a:pt x="17897" y="37359"/>
                        <a:pt x="23172" y="34219"/>
                      </a:cubicBezTo>
                      <a:cubicBezTo>
                        <a:pt x="28447" y="31205"/>
                        <a:pt x="28447" y="21283"/>
                        <a:pt x="23172" y="11989"/>
                      </a:cubicBezTo>
                      <a:close/>
                      <a:moveTo>
                        <a:pt x="24051" y="15631"/>
                      </a:moveTo>
                      <a:lnTo>
                        <a:pt x="18148" y="14375"/>
                      </a:lnTo>
                      <a:cubicBezTo>
                        <a:pt x="17772" y="13747"/>
                        <a:pt x="17269" y="13119"/>
                        <a:pt x="16893" y="12491"/>
                      </a:cubicBezTo>
                      <a:lnTo>
                        <a:pt x="16893" y="5332"/>
                      </a:lnTo>
                      <a:cubicBezTo>
                        <a:pt x="18902" y="7216"/>
                        <a:pt x="20912" y="9477"/>
                        <a:pt x="22419" y="12366"/>
                      </a:cubicBezTo>
                      <a:cubicBezTo>
                        <a:pt x="23047" y="13496"/>
                        <a:pt x="23675" y="14626"/>
                        <a:pt x="24051" y="15631"/>
                      </a:cubicBezTo>
                      <a:close/>
                      <a:moveTo>
                        <a:pt x="4584" y="2193"/>
                      </a:moveTo>
                      <a:cubicBezTo>
                        <a:pt x="6217" y="1313"/>
                        <a:pt x="8101" y="1188"/>
                        <a:pt x="10110" y="1690"/>
                      </a:cubicBezTo>
                      <a:lnTo>
                        <a:pt x="10110" y="8849"/>
                      </a:lnTo>
                      <a:cubicBezTo>
                        <a:pt x="9608" y="8849"/>
                        <a:pt x="9231" y="8975"/>
                        <a:pt x="8854" y="9226"/>
                      </a:cubicBezTo>
                      <a:lnTo>
                        <a:pt x="2952" y="3574"/>
                      </a:lnTo>
                      <a:cubicBezTo>
                        <a:pt x="3454" y="2946"/>
                        <a:pt x="3956" y="2444"/>
                        <a:pt x="4584" y="2193"/>
                      </a:cubicBezTo>
                      <a:close/>
                      <a:moveTo>
                        <a:pt x="942" y="9603"/>
                      </a:moveTo>
                      <a:lnTo>
                        <a:pt x="6845" y="15254"/>
                      </a:lnTo>
                      <a:cubicBezTo>
                        <a:pt x="6971" y="15882"/>
                        <a:pt x="7096" y="16636"/>
                        <a:pt x="7347" y="17264"/>
                      </a:cubicBezTo>
                      <a:lnTo>
                        <a:pt x="3705" y="20906"/>
                      </a:lnTo>
                      <a:cubicBezTo>
                        <a:pt x="1696" y="17013"/>
                        <a:pt x="816" y="12994"/>
                        <a:pt x="942" y="9603"/>
                      </a:cubicBezTo>
                      <a:close/>
                      <a:moveTo>
                        <a:pt x="9106" y="28567"/>
                      </a:moveTo>
                      <a:lnTo>
                        <a:pt x="12748" y="24925"/>
                      </a:lnTo>
                      <a:cubicBezTo>
                        <a:pt x="13250" y="25302"/>
                        <a:pt x="13878" y="25679"/>
                        <a:pt x="14381" y="25804"/>
                      </a:cubicBezTo>
                      <a:lnTo>
                        <a:pt x="18023" y="33717"/>
                      </a:lnTo>
                      <a:cubicBezTo>
                        <a:pt x="15134" y="33340"/>
                        <a:pt x="11994" y="31582"/>
                        <a:pt x="9106" y="28567"/>
                      </a:cubicBezTo>
                      <a:close/>
                      <a:moveTo>
                        <a:pt x="23423" y="32335"/>
                      </a:moveTo>
                      <a:lnTo>
                        <a:pt x="19781" y="24423"/>
                      </a:lnTo>
                      <a:cubicBezTo>
                        <a:pt x="20032" y="24046"/>
                        <a:pt x="20158" y="23544"/>
                        <a:pt x="20284" y="22916"/>
                      </a:cubicBezTo>
                      <a:lnTo>
                        <a:pt x="26187" y="24046"/>
                      </a:lnTo>
                      <a:cubicBezTo>
                        <a:pt x="26312" y="27688"/>
                        <a:pt x="25307" y="30702"/>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0" name="Graphic 4">
                  <a:extLst>
                    <a:ext uri="{FF2B5EF4-FFF2-40B4-BE49-F238E27FC236}">
                      <a16:creationId xmlns:a16="http://schemas.microsoft.com/office/drawing/2014/main" id="{84FB7ED1-A2DF-40A1-A747-5F7CF3F14040}"/>
                    </a:ext>
                  </a:extLst>
                </p:cNvPr>
                <p:cNvGrpSpPr/>
                <p:nvPr/>
              </p:nvGrpSpPr>
              <p:grpSpPr>
                <a:xfrm>
                  <a:off x="1071566" y="2859015"/>
                  <a:ext cx="23749" cy="32026"/>
                  <a:chOff x="1071566" y="2859015"/>
                  <a:chExt cx="23749" cy="32026"/>
                </a:xfrm>
                <a:solidFill>
                  <a:srgbClr val="ADAA99"/>
                </a:solidFill>
              </p:grpSpPr>
              <p:sp>
                <p:nvSpPr>
                  <p:cNvPr id="141" name="Freeform: Shape 140">
                    <a:extLst>
                      <a:ext uri="{FF2B5EF4-FFF2-40B4-BE49-F238E27FC236}">
                        <a16:creationId xmlns:a16="http://schemas.microsoft.com/office/drawing/2014/main" id="{C1F40058-FF0E-4AD4-8241-A964A7AA22A0}"/>
                      </a:ext>
                    </a:extLst>
                  </p:cNvPr>
                  <p:cNvSpPr/>
                  <p:nvPr/>
                </p:nvSpPr>
                <p:spPr>
                  <a:xfrm>
                    <a:off x="1087528" y="2862783"/>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285"/>
                          <a:pt x="2261" y="6657"/>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EE6A0259-A534-4356-8092-E517328A068C}"/>
                      </a:ext>
                    </a:extLst>
                  </p:cNvPr>
                  <p:cNvSpPr/>
                  <p:nvPr/>
                </p:nvSpPr>
                <p:spPr>
                  <a:xfrm>
                    <a:off x="1090292" y="2880366"/>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884" y="377"/>
                          <a:pt x="1884" y="251"/>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3908AF0D-0C0D-4789-B806-BCBC76A54AD3}"/>
                      </a:ext>
                    </a:extLst>
                  </p:cNvPr>
                  <p:cNvSpPr/>
                  <p:nvPr/>
                </p:nvSpPr>
                <p:spPr>
                  <a:xfrm>
                    <a:off x="1071566" y="2866928"/>
                    <a:ext cx="4282" cy="11303"/>
                  </a:xfrm>
                  <a:custGeom>
                    <a:avLst/>
                    <a:gdLst>
                      <a:gd name="connsiteX0" fmla="*/ 12 w 4282"/>
                      <a:gd name="connsiteY0" fmla="*/ 0 h 11303"/>
                      <a:gd name="connsiteX1" fmla="*/ 2775 w 4282"/>
                      <a:gd name="connsiteY1" fmla="*/ 11303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3"/>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7CBACC42-ECEA-4A54-8CBF-701A82EA5E38}"/>
                      </a:ext>
                    </a:extLst>
                  </p:cNvPr>
                  <p:cNvSpPr/>
                  <p:nvPr/>
                </p:nvSpPr>
                <p:spPr>
                  <a:xfrm>
                    <a:off x="1079742" y="2882250"/>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9" y="8415"/>
                          <a:pt x="8917" y="8792"/>
                        </a:cubicBezTo>
                        <a:lnTo>
                          <a:pt x="8164" y="7033"/>
                        </a:lnTo>
                        <a:cubicBezTo>
                          <a:pt x="6029" y="6280"/>
                          <a:pt x="3768" y="4773"/>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E7DD37FD-470E-4CE9-843B-6F577D943176}"/>
                      </a:ext>
                    </a:extLst>
                  </p:cNvPr>
                  <p:cNvSpPr/>
                  <p:nvPr/>
                </p:nvSpPr>
                <p:spPr>
                  <a:xfrm>
                    <a:off x="1073713" y="2859015"/>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8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8" y="754"/>
                        </a:lnTo>
                        <a:cubicBezTo>
                          <a:pt x="1884" y="502"/>
                          <a:pt x="2135"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46" name="Graphic 4">
                  <a:extLst>
                    <a:ext uri="{FF2B5EF4-FFF2-40B4-BE49-F238E27FC236}">
                      <a16:creationId xmlns:a16="http://schemas.microsoft.com/office/drawing/2014/main" id="{84FB7ED1-A2DF-40A1-A747-5F7CF3F14040}"/>
                    </a:ext>
                  </a:extLst>
                </p:cNvPr>
                <p:cNvGrpSpPr/>
                <p:nvPr/>
              </p:nvGrpSpPr>
              <p:grpSpPr>
                <a:xfrm>
                  <a:off x="1079192" y="2868607"/>
                  <a:ext cx="10094" cy="13199"/>
                  <a:chOff x="1079192" y="2868607"/>
                  <a:chExt cx="10094" cy="13199"/>
                </a:xfrm>
                <a:solidFill>
                  <a:srgbClr val="222222"/>
                </a:solidFill>
              </p:grpSpPr>
              <p:sp>
                <p:nvSpPr>
                  <p:cNvPr id="147" name="Freeform: Shape 146">
                    <a:extLst>
                      <a:ext uri="{FF2B5EF4-FFF2-40B4-BE49-F238E27FC236}">
                        <a16:creationId xmlns:a16="http://schemas.microsoft.com/office/drawing/2014/main" id="{85D69679-DCEC-4E9C-8D4E-77ACF9881254}"/>
                      </a:ext>
                    </a:extLst>
                  </p:cNvPr>
                  <p:cNvSpPr/>
                  <p:nvPr/>
                </p:nvSpPr>
                <p:spPr>
                  <a:xfrm>
                    <a:off x="1082536" y="2872721"/>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4980AF0C-43A7-4693-86E6-9CE8BA77DE42}"/>
                      </a:ext>
                    </a:extLst>
                  </p:cNvPr>
                  <p:cNvSpPr/>
                  <p:nvPr/>
                </p:nvSpPr>
                <p:spPr>
                  <a:xfrm>
                    <a:off x="1083227" y="2868607"/>
                    <a:ext cx="1946" cy="2543"/>
                  </a:xfrm>
                  <a:custGeom>
                    <a:avLst/>
                    <a:gdLst>
                      <a:gd name="connsiteX0" fmla="*/ 1664 w 1946"/>
                      <a:gd name="connsiteY0" fmla="*/ 2465 h 2543"/>
                      <a:gd name="connsiteX1" fmla="*/ 283 w 1946"/>
                      <a:gd name="connsiteY1" fmla="*/ 1712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40"/>
                          <a:pt x="283" y="1712"/>
                        </a:cubicBezTo>
                        <a:cubicBezTo>
                          <a:pt x="-94" y="1083"/>
                          <a:pt x="-94" y="330"/>
                          <a:pt x="283"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40F8C281-FCD8-4E5D-AA38-AE35CA83C281}"/>
                      </a:ext>
                    </a:extLst>
                  </p:cNvPr>
                  <p:cNvSpPr/>
                  <p:nvPr/>
                </p:nvSpPr>
                <p:spPr>
                  <a:xfrm>
                    <a:off x="1080715" y="2876270"/>
                    <a:ext cx="1939" cy="2613"/>
                  </a:xfrm>
                  <a:custGeom>
                    <a:avLst/>
                    <a:gdLst>
                      <a:gd name="connsiteX0" fmla="*/ 785 w 1939"/>
                      <a:gd name="connsiteY0" fmla="*/ 78 h 2613"/>
                      <a:gd name="connsiteX1" fmla="*/ 1915 w 1939"/>
                      <a:gd name="connsiteY1" fmla="*/ 1710 h 2613"/>
                      <a:gd name="connsiteX2" fmla="*/ 1162 w 1939"/>
                      <a:gd name="connsiteY2" fmla="*/ 2589 h 2613"/>
                      <a:gd name="connsiteX3" fmla="*/ 31 w 1939"/>
                      <a:gd name="connsiteY3" fmla="*/ 957 h 2613"/>
                      <a:gd name="connsiteX4" fmla="*/ 785 w 1939"/>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 h="2613">
                        <a:moveTo>
                          <a:pt x="785" y="78"/>
                        </a:moveTo>
                        <a:cubicBezTo>
                          <a:pt x="1287" y="329"/>
                          <a:pt x="1790" y="957"/>
                          <a:pt x="1915" y="1710"/>
                        </a:cubicBezTo>
                        <a:cubicBezTo>
                          <a:pt x="2041" y="2338"/>
                          <a:pt x="1664" y="2715"/>
                          <a:pt x="1162" y="2589"/>
                        </a:cubicBezTo>
                        <a:cubicBezTo>
                          <a:pt x="659" y="2338"/>
                          <a:pt x="157" y="1710"/>
                          <a:pt x="31" y="957"/>
                        </a:cubicBezTo>
                        <a:cubicBezTo>
                          <a:pt x="-94" y="203"/>
                          <a:pt x="157" y="-174"/>
                          <a:pt x="785"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1F9A99CB-D58D-4225-A37A-79A3E5379A78}"/>
                      </a:ext>
                    </a:extLst>
                  </p:cNvPr>
                  <p:cNvSpPr/>
                  <p:nvPr/>
                </p:nvSpPr>
                <p:spPr>
                  <a:xfrm>
                    <a:off x="1085746" y="2879177"/>
                    <a:ext cx="1932" cy="2629"/>
                  </a:xfrm>
                  <a:custGeom>
                    <a:avLst/>
                    <a:gdLst>
                      <a:gd name="connsiteX0" fmla="*/ 24 w 1932"/>
                      <a:gd name="connsiteY0" fmla="*/ 561 h 2629"/>
                      <a:gd name="connsiteX1" fmla="*/ 1155 w 1932"/>
                      <a:gd name="connsiteY1" fmla="*/ 310 h 2629"/>
                      <a:gd name="connsiteX2" fmla="*/ 1908 w 1932"/>
                      <a:gd name="connsiteY2" fmla="*/ 2068 h 2629"/>
                      <a:gd name="connsiteX3" fmla="*/ 778 w 1932"/>
                      <a:gd name="connsiteY3" fmla="*/ 2320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8" y="2068"/>
                        </a:cubicBezTo>
                        <a:cubicBezTo>
                          <a:pt x="1783" y="2696"/>
                          <a:pt x="1280" y="2822"/>
                          <a:pt x="778" y="2320"/>
                        </a:cubicBezTo>
                        <a:cubicBezTo>
                          <a:pt x="275" y="1943"/>
                          <a:pt x="-101" y="1063"/>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6A601F6D-391C-493E-AB5F-6634B176CE10}"/>
                      </a:ext>
                    </a:extLst>
                  </p:cNvPr>
                  <p:cNvSpPr/>
                  <p:nvPr/>
                </p:nvSpPr>
                <p:spPr>
                  <a:xfrm>
                    <a:off x="1087403" y="2874495"/>
                    <a:ext cx="1883" cy="2485"/>
                  </a:xfrm>
                  <a:custGeom>
                    <a:avLst/>
                    <a:gdLst>
                      <a:gd name="connsiteX0" fmla="*/ 502 w 1883"/>
                      <a:gd name="connsiteY0" fmla="*/ 1977 h 2485"/>
                      <a:gd name="connsiteX1" fmla="*/ 126 w 1883"/>
                      <a:gd name="connsiteY1" fmla="*/ 219 h 2485"/>
                      <a:gd name="connsiteX2" fmla="*/ 1382 w 1883"/>
                      <a:gd name="connsiteY2" fmla="*/ 470 h 2485"/>
                      <a:gd name="connsiteX3" fmla="*/ 1758 w 1883"/>
                      <a:gd name="connsiteY3" fmla="*/ 2229 h 2485"/>
                      <a:gd name="connsiteX4" fmla="*/ 502 w 1883"/>
                      <a:gd name="connsiteY4" fmla="*/ 1977 h 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85">
                        <a:moveTo>
                          <a:pt x="502" y="1977"/>
                        </a:moveTo>
                        <a:cubicBezTo>
                          <a:pt x="0" y="1475"/>
                          <a:pt x="-126" y="596"/>
                          <a:pt x="126" y="219"/>
                        </a:cubicBezTo>
                        <a:cubicBezTo>
                          <a:pt x="377" y="-158"/>
                          <a:pt x="1005" y="-32"/>
                          <a:pt x="1382" y="470"/>
                        </a:cubicBezTo>
                        <a:cubicBezTo>
                          <a:pt x="1884" y="973"/>
                          <a:pt x="2010" y="1852"/>
                          <a:pt x="1758" y="2229"/>
                        </a:cubicBezTo>
                        <a:cubicBezTo>
                          <a:pt x="1507" y="2605"/>
                          <a:pt x="1005" y="2605"/>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F5FB00BB-5BAB-4FE7-84D7-7D83E2144C2C}"/>
                      </a:ext>
                    </a:extLst>
                  </p:cNvPr>
                  <p:cNvSpPr/>
                  <p:nvPr/>
                </p:nvSpPr>
                <p:spPr>
                  <a:xfrm>
                    <a:off x="1079192" y="2869691"/>
                    <a:ext cx="1780" cy="2511"/>
                  </a:xfrm>
                  <a:custGeom>
                    <a:avLst/>
                    <a:gdLst>
                      <a:gd name="connsiteX0" fmla="*/ 1680 w 1780"/>
                      <a:gd name="connsiteY0" fmla="*/ 1256 h 2511"/>
                      <a:gd name="connsiteX1" fmla="*/ 1303 w 1780"/>
                      <a:gd name="connsiteY1" fmla="*/ 2512 h 2511"/>
                      <a:gd name="connsiteX2" fmla="*/ 47 w 1780"/>
                      <a:gd name="connsiteY2" fmla="*/ 1256 h 2511"/>
                      <a:gd name="connsiteX3" fmla="*/ 424 w 1780"/>
                      <a:gd name="connsiteY3" fmla="*/ 0 h 2511"/>
                      <a:gd name="connsiteX4" fmla="*/ 1680 w 1780"/>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0" h="2511">
                        <a:moveTo>
                          <a:pt x="1680" y="1256"/>
                        </a:moveTo>
                        <a:cubicBezTo>
                          <a:pt x="1931" y="2010"/>
                          <a:pt x="1680" y="2512"/>
                          <a:pt x="1303" y="2512"/>
                        </a:cubicBezTo>
                        <a:cubicBezTo>
                          <a:pt x="801" y="2512"/>
                          <a:pt x="173" y="2010"/>
                          <a:pt x="47" y="1256"/>
                        </a:cubicBezTo>
                        <a:cubicBezTo>
                          <a:pt x="-79" y="502"/>
                          <a:pt x="47" y="0"/>
                          <a:pt x="424" y="0"/>
                        </a:cubicBezTo>
                        <a:cubicBezTo>
                          <a:pt x="926" y="0"/>
                          <a:pt x="1429" y="502"/>
                          <a:pt x="1680"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153" name="Freeform: Shape 152">
              <a:extLst>
                <a:ext uri="{FF2B5EF4-FFF2-40B4-BE49-F238E27FC236}">
                  <a16:creationId xmlns:a16="http://schemas.microsoft.com/office/drawing/2014/main" id="{86ADABE6-6C0D-4315-902A-0ACF3255CDF6}"/>
                </a:ext>
              </a:extLst>
            </p:cNvPr>
            <p:cNvSpPr/>
            <p:nvPr/>
          </p:nvSpPr>
          <p:spPr>
            <a:xfrm>
              <a:off x="1020963" y="2794459"/>
              <a:ext cx="111151" cy="106975"/>
            </a:xfrm>
            <a:custGeom>
              <a:avLst/>
              <a:gdLst>
                <a:gd name="connsiteX0" fmla="*/ 111026 w 111151"/>
                <a:gd name="connsiteY0" fmla="*/ 56392 h 106975"/>
                <a:gd name="connsiteX1" fmla="*/ 97587 w 111151"/>
                <a:gd name="connsiteY1" fmla="*/ 56392 h 106975"/>
                <a:gd name="connsiteX2" fmla="*/ 0 w 111151"/>
                <a:gd name="connsiteY2" fmla="*/ 0 h 106975"/>
                <a:gd name="connsiteX3" fmla="*/ 0 w 111151"/>
                <a:gd name="connsiteY3" fmla="*/ 48982 h 106975"/>
                <a:gd name="connsiteX4" fmla="*/ 38055 w 111151"/>
                <a:gd name="connsiteY4" fmla="*/ 70961 h 106975"/>
                <a:gd name="connsiteX5" fmla="*/ 38055 w 111151"/>
                <a:gd name="connsiteY5" fmla="*/ 63049 h 106975"/>
                <a:gd name="connsiteX6" fmla="*/ 40693 w 111151"/>
                <a:gd name="connsiteY6" fmla="*/ 52875 h 106975"/>
                <a:gd name="connsiteX7" fmla="*/ 46847 w 111151"/>
                <a:gd name="connsiteY7" fmla="*/ 43707 h 106975"/>
                <a:gd name="connsiteX8" fmla="*/ 46847 w 111151"/>
                <a:gd name="connsiteY8" fmla="*/ 41572 h 106975"/>
                <a:gd name="connsiteX9" fmla="*/ 80632 w 111151"/>
                <a:gd name="connsiteY9" fmla="*/ 61039 h 106975"/>
                <a:gd name="connsiteX10" fmla="*/ 86158 w 111151"/>
                <a:gd name="connsiteY10" fmla="*/ 72091 h 106975"/>
                <a:gd name="connsiteX11" fmla="*/ 90931 w 111151"/>
                <a:gd name="connsiteY11" fmla="*/ 90428 h 106975"/>
                <a:gd name="connsiteX12" fmla="*/ 90931 w 111151"/>
                <a:gd name="connsiteY12" fmla="*/ 101606 h 106975"/>
                <a:gd name="connsiteX13" fmla="*/ 97587 w 111151"/>
                <a:gd name="connsiteY13" fmla="*/ 105374 h 106975"/>
                <a:gd name="connsiteX14" fmla="*/ 111026 w 111151"/>
                <a:gd name="connsiteY14" fmla="*/ 105374 h 106975"/>
                <a:gd name="connsiteX15" fmla="*/ 111151 w 111151"/>
                <a:gd name="connsiteY15" fmla="*/ 105374 h 106975"/>
                <a:gd name="connsiteX16" fmla="*/ 111026 w 111151"/>
                <a:gd name="connsiteY16" fmla="*/ 56392 h 106975"/>
                <a:gd name="connsiteX17" fmla="*/ 111026 w 111151"/>
                <a:gd name="connsiteY17" fmla="*/ 56392 h 106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1151" h="106975">
                  <a:moveTo>
                    <a:pt x="111026" y="56392"/>
                  </a:moveTo>
                  <a:cubicBezTo>
                    <a:pt x="107384" y="58527"/>
                    <a:pt x="101355" y="58527"/>
                    <a:pt x="97587" y="56392"/>
                  </a:cubicBezTo>
                  <a:lnTo>
                    <a:pt x="0" y="0"/>
                  </a:lnTo>
                  <a:lnTo>
                    <a:pt x="0" y="48982"/>
                  </a:lnTo>
                  <a:lnTo>
                    <a:pt x="38055" y="70961"/>
                  </a:lnTo>
                  <a:lnTo>
                    <a:pt x="38055" y="63049"/>
                  </a:lnTo>
                  <a:cubicBezTo>
                    <a:pt x="38055" y="58904"/>
                    <a:pt x="38934" y="55387"/>
                    <a:pt x="40693" y="52875"/>
                  </a:cubicBezTo>
                  <a:lnTo>
                    <a:pt x="46847" y="43707"/>
                  </a:lnTo>
                  <a:lnTo>
                    <a:pt x="46847" y="41572"/>
                  </a:lnTo>
                  <a:lnTo>
                    <a:pt x="80632" y="61039"/>
                  </a:lnTo>
                  <a:lnTo>
                    <a:pt x="86158" y="72091"/>
                  </a:lnTo>
                  <a:cubicBezTo>
                    <a:pt x="89298" y="78246"/>
                    <a:pt x="90931" y="84776"/>
                    <a:pt x="90931" y="90428"/>
                  </a:cubicBezTo>
                  <a:lnTo>
                    <a:pt x="90931" y="101606"/>
                  </a:lnTo>
                  <a:lnTo>
                    <a:pt x="97587" y="105374"/>
                  </a:lnTo>
                  <a:cubicBezTo>
                    <a:pt x="101229" y="107509"/>
                    <a:pt x="107258" y="107509"/>
                    <a:pt x="111026" y="105374"/>
                  </a:cubicBezTo>
                  <a:lnTo>
                    <a:pt x="111151" y="105374"/>
                  </a:lnTo>
                  <a:lnTo>
                    <a:pt x="111026" y="56392"/>
                  </a:lnTo>
                  <a:lnTo>
                    <a:pt x="111026" y="56392"/>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4" name="Graphic 4">
              <a:extLst>
                <a:ext uri="{FF2B5EF4-FFF2-40B4-BE49-F238E27FC236}">
                  <a16:creationId xmlns:a16="http://schemas.microsoft.com/office/drawing/2014/main" id="{84FB7ED1-A2DF-40A1-A747-5F7CF3F14040}"/>
                </a:ext>
              </a:extLst>
            </p:cNvPr>
            <p:cNvGrpSpPr/>
            <p:nvPr/>
          </p:nvGrpSpPr>
          <p:grpSpPr>
            <a:xfrm>
              <a:off x="1036914" y="2800990"/>
              <a:ext cx="31398" cy="60034"/>
              <a:chOff x="1036914" y="2800990"/>
              <a:chExt cx="31398" cy="60034"/>
            </a:xfrm>
            <a:solidFill>
              <a:schemeClr val="accent1"/>
            </a:solidFill>
          </p:grpSpPr>
          <p:sp>
            <p:nvSpPr>
              <p:cNvPr id="155" name="Freeform: Shape 154">
                <a:extLst>
                  <a:ext uri="{FF2B5EF4-FFF2-40B4-BE49-F238E27FC236}">
                    <a16:creationId xmlns:a16="http://schemas.microsoft.com/office/drawing/2014/main" id="{B3C54302-456E-458E-84B4-E8FAF697EB76}"/>
                  </a:ext>
                </a:extLst>
              </p:cNvPr>
              <p:cNvSpPr/>
              <p:nvPr/>
            </p:nvSpPr>
            <p:spPr>
              <a:xfrm>
                <a:off x="1042565" y="2800990"/>
                <a:ext cx="25746" cy="54131"/>
              </a:xfrm>
              <a:custGeom>
                <a:avLst/>
                <a:gdLst>
                  <a:gd name="connsiteX0" fmla="*/ 20598 w 25746"/>
                  <a:gd name="connsiteY0" fmla="*/ 17834 h 54131"/>
                  <a:gd name="connsiteX1" fmla="*/ 25747 w 25746"/>
                  <a:gd name="connsiteY1" fmla="*/ 14820 h 54131"/>
                  <a:gd name="connsiteX2" fmla="*/ 0 w 25746"/>
                  <a:gd name="connsiteY2" fmla="*/ 0 h 54131"/>
                  <a:gd name="connsiteX3" fmla="*/ 0 w 25746"/>
                  <a:gd name="connsiteY3" fmla="*/ 46219 h 54131"/>
                  <a:gd name="connsiteX4" fmla="*/ 13815 w 25746"/>
                  <a:gd name="connsiteY4" fmla="*/ 54131 h 54131"/>
                  <a:gd name="connsiteX5" fmla="*/ 13815 w 25746"/>
                  <a:gd name="connsiteY5" fmla="*/ 28259 h 54131"/>
                  <a:gd name="connsiteX6" fmla="*/ 20598 w 25746"/>
                  <a:gd name="connsiteY6" fmla="*/ 32152 h 5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46" h="54131">
                    <a:moveTo>
                      <a:pt x="20598" y="17834"/>
                    </a:moveTo>
                    <a:lnTo>
                      <a:pt x="25747" y="14820"/>
                    </a:lnTo>
                    <a:lnTo>
                      <a:pt x="0" y="0"/>
                    </a:lnTo>
                    <a:lnTo>
                      <a:pt x="0" y="46219"/>
                    </a:lnTo>
                    <a:lnTo>
                      <a:pt x="13815" y="54131"/>
                    </a:lnTo>
                    <a:lnTo>
                      <a:pt x="13815" y="28259"/>
                    </a:lnTo>
                    <a:lnTo>
                      <a:pt x="20598" y="32152"/>
                    </a:lnTo>
                    <a:close/>
                  </a:path>
                </a:pathLst>
              </a:custGeom>
              <a:solidFill>
                <a:srgbClr val="1A1A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D29F501A-20E6-443B-BC70-3AB6A731D384}"/>
                  </a:ext>
                </a:extLst>
              </p:cNvPr>
              <p:cNvSpPr/>
              <p:nvPr/>
            </p:nvSpPr>
            <p:spPr>
              <a:xfrm>
                <a:off x="1037542" y="2800990"/>
                <a:ext cx="5023" cy="49107"/>
              </a:xfrm>
              <a:custGeom>
                <a:avLst/>
                <a:gdLst>
                  <a:gd name="connsiteX0" fmla="*/ 0 w 5023"/>
                  <a:gd name="connsiteY0" fmla="*/ 2889 h 49107"/>
                  <a:gd name="connsiteX1" fmla="*/ 0 w 5023"/>
                  <a:gd name="connsiteY1" fmla="*/ 49108 h 49107"/>
                  <a:gd name="connsiteX2" fmla="*/ 5024 w 5023"/>
                  <a:gd name="connsiteY2" fmla="*/ 46219 h 49107"/>
                  <a:gd name="connsiteX3" fmla="*/ 5024 w 5023"/>
                  <a:gd name="connsiteY3" fmla="*/ 0 h 49107"/>
                </a:gdLst>
                <a:ahLst/>
                <a:cxnLst>
                  <a:cxn ang="0">
                    <a:pos x="connsiteX0" y="connsiteY0"/>
                  </a:cxn>
                  <a:cxn ang="0">
                    <a:pos x="connsiteX1" y="connsiteY1"/>
                  </a:cxn>
                  <a:cxn ang="0">
                    <a:pos x="connsiteX2" y="connsiteY2"/>
                  </a:cxn>
                  <a:cxn ang="0">
                    <a:pos x="connsiteX3" y="connsiteY3"/>
                  </a:cxn>
                </a:cxnLst>
                <a:rect l="l" t="t" r="r" b="b"/>
                <a:pathLst>
                  <a:path w="5023" h="49107">
                    <a:moveTo>
                      <a:pt x="0" y="2889"/>
                    </a:moveTo>
                    <a:lnTo>
                      <a:pt x="0" y="49108"/>
                    </a:lnTo>
                    <a:lnTo>
                      <a:pt x="5024" y="46219"/>
                    </a:lnTo>
                    <a:lnTo>
                      <a:pt x="5024" y="0"/>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4AC7CC0A-1A84-449C-8525-668C37E6C650}"/>
                  </a:ext>
                </a:extLst>
              </p:cNvPr>
              <p:cNvSpPr/>
              <p:nvPr/>
            </p:nvSpPr>
            <p:spPr>
              <a:xfrm>
                <a:off x="1036914" y="2834273"/>
                <a:ext cx="19592" cy="13815"/>
              </a:xfrm>
              <a:custGeom>
                <a:avLst/>
                <a:gdLst>
                  <a:gd name="connsiteX0" fmla="*/ 19593 w 19592"/>
                  <a:gd name="connsiteY0" fmla="*/ 13816 h 13815"/>
                  <a:gd name="connsiteX1" fmla="*/ 0 w 19592"/>
                  <a:gd name="connsiteY1" fmla="*/ 2386 h 13815"/>
                  <a:gd name="connsiteX2" fmla="*/ 628 w 19592"/>
                  <a:gd name="connsiteY2" fmla="*/ 0 h 13815"/>
                  <a:gd name="connsiteX3" fmla="*/ 19467 w 19592"/>
                  <a:gd name="connsiteY3" fmla="*/ 10801 h 13815"/>
                </a:gdLst>
                <a:ahLst/>
                <a:cxnLst>
                  <a:cxn ang="0">
                    <a:pos x="connsiteX0" y="connsiteY0"/>
                  </a:cxn>
                  <a:cxn ang="0">
                    <a:pos x="connsiteX1" y="connsiteY1"/>
                  </a:cxn>
                  <a:cxn ang="0">
                    <a:pos x="connsiteX2" y="connsiteY2"/>
                  </a:cxn>
                  <a:cxn ang="0">
                    <a:pos x="connsiteX3" y="connsiteY3"/>
                  </a:cxn>
                </a:cxnLst>
                <a:rect l="l" t="t" r="r" b="b"/>
                <a:pathLst>
                  <a:path w="19592" h="13815">
                    <a:moveTo>
                      <a:pt x="19593" y="13816"/>
                    </a:moveTo>
                    <a:lnTo>
                      <a:pt x="0" y="2386"/>
                    </a:lnTo>
                    <a:lnTo>
                      <a:pt x="628" y="0"/>
                    </a:lnTo>
                    <a:lnTo>
                      <a:pt x="19467" y="10801"/>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344611AE-6107-4E50-A158-D6A7F8BCE2F4}"/>
                  </a:ext>
                </a:extLst>
              </p:cNvPr>
              <p:cNvSpPr/>
              <p:nvPr/>
            </p:nvSpPr>
            <p:spPr>
              <a:xfrm>
                <a:off x="1037165" y="2818322"/>
                <a:ext cx="19592" cy="13941"/>
              </a:xfrm>
              <a:custGeom>
                <a:avLst/>
                <a:gdLst>
                  <a:gd name="connsiteX0" fmla="*/ 19593 w 19592"/>
                  <a:gd name="connsiteY0" fmla="*/ 13941 h 13941"/>
                  <a:gd name="connsiteX1" fmla="*/ 0 w 19592"/>
                  <a:gd name="connsiteY1" fmla="*/ 2637 h 13941"/>
                  <a:gd name="connsiteX2" fmla="*/ 377 w 19592"/>
                  <a:gd name="connsiteY2" fmla="*/ 0 h 13941"/>
                  <a:gd name="connsiteX3" fmla="*/ 19216 w 19592"/>
                  <a:gd name="connsiteY3" fmla="*/ 10927 h 13941"/>
                </a:gdLst>
                <a:ahLst/>
                <a:cxnLst>
                  <a:cxn ang="0">
                    <a:pos x="connsiteX0" y="connsiteY0"/>
                  </a:cxn>
                  <a:cxn ang="0">
                    <a:pos x="connsiteX1" y="connsiteY1"/>
                  </a:cxn>
                  <a:cxn ang="0">
                    <a:pos x="connsiteX2" y="connsiteY2"/>
                  </a:cxn>
                  <a:cxn ang="0">
                    <a:pos x="connsiteX3" y="connsiteY3"/>
                  </a:cxn>
                </a:cxnLst>
                <a:rect l="l" t="t" r="r" b="b"/>
                <a:pathLst>
                  <a:path w="19592" h="13941">
                    <a:moveTo>
                      <a:pt x="19593" y="13941"/>
                    </a:moveTo>
                    <a:lnTo>
                      <a:pt x="0" y="2637"/>
                    </a:lnTo>
                    <a:lnTo>
                      <a:pt x="377" y="0"/>
                    </a:lnTo>
                    <a:lnTo>
                      <a:pt x="19216" y="10927"/>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2DD8CB79-2AA3-42F1-BD9A-477E000B1C9F}"/>
                  </a:ext>
                </a:extLst>
              </p:cNvPr>
              <p:cNvSpPr/>
              <p:nvPr/>
            </p:nvSpPr>
            <p:spPr>
              <a:xfrm>
                <a:off x="1037542" y="2847209"/>
                <a:ext cx="18839" cy="13815"/>
              </a:xfrm>
              <a:custGeom>
                <a:avLst/>
                <a:gdLst>
                  <a:gd name="connsiteX0" fmla="*/ 5024 w 18839"/>
                  <a:gd name="connsiteY0" fmla="*/ 0 h 13815"/>
                  <a:gd name="connsiteX1" fmla="*/ 0 w 18839"/>
                  <a:gd name="connsiteY1" fmla="*/ 2889 h 13815"/>
                  <a:gd name="connsiteX2" fmla="*/ 18839 w 18839"/>
                  <a:gd name="connsiteY2" fmla="*/ 13816 h 13815"/>
                  <a:gd name="connsiteX3" fmla="*/ 18839 w 18839"/>
                  <a:gd name="connsiteY3" fmla="*/ 7913 h 13815"/>
                </a:gdLst>
                <a:ahLst/>
                <a:cxnLst>
                  <a:cxn ang="0">
                    <a:pos x="connsiteX0" y="connsiteY0"/>
                  </a:cxn>
                  <a:cxn ang="0">
                    <a:pos x="connsiteX1" y="connsiteY1"/>
                  </a:cxn>
                  <a:cxn ang="0">
                    <a:pos x="connsiteX2" y="connsiteY2"/>
                  </a:cxn>
                  <a:cxn ang="0">
                    <a:pos x="connsiteX3" y="connsiteY3"/>
                  </a:cxn>
                </a:cxnLst>
                <a:rect l="l" t="t" r="r" b="b"/>
                <a:pathLst>
                  <a:path w="18839" h="13815">
                    <a:moveTo>
                      <a:pt x="5024" y="0"/>
                    </a:moveTo>
                    <a:lnTo>
                      <a:pt x="0" y="2889"/>
                    </a:lnTo>
                    <a:lnTo>
                      <a:pt x="18839" y="13816"/>
                    </a:lnTo>
                    <a:lnTo>
                      <a:pt x="18839" y="7913"/>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2212296D-B3C6-4478-BA19-386AF3F17D5E}"/>
                  </a:ext>
                </a:extLst>
              </p:cNvPr>
              <p:cNvSpPr/>
              <p:nvPr/>
            </p:nvSpPr>
            <p:spPr>
              <a:xfrm>
                <a:off x="1037542" y="2831259"/>
                <a:ext cx="18839" cy="13815"/>
              </a:xfrm>
              <a:custGeom>
                <a:avLst/>
                <a:gdLst>
                  <a:gd name="connsiteX0" fmla="*/ 5024 w 18839"/>
                  <a:gd name="connsiteY0" fmla="*/ 0 h 13815"/>
                  <a:gd name="connsiteX1" fmla="*/ 0 w 18839"/>
                  <a:gd name="connsiteY1" fmla="*/ 3014 h 13815"/>
                  <a:gd name="connsiteX2" fmla="*/ 18839 w 18839"/>
                  <a:gd name="connsiteY2" fmla="*/ 13815 h 13815"/>
                  <a:gd name="connsiteX3" fmla="*/ 18839 w 18839"/>
                  <a:gd name="connsiteY3" fmla="*/ 8038 h 13815"/>
                </a:gdLst>
                <a:ahLst/>
                <a:cxnLst>
                  <a:cxn ang="0">
                    <a:pos x="connsiteX0" y="connsiteY0"/>
                  </a:cxn>
                  <a:cxn ang="0">
                    <a:pos x="connsiteX1" y="connsiteY1"/>
                  </a:cxn>
                  <a:cxn ang="0">
                    <a:pos x="connsiteX2" y="connsiteY2"/>
                  </a:cxn>
                  <a:cxn ang="0">
                    <a:pos x="connsiteX3" y="connsiteY3"/>
                  </a:cxn>
                </a:cxnLst>
                <a:rect l="l" t="t" r="r" b="b"/>
                <a:pathLst>
                  <a:path w="18839" h="13815">
                    <a:moveTo>
                      <a:pt x="5024" y="0"/>
                    </a:moveTo>
                    <a:lnTo>
                      <a:pt x="0" y="3014"/>
                    </a:lnTo>
                    <a:lnTo>
                      <a:pt x="18839" y="13815"/>
                    </a:lnTo>
                    <a:lnTo>
                      <a:pt x="18839" y="8038"/>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E9B596B3-3E23-49CE-8082-DCB4CB7D5C56}"/>
                  </a:ext>
                </a:extLst>
              </p:cNvPr>
              <p:cNvSpPr/>
              <p:nvPr/>
            </p:nvSpPr>
            <p:spPr>
              <a:xfrm>
                <a:off x="1037542" y="2815434"/>
                <a:ext cx="25621" cy="17708"/>
              </a:xfrm>
              <a:custGeom>
                <a:avLst/>
                <a:gdLst>
                  <a:gd name="connsiteX0" fmla="*/ 5024 w 25621"/>
                  <a:gd name="connsiteY0" fmla="*/ 0 h 17708"/>
                  <a:gd name="connsiteX1" fmla="*/ 0 w 25621"/>
                  <a:gd name="connsiteY1" fmla="*/ 2889 h 17708"/>
                  <a:gd name="connsiteX2" fmla="*/ 25621 w 25621"/>
                  <a:gd name="connsiteY2" fmla="*/ 17709 h 17708"/>
                  <a:gd name="connsiteX3" fmla="*/ 25621 w 25621"/>
                  <a:gd name="connsiteY3" fmla="*/ 11932 h 17708"/>
                </a:gdLst>
                <a:ahLst/>
                <a:cxnLst>
                  <a:cxn ang="0">
                    <a:pos x="connsiteX0" y="connsiteY0"/>
                  </a:cxn>
                  <a:cxn ang="0">
                    <a:pos x="connsiteX1" y="connsiteY1"/>
                  </a:cxn>
                  <a:cxn ang="0">
                    <a:pos x="connsiteX2" y="connsiteY2"/>
                  </a:cxn>
                  <a:cxn ang="0">
                    <a:pos x="connsiteX3" y="connsiteY3"/>
                  </a:cxn>
                </a:cxnLst>
                <a:rect l="l" t="t" r="r" b="b"/>
                <a:pathLst>
                  <a:path w="25621" h="17708">
                    <a:moveTo>
                      <a:pt x="5024" y="0"/>
                    </a:moveTo>
                    <a:lnTo>
                      <a:pt x="0" y="2889"/>
                    </a:lnTo>
                    <a:lnTo>
                      <a:pt x="25621" y="17709"/>
                    </a:lnTo>
                    <a:lnTo>
                      <a:pt x="25621" y="11932"/>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2" name="Freeform: Shape 161">
              <a:extLst>
                <a:ext uri="{FF2B5EF4-FFF2-40B4-BE49-F238E27FC236}">
                  <a16:creationId xmlns:a16="http://schemas.microsoft.com/office/drawing/2014/main" id="{90017E6C-5A00-4542-A553-59DD39D39F67}"/>
                </a:ext>
              </a:extLst>
            </p:cNvPr>
            <p:cNvSpPr/>
            <p:nvPr/>
          </p:nvSpPr>
          <p:spPr>
            <a:xfrm>
              <a:off x="1123449" y="2854619"/>
              <a:ext cx="7410" cy="22732"/>
            </a:xfrm>
            <a:custGeom>
              <a:avLst/>
              <a:gdLst>
                <a:gd name="connsiteX0" fmla="*/ 0 w 7410"/>
                <a:gd name="connsiteY0" fmla="*/ 1005 h 22732"/>
                <a:gd name="connsiteX1" fmla="*/ 0 w 7410"/>
                <a:gd name="connsiteY1" fmla="*/ 16327 h 22732"/>
                <a:gd name="connsiteX2" fmla="*/ 7410 w 7410"/>
                <a:gd name="connsiteY2" fmla="*/ 22733 h 22732"/>
                <a:gd name="connsiteX3" fmla="*/ 7410 w 7410"/>
                <a:gd name="connsiteY3" fmla="*/ 0 h 22732"/>
                <a:gd name="connsiteX4" fmla="*/ 0 w 7410"/>
                <a:gd name="connsiteY4" fmla="*/ 1005 h 22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 h="22732">
                  <a:moveTo>
                    <a:pt x="0" y="1005"/>
                  </a:moveTo>
                  <a:lnTo>
                    <a:pt x="0" y="16327"/>
                  </a:lnTo>
                  <a:cubicBezTo>
                    <a:pt x="0" y="22858"/>
                    <a:pt x="7410" y="22733"/>
                    <a:pt x="7410" y="22733"/>
                  </a:cubicBezTo>
                  <a:lnTo>
                    <a:pt x="7410" y="0"/>
                  </a:lnTo>
                  <a:cubicBezTo>
                    <a:pt x="5149" y="1005"/>
                    <a:pt x="2512" y="1256"/>
                    <a:pt x="0" y="1005"/>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8239124B-0509-469F-A991-9AB97B9991B0}"/>
                </a:ext>
              </a:extLst>
            </p:cNvPr>
            <p:cNvSpPr/>
            <p:nvPr/>
          </p:nvSpPr>
          <p:spPr>
            <a:xfrm>
              <a:off x="1101093" y="2840678"/>
              <a:ext cx="628" cy="14820"/>
            </a:xfrm>
            <a:custGeom>
              <a:avLst/>
              <a:gdLst>
                <a:gd name="connsiteX0" fmla="*/ 628 w 628"/>
                <a:gd name="connsiteY0" fmla="*/ 14820 h 14820"/>
                <a:gd name="connsiteX1" fmla="*/ 0 w 628"/>
                <a:gd name="connsiteY1" fmla="*/ 14443 h 14820"/>
                <a:gd name="connsiteX2" fmla="*/ 0 w 628"/>
                <a:gd name="connsiteY2" fmla="*/ 0 h 14820"/>
                <a:gd name="connsiteX3" fmla="*/ 628 w 628"/>
                <a:gd name="connsiteY3" fmla="*/ 377 h 14820"/>
              </a:gdLst>
              <a:ahLst/>
              <a:cxnLst>
                <a:cxn ang="0">
                  <a:pos x="connsiteX0" y="connsiteY0"/>
                </a:cxn>
                <a:cxn ang="0">
                  <a:pos x="connsiteX1" y="connsiteY1"/>
                </a:cxn>
                <a:cxn ang="0">
                  <a:pos x="connsiteX2" y="connsiteY2"/>
                </a:cxn>
                <a:cxn ang="0">
                  <a:pos x="connsiteX3" y="connsiteY3"/>
                </a:cxn>
              </a:cxnLst>
              <a:rect l="l" t="t" r="r" b="b"/>
              <a:pathLst>
                <a:path w="628" h="14820">
                  <a:moveTo>
                    <a:pt x="628" y="14820"/>
                  </a:moveTo>
                  <a:lnTo>
                    <a:pt x="0" y="14443"/>
                  </a:lnTo>
                  <a:lnTo>
                    <a:pt x="0" y="0"/>
                  </a:lnTo>
                  <a:lnTo>
                    <a:pt x="628"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2456AC12-5DED-453B-89B9-4030950A41E5}"/>
                </a:ext>
              </a:extLst>
            </p:cNvPr>
            <p:cNvSpPr/>
            <p:nvPr/>
          </p:nvSpPr>
          <p:spPr>
            <a:xfrm>
              <a:off x="1067936" y="2821462"/>
              <a:ext cx="628" cy="14820"/>
            </a:xfrm>
            <a:custGeom>
              <a:avLst/>
              <a:gdLst>
                <a:gd name="connsiteX0" fmla="*/ 628 w 628"/>
                <a:gd name="connsiteY0" fmla="*/ 14820 h 14820"/>
                <a:gd name="connsiteX1" fmla="*/ 0 w 628"/>
                <a:gd name="connsiteY1" fmla="*/ 14569 h 14820"/>
                <a:gd name="connsiteX2" fmla="*/ 0 w 628"/>
                <a:gd name="connsiteY2" fmla="*/ 0 h 14820"/>
                <a:gd name="connsiteX3" fmla="*/ 628 w 628"/>
                <a:gd name="connsiteY3" fmla="*/ 377 h 14820"/>
              </a:gdLst>
              <a:ahLst/>
              <a:cxnLst>
                <a:cxn ang="0">
                  <a:pos x="connsiteX0" y="connsiteY0"/>
                </a:cxn>
                <a:cxn ang="0">
                  <a:pos x="connsiteX1" y="connsiteY1"/>
                </a:cxn>
                <a:cxn ang="0">
                  <a:pos x="connsiteX2" y="connsiteY2"/>
                </a:cxn>
                <a:cxn ang="0">
                  <a:pos x="connsiteX3" y="connsiteY3"/>
                </a:cxn>
              </a:cxnLst>
              <a:rect l="l" t="t" r="r" b="b"/>
              <a:pathLst>
                <a:path w="628" h="14820">
                  <a:moveTo>
                    <a:pt x="628" y="14820"/>
                  </a:moveTo>
                  <a:lnTo>
                    <a:pt x="0" y="14569"/>
                  </a:lnTo>
                  <a:lnTo>
                    <a:pt x="0" y="0"/>
                  </a:lnTo>
                  <a:lnTo>
                    <a:pt x="628"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554C3A5E-4268-47E6-BB06-F2676C16C341}"/>
                </a:ext>
              </a:extLst>
            </p:cNvPr>
            <p:cNvSpPr/>
            <p:nvPr/>
          </p:nvSpPr>
          <p:spPr>
            <a:xfrm>
              <a:off x="1214505" y="2772983"/>
              <a:ext cx="12559" cy="251"/>
            </a:xfrm>
            <a:custGeom>
              <a:avLst/>
              <a:gdLst>
                <a:gd name="connsiteX0" fmla="*/ 0 w 12559"/>
                <a:gd name="connsiteY0" fmla="*/ 0 h 251"/>
                <a:gd name="connsiteX1" fmla="*/ 0 w 12559"/>
                <a:gd name="connsiteY1" fmla="*/ 251 h 251"/>
                <a:gd name="connsiteX2" fmla="*/ 0 w 12559"/>
                <a:gd name="connsiteY2" fmla="*/ 0 h 251"/>
              </a:gdLst>
              <a:ahLst/>
              <a:cxnLst>
                <a:cxn ang="0">
                  <a:pos x="connsiteX0" y="connsiteY0"/>
                </a:cxn>
                <a:cxn ang="0">
                  <a:pos x="connsiteX1" y="connsiteY1"/>
                </a:cxn>
                <a:cxn ang="0">
                  <a:pos x="connsiteX2" y="connsiteY2"/>
                </a:cxn>
              </a:cxnLst>
              <a:rect l="l" t="t" r="r" b="b"/>
              <a:pathLst>
                <a:path w="12559" h="251">
                  <a:moveTo>
                    <a:pt x="0" y="0"/>
                  </a:moveTo>
                  <a:lnTo>
                    <a:pt x="0" y="251"/>
                  </a:lnTo>
                  <a:cubicBezTo>
                    <a:pt x="0" y="0"/>
                    <a:pt x="0" y="0"/>
                    <a:pt x="0" y="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075BFE00-5812-4751-A727-CDD68F741556}"/>
                </a:ext>
              </a:extLst>
            </p:cNvPr>
            <p:cNvSpPr/>
            <p:nvPr/>
          </p:nvSpPr>
          <p:spPr>
            <a:xfrm>
              <a:off x="1069443" y="2794334"/>
              <a:ext cx="34915" cy="44460"/>
            </a:xfrm>
            <a:custGeom>
              <a:avLst/>
              <a:gdLst>
                <a:gd name="connsiteX0" fmla="*/ 17207 w 34915"/>
                <a:gd name="connsiteY0" fmla="*/ 10048 h 44460"/>
                <a:gd name="connsiteX1" fmla="*/ 34915 w 34915"/>
                <a:gd name="connsiteY1" fmla="*/ 40818 h 44460"/>
                <a:gd name="connsiteX2" fmla="*/ 34915 w 34915"/>
                <a:gd name="connsiteY2" fmla="*/ 44460 h 44460"/>
                <a:gd name="connsiteX3" fmla="*/ 0 w 34915"/>
                <a:gd name="connsiteY3" fmla="*/ 24240 h 44460"/>
                <a:gd name="connsiteX4" fmla="*/ 0 w 34915"/>
                <a:gd name="connsiteY4" fmla="*/ 0 h 44460"/>
                <a:gd name="connsiteX5" fmla="*/ 17207 w 34915"/>
                <a:gd name="connsiteY5" fmla="*/ 10048 h 4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15" h="44460">
                  <a:moveTo>
                    <a:pt x="17207" y="10048"/>
                  </a:moveTo>
                  <a:cubicBezTo>
                    <a:pt x="27003" y="15699"/>
                    <a:pt x="34915" y="29515"/>
                    <a:pt x="34915" y="40818"/>
                  </a:cubicBezTo>
                  <a:lnTo>
                    <a:pt x="34915" y="44460"/>
                  </a:lnTo>
                  <a:lnTo>
                    <a:pt x="0" y="24240"/>
                  </a:lnTo>
                  <a:lnTo>
                    <a:pt x="0" y="0"/>
                  </a:lnTo>
                  <a:lnTo>
                    <a:pt x="17207" y="10048"/>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 name="Freeform: Shape 166">
              <a:extLst>
                <a:ext uri="{FF2B5EF4-FFF2-40B4-BE49-F238E27FC236}">
                  <a16:creationId xmlns:a16="http://schemas.microsoft.com/office/drawing/2014/main" id="{F7D0A2BC-EB66-43D0-BA34-887CB6995202}"/>
                </a:ext>
              </a:extLst>
            </p:cNvPr>
            <p:cNvSpPr/>
            <p:nvPr/>
          </p:nvSpPr>
          <p:spPr>
            <a:xfrm>
              <a:off x="1145302" y="2773736"/>
              <a:ext cx="21476" cy="14443"/>
            </a:xfrm>
            <a:custGeom>
              <a:avLst/>
              <a:gdLst>
                <a:gd name="connsiteX0" fmla="*/ 3014 w 21476"/>
                <a:gd name="connsiteY0" fmla="*/ 10675 h 14443"/>
                <a:gd name="connsiteX1" fmla="*/ 21477 w 21476"/>
                <a:gd name="connsiteY1" fmla="*/ 0 h 14443"/>
                <a:gd name="connsiteX2" fmla="*/ 21477 w 21476"/>
                <a:gd name="connsiteY2" fmla="*/ 0 h 14443"/>
                <a:gd name="connsiteX3" fmla="*/ 20221 w 21476"/>
                <a:gd name="connsiteY3" fmla="*/ 2763 h 14443"/>
                <a:gd name="connsiteX4" fmla="*/ 20221 w 21476"/>
                <a:gd name="connsiteY4" fmla="*/ 2763 h 14443"/>
                <a:gd name="connsiteX5" fmla="*/ 0 w 21476"/>
                <a:gd name="connsiteY5" fmla="*/ 14443 h 14443"/>
                <a:gd name="connsiteX6" fmla="*/ 1256 w 21476"/>
                <a:gd name="connsiteY6" fmla="*/ 10550 h 14443"/>
                <a:gd name="connsiteX7" fmla="*/ 1256 w 21476"/>
                <a:gd name="connsiteY7" fmla="*/ 10550 h 14443"/>
                <a:gd name="connsiteX8" fmla="*/ 3014 w 21476"/>
                <a:gd name="connsiteY8" fmla="*/ 10675 h 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76" h="14443">
                  <a:moveTo>
                    <a:pt x="3014" y="10675"/>
                  </a:moveTo>
                  <a:cubicBezTo>
                    <a:pt x="3014" y="10675"/>
                    <a:pt x="16579" y="2889"/>
                    <a:pt x="21477" y="0"/>
                  </a:cubicBezTo>
                  <a:lnTo>
                    <a:pt x="21477" y="0"/>
                  </a:lnTo>
                  <a:cubicBezTo>
                    <a:pt x="21351" y="1382"/>
                    <a:pt x="20974" y="2386"/>
                    <a:pt x="20221" y="2763"/>
                  </a:cubicBezTo>
                  <a:lnTo>
                    <a:pt x="20221" y="2763"/>
                  </a:lnTo>
                  <a:lnTo>
                    <a:pt x="0" y="14443"/>
                  </a:lnTo>
                  <a:lnTo>
                    <a:pt x="1256" y="10550"/>
                  </a:lnTo>
                  <a:lnTo>
                    <a:pt x="1256" y="10550"/>
                  </a:lnTo>
                  <a:cubicBezTo>
                    <a:pt x="2009" y="10801"/>
                    <a:pt x="2512" y="10927"/>
                    <a:pt x="3014" y="10675"/>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 name="Freeform: Shape 167">
              <a:extLst>
                <a:ext uri="{FF2B5EF4-FFF2-40B4-BE49-F238E27FC236}">
                  <a16:creationId xmlns:a16="http://schemas.microsoft.com/office/drawing/2014/main" id="{9BC829B6-3508-4BA5-94E4-44DF2C9F5869}"/>
                </a:ext>
              </a:extLst>
            </p:cNvPr>
            <p:cNvSpPr/>
            <p:nvPr/>
          </p:nvSpPr>
          <p:spPr>
            <a:xfrm>
              <a:off x="1104735" y="2797097"/>
              <a:ext cx="21476" cy="14443"/>
            </a:xfrm>
            <a:custGeom>
              <a:avLst/>
              <a:gdLst>
                <a:gd name="connsiteX0" fmla="*/ 3014 w 21476"/>
                <a:gd name="connsiteY0" fmla="*/ 10675 h 14443"/>
                <a:gd name="connsiteX1" fmla="*/ 21477 w 21476"/>
                <a:gd name="connsiteY1" fmla="*/ 0 h 14443"/>
                <a:gd name="connsiteX2" fmla="*/ 21477 w 21476"/>
                <a:gd name="connsiteY2" fmla="*/ 0 h 14443"/>
                <a:gd name="connsiteX3" fmla="*/ 20221 w 21476"/>
                <a:gd name="connsiteY3" fmla="*/ 2763 h 14443"/>
                <a:gd name="connsiteX4" fmla="*/ 20221 w 21476"/>
                <a:gd name="connsiteY4" fmla="*/ 2763 h 14443"/>
                <a:gd name="connsiteX5" fmla="*/ 0 w 21476"/>
                <a:gd name="connsiteY5" fmla="*/ 14443 h 14443"/>
                <a:gd name="connsiteX6" fmla="*/ 1256 w 21476"/>
                <a:gd name="connsiteY6" fmla="*/ 10550 h 14443"/>
                <a:gd name="connsiteX7" fmla="*/ 1256 w 21476"/>
                <a:gd name="connsiteY7" fmla="*/ 10550 h 14443"/>
                <a:gd name="connsiteX8" fmla="*/ 3014 w 21476"/>
                <a:gd name="connsiteY8" fmla="*/ 10675 h 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76" h="14443">
                  <a:moveTo>
                    <a:pt x="3014" y="10675"/>
                  </a:moveTo>
                  <a:cubicBezTo>
                    <a:pt x="3014" y="10675"/>
                    <a:pt x="16579" y="2889"/>
                    <a:pt x="21477" y="0"/>
                  </a:cubicBezTo>
                  <a:lnTo>
                    <a:pt x="21477" y="0"/>
                  </a:lnTo>
                  <a:cubicBezTo>
                    <a:pt x="21351" y="1382"/>
                    <a:pt x="20974" y="2386"/>
                    <a:pt x="20221" y="2763"/>
                  </a:cubicBezTo>
                  <a:lnTo>
                    <a:pt x="20221" y="2763"/>
                  </a:lnTo>
                  <a:lnTo>
                    <a:pt x="0" y="14443"/>
                  </a:lnTo>
                  <a:lnTo>
                    <a:pt x="1256" y="10550"/>
                  </a:lnTo>
                  <a:lnTo>
                    <a:pt x="1256" y="10550"/>
                  </a:lnTo>
                  <a:cubicBezTo>
                    <a:pt x="2010" y="10927"/>
                    <a:pt x="2637" y="10927"/>
                    <a:pt x="3014" y="10675"/>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 name="Freeform: Shape 168">
              <a:extLst>
                <a:ext uri="{FF2B5EF4-FFF2-40B4-BE49-F238E27FC236}">
                  <a16:creationId xmlns:a16="http://schemas.microsoft.com/office/drawing/2014/main" id="{611735F1-96B8-4C1F-9669-60EAFFBEDD3F}"/>
                </a:ext>
              </a:extLst>
            </p:cNvPr>
            <p:cNvSpPr/>
            <p:nvPr/>
          </p:nvSpPr>
          <p:spPr>
            <a:xfrm>
              <a:off x="1093557" y="2800362"/>
              <a:ext cx="12559" cy="11177"/>
            </a:xfrm>
            <a:custGeom>
              <a:avLst/>
              <a:gdLst>
                <a:gd name="connsiteX0" fmla="*/ 12559 w 12559"/>
                <a:gd name="connsiteY0" fmla="*/ 7285 h 11177"/>
                <a:gd name="connsiteX1" fmla="*/ 11304 w 12559"/>
                <a:gd name="connsiteY1" fmla="*/ 11178 h 11177"/>
                <a:gd name="connsiteX2" fmla="*/ 11304 w 12559"/>
                <a:gd name="connsiteY2" fmla="*/ 11178 h 11177"/>
                <a:gd name="connsiteX3" fmla="*/ 0 w 12559"/>
                <a:gd name="connsiteY3" fmla="*/ 0 h 11177"/>
                <a:gd name="connsiteX4" fmla="*/ 12559 w 12559"/>
                <a:gd name="connsiteY4" fmla="*/ 7285 h 11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1177">
                  <a:moveTo>
                    <a:pt x="12559" y="7285"/>
                  </a:moveTo>
                  <a:cubicBezTo>
                    <a:pt x="12559" y="9168"/>
                    <a:pt x="12183" y="10676"/>
                    <a:pt x="11304" y="11178"/>
                  </a:cubicBezTo>
                  <a:lnTo>
                    <a:pt x="11304" y="11178"/>
                  </a:lnTo>
                  <a:cubicBezTo>
                    <a:pt x="8289" y="6531"/>
                    <a:pt x="4270" y="2512"/>
                    <a:pt x="0" y="0"/>
                  </a:cubicBezTo>
                  <a:lnTo>
                    <a:pt x="12559" y="7285"/>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 name="Freeform: Shape 169">
              <a:extLst>
                <a:ext uri="{FF2B5EF4-FFF2-40B4-BE49-F238E27FC236}">
                  <a16:creationId xmlns:a16="http://schemas.microsoft.com/office/drawing/2014/main" id="{D0BA00EA-EFE1-4B8E-B23A-E79428799128}"/>
                </a:ext>
              </a:extLst>
            </p:cNvPr>
            <p:cNvSpPr/>
            <p:nvPr/>
          </p:nvSpPr>
          <p:spPr>
            <a:xfrm>
              <a:off x="1170421" y="2765698"/>
              <a:ext cx="8414" cy="7158"/>
            </a:xfrm>
            <a:custGeom>
              <a:avLst/>
              <a:gdLst>
                <a:gd name="connsiteX0" fmla="*/ 6405 w 8414"/>
                <a:gd name="connsiteY0" fmla="*/ 0 h 7158"/>
                <a:gd name="connsiteX1" fmla="*/ 0 w 8414"/>
                <a:gd name="connsiteY1" fmla="*/ 3391 h 7158"/>
                <a:gd name="connsiteX2" fmla="*/ 2135 w 8414"/>
                <a:gd name="connsiteY2" fmla="*/ 7159 h 7158"/>
                <a:gd name="connsiteX3" fmla="*/ 8415 w 8414"/>
                <a:gd name="connsiteY3" fmla="*/ 3642 h 7158"/>
              </a:gdLst>
              <a:ahLst/>
              <a:cxnLst>
                <a:cxn ang="0">
                  <a:pos x="connsiteX0" y="connsiteY0"/>
                </a:cxn>
                <a:cxn ang="0">
                  <a:pos x="connsiteX1" y="connsiteY1"/>
                </a:cxn>
                <a:cxn ang="0">
                  <a:pos x="connsiteX2" y="connsiteY2"/>
                </a:cxn>
                <a:cxn ang="0">
                  <a:pos x="connsiteX3" y="connsiteY3"/>
                </a:cxn>
              </a:cxnLst>
              <a:rect l="l" t="t" r="r" b="b"/>
              <a:pathLst>
                <a:path w="8414" h="7158">
                  <a:moveTo>
                    <a:pt x="6405" y="0"/>
                  </a:moveTo>
                  <a:lnTo>
                    <a:pt x="0" y="3391"/>
                  </a:lnTo>
                  <a:lnTo>
                    <a:pt x="2135" y="7159"/>
                  </a:lnTo>
                  <a:lnTo>
                    <a:pt x="8415" y="364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4990D44F-F6F8-469B-87D8-D9DD0A318E08}"/>
                </a:ext>
              </a:extLst>
            </p:cNvPr>
            <p:cNvSpPr/>
            <p:nvPr/>
          </p:nvSpPr>
          <p:spPr>
            <a:xfrm>
              <a:off x="1115787" y="2759544"/>
              <a:ext cx="93316" cy="57145"/>
            </a:xfrm>
            <a:custGeom>
              <a:avLst/>
              <a:gdLst>
                <a:gd name="connsiteX0" fmla="*/ 3391 w 93316"/>
                <a:gd name="connsiteY0" fmla="*/ 55513 h 57145"/>
                <a:gd name="connsiteX1" fmla="*/ 4898 w 93316"/>
                <a:gd name="connsiteY1" fmla="*/ 56392 h 57145"/>
                <a:gd name="connsiteX2" fmla="*/ 11555 w 93316"/>
                <a:gd name="connsiteY2" fmla="*/ 56392 h 57145"/>
                <a:gd name="connsiteX3" fmla="*/ 91935 w 93316"/>
                <a:gd name="connsiteY3" fmla="*/ 9922 h 57145"/>
                <a:gd name="connsiteX4" fmla="*/ 93317 w 93316"/>
                <a:gd name="connsiteY4" fmla="*/ 8038 h 57145"/>
                <a:gd name="connsiteX5" fmla="*/ 91935 w 93316"/>
                <a:gd name="connsiteY5" fmla="*/ 6154 h 57145"/>
                <a:gd name="connsiteX6" fmla="*/ 90177 w 93316"/>
                <a:gd name="connsiteY6" fmla="*/ 5149 h 57145"/>
                <a:gd name="connsiteX7" fmla="*/ 87037 w 93316"/>
                <a:gd name="connsiteY7" fmla="*/ 0 h 57145"/>
                <a:gd name="connsiteX8" fmla="*/ 0 w 93316"/>
                <a:gd name="connsiteY8" fmla="*/ 50238 h 57145"/>
                <a:gd name="connsiteX9" fmla="*/ 1005 w 93316"/>
                <a:gd name="connsiteY9" fmla="*/ 53127 h 57145"/>
                <a:gd name="connsiteX10" fmla="*/ 3014 w 93316"/>
                <a:gd name="connsiteY10" fmla="*/ 55387 h 57145"/>
                <a:gd name="connsiteX11" fmla="*/ 3391 w 93316"/>
                <a:gd name="connsiteY11" fmla="*/ 55513 h 5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316" h="57145">
                  <a:moveTo>
                    <a:pt x="3391" y="55513"/>
                  </a:moveTo>
                  <a:lnTo>
                    <a:pt x="4898" y="56392"/>
                  </a:lnTo>
                  <a:cubicBezTo>
                    <a:pt x="6657" y="57397"/>
                    <a:pt x="9671" y="57397"/>
                    <a:pt x="11555" y="56392"/>
                  </a:cubicBezTo>
                  <a:lnTo>
                    <a:pt x="91935" y="9922"/>
                  </a:lnTo>
                  <a:cubicBezTo>
                    <a:pt x="92815" y="9420"/>
                    <a:pt x="93317" y="8666"/>
                    <a:pt x="93317" y="8038"/>
                  </a:cubicBezTo>
                  <a:cubicBezTo>
                    <a:pt x="93317" y="7285"/>
                    <a:pt x="92815" y="6657"/>
                    <a:pt x="91935" y="6154"/>
                  </a:cubicBezTo>
                  <a:lnTo>
                    <a:pt x="90177" y="5149"/>
                  </a:lnTo>
                  <a:cubicBezTo>
                    <a:pt x="90177" y="5149"/>
                    <a:pt x="87665" y="3391"/>
                    <a:pt x="87037" y="0"/>
                  </a:cubicBezTo>
                  <a:lnTo>
                    <a:pt x="0" y="50238"/>
                  </a:lnTo>
                  <a:cubicBezTo>
                    <a:pt x="126" y="50866"/>
                    <a:pt x="377" y="51996"/>
                    <a:pt x="1005" y="53127"/>
                  </a:cubicBezTo>
                  <a:cubicBezTo>
                    <a:pt x="1758" y="54257"/>
                    <a:pt x="2512" y="55011"/>
                    <a:pt x="3014" y="55387"/>
                  </a:cubicBezTo>
                  <a:cubicBezTo>
                    <a:pt x="3140" y="55262"/>
                    <a:pt x="3265" y="55387"/>
                    <a:pt x="3391" y="55513"/>
                  </a:cubicBezTo>
                  <a:close/>
                </a:path>
              </a:pathLst>
            </a:custGeom>
            <a:solidFill>
              <a:srgbClr val="4740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4B197497-5BC7-4C48-86EF-16C33A51034D}"/>
                </a:ext>
              </a:extLst>
            </p:cNvPr>
            <p:cNvSpPr/>
            <p:nvPr/>
          </p:nvSpPr>
          <p:spPr>
            <a:xfrm>
              <a:off x="1115662" y="2759293"/>
              <a:ext cx="87916" cy="52749"/>
            </a:xfrm>
            <a:custGeom>
              <a:avLst/>
              <a:gdLst>
                <a:gd name="connsiteX0" fmla="*/ 87037 w 87916"/>
                <a:gd name="connsiteY0" fmla="*/ 0 h 52749"/>
                <a:gd name="connsiteX1" fmla="*/ 0 w 87916"/>
                <a:gd name="connsiteY1" fmla="*/ 50238 h 52749"/>
                <a:gd name="connsiteX2" fmla="*/ 879 w 87916"/>
                <a:gd name="connsiteY2" fmla="*/ 52750 h 52749"/>
                <a:gd name="connsiteX3" fmla="*/ 87916 w 87916"/>
                <a:gd name="connsiteY3" fmla="*/ 2512 h 52749"/>
                <a:gd name="connsiteX4" fmla="*/ 87037 w 87916"/>
                <a:gd name="connsiteY4" fmla="*/ 0 h 52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16" h="52749">
                  <a:moveTo>
                    <a:pt x="87037" y="0"/>
                  </a:moveTo>
                  <a:lnTo>
                    <a:pt x="0" y="50238"/>
                  </a:lnTo>
                  <a:cubicBezTo>
                    <a:pt x="126" y="50866"/>
                    <a:pt x="251" y="51745"/>
                    <a:pt x="879" y="52750"/>
                  </a:cubicBezTo>
                  <a:lnTo>
                    <a:pt x="87916" y="2512"/>
                  </a:lnTo>
                  <a:cubicBezTo>
                    <a:pt x="87540" y="1884"/>
                    <a:pt x="87163" y="1005"/>
                    <a:pt x="87037" y="0"/>
                  </a:cubicBez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619BED48-BD97-4064-9180-AD9473C53890}"/>
                </a:ext>
              </a:extLst>
            </p:cNvPr>
            <p:cNvSpPr/>
            <p:nvPr/>
          </p:nvSpPr>
          <p:spPr>
            <a:xfrm>
              <a:off x="1164769" y="2760408"/>
              <a:ext cx="31900" cy="22328"/>
            </a:xfrm>
            <a:custGeom>
              <a:avLst/>
              <a:gdLst>
                <a:gd name="connsiteX0" fmla="*/ 31901 w 31900"/>
                <a:gd name="connsiteY0" fmla="*/ 3155 h 22328"/>
                <a:gd name="connsiteX1" fmla="*/ 0 w 31900"/>
                <a:gd name="connsiteY1" fmla="*/ 21618 h 22328"/>
                <a:gd name="connsiteX2" fmla="*/ 15950 w 31900"/>
                <a:gd name="connsiteY2" fmla="*/ 4034 h 22328"/>
                <a:gd name="connsiteX3" fmla="*/ 31901 w 31900"/>
                <a:gd name="connsiteY3" fmla="*/ 3155 h 22328"/>
              </a:gdLst>
              <a:ahLst/>
              <a:cxnLst>
                <a:cxn ang="0">
                  <a:pos x="connsiteX0" y="connsiteY0"/>
                </a:cxn>
                <a:cxn ang="0">
                  <a:pos x="connsiteX1" y="connsiteY1"/>
                </a:cxn>
                <a:cxn ang="0">
                  <a:pos x="connsiteX2" y="connsiteY2"/>
                </a:cxn>
                <a:cxn ang="0">
                  <a:pos x="connsiteX3" y="connsiteY3"/>
                </a:cxn>
              </a:cxnLst>
              <a:rect l="l" t="t" r="r" b="b"/>
              <a:pathLst>
                <a:path w="31900" h="22328">
                  <a:moveTo>
                    <a:pt x="31901" y="3155"/>
                  </a:moveTo>
                  <a:cubicBezTo>
                    <a:pt x="31901" y="7802"/>
                    <a:pt x="0" y="26139"/>
                    <a:pt x="0" y="21618"/>
                  </a:cubicBezTo>
                  <a:cubicBezTo>
                    <a:pt x="0" y="17096"/>
                    <a:pt x="7159" y="9184"/>
                    <a:pt x="15950" y="4034"/>
                  </a:cubicBezTo>
                  <a:cubicBezTo>
                    <a:pt x="24742" y="-989"/>
                    <a:pt x="31901" y="-1366"/>
                    <a:pt x="31901" y="3155"/>
                  </a:cubicBezTo>
                  <a:close/>
                </a:path>
              </a:pathLst>
            </a:custGeom>
            <a:solidFill>
              <a:srgbClr val="3832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B803DF27-78FD-4D2A-9E4F-5A75F775B5B6}"/>
                </a:ext>
              </a:extLst>
            </p:cNvPr>
            <p:cNvSpPr/>
            <p:nvPr/>
          </p:nvSpPr>
          <p:spPr>
            <a:xfrm>
              <a:off x="1117797" y="2763940"/>
              <a:ext cx="96237" cy="58527"/>
            </a:xfrm>
            <a:custGeom>
              <a:avLst/>
              <a:gdLst>
                <a:gd name="connsiteX0" fmla="*/ 94196 w 96237"/>
                <a:gd name="connsiteY0" fmla="*/ 3014 h 58527"/>
                <a:gd name="connsiteX1" fmla="*/ 89047 w 96237"/>
                <a:gd name="connsiteY1" fmla="*/ 0 h 58527"/>
                <a:gd name="connsiteX2" fmla="*/ 89047 w 96237"/>
                <a:gd name="connsiteY2" fmla="*/ 0 h 58527"/>
                <a:gd name="connsiteX3" fmla="*/ 88042 w 96237"/>
                <a:gd name="connsiteY3" fmla="*/ 628 h 58527"/>
                <a:gd name="connsiteX4" fmla="*/ 89926 w 96237"/>
                <a:gd name="connsiteY4" fmla="*/ 1633 h 58527"/>
                <a:gd name="connsiteX5" fmla="*/ 91307 w 96237"/>
                <a:gd name="connsiteY5" fmla="*/ 3517 h 58527"/>
                <a:gd name="connsiteX6" fmla="*/ 89926 w 96237"/>
                <a:gd name="connsiteY6" fmla="*/ 5400 h 58527"/>
                <a:gd name="connsiteX7" fmla="*/ 9545 w 96237"/>
                <a:gd name="connsiteY7" fmla="*/ 51871 h 58527"/>
                <a:gd name="connsiteX8" fmla="*/ 2889 w 96237"/>
                <a:gd name="connsiteY8" fmla="*/ 51871 h 58527"/>
                <a:gd name="connsiteX9" fmla="*/ 1382 w 96237"/>
                <a:gd name="connsiteY9" fmla="*/ 50991 h 58527"/>
                <a:gd name="connsiteX10" fmla="*/ 1005 w 96237"/>
                <a:gd name="connsiteY10" fmla="*/ 50740 h 58527"/>
                <a:gd name="connsiteX11" fmla="*/ 0 w 96237"/>
                <a:gd name="connsiteY11" fmla="*/ 51368 h 58527"/>
                <a:gd name="connsiteX12" fmla="*/ 5149 w 96237"/>
                <a:gd name="connsiteY12" fmla="*/ 54383 h 58527"/>
                <a:gd name="connsiteX13" fmla="*/ 7661 w 96237"/>
                <a:gd name="connsiteY13" fmla="*/ 58527 h 58527"/>
                <a:gd name="connsiteX14" fmla="*/ 94950 w 96237"/>
                <a:gd name="connsiteY14" fmla="*/ 8038 h 58527"/>
                <a:gd name="connsiteX15" fmla="*/ 95703 w 96237"/>
                <a:gd name="connsiteY15" fmla="*/ 4270 h 58527"/>
                <a:gd name="connsiteX16" fmla="*/ 94196 w 96237"/>
                <a:gd name="connsiteY16" fmla="*/ 3014 h 58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237" h="58527">
                  <a:moveTo>
                    <a:pt x="94196" y="3014"/>
                  </a:moveTo>
                  <a:lnTo>
                    <a:pt x="89047" y="0"/>
                  </a:lnTo>
                  <a:lnTo>
                    <a:pt x="89047" y="0"/>
                  </a:lnTo>
                  <a:lnTo>
                    <a:pt x="88042" y="628"/>
                  </a:lnTo>
                  <a:lnTo>
                    <a:pt x="89926" y="1633"/>
                  </a:lnTo>
                  <a:cubicBezTo>
                    <a:pt x="90805" y="2135"/>
                    <a:pt x="91307" y="2889"/>
                    <a:pt x="91307" y="3517"/>
                  </a:cubicBezTo>
                  <a:cubicBezTo>
                    <a:pt x="91307" y="4270"/>
                    <a:pt x="90805" y="4898"/>
                    <a:pt x="89926" y="5400"/>
                  </a:cubicBezTo>
                  <a:lnTo>
                    <a:pt x="9545" y="51871"/>
                  </a:lnTo>
                  <a:cubicBezTo>
                    <a:pt x="7787" y="52875"/>
                    <a:pt x="4773" y="52875"/>
                    <a:pt x="2889" y="51871"/>
                  </a:cubicBezTo>
                  <a:lnTo>
                    <a:pt x="1382" y="50991"/>
                  </a:lnTo>
                  <a:cubicBezTo>
                    <a:pt x="1256" y="50866"/>
                    <a:pt x="1130" y="50866"/>
                    <a:pt x="1005" y="50740"/>
                  </a:cubicBezTo>
                  <a:lnTo>
                    <a:pt x="0" y="51368"/>
                  </a:lnTo>
                  <a:lnTo>
                    <a:pt x="5149" y="54383"/>
                  </a:lnTo>
                  <a:cubicBezTo>
                    <a:pt x="6405" y="55136"/>
                    <a:pt x="7661" y="57020"/>
                    <a:pt x="7661" y="58527"/>
                  </a:cubicBezTo>
                  <a:lnTo>
                    <a:pt x="94950" y="8038"/>
                  </a:lnTo>
                  <a:cubicBezTo>
                    <a:pt x="96206" y="7285"/>
                    <a:pt x="96708" y="5526"/>
                    <a:pt x="95703" y="4270"/>
                  </a:cubicBezTo>
                  <a:cubicBezTo>
                    <a:pt x="95201" y="3768"/>
                    <a:pt x="94699" y="3265"/>
                    <a:pt x="94196" y="30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5" name="Graphic 4">
              <a:extLst>
                <a:ext uri="{FF2B5EF4-FFF2-40B4-BE49-F238E27FC236}">
                  <a16:creationId xmlns:a16="http://schemas.microsoft.com/office/drawing/2014/main" id="{84FB7ED1-A2DF-40A1-A747-5F7CF3F14040}"/>
                </a:ext>
              </a:extLst>
            </p:cNvPr>
            <p:cNvGrpSpPr/>
            <p:nvPr/>
          </p:nvGrpSpPr>
          <p:grpSpPr>
            <a:xfrm>
              <a:off x="1124704" y="2768210"/>
              <a:ext cx="89800" cy="80631"/>
              <a:chOff x="1124704" y="2768210"/>
              <a:chExt cx="89800" cy="80631"/>
            </a:xfrm>
            <a:solidFill>
              <a:srgbClr val="3972C1"/>
            </a:solidFill>
          </p:grpSpPr>
          <p:sp>
            <p:nvSpPr>
              <p:cNvPr id="176" name="Freeform: Shape 175">
                <a:extLst>
                  <a:ext uri="{FF2B5EF4-FFF2-40B4-BE49-F238E27FC236}">
                    <a16:creationId xmlns:a16="http://schemas.microsoft.com/office/drawing/2014/main" id="{86A21A0D-DD29-4498-B7D9-EF81AD2E5364}"/>
                  </a:ext>
                </a:extLst>
              </p:cNvPr>
              <p:cNvSpPr/>
              <p:nvPr/>
            </p:nvSpPr>
            <p:spPr>
              <a:xfrm>
                <a:off x="1125458" y="2797976"/>
                <a:ext cx="88293" cy="50865"/>
              </a:xfrm>
              <a:custGeom>
                <a:avLst/>
                <a:gdLst>
                  <a:gd name="connsiteX0" fmla="*/ 86284 w 88293"/>
                  <a:gd name="connsiteY0" fmla="*/ 1758 h 50865"/>
                  <a:gd name="connsiteX1" fmla="*/ 6657 w 88293"/>
                  <a:gd name="connsiteY1" fmla="*/ 47726 h 50865"/>
                  <a:gd name="connsiteX2" fmla="*/ 0 w 88293"/>
                  <a:gd name="connsiteY2" fmla="*/ 49359 h 50865"/>
                  <a:gd name="connsiteX3" fmla="*/ 0 w 88293"/>
                  <a:gd name="connsiteY3" fmla="*/ 50866 h 50865"/>
                  <a:gd name="connsiteX4" fmla="*/ 6657 w 88293"/>
                  <a:gd name="connsiteY4" fmla="*/ 49233 h 50865"/>
                  <a:gd name="connsiteX5" fmla="*/ 84274 w 88293"/>
                  <a:gd name="connsiteY5" fmla="*/ 4396 h 50865"/>
                  <a:gd name="connsiteX6" fmla="*/ 84902 w 88293"/>
                  <a:gd name="connsiteY6" fmla="*/ 4019 h 50865"/>
                  <a:gd name="connsiteX7" fmla="*/ 88293 w 88293"/>
                  <a:gd name="connsiteY7" fmla="*/ 0 h 50865"/>
                  <a:gd name="connsiteX8" fmla="*/ 86284 w 88293"/>
                  <a:gd name="connsiteY8" fmla="*/ 1758 h 50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293" h="50865">
                    <a:moveTo>
                      <a:pt x="86284" y="1758"/>
                    </a:moveTo>
                    <a:lnTo>
                      <a:pt x="6657" y="47726"/>
                    </a:lnTo>
                    <a:cubicBezTo>
                      <a:pt x="4773" y="48731"/>
                      <a:pt x="2386" y="49359"/>
                      <a:pt x="0" y="49359"/>
                    </a:cubicBezTo>
                    <a:lnTo>
                      <a:pt x="0" y="50866"/>
                    </a:lnTo>
                    <a:cubicBezTo>
                      <a:pt x="2386" y="50866"/>
                      <a:pt x="4898" y="50364"/>
                      <a:pt x="6657" y="49233"/>
                    </a:cubicBezTo>
                    <a:lnTo>
                      <a:pt x="84274" y="4396"/>
                    </a:lnTo>
                    <a:cubicBezTo>
                      <a:pt x="84525" y="4270"/>
                      <a:pt x="84651" y="4145"/>
                      <a:pt x="84902" y="4019"/>
                    </a:cubicBezTo>
                    <a:cubicBezTo>
                      <a:pt x="87037" y="2512"/>
                      <a:pt x="88168" y="502"/>
                      <a:pt x="88293" y="0"/>
                    </a:cubicBezTo>
                    <a:cubicBezTo>
                      <a:pt x="87414" y="1130"/>
                      <a:pt x="86284" y="1758"/>
                      <a:pt x="86284" y="1758"/>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28625BA9-EB32-4F93-AB4A-5CB0D10DF855}"/>
                  </a:ext>
                </a:extLst>
              </p:cNvPr>
              <p:cNvSpPr/>
              <p:nvPr/>
            </p:nvSpPr>
            <p:spPr>
              <a:xfrm>
                <a:off x="1124704" y="2768210"/>
                <a:ext cx="89800" cy="79250"/>
              </a:xfrm>
              <a:custGeom>
                <a:avLst/>
                <a:gdLst>
                  <a:gd name="connsiteX0" fmla="*/ 89800 w 89800"/>
                  <a:gd name="connsiteY0" fmla="*/ 2638 h 79250"/>
                  <a:gd name="connsiteX1" fmla="*/ 88796 w 89800"/>
                  <a:gd name="connsiteY1" fmla="*/ 0 h 79250"/>
                  <a:gd name="connsiteX2" fmla="*/ 87916 w 89800"/>
                  <a:gd name="connsiteY2" fmla="*/ 3768 h 79250"/>
                  <a:gd name="connsiteX3" fmla="*/ 7033 w 89800"/>
                  <a:gd name="connsiteY3" fmla="*/ 50615 h 79250"/>
                  <a:gd name="connsiteX4" fmla="*/ 628 w 89800"/>
                  <a:gd name="connsiteY4" fmla="*/ 52247 h 79250"/>
                  <a:gd name="connsiteX5" fmla="*/ 0 w 89800"/>
                  <a:gd name="connsiteY5" fmla="*/ 52247 h 79250"/>
                  <a:gd name="connsiteX6" fmla="*/ 628 w 89800"/>
                  <a:gd name="connsiteY6" fmla="*/ 54383 h 79250"/>
                  <a:gd name="connsiteX7" fmla="*/ 628 w 89800"/>
                  <a:gd name="connsiteY7" fmla="*/ 54383 h 79250"/>
                  <a:gd name="connsiteX8" fmla="*/ 628 w 89800"/>
                  <a:gd name="connsiteY8" fmla="*/ 79250 h 79250"/>
                  <a:gd name="connsiteX9" fmla="*/ 7285 w 89800"/>
                  <a:gd name="connsiteY9" fmla="*/ 77618 h 79250"/>
                  <a:gd name="connsiteX10" fmla="*/ 86912 w 89800"/>
                  <a:gd name="connsiteY10" fmla="*/ 31650 h 79250"/>
                  <a:gd name="connsiteX11" fmla="*/ 88921 w 89800"/>
                  <a:gd name="connsiteY11" fmla="*/ 29892 h 79250"/>
                  <a:gd name="connsiteX12" fmla="*/ 89675 w 89800"/>
                  <a:gd name="connsiteY12" fmla="*/ 27757 h 79250"/>
                  <a:gd name="connsiteX13" fmla="*/ 89800 w 89800"/>
                  <a:gd name="connsiteY13" fmla="*/ 2638 h 7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800" h="79250">
                    <a:moveTo>
                      <a:pt x="89800" y="2638"/>
                    </a:moveTo>
                    <a:cubicBezTo>
                      <a:pt x="89800" y="1758"/>
                      <a:pt x="89423" y="754"/>
                      <a:pt x="88796" y="0"/>
                    </a:cubicBezTo>
                    <a:cubicBezTo>
                      <a:pt x="89675" y="1256"/>
                      <a:pt x="89298" y="3014"/>
                      <a:pt x="87916" y="3768"/>
                    </a:cubicBezTo>
                    <a:lnTo>
                      <a:pt x="7033" y="50615"/>
                    </a:lnTo>
                    <a:cubicBezTo>
                      <a:pt x="5275" y="51619"/>
                      <a:pt x="2889" y="52247"/>
                      <a:pt x="628" y="52247"/>
                    </a:cubicBezTo>
                    <a:cubicBezTo>
                      <a:pt x="377" y="52247"/>
                      <a:pt x="251" y="52247"/>
                      <a:pt x="0" y="52247"/>
                    </a:cubicBezTo>
                    <a:cubicBezTo>
                      <a:pt x="377" y="52875"/>
                      <a:pt x="628" y="53629"/>
                      <a:pt x="628" y="54383"/>
                    </a:cubicBezTo>
                    <a:lnTo>
                      <a:pt x="628" y="54383"/>
                    </a:lnTo>
                    <a:lnTo>
                      <a:pt x="628" y="79250"/>
                    </a:lnTo>
                    <a:cubicBezTo>
                      <a:pt x="3014" y="79250"/>
                      <a:pt x="5526" y="78748"/>
                      <a:pt x="7285" y="77618"/>
                    </a:cubicBezTo>
                    <a:lnTo>
                      <a:pt x="86912" y="31650"/>
                    </a:lnTo>
                    <a:cubicBezTo>
                      <a:pt x="86912" y="31650"/>
                      <a:pt x="88042" y="31022"/>
                      <a:pt x="88921" y="29892"/>
                    </a:cubicBezTo>
                    <a:cubicBezTo>
                      <a:pt x="89800" y="28761"/>
                      <a:pt x="89675" y="27757"/>
                      <a:pt x="89675" y="27757"/>
                    </a:cubicBezTo>
                    <a:lnTo>
                      <a:pt x="89800" y="2638"/>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8" name="Freeform: Shape 177">
              <a:extLst>
                <a:ext uri="{FF2B5EF4-FFF2-40B4-BE49-F238E27FC236}">
                  <a16:creationId xmlns:a16="http://schemas.microsoft.com/office/drawing/2014/main" id="{3948147E-15A2-4111-B1C5-EC53888B4D2A}"/>
                </a:ext>
              </a:extLst>
            </p:cNvPr>
            <p:cNvSpPr/>
            <p:nvPr/>
          </p:nvSpPr>
          <p:spPr>
            <a:xfrm>
              <a:off x="1125458" y="2771350"/>
              <a:ext cx="89052" cy="51996"/>
            </a:xfrm>
            <a:custGeom>
              <a:avLst/>
              <a:gdLst>
                <a:gd name="connsiteX0" fmla="*/ 89047 w 89052"/>
                <a:gd name="connsiteY0" fmla="*/ 377 h 51996"/>
                <a:gd name="connsiteX1" fmla="*/ 89047 w 89052"/>
                <a:gd name="connsiteY1" fmla="*/ 0 h 51996"/>
                <a:gd name="connsiteX2" fmla="*/ 88293 w 89052"/>
                <a:gd name="connsiteY2" fmla="*/ 1884 h 51996"/>
                <a:gd name="connsiteX3" fmla="*/ 86284 w 89052"/>
                <a:gd name="connsiteY3" fmla="*/ 3642 h 51996"/>
                <a:gd name="connsiteX4" fmla="*/ 6657 w 89052"/>
                <a:gd name="connsiteY4" fmla="*/ 49610 h 51996"/>
                <a:gd name="connsiteX5" fmla="*/ 0 w 89052"/>
                <a:gd name="connsiteY5" fmla="*/ 51243 h 51996"/>
                <a:gd name="connsiteX6" fmla="*/ 0 w 89052"/>
                <a:gd name="connsiteY6" fmla="*/ 51996 h 51996"/>
                <a:gd name="connsiteX7" fmla="*/ 6657 w 89052"/>
                <a:gd name="connsiteY7" fmla="*/ 50363 h 51996"/>
                <a:gd name="connsiteX8" fmla="*/ 86284 w 89052"/>
                <a:gd name="connsiteY8" fmla="*/ 4396 h 51996"/>
                <a:gd name="connsiteX9" fmla="*/ 88293 w 89052"/>
                <a:gd name="connsiteY9" fmla="*/ 2638 h 51996"/>
                <a:gd name="connsiteX10" fmla="*/ 89047 w 89052"/>
                <a:gd name="connsiteY10" fmla="*/ 377 h 5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052" h="51996">
                  <a:moveTo>
                    <a:pt x="89047" y="377"/>
                  </a:moveTo>
                  <a:lnTo>
                    <a:pt x="89047" y="0"/>
                  </a:lnTo>
                  <a:cubicBezTo>
                    <a:pt x="89047" y="377"/>
                    <a:pt x="88921" y="1130"/>
                    <a:pt x="88293" y="1884"/>
                  </a:cubicBezTo>
                  <a:cubicBezTo>
                    <a:pt x="87414" y="3014"/>
                    <a:pt x="86284" y="3642"/>
                    <a:pt x="86284" y="3642"/>
                  </a:cubicBezTo>
                  <a:lnTo>
                    <a:pt x="6657" y="49610"/>
                  </a:lnTo>
                  <a:cubicBezTo>
                    <a:pt x="4773" y="50615"/>
                    <a:pt x="2386" y="51243"/>
                    <a:pt x="0" y="51243"/>
                  </a:cubicBezTo>
                  <a:lnTo>
                    <a:pt x="0" y="51996"/>
                  </a:lnTo>
                  <a:cubicBezTo>
                    <a:pt x="2386" y="51996"/>
                    <a:pt x="4898" y="51494"/>
                    <a:pt x="6657" y="50363"/>
                  </a:cubicBezTo>
                  <a:lnTo>
                    <a:pt x="86284" y="4396"/>
                  </a:lnTo>
                  <a:cubicBezTo>
                    <a:pt x="86284" y="4396"/>
                    <a:pt x="87414" y="3768"/>
                    <a:pt x="88293" y="2638"/>
                  </a:cubicBezTo>
                  <a:cubicBezTo>
                    <a:pt x="89172" y="1382"/>
                    <a:pt x="89047" y="377"/>
                    <a:pt x="89047" y="37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510B44FD-B4E6-4218-853B-7A2A5CFE11EC}"/>
                </a:ext>
              </a:extLst>
            </p:cNvPr>
            <p:cNvSpPr/>
            <p:nvPr/>
          </p:nvSpPr>
          <p:spPr>
            <a:xfrm>
              <a:off x="1209858" y="2775620"/>
              <a:ext cx="1632" cy="26751"/>
            </a:xfrm>
            <a:custGeom>
              <a:avLst/>
              <a:gdLst>
                <a:gd name="connsiteX0" fmla="*/ 1130 w 1632"/>
                <a:gd name="connsiteY0" fmla="*/ 377 h 26751"/>
                <a:gd name="connsiteX1" fmla="*/ 1130 w 1632"/>
                <a:gd name="connsiteY1" fmla="*/ 24617 h 26751"/>
                <a:gd name="connsiteX2" fmla="*/ 0 w 1632"/>
                <a:gd name="connsiteY2" fmla="*/ 26752 h 26751"/>
                <a:gd name="connsiteX3" fmla="*/ 628 w 1632"/>
                <a:gd name="connsiteY3" fmla="*/ 26249 h 26751"/>
                <a:gd name="connsiteX4" fmla="*/ 1633 w 1632"/>
                <a:gd name="connsiteY4" fmla="*/ 24240 h 26751"/>
                <a:gd name="connsiteX5" fmla="*/ 1633 w 1632"/>
                <a:gd name="connsiteY5" fmla="*/ 0 h 26751"/>
                <a:gd name="connsiteX6" fmla="*/ 1130 w 1632"/>
                <a:gd name="connsiteY6" fmla="*/ 377 h 26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26751">
                  <a:moveTo>
                    <a:pt x="1130" y="377"/>
                  </a:moveTo>
                  <a:cubicBezTo>
                    <a:pt x="1130" y="377"/>
                    <a:pt x="1130" y="23989"/>
                    <a:pt x="1130" y="24617"/>
                  </a:cubicBezTo>
                  <a:cubicBezTo>
                    <a:pt x="1130" y="25245"/>
                    <a:pt x="0" y="26752"/>
                    <a:pt x="0" y="26752"/>
                  </a:cubicBezTo>
                  <a:lnTo>
                    <a:pt x="628" y="26249"/>
                  </a:lnTo>
                  <a:cubicBezTo>
                    <a:pt x="628" y="26249"/>
                    <a:pt x="1633" y="24868"/>
                    <a:pt x="1633" y="24240"/>
                  </a:cubicBezTo>
                  <a:cubicBezTo>
                    <a:pt x="1633" y="23612"/>
                    <a:pt x="1633" y="0"/>
                    <a:pt x="1633" y="0"/>
                  </a:cubicBezTo>
                  <a:lnTo>
                    <a:pt x="1130"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5EC253AE-1568-43F6-A0F1-8A53694707A7}"/>
                </a:ext>
              </a:extLst>
            </p:cNvPr>
            <p:cNvSpPr/>
            <p:nvPr/>
          </p:nvSpPr>
          <p:spPr>
            <a:xfrm>
              <a:off x="1131110" y="2821085"/>
              <a:ext cx="1632" cy="26626"/>
            </a:xfrm>
            <a:custGeom>
              <a:avLst/>
              <a:gdLst>
                <a:gd name="connsiteX0" fmla="*/ 1005 w 1632"/>
                <a:gd name="connsiteY0" fmla="*/ 377 h 26626"/>
                <a:gd name="connsiteX1" fmla="*/ 1005 w 1632"/>
                <a:gd name="connsiteY1" fmla="*/ 24616 h 26626"/>
                <a:gd name="connsiteX2" fmla="*/ 0 w 1632"/>
                <a:gd name="connsiteY2" fmla="*/ 26626 h 26626"/>
                <a:gd name="connsiteX3" fmla="*/ 502 w 1632"/>
                <a:gd name="connsiteY3" fmla="*/ 26375 h 26626"/>
                <a:gd name="connsiteX4" fmla="*/ 1633 w 1632"/>
                <a:gd name="connsiteY4" fmla="*/ 24240 h 26626"/>
                <a:gd name="connsiteX5" fmla="*/ 1633 w 1632"/>
                <a:gd name="connsiteY5" fmla="*/ 0 h 26626"/>
                <a:gd name="connsiteX6" fmla="*/ 1005 w 1632"/>
                <a:gd name="connsiteY6" fmla="*/ 377 h 26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26626">
                  <a:moveTo>
                    <a:pt x="1005" y="377"/>
                  </a:moveTo>
                  <a:cubicBezTo>
                    <a:pt x="1005" y="377"/>
                    <a:pt x="1005" y="23988"/>
                    <a:pt x="1005" y="24616"/>
                  </a:cubicBezTo>
                  <a:cubicBezTo>
                    <a:pt x="1005" y="25244"/>
                    <a:pt x="0" y="26626"/>
                    <a:pt x="0" y="26626"/>
                  </a:cubicBezTo>
                  <a:lnTo>
                    <a:pt x="502" y="26375"/>
                  </a:lnTo>
                  <a:cubicBezTo>
                    <a:pt x="502" y="26375"/>
                    <a:pt x="1633" y="24993"/>
                    <a:pt x="1633" y="24240"/>
                  </a:cubicBezTo>
                  <a:cubicBezTo>
                    <a:pt x="1633" y="23612"/>
                    <a:pt x="1633" y="0"/>
                    <a:pt x="1633" y="0"/>
                  </a:cubicBezTo>
                  <a:lnTo>
                    <a:pt x="1005"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F88F6AB4-24F1-4BE7-B89E-9A0C672D1137}"/>
                </a:ext>
              </a:extLst>
            </p:cNvPr>
            <p:cNvSpPr/>
            <p:nvPr/>
          </p:nvSpPr>
          <p:spPr>
            <a:xfrm>
              <a:off x="1202699" y="2704293"/>
              <a:ext cx="6279" cy="63163"/>
            </a:xfrm>
            <a:custGeom>
              <a:avLst/>
              <a:gdLst>
                <a:gd name="connsiteX0" fmla="*/ 5652 w 6279"/>
                <a:gd name="connsiteY0" fmla="*/ 1748 h 63163"/>
                <a:gd name="connsiteX1" fmla="*/ 3517 w 6279"/>
                <a:gd name="connsiteY1" fmla="*/ 492 h 63163"/>
                <a:gd name="connsiteX2" fmla="*/ 0 w 6279"/>
                <a:gd name="connsiteY2" fmla="*/ 2501 h 63163"/>
                <a:gd name="connsiteX3" fmla="*/ 0 w 6279"/>
                <a:gd name="connsiteY3" fmla="*/ 54246 h 63163"/>
                <a:gd name="connsiteX4" fmla="*/ 3517 w 6279"/>
                <a:gd name="connsiteY4" fmla="*/ 60401 h 63163"/>
                <a:gd name="connsiteX5" fmla="*/ 3517 w 6279"/>
                <a:gd name="connsiteY5" fmla="*/ 60401 h 63163"/>
                <a:gd name="connsiteX6" fmla="*/ 4898 w 6279"/>
                <a:gd name="connsiteY6" fmla="*/ 61280 h 63163"/>
                <a:gd name="connsiteX7" fmla="*/ 6280 w 6279"/>
                <a:gd name="connsiteY7" fmla="*/ 63164 h 63163"/>
                <a:gd name="connsiteX8" fmla="*/ 5652 w 6279"/>
                <a:gd name="connsiteY8" fmla="*/ 1748 h 6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9" h="63163">
                  <a:moveTo>
                    <a:pt x="5652" y="1748"/>
                  </a:moveTo>
                  <a:lnTo>
                    <a:pt x="3517" y="492"/>
                  </a:lnTo>
                  <a:cubicBezTo>
                    <a:pt x="1507" y="-638"/>
                    <a:pt x="0" y="241"/>
                    <a:pt x="0" y="2501"/>
                  </a:cubicBezTo>
                  <a:lnTo>
                    <a:pt x="0" y="54246"/>
                  </a:lnTo>
                  <a:cubicBezTo>
                    <a:pt x="0" y="56507"/>
                    <a:pt x="1633" y="59270"/>
                    <a:pt x="3517" y="60401"/>
                  </a:cubicBezTo>
                  <a:lnTo>
                    <a:pt x="3517" y="60401"/>
                  </a:lnTo>
                  <a:lnTo>
                    <a:pt x="4898" y="61280"/>
                  </a:lnTo>
                  <a:cubicBezTo>
                    <a:pt x="5777" y="61782"/>
                    <a:pt x="6280" y="62536"/>
                    <a:pt x="6280" y="63164"/>
                  </a:cubicBezTo>
                  <a:lnTo>
                    <a:pt x="5652" y="1748"/>
                  </a:lnTo>
                  <a:close/>
                </a:path>
              </a:pathLst>
            </a:custGeom>
            <a:solidFill>
              <a:srgbClr val="1B8CD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B0F0D59F-9BCA-4A88-B811-107F1D188F80}"/>
                </a:ext>
              </a:extLst>
            </p:cNvPr>
            <p:cNvSpPr/>
            <p:nvPr/>
          </p:nvSpPr>
          <p:spPr>
            <a:xfrm>
              <a:off x="1029880" y="2795590"/>
              <a:ext cx="95577" cy="53252"/>
            </a:xfrm>
            <a:custGeom>
              <a:avLst/>
              <a:gdLst>
                <a:gd name="connsiteX0" fmla="*/ 88796 w 95577"/>
                <a:gd name="connsiteY0" fmla="*/ 50112 h 53252"/>
                <a:gd name="connsiteX1" fmla="*/ 2010 w 95577"/>
                <a:gd name="connsiteY1" fmla="*/ 0 h 53252"/>
                <a:gd name="connsiteX2" fmla="*/ 0 w 95577"/>
                <a:gd name="connsiteY2" fmla="*/ 251 h 53252"/>
                <a:gd name="connsiteX3" fmla="*/ 88921 w 95577"/>
                <a:gd name="connsiteY3" fmla="*/ 51619 h 53252"/>
                <a:gd name="connsiteX4" fmla="*/ 95578 w 95577"/>
                <a:gd name="connsiteY4" fmla="*/ 53252 h 53252"/>
                <a:gd name="connsiteX5" fmla="*/ 95578 w 95577"/>
                <a:gd name="connsiteY5" fmla="*/ 51745 h 53252"/>
                <a:gd name="connsiteX6" fmla="*/ 88796 w 95577"/>
                <a:gd name="connsiteY6" fmla="*/ 50112 h 53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577" h="53252">
                  <a:moveTo>
                    <a:pt x="88796" y="50112"/>
                  </a:moveTo>
                  <a:lnTo>
                    <a:pt x="2010" y="0"/>
                  </a:lnTo>
                  <a:lnTo>
                    <a:pt x="0" y="251"/>
                  </a:lnTo>
                  <a:lnTo>
                    <a:pt x="88921" y="51619"/>
                  </a:lnTo>
                  <a:cubicBezTo>
                    <a:pt x="90805" y="52624"/>
                    <a:pt x="93191" y="53252"/>
                    <a:pt x="95578" y="53252"/>
                  </a:cubicBezTo>
                  <a:lnTo>
                    <a:pt x="95578" y="51745"/>
                  </a:lnTo>
                  <a:cubicBezTo>
                    <a:pt x="93066" y="51745"/>
                    <a:pt x="90679" y="51243"/>
                    <a:pt x="88796" y="50112"/>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F222993B-9AA1-42E1-885D-11DC489D5252}"/>
                </a:ext>
              </a:extLst>
            </p:cNvPr>
            <p:cNvSpPr/>
            <p:nvPr/>
          </p:nvSpPr>
          <p:spPr>
            <a:xfrm>
              <a:off x="1110135" y="2815936"/>
              <a:ext cx="15196" cy="7284"/>
            </a:xfrm>
            <a:custGeom>
              <a:avLst/>
              <a:gdLst>
                <a:gd name="connsiteX0" fmla="*/ 8540 w 15196"/>
                <a:gd name="connsiteY0" fmla="*/ 4898 h 7284"/>
                <a:gd name="connsiteX1" fmla="*/ 0 w 15196"/>
                <a:gd name="connsiteY1" fmla="*/ 0 h 7284"/>
                <a:gd name="connsiteX2" fmla="*/ 0 w 15196"/>
                <a:gd name="connsiteY2" fmla="*/ 754 h 7284"/>
                <a:gd name="connsiteX3" fmla="*/ 8540 w 15196"/>
                <a:gd name="connsiteY3" fmla="*/ 5652 h 7284"/>
                <a:gd name="connsiteX4" fmla="*/ 15197 w 15196"/>
                <a:gd name="connsiteY4" fmla="*/ 7285 h 7284"/>
                <a:gd name="connsiteX5" fmla="*/ 15197 w 15196"/>
                <a:gd name="connsiteY5" fmla="*/ 6531 h 7284"/>
                <a:gd name="connsiteX6" fmla="*/ 8540 w 15196"/>
                <a:gd name="connsiteY6" fmla="*/ 4898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96" h="7284">
                  <a:moveTo>
                    <a:pt x="8540" y="4898"/>
                  </a:moveTo>
                  <a:lnTo>
                    <a:pt x="0" y="0"/>
                  </a:lnTo>
                  <a:lnTo>
                    <a:pt x="0" y="754"/>
                  </a:lnTo>
                  <a:lnTo>
                    <a:pt x="8540" y="5652"/>
                  </a:lnTo>
                  <a:cubicBezTo>
                    <a:pt x="10424" y="6657"/>
                    <a:pt x="12811" y="7285"/>
                    <a:pt x="15197" y="7285"/>
                  </a:cubicBezTo>
                  <a:lnTo>
                    <a:pt x="15197" y="6531"/>
                  </a:lnTo>
                  <a:cubicBezTo>
                    <a:pt x="12811" y="6531"/>
                    <a:pt x="10424" y="5903"/>
                    <a:pt x="8540" y="4898"/>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4" name="Graphic 4">
              <a:extLst>
                <a:ext uri="{FF2B5EF4-FFF2-40B4-BE49-F238E27FC236}">
                  <a16:creationId xmlns:a16="http://schemas.microsoft.com/office/drawing/2014/main" id="{84FB7ED1-A2DF-40A1-A747-5F7CF3F14040}"/>
                </a:ext>
              </a:extLst>
            </p:cNvPr>
            <p:cNvGrpSpPr/>
            <p:nvPr/>
          </p:nvGrpSpPr>
          <p:grpSpPr>
            <a:xfrm>
              <a:off x="1071201" y="2783990"/>
              <a:ext cx="5400" cy="12828"/>
              <a:chOff x="1071201" y="2783990"/>
              <a:chExt cx="5400" cy="12828"/>
            </a:xfrm>
            <a:solidFill>
              <a:schemeClr val="accent1"/>
            </a:solidFill>
          </p:grpSpPr>
          <p:sp>
            <p:nvSpPr>
              <p:cNvPr id="185" name="Freeform: Shape 184">
                <a:extLst>
                  <a:ext uri="{FF2B5EF4-FFF2-40B4-BE49-F238E27FC236}">
                    <a16:creationId xmlns:a16="http://schemas.microsoft.com/office/drawing/2014/main" id="{D7E81524-BA4F-4C9E-A2EE-9038EC768716}"/>
                  </a:ext>
                </a:extLst>
              </p:cNvPr>
              <p:cNvSpPr/>
              <p:nvPr/>
            </p:nvSpPr>
            <p:spPr>
              <a:xfrm>
                <a:off x="1071201" y="2783990"/>
                <a:ext cx="5400" cy="12828"/>
              </a:xfrm>
              <a:custGeom>
                <a:avLst/>
                <a:gdLst>
                  <a:gd name="connsiteX0" fmla="*/ 0 w 5400"/>
                  <a:gd name="connsiteY0" fmla="*/ 548 h 12828"/>
                  <a:gd name="connsiteX1" fmla="*/ 0 w 5400"/>
                  <a:gd name="connsiteY1" fmla="*/ 9088 h 12828"/>
                  <a:gd name="connsiteX2" fmla="*/ 754 w 5400"/>
                  <a:gd name="connsiteY2" fmla="*/ 10470 h 12828"/>
                  <a:gd name="connsiteX3" fmla="*/ 4647 w 5400"/>
                  <a:gd name="connsiteY3" fmla="*/ 12730 h 12828"/>
                  <a:gd name="connsiteX4" fmla="*/ 5401 w 5400"/>
                  <a:gd name="connsiteY4" fmla="*/ 12228 h 12828"/>
                  <a:gd name="connsiteX5" fmla="*/ 5401 w 5400"/>
                  <a:gd name="connsiteY5" fmla="*/ 3688 h 12828"/>
                  <a:gd name="connsiteX6" fmla="*/ 4647 w 5400"/>
                  <a:gd name="connsiteY6" fmla="*/ 2306 h 12828"/>
                  <a:gd name="connsiteX7" fmla="*/ 754 w 5400"/>
                  <a:gd name="connsiteY7" fmla="*/ 45 h 12828"/>
                  <a:gd name="connsiteX8" fmla="*/ 0 w 5400"/>
                  <a:gd name="connsiteY8" fmla="*/ 548 h 1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 h="12828">
                    <a:moveTo>
                      <a:pt x="0" y="548"/>
                    </a:moveTo>
                    <a:lnTo>
                      <a:pt x="0" y="9088"/>
                    </a:lnTo>
                    <a:cubicBezTo>
                      <a:pt x="0" y="9591"/>
                      <a:pt x="377" y="10219"/>
                      <a:pt x="754" y="10470"/>
                    </a:cubicBezTo>
                    <a:lnTo>
                      <a:pt x="4647" y="12730"/>
                    </a:lnTo>
                    <a:cubicBezTo>
                      <a:pt x="5024" y="12982"/>
                      <a:pt x="5401" y="12730"/>
                      <a:pt x="5401" y="12228"/>
                    </a:cubicBezTo>
                    <a:lnTo>
                      <a:pt x="5401" y="3688"/>
                    </a:lnTo>
                    <a:cubicBezTo>
                      <a:pt x="5401" y="3185"/>
                      <a:pt x="5024" y="2557"/>
                      <a:pt x="4647" y="2306"/>
                    </a:cubicBezTo>
                    <a:lnTo>
                      <a:pt x="754" y="45"/>
                    </a:lnTo>
                    <a:cubicBezTo>
                      <a:pt x="377" y="-80"/>
                      <a:pt x="0" y="45"/>
                      <a:pt x="0" y="548"/>
                    </a:cubicBezTo>
                    <a:close/>
                  </a:path>
                </a:pathLst>
              </a:custGeom>
              <a:solidFill>
                <a:srgbClr val="000000">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BE0ABF64-F5BE-49C1-B922-94E3158E9C24}"/>
                  </a:ext>
                </a:extLst>
              </p:cNvPr>
              <p:cNvSpPr/>
              <p:nvPr/>
            </p:nvSpPr>
            <p:spPr>
              <a:xfrm>
                <a:off x="1072583" y="2785190"/>
                <a:ext cx="4019" cy="10023"/>
              </a:xfrm>
              <a:custGeom>
                <a:avLst/>
                <a:gdLst>
                  <a:gd name="connsiteX0" fmla="*/ 3893 w 4019"/>
                  <a:gd name="connsiteY0" fmla="*/ 1985 h 10023"/>
                  <a:gd name="connsiteX1" fmla="*/ 3893 w 4019"/>
                  <a:gd name="connsiteY1" fmla="*/ 1985 h 10023"/>
                  <a:gd name="connsiteX2" fmla="*/ 628 w 4019"/>
                  <a:gd name="connsiteY2" fmla="*/ 101 h 10023"/>
                  <a:gd name="connsiteX3" fmla="*/ 0 w 4019"/>
                  <a:gd name="connsiteY3" fmla="*/ 478 h 10023"/>
                  <a:gd name="connsiteX4" fmla="*/ 0 w 4019"/>
                  <a:gd name="connsiteY4" fmla="*/ 7134 h 10023"/>
                  <a:gd name="connsiteX5" fmla="*/ 628 w 4019"/>
                  <a:gd name="connsiteY5" fmla="*/ 8139 h 10023"/>
                  <a:gd name="connsiteX6" fmla="*/ 4019 w 4019"/>
                  <a:gd name="connsiteY6" fmla="*/ 10023 h 10023"/>
                  <a:gd name="connsiteX7" fmla="*/ 4019 w 4019"/>
                  <a:gd name="connsiteY7" fmla="*/ 2362 h 10023"/>
                  <a:gd name="connsiteX8" fmla="*/ 3893 w 4019"/>
                  <a:gd name="connsiteY8" fmla="*/ 1985 h 10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10023">
                    <a:moveTo>
                      <a:pt x="3893" y="1985"/>
                    </a:moveTo>
                    <a:lnTo>
                      <a:pt x="3893" y="1985"/>
                    </a:lnTo>
                    <a:lnTo>
                      <a:pt x="628" y="101"/>
                    </a:lnTo>
                    <a:cubicBezTo>
                      <a:pt x="251" y="-150"/>
                      <a:pt x="0" y="101"/>
                      <a:pt x="0" y="478"/>
                    </a:cubicBezTo>
                    <a:lnTo>
                      <a:pt x="0" y="7134"/>
                    </a:lnTo>
                    <a:cubicBezTo>
                      <a:pt x="0" y="7511"/>
                      <a:pt x="251" y="8014"/>
                      <a:pt x="628" y="8139"/>
                    </a:cubicBezTo>
                    <a:lnTo>
                      <a:pt x="4019" y="10023"/>
                    </a:lnTo>
                    <a:lnTo>
                      <a:pt x="4019" y="2362"/>
                    </a:lnTo>
                    <a:cubicBezTo>
                      <a:pt x="4019" y="2362"/>
                      <a:pt x="3893" y="2236"/>
                      <a:pt x="3893" y="1985"/>
                    </a:cubicBez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B1F85199-2924-4C6D-A7F9-EA54EEC94083}"/>
                  </a:ext>
                </a:extLst>
              </p:cNvPr>
              <p:cNvSpPr/>
              <p:nvPr/>
            </p:nvSpPr>
            <p:spPr>
              <a:xfrm>
                <a:off x="1071955" y="2794114"/>
                <a:ext cx="4647" cy="2704"/>
              </a:xfrm>
              <a:custGeom>
                <a:avLst/>
                <a:gdLst>
                  <a:gd name="connsiteX0" fmla="*/ 0 w 4647"/>
                  <a:gd name="connsiteY0" fmla="*/ 345 h 2704"/>
                  <a:gd name="connsiteX1" fmla="*/ 0 w 4647"/>
                  <a:gd name="connsiteY1" fmla="*/ 345 h 2704"/>
                  <a:gd name="connsiteX2" fmla="*/ 3894 w 4647"/>
                  <a:gd name="connsiteY2" fmla="*/ 2606 h 2704"/>
                  <a:gd name="connsiteX3" fmla="*/ 4647 w 4647"/>
                  <a:gd name="connsiteY3" fmla="*/ 2104 h 2704"/>
                  <a:gd name="connsiteX4" fmla="*/ 4647 w 4647"/>
                  <a:gd name="connsiteY4" fmla="*/ 1727 h 2704"/>
                  <a:gd name="connsiteX5" fmla="*/ 2135 w 4647"/>
                  <a:gd name="connsiteY5" fmla="*/ 220 h 2704"/>
                  <a:gd name="connsiteX6" fmla="*/ 0 w 4647"/>
                  <a:gd name="connsiteY6" fmla="*/ 345 h 2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47" h="2704">
                    <a:moveTo>
                      <a:pt x="0" y="345"/>
                    </a:moveTo>
                    <a:lnTo>
                      <a:pt x="0" y="345"/>
                    </a:lnTo>
                    <a:lnTo>
                      <a:pt x="3894" y="2606"/>
                    </a:lnTo>
                    <a:cubicBezTo>
                      <a:pt x="4270" y="2857"/>
                      <a:pt x="4647" y="2606"/>
                      <a:pt x="4647" y="2104"/>
                    </a:cubicBezTo>
                    <a:lnTo>
                      <a:pt x="4647" y="1727"/>
                    </a:lnTo>
                    <a:cubicBezTo>
                      <a:pt x="4647" y="1727"/>
                      <a:pt x="2638" y="597"/>
                      <a:pt x="2135" y="220"/>
                    </a:cubicBezTo>
                    <a:cubicBezTo>
                      <a:pt x="1633" y="-31"/>
                      <a:pt x="754" y="-157"/>
                      <a:pt x="0" y="345"/>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8" name="Graphic 4">
              <a:extLst>
                <a:ext uri="{FF2B5EF4-FFF2-40B4-BE49-F238E27FC236}">
                  <a16:creationId xmlns:a16="http://schemas.microsoft.com/office/drawing/2014/main" id="{84FB7ED1-A2DF-40A1-A747-5F7CF3F14040}"/>
                </a:ext>
              </a:extLst>
            </p:cNvPr>
            <p:cNvGrpSpPr/>
            <p:nvPr/>
          </p:nvGrpSpPr>
          <p:grpSpPr>
            <a:xfrm>
              <a:off x="1071201" y="2785165"/>
              <a:ext cx="3265" cy="8634"/>
              <a:chOff x="1071201" y="2785165"/>
              <a:chExt cx="3265" cy="8634"/>
            </a:xfrm>
            <a:solidFill>
              <a:schemeClr val="accent1"/>
            </a:solidFill>
          </p:grpSpPr>
          <p:sp>
            <p:nvSpPr>
              <p:cNvPr id="189" name="Freeform: Shape 188">
                <a:extLst>
                  <a:ext uri="{FF2B5EF4-FFF2-40B4-BE49-F238E27FC236}">
                    <a16:creationId xmlns:a16="http://schemas.microsoft.com/office/drawing/2014/main" id="{F3DC9A94-A8E8-4371-8490-BA2D9A775B66}"/>
                  </a:ext>
                </a:extLst>
              </p:cNvPr>
              <p:cNvSpPr/>
              <p:nvPr/>
            </p:nvSpPr>
            <p:spPr>
              <a:xfrm>
                <a:off x="1071201" y="2785416"/>
                <a:ext cx="2888" cy="8383"/>
              </a:xfrm>
              <a:custGeom>
                <a:avLst/>
                <a:gdLst>
                  <a:gd name="connsiteX0" fmla="*/ 1758 w 2888"/>
                  <a:gd name="connsiteY0" fmla="*/ 1005 h 8383"/>
                  <a:gd name="connsiteX1" fmla="*/ 0 w 2888"/>
                  <a:gd name="connsiteY1" fmla="*/ 0 h 8383"/>
                  <a:gd name="connsiteX2" fmla="*/ 0 w 2888"/>
                  <a:gd name="connsiteY2" fmla="*/ 7285 h 8383"/>
                  <a:gd name="connsiteX3" fmla="*/ 1758 w 2888"/>
                  <a:gd name="connsiteY3" fmla="*/ 8289 h 8383"/>
                  <a:gd name="connsiteX4" fmla="*/ 2512 w 2888"/>
                  <a:gd name="connsiteY4" fmla="*/ 8289 h 8383"/>
                  <a:gd name="connsiteX5" fmla="*/ 2889 w 2888"/>
                  <a:gd name="connsiteY5" fmla="*/ 7410 h 8383"/>
                  <a:gd name="connsiteX6" fmla="*/ 2889 w 2888"/>
                  <a:gd name="connsiteY6" fmla="*/ 3014 h 8383"/>
                  <a:gd name="connsiteX7" fmla="*/ 1758 w 2888"/>
                  <a:gd name="connsiteY7" fmla="*/ 1005 h 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8" h="8383">
                    <a:moveTo>
                      <a:pt x="1758" y="1005"/>
                    </a:moveTo>
                    <a:lnTo>
                      <a:pt x="0" y="0"/>
                    </a:lnTo>
                    <a:lnTo>
                      <a:pt x="0" y="7285"/>
                    </a:lnTo>
                    <a:lnTo>
                      <a:pt x="1758" y="8289"/>
                    </a:lnTo>
                    <a:cubicBezTo>
                      <a:pt x="2010" y="8415"/>
                      <a:pt x="2261" y="8415"/>
                      <a:pt x="2512" y="8289"/>
                    </a:cubicBezTo>
                    <a:cubicBezTo>
                      <a:pt x="2763" y="8164"/>
                      <a:pt x="2889" y="7913"/>
                      <a:pt x="2889" y="7410"/>
                    </a:cubicBezTo>
                    <a:lnTo>
                      <a:pt x="2889" y="3014"/>
                    </a:lnTo>
                    <a:cubicBezTo>
                      <a:pt x="2889" y="2261"/>
                      <a:pt x="2386" y="1256"/>
                      <a:pt x="1758" y="1005"/>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67B10AFA-0DD3-464A-8EDD-2BF2706E671D}"/>
                  </a:ext>
                </a:extLst>
              </p:cNvPr>
              <p:cNvSpPr/>
              <p:nvPr/>
            </p:nvSpPr>
            <p:spPr>
              <a:xfrm>
                <a:off x="1071201" y="2785165"/>
                <a:ext cx="3265" cy="8414"/>
              </a:xfrm>
              <a:custGeom>
                <a:avLst/>
                <a:gdLst>
                  <a:gd name="connsiteX0" fmla="*/ 2135 w 3265"/>
                  <a:gd name="connsiteY0" fmla="*/ 1005 h 8414"/>
                  <a:gd name="connsiteX1" fmla="*/ 377 w 3265"/>
                  <a:gd name="connsiteY1" fmla="*/ 0 h 8414"/>
                  <a:gd name="connsiteX2" fmla="*/ 0 w 3265"/>
                  <a:gd name="connsiteY2" fmla="*/ 126 h 8414"/>
                  <a:gd name="connsiteX3" fmla="*/ 1758 w 3265"/>
                  <a:gd name="connsiteY3" fmla="*/ 1130 h 8414"/>
                  <a:gd name="connsiteX4" fmla="*/ 2889 w 3265"/>
                  <a:gd name="connsiteY4" fmla="*/ 3140 h 8414"/>
                  <a:gd name="connsiteX5" fmla="*/ 2889 w 3265"/>
                  <a:gd name="connsiteY5" fmla="*/ 7536 h 8414"/>
                  <a:gd name="connsiteX6" fmla="*/ 2512 w 3265"/>
                  <a:gd name="connsiteY6" fmla="*/ 8415 h 8414"/>
                  <a:gd name="connsiteX7" fmla="*/ 2889 w 3265"/>
                  <a:gd name="connsiteY7" fmla="*/ 8289 h 8414"/>
                  <a:gd name="connsiteX8" fmla="*/ 3265 w 3265"/>
                  <a:gd name="connsiteY8" fmla="*/ 7410 h 8414"/>
                  <a:gd name="connsiteX9" fmla="*/ 3265 w 3265"/>
                  <a:gd name="connsiteY9" fmla="*/ 3014 h 8414"/>
                  <a:gd name="connsiteX10" fmla="*/ 2135 w 3265"/>
                  <a:gd name="connsiteY10" fmla="*/ 1005 h 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65" h="8414">
                    <a:moveTo>
                      <a:pt x="2135" y="1005"/>
                    </a:moveTo>
                    <a:lnTo>
                      <a:pt x="377" y="0"/>
                    </a:lnTo>
                    <a:lnTo>
                      <a:pt x="0" y="126"/>
                    </a:lnTo>
                    <a:lnTo>
                      <a:pt x="1758" y="1130"/>
                    </a:lnTo>
                    <a:cubicBezTo>
                      <a:pt x="2386" y="1507"/>
                      <a:pt x="2889" y="2386"/>
                      <a:pt x="2889" y="3140"/>
                    </a:cubicBezTo>
                    <a:lnTo>
                      <a:pt x="2889" y="7536"/>
                    </a:lnTo>
                    <a:cubicBezTo>
                      <a:pt x="2889" y="7912"/>
                      <a:pt x="2763" y="8289"/>
                      <a:pt x="2512" y="8415"/>
                    </a:cubicBezTo>
                    <a:cubicBezTo>
                      <a:pt x="2512" y="8415"/>
                      <a:pt x="2637" y="8289"/>
                      <a:pt x="2889" y="8289"/>
                    </a:cubicBezTo>
                    <a:cubicBezTo>
                      <a:pt x="3140" y="8164"/>
                      <a:pt x="3265" y="7912"/>
                      <a:pt x="3265" y="7410"/>
                    </a:cubicBezTo>
                    <a:lnTo>
                      <a:pt x="3265" y="3014"/>
                    </a:lnTo>
                    <a:cubicBezTo>
                      <a:pt x="3140" y="2261"/>
                      <a:pt x="2637" y="1382"/>
                      <a:pt x="2135" y="1005"/>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1" name="Freeform: Shape 190">
              <a:extLst>
                <a:ext uri="{FF2B5EF4-FFF2-40B4-BE49-F238E27FC236}">
                  <a16:creationId xmlns:a16="http://schemas.microsoft.com/office/drawing/2014/main" id="{1F6CC83C-69FB-49E0-86C5-2BC4F2BE82F0}"/>
                </a:ext>
              </a:extLst>
            </p:cNvPr>
            <p:cNvSpPr/>
            <p:nvPr/>
          </p:nvSpPr>
          <p:spPr>
            <a:xfrm>
              <a:off x="1101721" y="2808275"/>
              <a:ext cx="11861" cy="5902"/>
            </a:xfrm>
            <a:custGeom>
              <a:avLst/>
              <a:gdLst>
                <a:gd name="connsiteX0" fmla="*/ 4145 w 11861"/>
                <a:gd name="connsiteY0" fmla="*/ 5903 h 5902"/>
                <a:gd name="connsiteX1" fmla="*/ 2010 w 11861"/>
                <a:gd name="connsiteY1" fmla="*/ 5400 h 5902"/>
                <a:gd name="connsiteX2" fmla="*/ 0 w 11861"/>
                <a:gd name="connsiteY2" fmla="*/ 1130 h 5902"/>
                <a:gd name="connsiteX3" fmla="*/ 1130 w 11861"/>
                <a:gd name="connsiteY3" fmla="*/ 0 h 5902"/>
                <a:gd name="connsiteX4" fmla="*/ 2261 w 11861"/>
                <a:gd name="connsiteY4" fmla="*/ 1130 h 5902"/>
                <a:gd name="connsiteX5" fmla="*/ 3014 w 11861"/>
                <a:gd name="connsiteY5" fmla="*/ 3391 h 5902"/>
                <a:gd name="connsiteX6" fmla="*/ 10048 w 11861"/>
                <a:gd name="connsiteY6" fmla="*/ 1256 h 5902"/>
                <a:gd name="connsiteX7" fmla="*/ 11680 w 11861"/>
                <a:gd name="connsiteY7" fmla="*/ 1633 h 5902"/>
                <a:gd name="connsiteX8" fmla="*/ 11304 w 11861"/>
                <a:gd name="connsiteY8" fmla="*/ 3265 h 5902"/>
                <a:gd name="connsiteX9" fmla="*/ 4145 w 11861"/>
                <a:gd name="connsiteY9" fmla="*/ 5903 h 5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61" h="5902">
                  <a:moveTo>
                    <a:pt x="4145" y="5903"/>
                  </a:moveTo>
                  <a:cubicBezTo>
                    <a:pt x="3391" y="5903"/>
                    <a:pt x="2637" y="5777"/>
                    <a:pt x="2010" y="5400"/>
                  </a:cubicBezTo>
                  <a:cubicBezTo>
                    <a:pt x="754" y="4647"/>
                    <a:pt x="0" y="3265"/>
                    <a:pt x="0" y="1130"/>
                  </a:cubicBezTo>
                  <a:cubicBezTo>
                    <a:pt x="0" y="502"/>
                    <a:pt x="502" y="0"/>
                    <a:pt x="1130" y="0"/>
                  </a:cubicBezTo>
                  <a:cubicBezTo>
                    <a:pt x="1758" y="0"/>
                    <a:pt x="2261" y="502"/>
                    <a:pt x="2261" y="1130"/>
                  </a:cubicBezTo>
                  <a:cubicBezTo>
                    <a:pt x="2261" y="2010"/>
                    <a:pt x="2386" y="3014"/>
                    <a:pt x="3014" y="3391"/>
                  </a:cubicBezTo>
                  <a:cubicBezTo>
                    <a:pt x="3517" y="3642"/>
                    <a:pt x="5275" y="4019"/>
                    <a:pt x="10048" y="1256"/>
                  </a:cubicBezTo>
                  <a:cubicBezTo>
                    <a:pt x="10550" y="879"/>
                    <a:pt x="11304" y="1130"/>
                    <a:pt x="11680" y="1633"/>
                  </a:cubicBezTo>
                  <a:cubicBezTo>
                    <a:pt x="12057" y="2135"/>
                    <a:pt x="11806" y="2889"/>
                    <a:pt x="11304" y="3265"/>
                  </a:cubicBezTo>
                  <a:cubicBezTo>
                    <a:pt x="8415" y="5024"/>
                    <a:pt x="6029" y="5903"/>
                    <a:pt x="4145" y="590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92" name="Graphic 4">
              <a:extLst>
                <a:ext uri="{FF2B5EF4-FFF2-40B4-BE49-F238E27FC236}">
                  <a16:creationId xmlns:a16="http://schemas.microsoft.com/office/drawing/2014/main" id="{84FB7ED1-A2DF-40A1-A747-5F7CF3F14040}"/>
                </a:ext>
              </a:extLst>
            </p:cNvPr>
            <p:cNvGrpSpPr/>
            <p:nvPr/>
          </p:nvGrpSpPr>
          <p:grpSpPr>
            <a:xfrm>
              <a:off x="1170044" y="2702147"/>
              <a:ext cx="6028" cy="6154"/>
              <a:chOff x="1170044" y="2702147"/>
              <a:chExt cx="6028" cy="6154"/>
            </a:xfrm>
            <a:solidFill>
              <a:schemeClr val="accent1"/>
            </a:solidFill>
          </p:grpSpPr>
          <p:grpSp>
            <p:nvGrpSpPr>
              <p:cNvPr id="193" name="Graphic 4">
                <a:extLst>
                  <a:ext uri="{FF2B5EF4-FFF2-40B4-BE49-F238E27FC236}">
                    <a16:creationId xmlns:a16="http://schemas.microsoft.com/office/drawing/2014/main" id="{84FB7ED1-A2DF-40A1-A747-5F7CF3F14040}"/>
                  </a:ext>
                </a:extLst>
              </p:cNvPr>
              <p:cNvGrpSpPr/>
              <p:nvPr/>
            </p:nvGrpSpPr>
            <p:grpSpPr>
              <a:xfrm>
                <a:off x="1170044" y="2704031"/>
                <a:ext cx="6028" cy="4270"/>
                <a:chOff x="1170044" y="2704031"/>
                <a:chExt cx="6028" cy="4270"/>
              </a:xfrm>
              <a:solidFill>
                <a:schemeClr val="accent1"/>
              </a:solidFill>
            </p:grpSpPr>
            <p:sp>
              <p:nvSpPr>
                <p:cNvPr id="194" name="Freeform: Shape 193">
                  <a:extLst>
                    <a:ext uri="{FF2B5EF4-FFF2-40B4-BE49-F238E27FC236}">
                      <a16:creationId xmlns:a16="http://schemas.microsoft.com/office/drawing/2014/main" id="{1950FC62-243F-4580-8676-E1DD8EC7E632}"/>
                    </a:ext>
                  </a:extLst>
                </p:cNvPr>
                <p:cNvSpPr/>
                <p:nvPr/>
              </p:nvSpPr>
              <p:spPr>
                <a:xfrm>
                  <a:off x="1170044" y="2704031"/>
                  <a:ext cx="6028" cy="3516"/>
                </a:xfrm>
                <a:custGeom>
                  <a:avLst/>
                  <a:gdLst>
                    <a:gd name="connsiteX0" fmla="*/ 3014 w 6028"/>
                    <a:gd name="connsiteY0" fmla="*/ 3517 h 3516"/>
                    <a:gd name="connsiteX1" fmla="*/ 6028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8" y="2763"/>
                        <a:pt x="6028" y="1758"/>
                      </a:cubicBezTo>
                      <a:cubicBezTo>
                        <a:pt x="6028" y="754"/>
                        <a:pt x="4647" y="0"/>
                        <a:pt x="3014" y="0"/>
                      </a:cubicBezTo>
                      <a:cubicBezTo>
                        <a:pt x="1382" y="0"/>
                        <a:pt x="0" y="754"/>
                        <a:pt x="0" y="1758"/>
                      </a:cubicBezTo>
                      <a:cubicBezTo>
                        <a:pt x="0" y="2763"/>
                        <a:pt x="1382"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9EF3271B-E441-45D8-83A3-756BA2298240}"/>
                    </a:ext>
                  </a:extLst>
                </p:cNvPr>
                <p:cNvSpPr/>
                <p:nvPr/>
              </p:nvSpPr>
              <p:spPr>
                <a:xfrm>
                  <a:off x="1170044" y="2705789"/>
                  <a:ext cx="6028" cy="2511"/>
                </a:xfrm>
                <a:custGeom>
                  <a:avLst/>
                  <a:gdLst>
                    <a:gd name="connsiteX0" fmla="*/ 3014 w 6028"/>
                    <a:gd name="connsiteY0" fmla="*/ 1758 h 2511"/>
                    <a:gd name="connsiteX1" fmla="*/ 6028 w 6028"/>
                    <a:gd name="connsiteY1" fmla="*/ 0 h 2511"/>
                    <a:gd name="connsiteX2" fmla="*/ 6028 w 6028"/>
                    <a:gd name="connsiteY2" fmla="*/ 754 h 2511"/>
                    <a:gd name="connsiteX3" fmla="*/ 3014 w 6028"/>
                    <a:gd name="connsiteY3" fmla="*/ 2512 h 2511"/>
                    <a:gd name="connsiteX4" fmla="*/ 0 w 6028"/>
                    <a:gd name="connsiteY4" fmla="*/ 754 h 2511"/>
                    <a:gd name="connsiteX5" fmla="*/ 0 w 6028"/>
                    <a:gd name="connsiteY5" fmla="*/ 0 h 2511"/>
                    <a:gd name="connsiteX6" fmla="*/ 3014 w 6028"/>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1">
                      <a:moveTo>
                        <a:pt x="3014" y="1758"/>
                      </a:moveTo>
                      <a:cubicBezTo>
                        <a:pt x="4647" y="1758"/>
                        <a:pt x="6028" y="1005"/>
                        <a:pt x="6028" y="0"/>
                      </a:cubicBezTo>
                      <a:cubicBezTo>
                        <a:pt x="6028" y="0"/>
                        <a:pt x="6028" y="502"/>
                        <a:pt x="6028" y="754"/>
                      </a:cubicBezTo>
                      <a:cubicBezTo>
                        <a:pt x="6028" y="1758"/>
                        <a:pt x="4647" y="2512"/>
                        <a:pt x="3014" y="2512"/>
                      </a:cubicBezTo>
                      <a:cubicBezTo>
                        <a:pt x="1382" y="2512"/>
                        <a:pt x="0" y="1758"/>
                        <a:pt x="0" y="754"/>
                      </a:cubicBezTo>
                      <a:cubicBezTo>
                        <a:pt x="0" y="502"/>
                        <a:pt x="0" y="0"/>
                        <a:pt x="0" y="0"/>
                      </a:cubicBezTo>
                      <a:cubicBezTo>
                        <a:pt x="0" y="1005"/>
                        <a:pt x="1382"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6" name="Graphic 4">
                <a:extLst>
                  <a:ext uri="{FF2B5EF4-FFF2-40B4-BE49-F238E27FC236}">
                    <a16:creationId xmlns:a16="http://schemas.microsoft.com/office/drawing/2014/main" id="{84FB7ED1-A2DF-40A1-A747-5F7CF3F14040}"/>
                  </a:ext>
                </a:extLst>
              </p:cNvPr>
              <p:cNvGrpSpPr/>
              <p:nvPr/>
            </p:nvGrpSpPr>
            <p:grpSpPr>
              <a:xfrm>
                <a:off x="1170923" y="2702147"/>
                <a:ext cx="4270" cy="5023"/>
                <a:chOff x="1170923" y="2702147"/>
                <a:chExt cx="4270" cy="5023"/>
              </a:xfrm>
              <a:solidFill>
                <a:schemeClr val="accent1"/>
              </a:solidFill>
            </p:grpSpPr>
            <p:sp>
              <p:nvSpPr>
                <p:cNvPr id="197" name="Freeform: Shape 196">
                  <a:extLst>
                    <a:ext uri="{FF2B5EF4-FFF2-40B4-BE49-F238E27FC236}">
                      <a16:creationId xmlns:a16="http://schemas.microsoft.com/office/drawing/2014/main" id="{FCA0FAD9-B846-47E7-B41C-3CDB5FC8F98B}"/>
                    </a:ext>
                  </a:extLst>
                </p:cNvPr>
                <p:cNvSpPr/>
                <p:nvPr/>
              </p:nvSpPr>
              <p:spPr>
                <a:xfrm>
                  <a:off x="1171426" y="2702147"/>
                  <a:ext cx="3265" cy="2009"/>
                </a:xfrm>
                <a:custGeom>
                  <a:avLst/>
                  <a:gdLst>
                    <a:gd name="connsiteX0" fmla="*/ 3265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5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5" y="1005"/>
                      </a:moveTo>
                      <a:cubicBezTo>
                        <a:pt x="3265" y="1560"/>
                        <a:pt x="2534" y="2010"/>
                        <a:pt x="1633" y="2010"/>
                      </a:cubicBezTo>
                      <a:cubicBezTo>
                        <a:pt x="731" y="2010"/>
                        <a:pt x="0" y="1560"/>
                        <a:pt x="0" y="1005"/>
                      </a:cubicBezTo>
                      <a:cubicBezTo>
                        <a:pt x="0" y="450"/>
                        <a:pt x="731" y="0"/>
                        <a:pt x="1633" y="0"/>
                      </a:cubicBezTo>
                      <a:cubicBezTo>
                        <a:pt x="2535" y="0"/>
                        <a:pt x="3265" y="450"/>
                        <a:pt x="3265"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49385208-165B-40B0-B509-3DC54DCE5555}"/>
                    </a:ext>
                  </a:extLst>
                </p:cNvPr>
                <p:cNvSpPr/>
                <p:nvPr/>
              </p:nvSpPr>
              <p:spPr>
                <a:xfrm>
                  <a:off x="1170923" y="2703152"/>
                  <a:ext cx="4270" cy="4019"/>
                </a:xfrm>
                <a:custGeom>
                  <a:avLst/>
                  <a:gdLst>
                    <a:gd name="connsiteX0" fmla="*/ 2135 w 4270"/>
                    <a:gd name="connsiteY0" fmla="*/ 1005 h 4019"/>
                    <a:gd name="connsiteX1" fmla="*/ 3768 w 4270"/>
                    <a:gd name="connsiteY1" fmla="*/ 0 h 4019"/>
                    <a:gd name="connsiteX2" fmla="*/ 4270 w 4270"/>
                    <a:gd name="connsiteY2" fmla="*/ 2763 h 4019"/>
                    <a:gd name="connsiteX3" fmla="*/ 2135 w 4270"/>
                    <a:gd name="connsiteY3" fmla="*/ 4019 h 4019"/>
                    <a:gd name="connsiteX4" fmla="*/ 0 w 4270"/>
                    <a:gd name="connsiteY4" fmla="*/ 2763 h 4019"/>
                    <a:gd name="connsiteX5" fmla="*/ 502 w 4270"/>
                    <a:gd name="connsiteY5" fmla="*/ 0 h 4019"/>
                    <a:gd name="connsiteX6" fmla="*/ 2135 w 4270"/>
                    <a:gd name="connsiteY6" fmla="*/ 1005 h 4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0" h="4019">
                      <a:moveTo>
                        <a:pt x="2135" y="1005"/>
                      </a:moveTo>
                      <a:cubicBezTo>
                        <a:pt x="3014" y="1005"/>
                        <a:pt x="3768" y="628"/>
                        <a:pt x="3768" y="0"/>
                      </a:cubicBezTo>
                      <a:cubicBezTo>
                        <a:pt x="3768" y="0"/>
                        <a:pt x="4270" y="2512"/>
                        <a:pt x="4270" y="2763"/>
                      </a:cubicBezTo>
                      <a:cubicBezTo>
                        <a:pt x="4270" y="3391"/>
                        <a:pt x="3265" y="4019"/>
                        <a:pt x="2135" y="4019"/>
                      </a:cubicBezTo>
                      <a:cubicBezTo>
                        <a:pt x="879" y="4019"/>
                        <a:pt x="0" y="3517"/>
                        <a:pt x="0" y="2763"/>
                      </a:cubicBezTo>
                      <a:cubicBezTo>
                        <a:pt x="0" y="2512"/>
                        <a:pt x="502" y="0"/>
                        <a:pt x="502" y="0"/>
                      </a:cubicBezTo>
                      <a:cubicBezTo>
                        <a:pt x="502" y="502"/>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99" name="Graphic 4">
              <a:extLst>
                <a:ext uri="{FF2B5EF4-FFF2-40B4-BE49-F238E27FC236}">
                  <a16:creationId xmlns:a16="http://schemas.microsoft.com/office/drawing/2014/main" id="{84FB7ED1-A2DF-40A1-A747-5F7CF3F14040}"/>
                </a:ext>
              </a:extLst>
            </p:cNvPr>
            <p:cNvGrpSpPr/>
            <p:nvPr/>
          </p:nvGrpSpPr>
          <p:grpSpPr>
            <a:xfrm>
              <a:off x="1159494" y="2708176"/>
              <a:ext cx="6028" cy="6279"/>
              <a:chOff x="1159494" y="2708176"/>
              <a:chExt cx="6028" cy="6279"/>
            </a:xfrm>
            <a:solidFill>
              <a:schemeClr val="accent1"/>
            </a:solidFill>
          </p:grpSpPr>
          <p:grpSp>
            <p:nvGrpSpPr>
              <p:cNvPr id="200" name="Graphic 4">
                <a:extLst>
                  <a:ext uri="{FF2B5EF4-FFF2-40B4-BE49-F238E27FC236}">
                    <a16:creationId xmlns:a16="http://schemas.microsoft.com/office/drawing/2014/main" id="{84FB7ED1-A2DF-40A1-A747-5F7CF3F14040}"/>
                  </a:ext>
                </a:extLst>
              </p:cNvPr>
              <p:cNvGrpSpPr/>
              <p:nvPr/>
            </p:nvGrpSpPr>
            <p:grpSpPr>
              <a:xfrm>
                <a:off x="1159494" y="2710185"/>
                <a:ext cx="6028" cy="4270"/>
                <a:chOff x="1159494" y="2710185"/>
                <a:chExt cx="6028" cy="4270"/>
              </a:xfrm>
              <a:solidFill>
                <a:schemeClr val="accent1"/>
              </a:solidFill>
            </p:grpSpPr>
            <p:sp>
              <p:nvSpPr>
                <p:cNvPr id="201" name="Freeform: Shape 200">
                  <a:extLst>
                    <a:ext uri="{FF2B5EF4-FFF2-40B4-BE49-F238E27FC236}">
                      <a16:creationId xmlns:a16="http://schemas.microsoft.com/office/drawing/2014/main" id="{02C65B42-6541-44BB-B268-28856D926618}"/>
                    </a:ext>
                  </a:extLst>
                </p:cNvPr>
                <p:cNvSpPr/>
                <p:nvPr/>
              </p:nvSpPr>
              <p:spPr>
                <a:xfrm>
                  <a:off x="1159494" y="2710185"/>
                  <a:ext cx="6028" cy="3516"/>
                </a:xfrm>
                <a:custGeom>
                  <a:avLst/>
                  <a:gdLst>
                    <a:gd name="connsiteX0" fmla="*/ 3014 w 6028"/>
                    <a:gd name="connsiteY0" fmla="*/ 3517 h 3516"/>
                    <a:gd name="connsiteX1" fmla="*/ 6029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9" y="2763"/>
                        <a:pt x="6029" y="1758"/>
                      </a:cubicBezTo>
                      <a:cubicBezTo>
                        <a:pt x="6029" y="754"/>
                        <a:pt x="4647" y="0"/>
                        <a:pt x="3014" y="0"/>
                      </a:cubicBezTo>
                      <a:cubicBezTo>
                        <a:pt x="1382" y="0"/>
                        <a:pt x="0" y="754"/>
                        <a:pt x="0" y="1758"/>
                      </a:cubicBezTo>
                      <a:cubicBezTo>
                        <a:pt x="0" y="2763"/>
                        <a:pt x="1382"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7A907310-AB93-4DE6-A17D-7DF1E9ED910A}"/>
                    </a:ext>
                  </a:extLst>
                </p:cNvPr>
                <p:cNvSpPr/>
                <p:nvPr/>
              </p:nvSpPr>
              <p:spPr>
                <a:xfrm>
                  <a:off x="1159494" y="2711944"/>
                  <a:ext cx="6028" cy="2511"/>
                </a:xfrm>
                <a:custGeom>
                  <a:avLst/>
                  <a:gdLst>
                    <a:gd name="connsiteX0" fmla="*/ 3014 w 6028"/>
                    <a:gd name="connsiteY0" fmla="*/ 1758 h 2511"/>
                    <a:gd name="connsiteX1" fmla="*/ 6029 w 6028"/>
                    <a:gd name="connsiteY1" fmla="*/ 0 h 2511"/>
                    <a:gd name="connsiteX2" fmla="*/ 6029 w 6028"/>
                    <a:gd name="connsiteY2" fmla="*/ 754 h 2511"/>
                    <a:gd name="connsiteX3" fmla="*/ 3014 w 6028"/>
                    <a:gd name="connsiteY3" fmla="*/ 2512 h 2511"/>
                    <a:gd name="connsiteX4" fmla="*/ 0 w 6028"/>
                    <a:gd name="connsiteY4" fmla="*/ 754 h 2511"/>
                    <a:gd name="connsiteX5" fmla="*/ 0 w 6028"/>
                    <a:gd name="connsiteY5" fmla="*/ 0 h 2511"/>
                    <a:gd name="connsiteX6" fmla="*/ 3014 w 6028"/>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1">
                      <a:moveTo>
                        <a:pt x="3014" y="1758"/>
                      </a:moveTo>
                      <a:cubicBezTo>
                        <a:pt x="4647" y="1758"/>
                        <a:pt x="6029" y="1005"/>
                        <a:pt x="6029" y="0"/>
                      </a:cubicBezTo>
                      <a:cubicBezTo>
                        <a:pt x="6029" y="0"/>
                        <a:pt x="6029" y="502"/>
                        <a:pt x="6029" y="754"/>
                      </a:cubicBezTo>
                      <a:cubicBezTo>
                        <a:pt x="6029" y="1758"/>
                        <a:pt x="4647" y="2512"/>
                        <a:pt x="3014" y="2512"/>
                      </a:cubicBezTo>
                      <a:cubicBezTo>
                        <a:pt x="1382" y="2512"/>
                        <a:pt x="0" y="1758"/>
                        <a:pt x="0" y="754"/>
                      </a:cubicBezTo>
                      <a:cubicBezTo>
                        <a:pt x="0" y="502"/>
                        <a:pt x="0" y="0"/>
                        <a:pt x="0" y="0"/>
                      </a:cubicBezTo>
                      <a:cubicBezTo>
                        <a:pt x="0" y="1005"/>
                        <a:pt x="1382"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03" name="Graphic 4">
                <a:extLst>
                  <a:ext uri="{FF2B5EF4-FFF2-40B4-BE49-F238E27FC236}">
                    <a16:creationId xmlns:a16="http://schemas.microsoft.com/office/drawing/2014/main" id="{84FB7ED1-A2DF-40A1-A747-5F7CF3F14040}"/>
                  </a:ext>
                </a:extLst>
              </p:cNvPr>
              <p:cNvGrpSpPr/>
              <p:nvPr/>
            </p:nvGrpSpPr>
            <p:grpSpPr>
              <a:xfrm>
                <a:off x="1160373" y="2708176"/>
                <a:ext cx="4270" cy="5023"/>
                <a:chOff x="1160373" y="2708176"/>
                <a:chExt cx="4270" cy="5023"/>
              </a:xfrm>
              <a:solidFill>
                <a:schemeClr val="accent1"/>
              </a:solidFill>
            </p:grpSpPr>
            <p:sp>
              <p:nvSpPr>
                <p:cNvPr id="204" name="Freeform: Shape 203">
                  <a:extLst>
                    <a:ext uri="{FF2B5EF4-FFF2-40B4-BE49-F238E27FC236}">
                      <a16:creationId xmlns:a16="http://schemas.microsoft.com/office/drawing/2014/main" id="{862E8ACC-9E6A-4ACE-ADAE-5A2252884254}"/>
                    </a:ext>
                  </a:extLst>
                </p:cNvPr>
                <p:cNvSpPr/>
                <p:nvPr/>
              </p:nvSpPr>
              <p:spPr>
                <a:xfrm>
                  <a:off x="1160876" y="2708176"/>
                  <a:ext cx="3265" cy="2009"/>
                </a:xfrm>
                <a:custGeom>
                  <a:avLst/>
                  <a:gdLst>
                    <a:gd name="connsiteX0" fmla="*/ 3265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5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5" y="1005"/>
                      </a:moveTo>
                      <a:cubicBezTo>
                        <a:pt x="3265" y="1560"/>
                        <a:pt x="2534" y="2010"/>
                        <a:pt x="1633" y="2010"/>
                      </a:cubicBezTo>
                      <a:cubicBezTo>
                        <a:pt x="731" y="2010"/>
                        <a:pt x="0" y="1560"/>
                        <a:pt x="0" y="1005"/>
                      </a:cubicBezTo>
                      <a:cubicBezTo>
                        <a:pt x="0" y="450"/>
                        <a:pt x="731" y="0"/>
                        <a:pt x="1633" y="0"/>
                      </a:cubicBezTo>
                      <a:cubicBezTo>
                        <a:pt x="2535" y="0"/>
                        <a:pt x="3265" y="450"/>
                        <a:pt x="3265"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BEBF424C-8191-4296-9D9D-CE1AB1459155}"/>
                    </a:ext>
                  </a:extLst>
                </p:cNvPr>
                <p:cNvSpPr/>
                <p:nvPr/>
              </p:nvSpPr>
              <p:spPr>
                <a:xfrm>
                  <a:off x="1160373" y="2709180"/>
                  <a:ext cx="4270" cy="4019"/>
                </a:xfrm>
                <a:custGeom>
                  <a:avLst/>
                  <a:gdLst>
                    <a:gd name="connsiteX0" fmla="*/ 2135 w 4270"/>
                    <a:gd name="connsiteY0" fmla="*/ 1005 h 4019"/>
                    <a:gd name="connsiteX1" fmla="*/ 3768 w 4270"/>
                    <a:gd name="connsiteY1" fmla="*/ 0 h 4019"/>
                    <a:gd name="connsiteX2" fmla="*/ 4270 w 4270"/>
                    <a:gd name="connsiteY2" fmla="*/ 2763 h 4019"/>
                    <a:gd name="connsiteX3" fmla="*/ 2135 w 4270"/>
                    <a:gd name="connsiteY3" fmla="*/ 4019 h 4019"/>
                    <a:gd name="connsiteX4" fmla="*/ 0 w 4270"/>
                    <a:gd name="connsiteY4" fmla="*/ 2763 h 4019"/>
                    <a:gd name="connsiteX5" fmla="*/ 502 w 4270"/>
                    <a:gd name="connsiteY5" fmla="*/ 0 h 4019"/>
                    <a:gd name="connsiteX6" fmla="*/ 2135 w 4270"/>
                    <a:gd name="connsiteY6" fmla="*/ 1005 h 4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0" h="4019">
                      <a:moveTo>
                        <a:pt x="2135" y="1005"/>
                      </a:moveTo>
                      <a:cubicBezTo>
                        <a:pt x="3014" y="1005"/>
                        <a:pt x="3768" y="628"/>
                        <a:pt x="3768" y="0"/>
                      </a:cubicBezTo>
                      <a:cubicBezTo>
                        <a:pt x="3768" y="0"/>
                        <a:pt x="4270" y="2512"/>
                        <a:pt x="4270" y="2763"/>
                      </a:cubicBezTo>
                      <a:cubicBezTo>
                        <a:pt x="4270" y="3391"/>
                        <a:pt x="3265" y="4019"/>
                        <a:pt x="2135" y="4019"/>
                      </a:cubicBezTo>
                      <a:cubicBezTo>
                        <a:pt x="879" y="4019"/>
                        <a:pt x="0" y="3517"/>
                        <a:pt x="0" y="2763"/>
                      </a:cubicBezTo>
                      <a:cubicBezTo>
                        <a:pt x="0" y="2512"/>
                        <a:pt x="502" y="0"/>
                        <a:pt x="502" y="0"/>
                      </a:cubicBezTo>
                      <a:cubicBezTo>
                        <a:pt x="502" y="628"/>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06" name="Freeform: Shape 205">
              <a:extLst>
                <a:ext uri="{FF2B5EF4-FFF2-40B4-BE49-F238E27FC236}">
                  <a16:creationId xmlns:a16="http://schemas.microsoft.com/office/drawing/2014/main" id="{BB0214EC-01F4-4B8F-B81D-F0E850B3C852}"/>
                </a:ext>
              </a:extLst>
            </p:cNvPr>
            <p:cNvSpPr/>
            <p:nvPr/>
          </p:nvSpPr>
          <p:spPr>
            <a:xfrm>
              <a:off x="548350" y="2500097"/>
              <a:ext cx="99847" cy="57742"/>
            </a:xfrm>
            <a:custGeom>
              <a:avLst/>
              <a:gdLst>
                <a:gd name="connsiteX0" fmla="*/ 2135 w 99847"/>
                <a:gd name="connsiteY0" fmla="*/ 49076 h 57742"/>
                <a:gd name="connsiteX1" fmla="*/ 84902 w 99847"/>
                <a:gd name="connsiteY1" fmla="*/ 1225 h 57742"/>
                <a:gd name="connsiteX2" fmla="*/ 95075 w 99847"/>
                <a:gd name="connsiteY2" fmla="*/ 1225 h 57742"/>
                <a:gd name="connsiteX3" fmla="*/ 99848 w 99847"/>
                <a:gd name="connsiteY3" fmla="*/ 3988 h 57742"/>
                <a:gd name="connsiteX4" fmla="*/ 94573 w 99847"/>
                <a:gd name="connsiteY4" fmla="*/ 7002 h 57742"/>
                <a:gd name="connsiteX5" fmla="*/ 90051 w 99847"/>
                <a:gd name="connsiteY5" fmla="*/ 4490 h 57742"/>
                <a:gd name="connsiteX6" fmla="*/ 7661 w 99847"/>
                <a:gd name="connsiteY6" fmla="*/ 52090 h 57742"/>
                <a:gd name="connsiteX7" fmla="*/ 12308 w 99847"/>
                <a:gd name="connsiteY7" fmla="*/ 54728 h 57742"/>
                <a:gd name="connsiteX8" fmla="*/ 7033 w 99847"/>
                <a:gd name="connsiteY8" fmla="*/ 57742 h 57742"/>
                <a:gd name="connsiteX9" fmla="*/ 2135 w 99847"/>
                <a:gd name="connsiteY9" fmla="*/ 54979 h 57742"/>
                <a:gd name="connsiteX10" fmla="*/ 0 w 99847"/>
                <a:gd name="connsiteY10" fmla="*/ 51965 h 57742"/>
                <a:gd name="connsiteX11" fmla="*/ 2135 w 99847"/>
                <a:gd name="connsiteY11" fmla="*/ 49076 h 5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847" h="57742">
                  <a:moveTo>
                    <a:pt x="2135" y="49076"/>
                  </a:moveTo>
                  <a:lnTo>
                    <a:pt x="84902" y="1225"/>
                  </a:lnTo>
                  <a:cubicBezTo>
                    <a:pt x="87665" y="-408"/>
                    <a:pt x="92312" y="-408"/>
                    <a:pt x="95075" y="1225"/>
                  </a:cubicBezTo>
                  <a:lnTo>
                    <a:pt x="99848" y="3988"/>
                  </a:lnTo>
                  <a:lnTo>
                    <a:pt x="94573" y="7002"/>
                  </a:lnTo>
                  <a:lnTo>
                    <a:pt x="90051" y="4490"/>
                  </a:lnTo>
                  <a:lnTo>
                    <a:pt x="7661" y="52090"/>
                  </a:lnTo>
                  <a:lnTo>
                    <a:pt x="12308" y="54728"/>
                  </a:lnTo>
                  <a:lnTo>
                    <a:pt x="7033" y="57742"/>
                  </a:lnTo>
                  <a:lnTo>
                    <a:pt x="2135" y="54979"/>
                  </a:lnTo>
                  <a:cubicBezTo>
                    <a:pt x="754" y="54226"/>
                    <a:pt x="0" y="53095"/>
                    <a:pt x="0" y="51965"/>
                  </a:cubicBezTo>
                  <a:cubicBezTo>
                    <a:pt x="0" y="50960"/>
                    <a:pt x="754" y="49830"/>
                    <a:pt x="2135" y="4907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03B2F079-F9BB-410E-8E5D-A061EE29F0CD}"/>
                </a:ext>
              </a:extLst>
            </p:cNvPr>
            <p:cNvSpPr/>
            <p:nvPr/>
          </p:nvSpPr>
          <p:spPr>
            <a:xfrm>
              <a:off x="642923" y="2504084"/>
              <a:ext cx="5274" cy="11554"/>
            </a:xfrm>
            <a:custGeom>
              <a:avLst/>
              <a:gdLst>
                <a:gd name="connsiteX0" fmla="*/ 5275 w 5274"/>
                <a:gd name="connsiteY0" fmla="*/ 0 h 11554"/>
                <a:gd name="connsiteX1" fmla="*/ 5275 w 5274"/>
                <a:gd name="connsiteY1" fmla="*/ 8540 h 11554"/>
                <a:gd name="connsiteX2" fmla="*/ 0 w 5274"/>
                <a:gd name="connsiteY2" fmla="*/ 11555 h 11554"/>
                <a:gd name="connsiteX3" fmla="*/ 0 w 5274"/>
                <a:gd name="connsiteY3" fmla="*/ 3140 h 11554"/>
              </a:gdLst>
              <a:ahLst/>
              <a:cxnLst>
                <a:cxn ang="0">
                  <a:pos x="connsiteX0" y="connsiteY0"/>
                </a:cxn>
                <a:cxn ang="0">
                  <a:pos x="connsiteX1" y="connsiteY1"/>
                </a:cxn>
                <a:cxn ang="0">
                  <a:pos x="connsiteX2" y="connsiteY2"/>
                </a:cxn>
                <a:cxn ang="0">
                  <a:pos x="connsiteX3" y="connsiteY3"/>
                </a:cxn>
              </a:cxnLst>
              <a:rect l="l" t="t" r="r" b="b"/>
              <a:pathLst>
                <a:path w="5274" h="11554">
                  <a:moveTo>
                    <a:pt x="5275" y="0"/>
                  </a:moveTo>
                  <a:lnTo>
                    <a:pt x="5275" y="8540"/>
                  </a:lnTo>
                  <a:lnTo>
                    <a:pt x="0" y="11555"/>
                  </a:lnTo>
                  <a:lnTo>
                    <a:pt x="0" y="3140"/>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E04A56A3-8AC1-427A-9463-2B883A1B3B09}"/>
                </a:ext>
              </a:extLst>
            </p:cNvPr>
            <p:cNvSpPr/>
            <p:nvPr/>
          </p:nvSpPr>
          <p:spPr>
            <a:xfrm>
              <a:off x="556011" y="2504587"/>
              <a:ext cx="86911" cy="53377"/>
            </a:xfrm>
            <a:custGeom>
              <a:avLst/>
              <a:gdLst>
                <a:gd name="connsiteX0" fmla="*/ 82390 w 86911"/>
                <a:gd name="connsiteY0" fmla="*/ 0 h 53377"/>
                <a:gd name="connsiteX1" fmla="*/ 86912 w 86911"/>
                <a:gd name="connsiteY1" fmla="*/ 2637 h 53377"/>
                <a:gd name="connsiteX2" fmla="*/ 86912 w 86911"/>
                <a:gd name="connsiteY2" fmla="*/ 11052 h 53377"/>
                <a:gd name="connsiteX3" fmla="*/ 82390 w 86911"/>
                <a:gd name="connsiteY3" fmla="*/ 8415 h 53377"/>
                <a:gd name="connsiteX4" fmla="*/ 4521 w 86911"/>
                <a:gd name="connsiteY4" fmla="*/ 53378 h 53377"/>
                <a:gd name="connsiteX5" fmla="*/ 4521 w 86911"/>
                <a:gd name="connsiteY5" fmla="*/ 50238 h 53377"/>
                <a:gd name="connsiteX6" fmla="*/ 0 w 86911"/>
                <a:gd name="connsiteY6" fmla="*/ 47475 h 5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11" h="53377">
                  <a:moveTo>
                    <a:pt x="82390" y="0"/>
                  </a:moveTo>
                  <a:lnTo>
                    <a:pt x="86912" y="2637"/>
                  </a:lnTo>
                  <a:lnTo>
                    <a:pt x="86912" y="11052"/>
                  </a:lnTo>
                  <a:lnTo>
                    <a:pt x="82390" y="8415"/>
                  </a:lnTo>
                  <a:lnTo>
                    <a:pt x="4521" y="53378"/>
                  </a:lnTo>
                  <a:lnTo>
                    <a:pt x="4521" y="50238"/>
                  </a:lnTo>
                  <a:lnTo>
                    <a:pt x="0" y="47475"/>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7B3E7975-D160-4FB3-BF6B-785CAD12D1F7}"/>
                </a:ext>
              </a:extLst>
            </p:cNvPr>
            <p:cNvSpPr/>
            <p:nvPr/>
          </p:nvSpPr>
          <p:spPr>
            <a:xfrm>
              <a:off x="555258" y="2554824"/>
              <a:ext cx="5274" cy="11429"/>
            </a:xfrm>
            <a:custGeom>
              <a:avLst/>
              <a:gdLst>
                <a:gd name="connsiteX0" fmla="*/ 5275 w 5274"/>
                <a:gd name="connsiteY0" fmla="*/ 0 h 11429"/>
                <a:gd name="connsiteX1" fmla="*/ 5275 w 5274"/>
                <a:gd name="connsiteY1" fmla="*/ 8415 h 11429"/>
                <a:gd name="connsiteX2" fmla="*/ 0 w 5274"/>
                <a:gd name="connsiteY2" fmla="*/ 11429 h 11429"/>
                <a:gd name="connsiteX3" fmla="*/ 0 w 5274"/>
                <a:gd name="connsiteY3" fmla="*/ 3014 h 11429"/>
              </a:gdLst>
              <a:ahLst/>
              <a:cxnLst>
                <a:cxn ang="0">
                  <a:pos x="connsiteX0" y="connsiteY0"/>
                </a:cxn>
                <a:cxn ang="0">
                  <a:pos x="connsiteX1" y="connsiteY1"/>
                </a:cxn>
                <a:cxn ang="0">
                  <a:pos x="connsiteX2" y="connsiteY2"/>
                </a:cxn>
                <a:cxn ang="0">
                  <a:pos x="connsiteX3" y="connsiteY3"/>
                </a:cxn>
              </a:cxnLst>
              <a:rect l="l" t="t" r="r" b="b"/>
              <a:pathLst>
                <a:path w="5274" h="11429">
                  <a:moveTo>
                    <a:pt x="5275" y="0"/>
                  </a:moveTo>
                  <a:lnTo>
                    <a:pt x="5275" y="8415"/>
                  </a:lnTo>
                  <a:lnTo>
                    <a:pt x="0" y="11429"/>
                  </a:lnTo>
                  <a:lnTo>
                    <a:pt x="0" y="3014"/>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6F075A1D-4340-4DA4-9CF4-EB8BE5EC5959}"/>
                </a:ext>
              </a:extLst>
            </p:cNvPr>
            <p:cNvSpPr/>
            <p:nvPr/>
          </p:nvSpPr>
          <p:spPr>
            <a:xfrm>
              <a:off x="548350" y="2552187"/>
              <a:ext cx="6907" cy="14066"/>
            </a:xfrm>
            <a:custGeom>
              <a:avLst/>
              <a:gdLst>
                <a:gd name="connsiteX0" fmla="*/ 2135 w 6907"/>
                <a:gd name="connsiteY0" fmla="*/ 2889 h 14066"/>
                <a:gd name="connsiteX1" fmla="*/ 6908 w 6907"/>
                <a:gd name="connsiteY1" fmla="*/ 5652 h 14066"/>
                <a:gd name="connsiteX2" fmla="*/ 6908 w 6907"/>
                <a:gd name="connsiteY2" fmla="*/ 14067 h 14066"/>
                <a:gd name="connsiteX3" fmla="*/ 2135 w 6907"/>
                <a:gd name="connsiteY3" fmla="*/ 11303 h 14066"/>
                <a:gd name="connsiteX4" fmla="*/ 0 w 6907"/>
                <a:gd name="connsiteY4" fmla="*/ 8415 h 14066"/>
                <a:gd name="connsiteX5" fmla="*/ 0 w 6907"/>
                <a:gd name="connsiteY5" fmla="*/ 0 h 14066"/>
                <a:gd name="connsiteX6" fmla="*/ 2135 w 6907"/>
                <a:gd name="connsiteY6" fmla="*/ 2889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7" h="14066">
                  <a:moveTo>
                    <a:pt x="2135" y="2889"/>
                  </a:moveTo>
                  <a:lnTo>
                    <a:pt x="6908" y="5652"/>
                  </a:lnTo>
                  <a:lnTo>
                    <a:pt x="6908" y="14067"/>
                  </a:lnTo>
                  <a:lnTo>
                    <a:pt x="2135" y="11303"/>
                  </a:lnTo>
                  <a:cubicBezTo>
                    <a:pt x="754" y="10550"/>
                    <a:pt x="0" y="9420"/>
                    <a:pt x="0" y="8415"/>
                  </a:cubicBezTo>
                  <a:cubicBezTo>
                    <a:pt x="0" y="7410"/>
                    <a:pt x="0" y="0"/>
                    <a:pt x="0" y="0"/>
                  </a:cubicBezTo>
                  <a:cubicBezTo>
                    <a:pt x="0" y="1005"/>
                    <a:pt x="628" y="2009"/>
                    <a:pt x="2135" y="288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934A6FDA-7095-46CE-86FF-867DA058A3BE}"/>
                </a:ext>
              </a:extLst>
            </p:cNvPr>
            <p:cNvSpPr/>
            <p:nvPr/>
          </p:nvSpPr>
          <p:spPr>
            <a:xfrm>
              <a:off x="568947" y="2529078"/>
              <a:ext cx="399140" cy="211501"/>
            </a:xfrm>
            <a:custGeom>
              <a:avLst/>
              <a:gdLst>
                <a:gd name="connsiteX0" fmla="*/ 295022 w 399140"/>
                <a:gd name="connsiteY0" fmla="*/ 143052 h 211501"/>
                <a:gd name="connsiteX1" fmla="*/ 209618 w 399140"/>
                <a:gd name="connsiteY1" fmla="*/ 121073 h 211501"/>
                <a:gd name="connsiteX2" fmla="*/ 0 w 399140"/>
                <a:gd name="connsiteY2" fmla="*/ 0 h 211501"/>
                <a:gd name="connsiteX3" fmla="*/ 0 w 399140"/>
                <a:gd name="connsiteY3" fmla="*/ 16704 h 211501"/>
                <a:gd name="connsiteX4" fmla="*/ 208236 w 399140"/>
                <a:gd name="connsiteY4" fmla="*/ 136898 h 211501"/>
                <a:gd name="connsiteX5" fmla="*/ 293641 w 399140"/>
                <a:gd name="connsiteY5" fmla="*/ 158877 h 211501"/>
                <a:gd name="connsiteX6" fmla="*/ 384697 w 399140"/>
                <a:gd name="connsiteY6" fmla="*/ 211502 h 211501"/>
                <a:gd name="connsiteX7" fmla="*/ 399140 w 399140"/>
                <a:gd name="connsiteY7" fmla="*/ 203087 h 21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9140" h="211501">
                  <a:moveTo>
                    <a:pt x="295022" y="143052"/>
                  </a:moveTo>
                  <a:lnTo>
                    <a:pt x="209618" y="121073"/>
                  </a:lnTo>
                  <a:lnTo>
                    <a:pt x="0" y="0"/>
                  </a:lnTo>
                  <a:lnTo>
                    <a:pt x="0" y="16704"/>
                  </a:lnTo>
                  <a:lnTo>
                    <a:pt x="208236" y="136898"/>
                  </a:lnTo>
                  <a:lnTo>
                    <a:pt x="293641" y="158877"/>
                  </a:lnTo>
                  <a:lnTo>
                    <a:pt x="384697" y="211502"/>
                  </a:lnTo>
                  <a:lnTo>
                    <a:pt x="399140" y="203087"/>
                  </a:lnTo>
                  <a:close/>
                </a:path>
              </a:pathLst>
            </a:custGeom>
            <a:solidFill>
              <a:srgbClr val="1A17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4F7B7663-B8AA-4151-A9E8-71F50405ECC0}"/>
                </a:ext>
              </a:extLst>
            </p:cNvPr>
            <p:cNvSpPr/>
            <p:nvPr/>
          </p:nvSpPr>
          <p:spPr>
            <a:xfrm>
              <a:off x="574850" y="2560830"/>
              <a:ext cx="27379" cy="25016"/>
            </a:xfrm>
            <a:custGeom>
              <a:avLst/>
              <a:gdLst>
                <a:gd name="connsiteX0" fmla="*/ 6280 w 27379"/>
                <a:gd name="connsiteY0" fmla="*/ 7056 h 25016"/>
                <a:gd name="connsiteX1" fmla="*/ 0 w 27379"/>
                <a:gd name="connsiteY1" fmla="*/ 25016 h 25016"/>
                <a:gd name="connsiteX2" fmla="*/ 25245 w 27379"/>
                <a:gd name="connsiteY2" fmla="*/ 10447 h 25016"/>
                <a:gd name="connsiteX3" fmla="*/ 27380 w 27379"/>
                <a:gd name="connsiteY3" fmla="*/ 4419 h 25016"/>
                <a:gd name="connsiteX4" fmla="*/ 24240 w 27379"/>
                <a:gd name="connsiteY4" fmla="*/ 2660 h 25016"/>
                <a:gd name="connsiteX5" fmla="*/ 6280 w 27379"/>
                <a:gd name="connsiteY5" fmla="*/ 7056 h 2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5016">
                  <a:moveTo>
                    <a:pt x="6280" y="7056"/>
                  </a:moveTo>
                  <a:lnTo>
                    <a:pt x="0" y="25016"/>
                  </a:lnTo>
                  <a:lnTo>
                    <a:pt x="25245" y="10447"/>
                  </a:lnTo>
                  <a:lnTo>
                    <a:pt x="27380" y="4419"/>
                  </a:lnTo>
                  <a:lnTo>
                    <a:pt x="24240" y="2660"/>
                  </a:lnTo>
                  <a:cubicBezTo>
                    <a:pt x="16076" y="-2112"/>
                    <a:pt x="8917" y="-354"/>
                    <a:pt x="6280" y="7056"/>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2724A60C-2466-4D32-A3FE-8E67C7CFF1CA}"/>
                </a:ext>
              </a:extLst>
            </p:cNvPr>
            <p:cNvSpPr/>
            <p:nvPr/>
          </p:nvSpPr>
          <p:spPr>
            <a:xfrm>
              <a:off x="603360" y="2555567"/>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7" y="11"/>
                    <a:pt x="16202" y="11"/>
                    <a:pt x="15071" y="136"/>
                  </a:cubicBezTo>
                  <a:lnTo>
                    <a:pt x="15071" y="136"/>
                  </a:ln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103"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F4EF6557-73DD-4A94-B5B1-0AA13F03D425}"/>
                </a:ext>
              </a:extLst>
            </p:cNvPr>
            <p:cNvSpPr/>
            <p:nvPr/>
          </p:nvSpPr>
          <p:spPr>
            <a:xfrm>
              <a:off x="597451" y="2561332"/>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6"/>
                  </a:cubicBezTo>
                  <a:cubicBezTo>
                    <a:pt x="-496" y="13462"/>
                    <a:pt x="26884" y="54029"/>
                    <a:pt x="26884" y="54029"/>
                  </a:cubicBezTo>
                  <a:cubicBezTo>
                    <a:pt x="30024" y="54657"/>
                    <a:pt x="34420" y="54155"/>
                    <a:pt x="35927" y="53275"/>
                  </a:cubicBezTo>
                  <a:cubicBezTo>
                    <a:pt x="44467" y="48377"/>
                    <a:pt x="44342" y="33055"/>
                    <a:pt x="36053"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537A9D2E-830D-4385-A970-31868D3E128D}"/>
                </a:ext>
              </a:extLst>
            </p:cNvPr>
            <p:cNvSpPr/>
            <p:nvPr/>
          </p:nvSpPr>
          <p:spPr>
            <a:xfrm>
              <a:off x="588432" y="2556653"/>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6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5"/>
                    <a:pt x="50627" y="53062"/>
                    <a:pt x="42758" y="57606"/>
                  </a:cubicBezTo>
                  <a:cubicBezTo>
                    <a:pt x="34889" y="62149"/>
                    <a:pt x="22128" y="54778"/>
                    <a:pt x="14255" y="41143"/>
                  </a:cubicBezTo>
                  <a:cubicBezTo>
                    <a:pt x="6382" y="27507"/>
                    <a:pt x="6379" y="12770"/>
                    <a:pt x="14248" y="8226"/>
                  </a:cubicBezTo>
                  <a:cubicBezTo>
                    <a:pt x="22117" y="3683"/>
                    <a:pt x="34879"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6" name="Graphic 4">
              <a:extLst>
                <a:ext uri="{FF2B5EF4-FFF2-40B4-BE49-F238E27FC236}">
                  <a16:creationId xmlns:a16="http://schemas.microsoft.com/office/drawing/2014/main" id="{84FB7ED1-A2DF-40A1-A747-5F7CF3F14040}"/>
                </a:ext>
              </a:extLst>
            </p:cNvPr>
            <p:cNvGrpSpPr/>
            <p:nvPr/>
          </p:nvGrpSpPr>
          <p:grpSpPr>
            <a:xfrm>
              <a:off x="574982" y="2563354"/>
              <a:ext cx="62499" cy="66889"/>
              <a:chOff x="574982" y="2563354"/>
              <a:chExt cx="62499" cy="66889"/>
            </a:xfrm>
            <a:solidFill>
              <a:schemeClr val="accent1"/>
            </a:solidFill>
          </p:grpSpPr>
          <p:sp>
            <p:nvSpPr>
              <p:cNvPr id="217" name="Freeform: Shape 216">
                <a:extLst>
                  <a:ext uri="{FF2B5EF4-FFF2-40B4-BE49-F238E27FC236}">
                    <a16:creationId xmlns:a16="http://schemas.microsoft.com/office/drawing/2014/main" id="{797A007C-B9E9-4022-9012-647731BE325D}"/>
                  </a:ext>
                </a:extLst>
              </p:cNvPr>
              <p:cNvSpPr/>
              <p:nvPr/>
            </p:nvSpPr>
            <p:spPr>
              <a:xfrm>
                <a:off x="589796" y="2563354"/>
                <a:ext cx="47684" cy="59165"/>
              </a:xfrm>
              <a:custGeom>
                <a:avLst/>
                <a:gdLst>
                  <a:gd name="connsiteX0" fmla="*/ 41823 w 47684"/>
                  <a:gd name="connsiteY0" fmla="*/ 17719 h 59165"/>
                  <a:gd name="connsiteX1" fmla="*/ 27631 w 47684"/>
                  <a:gd name="connsiteY1" fmla="*/ 2774 h 59165"/>
                  <a:gd name="connsiteX2" fmla="*/ 18211 w 47684"/>
                  <a:gd name="connsiteY2" fmla="*/ 11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1"/>
                    </a:cubicBezTo>
                    <a:cubicBezTo>
                      <a:pt x="17206" y="11"/>
                      <a:pt x="16202" y="11"/>
                      <a:pt x="15071" y="136"/>
                    </a:cubicBezTo>
                    <a:cubicBezTo>
                      <a:pt x="15071" y="136"/>
                      <a:pt x="15071" y="136"/>
                      <a:pt x="15071" y="136"/>
                    </a:cubicBezTo>
                    <a:lnTo>
                      <a:pt x="15071" y="136"/>
                    </a:lnTo>
                    <a:lnTo>
                      <a:pt x="15071" y="136"/>
                    </a:lnTo>
                    <a:cubicBezTo>
                      <a:pt x="13187" y="136"/>
                      <a:pt x="11429" y="638"/>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73211A48-CAB3-40D4-92DC-DC0E1D72BE56}"/>
                  </a:ext>
                </a:extLst>
              </p:cNvPr>
              <p:cNvSpPr/>
              <p:nvPr/>
            </p:nvSpPr>
            <p:spPr>
              <a:xfrm>
                <a:off x="583886" y="2569119"/>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467" y="48377"/>
                      <a:pt x="44342" y="33055"/>
                      <a:pt x="36053"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1433E383-2AB1-4E31-85B3-081FD7EC4FC7}"/>
                  </a:ext>
                </a:extLst>
              </p:cNvPr>
              <p:cNvSpPr/>
              <p:nvPr/>
            </p:nvSpPr>
            <p:spPr>
              <a:xfrm>
                <a:off x="574982" y="2564411"/>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7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5"/>
                      <a:pt x="50627" y="53062"/>
                      <a:pt x="42758" y="57606"/>
                    </a:cubicBezTo>
                    <a:cubicBezTo>
                      <a:pt x="34889" y="62149"/>
                      <a:pt x="22128" y="54778"/>
                      <a:pt x="14255" y="41143"/>
                    </a:cubicBezTo>
                    <a:cubicBezTo>
                      <a:pt x="6382" y="27507"/>
                      <a:pt x="6379" y="12770"/>
                      <a:pt x="14248" y="8227"/>
                    </a:cubicBezTo>
                    <a:cubicBezTo>
                      <a:pt x="22117" y="3683"/>
                      <a:pt x="34879"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20" name="Graphic 4">
              <a:extLst>
                <a:ext uri="{FF2B5EF4-FFF2-40B4-BE49-F238E27FC236}">
                  <a16:creationId xmlns:a16="http://schemas.microsoft.com/office/drawing/2014/main" id="{84FB7ED1-A2DF-40A1-A747-5F7CF3F14040}"/>
                </a:ext>
              </a:extLst>
            </p:cNvPr>
            <p:cNvGrpSpPr/>
            <p:nvPr/>
          </p:nvGrpSpPr>
          <p:grpSpPr>
            <a:xfrm>
              <a:off x="589859" y="2579760"/>
              <a:ext cx="27128" cy="35155"/>
              <a:chOff x="589859" y="2579760"/>
              <a:chExt cx="27128" cy="35155"/>
            </a:xfrm>
            <a:solidFill>
              <a:schemeClr val="accent1"/>
            </a:solidFill>
          </p:grpSpPr>
          <p:sp>
            <p:nvSpPr>
              <p:cNvPr id="221" name="Freeform: Shape 220">
                <a:extLst>
                  <a:ext uri="{FF2B5EF4-FFF2-40B4-BE49-F238E27FC236}">
                    <a16:creationId xmlns:a16="http://schemas.microsoft.com/office/drawing/2014/main" id="{B5972381-686C-4335-8C6C-CD1DC08D9F8E}"/>
                  </a:ext>
                </a:extLst>
              </p:cNvPr>
              <p:cNvSpPr/>
              <p:nvPr/>
            </p:nvSpPr>
            <p:spPr>
              <a:xfrm>
                <a:off x="590895" y="2581095"/>
                <a:ext cx="25181" cy="32612"/>
              </a:xfrm>
              <a:custGeom>
                <a:avLst/>
                <a:gdLst>
                  <a:gd name="connsiteX0" fmla="*/ 21508 w 25181"/>
                  <a:gd name="connsiteY0" fmla="*/ 31754 h 32612"/>
                  <a:gd name="connsiteX1" fmla="*/ 3674 w 25181"/>
                  <a:gd name="connsiteY1" fmla="*/ 21456 h 32612"/>
                  <a:gd name="connsiteX2" fmla="*/ 3674 w 25181"/>
                  <a:gd name="connsiteY2" fmla="*/ 858 h 32612"/>
                  <a:gd name="connsiteX3" fmla="*/ 21508 w 25181"/>
                  <a:gd name="connsiteY3" fmla="*/ 11157 h 32612"/>
                  <a:gd name="connsiteX4" fmla="*/ 21508 w 25181"/>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1" h="32612">
                    <a:moveTo>
                      <a:pt x="21508" y="31754"/>
                    </a:moveTo>
                    <a:cubicBezTo>
                      <a:pt x="16610" y="34643"/>
                      <a:pt x="8572" y="29996"/>
                      <a:pt x="3674" y="21456"/>
                    </a:cubicBezTo>
                    <a:cubicBezTo>
                      <a:pt x="-1225" y="12915"/>
                      <a:pt x="-1225" y="3747"/>
                      <a:pt x="3674" y="858"/>
                    </a:cubicBezTo>
                    <a:cubicBezTo>
                      <a:pt x="8572" y="-2031"/>
                      <a:pt x="16610" y="2616"/>
                      <a:pt x="21508" y="11157"/>
                    </a:cubicBezTo>
                    <a:cubicBezTo>
                      <a:pt x="26406" y="19697"/>
                      <a:pt x="26406"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2E62D19D-D60C-4C5D-9E7D-C13D6BC2876D}"/>
                  </a:ext>
                </a:extLst>
              </p:cNvPr>
              <p:cNvSpPr/>
              <p:nvPr/>
            </p:nvSpPr>
            <p:spPr>
              <a:xfrm>
                <a:off x="589859" y="2579760"/>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710 w 27128"/>
                  <a:gd name="connsiteY11" fmla="*/ 2192 h 35155"/>
                  <a:gd name="connsiteX12" fmla="*/ 10236 w 27128"/>
                  <a:gd name="connsiteY12" fmla="*/ 1690 h 35155"/>
                  <a:gd name="connsiteX13" fmla="*/ 10236 w 27128"/>
                  <a:gd name="connsiteY13" fmla="*/ 8849 h 35155"/>
                  <a:gd name="connsiteX14" fmla="*/ 8980 w 27128"/>
                  <a:gd name="connsiteY14" fmla="*/ 9226 h 35155"/>
                  <a:gd name="connsiteX15" fmla="*/ 3077 w 27128"/>
                  <a:gd name="connsiteY15" fmla="*/ 3574 h 35155"/>
                  <a:gd name="connsiteX16" fmla="*/ 4710 w 27128"/>
                  <a:gd name="connsiteY16" fmla="*/ 2192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693 h 35155"/>
                  <a:gd name="connsiteX23" fmla="*/ 12748 w 27128"/>
                  <a:gd name="connsiteY23" fmla="*/ 25051 h 35155"/>
                  <a:gd name="connsiteX24" fmla="*/ 14381 w 27128"/>
                  <a:gd name="connsiteY24" fmla="*/ 25930 h 35155"/>
                  <a:gd name="connsiteX25" fmla="*/ 18023 w 27128"/>
                  <a:gd name="connsiteY25" fmla="*/ 33842 h 35155"/>
                  <a:gd name="connsiteX26" fmla="*/ 9106 w 27128"/>
                  <a:gd name="connsiteY26" fmla="*/ 28693 h 35155"/>
                  <a:gd name="connsiteX27" fmla="*/ 23423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1"/>
                      <a:pt x="9231" y="-2203"/>
                      <a:pt x="3956" y="937"/>
                    </a:cubicBezTo>
                    <a:cubicBezTo>
                      <a:pt x="-1319" y="3951"/>
                      <a:pt x="-1319" y="13998"/>
                      <a:pt x="3956" y="23167"/>
                    </a:cubicBezTo>
                    <a:cubicBezTo>
                      <a:pt x="9231" y="32335"/>
                      <a:pt x="17897" y="37359"/>
                      <a:pt x="23172" y="34219"/>
                    </a:cubicBezTo>
                    <a:cubicBezTo>
                      <a:pt x="28447" y="31205"/>
                      <a:pt x="28447" y="21283"/>
                      <a:pt x="23172" y="11989"/>
                    </a:cubicBezTo>
                    <a:close/>
                    <a:moveTo>
                      <a:pt x="24051" y="15631"/>
                    </a:moveTo>
                    <a:lnTo>
                      <a:pt x="18148" y="14375"/>
                    </a:lnTo>
                    <a:cubicBezTo>
                      <a:pt x="17772" y="13747"/>
                      <a:pt x="17269" y="13119"/>
                      <a:pt x="16893" y="12491"/>
                    </a:cubicBezTo>
                    <a:lnTo>
                      <a:pt x="16893" y="5332"/>
                    </a:lnTo>
                    <a:cubicBezTo>
                      <a:pt x="18902" y="7216"/>
                      <a:pt x="20912" y="9477"/>
                      <a:pt x="22419" y="12366"/>
                    </a:cubicBezTo>
                    <a:cubicBezTo>
                      <a:pt x="23047" y="13496"/>
                      <a:pt x="23675" y="14626"/>
                      <a:pt x="24051" y="15631"/>
                    </a:cubicBezTo>
                    <a:close/>
                    <a:moveTo>
                      <a:pt x="4710" y="2192"/>
                    </a:moveTo>
                    <a:cubicBezTo>
                      <a:pt x="6343" y="1313"/>
                      <a:pt x="8226" y="1188"/>
                      <a:pt x="10236" y="1690"/>
                    </a:cubicBezTo>
                    <a:lnTo>
                      <a:pt x="10236" y="8849"/>
                    </a:lnTo>
                    <a:cubicBezTo>
                      <a:pt x="9734" y="8849"/>
                      <a:pt x="9357" y="8975"/>
                      <a:pt x="8980" y="9226"/>
                    </a:cubicBezTo>
                    <a:lnTo>
                      <a:pt x="3077" y="3574"/>
                    </a:lnTo>
                    <a:cubicBezTo>
                      <a:pt x="3454" y="2946"/>
                      <a:pt x="4082" y="2569"/>
                      <a:pt x="4710" y="2192"/>
                    </a:cubicBezTo>
                    <a:close/>
                    <a:moveTo>
                      <a:pt x="942" y="9603"/>
                    </a:moveTo>
                    <a:lnTo>
                      <a:pt x="6845" y="15254"/>
                    </a:lnTo>
                    <a:cubicBezTo>
                      <a:pt x="6971" y="15882"/>
                      <a:pt x="7096" y="16636"/>
                      <a:pt x="7347" y="17264"/>
                    </a:cubicBezTo>
                    <a:lnTo>
                      <a:pt x="3705" y="20906"/>
                    </a:lnTo>
                    <a:cubicBezTo>
                      <a:pt x="1696" y="17013"/>
                      <a:pt x="816" y="12994"/>
                      <a:pt x="942" y="9603"/>
                    </a:cubicBezTo>
                    <a:close/>
                    <a:moveTo>
                      <a:pt x="9106" y="28693"/>
                    </a:moveTo>
                    <a:lnTo>
                      <a:pt x="12748" y="25051"/>
                    </a:lnTo>
                    <a:cubicBezTo>
                      <a:pt x="13250" y="25428"/>
                      <a:pt x="13878" y="25804"/>
                      <a:pt x="14381" y="25930"/>
                    </a:cubicBezTo>
                    <a:lnTo>
                      <a:pt x="18023" y="33842"/>
                    </a:lnTo>
                    <a:cubicBezTo>
                      <a:pt x="15134" y="33340"/>
                      <a:pt x="11994" y="31582"/>
                      <a:pt x="9106" y="28693"/>
                    </a:cubicBezTo>
                    <a:close/>
                    <a:moveTo>
                      <a:pt x="23423" y="32335"/>
                    </a:moveTo>
                    <a:lnTo>
                      <a:pt x="19781" y="24423"/>
                    </a:lnTo>
                    <a:cubicBezTo>
                      <a:pt x="20032" y="24046"/>
                      <a:pt x="20158" y="23544"/>
                      <a:pt x="20284" y="22916"/>
                    </a:cubicBezTo>
                    <a:lnTo>
                      <a:pt x="26187" y="24046"/>
                    </a:lnTo>
                    <a:cubicBezTo>
                      <a:pt x="26312" y="27688"/>
                      <a:pt x="25433" y="30703"/>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3" name="Graphic 4">
                <a:extLst>
                  <a:ext uri="{FF2B5EF4-FFF2-40B4-BE49-F238E27FC236}">
                    <a16:creationId xmlns:a16="http://schemas.microsoft.com/office/drawing/2014/main" id="{84FB7ED1-A2DF-40A1-A747-5F7CF3F14040}"/>
                  </a:ext>
                </a:extLst>
              </p:cNvPr>
              <p:cNvGrpSpPr/>
              <p:nvPr/>
            </p:nvGrpSpPr>
            <p:grpSpPr>
              <a:xfrm>
                <a:off x="590789" y="2581451"/>
                <a:ext cx="23874" cy="32152"/>
                <a:chOff x="590789" y="2581451"/>
                <a:chExt cx="23874" cy="32152"/>
              </a:xfrm>
              <a:solidFill>
                <a:srgbClr val="ADAA99"/>
              </a:solidFill>
            </p:grpSpPr>
            <p:sp>
              <p:nvSpPr>
                <p:cNvPr id="224" name="Freeform: Shape 223">
                  <a:extLst>
                    <a:ext uri="{FF2B5EF4-FFF2-40B4-BE49-F238E27FC236}">
                      <a16:creationId xmlns:a16="http://schemas.microsoft.com/office/drawing/2014/main" id="{24AD9361-4309-458E-B9DB-BD952EEE68F3}"/>
                    </a:ext>
                  </a:extLst>
                </p:cNvPr>
                <p:cNvSpPr/>
                <p:nvPr/>
              </p:nvSpPr>
              <p:spPr>
                <a:xfrm>
                  <a:off x="606751" y="2585218"/>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410"/>
                        <a:pt x="2261" y="6782"/>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 name="Freeform: Shape 224">
                  <a:extLst>
                    <a:ext uri="{FF2B5EF4-FFF2-40B4-BE49-F238E27FC236}">
                      <a16:creationId xmlns:a16="http://schemas.microsoft.com/office/drawing/2014/main" id="{4484FE04-DE76-4F66-9F83-D376FA7CE724}"/>
                    </a:ext>
                  </a:extLst>
                </p:cNvPr>
                <p:cNvSpPr/>
                <p:nvPr/>
              </p:nvSpPr>
              <p:spPr>
                <a:xfrm>
                  <a:off x="609640" y="2602802"/>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758" y="377"/>
                        <a:pt x="1758" y="251"/>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 name="Freeform: Shape 225">
                  <a:extLst>
                    <a:ext uri="{FF2B5EF4-FFF2-40B4-BE49-F238E27FC236}">
                      <a16:creationId xmlns:a16="http://schemas.microsoft.com/office/drawing/2014/main" id="{9F2B7D94-CBC5-40C2-A1F9-8C50F35248AC}"/>
                    </a:ext>
                  </a:extLst>
                </p:cNvPr>
                <p:cNvSpPr/>
                <p:nvPr/>
              </p:nvSpPr>
              <p:spPr>
                <a:xfrm>
                  <a:off x="590789" y="2589363"/>
                  <a:ext cx="4281" cy="11303"/>
                </a:xfrm>
                <a:custGeom>
                  <a:avLst/>
                  <a:gdLst>
                    <a:gd name="connsiteX0" fmla="*/ 12 w 4281"/>
                    <a:gd name="connsiteY0" fmla="*/ 0 h 11303"/>
                    <a:gd name="connsiteX1" fmla="*/ 2775 w 4281"/>
                    <a:gd name="connsiteY1" fmla="*/ 11304 h 11303"/>
                    <a:gd name="connsiteX2" fmla="*/ 4282 w 4281"/>
                    <a:gd name="connsiteY2" fmla="*/ 9796 h 11303"/>
                    <a:gd name="connsiteX3" fmla="*/ 1896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5" y="11304"/>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 name="Freeform: Shape 226">
                  <a:extLst>
                    <a:ext uri="{FF2B5EF4-FFF2-40B4-BE49-F238E27FC236}">
                      <a16:creationId xmlns:a16="http://schemas.microsoft.com/office/drawing/2014/main" id="{32CA1FB1-00B5-445B-9559-A46E1B6A5377}"/>
                    </a:ext>
                  </a:extLst>
                </p:cNvPr>
                <p:cNvSpPr/>
                <p:nvPr/>
              </p:nvSpPr>
              <p:spPr>
                <a:xfrm>
                  <a:off x="598965" y="2604811"/>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9" y="8415"/>
                        <a:pt x="8917" y="8792"/>
                      </a:cubicBezTo>
                      <a:lnTo>
                        <a:pt x="8164" y="7033"/>
                      </a:lnTo>
                      <a:cubicBezTo>
                        <a:pt x="6029" y="6154"/>
                        <a:pt x="3768" y="4647"/>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 name="Freeform: Shape 227">
                  <a:extLst>
                    <a:ext uri="{FF2B5EF4-FFF2-40B4-BE49-F238E27FC236}">
                      <a16:creationId xmlns:a16="http://schemas.microsoft.com/office/drawing/2014/main" id="{95FAEF45-2569-4322-B45D-9495E4C55A4F}"/>
                    </a:ext>
                  </a:extLst>
                </p:cNvPr>
                <p:cNvSpPr/>
                <p:nvPr/>
              </p:nvSpPr>
              <p:spPr>
                <a:xfrm>
                  <a:off x="592936" y="2581451"/>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6029 h 7410"/>
                    <a:gd name="connsiteX6" fmla="*/ 1758 w 7158"/>
                    <a:gd name="connsiteY6" fmla="*/ 879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6029"/>
                      </a:lnTo>
                      <a:lnTo>
                        <a:pt x="1758" y="879"/>
                      </a:lnTo>
                      <a:cubicBezTo>
                        <a:pt x="2010"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29" name="Graphic 4">
                <a:extLst>
                  <a:ext uri="{FF2B5EF4-FFF2-40B4-BE49-F238E27FC236}">
                    <a16:creationId xmlns:a16="http://schemas.microsoft.com/office/drawing/2014/main" id="{84FB7ED1-A2DF-40A1-A747-5F7CF3F14040}"/>
                  </a:ext>
                </a:extLst>
              </p:cNvPr>
              <p:cNvGrpSpPr/>
              <p:nvPr/>
            </p:nvGrpSpPr>
            <p:grpSpPr>
              <a:xfrm>
                <a:off x="598415" y="2591043"/>
                <a:ext cx="10094" cy="13199"/>
                <a:chOff x="598415" y="2591043"/>
                <a:chExt cx="10094" cy="13199"/>
              </a:xfrm>
              <a:solidFill>
                <a:srgbClr val="222222"/>
              </a:solidFill>
            </p:grpSpPr>
            <p:sp>
              <p:nvSpPr>
                <p:cNvPr id="230" name="Freeform: Shape 229">
                  <a:extLst>
                    <a:ext uri="{FF2B5EF4-FFF2-40B4-BE49-F238E27FC236}">
                      <a16:creationId xmlns:a16="http://schemas.microsoft.com/office/drawing/2014/main" id="{F6C2AD37-7BD5-4066-9B74-B70815A00EAB}"/>
                    </a:ext>
                  </a:extLst>
                </p:cNvPr>
                <p:cNvSpPr/>
                <p:nvPr/>
              </p:nvSpPr>
              <p:spPr>
                <a:xfrm>
                  <a:off x="601759" y="2595156"/>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 name="Freeform: Shape 230">
                  <a:extLst>
                    <a:ext uri="{FF2B5EF4-FFF2-40B4-BE49-F238E27FC236}">
                      <a16:creationId xmlns:a16="http://schemas.microsoft.com/office/drawing/2014/main" id="{B31632F7-5146-464C-93E2-8620E70B1828}"/>
                    </a:ext>
                  </a:extLst>
                </p:cNvPr>
                <p:cNvSpPr/>
                <p:nvPr/>
              </p:nvSpPr>
              <p:spPr>
                <a:xfrm>
                  <a:off x="602450" y="2591043"/>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586"/>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2" name="Freeform: Shape 231">
                  <a:extLst>
                    <a:ext uri="{FF2B5EF4-FFF2-40B4-BE49-F238E27FC236}">
                      <a16:creationId xmlns:a16="http://schemas.microsoft.com/office/drawing/2014/main" id="{B816D04F-CE6B-40B8-96DA-B728804B876E}"/>
                    </a:ext>
                  </a:extLst>
                </p:cNvPr>
                <p:cNvSpPr/>
                <p:nvPr/>
              </p:nvSpPr>
              <p:spPr>
                <a:xfrm>
                  <a:off x="599945" y="2598705"/>
                  <a:ext cx="1932" cy="2613"/>
                </a:xfrm>
                <a:custGeom>
                  <a:avLst/>
                  <a:gdLst>
                    <a:gd name="connsiteX0" fmla="*/ 778 w 1932"/>
                    <a:gd name="connsiteY0" fmla="*/ 78 h 2613"/>
                    <a:gd name="connsiteX1" fmla="*/ 1908 w 1932"/>
                    <a:gd name="connsiteY1" fmla="*/ 1710 h 2613"/>
                    <a:gd name="connsiteX2" fmla="*/ 1155 w 1932"/>
                    <a:gd name="connsiteY2" fmla="*/ 2589 h 2613"/>
                    <a:gd name="connsiteX3" fmla="*/ 24 w 1932"/>
                    <a:gd name="connsiteY3" fmla="*/ 957 h 2613"/>
                    <a:gd name="connsiteX4" fmla="*/ 778 w 1932"/>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13">
                      <a:moveTo>
                        <a:pt x="778" y="78"/>
                      </a:moveTo>
                      <a:cubicBezTo>
                        <a:pt x="1280" y="329"/>
                        <a:pt x="1783" y="957"/>
                        <a:pt x="1908" y="1710"/>
                      </a:cubicBezTo>
                      <a:cubicBezTo>
                        <a:pt x="2034" y="2338"/>
                        <a:pt x="1657" y="2715"/>
                        <a:pt x="1155" y="2589"/>
                      </a:cubicBezTo>
                      <a:cubicBezTo>
                        <a:pt x="652" y="2338"/>
                        <a:pt x="150" y="1710"/>
                        <a:pt x="24" y="957"/>
                      </a:cubicBezTo>
                      <a:cubicBezTo>
                        <a:pt x="-101" y="203"/>
                        <a:pt x="276" y="-174"/>
                        <a:pt x="778"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 name="Freeform: Shape 232">
                  <a:extLst>
                    <a:ext uri="{FF2B5EF4-FFF2-40B4-BE49-F238E27FC236}">
                      <a16:creationId xmlns:a16="http://schemas.microsoft.com/office/drawing/2014/main" id="{84C7B636-D63C-415A-8C71-773BCC91FB9D}"/>
                    </a:ext>
                  </a:extLst>
                </p:cNvPr>
                <p:cNvSpPr/>
                <p:nvPr/>
              </p:nvSpPr>
              <p:spPr>
                <a:xfrm>
                  <a:off x="604993" y="2601613"/>
                  <a:ext cx="1908" cy="2629"/>
                </a:xfrm>
                <a:custGeom>
                  <a:avLst/>
                  <a:gdLst>
                    <a:gd name="connsiteX0" fmla="*/ 0 w 1908"/>
                    <a:gd name="connsiteY0" fmla="*/ 561 h 2629"/>
                    <a:gd name="connsiteX1" fmla="*/ 1130 w 1908"/>
                    <a:gd name="connsiteY1" fmla="*/ 310 h 2629"/>
                    <a:gd name="connsiteX2" fmla="*/ 1884 w 1908"/>
                    <a:gd name="connsiteY2" fmla="*/ 2068 h 2629"/>
                    <a:gd name="connsiteX3" fmla="*/ 754 w 1908"/>
                    <a:gd name="connsiteY3" fmla="*/ 2319 h 2629"/>
                    <a:gd name="connsiteX4" fmla="*/ 0 w 1908"/>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8" h="2629">
                      <a:moveTo>
                        <a:pt x="0" y="561"/>
                      </a:moveTo>
                      <a:cubicBezTo>
                        <a:pt x="126" y="-67"/>
                        <a:pt x="628" y="-192"/>
                        <a:pt x="1130" y="310"/>
                      </a:cubicBezTo>
                      <a:cubicBezTo>
                        <a:pt x="1633" y="687"/>
                        <a:pt x="2010" y="1566"/>
                        <a:pt x="1884" y="2068"/>
                      </a:cubicBezTo>
                      <a:cubicBezTo>
                        <a:pt x="1758" y="2696"/>
                        <a:pt x="1256" y="2822"/>
                        <a:pt x="754" y="2319"/>
                      </a:cubicBezTo>
                      <a:cubicBezTo>
                        <a:pt x="377" y="1943"/>
                        <a:pt x="0" y="1189"/>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 name="Freeform: Shape 233">
                  <a:extLst>
                    <a:ext uri="{FF2B5EF4-FFF2-40B4-BE49-F238E27FC236}">
                      <a16:creationId xmlns:a16="http://schemas.microsoft.com/office/drawing/2014/main" id="{4BF04F14-8059-4085-86C7-DF4D18FB7F57}"/>
                    </a:ext>
                  </a:extLst>
                </p:cNvPr>
                <p:cNvSpPr/>
                <p:nvPr/>
              </p:nvSpPr>
              <p:spPr>
                <a:xfrm>
                  <a:off x="606626" y="2596931"/>
                  <a:ext cx="1883" cy="2485"/>
                </a:xfrm>
                <a:custGeom>
                  <a:avLst/>
                  <a:gdLst>
                    <a:gd name="connsiteX0" fmla="*/ 502 w 1883"/>
                    <a:gd name="connsiteY0" fmla="*/ 1977 h 2485"/>
                    <a:gd name="connsiteX1" fmla="*/ 126 w 1883"/>
                    <a:gd name="connsiteY1" fmla="*/ 219 h 2485"/>
                    <a:gd name="connsiteX2" fmla="*/ 1382 w 1883"/>
                    <a:gd name="connsiteY2" fmla="*/ 470 h 2485"/>
                    <a:gd name="connsiteX3" fmla="*/ 1758 w 1883"/>
                    <a:gd name="connsiteY3" fmla="*/ 2229 h 2485"/>
                    <a:gd name="connsiteX4" fmla="*/ 502 w 1883"/>
                    <a:gd name="connsiteY4" fmla="*/ 1977 h 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85">
                      <a:moveTo>
                        <a:pt x="502" y="1977"/>
                      </a:moveTo>
                      <a:cubicBezTo>
                        <a:pt x="0" y="1475"/>
                        <a:pt x="-126" y="596"/>
                        <a:pt x="126" y="219"/>
                      </a:cubicBezTo>
                      <a:cubicBezTo>
                        <a:pt x="377" y="-158"/>
                        <a:pt x="1005" y="-32"/>
                        <a:pt x="1382" y="470"/>
                      </a:cubicBezTo>
                      <a:cubicBezTo>
                        <a:pt x="1884" y="973"/>
                        <a:pt x="2010" y="1852"/>
                        <a:pt x="1758" y="2229"/>
                      </a:cubicBezTo>
                      <a:cubicBezTo>
                        <a:pt x="1507" y="2605"/>
                        <a:pt x="1005" y="2605"/>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 name="Freeform: Shape 234">
                  <a:extLst>
                    <a:ext uri="{FF2B5EF4-FFF2-40B4-BE49-F238E27FC236}">
                      <a16:creationId xmlns:a16="http://schemas.microsoft.com/office/drawing/2014/main" id="{4C5F2586-043C-4120-B904-D7C20300EE94}"/>
                    </a:ext>
                  </a:extLst>
                </p:cNvPr>
                <p:cNvSpPr/>
                <p:nvPr/>
              </p:nvSpPr>
              <p:spPr>
                <a:xfrm>
                  <a:off x="598415" y="2592126"/>
                  <a:ext cx="1780" cy="2511"/>
                </a:xfrm>
                <a:custGeom>
                  <a:avLst/>
                  <a:gdLst>
                    <a:gd name="connsiteX0" fmla="*/ 1680 w 1780"/>
                    <a:gd name="connsiteY0" fmla="*/ 1256 h 2511"/>
                    <a:gd name="connsiteX1" fmla="*/ 1303 w 1780"/>
                    <a:gd name="connsiteY1" fmla="*/ 2512 h 2511"/>
                    <a:gd name="connsiteX2" fmla="*/ 47 w 1780"/>
                    <a:gd name="connsiteY2" fmla="*/ 1256 h 2511"/>
                    <a:gd name="connsiteX3" fmla="*/ 424 w 1780"/>
                    <a:gd name="connsiteY3" fmla="*/ 0 h 2511"/>
                    <a:gd name="connsiteX4" fmla="*/ 1680 w 1780"/>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0" h="2511">
                      <a:moveTo>
                        <a:pt x="1680" y="1256"/>
                      </a:moveTo>
                      <a:cubicBezTo>
                        <a:pt x="1931" y="2009"/>
                        <a:pt x="1680" y="2512"/>
                        <a:pt x="1303" y="2512"/>
                      </a:cubicBezTo>
                      <a:cubicBezTo>
                        <a:pt x="801" y="2512"/>
                        <a:pt x="173" y="2009"/>
                        <a:pt x="47" y="1256"/>
                      </a:cubicBezTo>
                      <a:cubicBezTo>
                        <a:pt x="-78" y="502"/>
                        <a:pt x="47" y="0"/>
                        <a:pt x="424" y="0"/>
                      </a:cubicBezTo>
                      <a:cubicBezTo>
                        <a:pt x="926" y="0"/>
                        <a:pt x="1429" y="502"/>
                        <a:pt x="1680"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36" name="Freeform: Shape 235">
              <a:extLst>
                <a:ext uri="{FF2B5EF4-FFF2-40B4-BE49-F238E27FC236}">
                  <a16:creationId xmlns:a16="http://schemas.microsoft.com/office/drawing/2014/main" id="{CBCC10C3-7E57-4BDC-9C14-07B438575F7D}"/>
                </a:ext>
              </a:extLst>
            </p:cNvPr>
            <p:cNvSpPr/>
            <p:nvPr/>
          </p:nvSpPr>
          <p:spPr>
            <a:xfrm>
              <a:off x="651338" y="2583324"/>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0"/>
                  </a:cubicBezTo>
                  <a:cubicBezTo>
                    <a:pt x="17207" y="10"/>
                    <a:pt x="16202" y="10"/>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7" name="Freeform: Shape 236">
              <a:extLst>
                <a:ext uri="{FF2B5EF4-FFF2-40B4-BE49-F238E27FC236}">
                  <a16:creationId xmlns:a16="http://schemas.microsoft.com/office/drawing/2014/main" id="{253F1ADD-F518-4A22-AEFC-A5CC0FA41822}"/>
                </a:ext>
              </a:extLst>
            </p:cNvPr>
            <p:cNvSpPr/>
            <p:nvPr/>
          </p:nvSpPr>
          <p:spPr>
            <a:xfrm>
              <a:off x="645428" y="2589089"/>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467" y="48377"/>
                    <a:pt x="44342" y="33055"/>
                    <a:pt x="36053"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 name="Freeform: Shape 237">
              <a:extLst>
                <a:ext uri="{FF2B5EF4-FFF2-40B4-BE49-F238E27FC236}">
                  <a16:creationId xmlns:a16="http://schemas.microsoft.com/office/drawing/2014/main" id="{85562274-9E80-4F4A-BACA-96947C7622C3}"/>
                </a:ext>
              </a:extLst>
            </p:cNvPr>
            <p:cNvSpPr/>
            <p:nvPr/>
          </p:nvSpPr>
          <p:spPr>
            <a:xfrm>
              <a:off x="644775" y="2591289"/>
              <a:ext cx="40284" cy="52037"/>
            </a:xfrm>
            <a:custGeom>
              <a:avLst/>
              <a:gdLst>
                <a:gd name="connsiteX0" fmla="*/ 34444 w 40284"/>
                <a:gd name="connsiteY0" fmla="*/ 50698 h 52037"/>
                <a:gd name="connsiteX1" fmla="*/ 5934 w 40284"/>
                <a:gd name="connsiteY1" fmla="*/ 34245 h 52037"/>
                <a:gd name="connsiteX2" fmla="*/ 5934 w 40284"/>
                <a:gd name="connsiteY2" fmla="*/ 1339 h 52037"/>
                <a:gd name="connsiteX3" fmla="*/ 34444 w 40284"/>
                <a:gd name="connsiteY3" fmla="*/ 17792 h 52037"/>
                <a:gd name="connsiteX4" fmla="*/ 34444 w 40284"/>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84" h="52037">
                  <a:moveTo>
                    <a:pt x="34444" y="50698"/>
                  </a:moveTo>
                  <a:cubicBezTo>
                    <a:pt x="26532" y="55219"/>
                    <a:pt x="13847" y="47935"/>
                    <a:pt x="5934" y="34245"/>
                  </a:cubicBezTo>
                  <a:cubicBezTo>
                    <a:pt x="-1978" y="20681"/>
                    <a:pt x="-1978" y="5861"/>
                    <a:pt x="5934" y="1339"/>
                  </a:cubicBezTo>
                  <a:cubicBezTo>
                    <a:pt x="13847" y="-3182"/>
                    <a:pt x="26532" y="4102"/>
                    <a:pt x="34444" y="17792"/>
                  </a:cubicBezTo>
                  <a:cubicBezTo>
                    <a:pt x="42231" y="31357"/>
                    <a:pt x="42231" y="46051"/>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39" name="Graphic 4">
              <a:extLst>
                <a:ext uri="{FF2B5EF4-FFF2-40B4-BE49-F238E27FC236}">
                  <a16:creationId xmlns:a16="http://schemas.microsoft.com/office/drawing/2014/main" id="{84FB7ED1-A2DF-40A1-A747-5F7CF3F14040}"/>
                </a:ext>
              </a:extLst>
            </p:cNvPr>
            <p:cNvGrpSpPr/>
            <p:nvPr/>
          </p:nvGrpSpPr>
          <p:grpSpPr>
            <a:xfrm>
              <a:off x="631211" y="2591111"/>
              <a:ext cx="54338" cy="60074"/>
              <a:chOff x="631211" y="2591111"/>
              <a:chExt cx="54338" cy="60074"/>
            </a:xfrm>
            <a:solidFill>
              <a:schemeClr val="accent1"/>
            </a:solidFill>
          </p:grpSpPr>
          <p:sp>
            <p:nvSpPr>
              <p:cNvPr id="240" name="Freeform: Shape 239">
                <a:extLst>
                  <a:ext uri="{FF2B5EF4-FFF2-40B4-BE49-F238E27FC236}">
                    <a16:creationId xmlns:a16="http://schemas.microsoft.com/office/drawing/2014/main" id="{D1A5CA1C-9AC7-49D9-AB3B-DB3ABDCD5910}"/>
                  </a:ext>
                </a:extLst>
              </p:cNvPr>
              <p:cNvSpPr/>
              <p:nvPr/>
            </p:nvSpPr>
            <p:spPr>
              <a:xfrm>
                <a:off x="637899" y="2591111"/>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7" y="11"/>
                      <a:pt x="16202" y="11"/>
                      <a:pt x="15071" y="136"/>
                    </a:cubicBezTo>
                    <a:cubicBezTo>
                      <a:pt x="15071" y="136"/>
                      <a:pt x="15071" y="136"/>
                      <a:pt x="15071" y="136"/>
                    </a:cubicBezTo>
                    <a:lnTo>
                      <a:pt x="15071" y="136"/>
                    </a:lnTo>
                    <a:lnTo>
                      <a:pt x="15071" y="136"/>
                    </a:lnTo>
                    <a:cubicBezTo>
                      <a:pt x="13187" y="136"/>
                      <a:pt x="11429" y="638"/>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103"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 name="Freeform: Shape 240">
                <a:extLst>
                  <a:ext uri="{FF2B5EF4-FFF2-40B4-BE49-F238E27FC236}">
                    <a16:creationId xmlns:a16="http://schemas.microsoft.com/office/drawing/2014/main" id="{59F86305-B666-4148-A7CD-5A50057FF0B1}"/>
                  </a:ext>
                </a:extLst>
              </p:cNvPr>
              <p:cNvSpPr/>
              <p:nvPr/>
            </p:nvSpPr>
            <p:spPr>
              <a:xfrm>
                <a:off x="631989" y="2596876"/>
                <a:ext cx="42206" cy="54309"/>
              </a:xfrm>
              <a:custGeom>
                <a:avLst/>
                <a:gdLst>
                  <a:gd name="connsiteX0" fmla="*/ 36053 w 42206"/>
                  <a:gd name="connsiteY0" fmla="*/ 18737 h 54309"/>
                  <a:gd name="connsiteX1" fmla="*/ 21107 w 42206"/>
                  <a:gd name="connsiteY1" fmla="*/ 2912 h 54309"/>
                  <a:gd name="connsiteX2" fmla="*/ 6035 w 42206"/>
                  <a:gd name="connsiteY2" fmla="*/ 1405 h 54309"/>
                  <a:gd name="connsiteX3" fmla="*/ 7 w 42206"/>
                  <a:gd name="connsiteY3" fmla="*/ 11075 h 54309"/>
                  <a:gd name="connsiteX4" fmla="*/ 26884 w 42206"/>
                  <a:gd name="connsiteY4" fmla="*/ 54029 h 54309"/>
                  <a:gd name="connsiteX5" fmla="*/ 35927 w 42206"/>
                  <a:gd name="connsiteY5" fmla="*/ 53275 h 54309"/>
                  <a:gd name="connsiteX6" fmla="*/ 36053 w 42206"/>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6" h="54309">
                    <a:moveTo>
                      <a:pt x="36053"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342" y="48377"/>
                      <a:pt x="44216" y="33055"/>
                      <a:pt x="36053"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 name="Freeform: Shape 241">
                <a:extLst>
                  <a:ext uri="{FF2B5EF4-FFF2-40B4-BE49-F238E27FC236}">
                    <a16:creationId xmlns:a16="http://schemas.microsoft.com/office/drawing/2014/main" id="{09B9FFBD-FDA1-4BF3-9ACE-4524C7299C4B}"/>
                  </a:ext>
                </a:extLst>
              </p:cNvPr>
              <p:cNvSpPr/>
              <p:nvPr/>
            </p:nvSpPr>
            <p:spPr>
              <a:xfrm>
                <a:off x="631211" y="2599076"/>
                <a:ext cx="40378" cy="52037"/>
              </a:xfrm>
              <a:custGeom>
                <a:avLst/>
                <a:gdLst>
                  <a:gd name="connsiteX0" fmla="*/ 34444 w 40378"/>
                  <a:gd name="connsiteY0" fmla="*/ 50698 h 52037"/>
                  <a:gd name="connsiteX1" fmla="*/ 5934 w 40378"/>
                  <a:gd name="connsiteY1" fmla="*/ 34245 h 52037"/>
                  <a:gd name="connsiteX2" fmla="*/ 5934 w 40378"/>
                  <a:gd name="connsiteY2" fmla="*/ 1339 h 52037"/>
                  <a:gd name="connsiteX3" fmla="*/ 34444 w 40378"/>
                  <a:gd name="connsiteY3" fmla="*/ 17792 h 52037"/>
                  <a:gd name="connsiteX4" fmla="*/ 34444 w 40378"/>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8" h="52037">
                    <a:moveTo>
                      <a:pt x="34444" y="50698"/>
                    </a:moveTo>
                    <a:cubicBezTo>
                      <a:pt x="26532" y="55220"/>
                      <a:pt x="13847" y="47935"/>
                      <a:pt x="5934" y="34245"/>
                    </a:cubicBezTo>
                    <a:cubicBezTo>
                      <a:pt x="-1978" y="20681"/>
                      <a:pt x="-1978" y="5861"/>
                      <a:pt x="5934" y="1339"/>
                    </a:cubicBezTo>
                    <a:cubicBezTo>
                      <a:pt x="13847" y="-3182"/>
                      <a:pt x="26532" y="4102"/>
                      <a:pt x="34444" y="17792"/>
                    </a:cubicBezTo>
                    <a:cubicBezTo>
                      <a:pt x="42357" y="31357"/>
                      <a:pt x="42357"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3" name="Graphic 4">
              <a:extLst>
                <a:ext uri="{FF2B5EF4-FFF2-40B4-BE49-F238E27FC236}">
                  <a16:creationId xmlns:a16="http://schemas.microsoft.com/office/drawing/2014/main" id="{84FB7ED1-A2DF-40A1-A747-5F7CF3F14040}"/>
                </a:ext>
              </a:extLst>
            </p:cNvPr>
            <p:cNvGrpSpPr/>
            <p:nvPr/>
          </p:nvGrpSpPr>
          <p:grpSpPr>
            <a:xfrm>
              <a:off x="633585" y="2604392"/>
              <a:ext cx="35671" cy="41188"/>
              <a:chOff x="633585" y="2604392"/>
              <a:chExt cx="35671" cy="41188"/>
            </a:xfrm>
            <a:solidFill>
              <a:schemeClr val="accent1"/>
            </a:solidFill>
          </p:grpSpPr>
          <p:sp>
            <p:nvSpPr>
              <p:cNvPr id="244" name="Freeform: Shape 243">
                <a:extLst>
                  <a:ext uri="{FF2B5EF4-FFF2-40B4-BE49-F238E27FC236}">
                    <a16:creationId xmlns:a16="http://schemas.microsoft.com/office/drawing/2014/main" id="{C6BFAC0A-1D8D-47CB-853F-50C3533B5512}"/>
                  </a:ext>
                </a:extLst>
              </p:cNvPr>
              <p:cNvSpPr/>
              <p:nvPr/>
            </p:nvSpPr>
            <p:spPr>
              <a:xfrm>
                <a:off x="633585" y="2604392"/>
                <a:ext cx="35671" cy="41188"/>
              </a:xfrm>
              <a:custGeom>
                <a:avLst/>
                <a:gdLst>
                  <a:gd name="connsiteX0" fmla="*/ 26755 w 35671"/>
                  <a:gd name="connsiteY0" fmla="*/ 15445 h 41188"/>
                  <a:gd name="connsiteX1" fmla="*/ 26753 w 35671"/>
                  <a:gd name="connsiteY1" fmla="*/ 36039 h 41188"/>
                  <a:gd name="connsiteX2" fmla="*/ 8917 w 35671"/>
                  <a:gd name="connsiteY2" fmla="*/ 25743 h 41188"/>
                  <a:gd name="connsiteX3" fmla="*/ 8919 w 35671"/>
                  <a:gd name="connsiteY3" fmla="*/ 5149 h 41188"/>
                  <a:gd name="connsiteX4" fmla="*/ 26755 w 35671"/>
                  <a:gd name="connsiteY4" fmla="*/ 15445 h 4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1" h="41188">
                    <a:moveTo>
                      <a:pt x="26755" y="15445"/>
                    </a:moveTo>
                    <a:cubicBezTo>
                      <a:pt x="31680" y="23974"/>
                      <a:pt x="31679" y="33195"/>
                      <a:pt x="26753" y="36039"/>
                    </a:cubicBezTo>
                    <a:cubicBezTo>
                      <a:pt x="21828" y="38883"/>
                      <a:pt x="13842" y="34273"/>
                      <a:pt x="8917" y="25743"/>
                    </a:cubicBezTo>
                    <a:cubicBezTo>
                      <a:pt x="3992" y="17214"/>
                      <a:pt x="3993" y="7993"/>
                      <a:pt x="8919" y="5149"/>
                    </a:cubicBezTo>
                    <a:cubicBezTo>
                      <a:pt x="13844" y="2305"/>
                      <a:pt x="21830" y="6915"/>
                      <a:pt x="26755" y="15445"/>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 name="Freeform: Shape 244">
                <a:extLst>
                  <a:ext uri="{FF2B5EF4-FFF2-40B4-BE49-F238E27FC236}">
                    <a16:creationId xmlns:a16="http://schemas.microsoft.com/office/drawing/2014/main" id="{F184DB23-2BD3-49D6-B34E-9D206CC2A16B}"/>
                  </a:ext>
                </a:extLst>
              </p:cNvPr>
              <p:cNvSpPr/>
              <p:nvPr/>
            </p:nvSpPr>
            <p:spPr>
              <a:xfrm>
                <a:off x="637836" y="2607517"/>
                <a:ext cx="27222" cy="35155"/>
              </a:xfrm>
              <a:custGeom>
                <a:avLst/>
                <a:gdLst>
                  <a:gd name="connsiteX0" fmla="*/ 23172 w 27222"/>
                  <a:gd name="connsiteY0" fmla="*/ 11989 h 35155"/>
                  <a:gd name="connsiteX1" fmla="*/ 3956 w 27222"/>
                  <a:gd name="connsiteY1" fmla="*/ 937 h 35155"/>
                  <a:gd name="connsiteX2" fmla="*/ 3956 w 27222"/>
                  <a:gd name="connsiteY2" fmla="*/ 23167 h 35155"/>
                  <a:gd name="connsiteX3" fmla="*/ 23172 w 27222"/>
                  <a:gd name="connsiteY3" fmla="*/ 34219 h 35155"/>
                  <a:gd name="connsiteX4" fmla="*/ 23172 w 27222"/>
                  <a:gd name="connsiteY4" fmla="*/ 11989 h 35155"/>
                  <a:gd name="connsiteX5" fmla="*/ 24177 w 27222"/>
                  <a:gd name="connsiteY5" fmla="*/ 15631 h 35155"/>
                  <a:gd name="connsiteX6" fmla="*/ 18274 w 27222"/>
                  <a:gd name="connsiteY6" fmla="*/ 14375 h 35155"/>
                  <a:gd name="connsiteX7" fmla="*/ 17018 w 27222"/>
                  <a:gd name="connsiteY7" fmla="*/ 12491 h 35155"/>
                  <a:gd name="connsiteX8" fmla="*/ 17018 w 27222"/>
                  <a:gd name="connsiteY8" fmla="*/ 5332 h 35155"/>
                  <a:gd name="connsiteX9" fmla="*/ 22544 w 27222"/>
                  <a:gd name="connsiteY9" fmla="*/ 12366 h 35155"/>
                  <a:gd name="connsiteX10" fmla="*/ 24177 w 27222"/>
                  <a:gd name="connsiteY10" fmla="*/ 15631 h 35155"/>
                  <a:gd name="connsiteX11" fmla="*/ 4710 w 27222"/>
                  <a:gd name="connsiteY11" fmla="*/ 2067 h 35155"/>
                  <a:gd name="connsiteX12" fmla="*/ 10236 w 27222"/>
                  <a:gd name="connsiteY12" fmla="*/ 1565 h 35155"/>
                  <a:gd name="connsiteX13" fmla="*/ 10236 w 27222"/>
                  <a:gd name="connsiteY13" fmla="*/ 8723 h 35155"/>
                  <a:gd name="connsiteX14" fmla="*/ 8980 w 27222"/>
                  <a:gd name="connsiteY14" fmla="*/ 9100 h 35155"/>
                  <a:gd name="connsiteX15" fmla="*/ 3077 w 27222"/>
                  <a:gd name="connsiteY15" fmla="*/ 3449 h 35155"/>
                  <a:gd name="connsiteX16" fmla="*/ 4710 w 27222"/>
                  <a:gd name="connsiteY16" fmla="*/ 2067 h 35155"/>
                  <a:gd name="connsiteX17" fmla="*/ 942 w 27222"/>
                  <a:gd name="connsiteY17" fmla="*/ 9603 h 35155"/>
                  <a:gd name="connsiteX18" fmla="*/ 6845 w 27222"/>
                  <a:gd name="connsiteY18" fmla="*/ 15254 h 35155"/>
                  <a:gd name="connsiteX19" fmla="*/ 7347 w 27222"/>
                  <a:gd name="connsiteY19" fmla="*/ 17264 h 35155"/>
                  <a:gd name="connsiteX20" fmla="*/ 3705 w 27222"/>
                  <a:gd name="connsiteY20" fmla="*/ 20906 h 35155"/>
                  <a:gd name="connsiteX21" fmla="*/ 942 w 27222"/>
                  <a:gd name="connsiteY21" fmla="*/ 9603 h 35155"/>
                  <a:gd name="connsiteX22" fmla="*/ 9106 w 27222"/>
                  <a:gd name="connsiteY22" fmla="*/ 28567 h 35155"/>
                  <a:gd name="connsiteX23" fmla="*/ 12748 w 27222"/>
                  <a:gd name="connsiteY23" fmla="*/ 24925 h 35155"/>
                  <a:gd name="connsiteX24" fmla="*/ 14381 w 27222"/>
                  <a:gd name="connsiteY24" fmla="*/ 25804 h 35155"/>
                  <a:gd name="connsiteX25" fmla="*/ 18023 w 27222"/>
                  <a:gd name="connsiteY25" fmla="*/ 33717 h 35155"/>
                  <a:gd name="connsiteX26" fmla="*/ 9106 w 27222"/>
                  <a:gd name="connsiteY26" fmla="*/ 28567 h 35155"/>
                  <a:gd name="connsiteX27" fmla="*/ 23423 w 27222"/>
                  <a:gd name="connsiteY27" fmla="*/ 32335 h 35155"/>
                  <a:gd name="connsiteX28" fmla="*/ 19781 w 27222"/>
                  <a:gd name="connsiteY28" fmla="*/ 24423 h 35155"/>
                  <a:gd name="connsiteX29" fmla="*/ 20284 w 27222"/>
                  <a:gd name="connsiteY29" fmla="*/ 22916 h 35155"/>
                  <a:gd name="connsiteX30" fmla="*/ 26187 w 27222"/>
                  <a:gd name="connsiteY30" fmla="*/ 24046 h 35155"/>
                  <a:gd name="connsiteX31" fmla="*/ 23423 w 27222"/>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222" h="35155">
                    <a:moveTo>
                      <a:pt x="23172" y="11989"/>
                    </a:moveTo>
                    <a:cubicBezTo>
                      <a:pt x="17897" y="2820"/>
                      <a:pt x="9231" y="-2203"/>
                      <a:pt x="3956" y="937"/>
                    </a:cubicBezTo>
                    <a:cubicBezTo>
                      <a:pt x="-1319" y="3951"/>
                      <a:pt x="-1319" y="13998"/>
                      <a:pt x="3956" y="23167"/>
                    </a:cubicBezTo>
                    <a:cubicBezTo>
                      <a:pt x="9231" y="32335"/>
                      <a:pt x="17897" y="37359"/>
                      <a:pt x="23172" y="34219"/>
                    </a:cubicBezTo>
                    <a:cubicBezTo>
                      <a:pt x="28573" y="31079"/>
                      <a:pt x="28573" y="21157"/>
                      <a:pt x="23172" y="11989"/>
                    </a:cubicBezTo>
                    <a:close/>
                    <a:moveTo>
                      <a:pt x="24177" y="15631"/>
                    </a:moveTo>
                    <a:lnTo>
                      <a:pt x="18274" y="14375"/>
                    </a:lnTo>
                    <a:cubicBezTo>
                      <a:pt x="17897" y="13747"/>
                      <a:pt x="17395" y="13119"/>
                      <a:pt x="17018" y="12491"/>
                    </a:cubicBezTo>
                    <a:lnTo>
                      <a:pt x="17018" y="5332"/>
                    </a:lnTo>
                    <a:cubicBezTo>
                      <a:pt x="19028" y="7216"/>
                      <a:pt x="21037" y="9477"/>
                      <a:pt x="22544" y="12366"/>
                    </a:cubicBezTo>
                    <a:cubicBezTo>
                      <a:pt x="23172" y="13496"/>
                      <a:pt x="23675" y="14501"/>
                      <a:pt x="24177" y="15631"/>
                    </a:cubicBezTo>
                    <a:close/>
                    <a:moveTo>
                      <a:pt x="4710" y="2067"/>
                    </a:moveTo>
                    <a:cubicBezTo>
                      <a:pt x="6343" y="1188"/>
                      <a:pt x="8226" y="1062"/>
                      <a:pt x="10236" y="1565"/>
                    </a:cubicBezTo>
                    <a:lnTo>
                      <a:pt x="10236" y="8723"/>
                    </a:lnTo>
                    <a:cubicBezTo>
                      <a:pt x="9734" y="8723"/>
                      <a:pt x="9357" y="8849"/>
                      <a:pt x="8980" y="9100"/>
                    </a:cubicBezTo>
                    <a:lnTo>
                      <a:pt x="3077" y="3449"/>
                    </a:lnTo>
                    <a:cubicBezTo>
                      <a:pt x="3579" y="2946"/>
                      <a:pt x="4082" y="2444"/>
                      <a:pt x="4710" y="2067"/>
                    </a:cubicBezTo>
                    <a:close/>
                    <a:moveTo>
                      <a:pt x="942" y="9603"/>
                    </a:moveTo>
                    <a:lnTo>
                      <a:pt x="6845" y="15254"/>
                    </a:lnTo>
                    <a:cubicBezTo>
                      <a:pt x="6971" y="15882"/>
                      <a:pt x="7096" y="16636"/>
                      <a:pt x="7347" y="17264"/>
                    </a:cubicBezTo>
                    <a:lnTo>
                      <a:pt x="3705" y="20906"/>
                    </a:lnTo>
                    <a:cubicBezTo>
                      <a:pt x="1821" y="17013"/>
                      <a:pt x="816" y="12994"/>
                      <a:pt x="942" y="9603"/>
                    </a:cubicBezTo>
                    <a:close/>
                    <a:moveTo>
                      <a:pt x="9106" y="28567"/>
                    </a:moveTo>
                    <a:lnTo>
                      <a:pt x="12748" y="24925"/>
                    </a:lnTo>
                    <a:cubicBezTo>
                      <a:pt x="13250" y="25302"/>
                      <a:pt x="13878" y="25679"/>
                      <a:pt x="14381" y="25804"/>
                    </a:cubicBezTo>
                    <a:lnTo>
                      <a:pt x="18023" y="33717"/>
                    </a:lnTo>
                    <a:cubicBezTo>
                      <a:pt x="15134" y="33340"/>
                      <a:pt x="11994" y="31456"/>
                      <a:pt x="9106" y="28567"/>
                    </a:cubicBezTo>
                    <a:close/>
                    <a:moveTo>
                      <a:pt x="23423" y="32335"/>
                    </a:moveTo>
                    <a:lnTo>
                      <a:pt x="19781" y="24423"/>
                    </a:lnTo>
                    <a:cubicBezTo>
                      <a:pt x="20032" y="24046"/>
                      <a:pt x="20158" y="23544"/>
                      <a:pt x="20284" y="22916"/>
                    </a:cubicBezTo>
                    <a:lnTo>
                      <a:pt x="26187" y="24046"/>
                    </a:lnTo>
                    <a:cubicBezTo>
                      <a:pt x="26312" y="27688"/>
                      <a:pt x="25433"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46" name="Graphic 4">
                <a:extLst>
                  <a:ext uri="{FF2B5EF4-FFF2-40B4-BE49-F238E27FC236}">
                    <a16:creationId xmlns:a16="http://schemas.microsoft.com/office/drawing/2014/main" id="{84FB7ED1-A2DF-40A1-A747-5F7CF3F14040}"/>
                  </a:ext>
                </a:extLst>
              </p:cNvPr>
              <p:cNvGrpSpPr/>
              <p:nvPr/>
            </p:nvGrpSpPr>
            <p:grpSpPr>
              <a:xfrm>
                <a:off x="638766" y="2609207"/>
                <a:ext cx="23874" cy="32026"/>
                <a:chOff x="638766" y="2609207"/>
                <a:chExt cx="23874" cy="32026"/>
              </a:xfrm>
              <a:solidFill>
                <a:srgbClr val="ADAA99"/>
              </a:solidFill>
            </p:grpSpPr>
            <p:sp>
              <p:nvSpPr>
                <p:cNvPr id="247" name="Freeform: Shape 246">
                  <a:extLst>
                    <a:ext uri="{FF2B5EF4-FFF2-40B4-BE49-F238E27FC236}">
                      <a16:creationId xmlns:a16="http://schemas.microsoft.com/office/drawing/2014/main" id="{48F32588-5108-4DAB-A036-95EE0D684487}"/>
                    </a:ext>
                  </a:extLst>
                </p:cNvPr>
                <p:cNvSpPr/>
                <p:nvPr/>
              </p:nvSpPr>
              <p:spPr>
                <a:xfrm>
                  <a:off x="654729" y="2612975"/>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285"/>
                        <a:pt x="2261" y="6657"/>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 name="Freeform: Shape 247">
                  <a:extLst>
                    <a:ext uri="{FF2B5EF4-FFF2-40B4-BE49-F238E27FC236}">
                      <a16:creationId xmlns:a16="http://schemas.microsoft.com/office/drawing/2014/main" id="{4C35D361-EC27-4F23-B1C8-9826C11B37CF}"/>
                    </a:ext>
                  </a:extLst>
                </p:cNvPr>
                <p:cNvSpPr/>
                <p:nvPr/>
              </p:nvSpPr>
              <p:spPr>
                <a:xfrm>
                  <a:off x="657617" y="2630432"/>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758" y="502"/>
                        <a:pt x="1884" y="377"/>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 name="Freeform: Shape 248">
                  <a:extLst>
                    <a:ext uri="{FF2B5EF4-FFF2-40B4-BE49-F238E27FC236}">
                      <a16:creationId xmlns:a16="http://schemas.microsoft.com/office/drawing/2014/main" id="{9F8B5D57-A970-414C-AC12-EEF7172430FB}"/>
                    </a:ext>
                  </a:extLst>
                </p:cNvPr>
                <p:cNvSpPr/>
                <p:nvPr/>
              </p:nvSpPr>
              <p:spPr>
                <a:xfrm>
                  <a:off x="638766" y="2617119"/>
                  <a:ext cx="4281" cy="11303"/>
                </a:xfrm>
                <a:custGeom>
                  <a:avLst/>
                  <a:gdLst>
                    <a:gd name="connsiteX0" fmla="*/ 12 w 4281"/>
                    <a:gd name="connsiteY0" fmla="*/ 0 h 11303"/>
                    <a:gd name="connsiteX1" fmla="*/ 2775 w 4281"/>
                    <a:gd name="connsiteY1" fmla="*/ 11304 h 11303"/>
                    <a:gd name="connsiteX2" fmla="*/ 4282 w 4281"/>
                    <a:gd name="connsiteY2" fmla="*/ 9796 h 11303"/>
                    <a:gd name="connsiteX3" fmla="*/ 1896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5" y="11304"/>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 name="Freeform: Shape 249">
                  <a:extLst>
                    <a:ext uri="{FF2B5EF4-FFF2-40B4-BE49-F238E27FC236}">
                      <a16:creationId xmlns:a16="http://schemas.microsoft.com/office/drawing/2014/main" id="{EFE28688-AA1C-4A73-B515-5BAB279DFC34}"/>
                    </a:ext>
                  </a:extLst>
                </p:cNvPr>
                <p:cNvSpPr/>
                <p:nvPr/>
              </p:nvSpPr>
              <p:spPr>
                <a:xfrm>
                  <a:off x="646942" y="2632442"/>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9" y="8415"/>
                        <a:pt x="8917" y="8792"/>
                      </a:cubicBezTo>
                      <a:lnTo>
                        <a:pt x="8164" y="7033"/>
                      </a:lnTo>
                      <a:cubicBezTo>
                        <a:pt x="6029" y="6280"/>
                        <a:pt x="3893" y="4773"/>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1" name="Freeform: Shape 250">
                  <a:extLst>
                    <a:ext uri="{FF2B5EF4-FFF2-40B4-BE49-F238E27FC236}">
                      <a16:creationId xmlns:a16="http://schemas.microsoft.com/office/drawing/2014/main" id="{5242274A-7DFA-4A7C-A1B2-A88D0F5C1BC8}"/>
                    </a:ext>
                  </a:extLst>
                </p:cNvPr>
                <p:cNvSpPr/>
                <p:nvPr/>
              </p:nvSpPr>
              <p:spPr>
                <a:xfrm>
                  <a:off x="640913" y="2609207"/>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8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8" y="754"/>
                      </a:lnTo>
                      <a:cubicBezTo>
                        <a:pt x="2010"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2" name="Graphic 4">
                <a:extLst>
                  <a:ext uri="{FF2B5EF4-FFF2-40B4-BE49-F238E27FC236}">
                    <a16:creationId xmlns:a16="http://schemas.microsoft.com/office/drawing/2014/main" id="{84FB7ED1-A2DF-40A1-A747-5F7CF3F14040}"/>
                  </a:ext>
                </a:extLst>
              </p:cNvPr>
              <p:cNvGrpSpPr/>
              <p:nvPr/>
            </p:nvGrpSpPr>
            <p:grpSpPr>
              <a:xfrm>
                <a:off x="646464" y="2618799"/>
                <a:ext cx="10023" cy="13199"/>
                <a:chOff x="646464" y="2618799"/>
                <a:chExt cx="10023" cy="13199"/>
              </a:xfrm>
              <a:solidFill>
                <a:srgbClr val="222222"/>
              </a:solidFill>
            </p:grpSpPr>
            <p:sp>
              <p:nvSpPr>
                <p:cNvPr id="253" name="Freeform: Shape 252">
                  <a:extLst>
                    <a:ext uri="{FF2B5EF4-FFF2-40B4-BE49-F238E27FC236}">
                      <a16:creationId xmlns:a16="http://schemas.microsoft.com/office/drawing/2014/main" id="{4A4009D3-22BD-423F-941A-14DD285AA1CE}"/>
                    </a:ext>
                  </a:extLst>
                </p:cNvPr>
                <p:cNvSpPr/>
                <p:nvPr/>
              </p:nvSpPr>
              <p:spPr>
                <a:xfrm>
                  <a:off x="649736" y="2622913"/>
                  <a:ext cx="3422" cy="4363"/>
                </a:xfrm>
                <a:custGeom>
                  <a:avLst/>
                  <a:gdLst>
                    <a:gd name="connsiteX0" fmla="*/ 2857 w 3422"/>
                    <a:gd name="connsiteY0" fmla="*/ 4254 h 4363"/>
                    <a:gd name="connsiteX1" fmla="*/ 471 w 3422"/>
                    <a:gd name="connsiteY1" fmla="*/ 2873 h 4363"/>
                    <a:gd name="connsiteX2" fmla="*/ 471 w 3422"/>
                    <a:gd name="connsiteY2" fmla="*/ 110 h 4363"/>
                    <a:gd name="connsiteX3" fmla="*/ 2857 w 3422"/>
                    <a:gd name="connsiteY3" fmla="*/ 1491 h 4363"/>
                    <a:gd name="connsiteX4" fmla="*/ 2857 w 3422"/>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2" h="4363">
                      <a:moveTo>
                        <a:pt x="2857" y="4254"/>
                      </a:moveTo>
                      <a:cubicBezTo>
                        <a:pt x="2229" y="4631"/>
                        <a:pt x="1099" y="4003"/>
                        <a:pt x="471" y="2873"/>
                      </a:cubicBezTo>
                      <a:cubicBezTo>
                        <a:pt x="-157" y="1742"/>
                        <a:pt x="-157" y="486"/>
                        <a:pt x="471" y="110"/>
                      </a:cubicBezTo>
                      <a:cubicBezTo>
                        <a:pt x="1099" y="-267"/>
                        <a:pt x="2229" y="361"/>
                        <a:pt x="2857" y="1491"/>
                      </a:cubicBezTo>
                      <a:cubicBezTo>
                        <a:pt x="3611" y="2621"/>
                        <a:pt x="3611"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 name="Freeform: Shape 253">
                  <a:extLst>
                    <a:ext uri="{FF2B5EF4-FFF2-40B4-BE49-F238E27FC236}">
                      <a16:creationId xmlns:a16="http://schemas.microsoft.com/office/drawing/2014/main" id="{779E2494-287F-4046-AD8C-B115B07C9638}"/>
                    </a:ext>
                  </a:extLst>
                </p:cNvPr>
                <p:cNvSpPr/>
                <p:nvPr/>
              </p:nvSpPr>
              <p:spPr>
                <a:xfrm>
                  <a:off x="650427" y="2618799"/>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2"/>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 name="Freeform: Shape 254">
                  <a:extLst>
                    <a:ext uri="{FF2B5EF4-FFF2-40B4-BE49-F238E27FC236}">
                      <a16:creationId xmlns:a16="http://schemas.microsoft.com/office/drawing/2014/main" id="{4E166280-0342-4BC6-8F7A-4F94EA6D4A56}"/>
                    </a:ext>
                  </a:extLst>
                </p:cNvPr>
                <p:cNvSpPr/>
                <p:nvPr/>
              </p:nvSpPr>
              <p:spPr>
                <a:xfrm>
                  <a:off x="647922" y="2626389"/>
                  <a:ext cx="1932" cy="2560"/>
                </a:xfrm>
                <a:custGeom>
                  <a:avLst/>
                  <a:gdLst>
                    <a:gd name="connsiteX0" fmla="*/ 778 w 1932"/>
                    <a:gd name="connsiteY0" fmla="*/ 24 h 2560"/>
                    <a:gd name="connsiteX1" fmla="*/ 1908 w 1932"/>
                    <a:gd name="connsiteY1" fmla="*/ 1657 h 2560"/>
                    <a:gd name="connsiteX2" fmla="*/ 1155 w 1932"/>
                    <a:gd name="connsiteY2" fmla="*/ 2536 h 2560"/>
                    <a:gd name="connsiteX3" fmla="*/ 24 w 1932"/>
                    <a:gd name="connsiteY3" fmla="*/ 903 h 2560"/>
                    <a:gd name="connsiteX4" fmla="*/ 778 w 1932"/>
                    <a:gd name="connsiteY4" fmla="*/ 24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560">
                      <a:moveTo>
                        <a:pt x="778" y="24"/>
                      </a:moveTo>
                      <a:cubicBezTo>
                        <a:pt x="1280" y="275"/>
                        <a:pt x="1783" y="903"/>
                        <a:pt x="1908" y="1657"/>
                      </a:cubicBezTo>
                      <a:cubicBezTo>
                        <a:pt x="2034" y="2285"/>
                        <a:pt x="1657" y="2662"/>
                        <a:pt x="1155" y="2536"/>
                      </a:cubicBezTo>
                      <a:cubicBezTo>
                        <a:pt x="652" y="2285"/>
                        <a:pt x="150" y="1657"/>
                        <a:pt x="24" y="903"/>
                      </a:cubicBezTo>
                      <a:cubicBezTo>
                        <a:pt x="-101" y="275"/>
                        <a:pt x="276" y="-102"/>
                        <a:pt x="778" y="2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 name="Freeform: Shape 255">
                  <a:extLst>
                    <a:ext uri="{FF2B5EF4-FFF2-40B4-BE49-F238E27FC236}">
                      <a16:creationId xmlns:a16="http://schemas.microsoft.com/office/drawing/2014/main" id="{79814171-18EC-4FDB-A655-A5C2B1242493}"/>
                    </a:ext>
                  </a:extLst>
                </p:cNvPr>
                <p:cNvSpPr/>
                <p:nvPr/>
              </p:nvSpPr>
              <p:spPr>
                <a:xfrm>
                  <a:off x="653072" y="2629369"/>
                  <a:ext cx="1932" cy="2629"/>
                </a:xfrm>
                <a:custGeom>
                  <a:avLst/>
                  <a:gdLst>
                    <a:gd name="connsiteX0" fmla="*/ 24 w 1932"/>
                    <a:gd name="connsiteY0" fmla="*/ 561 h 2629"/>
                    <a:gd name="connsiteX1" fmla="*/ 1155 w 1932"/>
                    <a:gd name="connsiteY1" fmla="*/ 310 h 2629"/>
                    <a:gd name="connsiteX2" fmla="*/ 1908 w 1932"/>
                    <a:gd name="connsiteY2" fmla="*/ 2068 h 2629"/>
                    <a:gd name="connsiteX3" fmla="*/ 778 w 1932"/>
                    <a:gd name="connsiteY3" fmla="*/ 2319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8" y="2068"/>
                      </a:cubicBezTo>
                      <a:cubicBezTo>
                        <a:pt x="1783" y="2696"/>
                        <a:pt x="1280" y="2822"/>
                        <a:pt x="778" y="2319"/>
                      </a:cubicBezTo>
                      <a:cubicBezTo>
                        <a:pt x="276" y="1943"/>
                        <a:pt x="-101" y="1064"/>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 name="Freeform: Shape 256">
                  <a:extLst>
                    <a:ext uri="{FF2B5EF4-FFF2-40B4-BE49-F238E27FC236}">
                      <a16:creationId xmlns:a16="http://schemas.microsoft.com/office/drawing/2014/main" id="{8AB9E5AE-4921-492F-9BF0-1FAEDFC59822}"/>
                    </a:ext>
                  </a:extLst>
                </p:cNvPr>
                <p:cNvSpPr/>
                <p:nvPr/>
              </p:nvSpPr>
              <p:spPr>
                <a:xfrm>
                  <a:off x="654603" y="2624687"/>
                  <a:ext cx="1883" cy="2447"/>
                </a:xfrm>
                <a:custGeom>
                  <a:avLst/>
                  <a:gdLst>
                    <a:gd name="connsiteX0" fmla="*/ 502 w 1883"/>
                    <a:gd name="connsiteY0" fmla="*/ 1977 h 2447"/>
                    <a:gd name="connsiteX1" fmla="*/ 126 w 1883"/>
                    <a:gd name="connsiteY1" fmla="*/ 219 h 2447"/>
                    <a:gd name="connsiteX2" fmla="*/ 1382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6" y="596"/>
                        <a:pt x="126" y="219"/>
                      </a:cubicBezTo>
                      <a:cubicBezTo>
                        <a:pt x="377" y="-158"/>
                        <a:pt x="1005" y="-32"/>
                        <a:pt x="1382" y="470"/>
                      </a:cubicBezTo>
                      <a:cubicBezTo>
                        <a:pt x="1884" y="973"/>
                        <a:pt x="2010" y="1852"/>
                        <a:pt x="1758" y="2229"/>
                      </a:cubicBezTo>
                      <a:cubicBezTo>
                        <a:pt x="1633" y="2605"/>
                        <a:pt x="1005"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8" name="Freeform: Shape 257">
                  <a:extLst>
                    <a:ext uri="{FF2B5EF4-FFF2-40B4-BE49-F238E27FC236}">
                      <a16:creationId xmlns:a16="http://schemas.microsoft.com/office/drawing/2014/main" id="{BE08D594-4BF4-47A6-B4DD-5182B2682E50}"/>
                    </a:ext>
                  </a:extLst>
                </p:cNvPr>
                <p:cNvSpPr/>
                <p:nvPr/>
              </p:nvSpPr>
              <p:spPr>
                <a:xfrm>
                  <a:off x="646464" y="2619883"/>
                  <a:ext cx="1834" cy="2511"/>
                </a:xfrm>
                <a:custGeom>
                  <a:avLst/>
                  <a:gdLst>
                    <a:gd name="connsiteX0" fmla="*/ 1734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4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4" y="1256"/>
                      </a:moveTo>
                      <a:cubicBezTo>
                        <a:pt x="1985" y="2009"/>
                        <a:pt x="1734" y="2512"/>
                        <a:pt x="1357" y="2512"/>
                      </a:cubicBezTo>
                      <a:cubicBezTo>
                        <a:pt x="855" y="2512"/>
                        <a:pt x="227" y="2009"/>
                        <a:pt x="101" y="1256"/>
                      </a:cubicBezTo>
                      <a:cubicBezTo>
                        <a:pt x="-150" y="502"/>
                        <a:pt x="101" y="0"/>
                        <a:pt x="478" y="0"/>
                      </a:cubicBezTo>
                      <a:cubicBezTo>
                        <a:pt x="855" y="0"/>
                        <a:pt x="1483" y="502"/>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59" name="Freeform: Shape 258">
              <a:extLst>
                <a:ext uri="{FF2B5EF4-FFF2-40B4-BE49-F238E27FC236}">
                  <a16:creationId xmlns:a16="http://schemas.microsoft.com/office/drawing/2014/main" id="{9E2DA666-8F78-4FF0-9531-6EE6F99307AF}"/>
                </a:ext>
              </a:extLst>
            </p:cNvPr>
            <p:cNvSpPr/>
            <p:nvPr/>
          </p:nvSpPr>
          <p:spPr>
            <a:xfrm>
              <a:off x="571334" y="2556573"/>
              <a:ext cx="113035" cy="91191"/>
            </a:xfrm>
            <a:custGeom>
              <a:avLst/>
              <a:gdLst>
                <a:gd name="connsiteX0" fmla="*/ 6657 w 113035"/>
                <a:gd name="connsiteY0" fmla="*/ 8299 h 91191"/>
                <a:gd name="connsiteX1" fmla="*/ 11932 w 113035"/>
                <a:gd name="connsiteY1" fmla="*/ 1517 h 91191"/>
                <a:gd name="connsiteX2" fmla="*/ 27631 w 113035"/>
                <a:gd name="connsiteY2" fmla="*/ 3024 h 91191"/>
                <a:gd name="connsiteX3" fmla="*/ 85781 w 113035"/>
                <a:gd name="connsiteY3" fmla="*/ 36557 h 91191"/>
                <a:gd name="connsiteX4" fmla="*/ 101481 w 113035"/>
                <a:gd name="connsiteY4" fmla="*/ 53136 h 91191"/>
                <a:gd name="connsiteX5" fmla="*/ 106756 w 113035"/>
                <a:gd name="connsiteY5" fmla="*/ 66072 h 91191"/>
                <a:gd name="connsiteX6" fmla="*/ 113035 w 113035"/>
                <a:gd name="connsiteY6" fmla="*/ 91191 h 91191"/>
                <a:gd name="connsiteX7" fmla="*/ 109895 w 113035"/>
                <a:gd name="connsiteY7" fmla="*/ 90689 h 91191"/>
                <a:gd name="connsiteX8" fmla="*/ 103490 w 113035"/>
                <a:gd name="connsiteY8" fmla="*/ 65444 h 91191"/>
                <a:gd name="connsiteX9" fmla="*/ 85530 w 113035"/>
                <a:gd name="connsiteY9" fmla="*/ 40325 h 91191"/>
                <a:gd name="connsiteX10" fmla="*/ 27380 w 113035"/>
                <a:gd name="connsiteY10" fmla="*/ 6792 h 91191"/>
                <a:gd name="connsiteX11" fmla="*/ 9420 w 113035"/>
                <a:gd name="connsiteY11" fmla="*/ 11313 h 91191"/>
                <a:gd name="connsiteX12" fmla="*/ 3140 w 113035"/>
                <a:gd name="connsiteY12" fmla="*/ 29273 h 91191"/>
                <a:gd name="connsiteX13" fmla="*/ 0 w 113035"/>
                <a:gd name="connsiteY13" fmla="*/ 26133 h 91191"/>
                <a:gd name="connsiteX14" fmla="*/ 6657 w 113035"/>
                <a:gd name="connsiteY14" fmla="*/ 8299 h 91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035" h="91191">
                  <a:moveTo>
                    <a:pt x="6657" y="8299"/>
                  </a:moveTo>
                  <a:cubicBezTo>
                    <a:pt x="7787" y="5159"/>
                    <a:pt x="9545" y="2898"/>
                    <a:pt x="11932" y="1517"/>
                  </a:cubicBezTo>
                  <a:cubicBezTo>
                    <a:pt x="15951" y="-870"/>
                    <a:pt x="21602" y="-493"/>
                    <a:pt x="27631" y="3024"/>
                  </a:cubicBezTo>
                  <a:lnTo>
                    <a:pt x="85781" y="36557"/>
                  </a:lnTo>
                  <a:cubicBezTo>
                    <a:pt x="91810" y="40074"/>
                    <a:pt x="97462" y="46103"/>
                    <a:pt x="101481" y="53136"/>
                  </a:cubicBezTo>
                  <a:cubicBezTo>
                    <a:pt x="103867" y="57281"/>
                    <a:pt x="105625" y="61676"/>
                    <a:pt x="106756" y="66072"/>
                  </a:cubicBezTo>
                  <a:lnTo>
                    <a:pt x="113035" y="91191"/>
                  </a:lnTo>
                  <a:lnTo>
                    <a:pt x="109895" y="90689"/>
                  </a:lnTo>
                  <a:lnTo>
                    <a:pt x="103490" y="65444"/>
                  </a:lnTo>
                  <a:cubicBezTo>
                    <a:pt x="100853" y="55020"/>
                    <a:pt x="93694" y="44972"/>
                    <a:pt x="85530" y="40325"/>
                  </a:cubicBezTo>
                  <a:lnTo>
                    <a:pt x="27380" y="6792"/>
                  </a:lnTo>
                  <a:cubicBezTo>
                    <a:pt x="19216" y="2145"/>
                    <a:pt x="12057" y="3903"/>
                    <a:pt x="9420" y="11313"/>
                  </a:cubicBezTo>
                  <a:lnTo>
                    <a:pt x="3140" y="29273"/>
                  </a:lnTo>
                  <a:lnTo>
                    <a:pt x="0" y="26133"/>
                  </a:lnTo>
                  <a:lnTo>
                    <a:pt x="6657" y="829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 name="Freeform: Shape 259">
              <a:extLst>
                <a:ext uri="{FF2B5EF4-FFF2-40B4-BE49-F238E27FC236}">
                  <a16:creationId xmlns:a16="http://schemas.microsoft.com/office/drawing/2014/main" id="{22AC6CA4-1472-4EA8-AD9A-3288D91F1070}"/>
                </a:ext>
              </a:extLst>
            </p:cNvPr>
            <p:cNvSpPr/>
            <p:nvPr/>
          </p:nvSpPr>
          <p:spPr>
            <a:xfrm>
              <a:off x="583390" y="2542004"/>
              <a:ext cx="114794" cy="67705"/>
            </a:xfrm>
            <a:custGeom>
              <a:avLst/>
              <a:gdLst>
                <a:gd name="connsiteX0" fmla="*/ 25119 w 114794"/>
                <a:gd name="connsiteY0" fmla="*/ 1517 h 67705"/>
                <a:gd name="connsiteX1" fmla="*/ 40944 w 114794"/>
                <a:gd name="connsiteY1" fmla="*/ 3024 h 67705"/>
                <a:gd name="connsiteX2" fmla="*/ 99095 w 114794"/>
                <a:gd name="connsiteY2" fmla="*/ 36558 h 67705"/>
                <a:gd name="connsiteX3" fmla="*/ 114794 w 114794"/>
                <a:gd name="connsiteY3" fmla="*/ 53136 h 67705"/>
                <a:gd name="connsiteX4" fmla="*/ 89550 w 114794"/>
                <a:gd name="connsiteY4" fmla="*/ 67705 h 67705"/>
                <a:gd name="connsiteX5" fmla="*/ 73850 w 114794"/>
                <a:gd name="connsiteY5" fmla="*/ 51127 h 67705"/>
                <a:gd name="connsiteX6" fmla="*/ 15700 w 114794"/>
                <a:gd name="connsiteY6" fmla="*/ 17593 h 67705"/>
                <a:gd name="connsiteX7" fmla="*/ 1 w 114794"/>
                <a:gd name="connsiteY7" fmla="*/ 16086 h 67705"/>
                <a:gd name="connsiteX8" fmla="*/ 25119 w 114794"/>
                <a:gd name="connsiteY8" fmla="*/ 1517 h 67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794" h="67705">
                  <a:moveTo>
                    <a:pt x="25119" y="1517"/>
                  </a:moveTo>
                  <a:cubicBezTo>
                    <a:pt x="29264" y="-870"/>
                    <a:pt x="34790" y="-493"/>
                    <a:pt x="40944" y="3024"/>
                  </a:cubicBezTo>
                  <a:lnTo>
                    <a:pt x="99095" y="36558"/>
                  </a:lnTo>
                  <a:cubicBezTo>
                    <a:pt x="105123" y="40074"/>
                    <a:pt x="110775" y="46103"/>
                    <a:pt x="114794" y="53136"/>
                  </a:cubicBezTo>
                  <a:lnTo>
                    <a:pt x="89550" y="67705"/>
                  </a:lnTo>
                  <a:cubicBezTo>
                    <a:pt x="85531" y="60672"/>
                    <a:pt x="79879" y="54643"/>
                    <a:pt x="73850" y="51127"/>
                  </a:cubicBezTo>
                  <a:lnTo>
                    <a:pt x="15700" y="17593"/>
                  </a:lnTo>
                  <a:cubicBezTo>
                    <a:pt x="9671" y="14076"/>
                    <a:pt x="4020" y="13699"/>
                    <a:pt x="1" y="16086"/>
                  </a:cubicBezTo>
                  <a:cubicBezTo>
                    <a:pt x="-125" y="16086"/>
                    <a:pt x="22733" y="2898"/>
                    <a:pt x="25119" y="1517"/>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 name="Freeform: Shape 260">
              <a:extLst>
                <a:ext uri="{FF2B5EF4-FFF2-40B4-BE49-F238E27FC236}">
                  <a16:creationId xmlns:a16="http://schemas.microsoft.com/office/drawing/2014/main" id="{B9DBB17A-ACCB-4DBF-93A5-D2210CE15791}"/>
                </a:ext>
              </a:extLst>
            </p:cNvPr>
            <p:cNvSpPr/>
            <p:nvPr/>
          </p:nvSpPr>
          <p:spPr>
            <a:xfrm>
              <a:off x="672814" y="2595266"/>
              <a:ext cx="36799" cy="52624"/>
            </a:xfrm>
            <a:custGeom>
              <a:avLst/>
              <a:gdLst>
                <a:gd name="connsiteX0" fmla="*/ 30519 w 36799"/>
                <a:gd name="connsiteY0" fmla="*/ 12936 h 52624"/>
                <a:gd name="connsiteX1" fmla="*/ 25245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19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19" y="12936"/>
                  </a:moveTo>
                  <a:cubicBezTo>
                    <a:pt x="29389" y="8415"/>
                    <a:pt x="27505" y="4019"/>
                    <a:pt x="25245" y="0"/>
                  </a:cubicBezTo>
                  <a:lnTo>
                    <a:pt x="0" y="14569"/>
                  </a:lnTo>
                  <a:cubicBezTo>
                    <a:pt x="2386" y="18714"/>
                    <a:pt x="4145" y="23109"/>
                    <a:pt x="5275" y="27505"/>
                  </a:cubicBezTo>
                  <a:lnTo>
                    <a:pt x="11555" y="52624"/>
                  </a:lnTo>
                  <a:lnTo>
                    <a:pt x="36799" y="38055"/>
                  </a:lnTo>
                  <a:lnTo>
                    <a:pt x="30519"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 name="Freeform: Shape 261">
              <a:extLst>
                <a:ext uri="{FF2B5EF4-FFF2-40B4-BE49-F238E27FC236}">
                  <a16:creationId xmlns:a16="http://schemas.microsoft.com/office/drawing/2014/main" id="{310C41C0-0652-402D-A5A5-77FD742C3E75}"/>
                </a:ext>
              </a:extLst>
            </p:cNvPr>
            <p:cNvSpPr/>
            <p:nvPr/>
          </p:nvSpPr>
          <p:spPr>
            <a:xfrm>
              <a:off x="883562" y="2688112"/>
              <a:ext cx="99847" cy="57616"/>
            </a:xfrm>
            <a:custGeom>
              <a:avLst/>
              <a:gdLst>
                <a:gd name="connsiteX0" fmla="*/ 2135 w 99847"/>
                <a:gd name="connsiteY0" fmla="*/ 49076 h 57616"/>
                <a:gd name="connsiteX1" fmla="*/ 84902 w 99847"/>
                <a:gd name="connsiteY1" fmla="*/ 1225 h 57616"/>
                <a:gd name="connsiteX2" fmla="*/ 95075 w 99847"/>
                <a:gd name="connsiteY2" fmla="*/ 1225 h 57616"/>
                <a:gd name="connsiteX3" fmla="*/ 99848 w 99847"/>
                <a:gd name="connsiteY3" fmla="*/ 3988 h 57616"/>
                <a:gd name="connsiteX4" fmla="*/ 94573 w 99847"/>
                <a:gd name="connsiteY4" fmla="*/ 7002 h 57616"/>
                <a:gd name="connsiteX5" fmla="*/ 89926 w 99847"/>
                <a:gd name="connsiteY5" fmla="*/ 4364 h 57616"/>
                <a:gd name="connsiteX6" fmla="*/ 7536 w 99847"/>
                <a:gd name="connsiteY6" fmla="*/ 51965 h 57616"/>
                <a:gd name="connsiteX7" fmla="*/ 12183 w 99847"/>
                <a:gd name="connsiteY7" fmla="*/ 54602 h 57616"/>
                <a:gd name="connsiteX8" fmla="*/ 6908 w 99847"/>
                <a:gd name="connsiteY8" fmla="*/ 57617 h 57616"/>
                <a:gd name="connsiteX9" fmla="*/ 2135 w 99847"/>
                <a:gd name="connsiteY9" fmla="*/ 54853 h 57616"/>
                <a:gd name="connsiteX10" fmla="*/ 0 w 99847"/>
                <a:gd name="connsiteY10" fmla="*/ 51839 h 57616"/>
                <a:gd name="connsiteX11" fmla="*/ 2135 w 99847"/>
                <a:gd name="connsiteY11" fmla="*/ 49076 h 5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847" h="57616">
                  <a:moveTo>
                    <a:pt x="2135" y="49076"/>
                  </a:moveTo>
                  <a:lnTo>
                    <a:pt x="84902" y="1225"/>
                  </a:lnTo>
                  <a:cubicBezTo>
                    <a:pt x="87665" y="-408"/>
                    <a:pt x="92312" y="-408"/>
                    <a:pt x="95075" y="1225"/>
                  </a:cubicBezTo>
                  <a:lnTo>
                    <a:pt x="99848" y="3988"/>
                  </a:lnTo>
                  <a:lnTo>
                    <a:pt x="94573" y="7002"/>
                  </a:lnTo>
                  <a:lnTo>
                    <a:pt x="89926" y="4364"/>
                  </a:lnTo>
                  <a:lnTo>
                    <a:pt x="7536" y="51965"/>
                  </a:lnTo>
                  <a:lnTo>
                    <a:pt x="12183" y="54602"/>
                  </a:lnTo>
                  <a:lnTo>
                    <a:pt x="6908" y="57617"/>
                  </a:lnTo>
                  <a:lnTo>
                    <a:pt x="2135" y="54853"/>
                  </a:lnTo>
                  <a:cubicBezTo>
                    <a:pt x="754" y="54100"/>
                    <a:pt x="0" y="52970"/>
                    <a:pt x="0" y="51839"/>
                  </a:cubicBezTo>
                  <a:cubicBezTo>
                    <a:pt x="0" y="50960"/>
                    <a:pt x="754" y="49955"/>
                    <a:pt x="2135" y="4907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 name="Freeform: Shape 262">
              <a:extLst>
                <a:ext uri="{FF2B5EF4-FFF2-40B4-BE49-F238E27FC236}">
                  <a16:creationId xmlns:a16="http://schemas.microsoft.com/office/drawing/2014/main" id="{C37BC92D-08CC-453B-BA5D-D48C65CA723D}"/>
                </a:ext>
              </a:extLst>
            </p:cNvPr>
            <p:cNvSpPr/>
            <p:nvPr/>
          </p:nvSpPr>
          <p:spPr>
            <a:xfrm>
              <a:off x="978135" y="2692225"/>
              <a:ext cx="5274" cy="11429"/>
            </a:xfrm>
            <a:custGeom>
              <a:avLst/>
              <a:gdLst>
                <a:gd name="connsiteX0" fmla="*/ 5275 w 5274"/>
                <a:gd name="connsiteY0" fmla="*/ 0 h 11429"/>
                <a:gd name="connsiteX1" fmla="*/ 5275 w 5274"/>
                <a:gd name="connsiteY1" fmla="*/ 8415 h 11429"/>
                <a:gd name="connsiteX2" fmla="*/ 0 w 5274"/>
                <a:gd name="connsiteY2" fmla="*/ 11429 h 11429"/>
                <a:gd name="connsiteX3" fmla="*/ 0 w 5274"/>
                <a:gd name="connsiteY3" fmla="*/ 3014 h 11429"/>
              </a:gdLst>
              <a:ahLst/>
              <a:cxnLst>
                <a:cxn ang="0">
                  <a:pos x="connsiteX0" y="connsiteY0"/>
                </a:cxn>
                <a:cxn ang="0">
                  <a:pos x="connsiteX1" y="connsiteY1"/>
                </a:cxn>
                <a:cxn ang="0">
                  <a:pos x="connsiteX2" y="connsiteY2"/>
                </a:cxn>
                <a:cxn ang="0">
                  <a:pos x="connsiteX3" y="connsiteY3"/>
                </a:cxn>
              </a:cxnLst>
              <a:rect l="l" t="t" r="r" b="b"/>
              <a:pathLst>
                <a:path w="5274" h="11429">
                  <a:moveTo>
                    <a:pt x="5275" y="0"/>
                  </a:moveTo>
                  <a:lnTo>
                    <a:pt x="5275" y="8415"/>
                  </a:lnTo>
                  <a:lnTo>
                    <a:pt x="0" y="11429"/>
                  </a:lnTo>
                  <a:lnTo>
                    <a:pt x="0" y="3014"/>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 name="Freeform: Shape 263">
              <a:extLst>
                <a:ext uri="{FF2B5EF4-FFF2-40B4-BE49-F238E27FC236}">
                  <a16:creationId xmlns:a16="http://schemas.microsoft.com/office/drawing/2014/main" id="{8621043E-EA45-4CF9-A832-243517436097}"/>
                </a:ext>
              </a:extLst>
            </p:cNvPr>
            <p:cNvSpPr/>
            <p:nvPr/>
          </p:nvSpPr>
          <p:spPr>
            <a:xfrm>
              <a:off x="891224" y="2692602"/>
              <a:ext cx="86911" cy="53377"/>
            </a:xfrm>
            <a:custGeom>
              <a:avLst/>
              <a:gdLst>
                <a:gd name="connsiteX0" fmla="*/ 82390 w 86911"/>
                <a:gd name="connsiteY0" fmla="*/ 0 h 53377"/>
                <a:gd name="connsiteX1" fmla="*/ 86912 w 86911"/>
                <a:gd name="connsiteY1" fmla="*/ 2637 h 53377"/>
                <a:gd name="connsiteX2" fmla="*/ 86912 w 86911"/>
                <a:gd name="connsiteY2" fmla="*/ 11052 h 53377"/>
                <a:gd name="connsiteX3" fmla="*/ 82390 w 86911"/>
                <a:gd name="connsiteY3" fmla="*/ 8415 h 53377"/>
                <a:gd name="connsiteX4" fmla="*/ 4521 w 86911"/>
                <a:gd name="connsiteY4" fmla="*/ 53378 h 53377"/>
                <a:gd name="connsiteX5" fmla="*/ 4521 w 86911"/>
                <a:gd name="connsiteY5" fmla="*/ 50238 h 53377"/>
                <a:gd name="connsiteX6" fmla="*/ 0 w 86911"/>
                <a:gd name="connsiteY6" fmla="*/ 47600 h 5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11" h="53377">
                  <a:moveTo>
                    <a:pt x="82390" y="0"/>
                  </a:moveTo>
                  <a:lnTo>
                    <a:pt x="86912" y="2637"/>
                  </a:lnTo>
                  <a:lnTo>
                    <a:pt x="86912" y="11052"/>
                  </a:lnTo>
                  <a:lnTo>
                    <a:pt x="82390" y="8415"/>
                  </a:lnTo>
                  <a:lnTo>
                    <a:pt x="4521" y="53378"/>
                  </a:lnTo>
                  <a:lnTo>
                    <a:pt x="4521" y="50238"/>
                  </a:lnTo>
                  <a:lnTo>
                    <a:pt x="0" y="47600"/>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 name="Freeform: Shape 264">
              <a:extLst>
                <a:ext uri="{FF2B5EF4-FFF2-40B4-BE49-F238E27FC236}">
                  <a16:creationId xmlns:a16="http://schemas.microsoft.com/office/drawing/2014/main" id="{C3D56613-6584-46FC-A451-F7D020598BF5}"/>
                </a:ext>
              </a:extLst>
            </p:cNvPr>
            <p:cNvSpPr/>
            <p:nvPr/>
          </p:nvSpPr>
          <p:spPr>
            <a:xfrm>
              <a:off x="890470" y="2742840"/>
              <a:ext cx="5274" cy="11554"/>
            </a:xfrm>
            <a:custGeom>
              <a:avLst/>
              <a:gdLst>
                <a:gd name="connsiteX0" fmla="*/ 5275 w 5274"/>
                <a:gd name="connsiteY0" fmla="*/ 0 h 11554"/>
                <a:gd name="connsiteX1" fmla="*/ 5275 w 5274"/>
                <a:gd name="connsiteY1" fmla="*/ 8415 h 11554"/>
                <a:gd name="connsiteX2" fmla="*/ 0 w 5274"/>
                <a:gd name="connsiteY2" fmla="*/ 11555 h 11554"/>
                <a:gd name="connsiteX3" fmla="*/ 0 w 5274"/>
                <a:gd name="connsiteY3" fmla="*/ 3014 h 11554"/>
              </a:gdLst>
              <a:ahLst/>
              <a:cxnLst>
                <a:cxn ang="0">
                  <a:pos x="connsiteX0" y="connsiteY0"/>
                </a:cxn>
                <a:cxn ang="0">
                  <a:pos x="connsiteX1" y="connsiteY1"/>
                </a:cxn>
                <a:cxn ang="0">
                  <a:pos x="connsiteX2" y="connsiteY2"/>
                </a:cxn>
                <a:cxn ang="0">
                  <a:pos x="connsiteX3" y="connsiteY3"/>
                </a:cxn>
              </a:cxnLst>
              <a:rect l="l" t="t" r="r" b="b"/>
              <a:pathLst>
                <a:path w="5274" h="11554">
                  <a:moveTo>
                    <a:pt x="5275" y="0"/>
                  </a:moveTo>
                  <a:lnTo>
                    <a:pt x="5275" y="8415"/>
                  </a:lnTo>
                  <a:lnTo>
                    <a:pt x="0" y="11555"/>
                  </a:lnTo>
                  <a:lnTo>
                    <a:pt x="0" y="3014"/>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 name="Freeform: Shape 265">
              <a:extLst>
                <a:ext uri="{FF2B5EF4-FFF2-40B4-BE49-F238E27FC236}">
                  <a16:creationId xmlns:a16="http://schemas.microsoft.com/office/drawing/2014/main" id="{1A606C16-316B-4EAD-9D0F-58A6B410F886}"/>
                </a:ext>
              </a:extLst>
            </p:cNvPr>
            <p:cNvSpPr/>
            <p:nvPr/>
          </p:nvSpPr>
          <p:spPr>
            <a:xfrm>
              <a:off x="883562" y="2740202"/>
              <a:ext cx="6907" cy="14066"/>
            </a:xfrm>
            <a:custGeom>
              <a:avLst/>
              <a:gdLst>
                <a:gd name="connsiteX0" fmla="*/ 2135 w 6907"/>
                <a:gd name="connsiteY0" fmla="*/ 2889 h 14066"/>
                <a:gd name="connsiteX1" fmla="*/ 6908 w 6907"/>
                <a:gd name="connsiteY1" fmla="*/ 5652 h 14066"/>
                <a:gd name="connsiteX2" fmla="*/ 6908 w 6907"/>
                <a:gd name="connsiteY2" fmla="*/ 14067 h 14066"/>
                <a:gd name="connsiteX3" fmla="*/ 2135 w 6907"/>
                <a:gd name="connsiteY3" fmla="*/ 11303 h 14066"/>
                <a:gd name="connsiteX4" fmla="*/ 0 w 6907"/>
                <a:gd name="connsiteY4" fmla="*/ 8415 h 14066"/>
                <a:gd name="connsiteX5" fmla="*/ 0 w 6907"/>
                <a:gd name="connsiteY5" fmla="*/ 0 h 14066"/>
                <a:gd name="connsiteX6" fmla="*/ 2135 w 6907"/>
                <a:gd name="connsiteY6" fmla="*/ 2889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7" h="14066">
                  <a:moveTo>
                    <a:pt x="2135" y="2889"/>
                  </a:moveTo>
                  <a:lnTo>
                    <a:pt x="6908" y="5652"/>
                  </a:lnTo>
                  <a:lnTo>
                    <a:pt x="6908" y="14067"/>
                  </a:lnTo>
                  <a:lnTo>
                    <a:pt x="2135" y="11303"/>
                  </a:lnTo>
                  <a:cubicBezTo>
                    <a:pt x="754" y="10550"/>
                    <a:pt x="0" y="9420"/>
                    <a:pt x="0" y="8415"/>
                  </a:cubicBezTo>
                  <a:cubicBezTo>
                    <a:pt x="0" y="7410"/>
                    <a:pt x="0" y="0"/>
                    <a:pt x="0" y="0"/>
                  </a:cubicBezTo>
                  <a:cubicBezTo>
                    <a:pt x="0" y="1005"/>
                    <a:pt x="628" y="2135"/>
                    <a:pt x="2135" y="288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 name="Freeform: Shape 266">
              <a:extLst>
                <a:ext uri="{FF2B5EF4-FFF2-40B4-BE49-F238E27FC236}">
                  <a16:creationId xmlns:a16="http://schemas.microsoft.com/office/drawing/2014/main" id="{3F1AA914-0AB5-469A-93A0-77D6821F7F6F}"/>
                </a:ext>
              </a:extLst>
            </p:cNvPr>
            <p:cNvSpPr/>
            <p:nvPr/>
          </p:nvSpPr>
          <p:spPr>
            <a:xfrm>
              <a:off x="960175" y="2705013"/>
              <a:ext cx="27379" cy="25016"/>
            </a:xfrm>
            <a:custGeom>
              <a:avLst/>
              <a:gdLst>
                <a:gd name="connsiteX0" fmla="*/ 6280 w 27379"/>
                <a:gd name="connsiteY0" fmla="*/ 7056 h 25016"/>
                <a:gd name="connsiteX1" fmla="*/ 0 w 27379"/>
                <a:gd name="connsiteY1" fmla="*/ 25016 h 25016"/>
                <a:gd name="connsiteX2" fmla="*/ 25244 w 27379"/>
                <a:gd name="connsiteY2" fmla="*/ 10447 h 25016"/>
                <a:gd name="connsiteX3" fmla="*/ 27380 w 27379"/>
                <a:gd name="connsiteY3" fmla="*/ 4419 h 25016"/>
                <a:gd name="connsiteX4" fmla="*/ 24240 w 27379"/>
                <a:gd name="connsiteY4" fmla="*/ 2660 h 25016"/>
                <a:gd name="connsiteX5" fmla="*/ 6280 w 27379"/>
                <a:gd name="connsiteY5" fmla="*/ 7056 h 2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5016">
                  <a:moveTo>
                    <a:pt x="6280" y="7056"/>
                  </a:moveTo>
                  <a:lnTo>
                    <a:pt x="0" y="25016"/>
                  </a:lnTo>
                  <a:lnTo>
                    <a:pt x="25244" y="10447"/>
                  </a:lnTo>
                  <a:lnTo>
                    <a:pt x="27380" y="4419"/>
                  </a:lnTo>
                  <a:lnTo>
                    <a:pt x="24240" y="2660"/>
                  </a:lnTo>
                  <a:cubicBezTo>
                    <a:pt x="16076" y="-2112"/>
                    <a:pt x="8917" y="-354"/>
                    <a:pt x="6280" y="7056"/>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 name="Freeform: Shape 267">
              <a:extLst>
                <a:ext uri="{FF2B5EF4-FFF2-40B4-BE49-F238E27FC236}">
                  <a16:creationId xmlns:a16="http://schemas.microsoft.com/office/drawing/2014/main" id="{B2363FE1-10DF-4AA7-9BAC-A77F6C3E26A3}"/>
                </a:ext>
              </a:extLst>
            </p:cNvPr>
            <p:cNvSpPr/>
            <p:nvPr/>
          </p:nvSpPr>
          <p:spPr>
            <a:xfrm>
              <a:off x="988685" y="2699625"/>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7" y="11"/>
                    <a:pt x="16202" y="11"/>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103"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929868A7-93B5-4823-B6FD-EC2BCEC12EF4}"/>
                </a:ext>
              </a:extLst>
            </p:cNvPr>
            <p:cNvSpPr/>
            <p:nvPr/>
          </p:nvSpPr>
          <p:spPr>
            <a:xfrm>
              <a:off x="982775" y="2705515"/>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467" y="48251"/>
                    <a:pt x="44342" y="33055"/>
                    <a:pt x="36053"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 name="Freeform: Shape 269">
              <a:extLst>
                <a:ext uri="{FF2B5EF4-FFF2-40B4-BE49-F238E27FC236}">
                  <a16:creationId xmlns:a16="http://schemas.microsoft.com/office/drawing/2014/main" id="{208BFACD-3006-42B8-B665-CD8FAE49DAF0}"/>
                </a:ext>
              </a:extLst>
            </p:cNvPr>
            <p:cNvSpPr/>
            <p:nvPr/>
          </p:nvSpPr>
          <p:spPr>
            <a:xfrm>
              <a:off x="973716" y="2700719"/>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6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5"/>
                    <a:pt x="50627" y="53062"/>
                    <a:pt x="42758" y="57606"/>
                  </a:cubicBezTo>
                  <a:cubicBezTo>
                    <a:pt x="34889" y="62149"/>
                    <a:pt x="22128" y="54778"/>
                    <a:pt x="14255" y="41143"/>
                  </a:cubicBezTo>
                  <a:cubicBezTo>
                    <a:pt x="6382" y="27507"/>
                    <a:pt x="6379" y="12770"/>
                    <a:pt x="14248" y="8226"/>
                  </a:cubicBezTo>
                  <a:cubicBezTo>
                    <a:pt x="22117" y="3683"/>
                    <a:pt x="34879"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1" name="Graphic 4">
              <a:extLst>
                <a:ext uri="{FF2B5EF4-FFF2-40B4-BE49-F238E27FC236}">
                  <a16:creationId xmlns:a16="http://schemas.microsoft.com/office/drawing/2014/main" id="{84FB7ED1-A2DF-40A1-A747-5F7CF3F14040}"/>
                </a:ext>
              </a:extLst>
            </p:cNvPr>
            <p:cNvGrpSpPr/>
            <p:nvPr/>
          </p:nvGrpSpPr>
          <p:grpSpPr>
            <a:xfrm>
              <a:off x="968559" y="2707537"/>
              <a:ext cx="54247" cy="60074"/>
              <a:chOff x="968559" y="2707537"/>
              <a:chExt cx="54247" cy="60074"/>
            </a:xfrm>
            <a:solidFill>
              <a:schemeClr val="accent1"/>
            </a:solidFill>
          </p:grpSpPr>
          <p:sp>
            <p:nvSpPr>
              <p:cNvPr id="272" name="Freeform: Shape 271">
                <a:extLst>
                  <a:ext uri="{FF2B5EF4-FFF2-40B4-BE49-F238E27FC236}">
                    <a16:creationId xmlns:a16="http://schemas.microsoft.com/office/drawing/2014/main" id="{96EA160A-512E-415C-BCB5-255259ADBC43}"/>
                  </a:ext>
                </a:extLst>
              </p:cNvPr>
              <p:cNvSpPr/>
              <p:nvPr/>
            </p:nvSpPr>
            <p:spPr>
              <a:xfrm>
                <a:off x="975121" y="2707537"/>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0"/>
                    </a:cubicBezTo>
                    <a:cubicBezTo>
                      <a:pt x="17207" y="10"/>
                      <a:pt x="16202" y="10"/>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201"/>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 name="Freeform: Shape 272">
                <a:extLst>
                  <a:ext uri="{FF2B5EF4-FFF2-40B4-BE49-F238E27FC236}">
                    <a16:creationId xmlns:a16="http://schemas.microsoft.com/office/drawing/2014/main" id="{E3987909-ACD5-4FDA-BC9A-EA5AF78E4E4E}"/>
                  </a:ext>
                </a:extLst>
              </p:cNvPr>
              <p:cNvSpPr/>
              <p:nvPr/>
            </p:nvSpPr>
            <p:spPr>
              <a:xfrm>
                <a:off x="969211" y="2713302"/>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5"/>
                    </a:cubicBezTo>
                    <a:cubicBezTo>
                      <a:pt x="-495" y="13462"/>
                      <a:pt x="26884" y="54029"/>
                      <a:pt x="26884" y="54029"/>
                    </a:cubicBezTo>
                    <a:cubicBezTo>
                      <a:pt x="30024" y="54657"/>
                      <a:pt x="34420" y="54154"/>
                      <a:pt x="35927" y="53275"/>
                    </a:cubicBezTo>
                    <a:cubicBezTo>
                      <a:pt x="44467" y="48252"/>
                      <a:pt x="44342" y="33055"/>
                      <a:pt x="36053"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4" name="Freeform: Shape 273">
                <a:extLst>
                  <a:ext uri="{FF2B5EF4-FFF2-40B4-BE49-F238E27FC236}">
                    <a16:creationId xmlns:a16="http://schemas.microsoft.com/office/drawing/2014/main" id="{0F49DF15-8B1F-4836-AB16-C2C8F127CCB6}"/>
                  </a:ext>
                </a:extLst>
              </p:cNvPr>
              <p:cNvSpPr/>
              <p:nvPr/>
            </p:nvSpPr>
            <p:spPr>
              <a:xfrm>
                <a:off x="968559" y="2715377"/>
                <a:ext cx="40378" cy="52037"/>
              </a:xfrm>
              <a:custGeom>
                <a:avLst/>
                <a:gdLst>
                  <a:gd name="connsiteX0" fmla="*/ 34444 w 40378"/>
                  <a:gd name="connsiteY0" fmla="*/ 50698 h 52037"/>
                  <a:gd name="connsiteX1" fmla="*/ 5934 w 40378"/>
                  <a:gd name="connsiteY1" fmla="*/ 34245 h 52037"/>
                  <a:gd name="connsiteX2" fmla="*/ 5934 w 40378"/>
                  <a:gd name="connsiteY2" fmla="*/ 1339 h 52037"/>
                  <a:gd name="connsiteX3" fmla="*/ 34444 w 40378"/>
                  <a:gd name="connsiteY3" fmla="*/ 17792 h 52037"/>
                  <a:gd name="connsiteX4" fmla="*/ 34444 w 40378"/>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8" h="52037">
                    <a:moveTo>
                      <a:pt x="34444" y="50698"/>
                    </a:moveTo>
                    <a:cubicBezTo>
                      <a:pt x="26532" y="55220"/>
                      <a:pt x="13847" y="47935"/>
                      <a:pt x="5934" y="34245"/>
                    </a:cubicBezTo>
                    <a:cubicBezTo>
                      <a:pt x="-1978" y="20681"/>
                      <a:pt x="-1978" y="5861"/>
                      <a:pt x="5934" y="1339"/>
                    </a:cubicBezTo>
                    <a:cubicBezTo>
                      <a:pt x="13847" y="-3182"/>
                      <a:pt x="26532" y="4102"/>
                      <a:pt x="34444" y="17792"/>
                    </a:cubicBezTo>
                    <a:cubicBezTo>
                      <a:pt x="42357" y="31482"/>
                      <a:pt x="42357"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5" name="Graphic 4">
              <a:extLst>
                <a:ext uri="{FF2B5EF4-FFF2-40B4-BE49-F238E27FC236}">
                  <a16:creationId xmlns:a16="http://schemas.microsoft.com/office/drawing/2014/main" id="{84FB7ED1-A2DF-40A1-A747-5F7CF3F14040}"/>
                </a:ext>
              </a:extLst>
            </p:cNvPr>
            <p:cNvGrpSpPr/>
            <p:nvPr/>
          </p:nvGrpSpPr>
          <p:grpSpPr>
            <a:xfrm>
              <a:off x="970936" y="2720795"/>
              <a:ext cx="35671" cy="41188"/>
              <a:chOff x="970936" y="2720795"/>
              <a:chExt cx="35671" cy="41188"/>
            </a:xfrm>
            <a:solidFill>
              <a:schemeClr val="accent1"/>
            </a:solidFill>
          </p:grpSpPr>
          <p:sp>
            <p:nvSpPr>
              <p:cNvPr id="276" name="Freeform: Shape 275">
                <a:extLst>
                  <a:ext uri="{FF2B5EF4-FFF2-40B4-BE49-F238E27FC236}">
                    <a16:creationId xmlns:a16="http://schemas.microsoft.com/office/drawing/2014/main" id="{01599C3B-D8B8-48AF-9EA8-EA52E9CAEE79}"/>
                  </a:ext>
                </a:extLst>
              </p:cNvPr>
              <p:cNvSpPr/>
              <p:nvPr/>
            </p:nvSpPr>
            <p:spPr>
              <a:xfrm>
                <a:off x="970936" y="2720795"/>
                <a:ext cx="35671" cy="41188"/>
              </a:xfrm>
              <a:custGeom>
                <a:avLst/>
                <a:gdLst>
                  <a:gd name="connsiteX0" fmla="*/ 26755 w 35671"/>
                  <a:gd name="connsiteY0" fmla="*/ 15445 h 41188"/>
                  <a:gd name="connsiteX1" fmla="*/ 26753 w 35671"/>
                  <a:gd name="connsiteY1" fmla="*/ 36039 h 41188"/>
                  <a:gd name="connsiteX2" fmla="*/ 8917 w 35671"/>
                  <a:gd name="connsiteY2" fmla="*/ 25743 h 41188"/>
                  <a:gd name="connsiteX3" fmla="*/ 8919 w 35671"/>
                  <a:gd name="connsiteY3" fmla="*/ 5149 h 41188"/>
                  <a:gd name="connsiteX4" fmla="*/ 26755 w 35671"/>
                  <a:gd name="connsiteY4" fmla="*/ 15445 h 4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1" h="41188">
                    <a:moveTo>
                      <a:pt x="26755" y="15445"/>
                    </a:moveTo>
                    <a:cubicBezTo>
                      <a:pt x="31680" y="23974"/>
                      <a:pt x="31679" y="33195"/>
                      <a:pt x="26753" y="36039"/>
                    </a:cubicBezTo>
                    <a:cubicBezTo>
                      <a:pt x="21828" y="38883"/>
                      <a:pt x="13842" y="34273"/>
                      <a:pt x="8917" y="25743"/>
                    </a:cubicBezTo>
                    <a:cubicBezTo>
                      <a:pt x="3992" y="17214"/>
                      <a:pt x="3993" y="7993"/>
                      <a:pt x="8919" y="5149"/>
                    </a:cubicBezTo>
                    <a:cubicBezTo>
                      <a:pt x="13844" y="2305"/>
                      <a:pt x="21830" y="6915"/>
                      <a:pt x="26755" y="15445"/>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7" name="Freeform: Shape 276">
                <a:extLst>
                  <a:ext uri="{FF2B5EF4-FFF2-40B4-BE49-F238E27FC236}">
                    <a16:creationId xmlns:a16="http://schemas.microsoft.com/office/drawing/2014/main" id="{CB28E18B-462A-4688-88B5-D1A38CA78347}"/>
                  </a:ext>
                </a:extLst>
              </p:cNvPr>
              <p:cNvSpPr/>
              <p:nvPr/>
            </p:nvSpPr>
            <p:spPr>
              <a:xfrm>
                <a:off x="975184" y="2723943"/>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710 w 27128"/>
                  <a:gd name="connsiteY11" fmla="*/ 2067 h 35155"/>
                  <a:gd name="connsiteX12" fmla="*/ 10236 w 27128"/>
                  <a:gd name="connsiteY12" fmla="*/ 1564 h 35155"/>
                  <a:gd name="connsiteX13" fmla="*/ 10236 w 27128"/>
                  <a:gd name="connsiteY13" fmla="*/ 8723 h 35155"/>
                  <a:gd name="connsiteX14" fmla="*/ 8980 w 27128"/>
                  <a:gd name="connsiteY14" fmla="*/ 9100 h 35155"/>
                  <a:gd name="connsiteX15" fmla="*/ 3077 w 27128"/>
                  <a:gd name="connsiteY15" fmla="*/ 3448 h 35155"/>
                  <a:gd name="connsiteX16" fmla="*/ 4710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3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0"/>
                      <a:pt x="9231" y="-2203"/>
                      <a:pt x="3956" y="937"/>
                    </a:cubicBezTo>
                    <a:cubicBezTo>
                      <a:pt x="-1319" y="3951"/>
                      <a:pt x="-1319" y="13998"/>
                      <a:pt x="3956" y="23167"/>
                    </a:cubicBezTo>
                    <a:cubicBezTo>
                      <a:pt x="9231" y="32335"/>
                      <a:pt x="17897" y="37359"/>
                      <a:pt x="23172" y="34219"/>
                    </a:cubicBezTo>
                    <a:cubicBezTo>
                      <a:pt x="28447" y="31079"/>
                      <a:pt x="28447" y="21157"/>
                      <a:pt x="23172" y="11989"/>
                    </a:cubicBezTo>
                    <a:close/>
                    <a:moveTo>
                      <a:pt x="24051" y="15631"/>
                    </a:moveTo>
                    <a:lnTo>
                      <a:pt x="18148" y="14375"/>
                    </a:lnTo>
                    <a:cubicBezTo>
                      <a:pt x="17772" y="13747"/>
                      <a:pt x="17269" y="13119"/>
                      <a:pt x="16893" y="12491"/>
                    </a:cubicBezTo>
                    <a:lnTo>
                      <a:pt x="16893" y="5332"/>
                    </a:lnTo>
                    <a:cubicBezTo>
                      <a:pt x="18902" y="7216"/>
                      <a:pt x="20912" y="9477"/>
                      <a:pt x="22419" y="12366"/>
                    </a:cubicBezTo>
                    <a:cubicBezTo>
                      <a:pt x="23047" y="13496"/>
                      <a:pt x="23675" y="14501"/>
                      <a:pt x="24051" y="15631"/>
                    </a:cubicBezTo>
                    <a:close/>
                    <a:moveTo>
                      <a:pt x="4710" y="2067"/>
                    </a:moveTo>
                    <a:cubicBezTo>
                      <a:pt x="6343" y="1188"/>
                      <a:pt x="8226" y="1062"/>
                      <a:pt x="10236" y="1564"/>
                    </a:cubicBezTo>
                    <a:lnTo>
                      <a:pt x="10236" y="8723"/>
                    </a:lnTo>
                    <a:cubicBezTo>
                      <a:pt x="9734" y="8723"/>
                      <a:pt x="9357" y="8849"/>
                      <a:pt x="8980" y="9100"/>
                    </a:cubicBezTo>
                    <a:lnTo>
                      <a:pt x="3077" y="3448"/>
                    </a:lnTo>
                    <a:cubicBezTo>
                      <a:pt x="3454" y="2946"/>
                      <a:pt x="4082" y="2444"/>
                      <a:pt x="4710" y="2067"/>
                    </a:cubicBezTo>
                    <a:close/>
                    <a:moveTo>
                      <a:pt x="942" y="9603"/>
                    </a:moveTo>
                    <a:lnTo>
                      <a:pt x="6845" y="15254"/>
                    </a:lnTo>
                    <a:cubicBezTo>
                      <a:pt x="6971" y="15882"/>
                      <a:pt x="7096" y="16636"/>
                      <a:pt x="7347" y="17264"/>
                    </a:cubicBezTo>
                    <a:lnTo>
                      <a:pt x="3705" y="20906"/>
                    </a:lnTo>
                    <a:cubicBezTo>
                      <a:pt x="1696" y="17013"/>
                      <a:pt x="816" y="12994"/>
                      <a:pt x="942" y="9603"/>
                    </a:cubicBezTo>
                    <a:close/>
                    <a:moveTo>
                      <a:pt x="9106" y="28567"/>
                    </a:moveTo>
                    <a:lnTo>
                      <a:pt x="12748" y="24925"/>
                    </a:lnTo>
                    <a:cubicBezTo>
                      <a:pt x="13250" y="25302"/>
                      <a:pt x="13878" y="25679"/>
                      <a:pt x="14381" y="25804"/>
                    </a:cubicBezTo>
                    <a:lnTo>
                      <a:pt x="18023" y="33717"/>
                    </a:lnTo>
                    <a:cubicBezTo>
                      <a:pt x="15134" y="33340"/>
                      <a:pt x="11994" y="31456"/>
                      <a:pt x="9106" y="28567"/>
                    </a:cubicBezTo>
                    <a:close/>
                    <a:moveTo>
                      <a:pt x="23423" y="32335"/>
                    </a:moveTo>
                    <a:lnTo>
                      <a:pt x="19781" y="24423"/>
                    </a:lnTo>
                    <a:cubicBezTo>
                      <a:pt x="20032" y="24046"/>
                      <a:pt x="20158" y="23544"/>
                      <a:pt x="20284" y="22916"/>
                    </a:cubicBezTo>
                    <a:lnTo>
                      <a:pt x="26187" y="24046"/>
                    </a:lnTo>
                    <a:cubicBezTo>
                      <a:pt x="26312" y="27688"/>
                      <a:pt x="25433"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8" name="Graphic 4">
                <a:extLst>
                  <a:ext uri="{FF2B5EF4-FFF2-40B4-BE49-F238E27FC236}">
                    <a16:creationId xmlns:a16="http://schemas.microsoft.com/office/drawing/2014/main" id="{84FB7ED1-A2DF-40A1-A747-5F7CF3F14040}"/>
                  </a:ext>
                </a:extLst>
              </p:cNvPr>
              <p:cNvGrpSpPr/>
              <p:nvPr/>
            </p:nvGrpSpPr>
            <p:grpSpPr>
              <a:xfrm>
                <a:off x="976114" y="2725633"/>
                <a:ext cx="23874" cy="32026"/>
                <a:chOff x="976114" y="2725633"/>
                <a:chExt cx="23874" cy="32026"/>
              </a:xfrm>
              <a:solidFill>
                <a:srgbClr val="ADAA99"/>
              </a:solidFill>
            </p:grpSpPr>
            <p:sp>
              <p:nvSpPr>
                <p:cNvPr id="279" name="Freeform: Shape 278">
                  <a:extLst>
                    <a:ext uri="{FF2B5EF4-FFF2-40B4-BE49-F238E27FC236}">
                      <a16:creationId xmlns:a16="http://schemas.microsoft.com/office/drawing/2014/main" id="{609A0119-1CD4-4019-8BCC-2619F402ED6D}"/>
                    </a:ext>
                  </a:extLst>
                </p:cNvPr>
                <p:cNvSpPr/>
                <p:nvPr/>
              </p:nvSpPr>
              <p:spPr>
                <a:xfrm>
                  <a:off x="992076" y="2729276"/>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410"/>
                        <a:pt x="2261" y="6782"/>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0" name="Freeform: Shape 279">
                  <a:extLst>
                    <a:ext uri="{FF2B5EF4-FFF2-40B4-BE49-F238E27FC236}">
                      <a16:creationId xmlns:a16="http://schemas.microsoft.com/office/drawing/2014/main" id="{AF12A1DF-306E-4D0C-8815-E321BD9CEFD0}"/>
                    </a:ext>
                  </a:extLst>
                </p:cNvPr>
                <p:cNvSpPr/>
                <p:nvPr/>
              </p:nvSpPr>
              <p:spPr>
                <a:xfrm>
                  <a:off x="994965" y="2746859"/>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758" y="377"/>
                        <a:pt x="1758" y="377"/>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1" name="Freeform: Shape 280">
                  <a:extLst>
                    <a:ext uri="{FF2B5EF4-FFF2-40B4-BE49-F238E27FC236}">
                      <a16:creationId xmlns:a16="http://schemas.microsoft.com/office/drawing/2014/main" id="{9532C813-D0CC-4DE4-B4FA-0A83FAC67C10}"/>
                    </a:ext>
                  </a:extLst>
                </p:cNvPr>
                <p:cNvSpPr/>
                <p:nvPr/>
              </p:nvSpPr>
              <p:spPr>
                <a:xfrm>
                  <a:off x="976114" y="2733546"/>
                  <a:ext cx="4282" cy="11303"/>
                </a:xfrm>
                <a:custGeom>
                  <a:avLst/>
                  <a:gdLst>
                    <a:gd name="connsiteX0" fmla="*/ 12 w 4282"/>
                    <a:gd name="connsiteY0" fmla="*/ 0 h 11303"/>
                    <a:gd name="connsiteX1" fmla="*/ 2775 w 4282"/>
                    <a:gd name="connsiteY1" fmla="*/ 11304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4"/>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2" name="Freeform: Shape 281">
                  <a:extLst>
                    <a:ext uri="{FF2B5EF4-FFF2-40B4-BE49-F238E27FC236}">
                      <a16:creationId xmlns:a16="http://schemas.microsoft.com/office/drawing/2014/main" id="{9B4C3062-DAC0-4AE5-894A-A5FBA251C29A}"/>
                    </a:ext>
                  </a:extLst>
                </p:cNvPr>
                <p:cNvSpPr/>
                <p:nvPr/>
              </p:nvSpPr>
              <p:spPr>
                <a:xfrm>
                  <a:off x="984289" y="2748868"/>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8" y="8415"/>
                        <a:pt x="8917" y="8792"/>
                      </a:cubicBezTo>
                      <a:lnTo>
                        <a:pt x="8164" y="7033"/>
                      </a:lnTo>
                      <a:cubicBezTo>
                        <a:pt x="6028" y="6154"/>
                        <a:pt x="3768" y="4647"/>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3" name="Freeform: Shape 282">
                  <a:extLst>
                    <a:ext uri="{FF2B5EF4-FFF2-40B4-BE49-F238E27FC236}">
                      <a16:creationId xmlns:a16="http://schemas.microsoft.com/office/drawing/2014/main" id="{1B09DDD4-1E8B-40C7-9BA5-157BB1876351}"/>
                    </a:ext>
                  </a:extLst>
                </p:cNvPr>
                <p:cNvSpPr/>
                <p:nvPr/>
              </p:nvSpPr>
              <p:spPr>
                <a:xfrm>
                  <a:off x="978261" y="2725633"/>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8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8" y="754"/>
                      </a:lnTo>
                      <a:cubicBezTo>
                        <a:pt x="2010"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4" name="Graphic 4">
                <a:extLst>
                  <a:ext uri="{FF2B5EF4-FFF2-40B4-BE49-F238E27FC236}">
                    <a16:creationId xmlns:a16="http://schemas.microsoft.com/office/drawing/2014/main" id="{84FB7ED1-A2DF-40A1-A747-5F7CF3F14040}"/>
                  </a:ext>
                </a:extLst>
              </p:cNvPr>
              <p:cNvGrpSpPr/>
              <p:nvPr/>
            </p:nvGrpSpPr>
            <p:grpSpPr>
              <a:xfrm>
                <a:off x="983686" y="2735100"/>
                <a:ext cx="10148" cy="13324"/>
                <a:chOff x="983686" y="2735100"/>
                <a:chExt cx="10148" cy="13324"/>
              </a:xfrm>
              <a:solidFill>
                <a:srgbClr val="222222"/>
              </a:solidFill>
            </p:grpSpPr>
            <p:sp>
              <p:nvSpPr>
                <p:cNvPr id="285" name="Freeform: Shape 284">
                  <a:extLst>
                    <a:ext uri="{FF2B5EF4-FFF2-40B4-BE49-F238E27FC236}">
                      <a16:creationId xmlns:a16="http://schemas.microsoft.com/office/drawing/2014/main" id="{3AE7BF52-9B6F-4764-965C-D801744EEBE0}"/>
                    </a:ext>
                  </a:extLst>
                </p:cNvPr>
                <p:cNvSpPr/>
                <p:nvPr/>
              </p:nvSpPr>
              <p:spPr>
                <a:xfrm>
                  <a:off x="987084" y="2739339"/>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6" name="Freeform: Shape 285">
                  <a:extLst>
                    <a:ext uri="{FF2B5EF4-FFF2-40B4-BE49-F238E27FC236}">
                      <a16:creationId xmlns:a16="http://schemas.microsoft.com/office/drawing/2014/main" id="{A3B5E9C0-0FD6-4E95-A20B-936575017C7D}"/>
                    </a:ext>
                  </a:extLst>
                </p:cNvPr>
                <p:cNvSpPr/>
                <p:nvPr/>
              </p:nvSpPr>
              <p:spPr>
                <a:xfrm>
                  <a:off x="987775" y="2735100"/>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586"/>
                        <a:pt x="2041" y="2339"/>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7" name="Freeform: Shape 286">
                  <a:extLst>
                    <a:ext uri="{FF2B5EF4-FFF2-40B4-BE49-F238E27FC236}">
                      <a16:creationId xmlns:a16="http://schemas.microsoft.com/office/drawing/2014/main" id="{F752D811-9D41-4304-9495-5C05C29AFCA4}"/>
                    </a:ext>
                  </a:extLst>
                </p:cNvPr>
                <p:cNvSpPr/>
                <p:nvPr/>
              </p:nvSpPr>
              <p:spPr>
                <a:xfrm>
                  <a:off x="985270" y="2742762"/>
                  <a:ext cx="1932" cy="2620"/>
                </a:xfrm>
                <a:custGeom>
                  <a:avLst/>
                  <a:gdLst>
                    <a:gd name="connsiteX0" fmla="*/ 778 w 1932"/>
                    <a:gd name="connsiteY0" fmla="*/ 78 h 2620"/>
                    <a:gd name="connsiteX1" fmla="*/ 1908 w 1932"/>
                    <a:gd name="connsiteY1" fmla="*/ 1710 h 2620"/>
                    <a:gd name="connsiteX2" fmla="*/ 1155 w 1932"/>
                    <a:gd name="connsiteY2" fmla="*/ 2589 h 2620"/>
                    <a:gd name="connsiteX3" fmla="*/ 24 w 1932"/>
                    <a:gd name="connsiteY3" fmla="*/ 957 h 2620"/>
                    <a:gd name="connsiteX4" fmla="*/ 778 w 1932"/>
                    <a:gd name="connsiteY4" fmla="*/ 78 h 2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0">
                      <a:moveTo>
                        <a:pt x="778" y="78"/>
                      </a:moveTo>
                      <a:cubicBezTo>
                        <a:pt x="1280" y="329"/>
                        <a:pt x="1783" y="957"/>
                        <a:pt x="1908" y="1710"/>
                      </a:cubicBezTo>
                      <a:cubicBezTo>
                        <a:pt x="2034" y="2464"/>
                        <a:pt x="1657" y="2715"/>
                        <a:pt x="1155" y="2589"/>
                      </a:cubicBezTo>
                      <a:cubicBezTo>
                        <a:pt x="652" y="2338"/>
                        <a:pt x="150" y="1710"/>
                        <a:pt x="24" y="957"/>
                      </a:cubicBezTo>
                      <a:cubicBezTo>
                        <a:pt x="-101" y="203"/>
                        <a:pt x="275" y="-174"/>
                        <a:pt x="778"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 name="Freeform: Shape 287">
                  <a:extLst>
                    <a:ext uri="{FF2B5EF4-FFF2-40B4-BE49-F238E27FC236}">
                      <a16:creationId xmlns:a16="http://schemas.microsoft.com/office/drawing/2014/main" id="{C238BAAF-A0B8-45DF-86B8-5AB7B07D9767}"/>
                    </a:ext>
                  </a:extLst>
                </p:cNvPr>
                <p:cNvSpPr/>
                <p:nvPr/>
              </p:nvSpPr>
              <p:spPr>
                <a:xfrm>
                  <a:off x="990318" y="2745795"/>
                  <a:ext cx="1908" cy="2629"/>
                </a:xfrm>
                <a:custGeom>
                  <a:avLst/>
                  <a:gdLst>
                    <a:gd name="connsiteX0" fmla="*/ 0 w 1908"/>
                    <a:gd name="connsiteY0" fmla="*/ 561 h 2629"/>
                    <a:gd name="connsiteX1" fmla="*/ 1130 w 1908"/>
                    <a:gd name="connsiteY1" fmla="*/ 310 h 2629"/>
                    <a:gd name="connsiteX2" fmla="*/ 1884 w 1908"/>
                    <a:gd name="connsiteY2" fmla="*/ 2068 h 2629"/>
                    <a:gd name="connsiteX3" fmla="*/ 754 w 1908"/>
                    <a:gd name="connsiteY3" fmla="*/ 2320 h 2629"/>
                    <a:gd name="connsiteX4" fmla="*/ 0 w 1908"/>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8" h="2629">
                      <a:moveTo>
                        <a:pt x="0" y="561"/>
                      </a:moveTo>
                      <a:cubicBezTo>
                        <a:pt x="126" y="-67"/>
                        <a:pt x="628" y="-192"/>
                        <a:pt x="1130" y="310"/>
                      </a:cubicBezTo>
                      <a:cubicBezTo>
                        <a:pt x="1633" y="687"/>
                        <a:pt x="2010" y="1566"/>
                        <a:pt x="1884" y="2068"/>
                      </a:cubicBezTo>
                      <a:cubicBezTo>
                        <a:pt x="1758" y="2696"/>
                        <a:pt x="1256" y="2822"/>
                        <a:pt x="754" y="2320"/>
                      </a:cubicBezTo>
                      <a:cubicBezTo>
                        <a:pt x="251" y="1817"/>
                        <a:pt x="0" y="1064"/>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9" name="Freeform: Shape 288">
                  <a:extLst>
                    <a:ext uri="{FF2B5EF4-FFF2-40B4-BE49-F238E27FC236}">
                      <a16:creationId xmlns:a16="http://schemas.microsoft.com/office/drawing/2014/main" id="{53F9B51D-F745-417E-AD92-815D7254847A}"/>
                    </a:ext>
                  </a:extLst>
                </p:cNvPr>
                <p:cNvSpPr/>
                <p:nvPr/>
              </p:nvSpPr>
              <p:spPr>
                <a:xfrm>
                  <a:off x="991951" y="2741114"/>
                  <a:ext cx="1883" cy="2447"/>
                </a:xfrm>
                <a:custGeom>
                  <a:avLst/>
                  <a:gdLst>
                    <a:gd name="connsiteX0" fmla="*/ 502 w 1883"/>
                    <a:gd name="connsiteY0" fmla="*/ 1977 h 2447"/>
                    <a:gd name="connsiteX1" fmla="*/ 126 w 1883"/>
                    <a:gd name="connsiteY1" fmla="*/ 219 h 2447"/>
                    <a:gd name="connsiteX2" fmla="*/ 1382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6" y="596"/>
                        <a:pt x="126" y="219"/>
                      </a:cubicBezTo>
                      <a:cubicBezTo>
                        <a:pt x="377" y="-158"/>
                        <a:pt x="1005" y="-32"/>
                        <a:pt x="1382" y="470"/>
                      </a:cubicBezTo>
                      <a:cubicBezTo>
                        <a:pt x="1884" y="973"/>
                        <a:pt x="2009" y="1852"/>
                        <a:pt x="1758" y="2229"/>
                      </a:cubicBezTo>
                      <a:cubicBezTo>
                        <a:pt x="1507" y="2605"/>
                        <a:pt x="1005"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 name="Freeform: Shape 289">
                  <a:extLst>
                    <a:ext uri="{FF2B5EF4-FFF2-40B4-BE49-F238E27FC236}">
                      <a16:creationId xmlns:a16="http://schemas.microsoft.com/office/drawing/2014/main" id="{062E62FC-E681-4EC7-9C69-229B9BE7B098}"/>
                    </a:ext>
                  </a:extLst>
                </p:cNvPr>
                <p:cNvSpPr/>
                <p:nvPr/>
              </p:nvSpPr>
              <p:spPr>
                <a:xfrm>
                  <a:off x="983686" y="2736183"/>
                  <a:ext cx="1834" cy="2511"/>
                </a:xfrm>
                <a:custGeom>
                  <a:avLst/>
                  <a:gdLst>
                    <a:gd name="connsiteX0" fmla="*/ 1734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4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4" y="1256"/>
                      </a:moveTo>
                      <a:cubicBezTo>
                        <a:pt x="1985" y="2010"/>
                        <a:pt x="1734" y="2512"/>
                        <a:pt x="1357" y="2512"/>
                      </a:cubicBezTo>
                      <a:cubicBezTo>
                        <a:pt x="855" y="2512"/>
                        <a:pt x="227" y="2010"/>
                        <a:pt x="101" y="1256"/>
                      </a:cubicBezTo>
                      <a:cubicBezTo>
                        <a:pt x="-150" y="502"/>
                        <a:pt x="101" y="0"/>
                        <a:pt x="478" y="0"/>
                      </a:cubicBezTo>
                      <a:cubicBezTo>
                        <a:pt x="980" y="0"/>
                        <a:pt x="1483" y="628"/>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91" name="Freeform: Shape 290">
              <a:extLst>
                <a:ext uri="{FF2B5EF4-FFF2-40B4-BE49-F238E27FC236}">
                  <a16:creationId xmlns:a16="http://schemas.microsoft.com/office/drawing/2014/main" id="{BAFA4356-E91E-4411-87D6-202A5430993B}"/>
                </a:ext>
              </a:extLst>
            </p:cNvPr>
            <p:cNvSpPr/>
            <p:nvPr/>
          </p:nvSpPr>
          <p:spPr>
            <a:xfrm>
              <a:off x="957412" y="2700756"/>
              <a:ext cx="64555" cy="63434"/>
            </a:xfrm>
            <a:custGeom>
              <a:avLst/>
              <a:gdLst>
                <a:gd name="connsiteX0" fmla="*/ 9043 w 64555"/>
                <a:gd name="connsiteY0" fmla="*/ 11313 h 63434"/>
                <a:gd name="connsiteX1" fmla="*/ 27003 w 64555"/>
                <a:gd name="connsiteY1" fmla="*/ 6792 h 63434"/>
                <a:gd name="connsiteX2" fmla="*/ 37050 w 64555"/>
                <a:gd name="connsiteY2" fmla="*/ 12569 h 63434"/>
                <a:gd name="connsiteX3" fmla="*/ 55010 w 64555"/>
                <a:gd name="connsiteY3" fmla="*/ 37688 h 63434"/>
                <a:gd name="connsiteX4" fmla="*/ 61416 w 64555"/>
                <a:gd name="connsiteY4" fmla="*/ 62932 h 63434"/>
                <a:gd name="connsiteX5" fmla="*/ 64556 w 64555"/>
                <a:gd name="connsiteY5" fmla="*/ 63435 h 63434"/>
                <a:gd name="connsiteX6" fmla="*/ 58276 w 64555"/>
                <a:gd name="connsiteY6" fmla="*/ 38316 h 63434"/>
                <a:gd name="connsiteX7" fmla="*/ 53001 w 64555"/>
                <a:gd name="connsiteY7" fmla="*/ 25380 h 63434"/>
                <a:gd name="connsiteX8" fmla="*/ 37302 w 64555"/>
                <a:gd name="connsiteY8" fmla="*/ 8801 h 63434"/>
                <a:gd name="connsiteX9" fmla="*/ 27254 w 64555"/>
                <a:gd name="connsiteY9" fmla="*/ 3024 h 63434"/>
                <a:gd name="connsiteX10" fmla="*/ 11555 w 64555"/>
                <a:gd name="connsiteY10" fmla="*/ 1517 h 63434"/>
                <a:gd name="connsiteX11" fmla="*/ 6280 w 64555"/>
                <a:gd name="connsiteY11" fmla="*/ 8299 h 63434"/>
                <a:gd name="connsiteX12" fmla="*/ 0 w 64555"/>
                <a:gd name="connsiteY12" fmla="*/ 26133 h 63434"/>
                <a:gd name="connsiteX13" fmla="*/ 3140 w 64555"/>
                <a:gd name="connsiteY13" fmla="*/ 29273 h 63434"/>
                <a:gd name="connsiteX14" fmla="*/ 9043 w 64555"/>
                <a:gd name="connsiteY14" fmla="*/ 11313 h 6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555" h="63434">
                  <a:moveTo>
                    <a:pt x="9043" y="11313"/>
                  </a:moveTo>
                  <a:cubicBezTo>
                    <a:pt x="11680" y="3903"/>
                    <a:pt x="18839" y="2145"/>
                    <a:pt x="27003" y="6792"/>
                  </a:cubicBezTo>
                  <a:lnTo>
                    <a:pt x="37050" y="12569"/>
                  </a:lnTo>
                  <a:cubicBezTo>
                    <a:pt x="45214" y="17216"/>
                    <a:pt x="52373" y="27389"/>
                    <a:pt x="55010" y="37688"/>
                  </a:cubicBezTo>
                  <a:lnTo>
                    <a:pt x="61416" y="62932"/>
                  </a:lnTo>
                  <a:lnTo>
                    <a:pt x="64556" y="63435"/>
                  </a:lnTo>
                  <a:lnTo>
                    <a:pt x="58276" y="38316"/>
                  </a:lnTo>
                  <a:cubicBezTo>
                    <a:pt x="57146" y="33794"/>
                    <a:pt x="55262" y="29399"/>
                    <a:pt x="53001" y="25380"/>
                  </a:cubicBezTo>
                  <a:cubicBezTo>
                    <a:pt x="48982" y="18346"/>
                    <a:pt x="43330" y="12318"/>
                    <a:pt x="37302" y="8801"/>
                  </a:cubicBezTo>
                  <a:lnTo>
                    <a:pt x="27254" y="3024"/>
                  </a:lnTo>
                  <a:cubicBezTo>
                    <a:pt x="21225" y="-493"/>
                    <a:pt x="15574" y="-870"/>
                    <a:pt x="11555" y="1517"/>
                  </a:cubicBezTo>
                  <a:cubicBezTo>
                    <a:pt x="9168" y="2898"/>
                    <a:pt x="7410" y="5159"/>
                    <a:pt x="6280" y="8299"/>
                  </a:cubicBezTo>
                  <a:lnTo>
                    <a:pt x="0" y="26133"/>
                  </a:lnTo>
                  <a:lnTo>
                    <a:pt x="3140" y="29273"/>
                  </a:lnTo>
                  <a:lnTo>
                    <a:pt x="9043" y="11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2" name="Freeform: Shape 291">
              <a:extLst>
                <a:ext uri="{FF2B5EF4-FFF2-40B4-BE49-F238E27FC236}">
                  <a16:creationId xmlns:a16="http://schemas.microsoft.com/office/drawing/2014/main" id="{978B7285-3973-4122-B54A-245AFEF099FD}"/>
                </a:ext>
              </a:extLst>
            </p:cNvPr>
            <p:cNvSpPr/>
            <p:nvPr/>
          </p:nvSpPr>
          <p:spPr>
            <a:xfrm>
              <a:off x="968465" y="2686187"/>
              <a:ext cx="66690" cy="39948"/>
            </a:xfrm>
            <a:custGeom>
              <a:avLst/>
              <a:gdLst>
                <a:gd name="connsiteX0" fmla="*/ 51117 w 66690"/>
                <a:gd name="connsiteY0" fmla="*/ 8801 h 39948"/>
                <a:gd name="connsiteX1" fmla="*/ 41070 w 66690"/>
                <a:gd name="connsiteY1" fmla="*/ 3024 h 39948"/>
                <a:gd name="connsiteX2" fmla="*/ 25245 w 66690"/>
                <a:gd name="connsiteY2" fmla="*/ 1517 h 39948"/>
                <a:gd name="connsiteX3" fmla="*/ 0 w 66690"/>
                <a:gd name="connsiteY3" fmla="*/ 16086 h 39948"/>
                <a:gd name="connsiteX4" fmla="*/ 15699 w 66690"/>
                <a:gd name="connsiteY4" fmla="*/ 17593 h 39948"/>
                <a:gd name="connsiteX5" fmla="*/ 25747 w 66690"/>
                <a:gd name="connsiteY5" fmla="*/ 23370 h 39948"/>
                <a:gd name="connsiteX6" fmla="*/ 41446 w 66690"/>
                <a:gd name="connsiteY6" fmla="*/ 39949 h 39948"/>
                <a:gd name="connsiteX7" fmla="*/ 66691 w 66690"/>
                <a:gd name="connsiteY7" fmla="*/ 25380 h 39948"/>
                <a:gd name="connsiteX8" fmla="*/ 51117 w 66690"/>
                <a:gd name="connsiteY8" fmla="*/ 8801 h 3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90" h="39948">
                  <a:moveTo>
                    <a:pt x="51117" y="8801"/>
                  </a:moveTo>
                  <a:lnTo>
                    <a:pt x="41070" y="3024"/>
                  </a:lnTo>
                  <a:cubicBezTo>
                    <a:pt x="35041" y="-493"/>
                    <a:pt x="29389" y="-870"/>
                    <a:pt x="25245" y="1517"/>
                  </a:cubicBezTo>
                  <a:cubicBezTo>
                    <a:pt x="22858" y="2898"/>
                    <a:pt x="0" y="16086"/>
                    <a:pt x="0" y="16086"/>
                  </a:cubicBezTo>
                  <a:cubicBezTo>
                    <a:pt x="4145" y="13699"/>
                    <a:pt x="9671" y="14076"/>
                    <a:pt x="15699" y="17593"/>
                  </a:cubicBezTo>
                  <a:lnTo>
                    <a:pt x="25747" y="23370"/>
                  </a:lnTo>
                  <a:cubicBezTo>
                    <a:pt x="31775" y="26887"/>
                    <a:pt x="37427" y="32915"/>
                    <a:pt x="41446" y="39949"/>
                  </a:cubicBezTo>
                  <a:lnTo>
                    <a:pt x="66691" y="25380"/>
                  </a:lnTo>
                  <a:cubicBezTo>
                    <a:pt x="62797" y="18346"/>
                    <a:pt x="57146" y="12318"/>
                    <a:pt x="51117" y="8801"/>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 name="Freeform: Shape 292">
              <a:extLst>
                <a:ext uri="{FF2B5EF4-FFF2-40B4-BE49-F238E27FC236}">
                  <a16:creationId xmlns:a16="http://schemas.microsoft.com/office/drawing/2014/main" id="{4253B5E5-38D5-4BAF-AE99-4258017212D0}"/>
                </a:ext>
              </a:extLst>
            </p:cNvPr>
            <p:cNvSpPr/>
            <p:nvPr/>
          </p:nvSpPr>
          <p:spPr>
            <a:xfrm>
              <a:off x="1010162" y="2711692"/>
              <a:ext cx="36799" cy="52624"/>
            </a:xfrm>
            <a:custGeom>
              <a:avLst/>
              <a:gdLst>
                <a:gd name="connsiteX0" fmla="*/ 30520 w 36799"/>
                <a:gd name="connsiteY0" fmla="*/ 12936 h 52624"/>
                <a:gd name="connsiteX1" fmla="*/ 25245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20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20" y="12936"/>
                  </a:moveTo>
                  <a:cubicBezTo>
                    <a:pt x="29389" y="8415"/>
                    <a:pt x="27505" y="4019"/>
                    <a:pt x="25245" y="0"/>
                  </a:cubicBezTo>
                  <a:lnTo>
                    <a:pt x="0" y="14569"/>
                  </a:lnTo>
                  <a:cubicBezTo>
                    <a:pt x="2386" y="18714"/>
                    <a:pt x="4145" y="23109"/>
                    <a:pt x="5275" y="27505"/>
                  </a:cubicBezTo>
                  <a:lnTo>
                    <a:pt x="11555" y="52624"/>
                  </a:lnTo>
                  <a:lnTo>
                    <a:pt x="36799" y="38055"/>
                  </a:lnTo>
                  <a:lnTo>
                    <a:pt x="30520"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4" name="Freeform: Shape 293">
              <a:extLst>
                <a:ext uri="{FF2B5EF4-FFF2-40B4-BE49-F238E27FC236}">
                  <a16:creationId xmlns:a16="http://schemas.microsoft.com/office/drawing/2014/main" id="{608F62B3-CD01-4999-81BF-9D8B928A3720}"/>
                </a:ext>
              </a:extLst>
            </p:cNvPr>
            <p:cNvSpPr/>
            <p:nvPr/>
          </p:nvSpPr>
          <p:spPr>
            <a:xfrm>
              <a:off x="918729" y="2696119"/>
              <a:ext cx="136521" cy="78747"/>
            </a:xfrm>
            <a:custGeom>
              <a:avLst/>
              <a:gdLst>
                <a:gd name="connsiteX0" fmla="*/ 0 w 136521"/>
                <a:gd name="connsiteY0" fmla="*/ 17834 h 78747"/>
                <a:gd name="connsiteX1" fmla="*/ 105500 w 136521"/>
                <a:gd name="connsiteY1" fmla="*/ 78748 h 78747"/>
                <a:gd name="connsiteX2" fmla="*/ 136522 w 136521"/>
                <a:gd name="connsiteY2" fmla="*/ 60913 h 78747"/>
                <a:gd name="connsiteX3" fmla="*/ 31022 w 136521"/>
                <a:gd name="connsiteY3" fmla="*/ 0 h 78747"/>
              </a:gdLst>
              <a:ahLst/>
              <a:cxnLst>
                <a:cxn ang="0">
                  <a:pos x="connsiteX0" y="connsiteY0"/>
                </a:cxn>
                <a:cxn ang="0">
                  <a:pos x="connsiteX1" y="connsiteY1"/>
                </a:cxn>
                <a:cxn ang="0">
                  <a:pos x="connsiteX2" y="connsiteY2"/>
                </a:cxn>
                <a:cxn ang="0">
                  <a:pos x="connsiteX3" y="connsiteY3"/>
                </a:cxn>
              </a:cxnLst>
              <a:rect l="l" t="t" r="r" b="b"/>
              <a:pathLst>
                <a:path w="136521" h="78747">
                  <a:moveTo>
                    <a:pt x="0" y="17834"/>
                  </a:moveTo>
                  <a:lnTo>
                    <a:pt x="105500" y="78748"/>
                  </a:lnTo>
                  <a:lnTo>
                    <a:pt x="136522" y="60913"/>
                  </a:lnTo>
                  <a:lnTo>
                    <a:pt x="31022"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5" name="Freeform: Shape 294">
              <a:extLst>
                <a:ext uri="{FF2B5EF4-FFF2-40B4-BE49-F238E27FC236}">
                  <a16:creationId xmlns:a16="http://schemas.microsoft.com/office/drawing/2014/main" id="{3F11B24E-AFFE-46C1-88F0-415C932A04BD}"/>
                </a:ext>
              </a:extLst>
            </p:cNvPr>
            <p:cNvSpPr/>
            <p:nvPr/>
          </p:nvSpPr>
          <p:spPr>
            <a:xfrm>
              <a:off x="918729" y="2713953"/>
              <a:ext cx="105750" cy="77492"/>
            </a:xfrm>
            <a:custGeom>
              <a:avLst/>
              <a:gdLst>
                <a:gd name="connsiteX0" fmla="*/ 0 w 105750"/>
                <a:gd name="connsiteY0" fmla="*/ 16453 h 77492"/>
                <a:gd name="connsiteX1" fmla="*/ 105751 w 105750"/>
                <a:gd name="connsiteY1" fmla="*/ 77492 h 77492"/>
                <a:gd name="connsiteX2" fmla="*/ 105500 w 105750"/>
                <a:gd name="connsiteY2" fmla="*/ 60913 h 77492"/>
                <a:gd name="connsiteX3" fmla="*/ 0 w 105750"/>
                <a:gd name="connsiteY3" fmla="*/ 0 h 77492"/>
              </a:gdLst>
              <a:ahLst/>
              <a:cxnLst>
                <a:cxn ang="0">
                  <a:pos x="connsiteX0" y="connsiteY0"/>
                </a:cxn>
                <a:cxn ang="0">
                  <a:pos x="connsiteX1" y="connsiteY1"/>
                </a:cxn>
                <a:cxn ang="0">
                  <a:pos x="connsiteX2" y="connsiteY2"/>
                </a:cxn>
                <a:cxn ang="0">
                  <a:pos x="connsiteX3" y="connsiteY3"/>
                </a:cxn>
              </a:cxnLst>
              <a:rect l="l" t="t" r="r" b="b"/>
              <a:pathLst>
                <a:path w="105750" h="77492">
                  <a:moveTo>
                    <a:pt x="0" y="16453"/>
                  </a:moveTo>
                  <a:lnTo>
                    <a:pt x="105751" y="77492"/>
                  </a:lnTo>
                  <a:lnTo>
                    <a:pt x="105500" y="60913"/>
                  </a:lnTo>
                  <a:lnTo>
                    <a:pt x="0" y="0"/>
                  </a:ln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6" name="Freeform: Shape 295">
              <a:extLst>
                <a:ext uri="{FF2B5EF4-FFF2-40B4-BE49-F238E27FC236}">
                  <a16:creationId xmlns:a16="http://schemas.microsoft.com/office/drawing/2014/main" id="{E8F1C7E5-7D10-4296-8040-52054FF69A5D}"/>
                </a:ext>
              </a:extLst>
            </p:cNvPr>
            <p:cNvSpPr/>
            <p:nvPr/>
          </p:nvSpPr>
          <p:spPr>
            <a:xfrm>
              <a:off x="892354" y="2744106"/>
              <a:ext cx="27379" cy="24983"/>
            </a:xfrm>
            <a:custGeom>
              <a:avLst/>
              <a:gdLst>
                <a:gd name="connsiteX0" fmla="*/ 6280 w 27379"/>
                <a:gd name="connsiteY0" fmla="*/ 7023 h 24983"/>
                <a:gd name="connsiteX1" fmla="*/ 0 w 27379"/>
                <a:gd name="connsiteY1" fmla="*/ 24983 h 24983"/>
                <a:gd name="connsiteX2" fmla="*/ 25245 w 27379"/>
                <a:gd name="connsiteY2" fmla="*/ 10414 h 24983"/>
                <a:gd name="connsiteX3" fmla="*/ 27380 w 27379"/>
                <a:gd name="connsiteY3" fmla="*/ 4386 h 24983"/>
                <a:gd name="connsiteX4" fmla="*/ 24240 w 27379"/>
                <a:gd name="connsiteY4" fmla="*/ 2627 h 24983"/>
                <a:gd name="connsiteX5" fmla="*/ 6280 w 27379"/>
                <a:gd name="connsiteY5" fmla="*/ 7023 h 24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4983">
                  <a:moveTo>
                    <a:pt x="6280" y="7023"/>
                  </a:moveTo>
                  <a:lnTo>
                    <a:pt x="0" y="24983"/>
                  </a:lnTo>
                  <a:lnTo>
                    <a:pt x="25245" y="10414"/>
                  </a:lnTo>
                  <a:lnTo>
                    <a:pt x="27380" y="4386"/>
                  </a:lnTo>
                  <a:lnTo>
                    <a:pt x="24240" y="2627"/>
                  </a:lnTo>
                  <a:cubicBezTo>
                    <a:pt x="16076" y="-2145"/>
                    <a:pt x="8792" y="-261"/>
                    <a:pt x="6280" y="7023"/>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7" name="Freeform: Shape 296">
              <a:extLst>
                <a:ext uri="{FF2B5EF4-FFF2-40B4-BE49-F238E27FC236}">
                  <a16:creationId xmlns:a16="http://schemas.microsoft.com/office/drawing/2014/main" id="{D04451B5-B687-40B9-B795-433B219B1011}"/>
                </a:ext>
              </a:extLst>
            </p:cNvPr>
            <p:cNvSpPr/>
            <p:nvPr/>
          </p:nvSpPr>
          <p:spPr>
            <a:xfrm>
              <a:off x="920864" y="2738810"/>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7" y="11"/>
                    <a:pt x="16202" y="11"/>
                    <a:pt x="15071" y="136"/>
                  </a:cubicBezTo>
                  <a:cubicBezTo>
                    <a:pt x="15071" y="136"/>
                    <a:pt x="15071" y="136"/>
                    <a:pt x="15071" y="136"/>
                  </a:cubicBezTo>
                  <a:lnTo>
                    <a:pt x="15071" y="136"/>
                  </a:lnTo>
                  <a:lnTo>
                    <a:pt x="15071" y="136"/>
                  </a:lnTo>
                  <a:cubicBezTo>
                    <a:pt x="13187" y="136"/>
                    <a:pt x="11429" y="638"/>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103"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8" name="Freeform: Shape 297">
              <a:extLst>
                <a:ext uri="{FF2B5EF4-FFF2-40B4-BE49-F238E27FC236}">
                  <a16:creationId xmlns:a16="http://schemas.microsoft.com/office/drawing/2014/main" id="{A2D09D2D-63FE-45AF-BD9E-E6CA63D2434A}"/>
                </a:ext>
              </a:extLst>
            </p:cNvPr>
            <p:cNvSpPr/>
            <p:nvPr/>
          </p:nvSpPr>
          <p:spPr>
            <a:xfrm>
              <a:off x="914954" y="2744701"/>
              <a:ext cx="42206" cy="54309"/>
            </a:xfrm>
            <a:custGeom>
              <a:avLst/>
              <a:gdLst>
                <a:gd name="connsiteX0" fmla="*/ 36053 w 42206"/>
                <a:gd name="connsiteY0" fmla="*/ 18737 h 54309"/>
                <a:gd name="connsiteX1" fmla="*/ 21107 w 42206"/>
                <a:gd name="connsiteY1" fmla="*/ 2912 h 54309"/>
                <a:gd name="connsiteX2" fmla="*/ 6035 w 42206"/>
                <a:gd name="connsiteY2" fmla="*/ 1405 h 54309"/>
                <a:gd name="connsiteX3" fmla="*/ 7 w 42206"/>
                <a:gd name="connsiteY3" fmla="*/ 11075 h 54309"/>
                <a:gd name="connsiteX4" fmla="*/ 26884 w 42206"/>
                <a:gd name="connsiteY4" fmla="*/ 54029 h 54309"/>
                <a:gd name="connsiteX5" fmla="*/ 35927 w 42206"/>
                <a:gd name="connsiteY5" fmla="*/ 53275 h 54309"/>
                <a:gd name="connsiteX6" fmla="*/ 36053 w 42206"/>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6" h="54309">
                  <a:moveTo>
                    <a:pt x="36053" y="18737"/>
                  </a:moveTo>
                  <a:cubicBezTo>
                    <a:pt x="31908" y="11578"/>
                    <a:pt x="26507" y="6052"/>
                    <a:pt x="21107" y="2912"/>
                  </a:cubicBezTo>
                  <a:cubicBezTo>
                    <a:pt x="15706" y="-228"/>
                    <a:pt x="10180" y="-982"/>
                    <a:pt x="6035" y="1405"/>
                  </a:cubicBezTo>
                  <a:cubicBezTo>
                    <a:pt x="3272" y="3037"/>
                    <a:pt x="886" y="7182"/>
                    <a:pt x="7" y="11075"/>
                  </a:cubicBezTo>
                  <a:cubicBezTo>
                    <a:pt x="-495" y="13462"/>
                    <a:pt x="26884" y="54029"/>
                    <a:pt x="26884" y="54029"/>
                  </a:cubicBezTo>
                  <a:cubicBezTo>
                    <a:pt x="30024" y="54657"/>
                    <a:pt x="34420" y="54154"/>
                    <a:pt x="35927" y="53275"/>
                  </a:cubicBezTo>
                  <a:cubicBezTo>
                    <a:pt x="44342" y="48252"/>
                    <a:pt x="44216" y="33054"/>
                    <a:pt x="36053"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 name="Freeform: Shape 298">
              <a:extLst>
                <a:ext uri="{FF2B5EF4-FFF2-40B4-BE49-F238E27FC236}">
                  <a16:creationId xmlns:a16="http://schemas.microsoft.com/office/drawing/2014/main" id="{609D50EE-A5FB-43F5-AD87-2C30D5DFB71E}"/>
                </a:ext>
              </a:extLst>
            </p:cNvPr>
            <p:cNvSpPr/>
            <p:nvPr/>
          </p:nvSpPr>
          <p:spPr>
            <a:xfrm>
              <a:off x="914176" y="2746775"/>
              <a:ext cx="40378" cy="52037"/>
            </a:xfrm>
            <a:custGeom>
              <a:avLst/>
              <a:gdLst>
                <a:gd name="connsiteX0" fmla="*/ 34444 w 40378"/>
                <a:gd name="connsiteY0" fmla="*/ 50698 h 52037"/>
                <a:gd name="connsiteX1" fmla="*/ 5934 w 40378"/>
                <a:gd name="connsiteY1" fmla="*/ 34245 h 52037"/>
                <a:gd name="connsiteX2" fmla="*/ 5934 w 40378"/>
                <a:gd name="connsiteY2" fmla="*/ 1339 h 52037"/>
                <a:gd name="connsiteX3" fmla="*/ 34444 w 40378"/>
                <a:gd name="connsiteY3" fmla="*/ 17792 h 52037"/>
                <a:gd name="connsiteX4" fmla="*/ 34444 w 40378"/>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8" h="52037">
                  <a:moveTo>
                    <a:pt x="34444" y="50698"/>
                  </a:moveTo>
                  <a:cubicBezTo>
                    <a:pt x="26532" y="55220"/>
                    <a:pt x="13847" y="47935"/>
                    <a:pt x="5934" y="34245"/>
                  </a:cubicBezTo>
                  <a:cubicBezTo>
                    <a:pt x="-1978" y="20681"/>
                    <a:pt x="-1978" y="5861"/>
                    <a:pt x="5934" y="1339"/>
                  </a:cubicBezTo>
                  <a:cubicBezTo>
                    <a:pt x="13847" y="-3182"/>
                    <a:pt x="26532" y="4102"/>
                    <a:pt x="34444" y="17792"/>
                  </a:cubicBezTo>
                  <a:cubicBezTo>
                    <a:pt x="42357" y="31482"/>
                    <a:pt x="42357"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0" name="Graphic 4">
              <a:extLst>
                <a:ext uri="{FF2B5EF4-FFF2-40B4-BE49-F238E27FC236}">
                  <a16:creationId xmlns:a16="http://schemas.microsoft.com/office/drawing/2014/main" id="{84FB7ED1-A2DF-40A1-A747-5F7CF3F14040}"/>
                </a:ext>
              </a:extLst>
            </p:cNvPr>
            <p:cNvGrpSpPr/>
            <p:nvPr/>
          </p:nvGrpSpPr>
          <p:grpSpPr>
            <a:xfrm>
              <a:off x="892346" y="2746597"/>
              <a:ext cx="62638" cy="66941"/>
              <a:chOff x="892346" y="2746597"/>
              <a:chExt cx="62638" cy="66941"/>
            </a:xfrm>
            <a:solidFill>
              <a:schemeClr val="accent1"/>
            </a:solidFill>
          </p:grpSpPr>
          <p:sp>
            <p:nvSpPr>
              <p:cNvPr id="301" name="Freeform: Shape 300">
                <a:extLst>
                  <a:ext uri="{FF2B5EF4-FFF2-40B4-BE49-F238E27FC236}">
                    <a16:creationId xmlns:a16="http://schemas.microsoft.com/office/drawing/2014/main" id="{1EAC626B-BA6B-4AAE-90F0-281E47857238}"/>
                  </a:ext>
                </a:extLst>
              </p:cNvPr>
              <p:cNvSpPr/>
              <p:nvPr/>
            </p:nvSpPr>
            <p:spPr>
              <a:xfrm>
                <a:off x="907300" y="2746597"/>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5" y="-115"/>
                      <a:pt x="18211" y="10"/>
                    </a:cubicBezTo>
                    <a:cubicBezTo>
                      <a:pt x="17206" y="10"/>
                      <a:pt x="16202" y="10"/>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8" y="47360"/>
                      <a:pt x="45340" y="46857"/>
                    </a:cubicBezTo>
                    <a:cubicBezTo>
                      <a:pt x="49359" y="40327"/>
                      <a:pt x="48228"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2" name="Freeform: Shape 301">
                <a:extLst>
                  <a:ext uri="{FF2B5EF4-FFF2-40B4-BE49-F238E27FC236}">
                    <a16:creationId xmlns:a16="http://schemas.microsoft.com/office/drawing/2014/main" id="{06B01F79-BB38-4E2F-B074-4623F3AD0413}"/>
                  </a:ext>
                </a:extLst>
              </p:cNvPr>
              <p:cNvSpPr/>
              <p:nvPr/>
            </p:nvSpPr>
            <p:spPr>
              <a:xfrm>
                <a:off x="901390" y="2752488"/>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6"/>
                    </a:cubicBezTo>
                    <a:cubicBezTo>
                      <a:pt x="-496" y="13462"/>
                      <a:pt x="26884" y="54029"/>
                      <a:pt x="26884" y="54029"/>
                    </a:cubicBezTo>
                    <a:cubicBezTo>
                      <a:pt x="30024" y="54657"/>
                      <a:pt x="34420" y="54154"/>
                      <a:pt x="35927" y="53275"/>
                    </a:cubicBezTo>
                    <a:cubicBezTo>
                      <a:pt x="44467" y="48251"/>
                      <a:pt x="44342"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 name="Freeform: Shape 302">
                <a:extLst>
                  <a:ext uri="{FF2B5EF4-FFF2-40B4-BE49-F238E27FC236}">
                    <a16:creationId xmlns:a16="http://schemas.microsoft.com/office/drawing/2014/main" id="{53C1F12C-7791-4294-83F4-04A49559FBDD}"/>
                  </a:ext>
                </a:extLst>
              </p:cNvPr>
              <p:cNvSpPr/>
              <p:nvPr/>
            </p:nvSpPr>
            <p:spPr>
              <a:xfrm>
                <a:off x="892346" y="2747706"/>
                <a:ext cx="57006" cy="65832"/>
              </a:xfrm>
              <a:custGeom>
                <a:avLst/>
                <a:gdLst>
                  <a:gd name="connsiteX0" fmla="*/ 42752 w 57006"/>
                  <a:gd name="connsiteY0" fmla="*/ 24690 h 65832"/>
                  <a:gd name="connsiteX1" fmla="*/ 42758 w 57006"/>
                  <a:gd name="connsiteY1" fmla="*/ 57606 h 65832"/>
                  <a:gd name="connsiteX2" fmla="*/ 14255 w 57006"/>
                  <a:gd name="connsiteY2" fmla="*/ 41143 h 65832"/>
                  <a:gd name="connsiteX3" fmla="*/ 14248 w 57006"/>
                  <a:gd name="connsiteY3" fmla="*/ 8227 h 65832"/>
                  <a:gd name="connsiteX4" fmla="*/ 42752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90"/>
                    </a:moveTo>
                    <a:cubicBezTo>
                      <a:pt x="50624" y="38326"/>
                      <a:pt x="50627" y="53063"/>
                      <a:pt x="42758" y="57606"/>
                    </a:cubicBezTo>
                    <a:cubicBezTo>
                      <a:pt x="34889" y="62149"/>
                      <a:pt x="22128" y="54778"/>
                      <a:pt x="14255" y="41143"/>
                    </a:cubicBezTo>
                    <a:cubicBezTo>
                      <a:pt x="6382" y="27507"/>
                      <a:pt x="6379" y="12770"/>
                      <a:pt x="14248" y="8227"/>
                    </a:cubicBezTo>
                    <a:cubicBezTo>
                      <a:pt x="22117" y="3683"/>
                      <a:pt x="34879" y="11054"/>
                      <a:pt x="42752"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 name="Graphic 4">
              <a:extLst>
                <a:ext uri="{FF2B5EF4-FFF2-40B4-BE49-F238E27FC236}">
                  <a16:creationId xmlns:a16="http://schemas.microsoft.com/office/drawing/2014/main" id="{84FB7ED1-A2DF-40A1-A747-5F7CF3F14040}"/>
                </a:ext>
              </a:extLst>
            </p:cNvPr>
            <p:cNvGrpSpPr/>
            <p:nvPr/>
          </p:nvGrpSpPr>
          <p:grpSpPr>
            <a:xfrm>
              <a:off x="907363" y="2763129"/>
              <a:ext cx="27128" cy="35155"/>
              <a:chOff x="907363" y="2763129"/>
              <a:chExt cx="27128" cy="35155"/>
            </a:xfrm>
            <a:solidFill>
              <a:schemeClr val="accent1"/>
            </a:solidFill>
          </p:grpSpPr>
          <p:sp>
            <p:nvSpPr>
              <p:cNvPr id="305" name="Freeform: Shape 304">
                <a:extLst>
                  <a:ext uri="{FF2B5EF4-FFF2-40B4-BE49-F238E27FC236}">
                    <a16:creationId xmlns:a16="http://schemas.microsoft.com/office/drawing/2014/main" id="{50B4D249-5E2E-46C6-8E05-9D40EF8109EC}"/>
                  </a:ext>
                </a:extLst>
              </p:cNvPr>
              <p:cNvSpPr/>
              <p:nvPr/>
            </p:nvSpPr>
            <p:spPr>
              <a:xfrm>
                <a:off x="908273" y="2764338"/>
                <a:ext cx="25275" cy="32612"/>
              </a:xfrm>
              <a:custGeom>
                <a:avLst/>
                <a:gdLst>
                  <a:gd name="connsiteX0" fmla="*/ 21508 w 25275"/>
                  <a:gd name="connsiteY0" fmla="*/ 31754 h 32612"/>
                  <a:gd name="connsiteX1" fmla="*/ 3674 w 25275"/>
                  <a:gd name="connsiteY1" fmla="*/ 21456 h 32612"/>
                  <a:gd name="connsiteX2" fmla="*/ 3674 w 25275"/>
                  <a:gd name="connsiteY2" fmla="*/ 858 h 32612"/>
                  <a:gd name="connsiteX3" fmla="*/ 21508 w 25275"/>
                  <a:gd name="connsiteY3" fmla="*/ 11157 h 32612"/>
                  <a:gd name="connsiteX4" fmla="*/ 21508 w 25275"/>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5" h="32612">
                    <a:moveTo>
                      <a:pt x="21508" y="31754"/>
                    </a:moveTo>
                    <a:cubicBezTo>
                      <a:pt x="16610" y="34643"/>
                      <a:pt x="8572" y="29996"/>
                      <a:pt x="3674" y="21456"/>
                    </a:cubicBezTo>
                    <a:cubicBezTo>
                      <a:pt x="-1225" y="12915"/>
                      <a:pt x="-1225" y="3747"/>
                      <a:pt x="3674" y="858"/>
                    </a:cubicBezTo>
                    <a:cubicBezTo>
                      <a:pt x="8572" y="-2031"/>
                      <a:pt x="16610" y="2616"/>
                      <a:pt x="21508" y="11157"/>
                    </a:cubicBezTo>
                    <a:cubicBezTo>
                      <a:pt x="26532" y="19697"/>
                      <a:pt x="26532"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6" name="Freeform: Shape 305">
                <a:extLst>
                  <a:ext uri="{FF2B5EF4-FFF2-40B4-BE49-F238E27FC236}">
                    <a16:creationId xmlns:a16="http://schemas.microsoft.com/office/drawing/2014/main" id="{C5D2B9BB-98E5-4695-A6C7-C41D669A350C}"/>
                  </a:ext>
                </a:extLst>
              </p:cNvPr>
              <p:cNvSpPr/>
              <p:nvPr/>
            </p:nvSpPr>
            <p:spPr>
              <a:xfrm>
                <a:off x="907363" y="2763129"/>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584 w 27128"/>
                  <a:gd name="connsiteY11" fmla="*/ 2067 h 35155"/>
                  <a:gd name="connsiteX12" fmla="*/ 10110 w 27128"/>
                  <a:gd name="connsiteY12" fmla="*/ 1565 h 35155"/>
                  <a:gd name="connsiteX13" fmla="*/ 10110 w 27128"/>
                  <a:gd name="connsiteY13" fmla="*/ 8723 h 35155"/>
                  <a:gd name="connsiteX14" fmla="*/ 8854 w 27128"/>
                  <a:gd name="connsiteY14" fmla="*/ 9100 h 35155"/>
                  <a:gd name="connsiteX15" fmla="*/ 2952 w 27128"/>
                  <a:gd name="connsiteY15" fmla="*/ 3448 h 35155"/>
                  <a:gd name="connsiteX16" fmla="*/ 4584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3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1"/>
                      <a:pt x="9231" y="-2203"/>
                      <a:pt x="3956" y="937"/>
                    </a:cubicBezTo>
                    <a:cubicBezTo>
                      <a:pt x="-1319" y="3951"/>
                      <a:pt x="-1319" y="13999"/>
                      <a:pt x="3956" y="23167"/>
                    </a:cubicBezTo>
                    <a:cubicBezTo>
                      <a:pt x="9231" y="32335"/>
                      <a:pt x="17897" y="37359"/>
                      <a:pt x="23172" y="34219"/>
                    </a:cubicBezTo>
                    <a:cubicBezTo>
                      <a:pt x="28447" y="31079"/>
                      <a:pt x="28447" y="21157"/>
                      <a:pt x="23172" y="11989"/>
                    </a:cubicBezTo>
                    <a:close/>
                    <a:moveTo>
                      <a:pt x="24051" y="15631"/>
                    </a:moveTo>
                    <a:lnTo>
                      <a:pt x="18148" y="14375"/>
                    </a:lnTo>
                    <a:cubicBezTo>
                      <a:pt x="17772" y="13747"/>
                      <a:pt x="17269" y="13119"/>
                      <a:pt x="16893" y="12491"/>
                    </a:cubicBezTo>
                    <a:lnTo>
                      <a:pt x="16893" y="5332"/>
                    </a:lnTo>
                    <a:cubicBezTo>
                      <a:pt x="18902" y="7216"/>
                      <a:pt x="20912" y="9477"/>
                      <a:pt x="22419" y="12366"/>
                    </a:cubicBezTo>
                    <a:cubicBezTo>
                      <a:pt x="23047" y="13371"/>
                      <a:pt x="23675" y="14501"/>
                      <a:pt x="24051" y="15631"/>
                    </a:cubicBezTo>
                    <a:close/>
                    <a:moveTo>
                      <a:pt x="4584" y="2067"/>
                    </a:moveTo>
                    <a:cubicBezTo>
                      <a:pt x="6217" y="1188"/>
                      <a:pt x="8101" y="1062"/>
                      <a:pt x="10110" y="1565"/>
                    </a:cubicBezTo>
                    <a:lnTo>
                      <a:pt x="10110" y="8723"/>
                    </a:lnTo>
                    <a:cubicBezTo>
                      <a:pt x="9608" y="8723"/>
                      <a:pt x="9231" y="8849"/>
                      <a:pt x="8854" y="9100"/>
                    </a:cubicBezTo>
                    <a:lnTo>
                      <a:pt x="2952" y="3448"/>
                    </a:lnTo>
                    <a:cubicBezTo>
                      <a:pt x="3454" y="2821"/>
                      <a:pt x="3956" y="2444"/>
                      <a:pt x="4584" y="2067"/>
                    </a:cubicBezTo>
                    <a:close/>
                    <a:moveTo>
                      <a:pt x="942" y="9603"/>
                    </a:moveTo>
                    <a:lnTo>
                      <a:pt x="6845" y="15254"/>
                    </a:lnTo>
                    <a:cubicBezTo>
                      <a:pt x="6971" y="15882"/>
                      <a:pt x="7096" y="16636"/>
                      <a:pt x="7347" y="17264"/>
                    </a:cubicBezTo>
                    <a:lnTo>
                      <a:pt x="3705" y="20906"/>
                    </a:lnTo>
                    <a:cubicBezTo>
                      <a:pt x="1696" y="16887"/>
                      <a:pt x="816" y="12868"/>
                      <a:pt x="942" y="9603"/>
                    </a:cubicBezTo>
                    <a:close/>
                    <a:moveTo>
                      <a:pt x="9106" y="28567"/>
                    </a:moveTo>
                    <a:lnTo>
                      <a:pt x="12748" y="24925"/>
                    </a:lnTo>
                    <a:cubicBezTo>
                      <a:pt x="13250" y="25302"/>
                      <a:pt x="13878" y="25679"/>
                      <a:pt x="14381" y="25804"/>
                    </a:cubicBezTo>
                    <a:lnTo>
                      <a:pt x="18023" y="33717"/>
                    </a:lnTo>
                    <a:cubicBezTo>
                      <a:pt x="15134" y="33340"/>
                      <a:pt x="11994" y="31456"/>
                      <a:pt x="9106" y="28567"/>
                    </a:cubicBezTo>
                    <a:close/>
                    <a:moveTo>
                      <a:pt x="23423" y="32335"/>
                    </a:moveTo>
                    <a:lnTo>
                      <a:pt x="19781" y="24423"/>
                    </a:lnTo>
                    <a:cubicBezTo>
                      <a:pt x="20032" y="24046"/>
                      <a:pt x="20158" y="23544"/>
                      <a:pt x="20284" y="22916"/>
                    </a:cubicBezTo>
                    <a:lnTo>
                      <a:pt x="26187" y="24046"/>
                    </a:lnTo>
                    <a:cubicBezTo>
                      <a:pt x="26312" y="27563"/>
                      <a:pt x="25307"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7" name="Graphic 4">
                <a:extLst>
                  <a:ext uri="{FF2B5EF4-FFF2-40B4-BE49-F238E27FC236}">
                    <a16:creationId xmlns:a16="http://schemas.microsoft.com/office/drawing/2014/main" id="{84FB7ED1-A2DF-40A1-A747-5F7CF3F14040}"/>
                  </a:ext>
                </a:extLst>
              </p:cNvPr>
              <p:cNvGrpSpPr/>
              <p:nvPr/>
            </p:nvGrpSpPr>
            <p:grpSpPr>
              <a:xfrm>
                <a:off x="908293" y="2764819"/>
                <a:ext cx="23749" cy="32026"/>
                <a:chOff x="908293" y="2764819"/>
                <a:chExt cx="23749" cy="32026"/>
              </a:xfrm>
              <a:solidFill>
                <a:srgbClr val="ADAA99"/>
              </a:solidFill>
            </p:grpSpPr>
            <p:sp>
              <p:nvSpPr>
                <p:cNvPr id="308" name="Freeform: Shape 307">
                  <a:extLst>
                    <a:ext uri="{FF2B5EF4-FFF2-40B4-BE49-F238E27FC236}">
                      <a16:creationId xmlns:a16="http://schemas.microsoft.com/office/drawing/2014/main" id="{65F7EE04-9261-4CB0-AC0F-4B52F3986D2F}"/>
                    </a:ext>
                  </a:extLst>
                </p:cNvPr>
                <p:cNvSpPr/>
                <p:nvPr/>
              </p:nvSpPr>
              <p:spPr>
                <a:xfrm>
                  <a:off x="924255" y="2768461"/>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410"/>
                        <a:pt x="2261" y="6782"/>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 name="Freeform: Shape 308">
                  <a:extLst>
                    <a:ext uri="{FF2B5EF4-FFF2-40B4-BE49-F238E27FC236}">
                      <a16:creationId xmlns:a16="http://schemas.microsoft.com/office/drawing/2014/main" id="{F7122122-39A1-4B61-A835-3092DB4F562C}"/>
                    </a:ext>
                  </a:extLst>
                </p:cNvPr>
                <p:cNvSpPr/>
                <p:nvPr/>
              </p:nvSpPr>
              <p:spPr>
                <a:xfrm>
                  <a:off x="927018" y="2786044"/>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884" y="377"/>
                        <a:pt x="1884" y="377"/>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 name="Freeform: Shape 309">
                  <a:extLst>
                    <a:ext uri="{FF2B5EF4-FFF2-40B4-BE49-F238E27FC236}">
                      <a16:creationId xmlns:a16="http://schemas.microsoft.com/office/drawing/2014/main" id="{B32D0874-4B1B-4980-8A6E-DCBC3F0314E2}"/>
                    </a:ext>
                  </a:extLst>
                </p:cNvPr>
                <p:cNvSpPr/>
                <p:nvPr/>
              </p:nvSpPr>
              <p:spPr>
                <a:xfrm>
                  <a:off x="908293" y="2772731"/>
                  <a:ext cx="4282" cy="11303"/>
                </a:xfrm>
                <a:custGeom>
                  <a:avLst/>
                  <a:gdLst>
                    <a:gd name="connsiteX0" fmla="*/ 12 w 4282"/>
                    <a:gd name="connsiteY0" fmla="*/ 0 h 11303"/>
                    <a:gd name="connsiteX1" fmla="*/ 2775 w 4282"/>
                    <a:gd name="connsiteY1" fmla="*/ 11303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3"/>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 name="Freeform: Shape 310">
                  <a:extLst>
                    <a:ext uri="{FF2B5EF4-FFF2-40B4-BE49-F238E27FC236}">
                      <a16:creationId xmlns:a16="http://schemas.microsoft.com/office/drawing/2014/main" id="{EC19C60C-0B6C-4007-89E4-B1FC8879C415}"/>
                    </a:ext>
                  </a:extLst>
                </p:cNvPr>
                <p:cNvSpPr/>
                <p:nvPr/>
              </p:nvSpPr>
              <p:spPr>
                <a:xfrm>
                  <a:off x="916468" y="2788054"/>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9" y="8415"/>
                        <a:pt x="8917" y="8792"/>
                      </a:cubicBezTo>
                      <a:lnTo>
                        <a:pt x="8164" y="7033"/>
                      </a:lnTo>
                      <a:cubicBezTo>
                        <a:pt x="6029" y="6154"/>
                        <a:pt x="3768" y="4647"/>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 name="Freeform: Shape 311">
                  <a:extLst>
                    <a:ext uri="{FF2B5EF4-FFF2-40B4-BE49-F238E27FC236}">
                      <a16:creationId xmlns:a16="http://schemas.microsoft.com/office/drawing/2014/main" id="{1D541205-EE9C-4453-8A94-E46D0996F6FE}"/>
                    </a:ext>
                  </a:extLst>
                </p:cNvPr>
                <p:cNvSpPr/>
                <p:nvPr/>
              </p:nvSpPr>
              <p:spPr>
                <a:xfrm>
                  <a:off x="910440" y="2764819"/>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8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8" y="754"/>
                      </a:lnTo>
                      <a:cubicBezTo>
                        <a:pt x="1884" y="377"/>
                        <a:pt x="2135" y="126"/>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13" name="Graphic 4">
                <a:extLst>
                  <a:ext uri="{FF2B5EF4-FFF2-40B4-BE49-F238E27FC236}">
                    <a16:creationId xmlns:a16="http://schemas.microsoft.com/office/drawing/2014/main" id="{84FB7ED1-A2DF-40A1-A747-5F7CF3F14040}"/>
                  </a:ext>
                </a:extLst>
              </p:cNvPr>
              <p:cNvGrpSpPr/>
              <p:nvPr/>
            </p:nvGrpSpPr>
            <p:grpSpPr>
              <a:xfrm>
                <a:off x="915919" y="2774285"/>
                <a:ext cx="10094" cy="13199"/>
                <a:chOff x="915919" y="2774285"/>
                <a:chExt cx="10094" cy="13199"/>
              </a:xfrm>
              <a:solidFill>
                <a:srgbClr val="222222"/>
              </a:solidFill>
            </p:grpSpPr>
            <p:sp>
              <p:nvSpPr>
                <p:cNvPr id="314" name="Freeform: Shape 313">
                  <a:extLst>
                    <a:ext uri="{FF2B5EF4-FFF2-40B4-BE49-F238E27FC236}">
                      <a16:creationId xmlns:a16="http://schemas.microsoft.com/office/drawing/2014/main" id="{A09F0368-4713-495F-9754-54FE144EB50C}"/>
                    </a:ext>
                  </a:extLst>
                </p:cNvPr>
                <p:cNvSpPr/>
                <p:nvPr/>
              </p:nvSpPr>
              <p:spPr>
                <a:xfrm>
                  <a:off x="919263" y="2778399"/>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747"/>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 name="Freeform: Shape 314">
                  <a:extLst>
                    <a:ext uri="{FF2B5EF4-FFF2-40B4-BE49-F238E27FC236}">
                      <a16:creationId xmlns:a16="http://schemas.microsoft.com/office/drawing/2014/main" id="{EB7BCCE0-9865-4562-A428-5058E4B797E7}"/>
                    </a:ext>
                  </a:extLst>
                </p:cNvPr>
                <p:cNvSpPr/>
                <p:nvPr/>
              </p:nvSpPr>
              <p:spPr>
                <a:xfrm>
                  <a:off x="919954" y="2774285"/>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586"/>
                        <a:pt x="2041" y="2339"/>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 name="Freeform: Shape 315">
                  <a:extLst>
                    <a:ext uri="{FF2B5EF4-FFF2-40B4-BE49-F238E27FC236}">
                      <a16:creationId xmlns:a16="http://schemas.microsoft.com/office/drawing/2014/main" id="{85F278B3-DD36-47F5-82E1-C762BECB5975}"/>
                    </a:ext>
                  </a:extLst>
                </p:cNvPr>
                <p:cNvSpPr/>
                <p:nvPr/>
              </p:nvSpPr>
              <p:spPr>
                <a:xfrm>
                  <a:off x="917394" y="2781948"/>
                  <a:ext cx="1986" cy="2613"/>
                </a:xfrm>
                <a:custGeom>
                  <a:avLst/>
                  <a:gdLst>
                    <a:gd name="connsiteX0" fmla="*/ 832 w 1986"/>
                    <a:gd name="connsiteY0" fmla="*/ 78 h 2613"/>
                    <a:gd name="connsiteX1" fmla="*/ 1963 w 1986"/>
                    <a:gd name="connsiteY1" fmla="*/ 1710 h 2613"/>
                    <a:gd name="connsiteX2" fmla="*/ 1209 w 1986"/>
                    <a:gd name="connsiteY2" fmla="*/ 2589 h 2613"/>
                    <a:gd name="connsiteX3" fmla="*/ 79 w 1986"/>
                    <a:gd name="connsiteY3" fmla="*/ 957 h 2613"/>
                    <a:gd name="connsiteX4" fmla="*/ 832 w 1986"/>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6" h="2613">
                      <a:moveTo>
                        <a:pt x="832" y="78"/>
                      </a:moveTo>
                      <a:cubicBezTo>
                        <a:pt x="1335" y="329"/>
                        <a:pt x="1837" y="957"/>
                        <a:pt x="1963" y="1710"/>
                      </a:cubicBezTo>
                      <a:cubicBezTo>
                        <a:pt x="2088" y="2338"/>
                        <a:pt x="1711" y="2715"/>
                        <a:pt x="1209" y="2589"/>
                      </a:cubicBezTo>
                      <a:cubicBezTo>
                        <a:pt x="707" y="2338"/>
                        <a:pt x="204" y="1710"/>
                        <a:pt x="79" y="957"/>
                      </a:cubicBezTo>
                      <a:cubicBezTo>
                        <a:pt x="-173" y="203"/>
                        <a:pt x="204" y="-174"/>
                        <a:pt x="832"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 name="Freeform: Shape 316">
                  <a:extLst>
                    <a:ext uri="{FF2B5EF4-FFF2-40B4-BE49-F238E27FC236}">
                      <a16:creationId xmlns:a16="http://schemas.microsoft.com/office/drawing/2014/main" id="{865B8B8D-1DBE-47DF-A271-4E1007655ADD}"/>
                    </a:ext>
                  </a:extLst>
                </p:cNvPr>
                <p:cNvSpPr/>
                <p:nvPr/>
              </p:nvSpPr>
              <p:spPr>
                <a:xfrm>
                  <a:off x="922473" y="2784855"/>
                  <a:ext cx="1932" cy="2629"/>
                </a:xfrm>
                <a:custGeom>
                  <a:avLst/>
                  <a:gdLst>
                    <a:gd name="connsiteX0" fmla="*/ 24 w 1932"/>
                    <a:gd name="connsiteY0" fmla="*/ 561 h 2629"/>
                    <a:gd name="connsiteX1" fmla="*/ 1155 w 1932"/>
                    <a:gd name="connsiteY1" fmla="*/ 310 h 2629"/>
                    <a:gd name="connsiteX2" fmla="*/ 1908 w 1932"/>
                    <a:gd name="connsiteY2" fmla="*/ 2068 h 2629"/>
                    <a:gd name="connsiteX3" fmla="*/ 778 w 1932"/>
                    <a:gd name="connsiteY3" fmla="*/ 2319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8" y="2068"/>
                      </a:cubicBezTo>
                      <a:cubicBezTo>
                        <a:pt x="1783" y="2696"/>
                        <a:pt x="1280" y="2822"/>
                        <a:pt x="778" y="2319"/>
                      </a:cubicBezTo>
                      <a:cubicBezTo>
                        <a:pt x="275" y="1943"/>
                        <a:pt x="-101" y="1189"/>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 name="Freeform: Shape 317">
                  <a:extLst>
                    <a:ext uri="{FF2B5EF4-FFF2-40B4-BE49-F238E27FC236}">
                      <a16:creationId xmlns:a16="http://schemas.microsoft.com/office/drawing/2014/main" id="{6D1DBBA7-D986-405A-8042-780BD6ADED22}"/>
                    </a:ext>
                  </a:extLst>
                </p:cNvPr>
                <p:cNvSpPr/>
                <p:nvPr/>
              </p:nvSpPr>
              <p:spPr>
                <a:xfrm>
                  <a:off x="924130" y="2780299"/>
                  <a:ext cx="1883" cy="2447"/>
                </a:xfrm>
                <a:custGeom>
                  <a:avLst/>
                  <a:gdLst>
                    <a:gd name="connsiteX0" fmla="*/ 502 w 1883"/>
                    <a:gd name="connsiteY0" fmla="*/ 1977 h 2447"/>
                    <a:gd name="connsiteX1" fmla="*/ 126 w 1883"/>
                    <a:gd name="connsiteY1" fmla="*/ 219 h 2447"/>
                    <a:gd name="connsiteX2" fmla="*/ 1382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6" y="596"/>
                        <a:pt x="126" y="219"/>
                      </a:cubicBezTo>
                      <a:cubicBezTo>
                        <a:pt x="377" y="-158"/>
                        <a:pt x="1005" y="-32"/>
                        <a:pt x="1382" y="470"/>
                      </a:cubicBezTo>
                      <a:cubicBezTo>
                        <a:pt x="1884" y="973"/>
                        <a:pt x="2010" y="1852"/>
                        <a:pt x="1758" y="2229"/>
                      </a:cubicBezTo>
                      <a:cubicBezTo>
                        <a:pt x="1507" y="2605"/>
                        <a:pt x="1005"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 name="Freeform: Shape 318">
                  <a:extLst>
                    <a:ext uri="{FF2B5EF4-FFF2-40B4-BE49-F238E27FC236}">
                      <a16:creationId xmlns:a16="http://schemas.microsoft.com/office/drawing/2014/main" id="{3BA05C5F-9013-420C-AB9C-475D81BB9B8F}"/>
                    </a:ext>
                  </a:extLst>
                </p:cNvPr>
                <p:cNvSpPr/>
                <p:nvPr/>
              </p:nvSpPr>
              <p:spPr>
                <a:xfrm>
                  <a:off x="915919" y="2775369"/>
                  <a:ext cx="1780" cy="2511"/>
                </a:xfrm>
                <a:custGeom>
                  <a:avLst/>
                  <a:gdLst>
                    <a:gd name="connsiteX0" fmla="*/ 1680 w 1780"/>
                    <a:gd name="connsiteY0" fmla="*/ 1256 h 2511"/>
                    <a:gd name="connsiteX1" fmla="*/ 1303 w 1780"/>
                    <a:gd name="connsiteY1" fmla="*/ 2512 h 2511"/>
                    <a:gd name="connsiteX2" fmla="*/ 47 w 1780"/>
                    <a:gd name="connsiteY2" fmla="*/ 1256 h 2511"/>
                    <a:gd name="connsiteX3" fmla="*/ 424 w 1780"/>
                    <a:gd name="connsiteY3" fmla="*/ 0 h 2511"/>
                    <a:gd name="connsiteX4" fmla="*/ 1680 w 1780"/>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0" h="2511">
                      <a:moveTo>
                        <a:pt x="1680" y="1256"/>
                      </a:moveTo>
                      <a:cubicBezTo>
                        <a:pt x="1931" y="2009"/>
                        <a:pt x="1680" y="2512"/>
                        <a:pt x="1303" y="2512"/>
                      </a:cubicBezTo>
                      <a:cubicBezTo>
                        <a:pt x="801" y="2512"/>
                        <a:pt x="173" y="2009"/>
                        <a:pt x="47" y="1256"/>
                      </a:cubicBezTo>
                      <a:cubicBezTo>
                        <a:pt x="-79" y="502"/>
                        <a:pt x="47" y="0"/>
                        <a:pt x="424" y="0"/>
                      </a:cubicBezTo>
                      <a:cubicBezTo>
                        <a:pt x="926" y="0"/>
                        <a:pt x="1429" y="628"/>
                        <a:pt x="1680"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320" name="Freeform: Shape 319">
              <a:extLst>
                <a:ext uri="{FF2B5EF4-FFF2-40B4-BE49-F238E27FC236}">
                  <a16:creationId xmlns:a16="http://schemas.microsoft.com/office/drawing/2014/main" id="{C33E3BFA-94E7-4EEA-8F8A-2329A96AD56B}"/>
                </a:ext>
              </a:extLst>
            </p:cNvPr>
            <p:cNvSpPr/>
            <p:nvPr/>
          </p:nvSpPr>
          <p:spPr>
            <a:xfrm>
              <a:off x="889591" y="2739816"/>
              <a:ext cx="64555" cy="63434"/>
            </a:xfrm>
            <a:custGeom>
              <a:avLst/>
              <a:gdLst>
                <a:gd name="connsiteX0" fmla="*/ 9043 w 64555"/>
                <a:gd name="connsiteY0" fmla="*/ 11313 h 63434"/>
                <a:gd name="connsiteX1" fmla="*/ 27003 w 64555"/>
                <a:gd name="connsiteY1" fmla="*/ 6792 h 63434"/>
                <a:gd name="connsiteX2" fmla="*/ 37050 w 64555"/>
                <a:gd name="connsiteY2" fmla="*/ 12569 h 63434"/>
                <a:gd name="connsiteX3" fmla="*/ 55010 w 64555"/>
                <a:gd name="connsiteY3" fmla="*/ 37688 h 63434"/>
                <a:gd name="connsiteX4" fmla="*/ 61416 w 64555"/>
                <a:gd name="connsiteY4" fmla="*/ 62932 h 63434"/>
                <a:gd name="connsiteX5" fmla="*/ 64556 w 64555"/>
                <a:gd name="connsiteY5" fmla="*/ 63435 h 63434"/>
                <a:gd name="connsiteX6" fmla="*/ 58276 w 64555"/>
                <a:gd name="connsiteY6" fmla="*/ 38316 h 63434"/>
                <a:gd name="connsiteX7" fmla="*/ 53001 w 64555"/>
                <a:gd name="connsiteY7" fmla="*/ 25380 h 63434"/>
                <a:gd name="connsiteX8" fmla="*/ 37302 w 64555"/>
                <a:gd name="connsiteY8" fmla="*/ 8801 h 63434"/>
                <a:gd name="connsiteX9" fmla="*/ 27254 w 64555"/>
                <a:gd name="connsiteY9" fmla="*/ 3024 h 63434"/>
                <a:gd name="connsiteX10" fmla="*/ 11555 w 64555"/>
                <a:gd name="connsiteY10" fmla="*/ 1517 h 63434"/>
                <a:gd name="connsiteX11" fmla="*/ 6280 w 64555"/>
                <a:gd name="connsiteY11" fmla="*/ 8299 h 63434"/>
                <a:gd name="connsiteX12" fmla="*/ 0 w 64555"/>
                <a:gd name="connsiteY12" fmla="*/ 26133 h 63434"/>
                <a:gd name="connsiteX13" fmla="*/ 3140 w 64555"/>
                <a:gd name="connsiteY13" fmla="*/ 29273 h 63434"/>
                <a:gd name="connsiteX14" fmla="*/ 9043 w 64555"/>
                <a:gd name="connsiteY14" fmla="*/ 11313 h 6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555" h="63434">
                  <a:moveTo>
                    <a:pt x="9043" y="11313"/>
                  </a:moveTo>
                  <a:cubicBezTo>
                    <a:pt x="11680" y="3903"/>
                    <a:pt x="18839" y="2145"/>
                    <a:pt x="27003" y="6792"/>
                  </a:cubicBezTo>
                  <a:lnTo>
                    <a:pt x="37050" y="12569"/>
                  </a:lnTo>
                  <a:cubicBezTo>
                    <a:pt x="45214" y="17216"/>
                    <a:pt x="52373" y="27389"/>
                    <a:pt x="55010" y="37688"/>
                  </a:cubicBezTo>
                  <a:lnTo>
                    <a:pt x="61416" y="62932"/>
                  </a:lnTo>
                  <a:lnTo>
                    <a:pt x="64556" y="63435"/>
                  </a:lnTo>
                  <a:lnTo>
                    <a:pt x="58276" y="38316"/>
                  </a:lnTo>
                  <a:cubicBezTo>
                    <a:pt x="57146" y="33795"/>
                    <a:pt x="55262" y="29399"/>
                    <a:pt x="53001" y="25380"/>
                  </a:cubicBezTo>
                  <a:cubicBezTo>
                    <a:pt x="48982" y="18346"/>
                    <a:pt x="43330" y="12318"/>
                    <a:pt x="37302" y="8801"/>
                  </a:cubicBezTo>
                  <a:lnTo>
                    <a:pt x="27254" y="3024"/>
                  </a:lnTo>
                  <a:cubicBezTo>
                    <a:pt x="21226" y="-493"/>
                    <a:pt x="15574" y="-870"/>
                    <a:pt x="11555" y="1517"/>
                  </a:cubicBezTo>
                  <a:cubicBezTo>
                    <a:pt x="9168" y="2898"/>
                    <a:pt x="7410" y="5159"/>
                    <a:pt x="6280" y="8299"/>
                  </a:cubicBezTo>
                  <a:lnTo>
                    <a:pt x="0" y="26133"/>
                  </a:lnTo>
                  <a:lnTo>
                    <a:pt x="3140" y="29273"/>
                  </a:lnTo>
                  <a:lnTo>
                    <a:pt x="9043" y="11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 name="Freeform: Shape 320">
              <a:extLst>
                <a:ext uri="{FF2B5EF4-FFF2-40B4-BE49-F238E27FC236}">
                  <a16:creationId xmlns:a16="http://schemas.microsoft.com/office/drawing/2014/main" id="{4E824DE5-2A90-4C72-9D2A-610A549545AD}"/>
                </a:ext>
              </a:extLst>
            </p:cNvPr>
            <p:cNvSpPr/>
            <p:nvPr/>
          </p:nvSpPr>
          <p:spPr>
            <a:xfrm>
              <a:off x="900643" y="2725373"/>
              <a:ext cx="66816" cy="39948"/>
            </a:xfrm>
            <a:custGeom>
              <a:avLst/>
              <a:gdLst>
                <a:gd name="connsiteX0" fmla="*/ 51117 w 66816"/>
                <a:gd name="connsiteY0" fmla="*/ 8801 h 39948"/>
                <a:gd name="connsiteX1" fmla="*/ 41070 w 66816"/>
                <a:gd name="connsiteY1" fmla="*/ 3024 h 39948"/>
                <a:gd name="connsiteX2" fmla="*/ 25245 w 66816"/>
                <a:gd name="connsiteY2" fmla="*/ 1517 h 39948"/>
                <a:gd name="connsiteX3" fmla="*/ 0 w 66816"/>
                <a:gd name="connsiteY3" fmla="*/ 16086 h 39948"/>
                <a:gd name="connsiteX4" fmla="*/ 15699 w 66816"/>
                <a:gd name="connsiteY4" fmla="*/ 17593 h 39948"/>
                <a:gd name="connsiteX5" fmla="*/ 25747 w 66816"/>
                <a:gd name="connsiteY5" fmla="*/ 23370 h 39948"/>
                <a:gd name="connsiteX6" fmla="*/ 41446 w 66816"/>
                <a:gd name="connsiteY6" fmla="*/ 39949 h 39948"/>
                <a:gd name="connsiteX7" fmla="*/ 66816 w 66816"/>
                <a:gd name="connsiteY7" fmla="*/ 25380 h 39948"/>
                <a:gd name="connsiteX8" fmla="*/ 51117 w 66816"/>
                <a:gd name="connsiteY8" fmla="*/ 8801 h 3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816" h="39948">
                  <a:moveTo>
                    <a:pt x="51117" y="8801"/>
                  </a:moveTo>
                  <a:lnTo>
                    <a:pt x="41070" y="3024"/>
                  </a:lnTo>
                  <a:cubicBezTo>
                    <a:pt x="35041" y="-493"/>
                    <a:pt x="29389" y="-870"/>
                    <a:pt x="25245" y="1517"/>
                  </a:cubicBezTo>
                  <a:cubicBezTo>
                    <a:pt x="22858" y="2898"/>
                    <a:pt x="0" y="16086"/>
                    <a:pt x="0" y="16086"/>
                  </a:cubicBezTo>
                  <a:cubicBezTo>
                    <a:pt x="4145" y="13699"/>
                    <a:pt x="9671" y="14076"/>
                    <a:pt x="15699" y="17593"/>
                  </a:cubicBezTo>
                  <a:lnTo>
                    <a:pt x="25747" y="23370"/>
                  </a:lnTo>
                  <a:cubicBezTo>
                    <a:pt x="31776" y="26887"/>
                    <a:pt x="37427" y="32915"/>
                    <a:pt x="41446" y="39949"/>
                  </a:cubicBezTo>
                  <a:lnTo>
                    <a:pt x="66816" y="25380"/>
                  </a:lnTo>
                  <a:cubicBezTo>
                    <a:pt x="62797" y="18346"/>
                    <a:pt x="57146" y="12318"/>
                    <a:pt x="51117" y="8801"/>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 name="Freeform: Shape 321">
              <a:extLst>
                <a:ext uri="{FF2B5EF4-FFF2-40B4-BE49-F238E27FC236}">
                  <a16:creationId xmlns:a16="http://schemas.microsoft.com/office/drawing/2014/main" id="{605F287B-6991-4C18-9B82-08112B1BEBA0}"/>
                </a:ext>
              </a:extLst>
            </p:cNvPr>
            <p:cNvSpPr/>
            <p:nvPr/>
          </p:nvSpPr>
          <p:spPr>
            <a:xfrm>
              <a:off x="942341" y="2750752"/>
              <a:ext cx="36799" cy="52624"/>
            </a:xfrm>
            <a:custGeom>
              <a:avLst/>
              <a:gdLst>
                <a:gd name="connsiteX0" fmla="*/ 30520 w 36799"/>
                <a:gd name="connsiteY0" fmla="*/ 12936 h 52624"/>
                <a:gd name="connsiteX1" fmla="*/ 25245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20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20" y="12936"/>
                  </a:moveTo>
                  <a:cubicBezTo>
                    <a:pt x="29389" y="8415"/>
                    <a:pt x="27505" y="4019"/>
                    <a:pt x="25245" y="0"/>
                  </a:cubicBezTo>
                  <a:lnTo>
                    <a:pt x="0" y="14569"/>
                  </a:lnTo>
                  <a:cubicBezTo>
                    <a:pt x="2386" y="18714"/>
                    <a:pt x="4145" y="23109"/>
                    <a:pt x="5275" y="27505"/>
                  </a:cubicBezTo>
                  <a:lnTo>
                    <a:pt x="11555" y="52624"/>
                  </a:lnTo>
                  <a:lnTo>
                    <a:pt x="36799" y="38055"/>
                  </a:lnTo>
                  <a:lnTo>
                    <a:pt x="30520"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 name="Freeform: Shape 322">
              <a:extLst>
                <a:ext uri="{FF2B5EF4-FFF2-40B4-BE49-F238E27FC236}">
                  <a16:creationId xmlns:a16="http://schemas.microsoft.com/office/drawing/2014/main" id="{3C438A4F-951F-4BAD-AD18-7CDE395F7205}"/>
                </a:ext>
              </a:extLst>
            </p:cNvPr>
            <p:cNvSpPr/>
            <p:nvPr/>
          </p:nvSpPr>
          <p:spPr>
            <a:xfrm>
              <a:off x="962926" y="2754596"/>
              <a:ext cx="69465" cy="65609"/>
            </a:xfrm>
            <a:custGeom>
              <a:avLst/>
              <a:gdLst>
                <a:gd name="connsiteX0" fmla="*/ 1896 w 69465"/>
                <a:gd name="connsiteY0" fmla="*/ 9469 h 65609"/>
                <a:gd name="connsiteX1" fmla="*/ 17721 w 69465"/>
                <a:gd name="connsiteY1" fmla="*/ 301 h 65609"/>
                <a:gd name="connsiteX2" fmla="*/ 19228 w 69465"/>
                <a:gd name="connsiteY2" fmla="*/ 175 h 65609"/>
                <a:gd name="connsiteX3" fmla="*/ 69466 w 69465"/>
                <a:gd name="connsiteY3" fmla="*/ 29187 h 65609"/>
                <a:gd name="connsiteX4" fmla="*/ 67959 w 69465"/>
                <a:gd name="connsiteY4" fmla="*/ 29313 h 65609"/>
                <a:gd name="connsiteX5" fmla="*/ 52134 w 69465"/>
                <a:gd name="connsiteY5" fmla="*/ 38481 h 65609"/>
                <a:gd name="connsiteX6" fmla="*/ 50124 w 69465"/>
                <a:gd name="connsiteY6" fmla="*/ 41998 h 65609"/>
                <a:gd name="connsiteX7" fmla="*/ 50124 w 69465"/>
                <a:gd name="connsiteY7" fmla="*/ 64228 h 65609"/>
                <a:gd name="connsiteX8" fmla="*/ 50752 w 69465"/>
                <a:gd name="connsiteY8" fmla="*/ 65610 h 65609"/>
                <a:gd name="connsiteX9" fmla="*/ 640 w 69465"/>
                <a:gd name="connsiteY9" fmla="*/ 36598 h 65609"/>
                <a:gd name="connsiteX10" fmla="*/ 12 w 69465"/>
                <a:gd name="connsiteY10" fmla="*/ 35216 h 65609"/>
                <a:gd name="connsiteX11" fmla="*/ 12 w 69465"/>
                <a:gd name="connsiteY11" fmla="*/ 12986 h 65609"/>
                <a:gd name="connsiteX12" fmla="*/ 1896 w 69465"/>
                <a:gd name="connsiteY12" fmla="*/ 9469 h 6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465" h="65609">
                  <a:moveTo>
                    <a:pt x="1896" y="9469"/>
                  </a:moveTo>
                  <a:lnTo>
                    <a:pt x="17721" y="301"/>
                  </a:lnTo>
                  <a:cubicBezTo>
                    <a:pt x="18349" y="-76"/>
                    <a:pt x="18851" y="-76"/>
                    <a:pt x="19228" y="175"/>
                  </a:cubicBezTo>
                  <a:cubicBezTo>
                    <a:pt x="19605" y="426"/>
                    <a:pt x="69466" y="29187"/>
                    <a:pt x="69466" y="29187"/>
                  </a:cubicBezTo>
                  <a:cubicBezTo>
                    <a:pt x="69089" y="28936"/>
                    <a:pt x="68587" y="28936"/>
                    <a:pt x="67959" y="29313"/>
                  </a:cubicBezTo>
                  <a:lnTo>
                    <a:pt x="52134" y="38481"/>
                  </a:lnTo>
                  <a:cubicBezTo>
                    <a:pt x="51004" y="39109"/>
                    <a:pt x="50124" y="40742"/>
                    <a:pt x="50124" y="41998"/>
                  </a:cubicBezTo>
                  <a:lnTo>
                    <a:pt x="50124" y="64228"/>
                  </a:lnTo>
                  <a:cubicBezTo>
                    <a:pt x="50124" y="64856"/>
                    <a:pt x="50375" y="65359"/>
                    <a:pt x="50752" y="65610"/>
                  </a:cubicBezTo>
                  <a:cubicBezTo>
                    <a:pt x="50752" y="65610"/>
                    <a:pt x="891" y="36849"/>
                    <a:pt x="640" y="36598"/>
                  </a:cubicBezTo>
                  <a:cubicBezTo>
                    <a:pt x="263" y="36346"/>
                    <a:pt x="12" y="35970"/>
                    <a:pt x="12" y="35216"/>
                  </a:cubicBezTo>
                  <a:lnTo>
                    <a:pt x="12" y="12986"/>
                  </a:lnTo>
                  <a:cubicBezTo>
                    <a:pt x="-114" y="11730"/>
                    <a:pt x="766" y="10097"/>
                    <a:pt x="1896" y="9469"/>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 name="Freeform: Shape 323">
              <a:extLst>
                <a:ext uri="{FF2B5EF4-FFF2-40B4-BE49-F238E27FC236}">
                  <a16:creationId xmlns:a16="http://schemas.microsoft.com/office/drawing/2014/main" id="{2E01FF7F-F8D9-4355-AD16-807E99012F67}"/>
                </a:ext>
              </a:extLst>
            </p:cNvPr>
            <p:cNvSpPr/>
            <p:nvPr/>
          </p:nvSpPr>
          <p:spPr>
            <a:xfrm>
              <a:off x="946862" y="2763186"/>
              <a:ext cx="74100" cy="45590"/>
            </a:xfrm>
            <a:custGeom>
              <a:avLst/>
              <a:gdLst>
                <a:gd name="connsiteX0" fmla="*/ 5024 w 74100"/>
                <a:gd name="connsiteY0" fmla="*/ 0 h 45590"/>
                <a:gd name="connsiteX1" fmla="*/ 74101 w 74100"/>
                <a:gd name="connsiteY1" fmla="*/ 39814 h 45590"/>
                <a:gd name="connsiteX2" fmla="*/ 74101 w 74100"/>
                <a:gd name="connsiteY2" fmla="*/ 45591 h 45590"/>
                <a:gd name="connsiteX3" fmla="*/ 0 w 74100"/>
                <a:gd name="connsiteY3" fmla="*/ 2889 h 45590"/>
              </a:gdLst>
              <a:ahLst/>
              <a:cxnLst>
                <a:cxn ang="0">
                  <a:pos x="connsiteX0" y="connsiteY0"/>
                </a:cxn>
                <a:cxn ang="0">
                  <a:pos x="connsiteX1" y="connsiteY1"/>
                </a:cxn>
                <a:cxn ang="0">
                  <a:pos x="connsiteX2" y="connsiteY2"/>
                </a:cxn>
                <a:cxn ang="0">
                  <a:pos x="connsiteX3" y="connsiteY3"/>
                </a:cxn>
              </a:cxnLst>
              <a:rect l="l" t="t" r="r" b="b"/>
              <a:pathLst>
                <a:path w="74100" h="45590">
                  <a:moveTo>
                    <a:pt x="5024" y="0"/>
                  </a:moveTo>
                  <a:lnTo>
                    <a:pt x="74101" y="39814"/>
                  </a:lnTo>
                  <a:lnTo>
                    <a:pt x="74101" y="45591"/>
                  </a:lnTo>
                  <a:lnTo>
                    <a:pt x="0" y="2889"/>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 name="Freeform: Shape 324">
              <a:extLst>
                <a:ext uri="{FF2B5EF4-FFF2-40B4-BE49-F238E27FC236}">
                  <a16:creationId xmlns:a16="http://schemas.microsoft.com/office/drawing/2014/main" id="{22966C3B-99D1-4CFA-A5EE-65535D9488B1}"/>
                </a:ext>
              </a:extLst>
            </p:cNvPr>
            <p:cNvSpPr/>
            <p:nvPr/>
          </p:nvSpPr>
          <p:spPr>
            <a:xfrm>
              <a:off x="946862" y="2766075"/>
              <a:ext cx="74100" cy="77366"/>
            </a:xfrm>
            <a:custGeom>
              <a:avLst/>
              <a:gdLst>
                <a:gd name="connsiteX0" fmla="*/ 0 w 74100"/>
                <a:gd name="connsiteY0" fmla="*/ 0 h 77366"/>
                <a:gd name="connsiteX1" fmla="*/ 74101 w 74100"/>
                <a:gd name="connsiteY1" fmla="*/ 42702 h 77366"/>
                <a:gd name="connsiteX2" fmla="*/ 74101 w 74100"/>
                <a:gd name="connsiteY2" fmla="*/ 77366 h 77366"/>
                <a:gd name="connsiteX3" fmla="*/ 9796 w 74100"/>
                <a:gd name="connsiteY3" fmla="*/ 40190 h 77366"/>
              </a:gdLst>
              <a:ahLst/>
              <a:cxnLst>
                <a:cxn ang="0">
                  <a:pos x="connsiteX0" y="connsiteY0"/>
                </a:cxn>
                <a:cxn ang="0">
                  <a:pos x="connsiteX1" y="connsiteY1"/>
                </a:cxn>
                <a:cxn ang="0">
                  <a:pos x="connsiteX2" y="connsiteY2"/>
                </a:cxn>
                <a:cxn ang="0">
                  <a:pos x="connsiteX3" y="connsiteY3"/>
                </a:cxn>
              </a:cxnLst>
              <a:rect l="l" t="t" r="r" b="b"/>
              <a:pathLst>
                <a:path w="74100" h="77366">
                  <a:moveTo>
                    <a:pt x="0" y="0"/>
                  </a:moveTo>
                  <a:lnTo>
                    <a:pt x="74101" y="42702"/>
                  </a:lnTo>
                  <a:lnTo>
                    <a:pt x="74101" y="77366"/>
                  </a:lnTo>
                  <a:lnTo>
                    <a:pt x="9796" y="4019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 name="Freeform: Shape 325">
              <a:extLst>
                <a:ext uri="{FF2B5EF4-FFF2-40B4-BE49-F238E27FC236}">
                  <a16:creationId xmlns:a16="http://schemas.microsoft.com/office/drawing/2014/main" id="{8C21277A-2ABF-4582-84D4-DE20C47BDA9C}"/>
                </a:ext>
              </a:extLst>
            </p:cNvPr>
            <p:cNvSpPr/>
            <p:nvPr/>
          </p:nvSpPr>
          <p:spPr>
            <a:xfrm>
              <a:off x="747418" y="2641736"/>
              <a:ext cx="10047" cy="27128"/>
            </a:xfrm>
            <a:custGeom>
              <a:avLst/>
              <a:gdLst>
                <a:gd name="connsiteX0" fmla="*/ 0 w 10047"/>
                <a:gd name="connsiteY0" fmla="*/ 10801 h 27128"/>
                <a:gd name="connsiteX1" fmla="*/ 0 w 10047"/>
                <a:gd name="connsiteY1" fmla="*/ 7159 h 27128"/>
                <a:gd name="connsiteX2" fmla="*/ 7033 w 10047"/>
                <a:gd name="connsiteY2" fmla="*/ 3014 h 27128"/>
                <a:gd name="connsiteX3" fmla="*/ 7033 w 10047"/>
                <a:gd name="connsiteY3" fmla="*/ 0 h 27128"/>
                <a:gd name="connsiteX4" fmla="*/ 10048 w 10047"/>
                <a:gd name="connsiteY4" fmla="*/ 1758 h 27128"/>
                <a:gd name="connsiteX5" fmla="*/ 10048 w 10047"/>
                <a:gd name="connsiteY5" fmla="*/ 22984 h 27128"/>
                <a:gd name="connsiteX6" fmla="*/ 2889 w 10047"/>
                <a:gd name="connsiteY6" fmla="*/ 27129 h 27128"/>
                <a:gd name="connsiteX7" fmla="*/ 0 w 10047"/>
                <a:gd name="connsiteY7" fmla="*/ 25370 h 27128"/>
                <a:gd name="connsiteX8" fmla="*/ 7033 w 10047"/>
                <a:gd name="connsiteY8" fmla="*/ 21226 h 27128"/>
                <a:gd name="connsiteX9" fmla="*/ 7033 w 10047"/>
                <a:gd name="connsiteY9" fmla="*/ 6657 h 2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47" h="27128">
                  <a:moveTo>
                    <a:pt x="0" y="10801"/>
                  </a:moveTo>
                  <a:lnTo>
                    <a:pt x="0" y="7159"/>
                  </a:lnTo>
                  <a:lnTo>
                    <a:pt x="7033" y="3014"/>
                  </a:lnTo>
                  <a:lnTo>
                    <a:pt x="7033" y="0"/>
                  </a:lnTo>
                  <a:lnTo>
                    <a:pt x="10048" y="1758"/>
                  </a:lnTo>
                  <a:lnTo>
                    <a:pt x="10048" y="22984"/>
                  </a:lnTo>
                  <a:lnTo>
                    <a:pt x="2889" y="27129"/>
                  </a:lnTo>
                  <a:lnTo>
                    <a:pt x="0" y="25370"/>
                  </a:lnTo>
                  <a:lnTo>
                    <a:pt x="7033" y="21226"/>
                  </a:lnTo>
                  <a:lnTo>
                    <a:pt x="7033" y="6657"/>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 name="Freeform: Shape 326">
              <a:extLst>
                <a:ext uri="{FF2B5EF4-FFF2-40B4-BE49-F238E27FC236}">
                  <a16:creationId xmlns:a16="http://schemas.microsoft.com/office/drawing/2014/main" id="{454B0444-C9C7-4617-82EB-E682878C07FE}"/>
                </a:ext>
              </a:extLst>
            </p:cNvPr>
            <p:cNvSpPr/>
            <p:nvPr/>
          </p:nvSpPr>
          <p:spPr>
            <a:xfrm>
              <a:off x="750306" y="2643494"/>
              <a:ext cx="10801" cy="29012"/>
            </a:xfrm>
            <a:custGeom>
              <a:avLst/>
              <a:gdLst>
                <a:gd name="connsiteX0" fmla="*/ 0 w 10801"/>
                <a:gd name="connsiteY0" fmla="*/ 10676 h 29012"/>
                <a:gd name="connsiteX1" fmla="*/ 0 w 10801"/>
                <a:gd name="connsiteY1" fmla="*/ 7033 h 29012"/>
                <a:gd name="connsiteX2" fmla="*/ 7159 w 10801"/>
                <a:gd name="connsiteY2" fmla="*/ 3014 h 29012"/>
                <a:gd name="connsiteX3" fmla="*/ 7159 w 10801"/>
                <a:gd name="connsiteY3" fmla="*/ 0 h 29012"/>
                <a:gd name="connsiteX4" fmla="*/ 10801 w 10801"/>
                <a:gd name="connsiteY4" fmla="*/ 2010 h 29012"/>
                <a:gd name="connsiteX5" fmla="*/ 10801 w 10801"/>
                <a:gd name="connsiteY5" fmla="*/ 22858 h 29012"/>
                <a:gd name="connsiteX6" fmla="*/ 0 w 10801"/>
                <a:gd name="connsiteY6" fmla="*/ 29012 h 29012"/>
                <a:gd name="connsiteX7" fmla="*/ 0 w 10801"/>
                <a:gd name="connsiteY7" fmla="*/ 25370 h 29012"/>
                <a:gd name="connsiteX8" fmla="*/ 7159 w 10801"/>
                <a:gd name="connsiteY8" fmla="*/ 21226 h 29012"/>
                <a:gd name="connsiteX9" fmla="*/ 7159 w 10801"/>
                <a:gd name="connsiteY9" fmla="*/ 6657 h 2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01" h="29012">
                  <a:moveTo>
                    <a:pt x="0" y="10676"/>
                  </a:moveTo>
                  <a:lnTo>
                    <a:pt x="0" y="7033"/>
                  </a:lnTo>
                  <a:lnTo>
                    <a:pt x="7159" y="3014"/>
                  </a:lnTo>
                  <a:lnTo>
                    <a:pt x="7159" y="0"/>
                  </a:lnTo>
                  <a:lnTo>
                    <a:pt x="10801" y="2010"/>
                  </a:lnTo>
                  <a:lnTo>
                    <a:pt x="10801" y="22858"/>
                  </a:lnTo>
                  <a:lnTo>
                    <a:pt x="0" y="29012"/>
                  </a:lnTo>
                  <a:lnTo>
                    <a:pt x="0" y="25370"/>
                  </a:lnTo>
                  <a:lnTo>
                    <a:pt x="7159" y="21226"/>
                  </a:lnTo>
                  <a:lnTo>
                    <a:pt x="7159" y="6657"/>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 name="Freeform: Shape 327">
              <a:extLst>
                <a:ext uri="{FF2B5EF4-FFF2-40B4-BE49-F238E27FC236}">
                  <a16:creationId xmlns:a16="http://schemas.microsoft.com/office/drawing/2014/main" id="{483A15BB-CE91-4A69-AF91-3C1BEB5A2B1E}"/>
                </a:ext>
              </a:extLst>
            </p:cNvPr>
            <p:cNvSpPr/>
            <p:nvPr/>
          </p:nvSpPr>
          <p:spPr>
            <a:xfrm>
              <a:off x="838223" y="2694235"/>
              <a:ext cx="10173" cy="27002"/>
            </a:xfrm>
            <a:custGeom>
              <a:avLst/>
              <a:gdLst>
                <a:gd name="connsiteX0" fmla="*/ 0 w 10173"/>
                <a:gd name="connsiteY0" fmla="*/ 10676 h 27002"/>
                <a:gd name="connsiteX1" fmla="*/ 0 w 10173"/>
                <a:gd name="connsiteY1" fmla="*/ 7033 h 27002"/>
                <a:gd name="connsiteX2" fmla="*/ 7159 w 10173"/>
                <a:gd name="connsiteY2" fmla="*/ 2889 h 27002"/>
                <a:gd name="connsiteX3" fmla="*/ 7159 w 10173"/>
                <a:gd name="connsiteY3" fmla="*/ 0 h 27002"/>
                <a:gd name="connsiteX4" fmla="*/ 10173 w 10173"/>
                <a:gd name="connsiteY4" fmla="*/ 1633 h 27002"/>
                <a:gd name="connsiteX5" fmla="*/ 10173 w 10173"/>
                <a:gd name="connsiteY5" fmla="*/ 22984 h 27002"/>
                <a:gd name="connsiteX6" fmla="*/ 3014 w 10173"/>
                <a:gd name="connsiteY6" fmla="*/ 27003 h 27002"/>
                <a:gd name="connsiteX7" fmla="*/ 0 w 10173"/>
                <a:gd name="connsiteY7" fmla="*/ 25370 h 27002"/>
                <a:gd name="connsiteX8" fmla="*/ 7159 w 10173"/>
                <a:gd name="connsiteY8" fmla="*/ 21226 h 27002"/>
                <a:gd name="connsiteX9" fmla="*/ 7159 w 10173"/>
                <a:gd name="connsiteY9" fmla="*/ 6531 h 27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73" h="27002">
                  <a:moveTo>
                    <a:pt x="0" y="10676"/>
                  </a:moveTo>
                  <a:lnTo>
                    <a:pt x="0" y="7033"/>
                  </a:lnTo>
                  <a:lnTo>
                    <a:pt x="7159" y="2889"/>
                  </a:lnTo>
                  <a:lnTo>
                    <a:pt x="7159" y="0"/>
                  </a:lnTo>
                  <a:lnTo>
                    <a:pt x="10173" y="1633"/>
                  </a:lnTo>
                  <a:lnTo>
                    <a:pt x="10173" y="22984"/>
                  </a:lnTo>
                  <a:lnTo>
                    <a:pt x="3014" y="27003"/>
                  </a:lnTo>
                  <a:lnTo>
                    <a:pt x="0" y="25370"/>
                  </a:lnTo>
                  <a:lnTo>
                    <a:pt x="7159" y="21226"/>
                  </a:lnTo>
                  <a:lnTo>
                    <a:pt x="7159" y="6531"/>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 name="Freeform: Shape 328">
              <a:extLst>
                <a:ext uri="{FF2B5EF4-FFF2-40B4-BE49-F238E27FC236}">
                  <a16:creationId xmlns:a16="http://schemas.microsoft.com/office/drawing/2014/main" id="{4EB2EE69-EB75-44F9-9835-E84EFAA00DDB}"/>
                </a:ext>
              </a:extLst>
            </p:cNvPr>
            <p:cNvSpPr/>
            <p:nvPr/>
          </p:nvSpPr>
          <p:spPr>
            <a:xfrm>
              <a:off x="841237" y="2695867"/>
              <a:ext cx="10675" cy="29012"/>
            </a:xfrm>
            <a:custGeom>
              <a:avLst/>
              <a:gdLst>
                <a:gd name="connsiteX0" fmla="*/ 0 w 10675"/>
                <a:gd name="connsiteY0" fmla="*/ 10801 h 29012"/>
                <a:gd name="connsiteX1" fmla="*/ 0 w 10675"/>
                <a:gd name="connsiteY1" fmla="*/ 7159 h 29012"/>
                <a:gd name="connsiteX2" fmla="*/ 7159 w 10675"/>
                <a:gd name="connsiteY2" fmla="*/ 3014 h 29012"/>
                <a:gd name="connsiteX3" fmla="*/ 7159 w 10675"/>
                <a:gd name="connsiteY3" fmla="*/ 0 h 29012"/>
                <a:gd name="connsiteX4" fmla="*/ 10676 w 10675"/>
                <a:gd name="connsiteY4" fmla="*/ 2135 h 29012"/>
                <a:gd name="connsiteX5" fmla="*/ 10676 w 10675"/>
                <a:gd name="connsiteY5" fmla="*/ 22858 h 29012"/>
                <a:gd name="connsiteX6" fmla="*/ 0 w 10675"/>
                <a:gd name="connsiteY6" fmla="*/ 29012 h 29012"/>
                <a:gd name="connsiteX7" fmla="*/ 0 w 10675"/>
                <a:gd name="connsiteY7" fmla="*/ 25370 h 29012"/>
                <a:gd name="connsiteX8" fmla="*/ 7159 w 10675"/>
                <a:gd name="connsiteY8" fmla="*/ 21351 h 29012"/>
                <a:gd name="connsiteX9" fmla="*/ 7159 w 10675"/>
                <a:gd name="connsiteY9" fmla="*/ 6657 h 2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75" h="29012">
                  <a:moveTo>
                    <a:pt x="0" y="10801"/>
                  </a:moveTo>
                  <a:lnTo>
                    <a:pt x="0" y="7159"/>
                  </a:lnTo>
                  <a:lnTo>
                    <a:pt x="7159" y="3014"/>
                  </a:lnTo>
                  <a:lnTo>
                    <a:pt x="7159" y="0"/>
                  </a:lnTo>
                  <a:lnTo>
                    <a:pt x="10676" y="2135"/>
                  </a:lnTo>
                  <a:lnTo>
                    <a:pt x="10676" y="22858"/>
                  </a:lnTo>
                  <a:lnTo>
                    <a:pt x="0" y="29012"/>
                  </a:lnTo>
                  <a:lnTo>
                    <a:pt x="0" y="25370"/>
                  </a:lnTo>
                  <a:lnTo>
                    <a:pt x="7159" y="21351"/>
                  </a:lnTo>
                  <a:lnTo>
                    <a:pt x="7159" y="6657"/>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 name="Freeform: Shape 329">
              <a:extLst>
                <a:ext uri="{FF2B5EF4-FFF2-40B4-BE49-F238E27FC236}">
                  <a16:creationId xmlns:a16="http://schemas.microsoft.com/office/drawing/2014/main" id="{808010B6-82E2-4C46-AD31-AC9E44AD479B}"/>
                </a:ext>
              </a:extLst>
            </p:cNvPr>
            <p:cNvSpPr/>
            <p:nvPr/>
          </p:nvSpPr>
          <p:spPr>
            <a:xfrm>
              <a:off x="734733" y="2655300"/>
              <a:ext cx="132251" cy="85906"/>
            </a:xfrm>
            <a:custGeom>
              <a:avLst/>
              <a:gdLst>
                <a:gd name="connsiteX0" fmla="*/ 132251 w 132251"/>
                <a:gd name="connsiteY0" fmla="*/ 74729 h 85906"/>
                <a:gd name="connsiteX1" fmla="*/ 2637 w 132251"/>
                <a:gd name="connsiteY1" fmla="*/ 0 h 85906"/>
                <a:gd name="connsiteX2" fmla="*/ 0 w 132251"/>
                <a:gd name="connsiteY2" fmla="*/ 1633 h 85906"/>
                <a:gd name="connsiteX3" fmla="*/ 129488 w 132251"/>
                <a:gd name="connsiteY3" fmla="*/ 76362 h 85906"/>
                <a:gd name="connsiteX4" fmla="*/ 129488 w 132251"/>
                <a:gd name="connsiteY4" fmla="*/ 85907 h 85906"/>
                <a:gd name="connsiteX5" fmla="*/ 132251 w 132251"/>
                <a:gd name="connsiteY5" fmla="*/ 84400 h 8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 h="85906">
                  <a:moveTo>
                    <a:pt x="132251" y="74729"/>
                  </a:moveTo>
                  <a:lnTo>
                    <a:pt x="2637" y="0"/>
                  </a:lnTo>
                  <a:lnTo>
                    <a:pt x="0" y="1633"/>
                  </a:lnTo>
                  <a:lnTo>
                    <a:pt x="129488" y="76362"/>
                  </a:lnTo>
                  <a:lnTo>
                    <a:pt x="129488" y="85907"/>
                  </a:lnTo>
                  <a:lnTo>
                    <a:pt x="132251" y="8440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 name="Freeform: Shape 330">
              <a:extLst>
                <a:ext uri="{FF2B5EF4-FFF2-40B4-BE49-F238E27FC236}">
                  <a16:creationId xmlns:a16="http://schemas.microsoft.com/office/drawing/2014/main" id="{2BF2312F-23C2-4044-AAE1-FF1A15956D8E}"/>
                </a:ext>
              </a:extLst>
            </p:cNvPr>
            <p:cNvSpPr/>
            <p:nvPr/>
          </p:nvSpPr>
          <p:spPr>
            <a:xfrm>
              <a:off x="734733" y="2656933"/>
              <a:ext cx="129488" cy="84274"/>
            </a:xfrm>
            <a:custGeom>
              <a:avLst/>
              <a:gdLst>
                <a:gd name="connsiteX0" fmla="*/ 129488 w 129488"/>
                <a:gd name="connsiteY0" fmla="*/ 74729 h 84274"/>
                <a:gd name="connsiteX1" fmla="*/ 0 w 129488"/>
                <a:gd name="connsiteY1" fmla="*/ 0 h 84274"/>
                <a:gd name="connsiteX2" fmla="*/ 2763 w 129488"/>
                <a:gd name="connsiteY2" fmla="*/ 11178 h 84274"/>
                <a:gd name="connsiteX3" fmla="*/ 129488 w 129488"/>
                <a:gd name="connsiteY3" fmla="*/ 84274 h 84274"/>
              </a:gdLst>
              <a:ahLst/>
              <a:cxnLst>
                <a:cxn ang="0">
                  <a:pos x="connsiteX0" y="connsiteY0"/>
                </a:cxn>
                <a:cxn ang="0">
                  <a:pos x="connsiteX1" y="connsiteY1"/>
                </a:cxn>
                <a:cxn ang="0">
                  <a:pos x="connsiteX2" y="connsiteY2"/>
                </a:cxn>
                <a:cxn ang="0">
                  <a:pos x="connsiteX3" y="connsiteY3"/>
                </a:cxn>
              </a:cxnLst>
              <a:rect l="l" t="t" r="r" b="b"/>
              <a:pathLst>
                <a:path w="129488" h="84274">
                  <a:moveTo>
                    <a:pt x="129488" y="74729"/>
                  </a:moveTo>
                  <a:lnTo>
                    <a:pt x="0" y="0"/>
                  </a:lnTo>
                  <a:lnTo>
                    <a:pt x="2763" y="11178"/>
                  </a:lnTo>
                  <a:lnTo>
                    <a:pt x="129488" y="84274"/>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 name="Freeform: Shape 331">
              <a:extLst>
                <a:ext uri="{FF2B5EF4-FFF2-40B4-BE49-F238E27FC236}">
                  <a16:creationId xmlns:a16="http://schemas.microsoft.com/office/drawing/2014/main" id="{5ACAA89D-F7DC-42E0-BD2A-E0A35A15DF28}"/>
                </a:ext>
              </a:extLst>
            </p:cNvPr>
            <p:cNvSpPr/>
            <p:nvPr/>
          </p:nvSpPr>
          <p:spPr>
            <a:xfrm>
              <a:off x="729332" y="2633698"/>
              <a:ext cx="137651" cy="89046"/>
            </a:xfrm>
            <a:custGeom>
              <a:avLst/>
              <a:gdLst>
                <a:gd name="connsiteX0" fmla="*/ 137652 w 137651"/>
                <a:gd name="connsiteY0" fmla="*/ 77869 h 89046"/>
                <a:gd name="connsiteX1" fmla="*/ 2637 w 137651"/>
                <a:gd name="connsiteY1" fmla="*/ 0 h 89046"/>
                <a:gd name="connsiteX2" fmla="*/ 0 w 137651"/>
                <a:gd name="connsiteY2" fmla="*/ 1507 h 89046"/>
                <a:gd name="connsiteX3" fmla="*/ 134889 w 137651"/>
                <a:gd name="connsiteY3" fmla="*/ 79502 h 89046"/>
                <a:gd name="connsiteX4" fmla="*/ 134889 w 137651"/>
                <a:gd name="connsiteY4" fmla="*/ 89047 h 89046"/>
                <a:gd name="connsiteX5" fmla="*/ 137652 w 137651"/>
                <a:gd name="connsiteY5" fmla="*/ 87414 h 8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651" h="89046">
                  <a:moveTo>
                    <a:pt x="137652" y="77869"/>
                  </a:moveTo>
                  <a:lnTo>
                    <a:pt x="2637" y="0"/>
                  </a:lnTo>
                  <a:lnTo>
                    <a:pt x="0" y="1507"/>
                  </a:lnTo>
                  <a:lnTo>
                    <a:pt x="134889" y="79502"/>
                  </a:lnTo>
                  <a:lnTo>
                    <a:pt x="134889" y="89047"/>
                  </a:lnTo>
                  <a:lnTo>
                    <a:pt x="137652" y="87414"/>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 name="Freeform: Shape 332">
              <a:extLst>
                <a:ext uri="{FF2B5EF4-FFF2-40B4-BE49-F238E27FC236}">
                  <a16:creationId xmlns:a16="http://schemas.microsoft.com/office/drawing/2014/main" id="{7CEBD2E0-DC04-4102-8A26-C3FD0A98914F}"/>
                </a:ext>
              </a:extLst>
            </p:cNvPr>
            <p:cNvSpPr/>
            <p:nvPr/>
          </p:nvSpPr>
          <p:spPr>
            <a:xfrm>
              <a:off x="729332" y="2635205"/>
              <a:ext cx="134888" cy="87539"/>
            </a:xfrm>
            <a:custGeom>
              <a:avLst/>
              <a:gdLst>
                <a:gd name="connsiteX0" fmla="*/ 134889 w 134888"/>
                <a:gd name="connsiteY0" fmla="*/ 77994 h 87539"/>
                <a:gd name="connsiteX1" fmla="*/ 0 w 134888"/>
                <a:gd name="connsiteY1" fmla="*/ 0 h 87539"/>
                <a:gd name="connsiteX2" fmla="*/ 2763 w 134888"/>
                <a:gd name="connsiteY2" fmla="*/ 11178 h 87539"/>
                <a:gd name="connsiteX3" fmla="*/ 134889 w 134888"/>
                <a:gd name="connsiteY3" fmla="*/ 87539 h 87539"/>
              </a:gdLst>
              <a:ahLst/>
              <a:cxnLst>
                <a:cxn ang="0">
                  <a:pos x="connsiteX0" y="connsiteY0"/>
                </a:cxn>
                <a:cxn ang="0">
                  <a:pos x="connsiteX1" y="connsiteY1"/>
                </a:cxn>
                <a:cxn ang="0">
                  <a:pos x="connsiteX2" y="connsiteY2"/>
                </a:cxn>
                <a:cxn ang="0">
                  <a:pos x="connsiteX3" y="connsiteY3"/>
                </a:cxn>
              </a:cxnLst>
              <a:rect l="l" t="t" r="r" b="b"/>
              <a:pathLst>
                <a:path w="134888" h="87539">
                  <a:moveTo>
                    <a:pt x="134889" y="77994"/>
                  </a:moveTo>
                  <a:lnTo>
                    <a:pt x="0" y="0"/>
                  </a:lnTo>
                  <a:lnTo>
                    <a:pt x="2763" y="11178"/>
                  </a:lnTo>
                  <a:lnTo>
                    <a:pt x="134889" y="87539"/>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 name="Freeform: Shape 333">
              <a:extLst>
                <a:ext uri="{FF2B5EF4-FFF2-40B4-BE49-F238E27FC236}">
                  <a16:creationId xmlns:a16="http://schemas.microsoft.com/office/drawing/2014/main" id="{32B797E7-3B1A-4246-800D-7719528B1570}"/>
                </a:ext>
              </a:extLst>
            </p:cNvPr>
            <p:cNvSpPr/>
            <p:nvPr/>
          </p:nvSpPr>
          <p:spPr>
            <a:xfrm>
              <a:off x="652719" y="2331642"/>
              <a:ext cx="439833" cy="383817"/>
            </a:xfrm>
            <a:custGeom>
              <a:avLst/>
              <a:gdLst>
                <a:gd name="connsiteX0" fmla="*/ 439833 w 439833"/>
                <a:gd name="connsiteY0" fmla="*/ 253953 h 383817"/>
                <a:gd name="connsiteX1" fmla="*/ 0 w 439833"/>
                <a:gd name="connsiteY1" fmla="*/ 0 h 383817"/>
                <a:gd name="connsiteX2" fmla="*/ 0 w 439833"/>
                <a:gd name="connsiteY2" fmla="*/ 129865 h 383817"/>
                <a:gd name="connsiteX3" fmla="*/ 439833 w 439833"/>
                <a:gd name="connsiteY3" fmla="*/ 383818 h 383817"/>
              </a:gdLst>
              <a:ahLst/>
              <a:cxnLst>
                <a:cxn ang="0">
                  <a:pos x="connsiteX0" y="connsiteY0"/>
                </a:cxn>
                <a:cxn ang="0">
                  <a:pos x="connsiteX1" y="connsiteY1"/>
                </a:cxn>
                <a:cxn ang="0">
                  <a:pos x="connsiteX2" y="connsiteY2"/>
                </a:cxn>
                <a:cxn ang="0">
                  <a:pos x="connsiteX3" y="connsiteY3"/>
                </a:cxn>
              </a:cxnLst>
              <a:rect l="l" t="t" r="r" b="b"/>
              <a:pathLst>
                <a:path w="439833" h="383817">
                  <a:moveTo>
                    <a:pt x="439833" y="253953"/>
                  </a:moveTo>
                  <a:lnTo>
                    <a:pt x="0" y="0"/>
                  </a:lnTo>
                  <a:lnTo>
                    <a:pt x="0" y="129865"/>
                  </a:lnTo>
                  <a:lnTo>
                    <a:pt x="439833" y="383818"/>
                  </a:ln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 name="Freeform: Shape 334">
              <a:extLst>
                <a:ext uri="{FF2B5EF4-FFF2-40B4-BE49-F238E27FC236}">
                  <a16:creationId xmlns:a16="http://schemas.microsoft.com/office/drawing/2014/main" id="{5F15A72A-04D6-4B8C-9FCA-E40B5C7A8BAF}"/>
                </a:ext>
              </a:extLst>
            </p:cNvPr>
            <p:cNvSpPr/>
            <p:nvPr/>
          </p:nvSpPr>
          <p:spPr>
            <a:xfrm>
              <a:off x="549103" y="2394063"/>
              <a:ext cx="103615" cy="127353"/>
            </a:xfrm>
            <a:custGeom>
              <a:avLst/>
              <a:gdLst>
                <a:gd name="connsiteX0" fmla="*/ 103616 w 103615"/>
                <a:gd name="connsiteY0" fmla="*/ 67444 h 127353"/>
                <a:gd name="connsiteX1" fmla="*/ 0 w 103615"/>
                <a:gd name="connsiteY1" fmla="*/ 127353 h 127353"/>
                <a:gd name="connsiteX2" fmla="*/ 0 w 103615"/>
                <a:gd name="connsiteY2" fmla="*/ 0 h 127353"/>
                <a:gd name="connsiteX3" fmla="*/ 103616 w 103615"/>
                <a:gd name="connsiteY3" fmla="*/ 56769 h 127353"/>
              </a:gdLst>
              <a:ahLst/>
              <a:cxnLst>
                <a:cxn ang="0">
                  <a:pos x="connsiteX0" y="connsiteY0"/>
                </a:cxn>
                <a:cxn ang="0">
                  <a:pos x="connsiteX1" y="connsiteY1"/>
                </a:cxn>
                <a:cxn ang="0">
                  <a:pos x="connsiteX2" y="connsiteY2"/>
                </a:cxn>
                <a:cxn ang="0">
                  <a:pos x="connsiteX3" y="connsiteY3"/>
                </a:cxn>
              </a:cxnLst>
              <a:rect l="l" t="t" r="r" b="b"/>
              <a:pathLst>
                <a:path w="103615" h="127353">
                  <a:moveTo>
                    <a:pt x="103616" y="67444"/>
                  </a:moveTo>
                  <a:lnTo>
                    <a:pt x="0" y="127353"/>
                  </a:lnTo>
                  <a:lnTo>
                    <a:pt x="0" y="0"/>
                  </a:lnTo>
                  <a:lnTo>
                    <a:pt x="103616" y="56769"/>
                  </a:lnTo>
                  <a:close/>
                </a:path>
              </a:pathLst>
            </a:custGeom>
            <a:solidFill>
              <a:srgbClr val="918F8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 name="Freeform: Shape 335">
              <a:extLst>
                <a:ext uri="{FF2B5EF4-FFF2-40B4-BE49-F238E27FC236}">
                  <a16:creationId xmlns:a16="http://schemas.microsoft.com/office/drawing/2014/main" id="{B649C8FB-AAB5-46A0-B415-1DE7D1A7C834}"/>
                </a:ext>
              </a:extLst>
            </p:cNvPr>
            <p:cNvSpPr/>
            <p:nvPr/>
          </p:nvSpPr>
          <p:spPr>
            <a:xfrm>
              <a:off x="549103" y="2461508"/>
              <a:ext cx="440837" cy="314489"/>
            </a:xfrm>
            <a:custGeom>
              <a:avLst/>
              <a:gdLst>
                <a:gd name="connsiteX0" fmla="*/ 103616 w 440837"/>
                <a:gd name="connsiteY0" fmla="*/ 0 h 314489"/>
                <a:gd name="connsiteX1" fmla="*/ 440838 w 440837"/>
                <a:gd name="connsiteY1" fmla="*/ 194672 h 314489"/>
                <a:gd name="connsiteX2" fmla="*/ 440838 w 440837"/>
                <a:gd name="connsiteY2" fmla="*/ 314489 h 314489"/>
                <a:gd name="connsiteX3" fmla="*/ 0 w 440837"/>
                <a:gd name="connsiteY3" fmla="*/ 59909 h 314489"/>
              </a:gdLst>
              <a:ahLst/>
              <a:cxnLst>
                <a:cxn ang="0">
                  <a:pos x="connsiteX0" y="connsiteY0"/>
                </a:cxn>
                <a:cxn ang="0">
                  <a:pos x="connsiteX1" y="connsiteY1"/>
                </a:cxn>
                <a:cxn ang="0">
                  <a:pos x="connsiteX2" y="connsiteY2"/>
                </a:cxn>
                <a:cxn ang="0">
                  <a:pos x="connsiteX3" y="connsiteY3"/>
                </a:cxn>
              </a:cxnLst>
              <a:rect l="l" t="t" r="r" b="b"/>
              <a:pathLst>
                <a:path w="440837" h="314489">
                  <a:moveTo>
                    <a:pt x="103616" y="0"/>
                  </a:moveTo>
                  <a:lnTo>
                    <a:pt x="440838" y="194672"/>
                  </a:lnTo>
                  <a:lnTo>
                    <a:pt x="440838" y="314489"/>
                  </a:lnTo>
                  <a:lnTo>
                    <a:pt x="0" y="59909"/>
                  </a:lnTo>
                  <a:close/>
                </a:path>
              </a:pathLst>
            </a:custGeom>
            <a:solidFill>
              <a:srgbClr val="47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 name="Freeform: Shape 336">
              <a:extLst>
                <a:ext uri="{FF2B5EF4-FFF2-40B4-BE49-F238E27FC236}">
                  <a16:creationId xmlns:a16="http://schemas.microsoft.com/office/drawing/2014/main" id="{7349ED78-A017-4C21-BF82-1CCBF676E32C}"/>
                </a:ext>
              </a:extLst>
            </p:cNvPr>
            <p:cNvSpPr/>
            <p:nvPr/>
          </p:nvSpPr>
          <p:spPr>
            <a:xfrm>
              <a:off x="545210" y="2388035"/>
              <a:ext cx="444731" cy="391981"/>
            </a:xfrm>
            <a:custGeom>
              <a:avLst/>
              <a:gdLst>
                <a:gd name="connsiteX0" fmla="*/ 3893 w 444731"/>
                <a:gd name="connsiteY0" fmla="*/ 133382 h 391981"/>
                <a:gd name="connsiteX1" fmla="*/ 3893 w 444731"/>
                <a:gd name="connsiteY1" fmla="*/ 6028 h 391981"/>
                <a:gd name="connsiteX2" fmla="*/ 444731 w 444731"/>
                <a:gd name="connsiteY2" fmla="*/ 260484 h 391981"/>
                <a:gd name="connsiteX3" fmla="*/ 444731 w 444731"/>
                <a:gd name="connsiteY3" fmla="*/ 256841 h 391981"/>
                <a:gd name="connsiteX4" fmla="*/ 0 w 444731"/>
                <a:gd name="connsiteY4" fmla="*/ 0 h 391981"/>
                <a:gd name="connsiteX5" fmla="*/ 0 w 444731"/>
                <a:gd name="connsiteY5" fmla="*/ 135266 h 391981"/>
                <a:gd name="connsiteX6" fmla="*/ 444731 w 444731"/>
                <a:gd name="connsiteY6" fmla="*/ 391981 h 391981"/>
                <a:gd name="connsiteX7" fmla="*/ 444731 w 444731"/>
                <a:gd name="connsiteY7" fmla="*/ 387962 h 39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731" h="391981">
                  <a:moveTo>
                    <a:pt x="3893" y="133382"/>
                  </a:moveTo>
                  <a:lnTo>
                    <a:pt x="3893" y="6028"/>
                  </a:lnTo>
                  <a:lnTo>
                    <a:pt x="444731" y="260484"/>
                  </a:lnTo>
                  <a:lnTo>
                    <a:pt x="444731" y="256841"/>
                  </a:lnTo>
                  <a:lnTo>
                    <a:pt x="0" y="0"/>
                  </a:lnTo>
                  <a:lnTo>
                    <a:pt x="0" y="135266"/>
                  </a:lnTo>
                  <a:lnTo>
                    <a:pt x="444731" y="391981"/>
                  </a:lnTo>
                  <a:lnTo>
                    <a:pt x="444731" y="387962"/>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 name="Freeform: Shape 337">
              <a:extLst>
                <a:ext uri="{FF2B5EF4-FFF2-40B4-BE49-F238E27FC236}">
                  <a16:creationId xmlns:a16="http://schemas.microsoft.com/office/drawing/2014/main" id="{438DC55A-D6A6-42ED-8266-655396C4C348}"/>
                </a:ext>
              </a:extLst>
            </p:cNvPr>
            <p:cNvSpPr/>
            <p:nvPr/>
          </p:nvSpPr>
          <p:spPr>
            <a:xfrm>
              <a:off x="769146" y="2521039"/>
              <a:ext cx="4019" cy="129739"/>
            </a:xfrm>
            <a:custGeom>
              <a:avLst/>
              <a:gdLst>
                <a:gd name="connsiteX0" fmla="*/ 4019 w 4019"/>
                <a:gd name="connsiteY0" fmla="*/ 2261 h 129739"/>
                <a:gd name="connsiteX1" fmla="*/ 4019 w 4019"/>
                <a:gd name="connsiteY1" fmla="*/ 129739 h 129739"/>
                <a:gd name="connsiteX2" fmla="*/ 0 w 4019"/>
                <a:gd name="connsiteY2" fmla="*/ 127479 h 129739"/>
                <a:gd name="connsiteX3" fmla="*/ 0 w 4019"/>
                <a:gd name="connsiteY3" fmla="*/ 0 h 129739"/>
              </a:gdLst>
              <a:ahLst/>
              <a:cxnLst>
                <a:cxn ang="0">
                  <a:pos x="connsiteX0" y="connsiteY0"/>
                </a:cxn>
                <a:cxn ang="0">
                  <a:pos x="connsiteX1" y="connsiteY1"/>
                </a:cxn>
                <a:cxn ang="0">
                  <a:pos x="connsiteX2" y="connsiteY2"/>
                </a:cxn>
                <a:cxn ang="0">
                  <a:pos x="connsiteX3" y="connsiteY3"/>
                </a:cxn>
              </a:cxnLst>
              <a:rect l="l" t="t" r="r" b="b"/>
              <a:pathLst>
                <a:path w="4019" h="129739">
                  <a:moveTo>
                    <a:pt x="4019" y="2261"/>
                  </a:moveTo>
                  <a:lnTo>
                    <a:pt x="4019" y="129739"/>
                  </a:lnTo>
                  <a:lnTo>
                    <a:pt x="0" y="127479"/>
                  </a:lnTo>
                  <a:lnTo>
                    <a:pt x="0" y="0"/>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 name="Freeform: Shape 338">
              <a:extLst>
                <a:ext uri="{FF2B5EF4-FFF2-40B4-BE49-F238E27FC236}">
                  <a16:creationId xmlns:a16="http://schemas.microsoft.com/office/drawing/2014/main" id="{158118F0-B083-47C8-827C-9DDCE8C4A2F5}"/>
                </a:ext>
              </a:extLst>
            </p:cNvPr>
            <p:cNvSpPr/>
            <p:nvPr/>
          </p:nvSpPr>
          <p:spPr>
            <a:xfrm>
              <a:off x="545210" y="2324107"/>
              <a:ext cx="562664" cy="324913"/>
            </a:xfrm>
            <a:custGeom>
              <a:avLst/>
              <a:gdLst>
                <a:gd name="connsiteX0" fmla="*/ 110775 w 562664"/>
                <a:gd name="connsiteY0" fmla="*/ 0 h 324913"/>
                <a:gd name="connsiteX1" fmla="*/ 0 w 562664"/>
                <a:gd name="connsiteY1" fmla="*/ 63928 h 324913"/>
                <a:gd name="connsiteX2" fmla="*/ 444731 w 562664"/>
                <a:gd name="connsiteY2" fmla="*/ 320769 h 324913"/>
                <a:gd name="connsiteX3" fmla="*/ 451890 w 562664"/>
                <a:gd name="connsiteY3" fmla="*/ 324914 h 324913"/>
                <a:gd name="connsiteX4" fmla="*/ 562665 w 562664"/>
                <a:gd name="connsiteY4" fmla="*/ 260986 h 32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664" h="324913">
                  <a:moveTo>
                    <a:pt x="110775" y="0"/>
                  </a:moveTo>
                  <a:lnTo>
                    <a:pt x="0" y="63928"/>
                  </a:lnTo>
                  <a:lnTo>
                    <a:pt x="444731" y="320769"/>
                  </a:lnTo>
                  <a:lnTo>
                    <a:pt x="451890" y="324914"/>
                  </a:lnTo>
                  <a:lnTo>
                    <a:pt x="562665" y="260986"/>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 name="Freeform: Shape 339">
              <a:extLst>
                <a:ext uri="{FF2B5EF4-FFF2-40B4-BE49-F238E27FC236}">
                  <a16:creationId xmlns:a16="http://schemas.microsoft.com/office/drawing/2014/main" id="{DF3CF796-B783-44F4-B861-DAC30AB143FB}"/>
                </a:ext>
              </a:extLst>
            </p:cNvPr>
            <p:cNvSpPr/>
            <p:nvPr/>
          </p:nvSpPr>
          <p:spPr>
            <a:xfrm>
              <a:off x="989941" y="2644876"/>
              <a:ext cx="7158" cy="139284"/>
            </a:xfrm>
            <a:custGeom>
              <a:avLst/>
              <a:gdLst>
                <a:gd name="connsiteX0" fmla="*/ 0 w 7158"/>
                <a:gd name="connsiteY0" fmla="*/ 135140 h 139284"/>
                <a:gd name="connsiteX1" fmla="*/ 7159 w 7158"/>
                <a:gd name="connsiteY1" fmla="*/ 139285 h 139284"/>
                <a:gd name="connsiteX2" fmla="*/ 7159 w 7158"/>
                <a:gd name="connsiteY2" fmla="*/ 4145 h 139284"/>
                <a:gd name="connsiteX3" fmla="*/ 0 w 7158"/>
                <a:gd name="connsiteY3" fmla="*/ 0 h 139284"/>
              </a:gdLst>
              <a:ahLst/>
              <a:cxnLst>
                <a:cxn ang="0">
                  <a:pos x="connsiteX0" y="connsiteY0"/>
                </a:cxn>
                <a:cxn ang="0">
                  <a:pos x="connsiteX1" y="connsiteY1"/>
                </a:cxn>
                <a:cxn ang="0">
                  <a:pos x="connsiteX2" y="connsiteY2"/>
                </a:cxn>
                <a:cxn ang="0">
                  <a:pos x="connsiteX3" y="connsiteY3"/>
                </a:cxn>
              </a:cxnLst>
              <a:rect l="l" t="t" r="r" b="b"/>
              <a:pathLst>
                <a:path w="7158" h="139284">
                  <a:moveTo>
                    <a:pt x="0" y="135140"/>
                  </a:moveTo>
                  <a:lnTo>
                    <a:pt x="7159" y="139285"/>
                  </a:lnTo>
                  <a:lnTo>
                    <a:pt x="7159" y="4145"/>
                  </a:lnTo>
                  <a:lnTo>
                    <a:pt x="0" y="0"/>
                  </a:lnTo>
                  <a:close/>
                </a:path>
              </a:pathLst>
            </a:custGeom>
            <a:solidFill>
              <a:srgbClr val="D3D1C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 name="Freeform: Shape 340">
              <a:extLst>
                <a:ext uri="{FF2B5EF4-FFF2-40B4-BE49-F238E27FC236}">
                  <a16:creationId xmlns:a16="http://schemas.microsoft.com/office/drawing/2014/main" id="{B311E1F3-50B1-4639-AF10-289143A114CB}"/>
                </a:ext>
              </a:extLst>
            </p:cNvPr>
            <p:cNvSpPr/>
            <p:nvPr/>
          </p:nvSpPr>
          <p:spPr>
            <a:xfrm>
              <a:off x="997100" y="2585093"/>
              <a:ext cx="110774" cy="199067"/>
            </a:xfrm>
            <a:custGeom>
              <a:avLst/>
              <a:gdLst>
                <a:gd name="connsiteX0" fmla="*/ 0 w 110774"/>
                <a:gd name="connsiteY0" fmla="*/ 63928 h 199067"/>
                <a:gd name="connsiteX1" fmla="*/ 110775 w 110774"/>
                <a:gd name="connsiteY1" fmla="*/ 0 h 199067"/>
                <a:gd name="connsiteX2" fmla="*/ 110775 w 110774"/>
                <a:gd name="connsiteY2" fmla="*/ 135140 h 199067"/>
                <a:gd name="connsiteX3" fmla="*/ 0 w 110774"/>
                <a:gd name="connsiteY3" fmla="*/ 199068 h 199067"/>
              </a:gdLst>
              <a:ahLst/>
              <a:cxnLst>
                <a:cxn ang="0">
                  <a:pos x="connsiteX0" y="connsiteY0"/>
                </a:cxn>
                <a:cxn ang="0">
                  <a:pos x="connsiteX1" y="connsiteY1"/>
                </a:cxn>
                <a:cxn ang="0">
                  <a:pos x="connsiteX2" y="connsiteY2"/>
                </a:cxn>
                <a:cxn ang="0">
                  <a:pos x="connsiteX3" y="connsiteY3"/>
                </a:cxn>
              </a:cxnLst>
              <a:rect l="l" t="t" r="r" b="b"/>
              <a:pathLst>
                <a:path w="110774" h="199067">
                  <a:moveTo>
                    <a:pt x="0" y="63928"/>
                  </a:moveTo>
                  <a:lnTo>
                    <a:pt x="110775" y="0"/>
                  </a:lnTo>
                  <a:lnTo>
                    <a:pt x="110775" y="135140"/>
                  </a:lnTo>
                  <a:lnTo>
                    <a:pt x="0" y="199068"/>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 name="Freeform: Shape 341">
              <a:extLst>
                <a:ext uri="{FF2B5EF4-FFF2-40B4-BE49-F238E27FC236}">
                  <a16:creationId xmlns:a16="http://schemas.microsoft.com/office/drawing/2014/main" id="{B9AC91D1-99FF-40B5-8E99-AF2F3D6A0027}"/>
                </a:ext>
              </a:extLst>
            </p:cNvPr>
            <p:cNvSpPr/>
            <p:nvPr/>
          </p:nvSpPr>
          <p:spPr>
            <a:xfrm>
              <a:off x="1007148" y="2609961"/>
              <a:ext cx="100726" cy="168422"/>
            </a:xfrm>
            <a:custGeom>
              <a:avLst/>
              <a:gdLst>
                <a:gd name="connsiteX0" fmla="*/ 100727 w 100726"/>
                <a:gd name="connsiteY0" fmla="*/ 110272 h 168422"/>
                <a:gd name="connsiteX1" fmla="*/ 100727 w 100726"/>
                <a:gd name="connsiteY1" fmla="*/ 0 h 168422"/>
                <a:gd name="connsiteX2" fmla="*/ 0 w 100726"/>
                <a:gd name="connsiteY2" fmla="*/ 58150 h 168422"/>
                <a:gd name="connsiteX3" fmla="*/ 0 w 100726"/>
                <a:gd name="connsiteY3" fmla="*/ 168423 h 168422"/>
              </a:gdLst>
              <a:ahLst/>
              <a:cxnLst>
                <a:cxn ang="0">
                  <a:pos x="connsiteX0" y="connsiteY0"/>
                </a:cxn>
                <a:cxn ang="0">
                  <a:pos x="connsiteX1" y="connsiteY1"/>
                </a:cxn>
                <a:cxn ang="0">
                  <a:pos x="connsiteX2" y="connsiteY2"/>
                </a:cxn>
                <a:cxn ang="0">
                  <a:pos x="connsiteX3" y="connsiteY3"/>
                </a:cxn>
              </a:cxnLst>
              <a:rect l="l" t="t" r="r" b="b"/>
              <a:pathLst>
                <a:path w="100726" h="168422">
                  <a:moveTo>
                    <a:pt x="100727" y="110272"/>
                  </a:moveTo>
                  <a:lnTo>
                    <a:pt x="100727" y="0"/>
                  </a:lnTo>
                  <a:lnTo>
                    <a:pt x="0" y="58150"/>
                  </a:lnTo>
                  <a:lnTo>
                    <a:pt x="0" y="168423"/>
                  </a:lnTo>
                  <a:close/>
                </a:path>
              </a:pathLst>
            </a:custGeom>
            <a:solidFill>
              <a:srgbClr val="878A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 name="Freeform: Shape 342">
              <a:extLst>
                <a:ext uri="{FF2B5EF4-FFF2-40B4-BE49-F238E27FC236}">
                  <a16:creationId xmlns:a16="http://schemas.microsoft.com/office/drawing/2014/main" id="{0AA2D17C-D0CA-4097-855D-E45CD6915222}"/>
                </a:ext>
              </a:extLst>
            </p:cNvPr>
            <p:cNvSpPr/>
            <p:nvPr/>
          </p:nvSpPr>
          <p:spPr>
            <a:xfrm>
              <a:off x="989941" y="2580948"/>
              <a:ext cx="117933" cy="68072"/>
            </a:xfrm>
            <a:custGeom>
              <a:avLst/>
              <a:gdLst>
                <a:gd name="connsiteX0" fmla="*/ 110775 w 117933"/>
                <a:gd name="connsiteY0" fmla="*/ 0 h 68072"/>
                <a:gd name="connsiteX1" fmla="*/ 0 w 117933"/>
                <a:gd name="connsiteY1" fmla="*/ 63928 h 68072"/>
                <a:gd name="connsiteX2" fmla="*/ 7159 w 117933"/>
                <a:gd name="connsiteY2" fmla="*/ 68072 h 68072"/>
                <a:gd name="connsiteX3" fmla="*/ 117934 w 117933"/>
                <a:gd name="connsiteY3" fmla="*/ 4145 h 68072"/>
              </a:gdLst>
              <a:ahLst/>
              <a:cxnLst>
                <a:cxn ang="0">
                  <a:pos x="connsiteX0" y="connsiteY0"/>
                </a:cxn>
                <a:cxn ang="0">
                  <a:pos x="connsiteX1" y="connsiteY1"/>
                </a:cxn>
                <a:cxn ang="0">
                  <a:pos x="connsiteX2" y="connsiteY2"/>
                </a:cxn>
                <a:cxn ang="0">
                  <a:pos x="connsiteX3" y="connsiteY3"/>
                </a:cxn>
              </a:cxnLst>
              <a:rect l="l" t="t" r="r" b="b"/>
              <a:pathLst>
                <a:path w="117933" h="68072">
                  <a:moveTo>
                    <a:pt x="110775" y="0"/>
                  </a:moveTo>
                  <a:lnTo>
                    <a:pt x="0" y="63928"/>
                  </a:lnTo>
                  <a:lnTo>
                    <a:pt x="7159" y="68072"/>
                  </a:lnTo>
                  <a:lnTo>
                    <a:pt x="117934" y="4145"/>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 name="Freeform: Shape 343">
              <a:extLst>
                <a:ext uri="{FF2B5EF4-FFF2-40B4-BE49-F238E27FC236}">
                  <a16:creationId xmlns:a16="http://schemas.microsoft.com/office/drawing/2014/main" id="{A14D91EC-001F-489D-8AB4-19030F6E65FB}"/>
                </a:ext>
              </a:extLst>
            </p:cNvPr>
            <p:cNvSpPr/>
            <p:nvPr/>
          </p:nvSpPr>
          <p:spPr>
            <a:xfrm>
              <a:off x="581130" y="2517146"/>
              <a:ext cx="26374" cy="18587"/>
            </a:xfrm>
            <a:custGeom>
              <a:avLst/>
              <a:gdLst>
                <a:gd name="connsiteX0" fmla="*/ 0 w 26374"/>
                <a:gd name="connsiteY0" fmla="*/ 0 h 18587"/>
                <a:gd name="connsiteX1" fmla="*/ 3265 w 26374"/>
                <a:gd name="connsiteY1" fmla="*/ 5275 h 18587"/>
                <a:gd name="connsiteX2" fmla="*/ 26375 w 26374"/>
                <a:gd name="connsiteY2" fmla="*/ 18588 h 18587"/>
                <a:gd name="connsiteX3" fmla="*/ 26375 w 26374"/>
                <a:gd name="connsiteY3" fmla="*/ 15071 h 18587"/>
              </a:gdLst>
              <a:ahLst/>
              <a:cxnLst>
                <a:cxn ang="0">
                  <a:pos x="connsiteX0" y="connsiteY0"/>
                </a:cxn>
                <a:cxn ang="0">
                  <a:pos x="connsiteX1" y="connsiteY1"/>
                </a:cxn>
                <a:cxn ang="0">
                  <a:pos x="connsiteX2" y="connsiteY2"/>
                </a:cxn>
                <a:cxn ang="0">
                  <a:pos x="connsiteX3" y="connsiteY3"/>
                </a:cxn>
              </a:cxnLst>
              <a:rect l="l" t="t" r="r" b="b"/>
              <a:pathLst>
                <a:path w="26374" h="18587">
                  <a:moveTo>
                    <a:pt x="0" y="0"/>
                  </a:moveTo>
                  <a:lnTo>
                    <a:pt x="3265" y="5275"/>
                  </a:lnTo>
                  <a:lnTo>
                    <a:pt x="26375" y="18588"/>
                  </a:lnTo>
                  <a:lnTo>
                    <a:pt x="26375" y="15071"/>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5" name="Freeform: Shape 344">
              <a:extLst>
                <a:ext uri="{FF2B5EF4-FFF2-40B4-BE49-F238E27FC236}">
                  <a16:creationId xmlns:a16="http://schemas.microsoft.com/office/drawing/2014/main" id="{1A527FDA-5834-44E3-A594-C0182827023A}"/>
                </a:ext>
              </a:extLst>
            </p:cNvPr>
            <p:cNvSpPr/>
            <p:nvPr/>
          </p:nvSpPr>
          <p:spPr>
            <a:xfrm>
              <a:off x="613282" y="2535608"/>
              <a:ext cx="39059" cy="26123"/>
            </a:xfrm>
            <a:custGeom>
              <a:avLst/>
              <a:gdLst>
                <a:gd name="connsiteX0" fmla="*/ 0 w 39059"/>
                <a:gd name="connsiteY0" fmla="*/ 0 h 26123"/>
                <a:gd name="connsiteX1" fmla="*/ 15951 w 39059"/>
                <a:gd name="connsiteY1" fmla="*/ 12685 h 26123"/>
                <a:gd name="connsiteX2" fmla="*/ 39060 w 39059"/>
                <a:gd name="connsiteY2" fmla="*/ 26124 h 26123"/>
                <a:gd name="connsiteX3" fmla="*/ 39060 w 39059"/>
                <a:gd name="connsiteY3" fmla="*/ 22607 h 26123"/>
              </a:gdLst>
              <a:ahLst/>
              <a:cxnLst>
                <a:cxn ang="0">
                  <a:pos x="connsiteX0" y="connsiteY0"/>
                </a:cxn>
                <a:cxn ang="0">
                  <a:pos x="connsiteX1" y="connsiteY1"/>
                </a:cxn>
                <a:cxn ang="0">
                  <a:pos x="connsiteX2" y="connsiteY2"/>
                </a:cxn>
                <a:cxn ang="0">
                  <a:pos x="connsiteX3" y="connsiteY3"/>
                </a:cxn>
              </a:cxnLst>
              <a:rect l="l" t="t" r="r" b="b"/>
              <a:pathLst>
                <a:path w="39059" h="26123">
                  <a:moveTo>
                    <a:pt x="0" y="0"/>
                  </a:moveTo>
                  <a:lnTo>
                    <a:pt x="15951" y="12685"/>
                  </a:lnTo>
                  <a:lnTo>
                    <a:pt x="39060" y="26124"/>
                  </a:lnTo>
                  <a:lnTo>
                    <a:pt x="39060" y="2260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 name="Freeform: Shape 345">
              <a:extLst>
                <a:ext uri="{FF2B5EF4-FFF2-40B4-BE49-F238E27FC236}">
                  <a16:creationId xmlns:a16="http://schemas.microsoft.com/office/drawing/2014/main" id="{422BD839-8106-4F02-82DF-8FDC6755A444}"/>
                </a:ext>
              </a:extLst>
            </p:cNvPr>
            <p:cNvSpPr/>
            <p:nvPr/>
          </p:nvSpPr>
          <p:spPr>
            <a:xfrm>
              <a:off x="658873" y="2561983"/>
              <a:ext cx="26374" cy="18587"/>
            </a:xfrm>
            <a:custGeom>
              <a:avLst/>
              <a:gdLst>
                <a:gd name="connsiteX0" fmla="*/ 0 w 26374"/>
                <a:gd name="connsiteY0" fmla="*/ 0 h 18587"/>
                <a:gd name="connsiteX1" fmla="*/ 3265 w 26374"/>
                <a:gd name="connsiteY1" fmla="*/ 5275 h 18587"/>
                <a:gd name="connsiteX2" fmla="*/ 26375 w 26374"/>
                <a:gd name="connsiteY2" fmla="*/ 18588 h 18587"/>
                <a:gd name="connsiteX3" fmla="*/ 26375 w 26374"/>
                <a:gd name="connsiteY3" fmla="*/ 15197 h 18587"/>
              </a:gdLst>
              <a:ahLst/>
              <a:cxnLst>
                <a:cxn ang="0">
                  <a:pos x="connsiteX0" y="connsiteY0"/>
                </a:cxn>
                <a:cxn ang="0">
                  <a:pos x="connsiteX1" y="connsiteY1"/>
                </a:cxn>
                <a:cxn ang="0">
                  <a:pos x="connsiteX2" y="connsiteY2"/>
                </a:cxn>
                <a:cxn ang="0">
                  <a:pos x="connsiteX3" y="connsiteY3"/>
                </a:cxn>
              </a:cxnLst>
              <a:rect l="l" t="t" r="r" b="b"/>
              <a:pathLst>
                <a:path w="26374" h="18587">
                  <a:moveTo>
                    <a:pt x="0" y="0"/>
                  </a:moveTo>
                  <a:lnTo>
                    <a:pt x="3265" y="5275"/>
                  </a:lnTo>
                  <a:lnTo>
                    <a:pt x="26375" y="18588"/>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 name="Freeform: Shape 346">
              <a:extLst>
                <a:ext uri="{FF2B5EF4-FFF2-40B4-BE49-F238E27FC236}">
                  <a16:creationId xmlns:a16="http://schemas.microsoft.com/office/drawing/2014/main" id="{0A342834-CA2E-4D1F-AD9B-FC79668E6AEB}"/>
                </a:ext>
              </a:extLst>
            </p:cNvPr>
            <p:cNvSpPr/>
            <p:nvPr/>
          </p:nvSpPr>
          <p:spPr>
            <a:xfrm>
              <a:off x="690900" y="2580446"/>
              <a:ext cx="26374" cy="18713"/>
            </a:xfrm>
            <a:custGeom>
              <a:avLst/>
              <a:gdLst>
                <a:gd name="connsiteX0" fmla="*/ 0 w 26374"/>
                <a:gd name="connsiteY0" fmla="*/ 0 h 18713"/>
                <a:gd name="connsiteX1" fmla="*/ 3265 w 26374"/>
                <a:gd name="connsiteY1" fmla="*/ 5401 h 18713"/>
                <a:gd name="connsiteX2" fmla="*/ 26375 w 26374"/>
                <a:gd name="connsiteY2" fmla="*/ 18714 h 18713"/>
                <a:gd name="connsiteX3" fmla="*/ 26375 w 26374"/>
                <a:gd name="connsiteY3" fmla="*/ 15197 h 18713"/>
              </a:gdLst>
              <a:ahLst/>
              <a:cxnLst>
                <a:cxn ang="0">
                  <a:pos x="connsiteX0" y="connsiteY0"/>
                </a:cxn>
                <a:cxn ang="0">
                  <a:pos x="connsiteX1" y="connsiteY1"/>
                </a:cxn>
                <a:cxn ang="0">
                  <a:pos x="connsiteX2" y="connsiteY2"/>
                </a:cxn>
                <a:cxn ang="0">
                  <a:pos x="connsiteX3" y="connsiteY3"/>
                </a:cxn>
              </a:cxnLst>
              <a:rect l="l" t="t" r="r" b="b"/>
              <a:pathLst>
                <a:path w="26374" h="18713">
                  <a:moveTo>
                    <a:pt x="0" y="0"/>
                  </a:moveTo>
                  <a:lnTo>
                    <a:pt x="3265" y="5401"/>
                  </a:lnTo>
                  <a:lnTo>
                    <a:pt x="26375" y="18714"/>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 name="Freeform: Shape 347">
              <a:extLst>
                <a:ext uri="{FF2B5EF4-FFF2-40B4-BE49-F238E27FC236}">
                  <a16:creationId xmlns:a16="http://schemas.microsoft.com/office/drawing/2014/main" id="{8FAB90C2-8ACF-4E48-A7CB-88652AFA66A1}"/>
                </a:ext>
              </a:extLst>
            </p:cNvPr>
            <p:cNvSpPr/>
            <p:nvPr/>
          </p:nvSpPr>
          <p:spPr>
            <a:xfrm>
              <a:off x="1119932" y="2640983"/>
              <a:ext cx="90698" cy="136898"/>
            </a:xfrm>
            <a:custGeom>
              <a:avLst/>
              <a:gdLst>
                <a:gd name="connsiteX0" fmla="*/ 62672 w 90698"/>
                <a:gd name="connsiteY0" fmla="*/ 136898 h 136898"/>
                <a:gd name="connsiteX1" fmla="*/ 0 w 90698"/>
                <a:gd name="connsiteY1" fmla="*/ 100727 h 136898"/>
                <a:gd name="connsiteX2" fmla="*/ 0 w 90698"/>
                <a:gd name="connsiteY2" fmla="*/ 0 h 136898"/>
                <a:gd name="connsiteX3" fmla="*/ 81385 w 90698"/>
                <a:gd name="connsiteY3" fmla="*/ 46972 h 136898"/>
                <a:gd name="connsiteX4" fmla="*/ 89926 w 90698"/>
                <a:gd name="connsiteY4" fmla="*/ 60034 h 136898"/>
                <a:gd name="connsiteX5" fmla="*/ 90679 w 90698"/>
                <a:gd name="connsiteY5" fmla="*/ 64932 h 136898"/>
                <a:gd name="connsiteX6" fmla="*/ 89675 w 90698"/>
                <a:gd name="connsiteY6" fmla="*/ 65812 h 136898"/>
                <a:gd name="connsiteX7" fmla="*/ 85907 w 90698"/>
                <a:gd name="connsiteY7" fmla="*/ 63677 h 136898"/>
                <a:gd name="connsiteX8" fmla="*/ 85907 w 90698"/>
                <a:gd name="connsiteY8" fmla="*/ 63677 h 136898"/>
                <a:gd name="connsiteX9" fmla="*/ 82767 w 90698"/>
                <a:gd name="connsiteY9" fmla="*/ 65937 h 136898"/>
                <a:gd name="connsiteX10" fmla="*/ 82767 w 90698"/>
                <a:gd name="connsiteY10" fmla="*/ 117682 h 136898"/>
                <a:gd name="connsiteX11" fmla="*/ 85907 w 90698"/>
                <a:gd name="connsiteY11" fmla="*/ 123585 h 136898"/>
                <a:gd name="connsiteX12" fmla="*/ 85907 w 90698"/>
                <a:gd name="connsiteY12" fmla="*/ 123585 h 136898"/>
                <a:gd name="connsiteX13" fmla="*/ 62672 w 90698"/>
                <a:gd name="connsiteY13" fmla="*/ 136898 h 136898"/>
                <a:gd name="connsiteX14" fmla="*/ 72468 w 90698"/>
                <a:gd name="connsiteY14" fmla="*/ 61039 h 136898"/>
                <a:gd name="connsiteX15" fmla="*/ 39688 w 90698"/>
                <a:gd name="connsiteY15" fmla="*/ 42200 h 136898"/>
                <a:gd name="connsiteX16" fmla="*/ 37176 w 90698"/>
                <a:gd name="connsiteY16" fmla="*/ 44084 h 136898"/>
                <a:gd name="connsiteX17" fmla="*/ 37176 w 90698"/>
                <a:gd name="connsiteY17" fmla="*/ 81009 h 136898"/>
                <a:gd name="connsiteX18" fmla="*/ 39688 w 90698"/>
                <a:gd name="connsiteY18" fmla="*/ 85907 h 136898"/>
                <a:gd name="connsiteX19" fmla="*/ 72468 w 90698"/>
                <a:gd name="connsiteY19" fmla="*/ 104746 h 136898"/>
                <a:gd name="connsiteX20" fmla="*/ 74980 w 90698"/>
                <a:gd name="connsiteY20" fmla="*/ 102862 h 136898"/>
                <a:gd name="connsiteX21" fmla="*/ 74980 w 90698"/>
                <a:gd name="connsiteY21" fmla="*/ 65937 h 136898"/>
                <a:gd name="connsiteX22" fmla="*/ 72468 w 90698"/>
                <a:gd name="connsiteY22" fmla="*/ 61039 h 13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698" h="136898">
                  <a:moveTo>
                    <a:pt x="62672" y="136898"/>
                  </a:moveTo>
                  <a:lnTo>
                    <a:pt x="0" y="100727"/>
                  </a:lnTo>
                  <a:lnTo>
                    <a:pt x="0" y="0"/>
                  </a:lnTo>
                  <a:lnTo>
                    <a:pt x="81385" y="46972"/>
                  </a:lnTo>
                  <a:cubicBezTo>
                    <a:pt x="85530" y="49359"/>
                    <a:pt x="89172" y="54885"/>
                    <a:pt x="89926" y="60034"/>
                  </a:cubicBezTo>
                  <a:lnTo>
                    <a:pt x="90679" y="64932"/>
                  </a:lnTo>
                  <a:cubicBezTo>
                    <a:pt x="90805" y="65686"/>
                    <a:pt x="90303" y="66188"/>
                    <a:pt x="89675" y="65812"/>
                  </a:cubicBezTo>
                  <a:lnTo>
                    <a:pt x="85907" y="63677"/>
                  </a:lnTo>
                  <a:lnTo>
                    <a:pt x="85907" y="63677"/>
                  </a:lnTo>
                  <a:cubicBezTo>
                    <a:pt x="84149" y="62923"/>
                    <a:pt x="82767" y="63802"/>
                    <a:pt x="82767" y="65937"/>
                  </a:cubicBezTo>
                  <a:lnTo>
                    <a:pt x="82767" y="117682"/>
                  </a:lnTo>
                  <a:cubicBezTo>
                    <a:pt x="82767" y="119817"/>
                    <a:pt x="84149" y="122329"/>
                    <a:pt x="85907" y="123585"/>
                  </a:cubicBezTo>
                  <a:lnTo>
                    <a:pt x="85907" y="123585"/>
                  </a:lnTo>
                  <a:lnTo>
                    <a:pt x="62672" y="136898"/>
                  </a:lnTo>
                  <a:close/>
                  <a:moveTo>
                    <a:pt x="72468" y="61039"/>
                  </a:moveTo>
                  <a:lnTo>
                    <a:pt x="39688" y="42200"/>
                  </a:lnTo>
                  <a:cubicBezTo>
                    <a:pt x="38306" y="41446"/>
                    <a:pt x="37176" y="42200"/>
                    <a:pt x="37176" y="44084"/>
                  </a:cubicBezTo>
                  <a:lnTo>
                    <a:pt x="37176" y="81009"/>
                  </a:lnTo>
                  <a:cubicBezTo>
                    <a:pt x="37176" y="82893"/>
                    <a:pt x="38306" y="85028"/>
                    <a:pt x="39688" y="85907"/>
                  </a:cubicBezTo>
                  <a:lnTo>
                    <a:pt x="72468" y="104746"/>
                  </a:lnTo>
                  <a:cubicBezTo>
                    <a:pt x="73850" y="105500"/>
                    <a:pt x="74980" y="104746"/>
                    <a:pt x="74980" y="102862"/>
                  </a:cubicBezTo>
                  <a:lnTo>
                    <a:pt x="74980" y="65937"/>
                  </a:lnTo>
                  <a:cubicBezTo>
                    <a:pt x="75106" y="64053"/>
                    <a:pt x="73975" y="61918"/>
                    <a:pt x="72468" y="61039"/>
                  </a:cubicBez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 name="Freeform: Shape 348">
              <a:extLst>
                <a:ext uri="{FF2B5EF4-FFF2-40B4-BE49-F238E27FC236}">
                  <a16:creationId xmlns:a16="http://schemas.microsoft.com/office/drawing/2014/main" id="{346E2434-058C-4D0D-9760-86ECD01629B4}"/>
                </a:ext>
              </a:extLst>
            </p:cNvPr>
            <p:cNvSpPr/>
            <p:nvPr/>
          </p:nvSpPr>
          <p:spPr>
            <a:xfrm>
              <a:off x="1036035" y="2738318"/>
              <a:ext cx="163273" cy="94321"/>
            </a:xfrm>
            <a:custGeom>
              <a:avLst/>
              <a:gdLst>
                <a:gd name="connsiteX0" fmla="*/ 85781 w 163273"/>
                <a:gd name="connsiteY0" fmla="*/ 94322 h 94321"/>
                <a:gd name="connsiteX1" fmla="*/ 163273 w 163273"/>
                <a:gd name="connsiteY1" fmla="*/ 49610 h 94321"/>
                <a:gd name="connsiteX2" fmla="*/ 146569 w 163273"/>
                <a:gd name="connsiteY2" fmla="*/ 39562 h 94321"/>
                <a:gd name="connsiteX3" fmla="*/ 77994 w 163273"/>
                <a:gd name="connsiteY3" fmla="*/ 0 h 94321"/>
                <a:gd name="connsiteX4" fmla="*/ 0 w 163273"/>
                <a:gd name="connsiteY4" fmla="*/ 45089 h 94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273" h="94321">
                  <a:moveTo>
                    <a:pt x="85781" y="94322"/>
                  </a:moveTo>
                  <a:lnTo>
                    <a:pt x="163273" y="49610"/>
                  </a:lnTo>
                  <a:lnTo>
                    <a:pt x="146569" y="39562"/>
                  </a:lnTo>
                  <a:lnTo>
                    <a:pt x="77994" y="0"/>
                  </a:lnTo>
                  <a:lnTo>
                    <a:pt x="0" y="4508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 name="Freeform: Shape 349">
              <a:extLst>
                <a:ext uri="{FF2B5EF4-FFF2-40B4-BE49-F238E27FC236}">
                  <a16:creationId xmlns:a16="http://schemas.microsoft.com/office/drawing/2014/main" id="{E1E149D6-844F-4150-802B-DA62E8C7EE04}"/>
                </a:ext>
              </a:extLst>
            </p:cNvPr>
            <p:cNvSpPr/>
            <p:nvPr/>
          </p:nvSpPr>
          <p:spPr>
            <a:xfrm>
              <a:off x="1033020" y="2646509"/>
              <a:ext cx="81008" cy="136898"/>
            </a:xfrm>
            <a:custGeom>
              <a:avLst/>
              <a:gdLst>
                <a:gd name="connsiteX0" fmla="*/ 0 w 81008"/>
                <a:gd name="connsiteY0" fmla="*/ 46721 h 136898"/>
                <a:gd name="connsiteX1" fmla="*/ 0 w 81008"/>
                <a:gd name="connsiteY1" fmla="*/ 133005 h 136898"/>
                <a:gd name="connsiteX2" fmla="*/ 3014 w 81008"/>
                <a:gd name="connsiteY2" fmla="*/ 136898 h 136898"/>
                <a:gd name="connsiteX3" fmla="*/ 81009 w 81008"/>
                <a:gd name="connsiteY3" fmla="*/ 91810 h 136898"/>
                <a:gd name="connsiteX4" fmla="*/ 81009 w 81008"/>
                <a:gd name="connsiteY4" fmla="*/ 0 h 13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08" h="136898">
                  <a:moveTo>
                    <a:pt x="0" y="46721"/>
                  </a:moveTo>
                  <a:lnTo>
                    <a:pt x="0" y="133005"/>
                  </a:lnTo>
                  <a:lnTo>
                    <a:pt x="3014" y="136898"/>
                  </a:lnTo>
                  <a:lnTo>
                    <a:pt x="81009" y="91810"/>
                  </a:lnTo>
                  <a:lnTo>
                    <a:pt x="81009" y="0"/>
                  </a:ln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 name="Freeform: Shape 350">
              <a:extLst>
                <a:ext uri="{FF2B5EF4-FFF2-40B4-BE49-F238E27FC236}">
                  <a16:creationId xmlns:a16="http://schemas.microsoft.com/office/drawing/2014/main" id="{6CE7B4FE-A041-48E7-956B-7B0DCB5AF86A}"/>
                </a:ext>
              </a:extLst>
            </p:cNvPr>
            <p:cNvSpPr/>
            <p:nvPr/>
          </p:nvSpPr>
          <p:spPr>
            <a:xfrm>
              <a:off x="1021089" y="2740705"/>
              <a:ext cx="193667" cy="111748"/>
            </a:xfrm>
            <a:custGeom>
              <a:avLst/>
              <a:gdLst>
                <a:gd name="connsiteX0" fmla="*/ 190653 w 193667"/>
                <a:gd name="connsiteY0" fmla="*/ 56392 h 111748"/>
                <a:gd name="connsiteX1" fmla="*/ 93066 w 193667"/>
                <a:gd name="connsiteY1" fmla="*/ 0 h 111748"/>
                <a:gd name="connsiteX2" fmla="*/ 0 w 193667"/>
                <a:gd name="connsiteY2" fmla="*/ 53755 h 111748"/>
                <a:gd name="connsiteX3" fmla="*/ 16453 w 193667"/>
                <a:gd name="connsiteY3" fmla="*/ 63300 h 111748"/>
                <a:gd name="connsiteX4" fmla="*/ 21602 w 193667"/>
                <a:gd name="connsiteY4" fmla="*/ 60411 h 111748"/>
                <a:gd name="connsiteX5" fmla="*/ 47349 w 193667"/>
                <a:gd name="connsiteY5" fmla="*/ 75231 h 111748"/>
                <a:gd name="connsiteX6" fmla="*/ 42325 w 193667"/>
                <a:gd name="connsiteY6" fmla="*/ 78120 h 111748"/>
                <a:gd name="connsiteX7" fmla="*/ 97713 w 193667"/>
                <a:gd name="connsiteY7" fmla="*/ 110147 h 111748"/>
                <a:gd name="connsiteX8" fmla="*/ 111151 w 193667"/>
                <a:gd name="connsiteY8" fmla="*/ 110147 h 111748"/>
                <a:gd name="connsiteX9" fmla="*/ 111277 w 193667"/>
                <a:gd name="connsiteY9" fmla="*/ 110147 h 111748"/>
                <a:gd name="connsiteX10" fmla="*/ 110272 w 193667"/>
                <a:gd name="connsiteY10" fmla="*/ 109519 h 111748"/>
                <a:gd name="connsiteX11" fmla="*/ 110900 w 193667"/>
                <a:gd name="connsiteY11" fmla="*/ 109142 h 111748"/>
                <a:gd name="connsiteX12" fmla="*/ 189774 w 193667"/>
                <a:gd name="connsiteY12" fmla="*/ 63677 h 111748"/>
                <a:gd name="connsiteX13" fmla="*/ 190779 w 193667"/>
                <a:gd name="connsiteY13" fmla="*/ 64305 h 111748"/>
                <a:gd name="connsiteX14" fmla="*/ 190904 w 193667"/>
                <a:gd name="connsiteY14" fmla="*/ 64305 h 111748"/>
                <a:gd name="connsiteX15" fmla="*/ 193667 w 193667"/>
                <a:gd name="connsiteY15" fmla="*/ 60411 h 111748"/>
                <a:gd name="connsiteX16" fmla="*/ 190653 w 193667"/>
                <a:gd name="connsiteY16" fmla="*/ 56392 h 111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3667" h="111748">
                  <a:moveTo>
                    <a:pt x="190653" y="56392"/>
                  </a:moveTo>
                  <a:lnTo>
                    <a:pt x="93066" y="0"/>
                  </a:lnTo>
                  <a:lnTo>
                    <a:pt x="0" y="53755"/>
                  </a:lnTo>
                  <a:lnTo>
                    <a:pt x="16453" y="63300"/>
                  </a:lnTo>
                  <a:lnTo>
                    <a:pt x="21602" y="60411"/>
                  </a:lnTo>
                  <a:lnTo>
                    <a:pt x="47349" y="75231"/>
                  </a:lnTo>
                  <a:lnTo>
                    <a:pt x="42325" y="78120"/>
                  </a:lnTo>
                  <a:lnTo>
                    <a:pt x="97713" y="110147"/>
                  </a:lnTo>
                  <a:cubicBezTo>
                    <a:pt x="101355" y="112282"/>
                    <a:pt x="107384" y="112282"/>
                    <a:pt x="111151" y="110147"/>
                  </a:cubicBezTo>
                  <a:lnTo>
                    <a:pt x="111277" y="110147"/>
                  </a:lnTo>
                  <a:lnTo>
                    <a:pt x="110272" y="109519"/>
                  </a:lnTo>
                  <a:lnTo>
                    <a:pt x="110900" y="109142"/>
                  </a:lnTo>
                  <a:lnTo>
                    <a:pt x="189774" y="63677"/>
                  </a:lnTo>
                  <a:lnTo>
                    <a:pt x="190779" y="64305"/>
                  </a:lnTo>
                  <a:lnTo>
                    <a:pt x="190904" y="64305"/>
                  </a:lnTo>
                  <a:cubicBezTo>
                    <a:pt x="192788" y="63300"/>
                    <a:pt x="193667" y="61793"/>
                    <a:pt x="193667" y="60411"/>
                  </a:cubicBezTo>
                  <a:cubicBezTo>
                    <a:pt x="193416" y="58904"/>
                    <a:pt x="192411" y="57397"/>
                    <a:pt x="190653" y="56392"/>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 name="Freeform: Shape 351">
              <a:extLst>
                <a:ext uri="{FF2B5EF4-FFF2-40B4-BE49-F238E27FC236}">
                  <a16:creationId xmlns:a16="http://schemas.microsoft.com/office/drawing/2014/main" id="{34CB37B5-D50A-4F88-A006-66A9E19AD1DA}"/>
                </a:ext>
              </a:extLst>
            </p:cNvPr>
            <p:cNvSpPr/>
            <p:nvPr/>
          </p:nvSpPr>
          <p:spPr>
            <a:xfrm>
              <a:off x="1069443" y="2741333"/>
              <a:ext cx="74728" cy="53126"/>
            </a:xfrm>
            <a:custGeom>
              <a:avLst/>
              <a:gdLst>
                <a:gd name="connsiteX0" fmla="*/ 74729 w 74728"/>
                <a:gd name="connsiteY0" fmla="*/ 9922 h 53126"/>
                <a:gd name="connsiteX1" fmla="*/ 0 w 74728"/>
                <a:gd name="connsiteY1" fmla="*/ 53127 h 53126"/>
                <a:gd name="connsiteX2" fmla="*/ 0 w 74728"/>
                <a:gd name="connsiteY2" fmla="*/ 43079 h 53126"/>
                <a:gd name="connsiteX3" fmla="*/ 74729 w 74728"/>
                <a:gd name="connsiteY3" fmla="*/ 0 h 53126"/>
              </a:gdLst>
              <a:ahLst/>
              <a:cxnLst>
                <a:cxn ang="0">
                  <a:pos x="connsiteX0" y="connsiteY0"/>
                </a:cxn>
                <a:cxn ang="0">
                  <a:pos x="connsiteX1" y="connsiteY1"/>
                </a:cxn>
                <a:cxn ang="0">
                  <a:pos x="connsiteX2" y="connsiteY2"/>
                </a:cxn>
                <a:cxn ang="0">
                  <a:pos x="connsiteX3" y="connsiteY3"/>
                </a:cxn>
              </a:cxnLst>
              <a:rect l="l" t="t" r="r" b="b"/>
              <a:pathLst>
                <a:path w="74728" h="53126">
                  <a:moveTo>
                    <a:pt x="74729" y="9922"/>
                  </a:moveTo>
                  <a:lnTo>
                    <a:pt x="0" y="53127"/>
                  </a:lnTo>
                  <a:lnTo>
                    <a:pt x="0" y="43079"/>
                  </a:lnTo>
                  <a:lnTo>
                    <a:pt x="74729" y="0"/>
                  </a:ln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 name="Freeform: Shape 352">
              <a:extLst>
                <a:ext uri="{FF2B5EF4-FFF2-40B4-BE49-F238E27FC236}">
                  <a16:creationId xmlns:a16="http://schemas.microsoft.com/office/drawing/2014/main" id="{FF2162A7-6717-4BE3-ACDD-50480D416D97}"/>
                </a:ext>
              </a:extLst>
            </p:cNvPr>
            <p:cNvSpPr/>
            <p:nvPr/>
          </p:nvSpPr>
          <p:spPr>
            <a:xfrm>
              <a:off x="1037039" y="2722619"/>
              <a:ext cx="107132" cy="61792"/>
            </a:xfrm>
            <a:custGeom>
              <a:avLst/>
              <a:gdLst>
                <a:gd name="connsiteX0" fmla="*/ 107132 w 107132"/>
                <a:gd name="connsiteY0" fmla="*/ 18714 h 61792"/>
                <a:gd name="connsiteX1" fmla="*/ 32403 w 107132"/>
                <a:gd name="connsiteY1" fmla="*/ 61793 h 61792"/>
                <a:gd name="connsiteX2" fmla="*/ 0 w 107132"/>
                <a:gd name="connsiteY2" fmla="*/ 43079 h 61792"/>
                <a:gd name="connsiteX3" fmla="*/ 74729 w 107132"/>
                <a:gd name="connsiteY3" fmla="*/ 0 h 61792"/>
              </a:gdLst>
              <a:ahLst/>
              <a:cxnLst>
                <a:cxn ang="0">
                  <a:pos x="connsiteX0" y="connsiteY0"/>
                </a:cxn>
                <a:cxn ang="0">
                  <a:pos x="connsiteX1" y="connsiteY1"/>
                </a:cxn>
                <a:cxn ang="0">
                  <a:pos x="connsiteX2" y="connsiteY2"/>
                </a:cxn>
                <a:cxn ang="0">
                  <a:pos x="connsiteX3" y="connsiteY3"/>
                </a:cxn>
              </a:cxnLst>
              <a:rect l="l" t="t" r="r" b="b"/>
              <a:pathLst>
                <a:path w="107132" h="61792">
                  <a:moveTo>
                    <a:pt x="107132" y="18714"/>
                  </a:moveTo>
                  <a:lnTo>
                    <a:pt x="32403" y="61793"/>
                  </a:lnTo>
                  <a:lnTo>
                    <a:pt x="0" y="43079"/>
                  </a:lnTo>
                  <a:lnTo>
                    <a:pt x="74729" y="0"/>
                  </a:lnTo>
                  <a:close/>
                </a:path>
              </a:pathLst>
            </a:custGeom>
            <a:solidFill>
              <a:srgbClr val="33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54" name="Graphic 4">
              <a:extLst>
                <a:ext uri="{FF2B5EF4-FFF2-40B4-BE49-F238E27FC236}">
                  <a16:creationId xmlns:a16="http://schemas.microsoft.com/office/drawing/2014/main" id="{84FB7ED1-A2DF-40A1-A747-5F7CF3F14040}"/>
                </a:ext>
              </a:extLst>
            </p:cNvPr>
            <p:cNvGrpSpPr/>
            <p:nvPr/>
          </p:nvGrpSpPr>
          <p:grpSpPr>
            <a:xfrm>
              <a:off x="1069443" y="2751255"/>
              <a:ext cx="109644" cy="87539"/>
              <a:chOff x="1069443" y="2751255"/>
              <a:chExt cx="109644" cy="87539"/>
            </a:xfrm>
            <a:solidFill>
              <a:schemeClr val="accent1"/>
            </a:solidFill>
          </p:grpSpPr>
          <p:sp>
            <p:nvSpPr>
              <p:cNvPr id="355" name="Freeform: Shape 354">
                <a:extLst>
                  <a:ext uri="{FF2B5EF4-FFF2-40B4-BE49-F238E27FC236}">
                    <a16:creationId xmlns:a16="http://schemas.microsoft.com/office/drawing/2014/main" id="{3AE8D0A4-CCB0-4FD0-9C52-1B38D253403D}"/>
                  </a:ext>
                </a:extLst>
              </p:cNvPr>
              <p:cNvSpPr/>
              <p:nvPr/>
            </p:nvSpPr>
            <p:spPr>
              <a:xfrm>
                <a:off x="1086649" y="2761177"/>
                <a:ext cx="92437" cy="77617"/>
              </a:xfrm>
              <a:custGeom>
                <a:avLst/>
                <a:gdLst>
                  <a:gd name="connsiteX0" fmla="*/ 74729 w 92437"/>
                  <a:gd name="connsiteY0" fmla="*/ 0 h 77617"/>
                  <a:gd name="connsiteX1" fmla="*/ 0 w 92437"/>
                  <a:gd name="connsiteY1" fmla="*/ 43205 h 77617"/>
                  <a:gd name="connsiteX2" fmla="*/ 17709 w 92437"/>
                  <a:gd name="connsiteY2" fmla="*/ 73975 h 77617"/>
                  <a:gd name="connsiteX3" fmla="*/ 17709 w 92437"/>
                  <a:gd name="connsiteY3" fmla="*/ 77617 h 77617"/>
                  <a:gd name="connsiteX4" fmla="*/ 92438 w 92437"/>
                  <a:gd name="connsiteY4" fmla="*/ 34413 h 77617"/>
                  <a:gd name="connsiteX5" fmla="*/ 92438 w 92437"/>
                  <a:gd name="connsiteY5" fmla="*/ 30771 h 77617"/>
                  <a:gd name="connsiteX6" fmla="*/ 74729 w 92437"/>
                  <a:gd name="connsiteY6" fmla="*/ 0 h 7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437" h="77617">
                    <a:moveTo>
                      <a:pt x="74729" y="0"/>
                    </a:moveTo>
                    <a:lnTo>
                      <a:pt x="0" y="43205"/>
                    </a:lnTo>
                    <a:cubicBezTo>
                      <a:pt x="9796" y="48856"/>
                      <a:pt x="17709" y="62672"/>
                      <a:pt x="17709" y="73975"/>
                    </a:cubicBezTo>
                    <a:lnTo>
                      <a:pt x="17709" y="77617"/>
                    </a:lnTo>
                    <a:lnTo>
                      <a:pt x="92438" y="34413"/>
                    </a:lnTo>
                    <a:lnTo>
                      <a:pt x="92438" y="30771"/>
                    </a:lnTo>
                    <a:cubicBezTo>
                      <a:pt x="92438" y="19467"/>
                      <a:pt x="84525" y="5652"/>
                      <a:pt x="74729" y="0"/>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 name="Freeform: Shape 355">
                <a:extLst>
                  <a:ext uri="{FF2B5EF4-FFF2-40B4-BE49-F238E27FC236}">
                    <a16:creationId xmlns:a16="http://schemas.microsoft.com/office/drawing/2014/main" id="{697A02FE-F58E-4209-8E67-6E4B76E1D17C}"/>
                  </a:ext>
                </a:extLst>
              </p:cNvPr>
              <p:cNvSpPr/>
              <p:nvPr/>
            </p:nvSpPr>
            <p:spPr>
              <a:xfrm>
                <a:off x="1069443" y="2751255"/>
                <a:ext cx="91935" cy="53126"/>
              </a:xfrm>
              <a:custGeom>
                <a:avLst/>
                <a:gdLst>
                  <a:gd name="connsiteX0" fmla="*/ 74729 w 91935"/>
                  <a:gd name="connsiteY0" fmla="*/ 0 h 53126"/>
                  <a:gd name="connsiteX1" fmla="*/ 0 w 91935"/>
                  <a:gd name="connsiteY1" fmla="*/ 43205 h 53126"/>
                  <a:gd name="connsiteX2" fmla="*/ 17207 w 91935"/>
                  <a:gd name="connsiteY2" fmla="*/ 53127 h 53126"/>
                  <a:gd name="connsiteX3" fmla="*/ 91935 w 91935"/>
                  <a:gd name="connsiteY3" fmla="*/ 9922 h 53126"/>
                </a:gdLst>
                <a:ahLst/>
                <a:cxnLst>
                  <a:cxn ang="0">
                    <a:pos x="connsiteX0" y="connsiteY0"/>
                  </a:cxn>
                  <a:cxn ang="0">
                    <a:pos x="connsiteX1" y="connsiteY1"/>
                  </a:cxn>
                  <a:cxn ang="0">
                    <a:pos x="connsiteX2" y="connsiteY2"/>
                  </a:cxn>
                  <a:cxn ang="0">
                    <a:pos x="connsiteX3" y="connsiteY3"/>
                  </a:cxn>
                </a:cxnLst>
                <a:rect l="l" t="t" r="r" b="b"/>
                <a:pathLst>
                  <a:path w="91935" h="53126">
                    <a:moveTo>
                      <a:pt x="74729" y="0"/>
                    </a:moveTo>
                    <a:lnTo>
                      <a:pt x="0" y="43205"/>
                    </a:lnTo>
                    <a:lnTo>
                      <a:pt x="17207" y="53127"/>
                    </a:lnTo>
                    <a:lnTo>
                      <a:pt x="91935" y="9922"/>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57" name="Graphic 4">
              <a:extLst>
                <a:ext uri="{FF2B5EF4-FFF2-40B4-BE49-F238E27FC236}">
                  <a16:creationId xmlns:a16="http://schemas.microsoft.com/office/drawing/2014/main" id="{84FB7ED1-A2DF-40A1-A747-5F7CF3F14040}"/>
                </a:ext>
              </a:extLst>
            </p:cNvPr>
            <p:cNvGrpSpPr/>
            <p:nvPr/>
          </p:nvGrpSpPr>
          <p:grpSpPr>
            <a:xfrm>
              <a:off x="1120560" y="2749120"/>
              <a:ext cx="48605" cy="35467"/>
              <a:chOff x="1120560" y="2749120"/>
              <a:chExt cx="48605" cy="35467"/>
            </a:xfrm>
            <a:solidFill>
              <a:schemeClr val="accent1"/>
            </a:solidFill>
          </p:grpSpPr>
          <p:sp>
            <p:nvSpPr>
              <p:cNvPr id="358" name="Freeform: Shape 357">
                <a:extLst>
                  <a:ext uri="{FF2B5EF4-FFF2-40B4-BE49-F238E27FC236}">
                    <a16:creationId xmlns:a16="http://schemas.microsoft.com/office/drawing/2014/main" id="{D97F925C-5D7F-4E84-892A-362601711B8B}"/>
                  </a:ext>
                </a:extLst>
              </p:cNvPr>
              <p:cNvSpPr/>
              <p:nvPr/>
            </p:nvSpPr>
            <p:spPr>
              <a:xfrm>
                <a:off x="1120560" y="2760800"/>
                <a:ext cx="28258" cy="23786"/>
              </a:xfrm>
              <a:custGeom>
                <a:avLst/>
                <a:gdLst>
                  <a:gd name="connsiteX0" fmla="*/ 2763 w 28258"/>
                  <a:gd name="connsiteY0" fmla="*/ 10048 h 23786"/>
                  <a:gd name="connsiteX1" fmla="*/ 25998 w 28258"/>
                  <a:gd name="connsiteY1" fmla="*/ 23486 h 23786"/>
                  <a:gd name="connsiteX2" fmla="*/ 27631 w 28258"/>
                  <a:gd name="connsiteY2" fmla="*/ 23612 h 23786"/>
                  <a:gd name="connsiteX3" fmla="*/ 28259 w 28258"/>
                  <a:gd name="connsiteY3" fmla="*/ 22105 h 23786"/>
                  <a:gd name="connsiteX4" fmla="*/ 28259 w 28258"/>
                  <a:gd name="connsiteY4" fmla="*/ 19844 h 23786"/>
                  <a:gd name="connsiteX5" fmla="*/ 24993 w 28258"/>
                  <a:gd name="connsiteY5" fmla="*/ 13187 h 23786"/>
                  <a:gd name="connsiteX6" fmla="*/ 13439 w 28258"/>
                  <a:gd name="connsiteY6" fmla="*/ 5903 h 23786"/>
                  <a:gd name="connsiteX7" fmla="*/ 0 w 28258"/>
                  <a:gd name="connsiteY7" fmla="*/ 0 h 23786"/>
                  <a:gd name="connsiteX8" fmla="*/ 2763 w 28258"/>
                  <a:gd name="connsiteY8" fmla="*/ 10048 h 23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58" h="23786">
                    <a:moveTo>
                      <a:pt x="2763" y="10048"/>
                    </a:moveTo>
                    <a:lnTo>
                      <a:pt x="25998" y="23486"/>
                    </a:lnTo>
                    <a:cubicBezTo>
                      <a:pt x="26626" y="23863"/>
                      <a:pt x="27254" y="23863"/>
                      <a:pt x="27631" y="23612"/>
                    </a:cubicBezTo>
                    <a:cubicBezTo>
                      <a:pt x="28008" y="23361"/>
                      <a:pt x="28259" y="22858"/>
                      <a:pt x="28259" y="22105"/>
                    </a:cubicBezTo>
                    <a:lnTo>
                      <a:pt x="28259" y="19844"/>
                    </a:lnTo>
                    <a:cubicBezTo>
                      <a:pt x="28259" y="17583"/>
                      <a:pt x="26877" y="14820"/>
                      <a:pt x="24993" y="13187"/>
                    </a:cubicBezTo>
                    <a:cubicBezTo>
                      <a:pt x="21100" y="9796"/>
                      <a:pt x="17332" y="7536"/>
                      <a:pt x="13439" y="5903"/>
                    </a:cubicBezTo>
                    <a:cubicBezTo>
                      <a:pt x="9294" y="4270"/>
                      <a:pt x="4270" y="2386"/>
                      <a:pt x="0" y="0"/>
                    </a:cubicBezTo>
                    <a:lnTo>
                      <a:pt x="2763" y="1004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 name="Freeform: Shape 358">
                <a:extLst>
                  <a:ext uri="{FF2B5EF4-FFF2-40B4-BE49-F238E27FC236}">
                    <a16:creationId xmlns:a16="http://schemas.microsoft.com/office/drawing/2014/main" id="{13464EA0-785F-49EE-B63E-82098DE4BC28}"/>
                  </a:ext>
                </a:extLst>
              </p:cNvPr>
              <p:cNvSpPr/>
              <p:nvPr/>
            </p:nvSpPr>
            <p:spPr>
              <a:xfrm>
                <a:off x="1120685" y="2749120"/>
                <a:ext cx="48479" cy="35292"/>
              </a:xfrm>
              <a:custGeom>
                <a:avLst/>
                <a:gdLst>
                  <a:gd name="connsiteX0" fmla="*/ 28259 w 48479"/>
                  <a:gd name="connsiteY0" fmla="*/ 33785 h 35292"/>
                  <a:gd name="connsiteX1" fmla="*/ 28259 w 48479"/>
                  <a:gd name="connsiteY1" fmla="*/ 31524 h 35292"/>
                  <a:gd name="connsiteX2" fmla="*/ 24993 w 48479"/>
                  <a:gd name="connsiteY2" fmla="*/ 24868 h 35292"/>
                  <a:gd name="connsiteX3" fmla="*/ 13439 w 48479"/>
                  <a:gd name="connsiteY3" fmla="*/ 17583 h 35292"/>
                  <a:gd name="connsiteX4" fmla="*/ 0 w 48479"/>
                  <a:gd name="connsiteY4" fmla="*/ 11680 h 35292"/>
                  <a:gd name="connsiteX5" fmla="*/ 20221 w 48479"/>
                  <a:gd name="connsiteY5" fmla="*/ 0 h 35292"/>
                  <a:gd name="connsiteX6" fmla="*/ 33659 w 48479"/>
                  <a:gd name="connsiteY6" fmla="*/ 5903 h 35292"/>
                  <a:gd name="connsiteX7" fmla="*/ 45214 w 48479"/>
                  <a:gd name="connsiteY7" fmla="*/ 13187 h 35292"/>
                  <a:gd name="connsiteX8" fmla="*/ 48480 w 48479"/>
                  <a:gd name="connsiteY8" fmla="*/ 19844 h 35292"/>
                  <a:gd name="connsiteX9" fmla="*/ 48480 w 48479"/>
                  <a:gd name="connsiteY9" fmla="*/ 22105 h 35292"/>
                  <a:gd name="connsiteX10" fmla="*/ 47852 w 48479"/>
                  <a:gd name="connsiteY10" fmla="*/ 23612 h 35292"/>
                  <a:gd name="connsiteX11" fmla="*/ 27631 w 48479"/>
                  <a:gd name="connsiteY11" fmla="*/ 35292 h 35292"/>
                  <a:gd name="connsiteX12" fmla="*/ 28259 w 48479"/>
                  <a:gd name="connsiteY12" fmla="*/ 33785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79" h="35292">
                    <a:moveTo>
                      <a:pt x="28259" y="33785"/>
                    </a:moveTo>
                    <a:lnTo>
                      <a:pt x="28259" y="31524"/>
                    </a:lnTo>
                    <a:cubicBezTo>
                      <a:pt x="28259" y="29264"/>
                      <a:pt x="26877" y="26500"/>
                      <a:pt x="24993" y="24868"/>
                    </a:cubicBezTo>
                    <a:cubicBezTo>
                      <a:pt x="21100" y="21477"/>
                      <a:pt x="17332" y="19216"/>
                      <a:pt x="13439" y="17583"/>
                    </a:cubicBezTo>
                    <a:cubicBezTo>
                      <a:pt x="9294" y="15950"/>
                      <a:pt x="4270" y="14067"/>
                      <a:pt x="0" y="11680"/>
                    </a:cubicBezTo>
                    <a:lnTo>
                      <a:pt x="20221" y="0"/>
                    </a:lnTo>
                    <a:cubicBezTo>
                      <a:pt x="24365" y="2386"/>
                      <a:pt x="29515" y="4270"/>
                      <a:pt x="33659" y="5903"/>
                    </a:cubicBezTo>
                    <a:cubicBezTo>
                      <a:pt x="37678" y="7536"/>
                      <a:pt x="41321" y="9796"/>
                      <a:pt x="45214" y="13187"/>
                    </a:cubicBezTo>
                    <a:cubicBezTo>
                      <a:pt x="47098" y="14820"/>
                      <a:pt x="48480" y="17583"/>
                      <a:pt x="48480" y="19844"/>
                    </a:cubicBezTo>
                    <a:lnTo>
                      <a:pt x="48480" y="22105"/>
                    </a:lnTo>
                    <a:cubicBezTo>
                      <a:pt x="48480" y="22858"/>
                      <a:pt x="48228" y="23361"/>
                      <a:pt x="47852" y="23612"/>
                    </a:cubicBezTo>
                    <a:cubicBezTo>
                      <a:pt x="47475" y="23863"/>
                      <a:pt x="27631" y="35292"/>
                      <a:pt x="27631" y="35292"/>
                    </a:cubicBezTo>
                    <a:cubicBezTo>
                      <a:pt x="28008" y="35041"/>
                      <a:pt x="28259" y="34538"/>
                      <a:pt x="28259" y="33785"/>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0" name="Graphic 4">
              <a:extLst>
                <a:ext uri="{FF2B5EF4-FFF2-40B4-BE49-F238E27FC236}">
                  <a16:creationId xmlns:a16="http://schemas.microsoft.com/office/drawing/2014/main" id="{84FB7ED1-A2DF-40A1-A747-5F7CF3F14040}"/>
                </a:ext>
              </a:extLst>
            </p:cNvPr>
            <p:cNvGrpSpPr/>
            <p:nvPr/>
          </p:nvGrpSpPr>
          <p:grpSpPr>
            <a:xfrm>
              <a:off x="1113305" y="2716956"/>
              <a:ext cx="34760" cy="47109"/>
              <a:chOff x="1113305" y="2716956"/>
              <a:chExt cx="34760" cy="47109"/>
            </a:xfrm>
            <a:solidFill>
              <a:schemeClr val="accent1"/>
            </a:solidFill>
          </p:grpSpPr>
          <p:sp>
            <p:nvSpPr>
              <p:cNvPr id="361" name="Freeform: Shape 360">
                <a:extLst>
                  <a:ext uri="{FF2B5EF4-FFF2-40B4-BE49-F238E27FC236}">
                    <a16:creationId xmlns:a16="http://schemas.microsoft.com/office/drawing/2014/main" id="{7783C952-D0FE-47A6-A583-912ECFC2313D}"/>
                  </a:ext>
                </a:extLst>
              </p:cNvPr>
              <p:cNvSpPr/>
              <p:nvPr/>
            </p:nvSpPr>
            <p:spPr>
              <a:xfrm>
                <a:off x="1113305" y="2728636"/>
                <a:ext cx="14664" cy="35429"/>
              </a:xfrm>
              <a:custGeom>
                <a:avLst/>
                <a:gdLst>
                  <a:gd name="connsiteX0" fmla="*/ 2985 w 14664"/>
                  <a:gd name="connsiteY0" fmla="*/ 137 h 35429"/>
                  <a:gd name="connsiteX1" fmla="*/ 2985 w 14664"/>
                  <a:gd name="connsiteY1" fmla="*/ 137 h 35429"/>
                  <a:gd name="connsiteX2" fmla="*/ 7004 w 14664"/>
                  <a:gd name="connsiteY2" fmla="*/ 4407 h 35429"/>
                  <a:gd name="connsiteX3" fmla="*/ 10018 w 14664"/>
                  <a:gd name="connsiteY3" fmla="*/ 12822 h 35429"/>
                  <a:gd name="connsiteX4" fmla="*/ 12404 w 14664"/>
                  <a:gd name="connsiteY4" fmla="*/ 24251 h 35429"/>
                  <a:gd name="connsiteX5" fmla="*/ 13535 w 14664"/>
                  <a:gd name="connsiteY5" fmla="*/ 30782 h 35429"/>
                  <a:gd name="connsiteX6" fmla="*/ 14665 w 14664"/>
                  <a:gd name="connsiteY6" fmla="*/ 35429 h 35429"/>
                  <a:gd name="connsiteX7" fmla="*/ 7506 w 14664"/>
                  <a:gd name="connsiteY7" fmla="*/ 32038 h 35429"/>
                  <a:gd name="connsiteX8" fmla="*/ 222 w 14664"/>
                  <a:gd name="connsiteY8" fmla="*/ 4282 h 35429"/>
                  <a:gd name="connsiteX9" fmla="*/ 1101 w 14664"/>
                  <a:gd name="connsiteY9" fmla="*/ 263 h 35429"/>
                  <a:gd name="connsiteX10" fmla="*/ 2985 w 14664"/>
                  <a:gd name="connsiteY10" fmla="*/ 137 h 3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64" h="35429">
                    <a:moveTo>
                      <a:pt x="2985" y="137"/>
                    </a:moveTo>
                    <a:lnTo>
                      <a:pt x="2985" y="137"/>
                    </a:lnTo>
                    <a:cubicBezTo>
                      <a:pt x="4492" y="639"/>
                      <a:pt x="6125" y="2398"/>
                      <a:pt x="7004" y="4407"/>
                    </a:cubicBezTo>
                    <a:cubicBezTo>
                      <a:pt x="8008" y="6919"/>
                      <a:pt x="9139" y="9682"/>
                      <a:pt x="10018" y="12822"/>
                    </a:cubicBezTo>
                    <a:cubicBezTo>
                      <a:pt x="11274" y="17343"/>
                      <a:pt x="12027" y="21111"/>
                      <a:pt x="12404" y="24251"/>
                    </a:cubicBezTo>
                    <a:cubicBezTo>
                      <a:pt x="12655" y="26386"/>
                      <a:pt x="13032" y="28521"/>
                      <a:pt x="13535" y="30782"/>
                    </a:cubicBezTo>
                    <a:lnTo>
                      <a:pt x="14665" y="35429"/>
                    </a:lnTo>
                    <a:cubicBezTo>
                      <a:pt x="12279" y="34424"/>
                      <a:pt x="9767" y="33294"/>
                      <a:pt x="7506" y="32038"/>
                    </a:cubicBezTo>
                    <a:lnTo>
                      <a:pt x="222" y="4282"/>
                    </a:lnTo>
                    <a:cubicBezTo>
                      <a:pt x="-281" y="2272"/>
                      <a:pt x="96" y="765"/>
                      <a:pt x="1101" y="263"/>
                    </a:cubicBezTo>
                    <a:cubicBezTo>
                      <a:pt x="1603" y="11"/>
                      <a:pt x="2231" y="-114"/>
                      <a:pt x="2985" y="137"/>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 name="Freeform: Shape 361">
                <a:extLst>
                  <a:ext uri="{FF2B5EF4-FFF2-40B4-BE49-F238E27FC236}">
                    <a16:creationId xmlns:a16="http://schemas.microsoft.com/office/drawing/2014/main" id="{86907B00-A949-4EAF-876F-DBE954180212}"/>
                  </a:ext>
                </a:extLst>
              </p:cNvPr>
              <p:cNvSpPr/>
              <p:nvPr/>
            </p:nvSpPr>
            <p:spPr>
              <a:xfrm>
                <a:off x="1114280" y="2716956"/>
                <a:ext cx="33785" cy="47109"/>
              </a:xfrm>
              <a:custGeom>
                <a:avLst/>
                <a:gdLst>
                  <a:gd name="connsiteX0" fmla="*/ 11304 w 33785"/>
                  <a:gd name="connsiteY0" fmla="*/ 35931 h 47109"/>
                  <a:gd name="connsiteX1" fmla="*/ 8917 w 33785"/>
                  <a:gd name="connsiteY1" fmla="*/ 24502 h 47109"/>
                  <a:gd name="connsiteX2" fmla="*/ 5903 w 33785"/>
                  <a:gd name="connsiteY2" fmla="*/ 16087 h 47109"/>
                  <a:gd name="connsiteX3" fmla="*/ 1884 w 33785"/>
                  <a:gd name="connsiteY3" fmla="*/ 11817 h 47109"/>
                  <a:gd name="connsiteX4" fmla="*/ 1884 w 33785"/>
                  <a:gd name="connsiteY4" fmla="*/ 11817 h 47109"/>
                  <a:gd name="connsiteX5" fmla="*/ 0 w 33785"/>
                  <a:gd name="connsiteY5" fmla="*/ 11943 h 47109"/>
                  <a:gd name="connsiteX6" fmla="*/ 20221 w 33785"/>
                  <a:gd name="connsiteY6" fmla="*/ 263 h 47109"/>
                  <a:gd name="connsiteX7" fmla="*/ 22105 w 33785"/>
                  <a:gd name="connsiteY7" fmla="*/ 137 h 47109"/>
                  <a:gd name="connsiteX8" fmla="*/ 22105 w 33785"/>
                  <a:gd name="connsiteY8" fmla="*/ 137 h 47109"/>
                  <a:gd name="connsiteX9" fmla="*/ 26124 w 33785"/>
                  <a:gd name="connsiteY9" fmla="*/ 4407 h 47109"/>
                  <a:gd name="connsiteX10" fmla="*/ 29138 w 33785"/>
                  <a:gd name="connsiteY10" fmla="*/ 12822 h 47109"/>
                  <a:gd name="connsiteX11" fmla="*/ 31524 w 33785"/>
                  <a:gd name="connsiteY11" fmla="*/ 24251 h 47109"/>
                  <a:gd name="connsiteX12" fmla="*/ 32655 w 33785"/>
                  <a:gd name="connsiteY12" fmla="*/ 30782 h 47109"/>
                  <a:gd name="connsiteX13" fmla="*/ 33785 w 33785"/>
                  <a:gd name="connsiteY13" fmla="*/ 35429 h 47109"/>
                  <a:gd name="connsiteX14" fmla="*/ 13564 w 33785"/>
                  <a:gd name="connsiteY14" fmla="*/ 47109 h 47109"/>
                  <a:gd name="connsiteX15" fmla="*/ 12434 w 33785"/>
                  <a:gd name="connsiteY15" fmla="*/ 42462 h 47109"/>
                  <a:gd name="connsiteX16" fmla="*/ 11304 w 33785"/>
                  <a:gd name="connsiteY16" fmla="*/ 35931 h 47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85" h="47109">
                    <a:moveTo>
                      <a:pt x="11304" y="35931"/>
                    </a:moveTo>
                    <a:cubicBezTo>
                      <a:pt x="10927" y="32917"/>
                      <a:pt x="10299" y="29024"/>
                      <a:pt x="8917" y="24502"/>
                    </a:cubicBezTo>
                    <a:cubicBezTo>
                      <a:pt x="8038" y="21362"/>
                      <a:pt x="6908" y="18474"/>
                      <a:pt x="5903" y="16087"/>
                    </a:cubicBezTo>
                    <a:cubicBezTo>
                      <a:pt x="5024" y="14078"/>
                      <a:pt x="3517" y="12445"/>
                      <a:pt x="1884" y="11817"/>
                    </a:cubicBezTo>
                    <a:lnTo>
                      <a:pt x="1884" y="11817"/>
                    </a:lnTo>
                    <a:cubicBezTo>
                      <a:pt x="1130" y="11566"/>
                      <a:pt x="502" y="11566"/>
                      <a:pt x="0" y="11943"/>
                    </a:cubicBezTo>
                    <a:cubicBezTo>
                      <a:pt x="0" y="11943"/>
                      <a:pt x="19216" y="890"/>
                      <a:pt x="20221" y="263"/>
                    </a:cubicBezTo>
                    <a:cubicBezTo>
                      <a:pt x="20723" y="11"/>
                      <a:pt x="21351" y="-114"/>
                      <a:pt x="22105" y="137"/>
                    </a:cubicBezTo>
                    <a:lnTo>
                      <a:pt x="22105" y="137"/>
                    </a:lnTo>
                    <a:cubicBezTo>
                      <a:pt x="23612" y="639"/>
                      <a:pt x="25245" y="2398"/>
                      <a:pt x="26124" y="4407"/>
                    </a:cubicBezTo>
                    <a:cubicBezTo>
                      <a:pt x="27129" y="6919"/>
                      <a:pt x="28259" y="9682"/>
                      <a:pt x="29138" y="12822"/>
                    </a:cubicBezTo>
                    <a:cubicBezTo>
                      <a:pt x="30394" y="17343"/>
                      <a:pt x="31148" y="21111"/>
                      <a:pt x="31524" y="24251"/>
                    </a:cubicBezTo>
                    <a:cubicBezTo>
                      <a:pt x="31775" y="26386"/>
                      <a:pt x="32152" y="28521"/>
                      <a:pt x="32655" y="30782"/>
                    </a:cubicBezTo>
                    <a:lnTo>
                      <a:pt x="33785" y="35429"/>
                    </a:lnTo>
                    <a:lnTo>
                      <a:pt x="13564" y="47109"/>
                    </a:lnTo>
                    <a:lnTo>
                      <a:pt x="12434" y="42462"/>
                    </a:lnTo>
                    <a:cubicBezTo>
                      <a:pt x="11931" y="40327"/>
                      <a:pt x="11555" y="38066"/>
                      <a:pt x="11304" y="35931"/>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63" name="Freeform: Shape 362">
              <a:extLst>
                <a:ext uri="{FF2B5EF4-FFF2-40B4-BE49-F238E27FC236}">
                  <a16:creationId xmlns:a16="http://schemas.microsoft.com/office/drawing/2014/main" id="{2A6972F5-0FE6-43C8-AC3A-DAEC84F3868A}"/>
                </a:ext>
              </a:extLst>
            </p:cNvPr>
            <p:cNvSpPr/>
            <p:nvPr/>
          </p:nvSpPr>
          <p:spPr>
            <a:xfrm>
              <a:off x="1134124" y="2776876"/>
              <a:ext cx="12559" cy="11177"/>
            </a:xfrm>
            <a:custGeom>
              <a:avLst/>
              <a:gdLst>
                <a:gd name="connsiteX0" fmla="*/ 12559 w 12559"/>
                <a:gd name="connsiteY0" fmla="*/ 7285 h 11177"/>
                <a:gd name="connsiteX1" fmla="*/ 11304 w 12559"/>
                <a:gd name="connsiteY1" fmla="*/ 11178 h 11177"/>
                <a:gd name="connsiteX2" fmla="*/ 11304 w 12559"/>
                <a:gd name="connsiteY2" fmla="*/ 11178 h 11177"/>
                <a:gd name="connsiteX3" fmla="*/ 0 w 12559"/>
                <a:gd name="connsiteY3" fmla="*/ 0 h 11177"/>
                <a:gd name="connsiteX4" fmla="*/ 12559 w 12559"/>
                <a:gd name="connsiteY4" fmla="*/ 7285 h 11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1177">
                  <a:moveTo>
                    <a:pt x="12559" y="7285"/>
                  </a:moveTo>
                  <a:cubicBezTo>
                    <a:pt x="12559" y="9168"/>
                    <a:pt x="12183" y="10675"/>
                    <a:pt x="11304" y="11178"/>
                  </a:cubicBezTo>
                  <a:lnTo>
                    <a:pt x="11304" y="11178"/>
                  </a:lnTo>
                  <a:cubicBezTo>
                    <a:pt x="8289" y="6531"/>
                    <a:pt x="4270" y="2512"/>
                    <a:pt x="0" y="0"/>
                  </a:cubicBezTo>
                  <a:lnTo>
                    <a:pt x="12559" y="7285"/>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64" name="Graphic 4">
              <a:extLst>
                <a:ext uri="{FF2B5EF4-FFF2-40B4-BE49-F238E27FC236}">
                  <a16:creationId xmlns:a16="http://schemas.microsoft.com/office/drawing/2014/main" id="{84FB7ED1-A2DF-40A1-A747-5F7CF3F14040}"/>
                </a:ext>
              </a:extLst>
            </p:cNvPr>
            <p:cNvGrpSpPr/>
            <p:nvPr/>
          </p:nvGrpSpPr>
          <p:grpSpPr>
            <a:xfrm>
              <a:off x="1080118" y="2772480"/>
              <a:ext cx="48605" cy="35467"/>
              <a:chOff x="1080118" y="2772480"/>
              <a:chExt cx="48605" cy="35467"/>
            </a:xfrm>
            <a:solidFill>
              <a:schemeClr val="accent1"/>
            </a:solidFill>
          </p:grpSpPr>
          <p:sp>
            <p:nvSpPr>
              <p:cNvPr id="365" name="Freeform: Shape 364">
                <a:extLst>
                  <a:ext uri="{FF2B5EF4-FFF2-40B4-BE49-F238E27FC236}">
                    <a16:creationId xmlns:a16="http://schemas.microsoft.com/office/drawing/2014/main" id="{444E3F52-5FC5-4785-B824-EFB453DD92FA}"/>
                  </a:ext>
                </a:extLst>
              </p:cNvPr>
              <p:cNvSpPr/>
              <p:nvPr/>
            </p:nvSpPr>
            <p:spPr>
              <a:xfrm>
                <a:off x="1080118" y="2784161"/>
                <a:ext cx="28258" cy="23786"/>
              </a:xfrm>
              <a:custGeom>
                <a:avLst/>
                <a:gdLst>
                  <a:gd name="connsiteX0" fmla="*/ 2763 w 28258"/>
                  <a:gd name="connsiteY0" fmla="*/ 10048 h 23786"/>
                  <a:gd name="connsiteX1" fmla="*/ 25998 w 28258"/>
                  <a:gd name="connsiteY1" fmla="*/ 23486 h 23786"/>
                  <a:gd name="connsiteX2" fmla="*/ 27631 w 28258"/>
                  <a:gd name="connsiteY2" fmla="*/ 23612 h 23786"/>
                  <a:gd name="connsiteX3" fmla="*/ 28259 w 28258"/>
                  <a:gd name="connsiteY3" fmla="*/ 22105 h 23786"/>
                  <a:gd name="connsiteX4" fmla="*/ 28259 w 28258"/>
                  <a:gd name="connsiteY4" fmla="*/ 19844 h 23786"/>
                  <a:gd name="connsiteX5" fmla="*/ 24993 w 28258"/>
                  <a:gd name="connsiteY5" fmla="*/ 13187 h 23786"/>
                  <a:gd name="connsiteX6" fmla="*/ 13439 w 28258"/>
                  <a:gd name="connsiteY6" fmla="*/ 5903 h 23786"/>
                  <a:gd name="connsiteX7" fmla="*/ 0 w 28258"/>
                  <a:gd name="connsiteY7" fmla="*/ 0 h 23786"/>
                  <a:gd name="connsiteX8" fmla="*/ 2763 w 28258"/>
                  <a:gd name="connsiteY8" fmla="*/ 10048 h 23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58" h="23786">
                    <a:moveTo>
                      <a:pt x="2763" y="10048"/>
                    </a:moveTo>
                    <a:lnTo>
                      <a:pt x="25998" y="23486"/>
                    </a:lnTo>
                    <a:cubicBezTo>
                      <a:pt x="26626" y="23863"/>
                      <a:pt x="27254" y="23863"/>
                      <a:pt x="27631" y="23612"/>
                    </a:cubicBezTo>
                    <a:cubicBezTo>
                      <a:pt x="28008" y="23361"/>
                      <a:pt x="28259" y="22858"/>
                      <a:pt x="28259" y="22105"/>
                    </a:cubicBezTo>
                    <a:lnTo>
                      <a:pt x="28259" y="19844"/>
                    </a:lnTo>
                    <a:cubicBezTo>
                      <a:pt x="28259" y="17583"/>
                      <a:pt x="26877" y="14820"/>
                      <a:pt x="24993" y="13187"/>
                    </a:cubicBezTo>
                    <a:cubicBezTo>
                      <a:pt x="21100" y="9796"/>
                      <a:pt x="17332" y="7536"/>
                      <a:pt x="13439" y="5903"/>
                    </a:cubicBezTo>
                    <a:cubicBezTo>
                      <a:pt x="9294" y="4270"/>
                      <a:pt x="4270" y="2386"/>
                      <a:pt x="0" y="0"/>
                    </a:cubicBezTo>
                    <a:lnTo>
                      <a:pt x="2763" y="1004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 name="Freeform: Shape 365">
                <a:extLst>
                  <a:ext uri="{FF2B5EF4-FFF2-40B4-BE49-F238E27FC236}">
                    <a16:creationId xmlns:a16="http://schemas.microsoft.com/office/drawing/2014/main" id="{EC8F5506-EB38-453D-A028-09E950858C2F}"/>
                  </a:ext>
                </a:extLst>
              </p:cNvPr>
              <p:cNvSpPr/>
              <p:nvPr/>
            </p:nvSpPr>
            <p:spPr>
              <a:xfrm>
                <a:off x="1080244" y="2772480"/>
                <a:ext cx="48479" cy="35292"/>
              </a:xfrm>
              <a:custGeom>
                <a:avLst/>
                <a:gdLst>
                  <a:gd name="connsiteX0" fmla="*/ 28259 w 48479"/>
                  <a:gd name="connsiteY0" fmla="*/ 33785 h 35292"/>
                  <a:gd name="connsiteX1" fmla="*/ 28259 w 48479"/>
                  <a:gd name="connsiteY1" fmla="*/ 31524 h 35292"/>
                  <a:gd name="connsiteX2" fmla="*/ 24993 w 48479"/>
                  <a:gd name="connsiteY2" fmla="*/ 24868 h 35292"/>
                  <a:gd name="connsiteX3" fmla="*/ 13439 w 48479"/>
                  <a:gd name="connsiteY3" fmla="*/ 17583 h 35292"/>
                  <a:gd name="connsiteX4" fmla="*/ 0 w 48479"/>
                  <a:gd name="connsiteY4" fmla="*/ 11680 h 35292"/>
                  <a:gd name="connsiteX5" fmla="*/ 20221 w 48479"/>
                  <a:gd name="connsiteY5" fmla="*/ 0 h 35292"/>
                  <a:gd name="connsiteX6" fmla="*/ 33659 w 48479"/>
                  <a:gd name="connsiteY6" fmla="*/ 5903 h 35292"/>
                  <a:gd name="connsiteX7" fmla="*/ 45214 w 48479"/>
                  <a:gd name="connsiteY7" fmla="*/ 13187 h 35292"/>
                  <a:gd name="connsiteX8" fmla="*/ 48480 w 48479"/>
                  <a:gd name="connsiteY8" fmla="*/ 19844 h 35292"/>
                  <a:gd name="connsiteX9" fmla="*/ 48480 w 48479"/>
                  <a:gd name="connsiteY9" fmla="*/ 22105 h 35292"/>
                  <a:gd name="connsiteX10" fmla="*/ 47852 w 48479"/>
                  <a:gd name="connsiteY10" fmla="*/ 23612 h 35292"/>
                  <a:gd name="connsiteX11" fmla="*/ 27631 w 48479"/>
                  <a:gd name="connsiteY11" fmla="*/ 35292 h 35292"/>
                  <a:gd name="connsiteX12" fmla="*/ 28259 w 48479"/>
                  <a:gd name="connsiteY12" fmla="*/ 33785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79" h="35292">
                    <a:moveTo>
                      <a:pt x="28259" y="33785"/>
                    </a:moveTo>
                    <a:lnTo>
                      <a:pt x="28259" y="31524"/>
                    </a:lnTo>
                    <a:cubicBezTo>
                      <a:pt x="28259" y="29264"/>
                      <a:pt x="26877" y="26501"/>
                      <a:pt x="24993" y="24868"/>
                    </a:cubicBezTo>
                    <a:cubicBezTo>
                      <a:pt x="21100" y="21477"/>
                      <a:pt x="17332" y="19216"/>
                      <a:pt x="13439" y="17583"/>
                    </a:cubicBezTo>
                    <a:cubicBezTo>
                      <a:pt x="9294" y="15951"/>
                      <a:pt x="4270" y="14067"/>
                      <a:pt x="0" y="11680"/>
                    </a:cubicBezTo>
                    <a:lnTo>
                      <a:pt x="20221" y="0"/>
                    </a:lnTo>
                    <a:cubicBezTo>
                      <a:pt x="24365" y="2386"/>
                      <a:pt x="29515" y="4270"/>
                      <a:pt x="33659" y="5903"/>
                    </a:cubicBezTo>
                    <a:cubicBezTo>
                      <a:pt x="37678" y="7536"/>
                      <a:pt x="41321" y="9796"/>
                      <a:pt x="45214" y="13187"/>
                    </a:cubicBezTo>
                    <a:cubicBezTo>
                      <a:pt x="47098" y="14820"/>
                      <a:pt x="48480" y="17583"/>
                      <a:pt x="48480" y="19844"/>
                    </a:cubicBezTo>
                    <a:lnTo>
                      <a:pt x="48480" y="22105"/>
                    </a:lnTo>
                    <a:cubicBezTo>
                      <a:pt x="48480" y="22858"/>
                      <a:pt x="48228" y="23361"/>
                      <a:pt x="47852" y="23612"/>
                    </a:cubicBezTo>
                    <a:cubicBezTo>
                      <a:pt x="47475" y="23863"/>
                      <a:pt x="27631" y="35292"/>
                      <a:pt x="27631" y="35292"/>
                    </a:cubicBezTo>
                    <a:cubicBezTo>
                      <a:pt x="28008" y="35041"/>
                      <a:pt x="28259" y="34539"/>
                      <a:pt x="28259" y="33785"/>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7" name="Graphic 4">
              <a:extLst>
                <a:ext uri="{FF2B5EF4-FFF2-40B4-BE49-F238E27FC236}">
                  <a16:creationId xmlns:a16="http://schemas.microsoft.com/office/drawing/2014/main" id="{84FB7ED1-A2DF-40A1-A747-5F7CF3F14040}"/>
                </a:ext>
              </a:extLst>
            </p:cNvPr>
            <p:cNvGrpSpPr/>
            <p:nvPr/>
          </p:nvGrpSpPr>
          <p:grpSpPr>
            <a:xfrm>
              <a:off x="1072738" y="2740317"/>
              <a:ext cx="34760" cy="47234"/>
              <a:chOff x="1072738" y="2740317"/>
              <a:chExt cx="34760" cy="47234"/>
            </a:xfrm>
            <a:solidFill>
              <a:schemeClr val="accent1"/>
            </a:solidFill>
          </p:grpSpPr>
          <p:sp>
            <p:nvSpPr>
              <p:cNvPr id="368" name="Freeform: Shape 367">
                <a:extLst>
                  <a:ext uri="{FF2B5EF4-FFF2-40B4-BE49-F238E27FC236}">
                    <a16:creationId xmlns:a16="http://schemas.microsoft.com/office/drawing/2014/main" id="{73E7E3D5-D5C7-463D-9A99-D7493B7080CC}"/>
                  </a:ext>
                </a:extLst>
              </p:cNvPr>
              <p:cNvSpPr/>
              <p:nvPr/>
            </p:nvSpPr>
            <p:spPr>
              <a:xfrm>
                <a:off x="1072738" y="2752032"/>
                <a:ext cx="14664" cy="35519"/>
              </a:xfrm>
              <a:custGeom>
                <a:avLst/>
                <a:gdLst>
                  <a:gd name="connsiteX0" fmla="*/ 2985 w 14664"/>
                  <a:gd name="connsiteY0" fmla="*/ 228 h 35519"/>
                  <a:gd name="connsiteX1" fmla="*/ 2985 w 14664"/>
                  <a:gd name="connsiteY1" fmla="*/ 228 h 35519"/>
                  <a:gd name="connsiteX2" fmla="*/ 7004 w 14664"/>
                  <a:gd name="connsiteY2" fmla="*/ 4498 h 35519"/>
                  <a:gd name="connsiteX3" fmla="*/ 10018 w 14664"/>
                  <a:gd name="connsiteY3" fmla="*/ 12913 h 35519"/>
                  <a:gd name="connsiteX4" fmla="*/ 12404 w 14664"/>
                  <a:gd name="connsiteY4" fmla="*/ 24342 h 35519"/>
                  <a:gd name="connsiteX5" fmla="*/ 13535 w 14664"/>
                  <a:gd name="connsiteY5" fmla="*/ 30873 h 35519"/>
                  <a:gd name="connsiteX6" fmla="*/ 14665 w 14664"/>
                  <a:gd name="connsiteY6" fmla="*/ 35520 h 35519"/>
                  <a:gd name="connsiteX7" fmla="*/ 7506 w 14664"/>
                  <a:gd name="connsiteY7" fmla="*/ 32129 h 35519"/>
                  <a:gd name="connsiteX8" fmla="*/ 222 w 14664"/>
                  <a:gd name="connsiteY8" fmla="*/ 4372 h 35519"/>
                  <a:gd name="connsiteX9" fmla="*/ 1101 w 14664"/>
                  <a:gd name="connsiteY9" fmla="*/ 353 h 35519"/>
                  <a:gd name="connsiteX10" fmla="*/ 2985 w 14664"/>
                  <a:gd name="connsiteY10" fmla="*/ 228 h 3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64" h="35519">
                    <a:moveTo>
                      <a:pt x="2985" y="228"/>
                    </a:moveTo>
                    <a:lnTo>
                      <a:pt x="2985" y="228"/>
                    </a:lnTo>
                    <a:cubicBezTo>
                      <a:pt x="4492" y="730"/>
                      <a:pt x="6125" y="2488"/>
                      <a:pt x="7004" y="4498"/>
                    </a:cubicBezTo>
                    <a:cubicBezTo>
                      <a:pt x="8008" y="7010"/>
                      <a:pt x="9139" y="9773"/>
                      <a:pt x="10018" y="12913"/>
                    </a:cubicBezTo>
                    <a:cubicBezTo>
                      <a:pt x="11274" y="17434"/>
                      <a:pt x="12028" y="21202"/>
                      <a:pt x="12404" y="24342"/>
                    </a:cubicBezTo>
                    <a:cubicBezTo>
                      <a:pt x="12655" y="26477"/>
                      <a:pt x="13032" y="28612"/>
                      <a:pt x="13535" y="30873"/>
                    </a:cubicBezTo>
                    <a:lnTo>
                      <a:pt x="14665" y="35520"/>
                    </a:lnTo>
                    <a:cubicBezTo>
                      <a:pt x="12279" y="34515"/>
                      <a:pt x="9767" y="33384"/>
                      <a:pt x="7506" y="32129"/>
                    </a:cubicBezTo>
                    <a:lnTo>
                      <a:pt x="222" y="4372"/>
                    </a:lnTo>
                    <a:cubicBezTo>
                      <a:pt x="-281" y="2363"/>
                      <a:pt x="96" y="855"/>
                      <a:pt x="1101" y="353"/>
                    </a:cubicBezTo>
                    <a:cubicBezTo>
                      <a:pt x="1603" y="-24"/>
                      <a:pt x="2231" y="-149"/>
                      <a:pt x="2985" y="228"/>
                    </a:cubicBezTo>
                    <a:close/>
                  </a:path>
                </a:pathLst>
              </a:custGeom>
              <a:solidFill>
                <a:srgbClr val="423C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 name="Freeform: Shape 368">
                <a:extLst>
                  <a:ext uri="{FF2B5EF4-FFF2-40B4-BE49-F238E27FC236}">
                    <a16:creationId xmlns:a16="http://schemas.microsoft.com/office/drawing/2014/main" id="{936BD981-2CE2-4024-AF22-A6890EEC21D1}"/>
                  </a:ext>
                </a:extLst>
              </p:cNvPr>
              <p:cNvSpPr/>
              <p:nvPr/>
            </p:nvSpPr>
            <p:spPr>
              <a:xfrm>
                <a:off x="1073713" y="2740317"/>
                <a:ext cx="33784" cy="47109"/>
              </a:xfrm>
              <a:custGeom>
                <a:avLst/>
                <a:gdLst>
                  <a:gd name="connsiteX0" fmla="*/ 11303 w 33784"/>
                  <a:gd name="connsiteY0" fmla="*/ 35931 h 47109"/>
                  <a:gd name="connsiteX1" fmla="*/ 8917 w 33784"/>
                  <a:gd name="connsiteY1" fmla="*/ 24502 h 47109"/>
                  <a:gd name="connsiteX2" fmla="*/ 5903 w 33784"/>
                  <a:gd name="connsiteY2" fmla="*/ 16087 h 47109"/>
                  <a:gd name="connsiteX3" fmla="*/ 1884 w 33784"/>
                  <a:gd name="connsiteY3" fmla="*/ 11817 h 47109"/>
                  <a:gd name="connsiteX4" fmla="*/ 1884 w 33784"/>
                  <a:gd name="connsiteY4" fmla="*/ 11817 h 47109"/>
                  <a:gd name="connsiteX5" fmla="*/ 0 w 33784"/>
                  <a:gd name="connsiteY5" fmla="*/ 11943 h 47109"/>
                  <a:gd name="connsiteX6" fmla="*/ 20221 w 33784"/>
                  <a:gd name="connsiteY6" fmla="*/ 263 h 47109"/>
                  <a:gd name="connsiteX7" fmla="*/ 22105 w 33784"/>
                  <a:gd name="connsiteY7" fmla="*/ 137 h 47109"/>
                  <a:gd name="connsiteX8" fmla="*/ 22105 w 33784"/>
                  <a:gd name="connsiteY8" fmla="*/ 137 h 47109"/>
                  <a:gd name="connsiteX9" fmla="*/ 26124 w 33784"/>
                  <a:gd name="connsiteY9" fmla="*/ 4407 h 47109"/>
                  <a:gd name="connsiteX10" fmla="*/ 29138 w 33784"/>
                  <a:gd name="connsiteY10" fmla="*/ 12822 h 47109"/>
                  <a:gd name="connsiteX11" fmla="*/ 31524 w 33784"/>
                  <a:gd name="connsiteY11" fmla="*/ 24251 h 47109"/>
                  <a:gd name="connsiteX12" fmla="*/ 32655 w 33784"/>
                  <a:gd name="connsiteY12" fmla="*/ 30782 h 47109"/>
                  <a:gd name="connsiteX13" fmla="*/ 33785 w 33784"/>
                  <a:gd name="connsiteY13" fmla="*/ 35429 h 47109"/>
                  <a:gd name="connsiteX14" fmla="*/ 13564 w 33784"/>
                  <a:gd name="connsiteY14" fmla="*/ 47109 h 47109"/>
                  <a:gd name="connsiteX15" fmla="*/ 12434 w 33784"/>
                  <a:gd name="connsiteY15" fmla="*/ 42462 h 47109"/>
                  <a:gd name="connsiteX16" fmla="*/ 11303 w 33784"/>
                  <a:gd name="connsiteY16" fmla="*/ 35931 h 47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84" h="47109">
                    <a:moveTo>
                      <a:pt x="11303" y="35931"/>
                    </a:moveTo>
                    <a:cubicBezTo>
                      <a:pt x="10927" y="32917"/>
                      <a:pt x="10299" y="29024"/>
                      <a:pt x="8917" y="24502"/>
                    </a:cubicBezTo>
                    <a:cubicBezTo>
                      <a:pt x="8038" y="21362"/>
                      <a:pt x="6908" y="18474"/>
                      <a:pt x="5903" y="16087"/>
                    </a:cubicBezTo>
                    <a:cubicBezTo>
                      <a:pt x="5024" y="14078"/>
                      <a:pt x="3517" y="12445"/>
                      <a:pt x="1884" y="11817"/>
                    </a:cubicBezTo>
                    <a:lnTo>
                      <a:pt x="1884" y="11817"/>
                    </a:lnTo>
                    <a:cubicBezTo>
                      <a:pt x="1130" y="11566"/>
                      <a:pt x="502" y="11566"/>
                      <a:pt x="0" y="11943"/>
                    </a:cubicBezTo>
                    <a:cubicBezTo>
                      <a:pt x="0" y="11943"/>
                      <a:pt x="19216" y="890"/>
                      <a:pt x="20221" y="263"/>
                    </a:cubicBezTo>
                    <a:cubicBezTo>
                      <a:pt x="20723" y="11"/>
                      <a:pt x="21351" y="-114"/>
                      <a:pt x="22105" y="137"/>
                    </a:cubicBezTo>
                    <a:lnTo>
                      <a:pt x="22105" y="137"/>
                    </a:lnTo>
                    <a:cubicBezTo>
                      <a:pt x="23612" y="639"/>
                      <a:pt x="25244" y="2398"/>
                      <a:pt x="26124" y="4407"/>
                    </a:cubicBezTo>
                    <a:cubicBezTo>
                      <a:pt x="27128" y="6919"/>
                      <a:pt x="28259" y="9682"/>
                      <a:pt x="29138" y="12822"/>
                    </a:cubicBezTo>
                    <a:cubicBezTo>
                      <a:pt x="30394" y="17343"/>
                      <a:pt x="31147" y="21111"/>
                      <a:pt x="31524" y="24251"/>
                    </a:cubicBezTo>
                    <a:cubicBezTo>
                      <a:pt x="31775" y="26386"/>
                      <a:pt x="32152" y="28521"/>
                      <a:pt x="32655" y="30782"/>
                    </a:cubicBezTo>
                    <a:lnTo>
                      <a:pt x="33785" y="35429"/>
                    </a:lnTo>
                    <a:lnTo>
                      <a:pt x="13564" y="47109"/>
                    </a:lnTo>
                    <a:lnTo>
                      <a:pt x="12434" y="42462"/>
                    </a:lnTo>
                    <a:cubicBezTo>
                      <a:pt x="11931" y="40327"/>
                      <a:pt x="11555" y="38066"/>
                      <a:pt x="11303" y="35931"/>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0" name="Graphic 4">
              <a:extLst>
                <a:ext uri="{FF2B5EF4-FFF2-40B4-BE49-F238E27FC236}">
                  <a16:creationId xmlns:a16="http://schemas.microsoft.com/office/drawing/2014/main" id="{84FB7ED1-A2DF-40A1-A747-5F7CF3F14040}"/>
                </a:ext>
              </a:extLst>
            </p:cNvPr>
            <p:cNvGrpSpPr/>
            <p:nvPr/>
          </p:nvGrpSpPr>
          <p:grpSpPr>
            <a:xfrm>
              <a:off x="1154470" y="2753720"/>
              <a:ext cx="36301" cy="22049"/>
              <a:chOff x="1154470" y="2753720"/>
              <a:chExt cx="36301" cy="22049"/>
            </a:xfrm>
            <a:solidFill>
              <a:schemeClr val="accent1"/>
            </a:solidFill>
          </p:grpSpPr>
          <p:sp>
            <p:nvSpPr>
              <p:cNvPr id="371" name="Freeform: Shape 370">
                <a:extLst>
                  <a:ext uri="{FF2B5EF4-FFF2-40B4-BE49-F238E27FC236}">
                    <a16:creationId xmlns:a16="http://schemas.microsoft.com/office/drawing/2014/main" id="{4C2FD02C-AB77-401A-AAB4-F3BF9233F4B7}"/>
                  </a:ext>
                </a:extLst>
              </p:cNvPr>
              <p:cNvSpPr/>
              <p:nvPr/>
            </p:nvSpPr>
            <p:spPr>
              <a:xfrm>
                <a:off x="1158484" y="2756906"/>
                <a:ext cx="24496" cy="14066"/>
              </a:xfrm>
              <a:custGeom>
                <a:avLst/>
                <a:gdLst>
                  <a:gd name="connsiteX0" fmla="*/ 24497 w 24496"/>
                  <a:gd name="connsiteY0" fmla="*/ 1256 h 14066"/>
                  <a:gd name="connsiteX1" fmla="*/ 23869 w 24496"/>
                  <a:gd name="connsiteY1" fmla="*/ 0 h 14066"/>
                  <a:gd name="connsiteX2" fmla="*/ 23743 w 24496"/>
                  <a:gd name="connsiteY2" fmla="*/ 0 h 14066"/>
                  <a:gd name="connsiteX3" fmla="*/ 23618 w 24496"/>
                  <a:gd name="connsiteY3" fmla="*/ 0 h 14066"/>
                  <a:gd name="connsiteX4" fmla="*/ 5281 w 24496"/>
                  <a:gd name="connsiteY4" fmla="*/ 9671 h 14066"/>
                  <a:gd name="connsiteX5" fmla="*/ 6 w 24496"/>
                  <a:gd name="connsiteY5" fmla="*/ 13187 h 14066"/>
                  <a:gd name="connsiteX6" fmla="*/ 508 w 24496"/>
                  <a:gd name="connsiteY6" fmla="*/ 14067 h 14066"/>
                  <a:gd name="connsiteX7" fmla="*/ 24497 w 24496"/>
                  <a:gd name="connsiteY7" fmla="*/ 1256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96" h="14066">
                    <a:moveTo>
                      <a:pt x="24497" y="1256"/>
                    </a:moveTo>
                    <a:lnTo>
                      <a:pt x="23869" y="0"/>
                    </a:lnTo>
                    <a:cubicBezTo>
                      <a:pt x="23869" y="0"/>
                      <a:pt x="23869" y="0"/>
                      <a:pt x="23743" y="0"/>
                    </a:cubicBezTo>
                    <a:cubicBezTo>
                      <a:pt x="23743" y="0"/>
                      <a:pt x="23743" y="0"/>
                      <a:pt x="23618" y="0"/>
                    </a:cubicBezTo>
                    <a:cubicBezTo>
                      <a:pt x="19347" y="2010"/>
                      <a:pt x="11184" y="6280"/>
                      <a:pt x="5281" y="9671"/>
                    </a:cubicBezTo>
                    <a:cubicBezTo>
                      <a:pt x="1764" y="11680"/>
                      <a:pt x="-120" y="12936"/>
                      <a:pt x="6" y="13187"/>
                    </a:cubicBezTo>
                    <a:lnTo>
                      <a:pt x="508" y="14067"/>
                    </a:lnTo>
                    <a:lnTo>
                      <a:pt x="24497" y="1256"/>
                    </a:lnTo>
                    <a:close/>
                  </a:path>
                </a:pathLst>
              </a:custGeom>
              <a:solidFill>
                <a:srgbClr val="4E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 name="Freeform: Shape 371">
                <a:extLst>
                  <a:ext uri="{FF2B5EF4-FFF2-40B4-BE49-F238E27FC236}">
                    <a16:creationId xmlns:a16="http://schemas.microsoft.com/office/drawing/2014/main" id="{A4B275A3-E596-45DC-8D03-FF2C4F5E7B90}"/>
                  </a:ext>
                </a:extLst>
              </p:cNvPr>
              <p:cNvSpPr/>
              <p:nvPr/>
            </p:nvSpPr>
            <p:spPr>
              <a:xfrm>
                <a:off x="1167281" y="2765321"/>
                <a:ext cx="502" cy="125"/>
              </a:xfrm>
              <a:custGeom>
                <a:avLst/>
                <a:gdLst>
                  <a:gd name="connsiteX0" fmla="*/ 0 w 502"/>
                  <a:gd name="connsiteY0" fmla="*/ 126 h 125"/>
                  <a:gd name="connsiteX1" fmla="*/ 0 w 502"/>
                  <a:gd name="connsiteY1" fmla="*/ 126 h 125"/>
                  <a:gd name="connsiteX2" fmla="*/ 502 w 502"/>
                  <a:gd name="connsiteY2" fmla="*/ 0 h 125"/>
                  <a:gd name="connsiteX3" fmla="*/ 0 w 502"/>
                  <a:gd name="connsiteY3" fmla="*/ 126 h 125"/>
                </a:gdLst>
                <a:ahLst/>
                <a:cxnLst>
                  <a:cxn ang="0">
                    <a:pos x="connsiteX0" y="connsiteY0"/>
                  </a:cxn>
                  <a:cxn ang="0">
                    <a:pos x="connsiteX1" y="connsiteY1"/>
                  </a:cxn>
                  <a:cxn ang="0">
                    <a:pos x="connsiteX2" y="connsiteY2"/>
                  </a:cxn>
                  <a:cxn ang="0">
                    <a:pos x="connsiteX3" y="connsiteY3"/>
                  </a:cxn>
                </a:cxnLst>
                <a:rect l="l" t="t" r="r" b="b"/>
                <a:pathLst>
                  <a:path w="502" h="125">
                    <a:moveTo>
                      <a:pt x="0" y="126"/>
                    </a:moveTo>
                    <a:lnTo>
                      <a:pt x="0" y="126"/>
                    </a:lnTo>
                    <a:lnTo>
                      <a:pt x="502" y="0"/>
                    </a:lnTo>
                    <a:cubicBezTo>
                      <a:pt x="126" y="0"/>
                      <a:pt x="0" y="126"/>
                      <a:pt x="0" y="12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 name="Freeform: Shape 372">
                <a:extLst>
                  <a:ext uri="{FF2B5EF4-FFF2-40B4-BE49-F238E27FC236}">
                    <a16:creationId xmlns:a16="http://schemas.microsoft.com/office/drawing/2014/main" id="{2EB5739D-4B13-4D6F-97BE-301E732A68AC}"/>
                  </a:ext>
                </a:extLst>
              </p:cNvPr>
              <p:cNvSpPr/>
              <p:nvPr/>
            </p:nvSpPr>
            <p:spPr>
              <a:xfrm>
                <a:off x="1164267" y="2756153"/>
                <a:ext cx="20471" cy="12182"/>
              </a:xfrm>
              <a:custGeom>
                <a:avLst/>
                <a:gdLst>
                  <a:gd name="connsiteX0" fmla="*/ 0 w 20471"/>
                  <a:gd name="connsiteY0" fmla="*/ 11429 h 12182"/>
                  <a:gd name="connsiteX1" fmla="*/ 502 w 20471"/>
                  <a:gd name="connsiteY1" fmla="*/ 12183 h 12182"/>
                  <a:gd name="connsiteX2" fmla="*/ 20472 w 20471"/>
                  <a:gd name="connsiteY2" fmla="*/ 1130 h 12182"/>
                  <a:gd name="connsiteX3" fmla="*/ 19970 w 20471"/>
                  <a:gd name="connsiteY3" fmla="*/ 0 h 12182"/>
                </a:gdLst>
                <a:ahLst/>
                <a:cxnLst>
                  <a:cxn ang="0">
                    <a:pos x="connsiteX0" y="connsiteY0"/>
                  </a:cxn>
                  <a:cxn ang="0">
                    <a:pos x="connsiteX1" y="connsiteY1"/>
                  </a:cxn>
                  <a:cxn ang="0">
                    <a:pos x="connsiteX2" y="connsiteY2"/>
                  </a:cxn>
                  <a:cxn ang="0">
                    <a:pos x="connsiteX3" y="connsiteY3"/>
                  </a:cxn>
                </a:cxnLst>
                <a:rect l="l" t="t" r="r" b="b"/>
                <a:pathLst>
                  <a:path w="20471" h="12182">
                    <a:moveTo>
                      <a:pt x="0" y="11429"/>
                    </a:moveTo>
                    <a:lnTo>
                      <a:pt x="502" y="12183"/>
                    </a:lnTo>
                    <a:lnTo>
                      <a:pt x="20472" y="1130"/>
                    </a:lnTo>
                    <a:lnTo>
                      <a:pt x="19970" y="0"/>
                    </a:lnTo>
                    <a:close/>
                  </a:path>
                </a:pathLst>
              </a:custGeom>
              <a:solidFill>
                <a:srgbClr val="6158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 name="Freeform: Shape 373">
                <a:extLst>
                  <a:ext uri="{FF2B5EF4-FFF2-40B4-BE49-F238E27FC236}">
                    <a16:creationId xmlns:a16="http://schemas.microsoft.com/office/drawing/2014/main" id="{6971A57B-2B27-4983-BD14-DFC03B1C04F6}"/>
                  </a:ext>
                </a:extLst>
              </p:cNvPr>
              <p:cNvSpPr/>
              <p:nvPr/>
            </p:nvSpPr>
            <p:spPr>
              <a:xfrm>
                <a:off x="1184236" y="2756027"/>
                <a:ext cx="628" cy="376"/>
              </a:xfrm>
              <a:custGeom>
                <a:avLst/>
                <a:gdLst>
                  <a:gd name="connsiteX0" fmla="*/ 0 w 628"/>
                  <a:gd name="connsiteY0" fmla="*/ 126 h 376"/>
                  <a:gd name="connsiteX1" fmla="*/ 0 w 628"/>
                  <a:gd name="connsiteY1" fmla="*/ 126 h 376"/>
                  <a:gd name="connsiteX2" fmla="*/ 502 w 628"/>
                  <a:gd name="connsiteY2" fmla="*/ 0 h 376"/>
                  <a:gd name="connsiteX3" fmla="*/ 628 w 628"/>
                  <a:gd name="connsiteY3" fmla="*/ 126 h 376"/>
                  <a:gd name="connsiteX4" fmla="*/ 126 w 628"/>
                  <a:gd name="connsiteY4" fmla="*/ 377 h 376"/>
                  <a:gd name="connsiteX5" fmla="*/ 0 w 628"/>
                  <a:gd name="connsiteY5" fmla="*/ 126 h 376"/>
                  <a:gd name="connsiteX6" fmla="*/ 0 w 628"/>
                  <a:gd name="connsiteY6" fmla="*/ 126 h 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 h="376">
                    <a:moveTo>
                      <a:pt x="0" y="126"/>
                    </a:moveTo>
                    <a:lnTo>
                      <a:pt x="0" y="126"/>
                    </a:lnTo>
                    <a:cubicBezTo>
                      <a:pt x="377" y="0"/>
                      <a:pt x="502" y="0"/>
                      <a:pt x="502" y="0"/>
                    </a:cubicBezTo>
                    <a:lnTo>
                      <a:pt x="628" y="126"/>
                    </a:lnTo>
                    <a:lnTo>
                      <a:pt x="126" y="377"/>
                    </a:lnTo>
                    <a:lnTo>
                      <a:pt x="0" y="126"/>
                    </a:lnTo>
                    <a:cubicBezTo>
                      <a:pt x="0" y="126"/>
                      <a:pt x="0" y="126"/>
                      <a:pt x="0" y="126"/>
                    </a:cubicBezTo>
                    <a:close/>
                  </a:path>
                </a:pathLst>
              </a:custGeom>
              <a:solidFill>
                <a:srgbClr val="3B35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 name="Freeform: Shape 374">
                <a:extLst>
                  <a:ext uri="{FF2B5EF4-FFF2-40B4-BE49-F238E27FC236}">
                    <a16:creationId xmlns:a16="http://schemas.microsoft.com/office/drawing/2014/main" id="{5609A8AC-99F6-43BB-A3FA-015FFA1E44E3}"/>
                  </a:ext>
                </a:extLst>
              </p:cNvPr>
              <p:cNvSpPr/>
              <p:nvPr/>
            </p:nvSpPr>
            <p:spPr>
              <a:xfrm>
                <a:off x="1160750" y="2756153"/>
                <a:ext cx="23486" cy="13061"/>
              </a:xfrm>
              <a:custGeom>
                <a:avLst/>
                <a:gdLst>
                  <a:gd name="connsiteX0" fmla="*/ 8289 w 23486"/>
                  <a:gd name="connsiteY0" fmla="*/ 8038 h 13061"/>
                  <a:gd name="connsiteX1" fmla="*/ 7033 w 23486"/>
                  <a:gd name="connsiteY1" fmla="*/ 9043 h 13061"/>
                  <a:gd name="connsiteX2" fmla="*/ 0 w 23486"/>
                  <a:gd name="connsiteY2" fmla="*/ 13062 h 13061"/>
                  <a:gd name="connsiteX3" fmla="*/ 377 w 23486"/>
                  <a:gd name="connsiteY3" fmla="*/ 12936 h 13061"/>
                  <a:gd name="connsiteX4" fmla="*/ 502 w 23486"/>
                  <a:gd name="connsiteY4" fmla="*/ 12936 h 13061"/>
                  <a:gd name="connsiteX5" fmla="*/ 628 w 23486"/>
                  <a:gd name="connsiteY5" fmla="*/ 12936 h 13061"/>
                  <a:gd name="connsiteX6" fmla="*/ 754 w 23486"/>
                  <a:gd name="connsiteY6" fmla="*/ 12936 h 13061"/>
                  <a:gd name="connsiteX7" fmla="*/ 879 w 23486"/>
                  <a:gd name="connsiteY7" fmla="*/ 12811 h 13061"/>
                  <a:gd name="connsiteX8" fmla="*/ 3642 w 23486"/>
                  <a:gd name="connsiteY8" fmla="*/ 11429 h 13061"/>
                  <a:gd name="connsiteX9" fmla="*/ 23486 w 23486"/>
                  <a:gd name="connsiteY9" fmla="*/ 0 h 13061"/>
                  <a:gd name="connsiteX10" fmla="*/ 21728 w 23486"/>
                  <a:gd name="connsiteY10" fmla="*/ 754 h 13061"/>
                  <a:gd name="connsiteX11" fmla="*/ 21602 w 23486"/>
                  <a:gd name="connsiteY11" fmla="*/ 754 h 13061"/>
                  <a:gd name="connsiteX12" fmla="*/ 21477 w 23486"/>
                  <a:gd name="connsiteY12" fmla="*/ 754 h 13061"/>
                  <a:gd name="connsiteX13" fmla="*/ 21100 w 23486"/>
                  <a:gd name="connsiteY13" fmla="*/ 879 h 13061"/>
                  <a:gd name="connsiteX14" fmla="*/ 14067 w 23486"/>
                  <a:gd name="connsiteY14" fmla="*/ 4898 h 13061"/>
                  <a:gd name="connsiteX15" fmla="*/ 8289 w 23486"/>
                  <a:gd name="connsiteY15" fmla="*/ 8038 h 13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486" h="13061">
                    <a:moveTo>
                      <a:pt x="8289" y="8038"/>
                    </a:moveTo>
                    <a:cubicBezTo>
                      <a:pt x="6531" y="9043"/>
                      <a:pt x="6029" y="9420"/>
                      <a:pt x="7033" y="9043"/>
                    </a:cubicBezTo>
                    <a:lnTo>
                      <a:pt x="0" y="13062"/>
                    </a:lnTo>
                    <a:cubicBezTo>
                      <a:pt x="126" y="13062"/>
                      <a:pt x="251" y="12936"/>
                      <a:pt x="377" y="12936"/>
                    </a:cubicBezTo>
                    <a:cubicBezTo>
                      <a:pt x="377" y="12936"/>
                      <a:pt x="377" y="12936"/>
                      <a:pt x="502" y="12936"/>
                    </a:cubicBezTo>
                    <a:cubicBezTo>
                      <a:pt x="502" y="12936"/>
                      <a:pt x="502" y="12936"/>
                      <a:pt x="628" y="12936"/>
                    </a:cubicBezTo>
                    <a:cubicBezTo>
                      <a:pt x="628" y="12936"/>
                      <a:pt x="754" y="12936"/>
                      <a:pt x="754" y="12936"/>
                    </a:cubicBezTo>
                    <a:cubicBezTo>
                      <a:pt x="754" y="12936"/>
                      <a:pt x="879" y="12936"/>
                      <a:pt x="879" y="12811"/>
                    </a:cubicBezTo>
                    <a:cubicBezTo>
                      <a:pt x="1758" y="12434"/>
                      <a:pt x="2638" y="11932"/>
                      <a:pt x="3642" y="11429"/>
                    </a:cubicBezTo>
                    <a:lnTo>
                      <a:pt x="23486" y="0"/>
                    </a:lnTo>
                    <a:cubicBezTo>
                      <a:pt x="23109" y="126"/>
                      <a:pt x="22481" y="377"/>
                      <a:pt x="21728" y="754"/>
                    </a:cubicBezTo>
                    <a:cubicBezTo>
                      <a:pt x="21728" y="754"/>
                      <a:pt x="21728" y="754"/>
                      <a:pt x="21602" y="754"/>
                    </a:cubicBezTo>
                    <a:cubicBezTo>
                      <a:pt x="21602" y="754"/>
                      <a:pt x="21602" y="754"/>
                      <a:pt x="21477" y="754"/>
                    </a:cubicBezTo>
                    <a:cubicBezTo>
                      <a:pt x="21351" y="754"/>
                      <a:pt x="21226" y="879"/>
                      <a:pt x="21100" y="879"/>
                    </a:cubicBezTo>
                    <a:lnTo>
                      <a:pt x="14067" y="4898"/>
                    </a:lnTo>
                    <a:cubicBezTo>
                      <a:pt x="12559" y="5777"/>
                      <a:pt x="10048" y="7033"/>
                      <a:pt x="8289" y="8038"/>
                    </a:cubicBez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 name="Freeform: Shape 375">
                <a:extLst>
                  <a:ext uri="{FF2B5EF4-FFF2-40B4-BE49-F238E27FC236}">
                    <a16:creationId xmlns:a16="http://schemas.microsoft.com/office/drawing/2014/main" id="{60CA8B57-7394-4C2F-8EF7-D44781FE3038}"/>
                  </a:ext>
                </a:extLst>
              </p:cNvPr>
              <p:cNvSpPr/>
              <p:nvPr/>
            </p:nvSpPr>
            <p:spPr>
              <a:xfrm>
                <a:off x="1154470" y="2753767"/>
                <a:ext cx="36301" cy="22002"/>
              </a:xfrm>
              <a:custGeom>
                <a:avLst/>
                <a:gdLst>
                  <a:gd name="connsiteX0" fmla="*/ 0 w 36301"/>
                  <a:gd name="connsiteY0" fmla="*/ 18463 h 22002"/>
                  <a:gd name="connsiteX1" fmla="*/ 1884 w 36301"/>
                  <a:gd name="connsiteY1" fmla="*/ 21979 h 22002"/>
                  <a:gd name="connsiteX2" fmla="*/ 5275 w 36301"/>
                  <a:gd name="connsiteY2" fmla="*/ 20723 h 22002"/>
                  <a:gd name="connsiteX3" fmla="*/ 29264 w 36301"/>
                  <a:gd name="connsiteY3" fmla="*/ 8038 h 22002"/>
                  <a:gd name="connsiteX4" fmla="*/ 36297 w 36301"/>
                  <a:gd name="connsiteY4" fmla="*/ 3517 h 22002"/>
                  <a:gd name="connsiteX5" fmla="*/ 34413 w 36301"/>
                  <a:gd name="connsiteY5" fmla="*/ 0 h 22002"/>
                  <a:gd name="connsiteX6" fmla="*/ 27380 w 36301"/>
                  <a:gd name="connsiteY6" fmla="*/ 4521 h 22002"/>
                  <a:gd name="connsiteX7" fmla="*/ 3391 w 36301"/>
                  <a:gd name="connsiteY7" fmla="*/ 17207 h 22002"/>
                  <a:gd name="connsiteX8" fmla="*/ 0 w 36301"/>
                  <a:gd name="connsiteY8" fmla="*/ 18463 h 2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01" h="22002">
                    <a:moveTo>
                      <a:pt x="0" y="18463"/>
                    </a:moveTo>
                    <a:lnTo>
                      <a:pt x="1884" y="21979"/>
                    </a:lnTo>
                    <a:cubicBezTo>
                      <a:pt x="2010" y="22105"/>
                      <a:pt x="3014" y="21728"/>
                      <a:pt x="5275" y="20723"/>
                    </a:cubicBezTo>
                    <a:cubicBezTo>
                      <a:pt x="10927" y="18086"/>
                      <a:pt x="21602" y="12434"/>
                      <a:pt x="29264" y="8038"/>
                    </a:cubicBezTo>
                    <a:cubicBezTo>
                      <a:pt x="33911" y="5275"/>
                      <a:pt x="36423" y="3768"/>
                      <a:pt x="36297" y="3517"/>
                    </a:cubicBezTo>
                    <a:lnTo>
                      <a:pt x="34413" y="0"/>
                    </a:lnTo>
                    <a:cubicBezTo>
                      <a:pt x="34539" y="251"/>
                      <a:pt x="32152" y="1884"/>
                      <a:pt x="27380" y="4521"/>
                    </a:cubicBezTo>
                    <a:cubicBezTo>
                      <a:pt x="19718" y="8917"/>
                      <a:pt x="8917" y="14569"/>
                      <a:pt x="3391" y="17207"/>
                    </a:cubicBezTo>
                    <a:cubicBezTo>
                      <a:pt x="1130" y="18211"/>
                      <a:pt x="126" y="18714"/>
                      <a:pt x="0" y="18463"/>
                    </a:cubicBezTo>
                    <a:close/>
                  </a:path>
                </a:pathLst>
              </a:custGeom>
              <a:solidFill>
                <a:srgbClr val="5E55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 name="Freeform: Shape 376">
                <a:extLst>
                  <a:ext uri="{FF2B5EF4-FFF2-40B4-BE49-F238E27FC236}">
                    <a16:creationId xmlns:a16="http://schemas.microsoft.com/office/drawing/2014/main" id="{467190FF-7271-4AC8-8305-B486ED3D9386}"/>
                  </a:ext>
                </a:extLst>
              </p:cNvPr>
              <p:cNvSpPr/>
              <p:nvPr/>
            </p:nvSpPr>
            <p:spPr>
              <a:xfrm>
                <a:off x="1167156" y="2759795"/>
                <a:ext cx="14066" cy="10173"/>
              </a:xfrm>
              <a:custGeom>
                <a:avLst/>
                <a:gdLst>
                  <a:gd name="connsiteX0" fmla="*/ 14067 w 14066"/>
                  <a:gd name="connsiteY0" fmla="*/ 3517 h 10173"/>
                  <a:gd name="connsiteX1" fmla="*/ 1884 w 14066"/>
                  <a:gd name="connsiteY1" fmla="*/ 10173 h 10173"/>
                  <a:gd name="connsiteX2" fmla="*/ 0 w 14066"/>
                  <a:gd name="connsiteY2" fmla="*/ 6657 h 10173"/>
                  <a:gd name="connsiteX3" fmla="*/ 12183 w 14066"/>
                  <a:gd name="connsiteY3" fmla="*/ 0 h 10173"/>
                  <a:gd name="connsiteX4" fmla="*/ 14067 w 14066"/>
                  <a:gd name="connsiteY4" fmla="*/ 3517 h 10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6" h="10173">
                    <a:moveTo>
                      <a:pt x="14067" y="3517"/>
                    </a:moveTo>
                    <a:cubicBezTo>
                      <a:pt x="10173" y="5652"/>
                      <a:pt x="5903" y="8038"/>
                      <a:pt x="1884" y="10173"/>
                    </a:cubicBezTo>
                    <a:lnTo>
                      <a:pt x="0" y="6657"/>
                    </a:lnTo>
                    <a:cubicBezTo>
                      <a:pt x="4019" y="4521"/>
                      <a:pt x="8289" y="2261"/>
                      <a:pt x="12183" y="0"/>
                    </a:cubicBezTo>
                    <a:lnTo>
                      <a:pt x="14067" y="3517"/>
                    </a:lnTo>
                    <a:close/>
                  </a:path>
                </a:pathLst>
              </a:custGeom>
              <a:solidFill>
                <a:srgbClr val="73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 name="Freeform: Shape 377">
                <a:extLst>
                  <a:ext uri="{FF2B5EF4-FFF2-40B4-BE49-F238E27FC236}">
                    <a16:creationId xmlns:a16="http://schemas.microsoft.com/office/drawing/2014/main" id="{4C6E2C35-C7D4-404D-AD34-383C2BBB9F8D}"/>
                  </a:ext>
                </a:extLst>
              </p:cNvPr>
              <p:cNvSpPr/>
              <p:nvPr/>
            </p:nvSpPr>
            <p:spPr>
              <a:xfrm>
                <a:off x="1154496" y="2753720"/>
                <a:ext cx="34362" cy="18555"/>
              </a:xfrm>
              <a:custGeom>
                <a:avLst/>
                <a:gdLst>
                  <a:gd name="connsiteX0" fmla="*/ 30997 w 34362"/>
                  <a:gd name="connsiteY0" fmla="*/ 1302 h 18555"/>
                  <a:gd name="connsiteX1" fmla="*/ 27355 w 34362"/>
                  <a:gd name="connsiteY1" fmla="*/ 4568 h 18555"/>
                  <a:gd name="connsiteX2" fmla="*/ 3366 w 34362"/>
                  <a:gd name="connsiteY2" fmla="*/ 17253 h 18555"/>
                  <a:gd name="connsiteX3" fmla="*/ 7008 w 34362"/>
                  <a:gd name="connsiteY3" fmla="*/ 13988 h 18555"/>
                  <a:gd name="connsiteX4" fmla="*/ 30997 w 34362"/>
                  <a:gd name="connsiteY4" fmla="*/ 1302 h 18555"/>
                  <a:gd name="connsiteX5" fmla="*/ 6757 w 34362"/>
                  <a:gd name="connsiteY5" fmla="*/ 15369 h 18555"/>
                  <a:gd name="connsiteX6" fmla="*/ 6757 w 34362"/>
                  <a:gd name="connsiteY6" fmla="*/ 15369 h 18555"/>
                  <a:gd name="connsiteX7" fmla="*/ 6883 w 34362"/>
                  <a:gd name="connsiteY7" fmla="*/ 15244 h 18555"/>
                  <a:gd name="connsiteX8" fmla="*/ 7008 w 34362"/>
                  <a:gd name="connsiteY8" fmla="*/ 15118 h 18555"/>
                  <a:gd name="connsiteX9" fmla="*/ 24843 w 34362"/>
                  <a:gd name="connsiteY9" fmla="*/ 5698 h 18555"/>
                  <a:gd name="connsiteX10" fmla="*/ 27731 w 34362"/>
                  <a:gd name="connsiteY10" fmla="*/ 3061 h 18555"/>
                  <a:gd name="connsiteX11" fmla="*/ 27606 w 34362"/>
                  <a:gd name="connsiteY11" fmla="*/ 3061 h 18555"/>
                  <a:gd name="connsiteX12" fmla="*/ 27480 w 34362"/>
                  <a:gd name="connsiteY12" fmla="*/ 3061 h 18555"/>
                  <a:gd name="connsiteX13" fmla="*/ 9143 w 34362"/>
                  <a:gd name="connsiteY13" fmla="*/ 12732 h 18555"/>
                  <a:gd name="connsiteX14" fmla="*/ 6757 w 34362"/>
                  <a:gd name="connsiteY14" fmla="*/ 15369 h 18555"/>
                  <a:gd name="connsiteX15" fmla="*/ 6757 w 34362"/>
                  <a:gd name="connsiteY15" fmla="*/ 15369 h 18555"/>
                  <a:gd name="connsiteX16" fmla="*/ 6757 w 34362"/>
                  <a:gd name="connsiteY16" fmla="*/ 15369 h 18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362" h="18555">
                    <a:moveTo>
                      <a:pt x="30997" y="1302"/>
                    </a:moveTo>
                    <a:cubicBezTo>
                      <a:pt x="36649" y="-1335"/>
                      <a:pt x="35016" y="172"/>
                      <a:pt x="27355" y="4568"/>
                    </a:cubicBezTo>
                    <a:cubicBezTo>
                      <a:pt x="19693" y="8964"/>
                      <a:pt x="8892" y="14616"/>
                      <a:pt x="3366" y="17253"/>
                    </a:cubicBezTo>
                    <a:cubicBezTo>
                      <a:pt x="-2286" y="19891"/>
                      <a:pt x="-653" y="18383"/>
                      <a:pt x="7008" y="13988"/>
                    </a:cubicBezTo>
                    <a:cubicBezTo>
                      <a:pt x="14544" y="9592"/>
                      <a:pt x="25345" y="3940"/>
                      <a:pt x="30997" y="1302"/>
                    </a:cubicBezTo>
                    <a:close/>
                    <a:moveTo>
                      <a:pt x="6757" y="15369"/>
                    </a:moveTo>
                    <a:cubicBezTo>
                      <a:pt x="6757" y="15369"/>
                      <a:pt x="6757" y="15369"/>
                      <a:pt x="6757" y="15369"/>
                    </a:cubicBezTo>
                    <a:cubicBezTo>
                      <a:pt x="6883" y="15369"/>
                      <a:pt x="6883" y="15244"/>
                      <a:pt x="6883" y="15244"/>
                    </a:cubicBezTo>
                    <a:cubicBezTo>
                      <a:pt x="6883" y="15244"/>
                      <a:pt x="7008" y="15244"/>
                      <a:pt x="7008" y="15118"/>
                    </a:cubicBezTo>
                    <a:cubicBezTo>
                      <a:pt x="11404" y="13108"/>
                      <a:pt x="19191" y="8838"/>
                      <a:pt x="24843" y="5698"/>
                    </a:cubicBezTo>
                    <a:cubicBezTo>
                      <a:pt x="30620" y="2433"/>
                      <a:pt x="31876" y="1302"/>
                      <a:pt x="27731" y="3061"/>
                    </a:cubicBezTo>
                    <a:cubicBezTo>
                      <a:pt x="27731" y="3061"/>
                      <a:pt x="27731" y="3061"/>
                      <a:pt x="27606" y="3061"/>
                    </a:cubicBezTo>
                    <a:cubicBezTo>
                      <a:pt x="27606" y="3061"/>
                      <a:pt x="27606" y="3061"/>
                      <a:pt x="27480" y="3061"/>
                    </a:cubicBezTo>
                    <a:cubicBezTo>
                      <a:pt x="23210" y="5070"/>
                      <a:pt x="15046" y="9341"/>
                      <a:pt x="9143" y="12732"/>
                    </a:cubicBezTo>
                    <a:cubicBezTo>
                      <a:pt x="3617" y="16248"/>
                      <a:pt x="2361" y="17379"/>
                      <a:pt x="6757" y="15369"/>
                    </a:cubicBezTo>
                    <a:cubicBezTo>
                      <a:pt x="6631" y="15369"/>
                      <a:pt x="6631" y="15369"/>
                      <a:pt x="6757" y="15369"/>
                    </a:cubicBezTo>
                    <a:lnTo>
                      <a:pt x="6757" y="15369"/>
                    </a:ln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79" name="Freeform: Shape 378">
              <a:extLst>
                <a:ext uri="{FF2B5EF4-FFF2-40B4-BE49-F238E27FC236}">
                  <a16:creationId xmlns:a16="http://schemas.microsoft.com/office/drawing/2014/main" id="{B1BE1F8F-191E-4457-9CBC-31D6F31E352D}"/>
                </a:ext>
              </a:extLst>
            </p:cNvPr>
            <p:cNvSpPr/>
            <p:nvPr/>
          </p:nvSpPr>
          <p:spPr>
            <a:xfrm>
              <a:off x="1114531" y="2755148"/>
              <a:ext cx="4144" cy="60159"/>
            </a:xfrm>
            <a:custGeom>
              <a:avLst/>
              <a:gdLst>
                <a:gd name="connsiteX0" fmla="*/ 0 w 4144"/>
                <a:gd name="connsiteY0" fmla="*/ 2512 h 60159"/>
                <a:gd name="connsiteX1" fmla="*/ 0 w 4144"/>
                <a:gd name="connsiteY1" fmla="*/ 54257 h 60159"/>
                <a:gd name="connsiteX2" fmla="*/ 3140 w 4144"/>
                <a:gd name="connsiteY2" fmla="*/ 60160 h 60159"/>
                <a:gd name="connsiteX3" fmla="*/ 4145 w 4144"/>
                <a:gd name="connsiteY3" fmla="*/ 59532 h 60159"/>
                <a:gd name="connsiteX4" fmla="*/ 1005 w 4144"/>
                <a:gd name="connsiteY4" fmla="*/ 53629 h 60159"/>
                <a:gd name="connsiteX5" fmla="*/ 1005 w 4144"/>
                <a:gd name="connsiteY5" fmla="*/ 1884 h 60159"/>
                <a:gd name="connsiteX6" fmla="*/ 1633 w 4144"/>
                <a:gd name="connsiteY6" fmla="*/ 0 h 60159"/>
                <a:gd name="connsiteX7" fmla="*/ 0 w 4144"/>
                <a:gd name="connsiteY7" fmla="*/ 2512 h 6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4" h="60159">
                  <a:moveTo>
                    <a:pt x="0" y="2512"/>
                  </a:moveTo>
                  <a:lnTo>
                    <a:pt x="0" y="54257"/>
                  </a:lnTo>
                  <a:cubicBezTo>
                    <a:pt x="0" y="56392"/>
                    <a:pt x="1381" y="58904"/>
                    <a:pt x="3140" y="60160"/>
                  </a:cubicBezTo>
                  <a:lnTo>
                    <a:pt x="4145" y="59532"/>
                  </a:lnTo>
                  <a:cubicBezTo>
                    <a:pt x="2386" y="58276"/>
                    <a:pt x="1005" y="55764"/>
                    <a:pt x="1005" y="53629"/>
                  </a:cubicBezTo>
                  <a:lnTo>
                    <a:pt x="1005" y="1884"/>
                  </a:lnTo>
                  <a:cubicBezTo>
                    <a:pt x="1005" y="1005"/>
                    <a:pt x="1256" y="377"/>
                    <a:pt x="1633" y="0"/>
                  </a:cubicBezTo>
                  <a:cubicBezTo>
                    <a:pt x="754" y="251"/>
                    <a:pt x="0" y="1130"/>
                    <a:pt x="0" y="2512"/>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 name="Freeform: Shape 379">
              <a:extLst>
                <a:ext uri="{FF2B5EF4-FFF2-40B4-BE49-F238E27FC236}">
                  <a16:creationId xmlns:a16="http://schemas.microsoft.com/office/drawing/2014/main" id="{776FD70B-0954-48F3-8D54-80F282E57656}"/>
                </a:ext>
              </a:extLst>
            </p:cNvPr>
            <p:cNvSpPr/>
            <p:nvPr/>
          </p:nvSpPr>
          <p:spPr>
            <a:xfrm>
              <a:off x="1115536" y="2705538"/>
              <a:ext cx="93442" cy="111151"/>
            </a:xfrm>
            <a:custGeom>
              <a:avLst/>
              <a:gdLst>
                <a:gd name="connsiteX0" fmla="*/ 91935 w 93442"/>
                <a:gd name="connsiteY0" fmla="*/ 0 h 111151"/>
                <a:gd name="connsiteX1" fmla="*/ 1005 w 93442"/>
                <a:gd name="connsiteY1" fmla="*/ 49359 h 111151"/>
                <a:gd name="connsiteX2" fmla="*/ 0 w 93442"/>
                <a:gd name="connsiteY2" fmla="*/ 51619 h 111151"/>
                <a:gd name="connsiteX3" fmla="*/ 0 w 93442"/>
                <a:gd name="connsiteY3" fmla="*/ 103365 h 111151"/>
                <a:gd name="connsiteX4" fmla="*/ 3517 w 93442"/>
                <a:gd name="connsiteY4" fmla="*/ 109519 h 111151"/>
                <a:gd name="connsiteX5" fmla="*/ 5024 w 93442"/>
                <a:gd name="connsiteY5" fmla="*/ 110398 h 111151"/>
                <a:gd name="connsiteX6" fmla="*/ 11680 w 93442"/>
                <a:gd name="connsiteY6" fmla="*/ 110398 h 111151"/>
                <a:gd name="connsiteX7" fmla="*/ 92061 w 93442"/>
                <a:gd name="connsiteY7" fmla="*/ 63928 h 111151"/>
                <a:gd name="connsiteX8" fmla="*/ 93443 w 93442"/>
                <a:gd name="connsiteY8" fmla="*/ 62044 h 111151"/>
                <a:gd name="connsiteX9" fmla="*/ 91935 w 93442"/>
                <a:gd name="connsiteY9" fmla="*/ 0 h 11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42" h="111151">
                  <a:moveTo>
                    <a:pt x="91935" y="0"/>
                  </a:moveTo>
                  <a:cubicBezTo>
                    <a:pt x="91935" y="0"/>
                    <a:pt x="1633" y="48982"/>
                    <a:pt x="1005" y="49359"/>
                  </a:cubicBezTo>
                  <a:cubicBezTo>
                    <a:pt x="377" y="49736"/>
                    <a:pt x="0" y="50489"/>
                    <a:pt x="0" y="51619"/>
                  </a:cubicBezTo>
                  <a:lnTo>
                    <a:pt x="0" y="103365"/>
                  </a:lnTo>
                  <a:cubicBezTo>
                    <a:pt x="0" y="105625"/>
                    <a:pt x="1633" y="108388"/>
                    <a:pt x="3517" y="109519"/>
                  </a:cubicBezTo>
                  <a:lnTo>
                    <a:pt x="5024" y="110398"/>
                  </a:lnTo>
                  <a:cubicBezTo>
                    <a:pt x="6782" y="111403"/>
                    <a:pt x="9796" y="111403"/>
                    <a:pt x="11680" y="110398"/>
                  </a:cubicBezTo>
                  <a:lnTo>
                    <a:pt x="92061" y="63928"/>
                  </a:lnTo>
                  <a:cubicBezTo>
                    <a:pt x="92940" y="63425"/>
                    <a:pt x="93443" y="62672"/>
                    <a:pt x="93443" y="62044"/>
                  </a:cubicBezTo>
                  <a:cubicBezTo>
                    <a:pt x="93443" y="61290"/>
                    <a:pt x="91935" y="0"/>
                    <a:pt x="91935" y="0"/>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 name="Freeform: Shape 380">
              <a:extLst>
                <a:ext uri="{FF2B5EF4-FFF2-40B4-BE49-F238E27FC236}">
                  <a16:creationId xmlns:a16="http://schemas.microsoft.com/office/drawing/2014/main" id="{50E159BB-8DE2-414B-9C28-71562FC8A28A}"/>
                </a:ext>
              </a:extLst>
            </p:cNvPr>
            <p:cNvSpPr/>
            <p:nvPr/>
          </p:nvSpPr>
          <p:spPr>
            <a:xfrm>
              <a:off x="1115662" y="2754656"/>
              <a:ext cx="6279" cy="62033"/>
            </a:xfrm>
            <a:custGeom>
              <a:avLst/>
              <a:gdLst>
                <a:gd name="connsiteX0" fmla="*/ 4773 w 6279"/>
                <a:gd name="connsiteY0" fmla="*/ 1245 h 62033"/>
                <a:gd name="connsiteX1" fmla="*/ 3517 w 6279"/>
                <a:gd name="connsiteY1" fmla="*/ 492 h 62033"/>
                <a:gd name="connsiteX2" fmla="*/ 0 w 6279"/>
                <a:gd name="connsiteY2" fmla="*/ 2501 h 62033"/>
                <a:gd name="connsiteX3" fmla="*/ 0 w 6279"/>
                <a:gd name="connsiteY3" fmla="*/ 54246 h 62033"/>
                <a:gd name="connsiteX4" fmla="*/ 3517 w 6279"/>
                <a:gd name="connsiteY4" fmla="*/ 60400 h 62033"/>
                <a:gd name="connsiteX5" fmla="*/ 6280 w 6279"/>
                <a:gd name="connsiteY5" fmla="*/ 62033 h 62033"/>
                <a:gd name="connsiteX6" fmla="*/ 4773 w 6279"/>
                <a:gd name="connsiteY6" fmla="*/ 1245 h 6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9" h="62033">
                  <a:moveTo>
                    <a:pt x="4773" y="1245"/>
                  </a:moveTo>
                  <a:lnTo>
                    <a:pt x="3517" y="492"/>
                  </a:lnTo>
                  <a:cubicBezTo>
                    <a:pt x="1507" y="-638"/>
                    <a:pt x="0" y="241"/>
                    <a:pt x="0" y="2501"/>
                  </a:cubicBezTo>
                  <a:lnTo>
                    <a:pt x="0" y="54246"/>
                  </a:lnTo>
                  <a:cubicBezTo>
                    <a:pt x="0" y="56507"/>
                    <a:pt x="1633" y="59270"/>
                    <a:pt x="3517" y="60400"/>
                  </a:cubicBezTo>
                  <a:lnTo>
                    <a:pt x="6280" y="62033"/>
                  </a:lnTo>
                  <a:lnTo>
                    <a:pt x="4773" y="1245"/>
                  </a:lnTo>
                  <a:close/>
                </a:path>
              </a:pathLst>
            </a:custGeom>
            <a:solidFill>
              <a:srgbClr val="1B8CD4">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 name="Freeform: Shape 381">
              <a:extLst>
                <a:ext uri="{FF2B5EF4-FFF2-40B4-BE49-F238E27FC236}">
                  <a16:creationId xmlns:a16="http://schemas.microsoft.com/office/drawing/2014/main" id="{31053639-52B7-4AFF-AE79-B1842134F878}"/>
                </a:ext>
              </a:extLst>
            </p:cNvPr>
            <p:cNvSpPr/>
            <p:nvPr/>
          </p:nvSpPr>
          <p:spPr>
            <a:xfrm>
              <a:off x="1031890" y="2691723"/>
              <a:ext cx="93442" cy="155486"/>
            </a:xfrm>
            <a:custGeom>
              <a:avLst/>
              <a:gdLst>
                <a:gd name="connsiteX0" fmla="*/ 91056 w 93442"/>
                <a:gd name="connsiteY0" fmla="*/ 126600 h 155486"/>
                <a:gd name="connsiteX1" fmla="*/ 85907 w 93442"/>
                <a:gd name="connsiteY1" fmla="*/ 123585 h 155486"/>
                <a:gd name="connsiteX2" fmla="*/ 82767 w 93442"/>
                <a:gd name="connsiteY2" fmla="*/ 117682 h 155486"/>
                <a:gd name="connsiteX3" fmla="*/ 82767 w 93442"/>
                <a:gd name="connsiteY3" fmla="*/ 65937 h 155486"/>
                <a:gd name="connsiteX4" fmla="*/ 85907 w 93442"/>
                <a:gd name="connsiteY4" fmla="*/ 63677 h 155486"/>
                <a:gd name="connsiteX5" fmla="*/ 89172 w 93442"/>
                <a:gd name="connsiteY5" fmla="*/ 62044 h 155486"/>
                <a:gd name="connsiteX6" fmla="*/ 90931 w 93442"/>
                <a:gd name="connsiteY6" fmla="*/ 58150 h 155486"/>
                <a:gd name="connsiteX7" fmla="*/ 85907 w 93442"/>
                <a:gd name="connsiteY7" fmla="*/ 49610 h 155486"/>
                <a:gd name="connsiteX8" fmla="*/ 0 w 93442"/>
                <a:gd name="connsiteY8" fmla="*/ 0 h 155486"/>
                <a:gd name="connsiteX9" fmla="*/ 0 w 93442"/>
                <a:gd name="connsiteY9" fmla="*/ 103741 h 155486"/>
                <a:gd name="connsiteX10" fmla="*/ 86786 w 93442"/>
                <a:gd name="connsiteY10" fmla="*/ 153854 h 155486"/>
                <a:gd name="connsiteX11" fmla="*/ 93442 w 93442"/>
                <a:gd name="connsiteY11" fmla="*/ 155486 h 155486"/>
                <a:gd name="connsiteX12" fmla="*/ 93442 w 93442"/>
                <a:gd name="connsiteY12" fmla="*/ 130619 h 155486"/>
                <a:gd name="connsiteX13" fmla="*/ 91056 w 93442"/>
                <a:gd name="connsiteY13" fmla="*/ 126600 h 155486"/>
                <a:gd name="connsiteX14" fmla="*/ 32027 w 93442"/>
                <a:gd name="connsiteY14" fmla="*/ 59909 h 155486"/>
                <a:gd name="connsiteX15" fmla="*/ 29515 w 93442"/>
                <a:gd name="connsiteY15" fmla="*/ 61793 h 155486"/>
                <a:gd name="connsiteX16" fmla="*/ 6657 w 93442"/>
                <a:gd name="connsiteY16" fmla="*/ 48605 h 155486"/>
                <a:gd name="connsiteX17" fmla="*/ 4145 w 93442"/>
                <a:gd name="connsiteY17" fmla="*/ 43707 h 155486"/>
                <a:gd name="connsiteX18" fmla="*/ 4145 w 93442"/>
                <a:gd name="connsiteY18" fmla="*/ 23863 h 155486"/>
                <a:gd name="connsiteX19" fmla="*/ 6657 w 93442"/>
                <a:gd name="connsiteY19" fmla="*/ 21979 h 155486"/>
                <a:gd name="connsiteX20" fmla="*/ 29515 w 93442"/>
                <a:gd name="connsiteY20" fmla="*/ 35166 h 155486"/>
                <a:gd name="connsiteX21" fmla="*/ 32027 w 93442"/>
                <a:gd name="connsiteY21" fmla="*/ 40065 h 155486"/>
                <a:gd name="connsiteX22" fmla="*/ 32027 w 93442"/>
                <a:gd name="connsiteY22" fmla="*/ 59909 h 155486"/>
                <a:gd name="connsiteX23" fmla="*/ 75985 w 93442"/>
                <a:gd name="connsiteY23" fmla="*/ 102360 h 155486"/>
                <a:gd name="connsiteX24" fmla="*/ 73473 w 93442"/>
                <a:gd name="connsiteY24" fmla="*/ 104244 h 155486"/>
                <a:gd name="connsiteX25" fmla="*/ 40693 w 93442"/>
                <a:gd name="connsiteY25" fmla="*/ 85404 h 155486"/>
                <a:gd name="connsiteX26" fmla="*/ 38181 w 93442"/>
                <a:gd name="connsiteY26" fmla="*/ 80506 h 155486"/>
                <a:gd name="connsiteX27" fmla="*/ 38181 w 93442"/>
                <a:gd name="connsiteY27" fmla="*/ 43581 h 155486"/>
                <a:gd name="connsiteX28" fmla="*/ 40693 w 93442"/>
                <a:gd name="connsiteY28" fmla="*/ 41697 h 155486"/>
                <a:gd name="connsiteX29" fmla="*/ 73473 w 93442"/>
                <a:gd name="connsiteY29" fmla="*/ 60537 h 155486"/>
                <a:gd name="connsiteX30" fmla="*/ 75985 w 93442"/>
                <a:gd name="connsiteY30" fmla="*/ 65435 h 155486"/>
                <a:gd name="connsiteX31" fmla="*/ 75985 w 93442"/>
                <a:gd name="connsiteY31" fmla="*/ 102360 h 15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3442" h="155486">
                  <a:moveTo>
                    <a:pt x="91056" y="126600"/>
                  </a:moveTo>
                  <a:lnTo>
                    <a:pt x="85907" y="123585"/>
                  </a:lnTo>
                  <a:cubicBezTo>
                    <a:pt x="84148" y="122329"/>
                    <a:pt x="82767" y="119817"/>
                    <a:pt x="82767" y="117682"/>
                  </a:cubicBezTo>
                  <a:lnTo>
                    <a:pt x="82767" y="65937"/>
                  </a:lnTo>
                  <a:cubicBezTo>
                    <a:pt x="82767" y="63802"/>
                    <a:pt x="84148" y="62923"/>
                    <a:pt x="85907" y="63677"/>
                  </a:cubicBezTo>
                  <a:cubicBezTo>
                    <a:pt x="86409" y="63551"/>
                    <a:pt x="87916" y="63300"/>
                    <a:pt x="89172" y="62044"/>
                  </a:cubicBezTo>
                  <a:cubicBezTo>
                    <a:pt x="90679" y="60537"/>
                    <a:pt x="90931" y="58653"/>
                    <a:pt x="90931" y="58150"/>
                  </a:cubicBezTo>
                  <a:cubicBezTo>
                    <a:pt x="90931" y="55513"/>
                    <a:pt x="89675" y="51745"/>
                    <a:pt x="85907" y="49610"/>
                  </a:cubicBezTo>
                  <a:lnTo>
                    <a:pt x="0" y="0"/>
                  </a:lnTo>
                  <a:lnTo>
                    <a:pt x="0" y="103741"/>
                  </a:lnTo>
                  <a:lnTo>
                    <a:pt x="86786" y="153854"/>
                  </a:lnTo>
                  <a:cubicBezTo>
                    <a:pt x="88670" y="154858"/>
                    <a:pt x="91056" y="155486"/>
                    <a:pt x="93442" y="155486"/>
                  </a:cubicBezTo>
                  <a:lnTo>
                    <a:pt x="93442" y="130619"/>
                  </a:lnTo>
                  <a:cubicBezTo>
                    <a:pt x="93442" y="129237"/>
                    <a:pt x="92312" y="127353"/>
                    <a:pt x="91056" y="126600"/>
                  </a:cubicBezTo>
                  <a:close/>
                  <a:moveTo>
                    <a:pt x="32027" y="59909"/>
                  </a:moveTo>
                  <a:cubicBezTo>
                    <a:pt x="32027" y="61793"/>
                    <a:pt x="30896" y="62672"/>
                    <a:pt x="29515" y="61793"/>
                  </a:cubicBezTo>
                  <a:lnTo>
                    <a:pt x="6657" y="48605"/>
                  </a:lnTo>
                  <a:cubicBezTo>
                    <a:pt x="5275" y="47852"/>
                    <a:pt x="4145" y="45591"/>
                    <a:pt x="4145" y="43707"/>
                  </a:cubicBezTo>
                  <a:lnTo>
                    <a:pt x="4145" y="23863"/>
                  </a:lnTo>
                  <a:cubicBezTo>
                    <a:pt x="4145" y="21979"/>
                    <a:pt x="5275" y="21100"/>
                    <a:pt x="6657" y="21979"/>
                  </a:cubicBezTo>
                  <a:lnTo>
                    <a:pt x="29515" y="35166"/>
                  </a:lnTo>
                  <a:cubicBezTo>
                    <a:pt x="30896" y="35920"/>
                    <a:pt x="32027" y="38181"/>
                    <a:pt x="32027" y="40065"/>
                  </a:cubicBezTo>
                  <a:lnTo>
                    <a:pt x="32027" y="59909"/>
                  </a:lnTo>
                  <a:close/>
                  <a:moveTo>
                    <a:pt x="75985" y="102360"/>
                  </a:moveTo>
                  <a:cubicBezTo>
                    <a:pt x="75985" y="104244"/>
                    <a:pt x="74854" y="105123"/>
                    <a:pt x="73473" y="104244"/>
                  </a:cubicBezTo>
                  <a:lnTo>
                    <a:pt x="40693" y="85404"/>
                  </a:lnTo>
                  <a:cubicBezTo>
                    <a:pt x="39311" y="84651"/>
                    <a:pt x="38181" y="82390"/>
                    <a:pt x="38181" y="80506"/>
                  </a:cubicBezTo>
                  <a:lnTo>
                    <a:pt x="38181" y="43581"/>
                  </a:lnTo>
                  <a:cubicBezTo>
                    <a:pt x="38181" y="41697"/>
                    <a:pt x="39311" y="40818"/>
                    <a:pt x="40693" y="41697"/>
                  </a:cubicBezTo>
                  <a:lnTo>
                    <a:pt x="73473" y="60537"/>
                  </a:lnTo>
                  <a:cubicBezTo>
                    <a:pt x="74854" y="61290"/>
                    <a:pt x="75985" y="63551"/>
                    <a:pt x="75985" y="65435"/>
                  </a:cubicBezTo>
                  <a:lnTo>
                    <a:pt x="75985" y="10236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 name="Freeform: Shape 382">
              <a:extLst>
                <a:ext uri="{FF2B5EF4-FFF2-40B4-BE49-F238E27FC236}">
                  <a16:creationId xmlns:a16="http://schemas.microsoft.com/office/drawing/2014/main" id="{E3A912D4-DFFA-4A41-B51F-5D457D542F69}"/>
                </a:ext>
              </a:extLst>
            </p:cNvPr>
            <p:cNvSpPr/>
            <p:nvPr/>
          </p:nvSpPr>
          <p:spPr>
            <a:xfrm>
              <a:off x="1109508" y="2751380"/>
              <a:ext cx="1758" cy="91558"/>
            </a:xfrm>
            <a:custGeom>
              <a:avLst/>
              <a:gdLst>
                <a:gd name="connsiteX0" fmla="*/ 628 w 1758"/>
                <a:gd name="connsiteY0" fmla="*/ 377 h 91558"/>
                <a:gd name="connsiteX1" fmla="*/ 628 w 1758"/>
                <a:gd name="connsiteY1" fmla="*/ 89423 h 91558"/>
                <a:gd name="connsiteX2" fmla="*/ 1758 w 1758"/>
                <a:gd name="connsiteY2" fmla="*/ 91559 h 91558"/>
                <a:gd name="connsiteX3" fmla="*/ 1130 w 1758"/>
                <a:gd name="connsiteY3" fmla="*/ 91182 h 91558"/>
                <a:gd name="connsiteX4" fmla="*/ 0 w 1758"/>
                <a:gd name="connsiteY4" fmla="*/ 89047 h 91558"/>
                <a:gd name="connsiteX5" fmla="*/ 0 w 1758"/>
                <a:gd name="connsiteY5" fmla="*/ 0 h 91558"/>
                <a:gd name="connsiteX6" fmla="*/ 628 w 1758"/>
                <a:gd name="connsiteY6" fmla="*/ 377 h 9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8" h="91558">
                  <a:moveTo>
                    <a:pt x="628" y="377"/>
                  </a:moveTo>
                  <a:cubicBezTo>
                    <a:pt x="628" y="377"/>
                    <a:pt x="628" y="88795"/>
                    <a:pt x="628" y="89423"/>
                  </a:cubicBezTo>
                  <a:cubicBezTo>
                    <a:pt x="628" y="90051"/>
                    <a:pt x="1758" y="91559"/>
                    <a:pt x="1758" y="91559"/>
                  </a:cubicBezTo>
                  <a:lnTo>
                    <a:pt x="1130" y="91182"/>
                  </a:lnTo>
                  <a:cubicBezTo>
                    <a:pt x="1130" y="91182"/>
                    <a:pt x="0" y="89800"/>
                    <a:pt x="0" y="89047"/>
                  </a:cubicBezTo>
                  <a:cubicBezTo>
                    <a:pt x="0" y="88419"/>
                    <a:pt x="0" y="0"/>
                    <a:pt x="0" y="0"/>
                  </a:cubicBezTo>
                  <a:lnTo>
                    <a:pt x="628"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 name="Freeform: Shape 383">
              <a:extLst>
                <a:ext uri="{FF2B5EF4-FFF2-40B4-BE49-F238E27FC236}">
                  <a16:creationId xmlns:a16="http://schemas.microsoft.com/office/drawing/2014/main" id="{381694A5-D2FF-433C-8521-5EBB460C6C6F}"/>
                </a:ext>
              </a:extLst>
            </p:cNvPr>
            <p:cNvSpPr/>
            <p:nvPr/>
          </p:nvSpPr>
          <p:spPr>
            <a:xfrm>
              <a:off x="1067936" y="2727392"/>
              <a:ext cx="1758" cy="91558"/>
            </a:xfrm>
            <a:custGeom>
              <a:avLst/>
              <a:gdLst>
                <a:gd name="connsiteX0" fmla="*/ 628 w 1758"/>
                <a:gd name="connsiteY0" fmla="*/ 377 h 91558"/>
                <a:gd name="connsiteX1" fmla="*/ 628 w 1758"/>
                <a:gd name="connsiteY1" fmla="*/ 89423 h 91558"/>
                <a:gd name="connsiteX2" fmla="*/ 1758 w 1758"/>
                <a:gd name="connsiteY2" fmla="*/ 91559 h 91558"/>
                <a:gd name="connsiteX3" fmla="*/ 1130 w 1758"/>
                <a:gd name="connsiteY3" fmla="*/ 91182 h 91558"/>
                <a:gd name="connsiteX4" fmla="*/ 0 w 1758"/>
                <a:gd name="connsiteY4" fmla="*/ 89047 h 91558"/>
                <a:gd name="connsiteX5" fmla="*/ 0 w 1758"/>
                <a:gd name="connsiteY5" fmla="*/ 0 h 91558"/>
                <a:gd name="connsiteX6" fmla="*/ 628 w 1758"/>
                <a:gd name="connsiteY6" fmla="*/ 377 h 9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8" h="91558">
                  <a:moveTo>
                    <a:pt x="628" y="377"/>
                  </a:moveTo>
                  <a:cubicBezTo>
                    <a:pt x="628" y="377"/>
                    <a:pt x="628" y="88796"/>
                    <a:pt x="628" y="89423"/>
                  </a:cubicBezTo>
                  <a:cubicBezTo>
                    <a:pt x="628" y="90051"/>
                    <a:pt x="1758" y="91559"/>
                    <a:pt x="1758" y="91559"/>
                  </a:cubicBezTo>
                  <a:lnTo>
                    <a:pt x="1130" y="91182"/>
                  </a:lnTo>
                  <a:cubicBezTo>
                    <a:pt x="1130" y="91182"/>
                    <a:pt x="0" y="89800"/>
                    <a:pt x="0" y="89047"/>
                  </a:cubicBezTo>
                  <a:cubicBezTo>
                    <a:pt x="0" y="88419"/>
                    <a:pt x="0" y="0"/>
                    <a:pt x="0" y="0"/>
                  </a:cubicBezTo>
                  <a:lnTo>
                    <a:pt x="628"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 name="Freeform: Shape 384">
              <a:extLst>
                <a:ext uri="{FF2B5EF4-FFF2-40B4-BE49-F238E27FC236}">
                  <a16:creationId xmlns:a16="http://schemas.microsoft.com/office/drawing/2014/main" id="{AC8987AD-B869-41D8-BF5E-4AC206A24265}"/>
                </a:ext>
              </a:extLst>
            </p:cNvPr>
            <p:cNvSpPr/>
            <p:nvPr/>
          </p:nvSpPr>
          <p:spPr>
            <a:xfrm>
              <a:off x="1031764" y="2705789"/>
              <a:ext cx="85906" cy="49609"/>
            </a:xfrm>
            <a:custGeom>
              <a:avLst/>
              <a:gdLst>
                <a:gd name="connsiteX0" fmla="*/ 85907 w 85906"/>
                <a:gd name="connsiteY0" fmla="*/ 49610 h 49609"/>
                <a:gd name="connsiteX1" fmla="*/ 0 w 85906"/>
                <a:gd name="connsiteY1" fmla="*/ 0 h 49609"/>
                <a:gd name="connsiteX2" fmla="*/ 0 w 85906"/>
                <a:gd name="connsiteY2" fmla="*/ 754 h 49609"/>
                <a:gd name="connsiteX3" fmla="*/ 84274 w 85906"/>
                <a:gd name="connsiteY3" fmla="*/ 49484 h 49609"/>
                <a:gd name="connsiteX4" fmla="*/ 85907 w 85906"/>
                <a:gd name="connsiteY4" fmla="*/ 49610 h 4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06" h="49609">
                  <a:moveTo>
                    <a:pt x="85907" y="49610"/>
                  </a:moveTo>
                  <a:lnTo>
                    <a:pt x="0" y="0"/>
                  </a:lnTo>
                  <a:lnTo>
                    <a:pt x="0" y="754"/>
                  </a:lnTo>
                  <a:lnTo>
                    <a:pt x="84274" y="49484"/>
                  </a:lnTo>
                  <a:cubicBezTo>
                    <a:pt x="84776" y="49359"/>
                    <a:pt x="85405" y="49359"/>
                    <a:pt x="85907" y="49610"/>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 name="Freeform: Shape 385">
              <a:extLst>
                <a:ext uri="{FF2B5EF4-FFF2-40B4-BE49-F238E27FC236}">
                  <a16:creationId xmlns:a16="http://schemas.microsoft.com/office/drawing/2014/main" id="{B485E3B1-ABB8-43CC-8BEF-5721DCF82A96}"/>
                </a:ext>
              </a:extLst>
            </p:cNvPr>
            <p:cNvSpPr/>
            <p:nvPr/>
          </p:nvSpPr>
          <p:spPr>
            <a:xfrm>
              <a:off x="1036035" y="2713310"/>
              <a:ext cx="27756" cy="40559"/>
            </a:xfrm>
            <a:custGeom>
              <a:avLst/>
              <a:gdLst>
                <a:gd name="connsiteX0" fmla="*/ 27756 w 27756"/>
                <a:gd name="connsiteY0" fmla="*/ 39200 h 40559"/>
                <a:gd name="connsiteX1" fmla="*/ 27380 w 27756"/>
                <a:gd name="connsiteY1" fmla="*/ 39075 h 40559"/>
                <a:gd name="connsiteX2" fmla="*/ 4521 w 27756"/>
                <a:gd name="connsiteY2" fmla="*/ 25887 h 40559"/>
                <a:gd name="connsiteX3" fmla="*/ 2009 w 27756"/>
                <a:gd name="connsiteY3" fmla="*/ 20989 h 40559"/>
                <a:gd name="connsiteX4" fmla="*/ 2009 w 27756"/>
                <a:gd name="connsiteY4" fmla="*/ 1145 h 40559"/>
                <a:gd name="connsiteX5" fmla="*/ 2135 w 27756"/>
                <a:gd name="connsiteY5" fmla="*/ 140 h 40559"/>
                <a:gd name="connsiteX6" fmla="*/ 0 w 27756"/>
                <a:gd name="connsiteY6" fmla="*/ 2275 h 40559"/>
                <a:gd name="connsiteX7" fmla="*/ 0 w 27756"/>
                <a:gd name="connsiteY7" fmla="*/ 22119 h 40559"/>
                <a:gd name="connsiteX8" fmla="*/ 2512 w 27756"/>
                <a:gd name="connsiteY8" fmla="*/ 27017 h 40559"/>
                <a:gd name="connsiteX9" fmla="*/ 25370 w 27756"/>
                <a:gd name="connsiteY9" fmla="*/ 40205 h 40559"/>
                <a:gd name="connsiteX10" fmla="*/ 27756 w 27756"/>
                <a:gd name="connsiteY10" fmla="*/ 39200 h 4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756" h="40559">
                  <a:moveTo>
                    <a:pt x="27756" y="39200"/>
                  </a:moveTo>
                  <a:cubicBezTo>
                    <a:pt x="27631" y="39200"/>
                    <a:pt x="27505" y="39075"/>
                    <a:pt x="27380" y="39075"/>
                  </a:cubicBezTo>
                  <a:lnTo>
                    <a:pt x="4521" y="25887"/>
                  </a:lnTo>
                  <a:cubicBezTo>
                    <a:pt x="3140" y="25134"/>
                    <a:pt x="2009" y="22873"/>
                    <a:pt x="2009" y="20989"/>
                  </a:cubicBezTo>
                  <a:lnTo>
                    <a:pt x="2009" y="1145"/>
                  </a:lnTo>
                  <a:cubicBezTo>
                    <a:pt x="2009" y="768"/>
                    <a:pt x="2009" y="517"/>
                    <a:pt x="2135" y="140"/>
                  </a:cubicBezTo>
                  <a:cubicBezTo>
                    <a:pt x="879" y="-362"/>
                    <a:pt x="0" y="517"/>
                    <a:pt x="0" y="2275"/>
                  </a:cubicBezTo>
                  <a:lnTo>
                    <a:pt x="0" y="22119"/>
                  </a:lnTo>
                  <a:cubicBezTo>
                    <a:pt x="0" y="24003"/>
                    <a:pt x="1130" y="26138"/>
                    <a:pt x="2512" y="27017"/>
                  </a:cubicBezTo>
                  <a:lnTo>
                    <a:pt x="25370" y="40205"/>
                  </a:lnTo>
                  <a:cubicBezTo>
                    <a:pt x="26375" y="40959"/>
                    <a:pt x="27380" y="40456"/>
                    <a:pt x="27756" y="3920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87" name="Graphic 4">
              <a:extLst>
                <a:ext uri="{FF2B5EF4-FFF2-40B4-BE49-F238E27FC236}">
                  <a16:creationId xmlns:a16="http://schemas.microsoft.com/office/drawing/2014/main" id="{84FB7ED1-A2DF-40A1-A747-5F7CF3F14040}"/>
                </a:ext>
              </a:extLst>
            </p:cNvPr>
            <p:cNvGrpSpPr/>
            <p:nvPr/>
          </p:nvGrpSpPr>
          <p:grpSpPr>
            <a:xfrm>
              <a:off x="1034904" y="2712133"/>
              <a:ext cx="29898" cy="43077"/>
              <a:chOff x="1034904" y="2712133"/>
              <a:chExt cx="29898" cy="43077"/>
            </a:xfrm>
            <a:solidFill>
              <a:schemeClr val="accent1"/>
            </a:solidFill>
          </p:grpSpPr>
          <p:sp>
            <p:nvSpPr>
              <p:cNvPr id="388" name="Freeform: Shape 387">
                <a:extLst>
                  <a:ext uri="{FF2B5EF4-FFF2-40B4-BE49-F238E27FC236}">
                    <a16:creationId xmlns:a16="http://schemas.microsoft.com/office/drawing/2014/main" id="{073707D2-1407-4689-8619-0BE7960D2E65}"/>
                  </a:ext>
                </a:extLst>
              </p:cNvPr>
              <p:cNvSpPr/>
              <p:nvPr/>
            </p:nvSpPr>
            <p:spPr>
              <a:xfrm>
                <a:off x="1034904" y="2712133"/>
                <a:ext cx="29898" cy="43077"/>
              </a:xfrm>
              <a:custGeom>
                <a:avLst/>
                <a:gdLst>
                  <a:gd name="connsiteX0" fmla="*/ 26375 w 29898"/>
                  <a:gd name="connsiteY0" fmla="*/ 13626 h 43077"/>
                  <a:gd name="connsiteX1" fmla="*/ 3517 w 29898"/>
                  <a:gd name="connsiteY1" fmla="*/ 439 h 43077"/>
                  <a:gd name="connsiteX2" fmla="*/ 0 w 29898"/>
                  <a:gd name="connsiteY2" fmla="*/ 2951 h 43077"/>
                  <a:gd name="connsiteX3" fmla="*/ 0 w 29898"/>
                  <a:gd name="connsiteY3" fmla="*/ 22795 h 43077"/>
                  <a:gd name="connsiteX4" fmla="*/ 3517 w 29898"/>
                  <a:gd name="connsiteY4" fmla="*/ 29451 h 43077"/>
                  <a:gd name="connsiteX5" fmla="*/ 26375 w 29898"/>
                  <a:gd name="connsiteY5" fmla="*/ 42639 h 43077"/>
                  <a:gd name="connsiteX6" fmla="*/ 29892 w 29898"/>
                  <a:gd name="connsiteY6" fmla="*/ 40127 h 43077"/>
                  <a:gd name="connsiteX7" fmla="*/ 29892 w 29898"/>
                  <a:gd name="connsiteY7" fmla="*/ 20283 h 43077"/>
                  <a:gd name="connsiteX8" fmla="*/ 26375 w 29898"/>
                  <a:gd name="connsiteY8" fmla="*/ 13626 h 43077"/>
                  <a:gd name="connsiteX9" fmla="*/ 29012 w 29898"/>
                  <a:gd name="connsiteY9" fmla="*/ 39499 h 43077"/>
                  <a:gd name="connsiteX10" fmla="*/ 26501 w 29898"/>
                  <a:gd name="connsiteY10" fmla="*/ 41383 h 43077"/>
                  <a:gd name="connsiteX11" fmla="*/ 3642 w 29898"/>
                  <a:gd name="connsiteY11" fmla="*/ 28195 h 43077"/>
                  <a:gd name="connsiteX12" fmla="*/ 1130 w 29898"/>
                  <a:gd name="connsiteY12" fmla="*/ 23297 h 43077"/>
                  <a:gd name="connsiteX13" fmla="*/ 1130 w 29898"/>
                  <a:gd name="connsiteY13" fmla="*/ 3453 h 43077"/>
                  <a:gd name="connsiteX14" fmla="*/ 3642 w 29898"/>
                  <a:gd name="connsiteY14" fmla="*/ 1569 h 43077"/>
                  <a:gd name="connsiteX15" fmla="*/ 26501 w 29898"/>
                  <a:gd name="connsiteY15" fmla="*/ 14757 h 43077"/>
                  <a:gd name="connsiteX16" fmla="*/ 29012 w 29898"/>
                  <a:gd name="connsiteY16" fmla="*/ 19655 h 43077"/>
                  <a:gd name="connsiteX17" fmla="*/ 29012 w 29898"/>
                  <a:gd name="connsiteY17" fmla="*/ 39499 h 43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898" h="43077">
                    <a:moveTo>
                      <a:pt x="26375" y="13626"/>
                    </a:moveTo>
                    <a:lnTo>
                      <a:pt x="3517" y="439"/>
                    </a:lnTo>
                    <a:cubicBezTo>
                      <a:pt x="1507" y="-692"/>
                      <a:pt x="0" y="439"/>
                      <a:pt x="0" y="2951"/>
                    </a:cubicBezTo>
                    <a:lnTo>
                      <a:pt x="0" y="22795"/>
                    </a:lnTo>
                    <a:cubicBezTo>
                      <a:pt x="0" y="25307"/>
                      <a:pt x="1633" y="28321"/>
                      <a:pt x="3517" y="29451"/>
                    </a:cubicBezTo>
                    <a:lnTo>
                      <a:pt x="26375" y="42639"/>
                    </a:lnTo>
                    <a:cubicBezTo>
                      <a:pt x="28384" y="43769"/>
                      <a:pt x="29892" y="42639"/>
                      <a:pt x="29892" y="40127"/>
                    </a:cubicBezTo>
                    <a:lnTo>
                      <a:pt x="29892" y="20283"/>
                    </a:lnTo>
                    <a:cubicBezTo>
                      <a:pt x="30017" y="17645"/>
                      <a:pt x="28384" y="14757"/>
                      <a:pt x="26375" y="13626"/>
                    </a:cubicBezTo>
                    <a:close/>
                    <a:moveTo>
                      <a:pt x="29012" y="39499"/>
                    </a:moveTo>
                    <a:cubicBezTo>
                      <a:pt x="29012" y="41383"/>
                      <a:pt x="27882" y="42262"/>
                      <a:pt x="26501" y="41383"/>
                    </a:cubicBezTo>
                    <a:lnTo>
                      <a:pt x="3642" y="28195"/>
                    </a:lnTo>
                    <a:cubicBezTo>
                      <a:pt x="2261" y="27442"/>
                      <a:pt x="1130" y="25181"/>
                      <a:pt x="1130" y="23297"/>
                    </a:cubicBezTo>
                    <a:lnTo>
                      <a:pt x="1130" y="3453"/>
                    </a:lnTo>
                    <a:cubicBezTo>
                      <a:pt x="1130" y="1569"/>
                      <a:pt x="2261" y="690"/>
                      <a:pt x="3642" y="1569"/>
                    </a:cubicBezTo>
                    <a:lnTo>
                      <a:pt x="26501" y="14757"/>
                    </a:lnTo>
                    <a:cubicBezTo>
                      <a:pt x="27882" y="15510"/>
                      <a:pt x="29012" y="17771"/>
                      <a:pt x="29012" y="19655"/>
                    </a:cubicBezTo>
                    <a:lnTo>
                      <a:pt x="29012" y="39499"/>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 name="Freeform: Shape 388">
                <a:extLst>
                  <a:ext uri="{FF2B5EF4-FFF2-40B4-BE49-F238E27FC236}">
                    <a16:creationId xmlns:a16="http://schemas.microsoft.com/office/drawing/2014/main" id="{A5DEFB26-7FF0-4CDD-83EC-A85CCE4B0464}"/>
                  </a:ext>
                </a:extLst>
              </p:cNvPr>
              <p:cNvSpPr/>
              <p:nvPr/>
            </p:nvSpPr>
            <p:spPr>
              <a:xfrm>
                <a:off x="1035909" y="2713413"/>
                <a:ext cx="27891" cy="40391"/>
              </a:xfrm>
              <a:custGeom>
                <a:avLst/>
                <a:gdLst>
                  <a:gd name="connsiteX0" fmla="*/ 25370 w 27891"/>
                  <a:gd name="connsiteY0" fmla="*/ 13476 h 40391"/>
                  <a:gd name="connsiteX1" fmla="*/ 2512 w 27891"/>
                  <a:gd name="connsiteY1" fmla="*/ 289 h 40391"/>
                  <a:gd name="connsiteX2" fmla="*/ 0 w 27891"/>
                  <a:gd name="connsiteY2" fmla="*/ 2173 h 40391"/>
                  <a:gd name="connsiteX3" fmla="*/ 0 w 27891"/>
                  <a:gd name="connsiteY3" fmla="*/ 22017 h 40391"/>
                  <a:gd name="connsiteX4" fmla="*/ 2512 w 27891"/>
                  <a:gd name="connsiteY4" fmla="*/ 26915 h 40391"/>
                  <a:gd name="connsiteX5" fmla="*/ 25370 w 27891"/>
                  <a:gd name="connsiteY5" fmla="*/ 40102 h 40391"/>
                  <a:gd name="connsiteX6" fmla="*/ 27882 w 27891"/>
                  <a:gd name="connsiteY6" fmla="*/ 38218 h 40391"/>
                  <a:gd name="connsiteX7" fmla="*/ 27882 w 27891"/>
                  <a:gd name="connsiteY7" fmla="*/ 18374 h 40391"/>
                  <a:gd name="connsiteX8" fmla="*/ 25370 w 27891"/>
                  <a:gd name="connsiteY8" fmla="*/ 13476 h 40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91" h="40391">
                    <a:moveTo>
                      <a:pt x="25370" y="13476"/>
                    </a:moveTo>
                    <a:lnTo>
                      <a:pt x="2512" y="289"/>
                    </a:lnTo>
                    <a:cubicBezTo>
                      <a:pt x="1130" y="-465"/>
                      <a:pt x="0" y="289"/>
                      <a:pt x="0" y="2173"/>
                    </a:cubicBezTo>
                    <a:lnTo>
                      <a:pt x="0" y="22017"/>
                    </a:lnTo>
                    <a:cubicBezTo>
                      <a:pt x="0" y="23901"/>
                      <a:pt x="1130" y="26036"/>
                      <a:pt x="2512" y="26915"/>
                    </a:cubicBezTo>
                    <a:lnTo>
                      <a:pt x="25370" y="40102"/>
                    </a:lnTo>
                    <a:cubicBezTo>
                      <a:pt x="26752" y="40856"/>
                      <a:pt x="27882" y="40102"/>
                      <a:pt x="27882" y="38218"/>
                    </a:cubicBezTo>
                    <a:lnTo>
                      <a:pt x="27882" y="18374"/>
                    </a:lnTo>
                    <a:cubicBezTo>
                      <a:pt x="28008" y="16490"/>
                      <a:pt x="26877" y="14355"/>
                      <a:pt x="25370" y="13476"/>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0" name="Freeform: Shape 389">
              <a:extLst>
                <a:ext uri="{FF2B5EF4-FFF2-40B4-BE49-F238E27FC236}">
                  <a16:creationId xmlns:a16="http://schemas.microsoft.com/office/drawing/2014/main" id="{813CEDF4-F9E8-476F-9FB5-CE35A9246B3F}"/>
                </a:ext>
              </a:extLst>
            </p:cNvPr>
            <p:cNvSpPr/>
            <p:nvPr/>
          </p:nvSpPr>
          <p:spPr>
            <a:xfrm>
              <a:off x="1069066" y="2731851"/>
              <a:ext cx="39813" cy="65809"/>
            </a:xfrm>
            <a:custGeom>
              <a:avLst/>
              <a:gdLst>
                <a:gd name="connsiteX0" fmla="*/ 36297 w 39813"/>
                <a:gd name="connsiteY0" fmla="*/ 19278 h 65809"/>
                <a:gd name="connsiteX1" fmla="*/ 3517 w 39813"/>
                <a:gd name="connsiteY1" fmla="*/ 439 h 65809"/>
                <a:gd name="connsiteX2" fmla="*/ 0 w 39813"/>
                <a:gd name="connsiteY2" fmla="*/ 2951 h 65809"/>
                <a:gd name="connsiteX3" fmla="*/ 0 w 39813"/>
                <a:gd name="connsiteY3" fmla="*/ 39875 h 65809"/>
                <a:gd name="connsiteX4" fmla="*/ 3517 w 39813"/>
                <a:gd name="connsiteY4" fmla="*/ 46532 h 65809"/>
                <a:gd name="connsiteX5" fmla="*/ 36297 w 39813"/>
                <a:gd name="connsiteY5" fmla="*/ 65371 h 65809"/>
                <a:gd name="connsiteX6" fmla="*/ 39814 w 39813"/>
                <a:gd name="connsiteY6" fmla="*/ 62859 h 65809"/>
                <a:gd name="connsiteX7" fmla="*/ 39814 w 39813"/>
                <a:gd name="connsiteY7" fmla="*/ 25934 h 65809"/>
                <a:gd name="connsiteX8" fmla="*/ 36297 w 39813"/>
                <a:gd name="connsiteY8" fmla="*/ 19278 h 65809"/>
                <a:gd name="connsiteX9" fmla="*/ 38809 w 39813"/>
                <a:gd name="connsiteY9" fmla="*/ 62231 h 65809"/>
                <a:gd name="connsiteX10" fmla="*/ 36297 w 39813"/>
                <a:gd name="connsiteY10" fmla="*/ 64115 h 65809"/>
                <a:gd name="connsiteX11" fmla="*/ 3517 w 39813"/>
                <a:gd name="connsiteY11" fmla="*/ 45276 h 65809"/>
                <a:gd name="connsiteX12" fmla="*/ 1005 w 39813"/>
                <a:gd name="connsiteY12" fmla="*/ 40378 h 65809"/>
                <a:gd name="connsiteX13" fmla="*/ 1005 w 39813"/>
                <a:gd name="connsiteY13" fmla="*/ 3453 h 65809"/>
                <a:gd name="connsiteX14" fmla="*/ 3517 w 39813"/>
                <a:gd name="connsiteY14" fmla="*/ 1569 h 65809"/>
                <a:gd name="connsiteX15" fmla="*/ 36297 w 39813"/>
                <a:gd name="connsiteY15" fmla="*/ 20408 h 65809"/>
                <a:gd name="connsiteX16" fmla="*/ 38809 w 39813"/>
                <a:gd name="connsiteY16" fmla="*/ 25307 h 65809"/>
                <a:gd name="connsiteX17" fmla="*/ 38809 w 39813"/>
                <a:gd name="connsiteY17" fmla="*/ 62231 h 6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813" h="65809">
                  <a:moveTo>
                    <a:pt x="36297" y="19278"/>
                  </a:moveTo>
                  <a:lnTo>
                    <a:pt x="3517" y="439"/>
                  </a:lnTo>
                  <a:cubicBezTo>
                    <a:pt x="1507" y="-692"/>
                    <a:pt x="0" y="439"/>
                    <a:pt x="0" y="2951"/>
                  </a:cubicBezTo>
                  <a:lnTo>
                    <a:pt x="0" y="39875"/>
                  </a:lnTo>
                  <a:cubicBezTo>
                    <a:pt x="0" y="42387"/>
                    <a:pt x="1633" y="45402"/>
                    <a:pt x="3517" y="46532"/>
                  </a:cubicBezTo>
                  <a:lnTo>
                    <a:pt x="36297" y="65371"/>
                  </a:lnTo>
                  <a:cubicBezTo>
                    <a:pt x="38306" y="66502"/>
                    <a:pt x="39814" y="65371"/>
                    <a:pt x="39814" y="62859"/>
                  </a:cubicBezTo>
                  <a:lnTo>
                    <a:pt x="39814" y="25934"/>
                  </a:lnTo>
                  <a:cubicBezTo>
                    <a:pt x="39814" y="23423"/>
                    <a:pt x="38306" y="20408"/>
                    <a:pt x="36297" y="19278"/>
                  </a:cubicBezTo>
                  <a:close/>
                  <a:moveTo>
                    <a:pt x="38809" y="62231"/>
                  </a:moveTo>
                  <a:cubicBezTo>
                    <a:pt x="38809" y="64115"/>
                    <a:pt x="37678" y="64994"/>
                    <a:pt x="36297" y="64115"/>
                  </a:cubicBezTo>
                  <a:lnTo>
                    <a:pt x="3517" y="45276"/>
                  </a:lnTo>
                  <a:cubicBezTo>
                    <a:pt x="2135" y="44522"/>
                    <a:pt x="1005" y="42262"/>
                    <a:pt x="1005" y="40378"/>
                  </a:cubicBezTo>
                  <a:lnTo>
                    <a:pt x="1005" y="3453"/>
                  </a:lnTo>
                  <a:cubicBezTo>
                    <a:pt x="1005" y="1569"/>
                    <a:pt x="2135" y="690"/>
                    <a:pt x="3517" y="1569"/>
                  </a:cubicBezTo>
                  <a:lnTo>
                    <a:pt x="36297" y="20408"/>
                  </a:lnTo>
                  <a:cubicBezTo>
                    <a:pt x="37678" y="21162"/>
                    <a:pt x="38809" y="23423"/>
                    <a:pt x="38809" y="25307"/>
                  </a:cubicBezTo>
                  <a:lnTo>
                    <a:pt x="38809" y="62231"/>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 name="Freeform: Shape 390">
              <a:extLst>
                <a:ext uri="{FF2B5EF4-FFF2-40B4-BE49-F238E27FC236}">
                  <a16:creationId xmlns:a16="http://schemas.microsoft.com/office/drawing/2014/main" id="{00919C12-91F9-413A-BCCD-EB80F6E43A4F}"/>
                </a:ext>
              </a:extLst>
            </p:cNvPr>
            <p:cNvSpPr/>
            <p:nvPr/>
          </p:nvSpPr>
          <p:spPr>
            <a:xfrm>
              <a:off x="1070071" y="2733029"/>
              <a:ext cx="37678" cy="63291"/>
            </a:xfrm>
            <a:custGeom>
              <a:avLst/>
              <a:gdLst>
                <a:gd name="connsiteX0" fmla="*/ 37678 w 37678"/>
                <a:gd name="connsiteY0" fmla="*/ 61933 h 63291"/>
                <a:gd name="connsiteX1" fmla="*/ 37302 w 37678"/>
                <a:gd name="connsiteY1" fmla="*/ 61807 h 63291"/>
                <a:gd name="connsiteX2" fmla="*/ 4521 w 37678"/>
                <a:gd name="connsiteY2" fmla="*/ 42968 h 63291"/>
                <a:gd name="connsiteX3" fmla="*/ 2009 w 37678"/>
                <a:gd name="connsiteY3" fmla="*/ 38070 h 63291"/>
                <a:gd name="connsiteX4" fmla="*/ 2009 w 37678"/>
                <a:gd name="connsiteY4" fmla="*/ 1145 h 63291"/>
                <a:gd name="connsiteX5" fmla="*/ 2135 w 37678"/>
                <a:gd name="connsiteY5" fmla="*/ 140 h 63291"/>
                <a:gd name="connsiteX6" fmla="*/ 0 w 37678"/>
                <a:gd name="connsiteY6" fmla="*/ 2275 h 63291"/>
                <a:gd name="connsiteX7" fmla="*/ 0 w 37678"/>
                <a:gd name="connsiteY7" fmla="*/ 39200 h 63291"/>
                <a:gd name="connsiteX8" fmla="*/ 2512 w 37678"/>
                <a:gd name="connsiteY8" fmla="*/ 44098 h 63291"/>
                <a:gd name="connsiteX9" fmla="*/ 35292 w 37678"/>
                <a:gd name="connsiteY9" fmla="*/ 62938 h 63291"/>
                <a:gd name="connsiteX10" fmla="*/ 37678 w 37678"/>
                <a:gd name="connsiteY10" fmla="*/ 61933 h 63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8" h="63291">
                  <a:moveTo>
                    <a:pt x="37678" y="61933"/>
                  </a:moveTo>
                  <a:cubicBezTo>
                    <a:pt x="37553" y="61933"/>
                    <a:pt x="37427" y="61807"/>
                    <a:pt x="37302" y="61807"/>
                  </a:cubicBezTo>
                  <a:lnTo>
                    <a:pt x="4521" y="42968"/>
                  </a:lnTo>
                  <a:cubicBezTo>
                    <a:pt x="3140" y="42214"/>
                    <a:pt x="2009" y="39954"/>
                    <a:pt x="2009" y="38070"/>
                  </a:cubicBezTo>
                  <a:lnTo>
                    <a:pt x="2009" y="1145"/>
                  </a:lnTo>
                  <a:cubicBezTo>
                    <a:pt x="2009" y="768"/>
                    <a:pt x="2009" y="517"/>
                    <a:pt x="2135" y="140"/>
                  </a:cubicBezTo>
                  <a:cubicBezTo>
                    <a:pt x="879" y="-362"/>
                    <a:pt x="0" y="517"/>
                    <a:pt x="0" y="2275"/>
                  </a:cubicBezTo>
                  <a:lnTo>
                    <a:pt x="0" y="39200"/>
                  </a:lnTo>
                  <a:cubicBezTo>
                    <a:pt x="0" y="41084"/>
                    <a:pt x="1130" y="43219"/>
                    <a:pt x="2512" y="44098"/>
                  </a:cubicBezTo>
                  <a:lnTo>
                    <a:pt x="35292" y="62938"/>
                  </a:lnTo>
                  <a:cubicBezTo>
                    <a:pt x="36422" y="63691"/>
                    <a:pt x="37427" y="63189"/>
                    <a:pt x="37678" y="6193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 name="Freeform: Shape 391">
              <a:extLst>
                <a:ext uri="{FF2B5EF4-FFF2-40B4-BE49-F238E27FC236}">
                  <a16:creationId xmlns:a16="http://schemas.microsoft.com/office/drawing/2014/main" id="{DA366087-8284-4810-B518-0F05A447FA88}"/>
                </a:ext>
              </a:extLst>
            </p:cNvPr>
            <p:cNvSpPr/>
            <p:nvPr/>
          </p:nvSpPr>
          <p:spPr>
            <a:xfrm>
              <a:off x="1070071" y="2733257"/>
              <a:ext cx="37803" cy="63123"/>
            </a:xfrm>
            <a:custGeom>
              <a:avLst/>
              <a:gdLst>
                <a:gd name="connsiteX0" fmla="*/ 35292 w 37803"/>
                <a:gd name="connsiteY0" fmla="*/ 19128 h 63123"/>
                <a:gd name="connsiteX1" fmla="*/ 2512 w 37803"/>
                <a:gd name="connsiteY1" fmla="*/ 289 h 63123"/>
                <a:gd name="connsiteX2" fmla="*/ 0 w 37803"/>
                <a:gd name="connsiteY2" fmla="*/ 2173 h 63123"/>
                <a:gd name="connsiteX3" fmla="*/ 0 w 37803"/>
                <a:gd name="connsiteY3" fmla="*/ 39098 h 63123"/>
                <a:gd name="connsiteX4" fmla="*/ 2512 w 37803"/>
                <a:gd name="connsiteY4" fmla="*/ 43996 h 63123"/>
                <a:gd name="connsiteX5" fmla="*/ 35292 w 37803"/>
                <a:gd name="connsiteY5" fmla="*/ 62835 h 63123"/>
                <a:gd name="connsiteX6" fmla="*/ 37804 w 37803"/>
                <a:gd name="connsiteY6" fmla="*/ 60951 h 63123"/>
                <a:gd name="connsiteX7" fmla="*/ 37804 w 37803"/>
                <a:gd name="connsiteY7" fmla="*/ 24026 h 63123"/>
                <a:gd name="connsiteX8" fmla="*/ 35292 w 37803"/>
                <a:gd name="connsiteY8" fmla="*/ 19128 h 6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03" h="63123">
                  <a:moveTo>
                    <a:pt x="35292" y="19128"/>
                  </a:moveTo>
                  <a:lnTo>
                    <a:pt x="2512" y="289"/>
                  </a:lnTo>
                  <a:cubicBezTo>
                    <a:pt x="1130" y="-465"/>
                    <a:pt x="0" y="289"/>
                    <a:pt x="0" y="2173"/>
                  </a:cubicBezTo>
                  <a:lnTo>
                    <a:pt x="0" y="39098"/>
                  </a:lnTo>
                  <a:cubicBezTo>
                    <a:pt x="0" y="40981"/>
                    <a:pt x="1130" y="43117"/>
                    <a:pt x="2512" y="43996"/>
                  </a:cubicBezTo>
                  <a:lnTo>
                    <a:pt x="35292" y="62835"/>
                  </a:lnTo>
                  <a:cubicBezTo>
                    <a:pt x="36674" y="63589"/>
                    <a:pt x="37804" y="62835"/>
                    <a:pt x="37804" y="60951"/>
                  </a:cubicBezTo>
                  <a:lnTo>
                    <a:pt x="37804" y="24026"/>
                  </a:lnTo>
                  <a:cubicBezTo>
                    <a:pt x="37804" y="22017"/>
                    <a:pt x="36674" y="19882"/>
                    <a:pt x="35292" y="19128"/>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3" name="Graphic 4">
              <a:extLst>
                <a:ext uri="{FF2B5EF4-FFF2-40B4-BE49-F238E27FC236}">
                  <a16:creationId xmlns:a16="http://schemas.microsoft.com/office/drawing/2014/main" id="{84FB7ED1-A2DF-40A1-A747-5F7CF3F14040}"/>
                </a:ext>
              </a:extLst>
            </p:cNvPr>
            <p:cNvGrpSpPr/>
            <p:nvPr/>
          </p:nvGrpSpPr>
          <p:grpSpPr>
            <a:xfrm>
              <a:off x="1097576" y="2774736"/>
              <a:ext cx="12182" cy="36477"/>
              <a:chOff x="1097576" y="2774736"/>
              <a:chExt cx="12182" cy="36477"/>
            </a:xfrm>
            <a:solidFill>
              <a:schemeClr val="accent1"/>
            </a:solidFill>
          </p:grpSpPr>
          <p:sp>
            <p:nvSpPr>
              <p:cNvPr id="394" name="Freeform: Shape 393">
                <a:extLst>
                  <a:ext uri="{FF2B5EF4-FFF2-40B4-BE49-F238E27FC236}">
                    <a16:creationId xmlns:a16="http://schemas.microsoft.com/office/drawing/2014/main" id="{D6C8EB1E-1CFA-4C73-9A07-B051E42E9987}"/>
                  </a:ext>
                </a:extLst>
              </p:cNvPr>
              <p:cNvSpPr/>
              <p:nvPr/>
            </p:nvSpPr>
            <p:spPr>
              <a:xfrm>
                <a:off x="1099460" y="2775866"/>
                <a:ext cx="10298" cy="35346"/>
              </a:xfrm>
              <a:custGeom>
                <a:avLst/>
                <a:gdLst>
                  <a:gd name="connsiteX0" fmla="*/ 2763 w 10298"/>
                  <a:gd name="connsiteY0" fmla="*/ 35046 h 35346"/>
                  <a:gd name="connsiteX1" fmla="*/ 8164 w 10298"/>
                  <a:gd name="connsiteY1" fmla="*/ 32660 h 35346"/>
                  <a:gd name="connsiteX2" fmla="*/ 10299 w 10298"/>
                  <a:gd name="connsiteY2" fmla="*/ 29143 h 35346"/>
                  <a:gd name="connsiteX3" fmla="*/ 10299 w 10298"/>
                  <a:gd name="connsiteY3" fmla="*/ 1387 h 35346"/>
                  <a:gd name="connsiteX4" fmla="*/ 9671 w 10298"/>
                  <a:gd name="connsiteY4" fmla="*/ 131 h 35346"/>
                  <a:gd name="connsiteX5" fmla="*/ 8038 w 10298"/>
                  <a:gd name="connsiteY5" fmla="*/ 382 h 35346"/>
                  <a:gd name="connsiteX6" fmla="*/ 2637 w 10298"/>
                  <a:gd name="connsiteY6" fmla="*/ 4275 h 35346"/>
                  <a:gd name="connsiteX7" fmla="*/ 0 w 10298"/>
                  <a:gd name="connsiteY7" fmla="*/ 9299 h 35346"/>
                  <a:gd name="connsiteX8" fmla="*/ 0 w 10298"/>
                  <a:gd name="connsiteY8" fmla="*/ 33162 h 35346"/>
                  <a:gd name="connsiteX9" fmla="*/ 879 w 10298"/>
                  <a:gd name="connsiteY9" fmla="*/ 35172 h 35346"/>
                  <a:gd name="connsiteX10" fmla="*/ 2763 w 10298"/>
                  <a:gd name="connsiteY10" fmla="*/ 35046 h 35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98" h="35346">
                    <a:moveTo>
                      <a:pt x="2763" y="35046"/>
                    </a:moveTo>
                    <a:lnTo>
                      <a:pt x="8164" y="32660"/>
                    </a:lnTo>
                    <a:cubicBezTo>
                      <a:pt x="9294" y="32157"/>
                      <a:pt x="10299" y="30525"/>
                      <a:pt x="10299" y="29143"/>
                    </a:cubicBezTo>
                    <a:lnTo>
                      <a:pt x="10299" y="1387"/>
                    </a:lnTo>
                    <a:cubicBezTo>
                      <a:pt x="10299" y="759"/>
                      <a:pt x="10048" y="382"/>
                      <a:pt x="9671" y="131"/>
                    </a:cubicBezTo>
                    <a:cubicBezTo>
                      <a:pt x="9294" y="-120"/>
                      <a:pt x="8666" y="5"/>
                      <a:pt x="8038" y="382"/>
                    </a:cubicBezTo>
                    <a:lnTo>
                      <a:pt x="2637" y="4275"/>
                    </a:lnTo>
                    <a:cubicBezTo>
                      <a:pt x="1130" y="5406"/>
                      <a:pt x="0" y="7541"/>
                      <a:pt x="0" y="9299"/>
                    </a:cubicBezTo>
                    <a:lnTo>
                      <a:pt x="0" y="33162"/>
                    </a:lnTo>
                    <a:cubicBezTo>
                      <a:pt x="0" y="34167"/>
                      <a:pt x="377" y="34795"/>
                      <a:pt x="879" y="35172"/>
                    </a:cubicBezTo>
                    <a:cubicBezTo>
                      <a:pt x="1507" y="35423"/>
                      <a:pt x="2135" y="35423"/>
                      <a:pt x="2763" y="35046"/>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 name="Freeform: Shape 394">
                <a:extLst>
                  <a:ext uri="{FF2B5EF4-FFF2-40B4-BE49-F238E27FC236}">
                    <a16:creationId xmlns:a16="http://schemas.microsoft.com/office/drawing/2014/main" id="{7673CCC6-21C4-46EF-B63B-D9735D263169}"/>
                  </a:ext>
                </a:extLst>
              </p:cNvPr>
              <p:cNvSpPr/>
              <p:nvPr/>
            </p:nvSpPr>
            <p:spPr>
              <a:xfrm>
                <a:off x="1097576" y="2774736"/>
                <a:ext cx="11680" cy="36176"/>
              </a:xfrm>
              <a:custGeom>
                <a:avLst/>
                <a:gdLst>
                  <a:gd name="connsiteX0" fmla="*/ 2010 w 11680"/>
                  <a:gd name="connsiteY0" fmla="*/ 34292 h 36176"/>
                  <a:gd name="connsiteX1" fmla="*/ 2010 w 11680"/>
                  <a:gd name="connsiteY1" fmla="*/ 10430 h 36176"/>
                  <a:gd name="connsiteX2" fmla="*/ 4647 w 11680"/>
                  <a:gd name="connsiteY2" fmla="*/ 5406 h 36176"/>
                  <a:gd name="connsiteX3" fmla="*/ 10048 w 11680"/>
                  <a:gd name="connsiteY3" fmla="*/ 1512 h 36176"/>
                  <a:gd name="connsiteX4" fmla="*/ 11680 w 11680"/>
                  <a:gd name="connsiteY4" fmla="*/ 1261 h 36176"/>
                  <a:gd name="connsiteX5" fmla="*/ 9671 w 11680"/>
                  <a:gd name="connsiteY5" fmla="*/ 131 h 36176"/>
                  <a:gd name="connsiteX6" fmla="*/ 8038 w 11680"/>
                  <a:gd name="connsiteY6" fmla="*/ 382 h 36176"/>
                  <a:gd name="connsiteX7" fmla="*/ 2637 w 11680"/>
                  <a:gd name="connsiteY7" fmla="*/ 4275 h 36176"/>
                  <a:gd name="connsiteX8" fmla="*/ 0 w 11680"/>
                  <a:gd name="connsiteY8" fmla="*/ 9299 h 36176"/>
                  <a:gd name="connsiteX9" fmla="*/ 0 w 11680"/>
                  <a:gd name="connsiteY9" fmla="*/ 33162 h 36176"/>
                  <a:gd name="connsiteX10" fmla="*/ 879 w 11680"/>
                  <a:gd name="connsiteY10" fmla="*/ 35046 h 36176"/>
                  <a:gd name="connsiteX11" fmla="*/ 2889 w 11680"/>
                  <a:gd name="connsiteY11" fmla="*/ 36176 h 36176"/>
                  <a:gd name="connsiteX12" fmla="*/ 2010 w 11680"/>
                  <a:gd name="connsiteY12" fmla="*/ 34292 h 3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80" h="36176">
                    <a:moveTo>
                      <a:pt x="2010" y="34292"/>
                    </a:moveTo>
                    <a:lnTo>
                      <a:pt x="2010" y="10430"/>
                    </a:lnTo>
                    <a:cubicBezTo>
                      <a:pt x="2010" y="8671"/>
                      <a:pt x="3140" y="6536"/>
                      <a:pt x="4647" y="5406"/>
                    </a:cubicBezTo>
                    <a:lnTo>
                      <a:pt x="10048" y="1512"/>
                    </a:lnTo>
                    <a:cubicBezTo>
                      <a:pt x="10676" y="1010"/>
                      <a:pt x="11304" y="1010"/>
                      <a:pt x="11680" y="1261"/>
                    </a:cubicBezTo>
                    <a:cubicBezTo>
                      <a:pt x="11680" y="1261"/>
                      <a:pt x="10048" y="256"/>
                      <a:pt x="9671" y="131"/>
                    </a:cubicBezTo>
                    <a:cubicBezTo>
                      <a:pt x="9294" y="-121"/>
                      <a:pt x="8666" y="5"/>
                      <a:pt x="8038" y="382"/>
                    </a:cubicBezTo>
                    <a:lnTo>
                      <a:pt x="2637" y="4275"/>
                    </a:lnTo>
                    <a:cubicBezTo>
                      <a:pt x="1130" y="5406"/>
                      <a:pt x="0" y="7541"/>
                      <a:pt x="0" y="9299"/>
                    </a:cubicBezTo>
                    <a:lnTo>
                      <a:pt x="0" y="33162"/>
                    </a:lnTo>
                    <a:cubicBezTo>
                      <a:pt x="0" y="34167"/>
                      <a:pt x="377" y="34795"/>
                      <a:pt x="879" y="35046"/>
                    </a:cubicBezTo>
                    <a:cubicBezTo>
                      <a:pt x="1382" y="35297"/>
                      <a:pt x="2889" y="36176"/>
                      <a:pt x="2889" y="36176"/>
                    </a:cubicBezTo>
                    <a:cubicBezTo>
                      <a:pt x="2386" y="35925"/>
                      <a:pt x="2010" y="35297"/>
                      <a:pt x="2010" y="34292"/>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6" name="Freeform: Shape 395">
              <a:extLst>
                <a:ext uri="{FF2B5EF4-FFF2-40B4-BE49-F238E27FC236}">
                  <a16:creationId xmlns:a16="http://schemas.microsoft.com/office/drawing/2014/main" id="{73416A38-2217-4658-9607-87C63B73DB64}"/>
                </a:ext>
              </a:extLst>
            </p:cNvPr>
            <p:cNvSpPr/>
            <p:nvPr/>
          </p:nvSpPr>
          <p:spPr>
            <a:xfrm>
              <a:off x="1101846" y="2764512"/>
              <a:ext cx="11987" cy="14499"/>
            </a:xfrm>
            <a:custGeom>
              <a:avLst/>
              <a:gdLst>
                <a:gd name="connsiteX0" fmla="*/ 1130 w 11987"/>
                <a:gd name="connsiteY0" fmla="*/ 14499 h 14499"/>
                <a:gd name="connsiteX1" fmla="*/ 0 w 11987"/>
                <a:gd name="connsiteY1" fmla="*/ 13369 h 14499"/>
                <a:gd name="connsiteX2" fmla="*/ 10173 w 11987"/>
                <a:gd name="connsiteY2" fmla="*/ 181 h 14499"/>
                <a:gd name="connsiteX3" fmla="*/ 11806 w 11987"/>
                <a:gd name="connsiteY3" fmla="*/ 558 h 14499"/>
                <a:gd name="connsiteX4" fmla="*/ 11429 w 11987"/>
                <a:gd name="connsiteY4" fmla="*/ 2191 h 14499"/>
                <a:gd name="connsiteX5" fmla="*/ 2386 w 11987"/>
                <a:gd name="connsiteY5" fmla="*/ 13369 h 14499"/>
                <a:gd name="connsiteX6" fmla="*/ 1130 w 11987"/>
                <a:gd name="connsiteY6" fmla="*/ 14499 h 1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87" h="14499">
                  <a:moveTo>
                    <a:pt x="1130" y="14499"/>
                  </a:moveTo>
                  <a:cubicBezTo>
                    <a:pt x="502" y="14499"/>
                    <a:pt x="0" y="13997"/>
                    <a:pt x="0" y="13369"/>
                  </a:cubicBezTo>
                  <a:cubicBezTo>
                    <a:pt x="0" y="8471"/>
                    <a:pt x="3391" y="4075"/>
                    <a:pt x="10173" y="181"/>
                  </a:cubicBezTo>
                  <a:cubicBezTo>
                    <a:pt x="10676" y="-195"/>
                    <a:pt x="11429" y="56"/>
                    <a:pt x="11806" y="558"/>
                  </a:cubicBezTo>
                  <a:cubicBezTo>
                    <a:pt x="12183" y="1060"/>
                    <a:pt x="11931" y="1814"/>
                    <a:pt x="11429" y="2191"/>
                  </a:cubicBezTo>
                  <a:cubicBezTo>
                    <a:pt x="5526" y="5582"/>
                    <a:pt x="2386" y="9475"/>
                    <a:pt x="2386" y="13369"/>
                  </a:cubicBezTo>
                  <a:cubicBezTo>
                    <a:pt x="2261" y="13997"/>
                    <a:pt x="1758" y="14499"/>
                    <a:pt x="1130" y="1449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 name="Freeform: Shape 396">
              <a:extLst>
                <a:ext uri="{FF2B5EF4-FFF2-40B4-BE49-F238E27FC236}">
                  <a16:creationId xmlns:a16="http://schemas.microsoft.com/office/drawing/2014/main" id="{D0B90794-14A5-4D3F-B4F3-6456CC495648}"/>
                </a:ext>
              </a:extLst>
            </p:cNvPr>
            <p:cNvSpPr/>
            <p:nvPr/>
          </p:nvSpPr>
          <p:spPr>
            <a:xfrm>
              <a:off x="1117797" y="2698630"/>
              <a:ext cx="96833" cy="58495"/>
            </a:xfrm>
            <a:custGeom>
              <a:avLst/>
              <a:gdLst>
                <a:gd name="connsiteX0" fmla="*/ 96206 w 96833"/>
                <a:gd name="connsiteY0" fmla="*/ 0 h 58495"/>
                <a:gd name="connsiteX1" fmla="*/ 93066 w 96833"/>
                <a:gd name="connsiteY1" fmla="*/ 3894 h 58495"/>
                <a:gd name="connsiteX2" fmla="*/ 93066 w 96833"/>
                <a:gd name="connsiteY2" fmla="*/ 3894 h 58495"/>
                <a:gd name="connsiteX3" fmla="*/ 13439 w 96833"/>
                <a:gd name="connsiteY3" fmla="*/ 49861 h 58495"/>
                <a:gd name="connsiteX4" fmla="*/ 5024 w 96833"/>
                <a:gd name="connsiteY4" fmla="*/ 51368 h 58495"/>
                <a:gd name="connsiteX5" fmla="*/ 3265 w 96833"/>
                <a:gd name="connsiteY5" fmla="*/ 55262 h 58495"/>
                <a:gd name="connsiteX6" fmla="*/ 0 w 96833"/>
                <a:gd name="connsiteY6" fmla="*/ 56894 h 58495"/>
                <a:gd name="connsiteX7" fmla="*/ 13439 w 96833"/>
                <a:gd name="connsiteY7" fmla="*/ 56894 h 58495"/>
                <a:gd name="connsiteX8" fmla="*/ 93066 w 96833"/>
                <a:gd name="connsiteY8" fmla="*/ 10927 h 58495"/>
                <a:gd name="connsiteX9" fmla="*/ 94322 w 96833"/>
                <a:gd name="connsiteY9" fmla="*/ 9922 h 58495"/>
                <a:gd name="connsiteX10" fmla="*/ 96206 w 96833"/>
                <a:gd name="connsiteY10" fmla="*/ 0 h 58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33" h="58495">
                  <a:moveTo>
                    <a:pt x="96206" y="0"/>
                  </a:moveTo>
                  <a:cubicBezTo>
                    <a:pt x="96206" y="251"/>
                    <a:pt x="95703" y="2261"/>
                    <a:pt x="93066" y="3894"/>
                  </a:cubicBezTo>
                  <a:lnTo>
                    <a:pt x="93066" y="3894"/>
                  </a:lnTo>
                  <a:cubicBezTo>
                    <a:pt x="91307" y="4898"/>
                    <a:pt x="19970" y="46219"/>
                    <a:pt x="13439" y="49861"/>
                  </a:cubicBezTo>
                  <a:cubicBezTo>
                    <a:pt x="8666" y="52499"/>
                    <a:pt x="5024" y="51368"/>
                    <a:pt x="5024" y="51368"/>
                  </a:cubicBezTo>
                  <a:cubicBezTo>
                    <a:pt x="5024" y="51871"/>
                    <a:pt x="4773" y="53755"/>
                    <a:pt x="3265" y="55262"/>
                  </a:cubicBezTo>
                  <a:cubicBezTo>
                    <a:pt x="2010" y="56518"/>
                    <a:pt x="628" y="56769"/>
                    <a:pt x="0" y="56894"/>
                  </a:cubicBezTo>
                  <a:cubicBezTo>
                    <a:pt x="3642" y="59030"/>
                    <a:pt x="9671" y="59030"/>
                    <a:pt x="13439" y="56894"/>
                  </a:cubicBezTo>
                  <a:lnTo>
                    <a:pt x="93066" y="10927"/>
                  </a:lnTo>
                  <a:cubicBezTo>
                    <a:pt x="93443" y="10676"/>
                    <a:pt x="93945" y="10299"/>
                    <a:pt x="94322" y="9922"/>
                  </a:cubicBezTo>
                  <a:cubicBezTo>
                    <a:pt x="96834" y="7536"/>
                    <a:pt x="97462" y="4270"/>
                    <a:pt x="96206" y="0"/>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8" name="Freeform: Shape 397">
              <a:extLst>
                <a:ext uri="{FF2B5EF4-FFF2-40B4-BE49-F238E27FC236}">
                  <a16:creationId xmlns:a16="http://schemas.microsoft.com/office/drawing/2014/main" id="{9445C5BF-D4AF-4D18-A54F-E6E72E5EDF5C}"/>
                </a:ext>
              </a:extLst>
            </p:cNvPr>
            <p:cNvSpPr/>
            <p:nvPr/>
          </p:nvSpPr>
          <p:spPr>
            <a:xfrm>
              <a:off x="1031764" y="2640606"/>
              <a:ext cx="182129" cy="109633"/>
            </a:xfrm>
            <a:custGeom>
              <a:avLst/>
              <a:gdLst>
                <a:gd name="connsiteX0" fmla="*/ 175958 w 182129"/>
                <a:gd name="connsiteY0" fmla="*/ 48856 h 109633"/>
                <a:gd name="connsiteX1" fmla="*/ 92689 w 182129"/>
                <a:gd name="connsiteY1" fmla="*/ 754 h 109633"/>
                <a:gd name="connsiteX2" fmla="*/ 87414 w 182129"/>
                <a:gd name="connsiteY2" fmla="*/ 754 h 109633"/>
                <a:gd name="connsiteX3" fmla="*/ 0 w 182129"/>
                <a:gd name="connsiteY3" fmla="*/ 51243 h 109633"/>
                <a:gd name="connsiteX4" fmla="*/ 85907 w 182129"/>
                <a:gd name="connsiteY4" fmla="*/ 100853 h 109633"/>
                <a:gd name="connsiteX5" fmla="*/ 90931 w 182129"/>
                <a:gd name="connsiteY5" fmla="*/ 109393 h 109633"/>
                <a:gd name="connsiteX6" fmla="*/ 99346 w 182129"/>
                <a:gd name="connsiteY6" fmla="*/ 107886 h 109633"/>
                <a:gd name="connsiteX7" fmla="*/ 178973 w 182129"/>
                <a:gd name="connsiteY7" fmla="*/ 61918 h 109633"/>
                <a:gd name="connsiteX8" fmla="*/ 182112 w 182129"/>
                <a:gd name="connsiteY8" fmla="*/ 58025 h 109633"/>
                <a:gd name="connsiteX9" fmla="*/ 175958 w 182129"/>
                <a:gd name="connsiteY9" fmla="*/ 48856 h 109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129" h="109633">
                  <a:moveTo>
                    <a:pt x="175958" y="48856"/>
                  </a:moveTo>
                  <a:lnTo>
                    <a:pt x="92689" y="754"/>
                  </a:lnTo>
                  <a:cubicBezTo>
                    <a:pt x="91056" y="-251"/>
                    <a:pt x="89047" y="-251"/>
                    <a:pt x="87414" y="754"/>
                  </a:cubicBezTo>
                  <a:lnTo>
                    <a:pt x="0" y="51243"/>
                  </a:lnTo>
                  <a:lnTo>
                    <a:pt x="85907" y="100853"/>
                  </a:lnTo>
                  <a:cubicBezTo>
                    <a:pt x="89549" y="102988"/>
                    <a:pt x="90931" y="106630"/>
                    <a:pt x="90931" y="109393"/>
                  </a:cubicBezTo>
                  <a:cubicBezTo>
                    <a:pt x="90931" y="109393"/>
                    <a:pt x="94573" y="110523"/>
                    <a:pt x="99346" y="107886"/>
                  </a:cubicBezTo>
                  <a:cubicBezTo>
                    <a:pt x="105876" y="104118"/>
                    <a:pt x="178973" y="61918"/>
                    <a:pt x="178973" y="61918"/>
                  </a:cubicBezTo>
                  <a:cubicBezTo>
                    <a:pt x="181736" y="60285"/>
                    <a:pt x="182238" y="58276"/>
                    <a:pt x="182112" y="58025"/>
                  </a:cubicBezTo>
                  <a:cubicBezTo>
                    <a:pt x="181359" y="55513"/>
                    <a:pt x="179726" y="50992"/>
                    <a:pt x="175958" y="48856"/>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9" name="Graphic 4">
              <a:extLst>
                <a:ext uri="{FF2B5EF4-FFF2-40B4-BE49-F238E27FC236}">
                  <a16:creationId xmlns:a16="http://schemas.microsoft.com/office/drawing/2014/main" id="{84FB7ED1-A2DF-40A1-A747-5F7CF3F14040}"/>
                </a:ext>
              </a:extLst>
            </p:cNvPr>
            <p:cNvGrpSpPr/>
            <p:nvPr/>
          </p:nvGrpSpPr>
          <p:grpSpPr>
            <a:xfrm>
              <a:off x="1148944" y="2714330"/>
              <a:ext cx="6028" cy="6154"/>
              <a:chOff x="1148944" y="2714330"/>
              <a:chExt cx="6028" cy="6154"/>
            </a:xfrm>
            <a:solidFill>
              <a:schemeClr val="accent1"/>
            </a:solidFill>
          </p:grpSpPr>
          <p:grpSp>
            <p:nvGrpSpPr>
              <p:cNvPr id="400" name="Graphic 4">
                <a:extLst>
                  <a:ext uri="{FF2B5EF4-FFF2-40B4-BE49-F238E27FC236}">
                    <a16:creationId xmlns:a16="http://schemas.microsoft.com/office/drawing/2014/main" id="{84FB7ED1-A2DF-40A1-A747-5F7CF3F14040}"/>
                  </a:ext>
                </a:extLst>
              </p:cNvPr>
              <p:cNvGrpSpPr/>
              <p:nvPr/>
            </p:nvGrpSpPr>
            <p:grpSpPr>
              <a:xfrm>
                <a:off x="1148944" y="2716214"/>
                <a:ext cx="6028" cy="4270"/>
                <a:chOff x="1148944" y="2716214"/>
                <a:chExt cx="6028" cy="4270"/>
              </a:xfrm>
              <a:solidFill>
                <a:schemeClr val="accent1"/>
              </a:solidFill>
            </p:grpSpPr>
            <p:sp>
              <p:nvSpPr>
                <p:cNvPr id="401" name="Freeform: Shape 400">
                  <a:extLst>
                    <a:ext uri="{FF2B5EF4-FFF2-40B4-BE49-F238E27FC236}">
                      <a16:creationId xmlns:a16="http://schemas.microsoft.com/office/drawing/2014/main" id="{CB1FC6DA-72D3-4C89-A73D-4610D4BD0102}"/>
                    </a:ext>
                  </a:extLst>
                </p:cNvPr>
                <p:cNvSpPr/>
                <p:nvPr/>
              </p:nvSpPr>
              <p:spPr>
                <a:xfrm>
                  <a:off x="1148944" y="2716214"/>
                  <a:ext cx="6028" cy="3516"/>
                </a:xfrm>
                <a:custGeom>
                  <a:avLst/>
                  <a:gdLst>
                    <a:gd name="connsiteX0" fmla="*/ 3014 w 6028"/>
                    <a:gd name="connsiteY0" fmla="*/ 3517 h 3516"/>
                    <a:gd name="connsiteX1" fmla="*/ 6028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8" y="2763"/>
                        <a:pt x="6028" y="1758"/>
                      </a:cubicBezTo>
                      <a:cubicBezTo>
                        <a:pt x="6028" y="754"/>
                        <a:pt x="4647" y="0"/>
                        <a:pt x="3014" y="0"/>
                      </a:cubicBezTo>
                      <a:cubicBezTo>
                        <a:pt x="1382" y="0"/>
                        <a:pt x="0" y="754"/>
                        <a:pt x="0" y="1758"/>
                      </a:cubicBezTo>
                      <a:cubicBezTo>
                        <a:pt x="0" y="2763"/>
                        <a:pt x="1382"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 name="Freeform: Shape 401">
                  <a:extLst>
                    <a:ext uri="{FF2B5EF4-FFF2-40B4-BE49-F238E27FC236}">
                      <a16:creationId xmlns:a16="http://schemas.microsoft.com/office/drawing/2014/main" id="{66FF4450-1B85-480D-BFD9-016D108C5EB5}"/>
                    </a:ext>
                  </a:extLst>
                </p:cNvPr>
                <p:cNvSpPr/>
                <p:nvPr/>
              </p:nvSpPr>
              <p:spPr>
                <a:xfrm>
                  <a:off x="1148944" y="2717972"/>
                  <a:ext cx="6028" cy="2511"/>
                </a:xfrm>
                <a:custGeom>
                  <a:avLst/>
                  <a:gdLst>
                    <a:gd name="connsiteX0" fmla="*/ 3014 w 6028"/>
                    <a:gd name="connsiteY0" fmla="*/ 1758 h 2511"/>
                    <a:gd name="connsiteX1" fmla="*/ 6028 w 6028"/>
                    <a:gd name="connsiteY1" fmla="*/ 0 h 2511"/>
                    <a:gd name="connsiteX2" fmla="*/ 6028 w 6028"/>
                    <a:gd name="connsiteY2" fmla="*/ 754 h 2511"/>
                    <a:gd name="connsiteX3" fmla="*/ 3014 w 6028"/>
                    <a:gd name="connsiteY3" fmla="*/ 2512 h 2511"/>
                    <a:gd name="connsiteX4" fmla="*/ 0 w 6028"/>
                    <a:gd name="connsiteY4" fmla="*/ 754 h 2511"/>
                    <a:gd name="connsiteX5" fmla="*/ 0 w 6028"/>
                    <a:gd name="connsiteY5" fmla="*/ 0 h 2511"/>
                    <a:gd name="connsiteX6" fmla="*/ 3014 w 6028"/>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1">
                      <a:moveTo>
                        <a:pt x="3014" y="1758"/>
                      </a:moveTo>
                      <a:cubicBezTo>
                        <a:pt x="4647" y="1758"/>
                        <a:pt x="6028" y="1005"/>
                        <a:pt x="6028" y="0"/>
                      </a:cubicBezTo>
                      <a:cubicBezTo>
                        <a:pt x="6028" y="0"/>
                        <a:pt x="6028" y="502"/>
                        <a:pt x="6028" y="754"/>
                      </a:cubicBezTo>
                      <a:cubicBezTo>
                        <a:pt x="6028" y="1758"/>
                        <a:pt x="4647" y="2512"/>
                        <a:pt x="3014" y="2512"/>
                      </a:cubicBezTo>
                      <a:cubicBezTo>
                        <a:pt x="1382" y="2512"/>
                        <a:pt x="0" y="1758"/>
                        <a:pt x="0" y="754"/>
                      </a:cubicBezTo>
                      <a:cubicBezTo>
                        <a:pt x="0" y="502"/>
                        <a:pt x="0" y="0"/>
                        <a:pt x="0" y="0"/>
                      </a:cubicBezTo>
                      <a:cubicBezTo>
                        <a:pt x="0" y="1005"/>
                        <a:pt x="1382"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3" name="Graphic 4">
                <a:extLst>
                  <a:ext uri="{FF2B5EF4-FFF2-40B4-BE49-F238E27FC236}">
                    <a16:creationId xmlns:a16="http://schemas.microsoft.com/office/drawing/2014/main" id="{84FB7ED1-A2DF-40A1-A747-5F7CF3F14040}"/>
                  </a:ext>
                </a:extLst>
              </p:cNvPr>
              <p:cNvGrpSpPr/>
              <p:nvPr/>
            </p:nvGrpSpPr>
            <p:grpSpPr>
              <a:xfrm>
                <a:off x="1149823" y="2714330"/>
                <a:ext cx="4270" cy="5023"/>
                <a:chOff x="1149823" y="2714330"/>
                <a:chExt cx="4270" cy="5023"/>
              </a:xfrm>
              <a:solidFill>
                <a:schemeClr val="accent1"/>
              </a:solidFill>
            </p:grpSpPr>
            <p:sp>
              <p:nvSpPr>
                <p:cNvPr id="404" name="Freeform: Shape 403">
                  <a:extLst>
                    <a:ext uri="{FF2B5EF4-FFF2-40B4-BE49-F238E27FC236}">
                      <a16:creationId xmlns:a16="http://schemas.microsoft.com/office/drawing/2014/main" id="{6D5ACD2D-2172-43F9-894A-02CAB8C24895}"/>
                    </a:ext>
                  </a:extLst>
                </p:cNvPr>
                <p:cNvSpPr/>
                <p:nvPr/>
              </p:nvSpPr>
              <p:spPr>
                <a:xfrm>
                  <a:off x="1150326" y="2714330"/>
                  <a:ext cx="3265" cy="2009"/>
                </a:xfrm>
                <a:custGeom>
                  <a:avLst/>
                  <a:gdLst>
                    <a:gd name="connsiteX0" fmla="*/ 3265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5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5" y="1005"/>
                      </a:moveTo>
                      <a:cubicBezTo>
                        <a:pt x="3265" y="1560"/>
                        <a:pt x="2534" y="2010"/>
                        <a:pt x="1633" y="2010"/>
                      </a:cubicBezTo>
                      <a:cubicBezTo>
                        <a:pt x="731" y="2010"/>
                        <a:pt x="0" y="1560"/>
                        <a:pt x="0" y="1005"/>
                      </a:cubicBezTo>
                      <a:cubicBezTo>
                        <a:pt x="0" y="450"/>
                        <a:pt x="731" y="0"/>
                        <a:pt x="1633" y="0"/>
                      </a:cubicBezTo>
                      <a:cubicBezTo>
                        <a:pt x="2534" y="0"/>
                        <a:pt x="3265" y="450"/>
                        <a:pt x="3265"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 name="Freeform: Shape 404">
                  <a:extLst>
                    <a:ext uri="{FF2B5EF4-FFF2-40B4-BE49-F238E27FC236}">
                      <a16:creationId xmlns:a16="http://schemas.microsoft.com/office/drawing/2014/main" id="{F547C467-E4C9-4555-BD5D-582EC81F642D}"/>
                    </a:ext>
                  </a:extLst>
                </p:cNvPr>
                <p:cNvSpPr/>
                <p:nvPr/>
              </p:nvSpPr>
              <p:spPr>
                <a:xfrm>
                  <a:off x="1149823" y="2715335"/>
                  <a:ext cx="4270" cy="4019"/>
                </a:xfrm>
                <a:custGeom>
                  <a:avLst/>
                  <a:gdLst>
                    <a:gd name="connsiteX0" fmla="*/ 2135 w 4270"/>
                    <a:gd name="connsiteY0" fmla="*/ 1005 h 4019"/>
                    <a:gd name="connsiteX1" fmla="*/ 3768 w 4270"/>
                    <a:gd name="connsiteY1" fmla="*/ 0 h 4019"/>
                    <a:gd name="connsiteX2" fmla="*/ 4270 w 4270"/>
                    <a:gd name="connsiteY2" fmla="*/ 2763 h 4019"/>
                    <a:gd name="connsiteX3" fmla="*/ 2135 w 4270"/>
                    <a:gd name="connsiteY3" fmla="*/ 4019 h 4019"/>
                    <a:gd name="connsiteX4" fmla="*/ 0 w 4270"/>
                    <a:gd name="connsiteY4" fmla="*/ 2763 h 4019"/>
                    <a:gd name="connsiteX5" fmla="*/ 502 w 4270"/>
                    <a:gd name="connsiteY5" fmla="*/ 0 h 4019"/>
                    <a:gd name="connsiteX6" fmla="*/ 2135 w 4270"/>
                    <a:gd name="connsiteY6" fmla="*/ 1005 h 4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0" h="4019">
                      <a:moveTo>
                        <a:pt x="2135" y="1005"/>
                      </a:moveTo>
                      <a:cubicBezTo>
                        <a:pt x="3014" y="1005"/>
                        <a:pt x="3768" y="628"/>
                        <a:pt x="3768" y="0"/>
                      </a:cubicBezTo>
                      <a:cubicBezTo>
                        <a:pt x="3768" y="0"/>
                        <a:pt x="4270" y="2512"/>
                        <a:pt x="4270" y="2763"/>
                      </a:cubicBezTo>
                      <a:cubicBezTo>
                        <a:pt x="4270" y="3391"/>
                        <a:pt x="3265" y="4019"/>
                        <a:pt x="2135" y="4019"/>
                      </a:cubicBezTo>
                      <a:cubicBezTo>
                        <a:pt x="879" y="4019"/>
                        <a:pt x="0" y="3517"/>
                        <a:pt x="0" y="2763"/>
                      </a:cubicBezTo>
                      <a:cubicBezTo>
                        <a:pt x="0" y="2512"/>
                        <a:pt x="502" y="0"/>
                        <a:pt x="502" y="0"/>
                      </a:cubicBezTo>
                      <a:cubicBezTo>
                        <a:pt x="502" y="502"/>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06" name="Freeform: Shape 405">
              <a:extLst>
                <a:ext uri="{FF2B5EF4-FFF2-40B4-BE49-F238E27FC236}">
                  <a16:creationId xmlns:a16="http://schemas.microsoft.com/office/drawing/2014/main" id="{356A01EC-7FFF-42EE-B221-625BAC3F7FB7}"/>
                </a:ext>
              </a:extLst>
            </p:cNvPr>
            <p:cNvSpPr/>
            <p:nvPr/>
          </p:nvSpPr>
          <p:spPr>
            <a:xfrm>
              <a:off x="1017847" y="2625987"/>
              <a:ext cx="106480" cy="170781"/>
            </a:xfrm>
            <a:custGeom>
              <a:avLst/>
              <a:gdLst>
                <a:gd name="connsiteX0" fmla="*/ 94675 w 106480"/>
                <a:gd name="connsiteY0" fmla="*/ 175 h 170781"/>
                <a:gd name="connsiteX1" fmla="*/ 92665 w 106480"/>
                <a:gd name="connsiteY1" fmla="*/ 301 h 170781"/>
                <a:gd name="connsiteX2" fmla="*/ 49586 w 106480"/>
                <a:gd name="connsiteY2" fmla="*/ 23285 h 170781"/>
                <a:gd name="connsiteX3" fmla="*/ 3493 w 106480"/>
                <a:gd name="connsiteY3" fmla="*/ 51669 h 170781"/>
                <a:gd name="connsiteX4" fmla="*/ 353 w 106480"/>
                <a:gd name="connsiteY4" fmla="*/ 57195 h 170781"/>
                <a:gd name="connsiteX5" fmla="*/ 228 w 106480"/>
                <a:gd name="connsiteY5" fmla="*/ 155913 h 170781"/>
                <a:gd name="connsiteX6" fmla="*/ 855 w 106480"/>
                <a:gd name="connsiteY6" fmla="*/ 166839 h 170781"/>
                <a:gd name="connsiteX7" fmla="*/ 5628 w 106480"/>
                <a:gd name="connsiteY7" fmla="*/ 170733 h 170781"/>
                <a:gd name="connsiteX8" fmla="*/ 13792 w 106480"/>
                <a:gd name="connsiteY8" fmla="*/ 169603 h 170781"/>
                <a:gd name="connsiteX9" fmla="*/ 13792 w 106480"/>
                <a:gd name="connsiteY9" fmla="*/ 77039 h 170781"/>
                <a:gd name="connsiteX10" fmla="*/ 23463 w 106480"/>
                <a:gd name="connsiteY10" fmla="*/ 60335 h 170781"/>
                <a:gd name="connsiteX11" fmla="*/ 101080 w 106480"/>
                <a:gd name="connsiteY11" fmla="*/ 15498 h 170781"/>
                <a:gd name="connsiteX12" fmla="*/ 106481 w 106480"/>
                <a:gd name="connsiteY12" fmla="*/ 15498 h 170781"/>
                <a:gd name="connsiteX13" fmla="*/ 94675 w 106480"/>
                <a:gd name="connsiteY13" fmla="*/ 175 h 170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480" h="170781">
                  <a:moveTo>
                    <a:pt x="94675" y="175"/>
                  </a:moveTo>
                  <a:cubicBezTo>
                    <a:pt x="94172" y="-76"/>
                    <a:pt x="93419" y="-76"/>
                    <a:pt x="92665" y="301"/>
                  </a:cubicBezTo>
                  <a:cubicBezTo>
                    <a:pt x="78222" y="7460"/>
                    <a:pt x="65914" y="13991"/>
                    <a:pt x="49586" y="23285"/>
                  </a:cubicBezTo>
                  <a:cubicBezTo>
                    <a:pt x="35143" y="31574"/>
                    <a:pt x="19820" y="40993"/>
                    <a:pt x="3493" y="51669"/>
                  </a:cubicBezTo>
                  <a:cubicBezTo>
                    <a:pt x="1735" y="52799"/>
                    <a:pt x="479" y="55186"/>
                    <a:pt x="353" y="57195"/>
                  </a:cubicBezTo>
                  <a:cubicBezTo>
                    <a:pt x="-24" y="74025"/>
                    <a:pt x="-149" y="139962"/>
                    <a:pt x="228" y="155913"/>
                  </a:cubicBezTo>
                  <a:cubicBezTo>
                    <a:pt x="228" y="158173"/>
                    <a:pt x="604" y="163197"/>
                    <a:pt x="855" y="166839"/>
                  </a:cubicBezTo>
                  <a:cubicBezTo>
                    <a:pt x="981" y="169226"/>
                    <a:pt x="3242" y="171110"/>
                    <a:pt x="5628" y="170733"/>
                  </a:cubicBezTo>
                  <a:lnTo>
                    <a:pt x="13792" y="169603"/>
                  </a:lnTo>
                  <a:lnTo>
                    <a:pt x="13792" y="77039"/>
                  </a:lnTo>
                  <a:cubicBezTo>
                    <a:pt x="13792" y="70131"/>
                    <a:pt x="17434" y="63726"/>
                    <a:pt x="23463" y="60335"/>
                  </a:cubicBezTo>
                  <a:lnTo>
                    <a:pt x="101080" y="15498"/>
                  </a:lnTo>
                  <a:cubicBezTo>
                    <a:pt x="102713" y="14493"/>
                    <a:pt x="104722" y="14493"/>
                    <a:pt x="106481" y="15498"/>
                  </a:cubicBezTo>
                  <a:cubicBezTo>
                    <a:pt x="104346" y="10474"/>
                    <a:pt x="98819" y="2561"/>
                    <a:pt x="94675" y="175"/>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7" name="Graphic 4">
              <a:extLst>
                <a:ext uri="{FF2B5EF4-FFF2-40B4-BE49-F238E27FC236}">
                  <a16:creationId xmlns:a16="http://schemas.microsoft.com/office/drawing/2014/main" id="{84FB7ED1-A2DF-40A1-A747-5F7CF3F14040}"/>
                </a:ext>
              </a:extLst>
            </p:cNvPr>
            <p:cNvGrpSpPr/>
            <p:nvPr/>
          </p:nvGrpSpPr>
          <p:grpSpPr>
            <a:xfrm>
              <a:off x="1067559" y="2657749"/>
              <a:ext cx="72719" cy="42702"/>
              <a:chOff x="1067559" y="2657749"/>
              <a:chExt cx="72719" cy="42702"/>
            </a:xfrm>
            <a:solidFill>
              <a:srgbClr val="244690"/>
            </a:solidFill>
          </p:grpSpPr>
          <p:grpSp>
            <p:nvGrpSpPr>
              <p:cNvPr id="408" name="Graphic 4">
                <a:extLst>
                  <a:ext uri="{FF2B5EF4-FFF2-40B4-BE49-F238E27FC236}">
                    <a16:creationId xmlns:a16="http://schemas.microsoft.com/office/drawing/2014/main" id="{84FB7ED1-A2DF-40A1-A747-5F7CF3F14040}"/>
                  </a:ext>
                </a:extLst>
              </p:cNvPr>
              <p:cNvGrpSpPr/>
              <p:nvPr/>
            </p:nvGrpSpPr>
            <p:grpSpPr>
              <a:xfrm>
                <a:off x="1067559" y="2675835"/>
                <a:ext cx="41320" cy="24616"/>
                <a:chOff x="1067559" y="2675835"/>
                <a:chExt cx="41320" cy="24616"/>
              </a:xfrm>
              <a:solidFill>
                <a:srgbClr val="244690"/>
              </a:solidFill>
            </p:grpSpPr>
            <p:sp>
              <p:nvSpPr>
                <p:cNvPr id="409" name="Freeform: Shape 408">
                  <a:extLst>
                    <a:ext uri="{FF2B5EF4-FFF2-40B4-BE49-F238E27FC236}">
                      <a16:creationId xmlns:a16="http://schemas.microsoft.com/office/drawing/2014/main" id="{66D7B33A-8A69-4B49-B8C2-808627EA742D}"/>
                    </a:ext>
                  </a:extLst>
                </p:cNvPr>
                <p:cNvSpPr/>
                <p:nvPr/>
              </p:nvSpPr>
              <p:spPr>
                <a:xfrm>
                  <a:off x="1067559" y="2675835"/>
                  <a:ext cx="41320" cy="23988"/>
                </a:xfrm>
                <a:custGeom>
                  <a:avLst/>
                  <a:gdLst>
                    <a:gd name="connsiteX0" fmla="*/ 40944 w 41320"/>
                    <a:gd name="connsiteY0" fmla="*/ 21414 h 23988"/>
                    <a:gd name="connsiteX1" fmla="*/ 4270 w 41320"/>
                    <a:gd name="connsiteY1" fmla="*/ 188 h 23988"/>
                    <a:gd name="connsiteX2" fmla="*/ 2637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1 w 41320"/>
                    <a:gd name="connsiteY6" fmla="*/ 23800 h 23988"/>
                    <a:gd name="connsiteX7" fmla="*/ 38683 w 41320"/>
                    <a:gd name="connsiteY7" fmla="*/ 23800 h 23988"/>
                    <a:gd name="connsiteX8" fmla="*/ 40944 w 41320"/>
                    <a:gd name="connsiteY8" fmla="*/ 22419 h 23988"/>
                    <a:gd name="connsiteX9" fmla="*/ 41321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7" y="188"/>
                      </a:cubicBezTo>
                      <a:lnTo>
                        <a:pt x="377" y="1570"/>
                      </a:lnTo>
                      <a:cubicBezTo>
                        <a:pt x="126" y="1696"/>
                        <a:pt x="0" y="1821"/>
                        <a:pt x="0" y="2072"/>
                      </a:cubicBezTo>
                      <a:cubicBezTo>
                        <a:pt x="0" y="2324"/>
                        <a:pt x="126" y="2449"/>
                        <a:pt x="377" y="2575"/>
                      </a:cubicBezTo>
                      <a:lnTo>
                        <a:pt x="37051" y="23800"/>
                      </a:lnTo>
                      <a:cubicBezTo>
                        <a:pt x="37553" y="24051"/>
                        <a:pt x="38181" y="24051"/>
                        <a:pt x="38683" y="23800"/>
                      </a:cubicBezTo>
                      <a:lnTo>
                        <a:pt x="40944" y="22419"/>
                      </a:lnTo>
                      <a:cubicBezTo>
                        <a:pt x="41195" y="22293"/>
                        <a:pt x="41321" y="22168"/>
                        <a:pt x="41321" y="21916"/>
                      </a:cubicBezTo>
                      <a:cubicBezTo>
                        <a:pt x="41321" y="21791"/>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 name="Freeform: Shape 409">
                  <a:extLst>
                    <a:ext uri="{FF2B5EF4-FFF2-40B4-BE49-F238E27FC236}">
                      <a16:creationId xmlns:a16="http://schemas.microsoft.com/office/drawing/2014/main" id="{4FA3D9FF-21DE-45BD-A81B-1379B1E55090}"/>
                    </a:ext>
                  </a:extLst>
                </p:cNvPr>
                <p:cNvSpPr/>
                <p:nvPr/>
              </p:nvSpPr>
              <p:spPr>
                <a:xfrm>
                  <a:off x="1067559" y="2677907"/>
                  <a:ext cx="41320" cy="22544"/>
                </a:xfrm>
                <a:custGeom>
                  <a:avLst/>
                  <a:gdLst>
                    <a:gd name="connsiteX0" fmla="*/ 40944 w 41320"/>
                    <a:gd name="connsiteY0" fmla="*/ 20346 h 22544"/>
                    <a:gd name="connsiteX1" fmla="*/ 38683 w 41320"/>
                    <a:gd name="connsiteY1" fmla="*/ 21728 h 22544"/>
                    <a:gd name="connsiteX2" fmla="*/ 37051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1 w 41320"/>
                    <a:gd name="connsiteY7" fmla="*/ 22356 h 22544"/>
                    <a:gd name="connsiteX8" fmla="*/ 38683 w 41320"/>
                    <a:gd name="connsiteY8" fmla="*/ 22356 h 22544"/>
                    <a:gd name="connsiteX9" fmla="*/ 40944 w 41320"/>
                    <a:gd name="connsiteY9" fmla="*/ 20974 h 22544"/>
                    <a:gd name="connsiteX10" fmla="*/ 41321 w 41320"/>
                    <a:gd name="connsiteY10" fmla="*/ 20472 h 22544"/>
                    <a:gd name="connsiteX11" fmla="*/ 41321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321" y="20095"/>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1" name="Graphic 4">
                <a:extLst>
                  <a:ext uri="{FF2B5EF4-FFF2-40B4-BE49-F238E27FC236}">
                    <a16:creationId xmlns:a16="http://schemas.microsoft.com/office/drawing/2014/main" id="{84FB7ED1-A2DF-40A1-A747-5F7CF3F14040}"/>
                  </a:ext>
                </a:extLst>
              </p:cNvPr>
              <p:cNvGrpSpPr/>
              <p:nvPr/>
            </p:nvGrpSpPr>
            <p:grpSpPr>
              <a:xfrm>
                <a:off x="1098958" y="2657749"/>
                <a:ext cx="41320" cy="24491"/>
                <a:chOff x="1098958" y="2657749"/>
                <a:chExt cx="41320" cy="24491"/>
              </a:xfrm>
              <a:solidFill>
                <a:srgbClr val="244690"/>
              </a:solidFill>
            </p:grpSpPr>
            <p:sp>
              <p:nvSpPr>
                <p:cNvPr id="412" name="Freeform: Shape 411">
                  <a:extLst>
                    <a:ext uri="{FF2B5EF4-FFF2-40B4-BE49-F238E27FC236}">
                      <a16:creationId xmlns:a16="http://schemas.microsoft.com/office/drawing/2014/main" id="{718A0694-FFC5-45D9-B6DB-B6C0120F87E7}"/>
                    </a:ext>
                  </a:extLst>
                </p:cNvPr>
                <p:cNvSpPr/>
                <p:nvPr/>
              </p:nvSpPr>
              <p:spPr>
                <a:xfrm>
                  <a:off x="1098958" y="2657749"/>
                  <a:ext cx="41320" cy="23988"/>
                </a:xfrm>
                <a:custGeom>
                  <a:avLst/>
                  <a:gdLst>
                    <a:gd name="connsiteX0" fmla="*/ 40944 w 41320"/>
                    <a:gd name="connsiteY0" fmla="*/ 21414 h 23988"/>
                    <a:gd name="connsiteX1" fmla="*/ 4270 w 41320"/>
                    <a:gd name="connsiteY1" fmla="*/ 188 h 23988"/>
                    <a:gd name="connsiteX2" fmla="*/ 2637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1 w 41320"/>
                    <a:gd name="connsiteY6" fmla="*/ 23800 h 23988"/>
                    <a:gd name="connsiteX7" fmla="*/ 38683 w 41320"/>
                    <a:gd name="connsiteY7" fmla="*/ 23800 h 23988"/>
                    <a:gd name="connsiteX8" fmla="*/ 40944 w 41320"/>
                    <a:gd name="connsiteY8" fmla="*/ 22419 h 23988"/>
                    <a:gd name="connsiteX9" fmla="*/ 41321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7" y="188"/>
                      </a:cubicBezTo>
                      <a:lnTo>
                        <a:pt x="377" y="1570"/>
                      </a:lnTo>
                      <a:cubicBezTo>
                        <a:pt x="126" y="1696"/>
                        <a:pt x="0" y="1821"/>
                        <a:pt x="0" y="2072"/>
                      </a:cubicBezTo>
                      <a:cubicBezTo>
                        <a:pt x="0" y="2198"/>
                        <a:pt x="126" y="2449"/>
                        <a:pt x="377" y="2575"/>
                      </a:cubicBezTo>
                      <a:lnTo>
                        <a:pt x="37051" y="23800"/>
                      </a:lnTo>
                      <a:cubicBezTo>
                        <a:pt x="37553" y="24051"/>
                        <a:pt x="38181" y="24051"/>
                        <a:pt x="38683" y="23800"/>
                      </a:cubicBezTo>
                      <a:lnTo>
                        <a:pt x="40944" y="22419"/>
                      </a:lnTo>
                      <a:cubicBezTo>
                        <a:pt x="41195" y="22293"/>
                        <a:pt x="41321" y="22168"/>
                        <a:pt x="41321" y="21916"/>
                      </a:cubicBezTo>
                      <a:cubicBezTo>
                        <a:pt x="41321" y="21665"/>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3" name="Freeform: Shape 412">
                  <a:extLst>
                    <a:ext uri="{FF2B5EF4-FFF2-40B4-BE49-F238E27FC236}">
                      <a16:creationId xmlns:a16="http://schemas.microsoft.com/office/drawing/2014/main" id="{CA7D3AB5-9F2E-45F3-BA5D-61A2B1106AA7}"/>
                    </a:ext>
                  </a:extLst>
                </p:cNvPr>
                <p:cNvSpPr/>
                <p:nvPr/>
              </p:nvSpPr>
              <p:spPr>
                <a:xfrm>
                  <a:off x="1098958" y="2659696"/>
                  <a:ext cx="41320" cy="22544"/>
                </a:xfrm>
                <a:custGeom>
                  <a:avLst/>
                  <a:gdLst>
                    <a:gd name="connsiteX0" fmla="*/ 40944 w 41320"/>
                    <a:gd name="connsiteY0" fmla="*/ 20346 h 22544"/>
                    <a:gd name="connsiteX1" fmla="*/ 38683 w 41320"/>
                    <a:gd name="connsiteY1" fmla="*/ 21728 h 22544"/>
                    <a:gd name="connsiteX2" fmla="*/ 37051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1 w 41320"/>
                    <a:gd name="connsiteY7" fmla="*/ 22356 h 22544"/>
                    <a:gd name="connsiteX8" fmla="*/ 38683 w 41320"/>
                    <a:gd name="connsiteY8" fmla="*/ 22356 h 22544"/>
                    <a:gd name="connsiteX9" fmla="*/ 40944 w 41320"/>
                    <a:gd name="connsiteY9" fmla="*/ 20974 h 22544"/>
                    <a:gd name="connsiteX10" fmla="*/ 41321 w 41320"/>
                    <a:gd name="connsiteY10" fmla="*/ 20472 h 22544"/>
                    <a:gd name="connsiteX11" fmla="*/ 41321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321" y="20095"/>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4" name="Graphic 4">
                <a:extLst>
                  <a:ext uri="{FF2B5EF4-FFF2-40B4-BE49-F238E27FC236}">
                    <a16:creationId xmlns:a16="http://schemas.microsoft.com/office/drawing/2014/main" id="{84FB7ED1-A2DF-40A1-A747-5F7CF3F14040}"/>
                  </a:ext>
                </a:extLst>
              </p:cNvPr>
              <p:cNvGrpSpPr/>
              <p:nvPr/>
            </p:nvGrpSpPr>
            <p:grpSpPr>
              <a:xfrm>
                <a:off x="1088533" y="2663778"/>
                <a:ext cx="41320" cy="24616"/>
                <a:chOff x="1088533" y="2663778"/>
                <a:chExt cx="41320" cy="24616"/>
              </a:xfrm>
              <a:solidFill>
                <a:srgbClr val="244690"/>
              </a:solidFill>
            </p:grpSpPr>
            <p:sp>
              <p:nvSpPr>
                <p:cNvPr id="415" name="Freeform: Shape 414">
                  <a:extLst>
                    <a:ext uri="{FF2B5EF4-FFF2-40B4-BE49-F238E27FC236}">
                      <a16:creationId xmlns:a16="http://schemas.microsoft.com/office/drawing/2014/main" id="{4D7620B5-08E3-4CF9-A786-5BED9F922BFE}"/>
                    </a:ext>
                  </a:extLst>
                </p:cNvPr>
                <p:cNvSpPr/>
                <p:nvPr/>
              </p:nvSpPr>
              <p:spPr>
                <a:xfrm>
                  <a:off x="1088533" y="2663778"/>
                  <a:ext cx="41320" cy="23988"/>
                </a:xfrm>
                <a:custGeom>
                  <a:avLst/>
                  <a:gdLst>
                    <a:gd name="connsiteX0" fmla="*/ 40944 w 41320"/>
                    <a:gd name="connsiteY0" fmla="*/ 21414 h 23988"/>
                    <a:gd name="connsiteX1" fmla="*/ 4270 w 41320"/>
                    <a:gd name="connsiteY1" fmla="*/ 188 h 23988"/>
                    <a:gd name="connsiteX2" fmla="*/ 2638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1 w 41320"/>
                    <a:gd name="connsiteY6" fmla="*/ 23800 h 23988"/>
                    <a:gd name="connsiteX7" fmla="*/ 38683 w 41320"/>
                    <a:gd name="connsiteY7" fmla="*/ 23800 h 23988"/>
                    <a:gd name="connsiteX8" fmla="*/ 40944 w 41320"/>
                    <a:gd name="connsiteY8" fmla="*/ 22419 h 23988"/>
                    <a:gd name="connsiteX9" fmla="*/ 41321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8" y="188"/>
                      </a:cubicBezTo>
                      <a:lnTo>
                        <a:pt x="377" y="1570"/>
                      </a:lnTo>
                      <a:cubicBezTo>
                        <a:pt x="126" y="1696"/>
                        <a:pt x="0" y="1821"/>
                        <a:pt x="0" y="2072"/>
                      </a:cubicBezTo>
                      <a:cubicBezTo>
                        <a:pt x="0" y="2324"/>
                        <a:pt x="126" y="2449"/>
                        <a:pt x="377" y="2575"/>
                      </a:cubicBezTo>
                      <a:lnTo>
                        <a:pt x="37051" y="23800"/>
                      </a:lnTo>
                      <a:cubicBezTo>
                        <a:pt x="37553" y="24051"/>
                        <a:pt x="38181" y="24051"/>
                        <a:pt x="38683" y="23800"/>
                      </a:cubicBezTo>
                      <a:lnTo>
                        <a:pt x="40944" y="22419"/>
                      </a:lnTo>
                      <a:cubicBezTo>
                        <a:pt x="41195" y="22293"/>
                        <a:pt x="41321" y="22167"/>
                        <a:pt x="41321" y="21916"/>
                      </a:cubicBezTo>
                      <a:cubicBezTo>
                        <a:pt x="41195" y="21791"/>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6" name="Freeform: Shape 415">
                  <a:extLst>
                    <a:ext uri="{FF2B5EF4-FFF2-40B4-BE49-F238E27FC236}">
                      <a16:creationId xmlns:a16="http://schemas.microsoft.com/office/drawing/2014/main" id="{5004E98B-08B5-460D-9A67-9D5CF94C3BD2}"/>
                    </a:ext>
                  </a:extLst>
                </p:cNvPr>
                <p:cNvSpPr/>
                <p:nvPr/>
              </p:nvSpPr>
              <p:spPr>
                <a:xfrm>
                  <a:off x="1088533" y="2665850"/>
                  <a:ext cx="41320" cy="22544"/>
                </a:xfrm>
                <a:custGeom>
                  <a:avLst/>
                  <a:gdLst>
                    <a:gd name="connsiteX0" fmla="*/ 40944 w 41320"/>
                    <a:gd name="connsiteY0" fmla="*/ 20346 h 22544"/>
                    <a:gd name="connsiteX1" fmla="*/ 38683 w 41320"/>
                    <a:gd name="connsiteY1" fmla="*/ 21728 h 22544"/>
                    <a:gd name="connsiteX2" fmla="*/ 37051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1 w 41320"/>
                    <a:gd name="connsiteY7" fmla="*/ 22356 h 22544"/>
                    <a:gd name="connsiteX8" fmla="*/ 38683 w 41320"/>
                    <a:gd name="connsiteY8" fmla="*/ 22356 h 22544"/>
                    <a:gd name="connsiteX9" fmla="*/ 40944 w 41320"/>
                    <a:gd name="connsiteY9" fmla="*/ 20974 h 22544"/>
                    <a:gd name="connsiteX10" fmla="*/ 41321 w 41320"/>
                    <a:gd name="connsiteY10" fmla="*/ 20472 h 22544"/>
                    <a:gd name="connsiteX11" fmla="*/ 41321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195" y="19970"/>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7" name="Graphic 4">
                <a:extLst>
                  <a:ext uri="{FF2B5EF4-FFF2-40B4-BE49-F238E27FC236}">
                    <a16:creationId xmlns:a16="http://schemas.microsoft.com/office/drawing/2014/main" id="{84FB7ED1-A2DF-40A1-A747-5F7CF3F14040}"/>
                  </a:ext>
                </a:extLst>
              </p:cNvPr>
              <p:cNvGrpSpPr/>
              <p:nvPr/>
            </p:nvGrpSpPr>
            <p:grpSpPr>
              <a:xfrm>
                <a:off x="1077983" y="2669807"/>
                <a:ext cx="41320" cy="24616"/>
                <a:chOff x="1077983" y="2669807"/>
                <a:chExt cx="41320" cy="24616"/>
              </a:xfrm>
              <a:solidFill>
                <a:srgbClr val="244690"/>
              </a:solidFill>
            </p:grpSpPr>
            <p:sp>
              <p:nvSpPr>
                <p:cNvPr id="418" name="Freeform: Shape 417">
                  <a:extLst>
                    <a:ext uri="{FF2B5EF4-FFF2-40B4-BE49-F238E27FC236}">
                      <a16:creationId xmlns:a16="http://schemas.microsoft.com/office/drawing/2014/main" id="{03159D27-9314-4AA0-8FB1-41BCBD7D041D}"/>
                    </a:ext>
                  </a:extLst>
                </p:cNvPr>
                <p:cNvSpPr/>
                <p:nvPr/>
              </p:nvSpPr>
              <p:spPr>
                <a:xfrm>
                  <a:off x="1077983" y="2669807"/>
                  <a:ext cx="41320" cy="23988"/>
                </a:xfrm>
                <a:custGeom>
                  <a:avLst/>
                  <a:gdLst>
                    <a:gd name="connsiteX0" fmla="*/ 40944 w 41320"/>
                    <a:gd name="connsiteY0" fmla="*/ 21414 h 23988"/>
                    <a:gd name="connsiteX1" fmla="*/ 4270 w 41320"/>
                    <a:gd name="connsiteY1" fmla="*/ 188 h 23988"/>
                    <a:gd name="connsiteX2" fmla="*/ 2637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0 w 41320"/>
                    <a:gd name="connsiteY6" fmla="*/ 23800 h 23988"/>
                    <a:gd name="connsiteX7" fmla="*/ 38683 w 41320"/>
                    <a:gd name="connsiteY7" fmla="*/ 23800 h 23988"/>
                    <a:gd name="connsiteX8" fmla="*/ 40944 w 41320"/>
                    <a:gd name="connsiteY8" fmla="*/ 22419 h 23988"/>
                    <a:gd name="connsiteX9" fmla="*/ 41321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7" y="188"/>
                      </a:cubicBezTo>
                      <a:lnTo>
                        <a:pt x="377" y="1570"/>
                      </a:lnTo>
                      <a:cubicBezTo>
                        <a:pt x="126" y="1696"/>
                        <a:pt x="0" y="1821"/>
                        <a:pt x="0" y="2072"/>
                      </a:cubicBezTo>
                      <a:cubicBezTo>
                        <a:pt x="0" y="2323"/>
                        <a:pt x="126" y="2449"/>
                        <a:pt x="377" y="2575"/>
                      </a:cubicBezTo>
                      <a:lnTo>
                        <a:pt x="37050" y="23800"/>
                      </a:lnTo>
                      <a:cubicBezTo>
                        <a:pt x="37553" y="24051"/>
                        <a:pt x="38181" y="24051"/>
                        <a:pt x="38683" y="23800"/>
                      </a:cubicBezTo>
                      <a:lnTo>
                        <a:pt x="40944" y="22419"/>
                      </a:lnTo>
                      <a:cubicBezTo>
                        <a:pt x="41195" y="22293"/>
                        <a:pt x="41321" y="22167"/>
                        <a:pt x="41321" y="21916"/>
                      </a:cubicBezTo>
                      <a:cubicBezTo>
                        <a:pt x="41321" y="21791"/>
                        <a:pt x="41195" y="21539"/>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9" name="Freeform: Shape 418">
                  <a:extLst>
                    <a:ext uri="{FF2B5EF4-FFF2-40B4-BE49-F238E27FC236}">
                      <a16:creationId xmlns:a16="http://schemas.microsoft.com/office/drawing/2014/main" id="{A5E16614-D02E-4E28-8ACF-06D93F60CD1E}"/>
                    </a:ext>
                  </a:extLst>
                </p:cNvPr>
                <p:cNvSpPr/>
                <p:nvPr/>
              </p:nvSpPr>
              <p:spPr>
                <a:xfrm>
                  <a:off x="1077983" y="2671879"/>
                  <a:ext cx="41320" cy="22544"/>
                </a:xfrm>
                <a:custGeom>
                  <a:avLst/>
                  <a:gdLst>
                    <a:gd name="connsiteX0" fmla="*/ 40944 w 41320"/>
                    <a:gd name="connsiteY0" fmla="*/ 20346 h 22544"/>
                    <a:gd name="connsiteX1" fmla="*/ 38683 w 41320"/>
                    <a:gd name="connsiteY1" fmla="*/ 21728 h 22544"/>
                    <a:gd name="connsiteX2" fmla="*/ 37050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0 w 41320"/>
                    <a:gd name="connsiteY7" fmla="*/ 22356 h 22544"/>
                    <a:gd name="connsiteX8" fmla="*/ 38683 w 41320"/>
                    <a:gd name="connsiteY8" fmla="*/ 22356 h 22544"/>
                    <a:gd name="connsiteX9" fmla="*/ 40944 w 41320"/>
                    <a:gd name="connsiteY9" fmla="*/ 20974 h 22544"/>
                    <a:gd name="connsiteX10" fmla="*/ 41321 w 41320"/>
                    <a:gd name="connsiteY10" fmla="*/ 20472 h 22544"/>
                    <a:gd name="connsiteX11" fmla="*/ 41321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0" y="21728"/>
                      </a:cubicBezTo>
                      <a:lnTo>
                        <a:pt x="377" y="502"/>
                      </a:lnTo>
                      <a:cubicBezTo>
                        <a:pt x="126" y="377"/>
                        <a:pt x="0" y="251"/>
                        <a:pt x="0" y="0"/>
                      </a:cubicBezTo>
                      <a:cubicBezTo>
                        <a:pt x="0" y="0"/>
                        <a:pt x="0" y="502"/>
                        <a:pt x="0" y="628"/>
                      </a:cubicBezTo>
                      <a:cubicBezTo>
                        <a:pt x="0" y="754"/>
                        <a:pt x="126" y="1005"/>
                        <a:pt x="377" y="1130"/>
                      </a:cubicBezTo>
                      <a:lnTo>
                        <a:pt x="37050" y="22356"/>
                      </a:lnTo>
                      <a:cubicBezTo>
                        <a:pt x="37553" y="22607"/>
                        <a:pt x="38181" y="22607"/>
                        <a:pt x="38683" y="22356"/>
                      </a:cubicBezTo>
                      <a:lnTo>
                        <a:pt x="40944" y="20974"/>
                      </a:lnTo>
                      <a:cubicBezTo>
                        <a:pt x="41195" y="20849"/>
                        <a:pt x="41321" y="20723"/>
                        <a:pt x="41321" y="20472"/>
                      </a:cubicBezTo>
                      <a:lnTo>
                        <a:pt x="41321" y="19844"/>
                      </a:lnTo>
                      <a:cubicBezTo>
                        <a:pt x="41321" y="19970"/>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20" name="Graphic 4">
              <a:extLst>
                <a:ext uri="{FF2B5EF4-FFF2-40B4-BE49-F238E27FC236}">
                  <a16:creationId xmlns:a16="http://schemas.microsoft.com/office/drawing/2014/main" id="{84FB7ED1-A2DF-40A1-A747-5F7CF3F14040}"/>
                </a:ext>
              </a:extLst>
            </p:cNvPr>
            <p:cNvGrpSpPr/>
            <p:nvPr/>
          </p:nvGrpSpPr>
          <p:grpSpPr>
            <a:xfrm>
              <a:off x="1046585" y="2645692"/>
              <a:ext cx="141419" cy="82264"/>
              <a:chOff x="1046585" y="2645692"/>
              <a:chExt cx="141419" cy="82264"/>
            </a:xfrm>
            <a:solidFill>
              <a:srgbClr val="244690"/>
            </a:solidFill>
          </p:grpSpPr>
          <p:grpSp>
            <p:nvGrpSpPr>
              <p:cNvPr id="421" name="Graphic 4">
                <a:extLst>
                  <a:ext uri="{FF2B5EF4-FFF2-40B4-BE49-F238E27FC236}">
                    <a16:creationId xmlns:a16="http://schemas.microsoft.com/office/drawing/2014/main" id="{84FB7ED1-A2DF-40A1-A747-5F7CF3F14040}"/>
                  </a:ext>
                </a:extLst>
              </p:cNvPr>
              <p:cNvGrpSpPr/>
              <p:nvPr/>
            </p:nvGrpSpPr>
            <p:grpSpPr>
              <a:xfrm>
                <a:off x="1119932" y="2645692"/>
                <a:ext cx="68072" cy="39939"/>
                <a:chOff x="1119932" y="2645692"/>
                <a:chExt cx="68072" cy="39939"/>
              </a:xfrm>
              <a:solidFill>
                <a:srgbClr val="244690"/>
              </a:solidFill>
            </p:grpSpPr>
            <p:sp>
              <p:nvSpPr>
                <p:cNvPr id="422" name="Freeform: Shape 421">
                  <a:extLst>
                    <a:ext uri="{FF2B5EF4-FFF2-40B4-BE49-F238E27FC236}">
                      <a16:creationId xmlns:a16="http://schemas.microsoft.com/office/drawing/2014/main" id="{F6FDA0E6-F831-4A43-95B9-364C45AC7C33}"/>
                    </a:ext>
                  </a:extLst>
                </p:cNvPr>
                <p:cNvSpPr/>
                <p:nvPr/>
              </p:nvSpPr>
              <p:spPr>
                <a:xfrm>
                  <a:off x="1119932" y="2645692"/>
                  <a:ext cx="68072" cy="39436"/>
                </a:xfrm>
                <a:custGeom>
                  <a:avLst/>
                  <a:gdLst>
                    <a:gd name="connsiteX0" fmla="*/ 67696 w 68072"/>
                    <a:gd name="connsiteY0" fmla="*/ 36862 h 39436"/>
                    <a:gd name="connsiteX1" fmla="*/ 4270 w 68072"/>
                    <a:gd name="connsiteY1" fmla="*/ 188 h 39436"/>
                    <a:gd name="connsiteX2" fmla="*/ 2638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8" y="188"/>
                      </a:cubicBezTo>
                      <a:lnTo>
                        <a:pt x="377" y="1570"/>
                      </a:lnTo>
                      <a:cubicBezTo>
                        <a:pt x="126" y="1696"/>
                        <a:pt x="0" y="1821"/>
                        <a:pt x="0" y="2072"/>
                      </a:cubicBezTo>
                      <a:cubicBezTo>
                        <a:pt x="0" y="2198"/>
                        <a:pt x="126" y="2449"/>
                        <a:pt x="377" y="2575"/>
                      </a:cubicBezTo>
                      <a:lnTo>
                        <a:pt x="63802" y="39248"/>
                      </a:lnTo>
                      <a:cubicBezTo>
                        <a:pt x="64305" y="39500"/>
                        <a:pt x="64933" y="39500"/>
                        <a:pt x="65435" y="39248"/>
                      </a:cubicBezTo>
                      <a:lnTo>
                        <a:pt x="67696" y="37867"/>
                      </a:lnTo>
                      <a:cubicBezTo>
                        <a:pt x="67947" y="37741"/>
                        <a:pt x="68072" y="37616"/>
                        <a:pt x="68072" y="37364"/>
                      </a:cubicBezTo>
                      <a:cubicBezTo>
                        <a:pt x="68072" y="37113"/>
                        <a:pt x="67947"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 name="Freeform: Shape 422">
                  <a:extLst>
                    <a:ext uri="{FF2B5EF4-FFF2-40B4-BE49-F238E27FC236}">
                      <a16:creationId xmlns:a16="http://schemas.microsoft.com/office/drawing/2014/main" id="{2C7E55FF-6D3F-4DCB-A9BA-2CB8197278A9}"/>
                    </a:ext>
                  </a:extLst>
                </p:cNvPr>
                <p:cNvSpPr/>
                <p:nvPr/>
              </p:nvSpPr>
              <p:spPr>
                <a:xfrm>
                  <a:off x="1119932" y="2647639"/>
                  <a:ext cx="68072" cy="37992"/>
                </a:xfrm>
                <a:custGeom>
                  <a:avLst/>
                  <a:gdLst>
                    <a:gd name="connsiteX0" fmla="*/ 67696 w 68072"/>
                    <a:gd name="connsiteY0" fmla="*/ 35794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3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5" y="37176"/>
                      </a:lnTo>
                      <a:cubicBezTo>
                        <a:pt x="64933" y="37427"/>
                        <a:pt x="64305"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5" y="38055"/>
                        <a:pt x="64933" y="38055"/>
                        <a:pt x="65435" y="37804"/>
                      </a:cubicBezTo>
                      <a:lnTo>
                        <a:pt x="67696" y="36423"/>
                      </a:lnTo>
                      <a:cubicBezTo>
                        <a:pt x="67947" y="36297"/>
                        <a:pt x="68072" y="36171"/>
                        <a:pt x="68072" y="35920"/>
                      </a:cubicBezTo>
                      <a:lnTo>
                        <a:pt x="68072" y="35292"/>
                      </a:lnTo>
                      <a:cubicBezTo>
                        <a:pt x="68072" y="35543"/>
                        <a:pt x="67947"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4" name="Graphic 4">
                <a:extLst>
                  <a:ext uri="{FF2B5EF4-FFF2-40B4-BE49-F238E27FC236}">
                    <a16:creationId xmlns:a16="http://schemas.microsoft.com/office/drawing/2014/main" id="{84FB7ED1-A2DF-40A1-A747-5F7CF3F14040}"/>
                  </a:ext>
                </a:extLst>
              </p:cNvPr>
              <p:cNvGrpSpPr/>
              <p:nvPr/>
            </p:nvGrpSpPr>
            <p:grpSpPr>
              <a:xfrm>
                <a:off x="1109508" y="2651721"/>
                <a:ext cx="68072" cy="39939"/>
                <a:chOff x="1109508" y="2651721"/>
                <a:chExt cx="68072" cy="39939"/>
              </a:xfrm>
              <a:solidFill>
                <a:srgbClr val="244690"/>
              </a:solidFill>
            </p:grpSpPr>
            <p:sp>
              <p:nvSpPr>
                <p:cNvPr id="425" name="Freeform: Shape 424">
                  <a:extLst>
                    <a:ext uri="{FF2B5EF4-FFF2-40B4-BE49-F238E27FC236}">
                      <a16:creationId xmlns:a16="http://schemas.microsoft.com/office/drawing/2014/main" id="{CB74B6A4-BE81-4AB6-9D71-D8C685F963BC}"/>
                    </a:ext>
                  </a:extLst>
                </p:cNvPr>
                <p:cNvSpPr/>
                <p:nvPr/>
              </p:nvSpPr>
              <p:spPr>
                <a:xfrm>
                  <a:off x="1109508" y="2651721"/>
                  <a:ext cx="68072" cy="39436"/>
                </a:xfrm>
                <a:custGeom>
                  <a:avLst/>
                  <a:gdLst>
                    <a:gd name="connsiteX0" fmla="*/ 67696 w 68072"/>
                    <a:gd name="connsiteY0" fmla="*/ 36862 h 39436"/>
                    <a:gd name="connsiteX1" fmla="*/ 4270 w 68072"/>
                    <a:gd name="connsiteY1" fmla="*/ 188 h 39436"/>
                    <a:gd name="connsiteX2" fmla="*/ 2637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7" y="188"/>
                      </a:cubicBezTo>
                      <a:lnTo>
                        <a:pt x="377" y="1570"/>
                      </a:lnTo>
                      <a:cubicBezTo>
                        <a:pt x="126" y="1696"/>
                        <a:pt x="0" y="1821"/>
                        <a:pt x="0" y="2072"/>
                      </a:cubicBezTo>
                      <a:cubicBezTo>
                        <a:pt x="0" y="2198"/>
                        <a:pt x="126" y="2449"/>
                        <a:pt x="377" y="2575"/>
                      </a:cubicBezTo>
                      <a:lnTo>
                        <a:pt x="63802" y="39248"/>
                      </a:lnTo>
                      <a:cubicBezTo>
                        <a:pt x="64304" y="39500"/>
                        <a:pt x="64932" y="39500"/>
                        <a:pt x="65435" y="39248"/>
                      </a:cubicBezTo>
                      <a:lnTo>
                        <a:pt x="67696" y="37867"/>
                      </a:lnTo>
                      <a:cubicBezTo>
                        <a:pt x="67947" y="37741"/>
                        <a:pt x="68072" y="37616"/>
                        <a:pt x="68072" y="37364"/>
                      </a:cubicBezTo>
                      <a:cubicBezTo>
                        <a:pt x="67947" y="37113"/>
                        <a:pt x="67821"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 name="Freeform: Shape 425">
                  <a:extLst>
                    <a:ext uri="{FF2B5EF4-FFF2-40B4-BE49-F238E27FC236}">
                      <a16:creationId xmlns:a16="http://schemas.microsoft.com/office/drawing/2014/main" id="{2D890FBA-9B13-4884-8406-86FC96A1CBA3}"/>
                    </a:ext>
                  </a:extLst>
                </p:cNvPr>
                <p:cNvSpPr/>
                <p:nvPr/>
              </p:nvSpPr>
              <p:spPr>
                <a:xfrm>
                  <a:off x="1109508" y="2653668"/>
                  <a:ext cx="68072" cy="37992"/>
                </a:xfrm>
                <a:custGeom>
                  <a:avLst/>
                  <a:gdLst>
                    <a:gd name="connsiteX0" fmla="*/ 67696 w 68072"/>
                    <a:gd name="connsiteY0" fmla="*/ 35795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3 h 37992"/>
                    <a:gd name="connsiteX10" fmla="*/ 68072 w 68072"/>
                    <a:gd name="connsiteY10" fmla="*/ 35920 h 37992"/>
                    <a:gd name="connsiteX11" fmla="*/ 68072 w 68072"/>
                    <a:gd name="connsiteY11" fmla="*/ 35292 h 37992"/>
                    <a:gd name="connsiteX12" fmla="*/ 67696 w 68072"/>
                    <a:gd name="connsiteY12" fmla="*/ 35795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5"/>
                      </a:moveTo>
                      <a:lnTo>
                        <a:pt x="65435" y="37176"/>
                      </a:lnTo>
                      <a:cubicBezTo>
                        <a:pt x="64932" y="37427"/>
                        <a:pt x="64304"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4" y="38055"/>
                        <a:pt x="64932" y="38055"/>
                        <a:pt x="65435" y="37804"/>
                      </a:cubicBezTo>
                      <a:lnTo>
                        <a:pt x="67696" y="36423"/>
                      </a:lnTo>
                      <a:cubicBezTo>
                        <a:pt x="67947" y="36297"/>
                        <a:pt x="68072" y="36171"/>
                        <a:pt x="68072" y="35920"/>
                      </a:cubicBezTo>
                      <a:lnTo>
                        <a:pt x="68072" y="35292"/>
                      </a:lnTo>
                      <a:cubicBezTo>
                        <a:pt x="67947" y="35543"/>
                        <a:pt x="67821" y="35669"/>
                        <a:pt x="67696" y="3579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7" name="Graphic 4">
                <a:extLst>
                  <a:ext uri="{FF2B5EF4-FFF2-40B4-BE49-F238E27FC236}">
                    <a16:creationId xmlns:a16="http://schemas.microsoft.com/office/drawing/2014/main" id="{84FB7ED1-A2DF-40A1-A747-5F7CF3F14040}"/>
                  </a:ext>
                </a:extLst>
              </p:cNvPr>
              <p:cNvGrpSpPr/>
              <p:nvPr/>
            </p:nvGrpSpPr>
            <p:grpSpPr>
              <a:xfrm>
                <a:off x="1046585" y="2688018"/>
                <a:ext cx="68072" cy="39939"/>
                <a:chOff x="1046585" y="2688018"/>
                <a:chExt cx="68072" cy="39939"/>
              </a:xfrm>
              <a:solidFill>
                <a:srgbClr val="244690"/>
              </a:solidFill>
            </p:grpSpPr>
            <p:sp>
              <p:nvSpPr>
                <p:cNvPr id="428" name="Freeform: Shape 427">
                  <a:extLst>
                    <a:ext uri="{FF2B5EF4-FFF2-40B4-BE49-F238E27FC236}">
                      <a16:creationId xmlns:a16="http://schemas.microsoft.com/office/drawing/2014/main" id="{45D7FE6F-C2C5-4170-A9F0-5F54BDCCB5C0}"/>
                    </a:ext>
                  </a:extLst>
                </p:cNvPr>
                <p:cNvSpPr/>
                <p:nvPr/>
              </p:nvSpPr>
              <p:spPr>
                <a:xfrm>
                  <a:off x="1046585" y="2688018"/>
                  <a:ext cx="68072" cy="39436"/>
                </a:xfrm>
                <a:custGeom>
                  <a:avLst/>
                  <a:gdLst>
                    <a:gd name="connsiteX0" fmla="*/ 67696 w 68072"/>
                    <a:gd name="connsiteY0" fmla="*/ 36862 h 39436"/>
                    <a:gd name="connsiteX1" fmla="*/ 4270 w 68072"/>
                    <a:gd name="connsiteY1" fmla="*/ 188 h 39436"/>
                    <a:gd name="connsiteX2" fmla="*/ 2637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5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7" y="188"/>
                      </a:cubicBezTo>
                      <a:lnTo>
                        <a:pt x="377" y="1570"/>
                      </a:lnTo>
                      <a:cubicBezTo>
                        <a:pt x="126" y="1696"/>
                        <a:pt x="0" y="1821"/>
                        <a:pt x="0" y="2072"/>
                      </a:cubicBezTo>
                      <a:cubicBezTo>
                        <a:pt x="0" y="2198"/>
                        <a:pt x="126" y="2449"/>
                        <a:pt x="377" y="2575"/>
                      </a:cubicBezTo>
                      <a:lnTo>
                        <a:pt x="63802" y="39248"/>
                      </a:lnTo>
                      <a:cubicBezTo>
                        <a:pt x="64305" y="39500"/>
                        <a:pt x="64932" y="39500"/>
                        <a:pt x="65435" y="39248"/>
                      </a:cubicBezTo>
                      <a:lnTo>
                        <a:pt x="67696" y="37867"/>
                      </a:lnTo>
                      <a:cubicBezTo>
                        <a:pt x="67947" y="37741"/>
                        <a:pt x="68072" y="37616"/>
                        <a:pt x="68072" y="37365"/>
                      </a:cubicBezTo>
                      <a:cubicBezTo>
                        <a:pt x="68072" y="37113"/>
                        <a:pt x="67947"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 name="Freeform: Shape 428">
                  <a:extLst>
                    <a:ext uri="{FF2B5EF4-FFF2-40B4-BE49-F238E27FC236}">
                      <a16:creationId xmlns:a16="http://schemas.microsoft.com/office/drawing/2014/main" id="{C42F43CA-3269-4BF0-8A52-023495A2B7BC}"/>
                    </a:ext>
                  </a:extLst>
                </p:cNvPr>
                <p:cNvSpPr/>
                <p:nvPr/>
              </p:nvSpPr>
              <p:spPr>
                <a:xfrm>
                  <a:off x="1046585" y="2689964"/>
                  <a:ext cx="68072" cy="37992"/>
                </a:xfrm>
                <a:custGeom>
                  <a:avLst/>
                  <a:gdLst>
                    <a:gd name="connsiteX0" fmla="*/ 67696 w 68072"/>
                    <a:gd name="connsiteY0" fmla="*/ 35794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2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5" y="37176"/>
                      </a:lnTo>
                      <a:cubicBezTo>
                        <a:pt x="64932" y="37427"/>
                        <a:pt x="64305"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5" y="38055"/>
                        <a:pt x="64932" y="38055"/>
                        <a:pt x="65435" y="37804"/>
                      </a:cubicBezTo>
                      <a:lnTo>
                        <a:pt x="67696" y="36422"/>
                      </a:lnTo>
                      <a:cubicBezTo>
                        <a:pt x="67947" y="36297"/>
                        <a:pt x="68072" y="36171"/>
                        <a:pt x="68072" y="35920"/>
                      </a:cubicBezTo>
                      <a:lnTo>
                        <a:pt x="68072" y="35292"/>
                      </a:lnTo>
                      <a:cubicBezTo>
                        <a:pt x="68072" y="35543"/>
                        <a:pt x="67947"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30" name="Graphic 4">
                <a:extLst>
                  <a:ext uri="{FF2B5EF4-FFF2-40B4-BE49-F238E27FC236}">
                    <a16:creationId xmlns:a16="http://schemas.microsoft.com/office/drawing/2014/main" id="{84FB7ED1-A2DF-40A1-A747-5F7CF3F14040}"/>
                  </a:ext>
                </a:extLst>
              </p:cNvPr>
              <p:cNvGrpSpPr/>
              <p:nvPr/>
            </p:nvGrpSpPr>
            <p:grpSpPr>
              <a:xfrm>
                <a:off x="1057009" y="2681989"/>
                <a:ext cx="68072" cy="39939"/>
                <a:chOff x="1057009" y="2681989"/>
                <a:chExt cx="68072" cy="39939"/>
              </a:xfrm>
              <a:solidFill>
                <a:srgbClr val="244690"/>
              </a:solidFill>
            </p:grpSpPr>
            <p:sp>
              <p:nvSpPr>
                <p:cNvPr id="431" name="Freeform: Shape 430">
                  <a:extLst>
                    <a:ext uri="{FF2B5EF4-FFF2-40B4-BE49-F238E27FC236}">
                      <a16:creationId xmlns:a16="http://schemas.microsoft.com/office/drawing/2014/main" id="{D2B357B4-07EB-4E97-9BC2-89945FDA4CBB}"/>
                    </a:ext>
                  </a:extLst>
                </p:cNvPr>
                <p:cNvSpPr/>
                <p:nvPr/>
              </p:nvSpPr>
              <p:spPr>
                <a:xfrm>
                  <a:off x="1057009" y="2681989"/>
                  <a:ext cx="68072" cy="39436"/>
                </a:xfrm>
                <a:custGeom>
                  <a:avLst/>
                  <a:gdLst>
                    <a:gd name="connsiteX0" fmla="*/ 67696 w 68072"/>
                    <a:gd name="connsiteY0" fmla="*/ 36862 h 39436"/>
                    <a:gd name="connsiteX1" fmla="*/ 4270 w 68072"/>
                    <a:gd name="connsiteY1" fmla="*/ 188 h 39436"/>
                    <a:gd name="connsiteX2" fmla="*/ 2637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7" y="188"/>
                      </a:cubicBezTo>
                      <a:lnTo>
                        <a:pt x="377" y="1570"/>
                      </a:lnTo>
                      <a:cubicBezTo>
                        <a:pt x="126" y="1696"/>
                        <a:pt x="0" y="1821"/>
                        <a:pt x="0" y="2072"/>
                      </a:cubicBezTo>
                      <a:cubicBezTo>
                        <a:pt x="0" y="2198"/>
                        <a:pt x="126" y="2449"/>
                        <a:pt x="377" y="2575"/>
                      </a:cubicBezTo>
                      <a:lnTo>
                        <a:pt x="63802" y="39248"/>
                      </a:lnTo>
                      <a:cubicBezTo>
                        <a:pt x="64304" y="39500"/>
                        <a:pt x="64932" y="39500"/>
                        <a:pt x="65435" y="39248"/>
                      </a:cubicBezTo>
                      <a:lnTo>
                        <a:pt x="67696" y="37867"/>
                      </a:lnTo>
                      <a:cubicBezTo>
                        <a:pt x="67947" y="37741"/>
                        <a:pt x="68072" y="37616"/>
                        <a:pt x="68072" y="37364"/>
                      </a:cubicBezTo>
                      <a:cubicBezTo>
                        <a:pt x="68072" y="37113"/>
                        <a:pt x="67947"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 name="Freeform: Shape 431">
                  <a:extLst>
                    <a:ext uri="{FF2B5EF4-FFF2-40B4-BE49-F238E27FC236}">
                      <a16:creationId xmlns:a16="http://schemas.microsoft.com/office/drawing/2014/main" id="{D2EB08CF-3082-4291-AAC7-B221356EE37A}"/>
                    </a:ext>
                  </a:extLst>
                </p:cNvPr>
                <p:cNvSpPr/>
                <p:nvPr/>
              </p:nvSpPr>
              <p:spPr>
                <a:xfrm>
                  <a:off x="1057009" y="2683936"/>
                  <a:ext cx="68072" cy="37992"/>
                </a:xfrm>
                <a:custGeom>
                  <a:avLst/>
                  <a:gdLst>
                    <a:gd name="connsiteX0" fmla="*/ 67696 w 68072"/>
                    <a:gd name="connsiteY0" fmla="*/ 35794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3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5" y="37176"/>
                      </a:lnTo>
                      <a:cubicBezTo>
                        <a:pt x="64932" y="37427"/>
                        <a:pt x="64304"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4" y="38055"/>
                        <a:pt x="64932" y="38055"/>
                        <a:pt x="65435" y="37804"/>
                      </a:cubicBezTo>
                      <a:lnTo>
                        <a:pt x="67696" y="36423"/>
                      </a:lnTo>
                      <a:cubicBezTo>
                        <a:pt x="67947" y="36297"/>
                        <a:pt x="68072" y="36171"/>
                        <a:pt x="68072" y="35920"/>
                      </a:cubicBezTo>
                      <a:lnTo>
                        <a:pt x="68072" y="35292"/>
                      </a:lnTo>
                      <a:cubicBezTo>
                        <a:pt x="68072" y="35543"/>
                        <a:pt x="67947"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33" name="Graphic 4">
              <a:extLst>
                <a:ext uri="{FF2B5EF4-FFF2-40B4-BE49-F238E27FC236}">
                  <a16:creationId xmlns:a16="http://schemas.microsoft.com/office/drawing/2014/main" id="{84FB7ED1-A2DF-40A1-A747-5F7CF3F14040}"/>
                </a:ext>
              </a:extLst>
            </p:cNvPr>
            <p:cNvGrpSpPr/>
            <p:nvPr/>
          </p:nvGrpSpPr>
          <p:grpSpPr>
            <a:xfrm>
              <a:off x="1110880" y="2681470"/>
              <a:ext cx="55406" cy="33868"/>
              <a:chOff x="1110880" y="2681470"/>
              <a:chExt cx="55406" cy="33868"/>
            </a:xfrm>
            <a:solidFill>
              <a:srgbClr val="244690"/>
            </a:solidFill>
          </p:grpSpPr>
          <p:sp>
            <p:nvSpPr>
              <p:cNvPr id="434" name="Freeform: Shape 433">
                <a:extLst>
                  <a:ext uri="{FF2B5EF4-FFF2-40B4-BE49-F238E27FC236}">
                    <a16:creationId xmlns:a16="http://schemas.microsoft.com/office/drawing/2014/main" id="{B7BEEADD-FB64-4E2D-81F7-865C89B29E4D}"/>
                  </a:ext>
                </a:extLst>
              </p:cNvPr>
              <p:cNvSpPr/>
              <p:nvPr/>
            </p:nvSpPr>
            <p:spPr>
              <a:xfrm>
                <a:off x="1110880" y="2681470"/>
                <a:ext cx="55406" cy="31934"/>
              </a:xfrm>
              <a:custGeom>
                <a:avLst/>
                <a:gdLst>
                  <a:gd name="connsiteX0" fmla="*/ 763 w 55406"/>
                  <a:gd name="connsiteY0" fmla="*/ 20928 h 31934"/>
                  <a:gd name="connsiteX1" fmla="*/ 19100 w 55406"/>
                  <a:gd name="connsiteY1" fmla="*/ 31478 h 31934"/>
                  <a:gd name="connsiteX2" fmla="*/ 23621 w 55406"/>
                  <a:gd name="connsiteY2" fmla="*/ 31353 h 31934"/>
                  <a:gd name="connsiteX3" fmla="*/ 54266 w 55406"/>
                  <a:gd name="connsiteY3" fmla="*/ 13644 h 31934"/>
                  <a:gd name="connsiteX4" fmla="*/ 54643 w 55406"/>
                  <a:gd name="connsiteY4" fmla="*/ 11006 h 31934"/>
                  <a:gd name="connsiteX5" fmla="*/ 36306 w 55406"/>
                  <a:gd name="connsiteY5" fmla="*/ 456 h 31934"/>
                  <a:gd name="connsiteX6" fmla="*/ 31785 w 55406"/>
                  <a:gd name="connsiteY6" fmla="*/ 582 h 31934"/>
                  <a:gd name="connsiteX7" fmla="*/ 1140 w 55406"/>
                  <a:gd name="connsiteY7" fmla="*/ 18291 h 31934"/>
                  <a:gd name="connsiteX8" fmla="*/ 763 w 55406"/>
                  <a:gd name="connsiteY8" fmla="*/ 20928 h 3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06" h="31934">
                    <a:moveTo>
                      <a:pt x="763" y="20928"/>
                    </a:moveTo>
                    <a:lnTo>
                      <a:pt x="19100" y="31478"/>
                    </a:lnTo>
                    <a:cubicBezTo>
                      <a:pt x="20230" y="32106"/>
                      <a:pt x="22240" y="32106"/>
                      <a:pt x="23621" y="31353"/>
                    </a:cubicBezTo>
                    <a:lnTo>
                      <a:pt x="54266" y="13644"/>
                    </a:lnTo>
                    <a:cubicBezTo>
                      <a:pt x="55648" y="12890"/>
                      <a:pt x="55774" y="11760"/>
                      <a:pt x="54643" y="11006"/>
                    </a:cubicBezTo>
                    <a:lnTo>
                      <a:pt x="36306" y="456"/>
                    </a:lnTo>
                    <a:cubicBezTo>
                      <a:pt x="35176" y="-172"/>
                      <a:pt x="33167" y="-172"/>
                      <a:pt x="31785" y="582"/>
                    </a:cubicBezTo>
                    <a:lnTo>
                      <a:pt x="1140" y="18291"/>
                    </a:lnTo>
                    <a:cubicBezTo>
                      <a:pt x="-242" y="19170"/>
                      <a:pt x="-367" y="20300"/>
                      <a:pt x="763" y="2092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 name="Freeform: Shape 434">
                <a:extLst>
                  <a:ext uri="{FF2B5EF4-FFF2-40B4-BE49-F238E27FC236}">
                    <a16:creationId xmlns:a16="http://schemas.microsoft.com/office/drawing/2014/main" id="{8CC33715-7551-4167-BFFF-85EBBA63003F}"/>
                  </a:ext>
                </a:extLst>
              </p:cNvPr>
              <p:cNvSpPr/>
              <p:nvPr/>
            </p:nvSpPr>
            <p:spPr>
              <a:xfrm>
                <a:off x="1110889" y="2693607"/>
                <a:ext cx="55387" cy="21731"/>
              </a:xfrm>
              <a:custGeom>
                <a:avLst/>
                <a:gdLst>
                  <a:gd name="connsiteX0" fmla="*/ 0 w 55387"/>
                  <a:gd name="connsiteY0" fmla="*/ 7661 h 21731"/>
                  <a:gd name="connsiteX1" fmla="*/ 0 w 55387"/>
                  <a:gd name="connsiteY1" fmla="*/ 7661 h 21731"/>
                  <a:gd name="connsiteX2" fmla="*/ 754 w 55387"/>
                  <a:gd name="connsiteY2" fmla="*/ 8792 h 21731"/>
                  <a:gd name="connsiteX3" fmla="*/ 19090 w 55387"/>
                  <a:gd name="connsiteY3" fmla="*/ 19342 h 21731"/>
                  <a:gd name="connsiteX4" fmla="*/ 23612 w 55387"/>
                  <a:gd name="connsiteY4" fmla="*/ 19216 h 21731"/>
                  <a:gd name="connsiteX5" fmla="*/ 54257 w 55387"/>
                  <a:gd name="connsiteY5" fmla="*/ 1507 h 21731"/>
                  <a:gd name="connsiteX6" fmla="*/ 55387 w 55387"/>
                  <a:gd name="connsiteY6" fmla="*/ 0 h 21731"/>
                  <a:gd name="connsiteX7" fmla="*/ 55387 w 55387"/>
                  <a:gd name="connsiteY7" fmla="*/ 0 h 21731"/>
                  <a:gd name="connsiteX8" fmla="*/ 55387 w 55387"/>
                  <a:gd name="connsiteY8" fmla="*/ 1884 h 21731"/>
                  <a:gd name="connsiteX9" fmla="*/ 54257 w 55387"/>
                  <a:gd name="connsiteY9" fmla="*/ 3391 h 21731"/>
                  <a:gd name="connsiteX10" fmla="*/ 23612 w 55387"/>
                  <a:gd name="connsiteY10" fmla="*/ 21100 h 21731"/>
                  <a:gd name="connsiteX11" fmla="*/ 19090 w 55387"/>
                  <a:gd name="connsiteY11" fmla="*/ 21226 h 21731"/>
                  <a:gd name="connsiteX12" fmla="*/ 754 w 55387"/>
                  <a:gd name="connsiteY12" fmla="*/ 10676 h 21731"/>
                  <a:gd name="connsiteX13" fmla="*/ 0 w 55387"/>
                  <a:gd name="connsiteY13" fmla="*/ 9545 h 21731"/>
                  <a:gd name="connsiteX14" fmla="*/ 0 w 55387"/>
                  <a:gd name="connsiteY14" fmla="*/ 7661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387" h="21731">
                    <a:moveTo>
                      <a:pt x="0" y="7661"/>
                    </a:moveTo>
                    <a:lnTo>
                      <a:pt x="0" y="7661"/>
                    </a:lnTo>
                    <a:cubicBezTo>
                      <a:pt x="0" y="8038"/>
                      <a:pt x="251" y="8415"/>
                      <a:pt x="754" y="8792"/>
                    </a:cubicBezTo>
                    <a:lnTo>
                      <a:pt x="19090" y="19342"/>
                    </a:lnTo>
                    <a:cubicBezTo>
                      <a:pt x="20221" y="19970"/>
                      <a:pt x="22230" y="19970"/>
                      <a:pt x="23612" y="19216"/>
                    </a:cubicBezTo>
                    <a:lnTo>
                      <a:pt x="54257" y="1507"/>
                    </a:lnTo>
                    <a:cubicBezTo>
                      <a:pt x="55010" y="1130"/>
                      <a:pt x="55387" y="502"/>
                      <a:pt x="55387" y="0"/>
                    </a:cubicBezTo>
                    <a:lnTo>
                      <a:pt x="55387" y="0"/>
                    </a:lnTo>
                    <a:cubicBezTo>
                      <a:pt x="55387" y="0"/>
                      <a:pt x="55387" y="1507"/>
                      <a:pt x="55387" y="1884"/>
                    </a:cubicBezTo>
                    <a:cubicBezTo>
                      <a:pt x="55387" y="2386"/>
                      <a:pt x="55010" y="2889"/>
                      <a:pt x="54257" y="3391"/>
                    </a:cubicBezTo>
                    <a:lnTo>
                      <a:pt x="23612" y="21100"/>
                    </a:lnTo>
                    <a:cubicBezTo>
                      <a:pt x="22230" y="21854"/>
                      <a:pt x="20346" y="21979"/>
                      <a:pt x="19090" y="21226"/>
                    </a:cubicBezTo>
                    <a:lnTo>
                      <a:pt x="754" y="10676"/>
                    </a:lnTo>
                    <a:cubicBezTo>
                      <a:pt x="251" y="10424"/>
                      <a:pt x="0" y="9922"/>
                      <a:pt x="0" y="9545"/>
                    </a:cubicBezTo>
                    <a:cubicBezTo>
                      <a:pt x="0" y="9043"/>
                      <a:pt x="0" y="7661"/>
                      <a:pt x="0" y="7661"/>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6" name="Freeform: Shape 435">
              <a:extLst>
                <a:ext uri="{FF2B5EF4-FFF2-40B4-BE49-F238E27FC236}">
                  <a16:creationId xmlns:a16="http://schemas.microsoft.com/office/drawing/2014/main" id="{C61540F7-CCB3-4F80-BC95-810F8A87A95E}"/>
                </a:ext>
              </a:extLst>
            </p:cNvPr>
            <p:cNvSpPr/>
            <p:nvPr/>
          </p:nvSpPr>
          <p:spPr>
            <a:xfrm>
              <a:off x="545210" y="2388035"/>
              <a:ext cx="444731" cy="391981"/>
            </a:xfrm>
            <a:custGeom>
              <a:avLst/>
              <a:gdLst>
                <a:gd name="connsiteX0" fmla="*/ 444731 w 444731"/>
                <a:gd name="connsiteY0" fmla="*/ 391981 h 391981"/>
                <a:gd name="connsiteX1" fmla="*/ 444731 w 444731"/>
                <a:gd name="connsiteY1" fmla="*/ 256841 h 391981"/>
                <a:gd name="connsiteX2" fmla="*/ 0 w 444731"/>
                <a:gd name="connsiteY2" fmla="*/ 0 h 391981"/>
                <a:gd name="connsiteX3" fmla="*/ 0 w 444731"/>
                <a:gd name="connsiteY3" fmla="*/ 135266 h 391981"/>
              </a:gdLst>
              <a:ahLst/>
              <a:cxnLst>
                <a:cxn ang="0">
                  <a:pos x="connsiteX0" y="connsiteY0"/>
                </a:cxn>
                <a:cxn ang="0">
                  <a:pos x="connsiteX1" y="connsiteY1"/>
                </a:cxn>
                <a:cxn ang="0">
                  <a:pos x="connsiteX2" y="connsiteY2"/>
                </a:cxn>
                <a:cxn ang="0">
                  <a:pos x="connsiteX3" y="connsiteY3"/>
                </a:cxn>
              </a:cxnLst>
              <a:rect l="l" t="t" r="r" b="b"/>
              <a:pathLst>
                <a:path w="444731" h="391981">
                  <a:moveTo>
                    <a:pt x="444731" y="391981"/>
                  </a:moveTo>
                  <a:lnTo>
                    <a:pt x="444731" y="256841"/>
                  </a:lnTo>
                  <a:lnTo>
                    <a:pt x="0" y="0"/>
                  </a:lnTo>
                  <a:lnTo>
                    <a:pt x="0" y="135266"/>
                  </a:lnTo>
                  <a:close/>
                </a:path>
              </a:pathLst>
            </a:custGeom>
            <a:solidFill>
              <a:srgbClr val="D3D1C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37" name="Graphic 4">
            <a:extLst>
              <a:ext uri="{FF2B5EF4-FFF2-40B4-BE49-F238E27FC236}">
                <a16:creationId xmlns:a16="http://schemas.microsoft.com/office/drawing/2014/main" id="{84FB7ED1-A2DF-40A1-A747-5F7CF3F14040}"/>
              </a:ext>
            </a:extLst>
          </p:cNvPr>
          <p:cNvGrpSpPr/>
          <p:nvPr/>
        </p:nvGrpSpPr>
        <p:grpSpPr>
          <a:xfrm>
            <a:off x="10278008" y="3009080"/>
            <a:ext cx="671429" cy="583651"/>
            <a:chOff x="10174313" y="3037360"/>
            <a:chExt cx="671429" cy="583651"/>
          </a:xfrm>
          <a:solidFill>
            <a:schemeClr val="accent1"/>
          </a:solidFill>
        </p:grpSpPr>
        <p:sp>
          <p:nvSpPr>
            <p:cNvPr id="438" name="Freeform: Shape 437">
              <a:extLst>
                <a:ext uri="{FF2B5EF4-FFF2-40B4-BE49-F238E27FC236}">
                  <a16:creationId xmlns:a16="http://schemas.microsoft.com/office/drawing/2014/main" id="{AF9970F9-13C3-4A21-8519-9899CB1D605C}"/>
                </a:ext>
              </a:extLst>
            </p:cNvPr>
            <p:cNvSpPr/>
            <p:nvPr/>
          </p:nvSpPr>
          <p:spPr>
            <a:xfrm>
              <a:off x="10642028" y="3496736"/>
              <a:ext cx="19980" cy="36772"/>
            </a:xfrm>
            <a:custGeom>
              <a:avLst/>
              <a:gdLst>
                <a:gd name="connsiteX0" fmla="*/ 17960 w 19980"/>
                <a:gd name="connsiteY0" fmla="*/ 27304 h 36772"/>
                <a:gd name="connsiteX1" fmla="*/ 2135 w 19980"/>
                <a:gd name="connsiteY1" fmla="*/ 36472 h 36772"/>
                <a:gd name="connsiteX2" fmla="*/ 628 w 19980"/>
                <a:gd name="connsiteY2" fmla="*/ 36598 h 36772"/>
                <a:gd name="connsiteX3" fmla="*/ 0 w 19980"/>
                <a:gd name="connsiteY3" fmla="*/ 35216 h 36772"/>
                <a:gd name="connsiteX4" fmla="*/ 0 w 19980"/>
                <a:gd name="connsiteY4" fmla="*/ 12986 h 36772"/>
                <a:gd name="connsiteX5" fmla="*/ 2009 w 19980"/>
                <a:gd name="connsiteY5" fmla="*/ 9469 h 36772"/>
                <a:gd name="connsiteX6" fmla="*/ 17834 w 19980"/>
                <a:gd name="connsiteY6" fmla="*/ 301 h 36772"/>
                <a:gd name="connsiteX7" fmla="*/ 19341 w 19980"/>
                <a:gd name="connsiteY7" fmla="*/ 175 h 36772"/>
                <a:gd name="connsiteX8" fmla="*/ 19970 w 19980"/>
                <a:gd name="connsiteY8" fmla="*/ 1557 h 36772"/>
                <a:gd name="connsiteX9" fmla="*/ 19970 w 19980"/>
                <a:gd name="connsiteY9" fmla="*/ 23787 h 36772"/>
                <a:gd name="connsiteX10" fmla="*/ 17960 w 19980"/>
                <a:gd name="connsiteY10" fmla="*/ 27304 h 3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80" h="36772">
                  <a:moveTo>
                    <a:pt x="17960" y="27304"/>
                  </a:moveTo>
                  <a:lnTo>
                    <a:pt x="2135" y="36472"/>
                  </a:lnTo>
                  <a:cubicBezTo>
                    <a:pt x="1633" y="36849"/>
                    <a:pt x="1005" y="36849"/>
                    <a:pt x="628" y="36598"/>
                  </a:cubicBezTo>
                  <a:cubicBezTo>
                    <a:pt x="251" y="36346"/>
                    <a:pt x="0" y="35970"/>
                    <a:pt x="0" y="35216"/>
                  </a:cubicBezTo>
                  <a:lnTo>
                    <a:pt x="0" y="12986"/>
                  </a:lnTo>
                  <a:cubicBezTo>
                    <a:pt x="0" y="11730"/>
                    <a:pt x="879" y="10097"/>
                    <a:pt x="2009" y="9469"/>
                  </a:cubicBezTo>
                  <a:lnTo>
                    <a:pt x="17834" y="301"/>
                  </a:lnTo>
                  <a:cubicBezTo>
                    <a:pt x="18462" y="-76"/>
                    <a:pt x="18965" y="-76"/>
                    <a:pt x="19341" y="175"/>
                  </a:cubicBezTo>
                  <a:cubicBezTo>
                    <a:pt x="19718" y="426"/>
                    <a:pt x="19970" y="803"/>
                    <a:pt x="19970" y="1557"/>
                  </a:cubicBezTo>
                  <a:lnTo>
                    <a:pt x="19970" y="23787"/>
                  </a:lnTo>
                  <a:cubicBezTo>
                    <a:pt x="20095" y="25043"/>
                    <a:pt x="19091" y="26676"/>
                    <a:pt x="17960" y="27304"/>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 name="Freeform: Shape 438">
              <a:extLst>
                <a:ext uri="{FF2B5EF4-FFF2-40B4-BE49-F238E27FC236}">
                  <a16:creationId xmlns:a16="http://schemas.microsoft.com/office/drawing/2014/main" id="{99A35E9D-1F2E-49B1-96CB-24B13292172A}"/>
                </a:ext>
              </a:extLst>
            </p:cNvPr>
            <p:cNvSpPr/>
            <p:nvPr/>
          </p:nvSpPr>
          <p:spPr>
            <a:xfrm>
              <a:off x="10649563" y="3521653"/>
              <a:ext cx="502" cy="34915"/>
            </a:xfrm>
            <a:custGeom>
              <a:avLst/>
              <a:gdLst>
                <a:gd name="connsiteX0" fmla="*/ 503 w 502"/>
                <a:gd name="connsiteY0" fmla="*/ 34915 h 34915"/>
                <a:gd name="connsiteX1" fmla="*/ 0 w 502"/>
                <a:gd name="connsiteY1" fmla="*/ 34664 h 34915"/>
                <a:gd name="connsiteX2" fmla="*/ 0 w 502"/>
                <a:gd name="connsiteY2" fmla="*/ 0 h 34915"/>
                <a:gd name="connsiteX3" fmla="*/ 503 w 502"/>
                <a:gd name="connsiteY3" fmla="*/ 377 h 34915"/>
              </a:gdLst>
              <a:ahLst/>
              <a:cxnLst>
                <a:cxn ang="0">
                  <a:pos x="connsiteX0" y="connsiteY0"/>
                </a:cxn>
                <a:cxn ang="0">
                  <a:pos x="connsiteX1" y="connsiteY1"/>
                </a:cxn>
                <a:cxn ang="0">
                  <a:pos x="connsiteX2" y="connsiteY2"/>
                </a:cxn>
                <a:cxn ang="0">
                  <a:pos x="connsiteX3" y="connsiteY3"/>
                </a:cxn>
              </a:cxnLst>
              <a:rect l="l" t="t" r="r" b="b"/>
              <a:pathLst>
                <a:path w="502" h="34915">
                  <a:moveTo>
                    <a:pt x="503" y="34915"/>
                  </a:moveTo>
                  <a:lnTo>
                    <a:pt x="0" y="34664"/>
                  </a:lnTo>
                  <a:lnTo>
                    <a:pt x="0" y="0"/>
                  </a:lnTo>
                  <a:lnTo>
                    <a:pt x="503"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 name="Freeform: Shape 439">
              <a:extLst>
                <a:ext uri="{FF2B5EF4-FFF2-40B4-BE49-F238E27FC236}">
                  <a16:creationId xmlns:a16="http://schemas.microsoft.com/office/drawing/2014/main" id="{1E1A17FB-29EE-4ED1-B0BA-B55EA5A543B8}"/>
                </a:ext>
              </a:extLst>
            </p:cNvPr>
            <p:cNvSpPr/>
            <p:nvPr/>
          </p:nvSpPr>
          <p:spPr>
            <a:xfrm>
              <a:off x="10829611" y="3458856"/>
              <a:ext cx="11861" cy="14568"/>
            </a:xfrm>
            <a:custGeom>
              <a:avLst/>
              <a:gdLst>
                <a:gd name="connsiteX0" fmla="*/ 1187 w 11861"/>
                <a:gd name="connsiteY0" fmla="*/ 14569 h 14568"/>
                <a:gd name="connsiteX1" fmla="*/ 182 w 11861"/>
                <a:gd name="connsiteY1" fmla="*/ 13941 h 14568"/>
                <a:gd name="connsiteX2" fmla="*/ 558 w 11861"/>
                <a:gd name="connsiteY2" fmla="*/ 12308 h 14568"/>
                <a:gd name="connsiteX3" fmla="*/ 9601 w 11861"/>
                <a:gd name="connsiteY3" fmla="*/ 1130 h 14568"/>
                <a:gd name="connsiteX4" fmla="*/ 10731 w 11861"/>
                <a:gd name="connsiteY4" fmla="*/ 0 h 14568"/>
                <a:gd name="connsiteX5" fmla="*/ 11862 w 11861"/>
                <a:gd name="connsiteY5" fmla="*/ 1130 h 14568"/>
                <a:gd name="connsiteX6" fmla="*/ 1689 w 11861"/>
                <a:gd name="connsiteY6" fmla="*/ 14318 h 14568"/>
                <a:gd name="connsiteX7" fmla="*/ 1187 w 11861"/>
                <a:gd name="connsiteY7" fmla="*/ 14569 h 1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61" h="14568">
                  <a:moveTo>
                    <a:pt x="1187" y="14569"/>
                  </a:moveTo>
                  <a:cubicBezTo>
                    <a:pt x="809" y="14569"/>
                    <a:pt x="432" y="14318"/>
                    <a:pt x="182" y="13941"/>
                  </a:cubicBezTo>
                  <a:cubicBezTo>
                    <a:pt x="-196" y="13439"/>
                    <a:pt x="56" y="12685"/>
                    <a:pt x="558" y="12308"/>
                  </a:cubicBezTo>
                  <a:cubicBezTo>
                    <a:pt x="6461" y="8917"/>
                    <a:pt x="9601" y="5024"/>
                    <a:pt x="9601" y="1130"/>
                  </a:cubicBezTo>
                  <a:cubicBezTo>
                    <a:pt x="9601" y="502"/>
                    <a:pt x="10103" y="0"/>
                    <a:pt x="10731" y="0"/>
                  </a:cubicBezTo>
                  <a:cubicBezTo>
                    <a:pt x="11360" y="0"/>
                    <a:pt x="11862" y="502"/>
                    <a:pt x="11862" y="1130"/>
                  </a:cubicBezTo>
                  <a:cubicBezTo>
                    <a:pt x="11862" y="6028"/>
                    <a:pt x="8471" y="10424"/>
                    <a:pt x="1689" y="14318"/>
                  </a:cubicBezTo>
                  <a:cubicBezTo>
                    <a:pt x="1563" y="14443"/>
                    <a:pt x="1312" y="14569"/>
                    <a:pt x="1187" y="1456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1" name="Freeform: Shape 440">
              <a:extLst>
                <a:ext uri="{FF2B5EF4-FFF2-40B4-BE49-F238E27FC236}">
                  <a16:creationId xmlns:a16="http://schemas.microsoft.com/office/drawing/2014/main" id="{52851EF6-01EC-4AB6-83CD-7095845F7E94}"/>
                </a:ext>
              </a:extLst>
            </p:cNvPr>
            <p:cNvSpPr/>
            <p:nvPr/>
          </p:nvSpPr>
          <p:spPr>
            <a:xfrm>
              <a:off x="10835569" y="3428650"/>
              <a:ext cx="10173" cy="35268"/>
            </a:xfrm>
            <a:custGeom>
              <a:avLst/>
              <a:gdLst>
                <a:gd name="connsiteX0" fmla="*/ 7536 w 10173"/>
                <a:gd name="connsiteY0" fmla="*/ 30959 h 35268"/>
                <a:gd name="connsiteX1" fmla="*/ 2136 w 10173"/>
                <a:gd name="connsiteY1" fmla="*/ 34853 h 35268"/>
                <a:gd name="connsiteX2" fmla="*/ 503 w 10173"/>
                <a:gd name="connsiteY2" fmla="*/ 35104 h 35268"/>
                <a:gd name="connsiteX3" fmla="*/ 0 w 10173"/>
                <a:gd name="connsiteY3" fmla="*/ 33848 h 35268"/>
                <a:gd name="connsiteX4" fmla="*/ 0 w 10173"/>
                <a:gd name="connsiteY4" fmla="*/ 6091 h 35268"/>
                <a:gd name="connsiteX5" fmla="*/ 2136 w 10173"/>
                <a:gd name="connsiteY5" fmla="*/ 2575 h 35268"/>
                <a:gd name="connsiteX6" fmla="*/ 7536 w 10173"/>
                <a:gd name="connsiteY6" fmla="*/ 188 h 35268"/>
                <a:gd name="connsiteX7" fmla="*/ 9295 w 10173"/>
                <a:gd name="connsiteY7" fmla="*/ 188 h 35268"/>
                <a:gd name="connsiteX8" fmla="*/ 10173 w 10173"/>
                <a:gd name="connsiteY8" fmla="*/ 2072 h 35268"/>
                <a:gd name="connsiteX9" fmla="*/ 10173 w 10173"/>
                <a:gd name="connsiteY9" fmla="*/ 25935 h 35268"/>
                <a:gd name="connsiteX10" fmla="*/ 7536 w 10173"/>
                <a:gd name="connsiteY10" fmla="*/ 30959 h 3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3" h="35268">
                  <a:moveTo>
                    <a:pt x="7536" y="30959"/>
                  </a:moveTo>
                  <a:lnTo>
                    <a:pt x="2136" y="34853"/>
                  </a:lnTo>
                  <a:cubicBezTo>
                    <a:pt x="1508" y="35355"/>
                    <a:pt x="879" y="35355"/>
                    <a:pt x="503" y="35104"/>
                  </a:cubicBezTo>
                  <a:cubicBezTo>
                    <a:pt x="126" y="34853"/>
                    <a:pt x="0" y="34476"/>
                    <a:pt x="0" y="33848"/>
                  </a:cubicBezTo>
                  <a:lnTo>
                    <a:pt x="0" y="6091"/>
                  </a:lnTo>
                  <a:cubicBezTo>
                    <a:pt x="0" y="4710"/>
                    <a:pt x="1005" y="3077"/>
                    <a:pt x="2136" y="2575"/>
                  </a:cubicBezTo>
                  <a:lnTo>
                    <a:pt x="7536" y="188"/>
                  </a:lnTo>
                  <a:cubicBezTo>
                    <a:pt x="8290" y="-63"/>
                    <a:pt x="8792" y="-63"/>
                    <a:pt x="9295" y="188"/>
                  </a:cubicBezTo>
                  <a:cubicBezTo>
                    <a:pt x="9797" y="565"/>
                    <a:pt x="10173" y="1193"/>
                    <a:pt x="10173" y="2072"/>
                  </a:cubicBezTo>
                  <a:lnTo>
                    <a:pt x="10173" y="25935"/>
                  </a:lnTo>
                  <a:cubicBezTo>
                    <a:pt x="10173" y="27694"/>
                    <a:pt x="9043" y="29829"/>
                    <a:pt x="7536" y="3095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2" name="Freeform: Shape 441">
              <a:extLst>
                <a:ext uri="{FF2B5EF4-FFF2-40B4-BE49-F238E27FC236}">
                  <a16:creationId xmlns:a16="http://schemas.microsoft.com/office/drawing/2014/main" id="{52575079-3414-475D-B822-C244F486B425}"/>
                </a:ext>
              </a:extLst>
            </p:cNvPr>
            <p:cNvSpPr/>
            <p:nvPr/>
          </p:nvSpPr>
          <p:spPr>
            <a:xfrm>
              <a:off x="10833560" y="3427520"/>
              <a:ext cx="11303" cy="36234"/>
            </a:xfrm>
            <a:custGeom>
              <a:avLst/>
              <a:gdLst>
                <a:gd name="connsiteX0" fmla="*/ 2009 w 11303"/>
                <a:gd name="connsiteY0" fmla="*/ 34978 h 36234"/>
                <a:gd name="connsiteX1" fmla="*/ 2009 w 11303"/>
                <a:gd name="connsiteY1" fmla="*/ 7222 h 36234"/>
                <a:gd name="connsiteX2" fmla="*/ 4145 w 11303"/>
                <a:gd name="connsiteY2" fmla="*/ 3705 h 36234"/>
                <a:gd name="connsiteX3" fmla="*/ 9545 w 11303"/>
                <a:gd name="connsiteY3" fmla="*/ 1319 h 36234"/>
                <a:gd name="connsiteX4" fmla="*/ 11304 w 11303"/>
                <a:gd name="connsiteY4" fmla="*/ 1319 h 36234"/>
                <a:gd name="connsiteX5" fmla="*/ 9294 w 11303"/>
                <a:gd name="connsiteY5" fmla="*/ 188 h 36234"/>
                <a:gd name="connsiteX6" fmla="*/ 7535 w 11303"/>
                <a:gd name="connsiteY6" fmla="*/ 188 h 36234"/>
                <a:gd name="connsiteX7" fmla="*/ 2135 w 11303"/>
                <a:gd name="connsiteY7" fmla="*/ 2575 h 36234"/>
                <a:gd name="connsiteX8" fmla="*/ 0 w 11303"/>
                <a:gd name="connsiteY8" fmla="*/ 6091 h 36234"/>
                <a:gd name="connsiteX9" fmla="*/ 0 w 11303"/>
                <a:gd name="connsiteY9" fmla="*/ 33848 h 36234"/>
                <a:gd name="connsiteX10" fmla="*/ 628 w 11303"/>
                <a:gd name="connsiteY10" fmla="*/ 35104 h 36234"/>
                <a:gd name="connsiteX11" fmla="*/ 2638 w 11303"/>
                <a:gd name="connsiteY11" fmla="*/ 36234 h 36234"/>
                <a:gd name="connsiteX12" fmla="*/ 2009 w 11303"/>
                <a:gd name="connsiteY12" fmla="*/ 34978 h 36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03" h="36234">
                  <a:moveTo>
                    <a:pt x="2009" y="34978"/>
                  </a:moveTo>
                  <a:lnTo>
                    <a:pt x="2009" y="7222"/>
                  </a:lnTo>
                  <a:cubicBezTo>
                    <a:pt x="2009" y="5840"/>
                    <a:pt x="3014" y="4207"/>
                    <a:pt x="4145" y="3705"/>
                  </a:cubicBezTo>
                  <a:lnTo>
                    <a:pt x="9545" y="1319"/>
                  </a:lnTo>
                  <a:cubicBezTo>
                    <a:pt x="10299" y="1068"/>
                    <a:pt x="10801" y="1068"/>
                    <a:pt x="11304" y="1319"/>
                  </a:cubicBezTo>
                  <a:cubicBezTo>
                    <a:pt x="11304" y="1319"/>
                    <a:pt x="9797" y="440"/>
                    <a:pt x="9294" y="188"/>
                  </a:cubicBezTo>
                  <a:cubicBezTo>
                    <a:pt x="8792" y="-63"/>
                    <a:pt x="8164" y="-63"/>
                    <a:pt x="7535" y="188"/>
                  </a:cubicBezTo>
                  <a:lnTo>
                    <a:pt x="2135" y="2575"/>
                  </a:lnTo>
                  <a:cubicBezTo>
                    <a:pt x="1005" y="3077"/>
                    <a:pt x="0" y="4710"/>
                    <a:pt x="0" y="6091"/>
                  </a:cubicBezTo>
                  <a:lnTo>
                    <a:pt x="0" y="33848"/>
                  </a:lnTo>
                  <a:cubicBezTo>
                    <a:pt x="0" y="34476"/>
                    <a:pt x="251" y="34853"/>
                    <a:pt x="628" y="35104"/>
                  </a:cubicBezTo>
                  <a:cubicBezTo>
                    <a:pt x="1005" y="35355"/>
                    <a:pt x="2638" y="36234"/>
                    <a:pt x="2638" y="36234"/>
                  </a:cubicBezTo>
                  <a:cubicBezTo>
                    <a:pt x="2261" y="35983"/>
                    <a:pt x="2009" y="35481"/>
                    <a:pt x="2009" y="3497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 name="Freeform: Shape 442">
              <a:extLst>
                <a:ext uri="{FF2B5EF4-FFF2-40B4-BE49-F238E27FC236}">
                  <a16:creationId xmlns:a16="http://schemas.microsoft.com/office/drawing/2014/main" id="{4B5257FA-FE66-42A5-8453-6F96250499E3}"/>
                </a:ext>
              </a:extLst>
            </p:cNvPr>
            <p:cNvSpPr/>
            <p:nvPr/>
          </p:nvSpPr>
          <p:spPr>
            <a:xfrm>
              <a:off x="10829611" y="3423679"/>
              <a:ext cx="11987" cy="5912"/>
            </a:xfrm>
            <a:custGeom>
              <a:avLst/>
              <a:gdLst>
                <a:gd name="connsiteX0" fmla="*/ 10731 w 11987"/>
                <a:gd name="connsiteY0" fmla="*/ 5913 h 5912"/>
                <a:gd name="connsiteX1" fmla="*/ 9601 w 11987"/>
                <a:gd name="connsiteY1" fmla="*/ 4782 h 5912"/>
                <a:gd name="connsiteX2" fmla="*/ 8848 w 11987"/>
                <a:gd name="connsiteY2" fmla="*/ 2522 h 5912"/>
                <a:gd name="connsiteX3" fmla="*/ 1814 w 11987"/>
                <a:gd name="connsiteY3" fmla="*/ 4657 h 5912"/>
                <a:gd name="connsiteX4" fmla="*/ 182 w 11987"/>
                <a:gd name="connsiteY4" fmla="*/ 4280 h 5912"/>
                <a:gd name="connsiteX5" fmla="*/ 558 w 11987"/>
                <a:gd name="connsiteY5" fmla="*/ 2647 h 5912"/>
                <a:gd name="connsiteX6" fmla="*/ 9978 w 11987"/>
                <a:gd name="connsiteY6" fmla="*/ 512 h 5912"/>
                <a:gd name="connsiteX7" fmla="*/ 11988 w 11987"/>
                <a:gd name="connsiteY7" fmla="*/ 4782 h 5912"/>
                <a:gd name="connsiteX8" fmla="*/ 10731 w 11987"/>
                <a:gd name="connsiteY8" fmla="*/ 5913 h 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87" h="5912">
                  <a:moveTo>
                    <a:pt x="10731" y="5913"/>
                  </a:moveTo>
                  <a:cubicBezTo>
                    <a:pt x="10103" y="5913"/>
                    <a:pt x="9601" y="5410"/>
                    <a:pt x="9601" y="4782"/>
                  </a:cubicBezTo>
                  <a:cubicBezTo>
                    <a:pt x="9601" y="3903"/>
                    <a:pt x="9476" y="2898"/>
                    <a:pt x="8848" y="2522"/>
                  </a:cubicBezTo>
                  <a:cubicBezTo>
                    <a:pt x="8345" y="2270"/>
                    <a:pt x="6587" y="1894"/>
                    <a:pt x="1814" y="4657"/>
                  </a:cubicBezTo>
                  <a:cubicBezTo>
                    <a:pt x="1312" y="5033"/>
                    <a:pt x="558" y="4782"/>
                    <a:pt x="182" y="4280"/>
                  </a:cubicBezTo>
                  <a:cubicBezTo>
                    <a:pt x="-196" y="3778"/>
                    <a:pt x="56" y="3024"/>
                    <a:pt x="558" y="2647"/>
                  </a:cubicBezTo>
                  <a:cubicBezTo>
                    <a:pt x="4954" y="135"/>
                    <a:pt x="7968" y="-618"/>
                    <a:pt x="9978" y="512"/>
                  </a:cubicBezTo>
                  <a:cubicBezTo>
                    <a:pt x="11234" y="1266"/>
                    <a:pt x="11988" y="2647"/>
                    <a:pt x="11988" y="4782"/>
                  </a:cubicBezTo>
                  <a:cubicBezTo>
                    <a:pt x="11862" y="5410"/>
                    <a:pt x="11360" y="5913"/>
                    <a:pt x="10731" y="591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4" name="Freeform: Shape 443">
              <a:extLst>
                <a:ext uri="{FF2B5EF4-FFF2-40B4-BE49-F238E27FC236}">
                  <a16:creationId xmlns:a16="http://schemas.microsoft.com/office/drawing/2014/main" id="{F014511F-8044-43A2-A9A3-192E9F4327FE}"/>
                </a:ext>
              </a:extLst>
            </p:cNvPr>
            <p:cNvSpPr/>
            <p:nvPr/>
          </p:nvSpPr>
          <p:spPr>
            <a:xfrm>
              <a:off x="10831676" y="3417535"/>
              <a:ext cx="4144" cy="60160"/>
            </a:xfrm>
            <a:custGeom>
              <a:avLst/>
              <a:gdLst>
                <a:gd name="connsiteX0" fmla="*/ 0 w 4144"/>
                <a:gd name="connsiteY0" fmla="*/ 2512 h 60160"/>
                <a:gd name="connsiteX1" fmla="*/ 0 w 4144"/>
                <a:gd name="connsiteY1" fmla="*/ 54257 h 60160"/>
                <a:gd name="connsiteX2" fmla="*/ 3140 w 4144"/>
                <a:gd name="connsiteY2" fmla="*/ 60160 h 60160"/>
                <a:gd name="connsiteX3" fmla="*/ 3140 w 4144"/>
                <a:gd name="connsiteY3" fmla="*/ 60160 h 60160"/>
                <a:gd name="connsiteX4" fmla="*/ 4145 w 4144"/>
                <a:gd name="connsiteY4" fmla="*/ 59532 h 60160"/>
                <a:gd name="connsiteX5" fmla="*/ 1005 w 4144"/>
                <a:gd name="connsiteY5" fmla="*/ 53629 h 60160"/>
                <a:gd name="connsiteX6" fmla="*/ 1005 w 4144"/>
                <a:gd name="connsiteY6" fmla="*/ 1884 h 60160"/>
                <a:gd name="connsiteX7" fmla="*/ 1633 w 4144"/>
                <a:gd name="connsiteY7" fmla="*/ 0 h 60160"/>
                <a:gd name="connsiteX8" fmla="*/ 0 w 4144"/>
                <a:gd name="connsiteY8" fmla="*/ 2512 h 6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44" h="60160">
                  <a:moveTo>
                    <a:pt x="0" y="2512"/>
                  </a:moveTo>
                  <a:lnTo>
                    <a:pt x="0" y="54257"/>
                  </a:lnTo>
                  <a:cubicBezTo>
                    <a:pt x="0" y="56392"/>
                    <a:pt x="1382" y="58904"/>
                    <a:pt x="3140" y="60160"/>
                  </a:cubicBezTo>
                  <a:lnTo>
                    <a:pt x="3140" y="60160"/>
                  </a:lnTo>
                  <a:lnTo>
                    <a:pt x="4145" y="59532"/>
                  </a:lnTo>
                  <a:cubicBezTo>
                    <a:pt x="2386" y="58276"/>
                    <a:pt x="1005" y="55764"/>
                    <a:pt x="1005" y="53629"/>
                  </a:cubicBezTo>
                  <a:lnTo>
                    <a:pt x="1005" y="1884"/>
                  </a:lnTo>
                  <a:cubicBezTo>
                    <a:pt x="1005" y="1005"/>
                    <a:pt x="1256" y="377"/>
                    <a:pt x="1633" y="0"/>
                  </a:cubicBezTo>
                  <a:cubicBezTo>
                    <a:pt x="754" y="126"/>
                    <a:pt x="0" y="1005"/>
                    <a:pt x="0" y="2512"/>
                  </a:cubicBezTo>
                  <a:close/>
                </a:path>
              </a:pathLst>
            </a:custGeom>
            <a:solidFill>
              <a:srgbClr val="EB1C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 name="Freeform: Shape 444">
              <a:extLst>
                <a:ext uri="{FF2B5EF4-FFF2-40B4-BE49-F238E27FC236}">
                  <a16:creationId xmlns:a16="http://schemas.microsoft.com/office/drawing/2014/main" id="{BE54EAB2-2C05-4239-9370-90DD550AA70D}"/>
                </a:ext>
              </a:extLst>
            </p:cNvPr>
            <p:cNvSpPr/>
            <p:nvPr/>
          </p:nvSpPr>
          <p:spPr>
            <a:xfrm>
              <a:off x="10786336" y="3395918"/>
              <a:ext cx="37678" cy="63235"/>
            </a:xfrm>
            <a:custGeom>
              <a:avLst/>
              <a:gdLst>
                <a:gd name="connsiteX0" fmla="*/ 37678 w 37678"/>
                <a:gd name="connsiteY0" fmla="*/ 61933 h 63235"/>
                <a:gd name="connsiteX1" fmla="*/ 37302 w 37678"/>
                <a:gd name="connsiteY1" fmla="*/ 61807 h 63235"/>
                <a:gd name="connsiteX2" fmla="*/ 4521 w 37678"/>
                <a:gd name="connsiteY2" fmla="*/ 42968 h 63235"/>
                <a:gd name="connsiteX3" fmla="*/ 2010 w 37678"/>
                <a:gd name="connsiteY3" fmla="*/ 38070 h 63235"/>
                <a:gd name="connsiteX4" fmla="*/ 2010 w 37678"/>
                <a:gd name="connsiteY4" fmla="*/ 1145 h 63235"/>
                <a:gd name="connsiteX5" fmla="*/ 2135 w 37678"/>
                <a:gd name="connsiteY5" fmla="*/ 140 h 63235"/>
                <a:gd name="connsiteX6" fmla="*/ 0 w 37678"/>
                <a:gd name="connsiteY6" fmla="*/ 2275 h 63235"/>
                <a:gd name="connsiteX7" fmla="*/ 0 w 37678"/>
                <a:gd name="connsiteY7" fmla="*/ 39200 h 63235"/>
                <a:gd name="connsiteX8" fmla="*/ 2512 w 37678"/>
                <a:gd name="connsiteY8" fmla="*/ 44098 h 63235"/>
                <a:gd name="connsiteX9" fmla="*/ 35292 w 37678"/>
                <a:gd name="connsiteY9" fmla="*/ 62938 h 63235"/>
                <a:gd name="connsiteX10" fmla="*/ 37678 w 37678"/>
                <a:gd name="connsiteY10" fmla="*/ 61933 h 6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8" h="63235">
                  <a:moveTo>
                    <a:pt x="37678" y="61933"/>
                  </a:moveTo>
                  <a:cubicBezTo>
                    <a:pt x="37553" y="61933"/>
                    <a:pt x="37427" y="61807"/>
                    <a:pt x="37302" y="61807"/>
                  </a:cubicBezTo>
                  <a:lnTo>
                    <a:pt x="4521" y="42968"/>
                  </a:lnTo>
                  <a:cubicBezTo>
                    <a:pt x="3140" y="42214"/>
                    <a:pt x="2010" y="39954"/>
                    <a:pt x="2010" y="38070"/>
                  </a:cubicBezTo>
                  <a:lnTo>
                    <a:pt x="2010" y="1145"/>
                  </a:lnTo>
                  <a:cubicBezTo>
                    <a:pt x="2010" y="768"/>
                    <a:pt x="2010" y="517"/>
                    <a:pt x="2135" y="140"/>
                  </a:cubicBezTo>
                  <a:cubicBezTo>
                    <a:pt x="879" y="-362"/>
                    <a:pt x="0" y="517"/>
                    <a:pt x="0" y="2275"/>
                  </a:cubicBezTo>
                  <a:lnTo>
                    <a:pt x="0" y="39200"/>
                  </a:lnTo>
                  <a:cubicBezTo>
                    <a:pt x="0" y="41084"/>
                    <a:pt x="1131" y="43219"/>
                    <a:pt x="2512" y="44098"/>
                  </a:cubicBezTo>
                  <a:lnTo>
                    <a:pt x="35292" y="62938"/>
                  </a:lnTo>
                  <a:cubicBezTo>
                    <a:pt x="36297" y="63565"/>
                    <a:pt x="37302" y="63189"/>
                    <a:pt x="37678" y="6193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6" name="Freeform: Shape 445">
              <a:extLst>
                <a:ext uri="{FF2B5EF4-FFF2-40B4-BE49-F238E27FC236}">
                  <a16:creationId xmlns:a16="http://schemas.microsoft.com/office/drawing/2014/main" id="{12D65E4C-1893-4F6D-ACBA-C249E6A46B6C}"/>
                </a:ext>
              </a:extLst>
            </p:cNvPr>
            <p:cNvSpPr/>
            <p:nvPr/>
          </p:nvSpPr>
          <p:spPr>
            <a:xfrm>
              <a:off x="10786210" y="3396021"/>
              <a:ext cx="37813" cy="63123"/>
            </a:xfrm>
            <a:custGeom>
              <a:avLst/>
              <a:gdLst>
                <a:gd name="connsiteX0" fmla="*/ 35292 w 37813"/>
                <a:gd name="connsiteY0" fmla="*/ 19128 h 63123"/>
                <a:gd name="connsiteX1" fmla="*/ 2512 w 37813"/>
                <a:gd name="connsiteY1" fmla="*/ 289 h 63123"/>
                <a:gd name="connsiteX2" fmla="*/ 0 w 37813"/>
                <a:gd name="connsiteY2" fmla="*/ 2173 h 63123"/>
                <a:gd name="connsiteX3" fmla="*/ 0 w 37813"/>
                <a:gd name="connsiteY3" fmla="*/ 39098 h 63123"/>
                <a:gd name="connsiteX4" fmla="*/ 2512 w 37813"/>
                <a:gd name="connsiteY4" fmla="*/ 43996 h 63123"/>
                <a:gd name="connsiteX5" fmla="*/ 35292 w 37813"/>
                <a:gd name="connsiteY5" fmla="*/ 62835 h 63123"/>
                <a:gd name="connsiteX6" fmla="*/ 37804 w 37813"/>
                <a:gd name="connsiteY6" fmla="*/ 60951 h 63123"/>
                <a:gd name="connsiteX7" fmla="*/ 37804 w 37813"/>
                <a:gd name="connsiteY7" fmla="*/ 24026 h 63123"/>
                <a:gd name="connsiteX8" fmla="*/ 35292 w 37813"/>
                <a:gd name="connsiteY8" fmla="*/ 19128 h 6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13" h="63123">
                  <a:moveTo>
                    <a:pt x="35292" y="19128"/>
                  </a:moveTo>
                  <a:lnTo>
                    <a:pt x="2512" y="289"/>
                  </a:lnTo>
                  <a:cubicBezTo>
                    <a:pt x="1131" y="-465"/>
                    <a:pt x="0" y="289"/>
                    <a:pt x="0" y="2173"/>
                  </a:cubicBezTo>
                  <a:lnTo>
                    <a:pt x="0" y="39098"/>
                  </a:lnTo>
                  <a:cubicBezTo>
                    <a:pt x="0" y="40982"/>
                    <a:pt x="1131" y="43117"/>
                    <a:pt x="2512" y="43996"/>
                  </a:cubicBezTo>
                  <a:lnTo>
                    <a:pt x="35292" y="62835"/>
                  </a:lnTo>
                  <a:cubicBezTo>
                    <a:pt x="36674" y="63589"/>
                    <a:pt x="37804" y="62835"/>
                    <a:pt x="37804" y="60951"/>
                  </a:cubicBezTo>
                  <a:lnTo>
                    <a:pt x="37804" y="24026"/>
                  </a:lnTo>
                  <a:cubicBezTo>
                    <a:pt x="37930" y="22142"/>
                    <a:pt x="36799" y="20007"/>
                    <a:pt x="35292" y="19128"/>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 name="Freeform: Shape 446">
              <a:extLst>
                <a:ext uri="{FF2B5EF4-FFF2-40B4-BE49-F238E27FC236}">
                  <a16:creationId xmlns:a16="http://schemas.microsoft.com/office/drawing/2014/main" id="{7888B474-C83C-47B2-BD0C-F813B0D65F0A}"/>
                </a:ext>
              </a:extLst>
            </p:cNvPr>
            <p:cNvSpPr/>
            <p:nvPr/>
          </p:nvSpPr>
          <p:spPr>
            <a:xfrm>
              <a:off x="10840719" y="3514117"/>
              <a:ext cx="2888" cy="52875"/>
            </a:xfrm>
            <a:custGeom>
              <a:avLst/>
              <a:gdLst>
                <a:gd name="connsiteX0" fmla="*/ 2888 w 2888"/>
                <a:gd name="connsiteY0" fmla="*/ 0 h 52875"/>
                <a:gd name="connsiteX1" fmla="*/ 126 w 2888"/>
                <a:gd name="connsiteY1" fmla="*/ 3893 h 52875"/>
                <a:gd name="connsiteX2" fmla="*/ 0 w 2888"/>
                <a:gd name="connsiteY2" fmla="*/ 3893 h 52875"/>
                <a:gd name="connsiteX3" fmla="*/ 0 w 2888"/>
                <a:gd name="connsiteY3" fmla="*/ 52875 h 52875"/>
                <a:gd name="connsiteX4" fmla="*/ 126 w 2888"/>
                <a:gd name="connsiteY4" fmla="*/ 52750 h 52875"/>
                <a:gd name="connsiteX5" fmla="*/ 2888 w 2888"/>
                <a:gd name="connsiteY5" fmla="*/ 48856 h 52875"/>
                <a:gd name="connsiteX6" fmla="*/ 2888 w 2888"/>
                <a:gd name="connsiteY6" fmla="*/ 0 h 5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8" h="52875">
                  <a:moveTo>
                    <a:pt x="2888" y="0"/>
                  </a:moveTo>
                  <a:cubicBezTo>
                    <a:pt x="2888" y="1382"/>
                    <a:pt x="2009" y="2763"/>
                    <a:pt x="126" y="3893"/>
                  </a:cubicBezTo>
                  <a:lnTo>
                    <a:pt x="0" y="3893"/>
                  </a:lnTo>
                  <a:lnTo>
                    <a:pt x="0" y="52875"/>
                  </a:lnTo>
                  <a:lnTo>
                    <a:pt x="126" y="52750"/>
                  </a:lnTo>
                  <a:cubicBezTo>
                    <a:pt x="2009" y="51619"/>
                    <a:pt x="2888" y="50238"/>
                    <a:pt x="2888" y="48856"/>
                  </a:cubicBezTo>
                  <a:cubicBezTo>
                    <a:pt x="2888" y="47601"/>
                    <a:pt x="2888" y="0"/>
                    <a:pt x="2888" y="0"/>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 name="Freeform: Shape 447">
              <a:extLst>
                <a:ext uri="{FF2B5EF4-FFF2-40B4-BE49-F238E27FC236}">
                  <a16:creationId xmlns:a16="http://schemas.microsoft.com/office/drawing/2014/main" id="{E4F37FA6-D40C-4FF3-B2D7-E4BED30FDC90}"/>
                </a:ext>
              </a:extLst>
            </p:cNvPr>
            <p:cNvSpPr/>
            <p:nvPr/>
          </p:nvSpPr>
          <p:spPr>
            <a:xfrm>
              <a:off x="10839588" y="3517509"/>
              <a:ext cx="1130" cy="49609"/>
            </a:xfrm>
            <a:custGeom>
              <a:avLst/>
              <a:gdLst>
                <a:gd name="connsiteX0" fmla="*/ 126 w 1130"/>
                <a:gd name="connsiteY0" fmla="*/ 0 h 49609"/>
                <a:gd name="connsiteX1" fmla="*/ 0 w 1130"/>
                <a:gd name="connsiteY1" fmla="*/ 4396 h 49609"/>
                <a:gd name="connsiteX2" fmla="*/ 126 w 1130"/>
                <a:gd name="connsiteY2" fmla="*/ 48982 h 49609"/>
                <a:gd name="connsiteX3" fmla="*/ 1131 w 1130"/>
                <a:gd name="connsiteY3" fmla="*/ 49610 h 49609"/>
                <a:gd name="connsiteX4" fmla="*/ 1131 w 1130"/>
                <a:gd name="connsiteY4" fmla="*/ 502 h 4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49609">
                  <a:moveTo>
                    <a:pt x="126" y="0"/>
                  </a:moveTo>
                  <a:lnTo>
                    <a:pt x="0" y="4396"/>
                  </a:lnTo>
                  <a:lnTo>
                    <a:pt x="126" y="48982"/>
                  </a:lnTo>
                  <a:lnTo>
                    <a:pt x="1131" y="49610"/>
                  </a:lnTo>
                  <a:lnTo>
                    <a:pt x="1131" y="502"/>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 name="Freeform: Shape 448">
              <a:extLst>
                <a:ext uri="{FF2B5EF4-FFF2-40B4-BE49-F238E27FC236}">
                  <a16:creationId xmlns:a16="http://schemas.microsoft.com/office/drawing/2014/main" id="{26C949C8-4602-43DA-A7C9-12CE20E99135}"/>
                </a:ext>
              </a:extLst>
            </p:cNvPr>
            <p:cNvSpPr/>
            <p:nvPr/>
          </p:nvSpPr>
          <p:spPr>
            <a:xfrm>
              <a:off x="10841975" y="3517383"/>
              <a:ext cx="1507" cy="25746"/>
            </a:xfrm>
            <a:custGeom>
              <a:avLst/>
              <a:gdLst>
                <a:gd name="connsiteX0" fmla="*/ 0 w 1507"/>
                <a:gd name="connsiteY0" fmla="*/ 25747 h 25746"/>
                <a:gd name="connsiteX1" fmla="*/ 1507 w 1507"/>
                <a:gd name="connsiteY1" fmla="*/ 21477 h 25746"/>
                <a:gd name="connsiteX2" fmla="*/ 1507 w 1507"/>
                <a:gd name="connsiteY2" fmla="*/ 0 h 25746"/>
                <a:gd name="connsiteX3" fmla="*/ 0 w 1507"/>
                <a:gd name="connsiteY3" fmla="*/ 3014 h 25746"/>
                <a:gd name="connsiteX4" fmla="*/ 0 w 1507"/>
                <a:gd name="connsiteY4" fmla="*/ 25747 h 25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 h="25746">
                  <a:moveTo>
                    <a:pt x="0" y="25747"/>
                  </a:moveTo>
                  <a:cubicBezTo>
                    <a:pt x="0" y="25747"/>
                    <a:pt x="1507" y="24240"/>
                    <a:pt x="1507" y="21477"/>
                  </a:cubicBezTo>
                  <a:cubicBezTo>
                    <a:pt x="1507" y="18714"/>
                    <a:pt x="1507" y="0"/>
                    <a:pt x="1507" y="0"/>
                  </a:cubicBezTo>
                  <a:cubicBezTo>
                    <a:pt x="1507" y="1758"/>
                    <a:pt x="0" y="3014"/>
                    <a:pt x="0" y="3014"/>
                  </a:cubicBezTo>
                  <a:lnTo>
                    <a:pt x="0" y="25747"/>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 name="Freeform: Shape 449">
              <a:extLst>
                <a:ext uri="{FF2B5EF4-FFF2-40B4-BE49-F238E27FC236}">
                  <a16:creationId xmlns:a16="http://schemas.microsoft.com/office/drawing/2014/main" id="{83F05AAE-8D62-4CEE-A0E9-2FF94C8BD959}"/>
                </a:ext>
              </a:extLst>
            </p:cNvPr>
            <p:cNvSpPr/>
            <p:nvPr/>
          </p:nvSpPr>
          <p:spPr>
            <a:xfrm>
              <a:off x="10760841" y="3517509"/>
              <a:ext cx="78873" cy="94447"/>
            </a:xfrm>
            <a:custGeom>
              <a:avLst/>
              <a:gdLst>
                <a:gd name="connsiteX0" fmla="*/ 0 w 78873"/>
                <a:gd name="connsiteY0" fmla="*/ 45465 h 94447"/>
                <a:gd name="connsiteX1" fmla="*/ 0 w 78873"/>
                <a:gd name="connsiteY1" fmla="*/ 94447 h 94447"/>
                <a:gd name="connsiteX2" fmla="*/ 78873 w 78873"/>
                <a:gd name="connsiteY2" fmla="*/ 48982 h 94447"/>
                <a:gd name="connsiteX3" fmla="*/ 78873 w 78873"/>
                <a:gd name="connsiteY3" fmla="*/ 0 h 94447"/>
              </a:gdLst>
              <a:ahLst/>
              <a:cxnLst>
                <a:cxn ang="0">
                  <a:pos x="connsiteX0" y="connsiteY0"/>
                </a:cxn>
                <a:cxn ang="0">
                  <a:pos x="connsiteX1" y="connsiteY1"/>
                </a:cxn>
                <a:cxn ang="0">
                  <a:pos x="connsiteX2" y="connsiteY2"/>
                </a:cxn>
                <a:cxn ang="0">
                  <a:pos x="connsiteX3" y="connsiteY3"/>
                </a:cxn>
              </a:cxnLst>
              <a:rect l="l" t="t" r="r" b="b"/>
              <a:pathLst>
                <a:path w="78873" h="94447">
                  <a:moveTo>
                    <a:pt x="0" y="45465"/>
                  </a:moveTo>
                  <a:lnTo>
                    <a:pt x="0" y="94447"/>
                  </a:lnTo>
                  <a:lnTo>
                    <a:pt x="78873" y="48982"/>
                  </a:lnTo>
                  <a:lnTo>
                    <a:pt x="78873"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 name="Freeform: Shape 450">
              <a:extLst>
                <a:ext uri="{FF2B5EF4-FFF2-40B4-BE49-F238E27FC236}">
                  <a16:creationId xmlns:a16="http://schemas.microsoft.com/office/drawing/2014/main" id="{B5A3F4CF-DDF7-4A99-8973-184C5BB83AF5}"/>
                </a:ext>
              </a:extLst>
            </p:cNvPr>
            <p:cNvSpPr/>
            <p:nvPr/>
          </p:nvSpPr>
          <p:spPr>
            <a:xfrm>
              <a:off x="10760212" y="3562974"/>
              <a:ext cx="628" cy="753"/>
            </a:xfrm>
            <a:custGeom>
              <a:avLst/>
              <a:gdLst>
                <a:gd name="connsiteX0" fmla="*/ 0 w 628"/>
                <a:gd name="connsiteY0" fmla="*/ 377 h 753"/>
                <a:gd name="connsiteX1" fmla="*/ 629 w 628"/>
                <a:gd name="connsiteY1" fmla="*/ 754 h 753"/>
                <a:gd name="connsiteX2" fmla="*/ 629 w 628"/>
                <a:gd name="connsiteY2" fmla="*/ 0 h 753"/>
              </a:gdLst>
              <a:ahLst/>
              <a:cxnLst>
                <a:cxn ang="0">
                  <a:pos x="connsiteX0" y="connsiteY0"/>
                </a:cxn>
                <a:cxn ang="0">
                  <a:pos x="connsiteX1" y="connsiteY1"/>
                </a:cxn>
                <a:cxn ang="0">
                  <a:pos x="connsiteX2" y="connsiteY2"/>
                </a:cxn>
              </a:cxnLst>
              <a:rect l="l" t="t" r="r" b="b"/>
              <a:pathLst>
                <a:path w="628" h="753">
                  <a:moveTo>
                    <a:pt x="0" y="377"/>
                  </a:moveTo>
                  <a:lnTo>
                    <a:pt x="629" y="754"/>
                  </a:lnTo>
                  <a:lnTo>
                    <a:pt x="629" y="0"/>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 name="Freeform: Shape 451">
              <a:extLst>
                <a:ext uri="{FF2B5EF4-FFF2-40B4-BE49-F238E27FC236}">
                  <a16:creationId xmlns:a16="http://schemas.microsoft.com/office/drawing/2014/main" id="{34CDFB1E-ABBF-4111-8702-31B7B55396F6}"/>
                </a:ext>
              </a:extLst>
            </p:cNvPr>
            <p:cNvSpPr/>
            <p:nvPr/>
          </p:nvSpPr>
          <p:spPr>
            <a:xfrm>
              <a:off x="10839086" y="3517509"/>
              <a:ext cx="627" cy="49358"/>
            </a:xfrm>
            <a:custGeom>
              <a:avLst/>
              <a:gdLst>
                <a:gd name="connsiteX0" fmla="*/ 0 w 627"/>
                <a:gd name="connsiteY0" fmla="*/ 49359 h 49358"/>
                <a:gd name="connsiteX1" fmla="*/ 628 w 627"/>
                <a:gd name="connsiteY1" fmla="*/ 48982 h 49358"/>
                <a:gd name="connsiteX2" fmla="*/ 628 w 627"/>
                <a:gd name="connsiteY2" fmla="*/ 0 h 49358"/>
                <a:gd name="connsiteX3" fmla="*/ 0 w 627"/>
                <a:gd name="connsiteY3" fmla="*/ 251 h 49358"/>
              </a:gdLst>
              <a:ahLst/>
              <a:cxnLst>
                <a:cxn ang="0">
                  <a:pos x="connsiteX0" y="connsiteY0"/>
                </a:cxn>
                <a:cxn ang="0">
                  <a:pos x="connsiteX1" y="connsiteY1"/>
                </a:cxn>
                <a:cxn ang="0">
                  <a:pos x="connsiteX2" y="connsiteY2"/>
                </a:cxn>
                <a:cxn ang="0">
                  <a:pos x="connsiteX3" y="connsiteY3"/>
                </a:cxn>
              </a:cxnLst>
              <a:rect l="l" t="t" r="r" b="b"/>
              <a:pathLst>
                <a:path w="627" h="49358">
                  <a:moveTo>
                    <a:pt x="0" y="49359"/>
                  </a:moveTo>
                  <a:lnTo>
                    <a:pt x="628" y="48982"/>
                  </a:lnTo>
                  <a:lnTo>
                    <a:pt x="628" y="0"/>
                  </a:lnTo>
                  <a:lnTo>
                    <a:pt x="0" y="251"/>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3" name="Graphic 4">
              <a:extLst>
                <a:ext uri="{FF2B5EF4-FFF2-40B4-BE49-F238E27FC236}">
                  <a16:creationId xmlns:a16="http://schemas.microsoft.com/office/drawing/2014/main" id="{84FB7ED1-A2DF-40A1-A747-5F7CF3F14040}"/>
                </a:ext>
              </a:extLst>
            </p:cNvPr>
            <p:cNvGrpSpPr/>
            <p:nvPr/>
          </p:nvGrpSpPr>
          <p:grpSpPr>
            <a:xfrm>
              <a:off x="10771516" y="3524542"/>
              <a:ext cx="56769" cy="55861"/>
              <a:chOff x="10771516" y="3524542"/>
              <a:chExt cx="56769" cy="55861"/>
            </a:xfrm>
            <a:solidFill>
              <a:schemeClr val="accent1"/>
            </a:solidFill>
          </p:grpSpPr>
          <p:sp>
            <p:nvSpPr>
              <p:cNvPr id="454" name="Freeform: Shape 453">
                <a:extLst>
                  <a:ext uri="{FF2B5EF4-FFF2-40B4-BE49-F238E27FC236}">
                    <a16:creationId xmlns:a16="http://schemas.microsoft.com/office/drawing/2014/main" id="{0F7A7DFE-FD06-48B3-9EA7-31C907B09147}"/>
                  </a:ext>
                </a:extLst>
              </p:cNvPr>
              <p:cNvSpPr/>
              <p:nvPr/>
            </p:nvSpPr>
            <p:spPr>
              <a:xfrm>
                <a:off x="10771516" y="3524542"/>
                <a:ext cx="56769" cy="55861"/>
              </a:xfrm>
              <a:custGeom>
                <a:avLst/>
                <a:gdLst>
                  <a:gd name="connsiteX0" fmla="*/ 0 w 56769"/>
                  <a:gd name="connsiteY0" fmla="*/ 32906 h 55861"/>
                  <a:gd name="connsiteX1" fmla="*/ 5400 w 56769"/>
                  <a:gd name="connsiteY1" fmla="*/ 51368 h 55861"/>
                  <a:gd name="connsiteX2" fmla="*/ 14694 w 56769"/>
                  <a:gd name="connsiteY2" fmla="*/ 55136 h 55861"/>
                  <a:gd name="connsiteX3" fmla="*/ 27757 w 56769"/>
                  <a:gd name="connsiteY3" fmla="*/ 48480 h 55861"/>
                  <a:gd name="connsiteX4" fmla="*/ 28385 w 56769"/>
                  <a:gd name="connsiteY4" fmla="*/ 48103 h 55861"/>
                  <a:gd name="connsiteX5" fmla="*/ 42074 w 56769"/>
                  <a:gd name="connsiteY5" fmla="*/ 39186 h 55861"/>
                  <a:gd name="connsiteX6" fmla="*/ 51369 w 56769"/>
                  <a:gd name="connsiteY6" fmla="*/ 24617 h 55861"/>
                  <a:gd name="connsiteX7" fmla="*/ 56769 w 56769"/>
                  <a:gd name="connsiteY7" fmla="*/ 0 h 55861"/>
                  <a:gd name="connsiteX8" fmla="*/ 0 w 56769"/>
                  <a:gd name="connsiteY8" fmla="*/ 32906 h 5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769" h="55861">
                    <a:moveTo>
                      <a:pt x="0" y="32906"/>
                    </a:moveTo>
                    <a:lnTo>
                      <a:pt x="5400" y="51368"/>
                    </a:lnTo>
                    <a:cubicBezTo>
                      <a:pt x="6531" y="55387"/>
                      <a:pt x="10299" y="56894"/>
                      <a:pt x="14694" y="55136"/>
                    </a:cubicBezTo>
                    <a:cubicBezTo>
                      <a:pt x="19844" y="53127"/>
                      <a:pt x="24491" y="50489"/>
                      <a:pt x="27757" y="48480"/>
                    </a:cubicBezTo>
                    <a:lnTo>
                      <a:pt x="28385" y="48103"/>
                    </a:lnTo>
                    <a:cubicBezTo>
                      <a:pt x="34287" y="44712"/>
                      <a:pt x="38558" y="41949"/>
                      <a:pt x="42074" y="39186"/>
                    </a:cubicBezTo>
                    <a:cubicBezTo>
                      <a:pt x="46596" y="35795"/>
                      <a:pt x="50238" y="30017"/>
                      <a:pt x="51369" y="24617"/>
                    </a:cubicBezTo>
                    <a:lnTo>
                      <a:pt x="56769" y="0"/>
                    </a:lnTo>
                    <a:lnTo>
                      <a:pt x="0" y="32906"/>
                    </a:lnTo>
                    <a:close/>
                  </a:path>
                </a:pathLst>
              </a:custGeom>
              <a:solidFill>
                <a:srgbClr val="B0B0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 name="Freeform: Shape 454">
                <a:extLst>
                  <a:ext uri="{FF2B5EF4-FFF2-40B4-BE49-F238E27FC236}">
                    <a16:creationId xmlns:a16="http://schemas.microsoft.com/office/drawing/2014/main" id="{5CAD003D-E81F-4A72-BE67-7EE50E754593}"/>
                  </a:ext>
                </a:extLst>
              </p:cNvPr>
              <p:cNvSpPr/>
              <p:nvPr/>
            </p:nvSpPr>
            <p:spPr>
              <a:xfrm>
                <a:off x="10775033" y="3528938"/>
                <a:ext cx="49986" cy="47932"/>
              </a:xfrm>
              <a:custGeom>
                <a:avLst/>
                <a:gdLst>
                  <a:gd name="connsiteX0" fmla="*/ 0 w 49986"/>
                  <a:gd name="connsiteY0" fmla="*/ 28887 h 47932"/>
                  <a:gd name="connsiteX1" fmla="*/ 4521 w 49986"/>
                  <a:gd name="connsiteY1" fmla="*/ 44586 h 47932"/>
                  <a:gd name="connsiteX2" fmla="*/ 11680 w 49986"/>
                  <a:gd name="connsiteY2" fmla="*/ 47349 h 47932"/>
                  <a:gd name="connsiteX3" fmla="*/ 24993 w 49986"/>
                  <a:gd name="connsiteY3" fmla="*/ 40567 h 47932"/>
                  <a:gd name="connsiteX4" fmla="*/ 38306 w 49986"/>
                  <a:gd name="connsiteY4" fmla="*/ 32027 h 47932"/>
                  <a:gd name="connsiteX5" fmla="*/ 45465 w 49986"/>
                  <a:gd name="connsiteY5" fmla="*/ 20974 h 47932"/>
                  <a:gd name="connsiteX6" fmla="*/ 49986 w 49986"/>
                  <a:gd name="connsiteY6" fmla="*/ 0 h 47932"/>
                  <a:gd name="connsiteX7" fmla="*/ 0 w 49986"/>
                  <a:gd name="connsiteY7" fmla="*/ 28887 h 4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86" h="47932">
                    <a:moveTo>
                      <a:pt x="0" y="28887"/>
                    </a:moveTo>
                    <a:lnTo>
                      <a:pt x="4521" y="44586"/>
                    </a:lnTo>
                    <a:cubicBezTo>
                      <a:pt x="5400" y="47600"/>
                      <a:pt x="8163" y="48731"/>
                      <a:pt x="11680" y="47349"/>
                    </a:cubicBezTo>
                    <a:cubicBezTo>
                      <a:pt x="16829" y="45340"/>
                      <a:pt x="21351" y="42702"/>
                      <a:pt x="24993" y="40567"/>
                    </a:cubicBezTo>
                    <a:cubicBezTo>
                      <a:pt x="30017" y="37678"/>
                      <a:pt x="34413" y="34915"/>
                      <a:pt x="38306" y="32027"/>
                    </a:cubicBezTo>
                    <a:cubicBezTo>
                      <a:pt x="41697" y="29389"/>
                      <a:pt x="44460" y="25119"/>
                      <a:pt x="45465" y="20974"/>
                    </a:cubicBezTo>
                    <a:lnTo>
                      <a:pt x="49986" y="0"/>
                    </a:lnTo>
                    <a:lnTo>
                      <a:pt x="0" y="2888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6" name="Graphic 4">
                <a:extLst>
                  <a:ext uri="{FF2B5EF4-FFF2-40B4-BE49-F238E27FC236}">
                    <a16:creationId xmlns:a16="http://schemas.microsoft.com/office/drawing/2014/main" id="{84FB7ED1-A2DF-40A1-A747-5F7CF3F14040}"/>
                  </a:ext>
                </a:extLst>
              </p:cNvPr>
              <p:cNvGrpSpPr/>
              <p:nvPr/>
            </p:nvGrpSpPr>
            <p:grpSpPr>
              <a:xfrm>
                <a:off x="10775409" y="3530947"/>
                <a:ext cx="49107" cy="45891"/>
                <a:chOff x="10775409" y="3530947"/>
                <a:chExt cx="49107" cy="45891"/>
              </a:xfrm>
              <a:solidFill>
                <a:srgbClr val="454351"/>
              </a:solidFill>
            </p:grpSpPr>
            <p:sp>
              <p:nvSpPr>
                <p:cNvPr id="457" name="Freeform: Shape 456">
                  <a:extLst>
                    <a:ext uri="{FF2B5EF4-FFF2-40B4-BE49-F238E27FC236}">
                      <a16:creationId xmlns:a16="http://schemas.microsoft.com/office/drawing/2014/main" id="{5F7CA21D-7EB3-483C-8308-6884C0C52B42}"/>
                    </a:ext>
                  </a:extLst>
                </p:cNvPr>
                <p:cNvSpPr/>
                <p:nvPr/>
              </p:nvSpPr>
              <p:spPr>
                <a:xfrm>
                  <a:off x="10782191" y="3556066"/>
                  <a:ext cx="35417" cy="20772"/>
                </a:xfrm>
                <a:custGeom>
                  <a:avLst/>
                  <a:gdLst>
                    <a:gd name="connsiteX0" fmla="*/ 32781 w 35417"/>
                    <a:gd name="connsiteY0" fmla="*/ 3266 h 20772"/>
                    <a:gd name="connsiteX1" fmla="*/ 35418 w 35417"/>
                    <a:gd name="connsiteY1" fmla="*/ 0 h 20772"/>
                    <a:gd name="connsiteX2" fmla="*/ 0 w 35417"/>
                    <a:gd name="connsiteY2" fmla="*/ 20472 h 20772"/>
                    <a:gd name="connsiteX3" fmla="*/ 2638 w 35417"/>
                    <a:gd name="connsiteY3" fmla="*/ 20723 h 20772"/>
                    <a:gd name="connsiteX4" fmla="*/ 32781 w 35417"/>
                    <a:gd name="connsiteY4" fmla="*/ 3266 h 20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17" h="20772">
                      <a:moveTo>
                        <a:pt x="32781" y="3266"/>
                      </a:moveTo>
                      <a:cubicBezTo>
                        <a:pt x="33785" y="2261"/>
                        <a:pt x="34664" y="1130"/>
                        <a:pt x="35418" y="0"/>
                      </a:cubicBezTo>
                      <a:lnTo>
                        <a:pt x="0" y="20472"/>
                      </a:lnTo>
                      <a:cubicBezTo>
                        <a:pt x="754" y="20723"/>
                        <a:pt x="1633" y="20849"/>
                        <a:pt x="2638" y="20723"/>
                      </a:cubicBezTo>
                      <a:lnTo>
                        <a:pt x="32781" y="3266"/>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 name="Freeform: Shape 457">
                  <a:extLst>
                    <a:ext uri="{FF2B5EF4-FFF2-40B4-BE49-F238E27FC236}">
                      <a16:creationId xmlns:a16="http://schemas.microsoft.com/office/drawing/2014/main" id="{DBCE8097-A3FD-496D-84CA-524EC65EB8E2}"/>
                    </a:ext>
                  </a:extLst>
                </p:cNvPr>
                <p:cNvSpPr/>
                <p:nvPr/>
              </p:nvSpPr>
              <p:spPr>
                <a:xfrm>
                  <a:off x="10778926" y="3547149"/>
                  <a:ext cx="42073" cy="25746"/>
                </a:xfrm>
                <a:custGeom>
                  <a:avLst/>
                  <a:gdLst>
                    <a:gd name="connsiteX0" fmla="*/ 0 w 42073"/>
                    <a:gd name="connsiteY0" fmla="*/ 24240 h 25746"/>
                    <a:gd name="connsiteX1" fmla="*/ 502 w 42073"/>
                    <a:gd name="connsiteY1" fmla="*/ 25747 h 25746"/>
                    <a:gd name="connsiteX2" fmla="*/ 41572 w 42073"/>
                    <a:gd name="connsiteY2" fmla="*/ 2010 h 25746"/>
                    <a:gd name="connsiteX3" fmla="*/ 42074 w 42073"/>
                    <a:gd name="connsiteY3" fmla="*/ 0 h 25746"/>
                  </a:gdLst>
                  <a:ahLst/>
                  <a:cxnLst>
                    <a:cxn ang="0">
                      <a:pos x="connsiteX0" y="connsiteY0"/>
                    </a:cxn>
                    <a:cxn ang="0">
                      <a:pos x="connsiteX1" y="connsiteY1"/>
                    </a:cxn>
                    <a:cxn ang="0">
                      <a:pos x="connsiteX2" y="connsiteY2"/>
                    </a:cxn>
                    <a:cxn ang="0">
                      <a:pos x="connsiteX3" y="connsiteY3"/>
                    </a:cxn>
                  </a:cxnLst>
                  <a:rect l="l" t="t" r="r" b="b"/>
                  <a:pathLst>
                    <a:path w="42073" h="25746">
                      <a:moveTo>
                        <a:pt x="0" y="24240"/>
                      </a:moveTo>
                      <a:lnTo>
                        <a:pt x="502" y="25747"/>
                      </a:lnTo>
                      <a:lnTo>
                        <a:pt x="41572" y="2010"/>
                      </a:lnTo>
                      <a:lnTo>
                        <a:pt x="42074"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 name="Freeform: Shape 458">
                  <a:extLst>
                    <a:ext uri="{FF2B5EF4-FFF2-40B4-BE49-F238E27FC236}">
                      <a16:creationId xmlns:a16="http://schemas.microsoft.com/office/drawing/2014/main" id="{B852D070-4E37-4C57-A810-5EB333EB7763}"/>
                    </a:ext>
                  </a:extLst>
                </p:cNvPr>
                <p:cNvSpPr/>
                <p:nvPr/>
              </p:nvSpPr>
              <p:spPr>
                <a:xfrm>
                  <a:off x="10779931" y="3551294"/>
                  <a:ext cx="40064" cy="24365"/>
                </a:xfrm>
                <a:custGeom>
                  <a:avLst/>
                  <a:gdLst>
                    <a:gd name="connsiteX0" fmla="*/ 0 w 40064"/>
                    <a:gd name="connsiteY0" fmla="*/ 23109 h 24365"/>
                    <a:gd name="connsiteX1" fmla="*/ 879 w 40064"/>
                    <a:gd name="connsiteY1" fmla="*/ 24365 h 24365"/>
                    <a:gd name="connsiteX2" fmla="*/ 39186 w 40064"/>
                    <a:gd name="connsiteY2" fmla="*/ 2261 h 24365"/>
                    <a:gd name="connsiteX3" fmla="*/ 40065 w 40064"/>
                    <a:gd name="connsiteY3" fmla="*/ 0 h 24365"/>
                    <a:gd name="connsiteX4" fmla="*/ 0 w 40064"/>
                    <a:gd name="connsiteY4" fmla="*/ 23109 h 24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4" h="24365">
                      <a:moveTo>
                        <a:pt x="0" y="23109"/>
                      </a:moveTo>
                      <a:cubicBezTo>
                        <a:pt x="251" y="23612"/>
                        <a:pt x="503" y="23988"/>
                        <a:pt x="879" y="24365"/>
                      </a:cubicBezTo>
                      <a:lnTo>
                        <a:pt x="39186" y="2261"/>
                      </a:lnTo>
                      <a:cubicBezTo>
                        <a:pt x="39563" y="1507"/>
                        <a:pt x="39814" y="754"/>
                        <a:pt x="40065" y="0"/>
                      </a:cubicBezTo>
                      <a:lnTo>
                        <a:pt x="0" y="2310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0" name="Freeform: Shape 459">
                  <a:extLst>
                    <a:ext uri="{FF2B5EF4-FFF2-40B4-BE49-F238E27FC236}">
                      <a16:creationId xmlns:a16="http://schemas.microsoft.com/office/drawing/2014/main" id="{E99EBC08-2A5F-4E5E-A6C0-8C53D7FEA6D7}"/>
                    </a:ext>
                  </a:extLst>
                </p:cNvPr>
                <p:cNvSpPr/>
                <p:nvPr/>
              </p:nvSpPr>
              <p:spPr>
                <a:xfrm>
                  <a:off x="10775409" y="3530947"/>
                  <a:ext cx="49107" cy="29891"/>
                </a:xfrm>
                <a:custGeom>
                  <a:avLst/>
                  <a:gdLst>
                    <a:gd name="connsiteX0" fmla="*/ 0 w 49107"/>
                    <a:gd name="connsiteY0" fmla="*/ 28385 h 29891"/>
                    <a:gd name="connsiteX1" fmla="*/ 502 w 49107"/>
                    <a:gd name="connsiteY1" fmla="*/ 29892 h 29891"/>
                    <a:gd name="connsiteX2" fmla="*/ 48605 w 49107"/>
                    <a:gd name="connsiteY2" fmla="*/ 2010 h 29891"/>
                    <a:gd name="connsiteX3" fmla="*/ 49108 w 49107"/>
                    <a:gd name="connsiteY3" fmla="*/ 0 h 29891"/>
                  </a:gdLst>
                  <a:ahLst/>
                  <a:cxnLst>
                    <a:cxn ang="0">
                      <a:pos x="connsiteX0" y="connsiteY0"/>
                    </a:cxn>
                    <a:cxn ang="0">
                      <a:pos x="connsiteX1" y="connsiteY1"/>
                    </a:cxn>
                    <a:cxn ang="0">
                      <a:pos x="connsiteX2" y="connsiteY2"/>
                    </a:cxn>
                    <a:cxn ang="0">
                      <a:pos x="connsiteX3" y="connsiteY3"/>
                    </a:cxn>
                  </a:cxnLst>
                  <a:rect l="l" t="t" r="r" b="b"/>
                  <a:pathLst>
                    <a:path w="49107" h="29891">
                      <a:moveTo>
                        <a:pt x="0" y="28385"/>
                      </a:moveTo>
                      <a:lnTo>
                        <a:pt x="502" y="29892"/>
                      </a:lnTo>
                      <a:lnTo>
                        <a:pt x="48605" y="2010"/>
                      </a:lnTo>
                      <a:lnTo>
                        <a:pt x="49108"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 name="Freeform: Shape 460">
                  <a:extLst>
                    <a:ext uri="{FF2B5EF4-FFF2-40B4-BE49-F238E27FC236}">
                      <a16:creationId xmlns:a16="http://schemas.microsoft.com/office/drawing/2014/main" id="{003D4B0A-6B27-4644-AC7A-89A7DF58BE1D}"/>
                    </a:ext>
                  </a:extLst>
                </p:cNvPr>
                <p:cNvSpPr/>
                <p:nvPr/>
              </p:nvSpPr>
              <p:spPr>
                <a:xfrm>
                  <a:off x="10776289" y="3534966"/>
                  <a:ext cx="47349" cy="28886"/>
                </a:xfrm>
                <a:custGeom>
                  <a:avLst/>
                  <a:gdLst>
                    <a:gd name="connsiteX0" fmla="*/ 0 w 47349"/>
                    <a:gd name="connsiteY0" fmla="*/ 27380 h 28886"/>
                    <a:gd name="connsiteX1" fmla="*/ 502 w 47349"/>
                    <a:gd name="connsiteY1" fmla="*/ 28887 h 28886"/>
                    <a:gd name="connsiteX2" fmla="*/ 46847 w 47349"/>
                    <a:gd name="connsiteY2" fmla="*/ 2135 h 28886"/>
                    <a:gd name="connsiteX3" fmla="*/ 47349 w 47349"/>
                    <a:gd name="connsiteY3" fmla="*/ 0 h 28886"/>
                  </a:gdLst>
                  <a:ahLst/>
                  <a:cxnLst>
                    <a:cxn ang="0">
                      <a:pos x="connsiteX0" y="connsiteY0"/>
                    </a:cxn>
                    <a:cxn ang="0">
                      <a:pos x="connsiteX1" y="connsiteY1"/>
                    </a:cxn>
                    <a:cxn ang="0">
                      <a:pos x="connsiteX2" y="connsiteY2"/>
                    </a:cxn>
                    <a:cxn ang="0">
                      <a:pos x="connsiteX3" y="connsiteY3"/>
                    </a:cxn>
                  </a:cxnLst>
                  <a:rect l="l" t="t" r="r" b="b"/>
                  <a:pathLst>
                    <a:path w="47349" h="28886">
                      <a:moveTo>
                        <a:pt x="0" y="27380"/>
                      </a:moveTo>
                      <a:lnTo>
                        <a:pt x="502" y="28887"/>
                      </a:lnTo>
                      <a:lnTo>
                        <a:pt x="46847" y="2135"/>
                      </a:lnTo>
                      <a:lnTo>
                        <a:pt x="47349"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 name="Freeform: Shape 461">
                  <a:extLst>
                    <a:ext uri="{FF2B5EF4-FFF2-40B4-BE49-F238E27FC236}">
                      <a16:creationId xmlns:a16="http://schemas.microsoft.com/office/drawing/2014/main" id="{2FC445B1-75E4-4054-9A58-11BE20351DD4}"/>
                    </a:ext>
                  </a:extLst>
                </p:cNvPr>
                <p:cNvSpPr/>
                <p:nvPr/>
              </p:nvSpPr>
              <p:spPr>
                <a:xfrm>
                  <a:off x="10777168" y="3539111"/>
                  <a:ext cx="45590" cy="27756"/>
                </a:xfrm>
                <a:custGeom>
                  <a:avLst/>
                  <a:gdLst>
                    <a:gd name="connsiteX0" fmla="*/ 0 w 45590"/>
                    <a:gd name="connsiteY0" fmla="*/ 26249 h 27756"/>
                    <a:gd name="connsiteX1" fmla="*/ 502 w 45590"/>
                    <a:gd name="connsiteY1" fmla="*/ 27756 h 27756"/>
                    <a:gd name="connsiteX2" fmla="*/ 45088 w 45590"/>
                    <a:gd name="connsiteY2" fmla="*/ 2009 h 27756"/>
                    <a:gd name="connsiteX3" fmla="*/ 45591 w 45590"/>
                    <a:gd name="connsiteY3" fmla="*/ 0 h 27756"/>
                  </a:gdLst>
                  <a:ahLst/>
                  <a:cxnLst>
                    <a:cxn ang="0">
                      <a:pos x="connsiteX0" y="connsiteY0"/>
                    </a:cxn>
                    <a:cxn ang="0">
                      <a:pos x="connsiteX1" y="connsiteY1"/>
                    </a:cxn>
                    <a:cxn ang="0">
                      <a:pos x="connsiteX2" y="connsiteY2"/>
                    </a:cxn>
                    <a:cxn ang="0">
                      <a:pos x="connsiteX3" y="connsiteY3"/>
                    </a:cxn>
                  </a:cxnLst>
                  <a:rect l="l" t="t" r="r" b="b"/>
                  <a:pathLst>
                    <a:path w="45590" h="27756">
                      <a:moveTo>
                        <a:pt x="0" y="26249"/>
                      </a:moveTo>
                      <a:lnTo>
                        <a:pt x="502" y="27756"/>
                      </a:lnTo>
                      <a:lnTo>
                        <a:pt x="45088" y="2009"/>
                      </a:lnTo>
                      <a:lnTo>
                        <a:pt x="45591"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 name="Freeform: Shape 462">
                  <a:extLst>
                    <a:ext uri="{FF2B5EF4-FFF2-40B4-BE49-F238E27FC236}">
                      <a16:creationId xmlns:a16="http://schemas.microsoft.com/office/drawing/2014/main" id="{04628623-4DF4-4722-84BF-09BA00D26A41}"/>
                    </a:ext>
                  </a:extLst>
                </p:cNvPr>
                <p:cNvSpPr/>
                <p:nvPr/>
              </p:nvSpPr>
              <p:spPr>
                <a:xfrm>
                  <a:off x="10778047" y="3543130"/>
                  <a:ext cx="43832" cy="26751"/>
                </a:xfrm>
                <a:custGeom>
                  <a:avLst/>
                  <a:gdLst>
                    <a:gd name="connsiteX0" fmla="*/ 0 w 43832"/>
                    <a:gd name="connsiteY0" fmla="*/ 25245 h 26751"/>
                    <a:gd name="connsiteX1" fmla="*/ 502 w 43832"/>
                    <a:gd name="connsiteY1" fmla="*/ 26752 h 26751"/>
                    <a:gd name="connsiteX2" fmla="*/ 43330 w 43832"/>
                    <a:gd name="connsiteY2" fmla="*/ 2010 h 26751"/>
                    <a:gd name="connsiteX3" fmla="*/ 43832 w 43832"/>
                    <a:gd name="connsiteY3" fmla="*/ 0 h 26751"/>
                  </a:gdLst>
                  <a:ahLst/>
                  <a:cxnLst>
                    <a:cxn ang="0">
                      <a:pos x="connsiteX0" y="connsiteY0"/>
                    </a:cxn>
                    <a:cxn ang="0">
                      <a:pos x="connsiteX1" y="connsiteY1"/>
                    </a:cxn>
                    <a:cxn ang="0">
                      <a:pos x="connsiteX2" y="connsiteY2"/>
                    </a:cxn>
                    <a:cxn ang="0">
                      <a:pos x="connsiteX3" y="connsiteY3"/>
                    </a:cxn>
                  </a:cxnLst>
                  <a:rect l="l" t="t" r="r" b="b"/>
                  <a:pathLst>
                    <a:path w="43832" h="26751">
                      <a:moveTo>
                        <a:pt x="0" y="25245"/>
                      </a:moveTo>
                      <a:lnTo>
                        <a:pt x="502" y="26752"/>
                      </a:lnTo>
                      <a:lnTo>
                        <a:pt x="43330" y="2010"/>
                      </a:lnTo>
                      <a:lnTo>
                        <a:pt x="43832"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64" name="Graphic 4">
              <a:extLst>
                <a:ext uri="{FF2B5EF4-FFF2-40B4-BE49-F238E27FC236}">
                  <a16:creationId xmlns:a16="http://schemas.microsoft.com/office/drawing/2014/main" id="{84FB7ED1-A2DF-40A1-A747-5F7CF3F14040}"/>
                </a:ext>
              </a:extLst>
            </p:cNvPr>
            <p:cNvGrpSpPr/>
            <p:nvPr/>
          </p:nvGrpSpPr>
          <p:grpSpPr>
            <a:xfrm>
              <a:off x="10762222" y="3562448"/>
              <a:ext cx="12011" cy="26321"/>
              <a:chOff x="10762222" y="3562448"/>
              <a:chExt cx="12011" cy="26321"/>
            </a:xfrm>
            <a:solidFill>
              <a:schemeClr val="accent1"/>
            </a:solidFill>
          </p:grpSpPr>
          <p:sp>
            <p:nvSpPr>
              <p:cNvPr id="465" name="Freeform: Shape 464">
                <a:extLst>
                  <a:ext uri="{FF2B5EF4-FFF2-40B4-BE49-F238E27FC236}">
                    <a16:creationId xmlns:a16="http://schemas.microsoft.com/office/drawing/2014/main" id="{E6841ED5-BF40-4891-A31B-DCDC4188C9D3}"/>
                  </a:ext>
                </a:extLst>
              </p:cNvPr>
              <p:cNvSpPr/>
              <p:nvPr/>
            </p:nvSpPr>
            <p:spPr>
              <a:xfrm>
                <a:off x="10763352" y="3563175"/>
                <a:ext cx="10881" cy="25594"/>
              </a:xfrm>
              <a:custGeom>
                <a:avLst/>
                <a:gdLst>
                  <a:gd name="connsiteX0" fmla="*/ 3893 w 10881"/>
                  <a:gd name="connsiteY0" fmla="*/ 175 h 25594"/>
                  <a:gd name="connsiteX1" fmla="*/ 1382 w 10881"/>
                  <a:gd name="connsiteY1" fmla="*/ 1682 h 25594"/>
                  <a:gd name="connsiteX2" fmla="*/ 0 w 10881"/>
                  <a:gd name="connsiteY2" fmla="*/ 3943 h 25594"/>
                  <a:gd name="connsiteX3" fmla="*/ 0 w 10881"/>
                  <a:gd name="connsiteY3" fmla="*/ 23787 h 25594"/>
                  <a:gd name="connsiteX4" fmla="*/ 754 w 10881"/>
                  <a:gd name="connsiteY4" fmla="*/ 25420 h 25594"/>
                  <a:gd name="connsiteX5" fmla="*/ 2512 w 10881"/>
                  <a:gd name="connsiteY5" fmla="*/ 25294 h 25594"/>
                  <a:gd name="connsiteX6" fmla="*/ 8918 w 10881"/>
                  <a:gd name="connsiteY6" fmla="*/ 21652 h 25594"/>
                  <a:gd name="connsiteX7" fmla="*/ 10802 w 10881"/>
                  <a:gd name="connsiteY7" fmla="*/ 17758 h 25594"/>
                  <a:gd name="connsiteX8" fmla="*/ 5903 w 10881"/>
                  <a:gd name="connsiteY8" fmla="*/ 929 h 25594"/>
                  <a:gd name="connsiteX9" fmla="*/ 5401 w 10881"/>
                  <a:gd name="connsiteY9" fmla="*/ 301 h 25594"/>
                  <a:gd name="connsiteX10" fmla="*/ 3893 w 10881"/>
                  <a:gd name="connsiteY10" fmla="*/ 175 h 25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81" h="25594">
                    <a:moveTo>
                      <a:pt x="3893" y="175"/>
                    </a:moveTo>
                    <a:lnTo>
                      <a:pt x="1382" y="1682"/>
                    </a:lnTo>
                    <a:cubicBezTo>
                      <a:pt x="629" y="2059"/>
                      <a:pt x="0" y="3189"/>
                      <a:pt x="0" y="3943"/>
                    </a:cubicBezTo>
                    <a:lnTo>
                      <a:pt x="0" y="23787"/>
                    </a:lnTo>
                    <a:cubicBezTo>
                      <a:pt x="0" y="24541"/>
                      <a:pt x="251" y="25169"/>
                      <a:pt x="754" y="25420"/>
                    </a:cubicBezTo>
                    <a:cubicBezTo>
                      <a:pt x="1256" y="25671"/>
                      <a:pt x="1759" y="25671"/>
                      <a:pt x="2512" y="25294"/>
                    </a:cubicBezTo>
                    <a:lnTo>
                      <a:pt x="8918" y="21652"/>
                    </a:lnTo>
                    <a:cubicBezTo>
                      <a:pt x="10173" y="20898"/>
                      <a:pt x="11178" y="19014"/>
                      <a:pt x="10802" y="17758"/>
                    </a:cubicBezTo>
                    <a:lnTo>
                      <a:pt x="5903" y="929"/>
                    </a:lnTo>
                    <a:cubicBezTo>
                      <a:pt x="5778" y="552"/>
                      <a:pt x="5652" y="426"/>
                      <a:pt x="5401" y="301"/>
                    </a:cubicBezTo>
                    <a:cubicBezTo>
                      <a:pt x="4898" y="-76"/>
                      <a:pt x="4396" y="-76"/>
                      <a:pt x="3893" y="175"/>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 name="Freeform: Shape 465">
                <a:extLst>
                  <a:ext uri="{FF2B5EF4-FFF2-40B4-BE49-F238E27FC236}">
                    <a16:creationId xmlns:a16="http://schemas.microsoft.com/office/drawing/2014/main" id="{7A7CBC4E-1336-4A6A-86ED-46A96C30D9BE}"/>
                  </a:ext>
                </a:extLst>
              </p:cNvPr>
              <p:cNvSpPr/>
              <p:nvPr/>
            </p:nvSpPr>
            <p:spPr>
              <a:xfrm>
                <a:off x="10762222" y="3562448"/>
                <a:ext cx="6781" cy="26272"/>
              </a:xfrm>
              <a:custGeom>
                <a:avLst/>
                <a:gdLst>
                  <a:gd name="connsiteX0" fmla="*/ 1759 w 6781"/>
                  <a:gd name="connsiteY0" fmla="*/ 26147 h 26272"/>
                  <a:gd name="connsiteX1" fmla="*/ 1005 w 6781"/>
                  <a:gd name="connsiteY1" fmla="*/ 24514 h 26272"/>
                  <a:gd name="connsiteX2" fmla="*/ 1005 w 6781"/>
                  <a:gd name="connsiteY2" fmla="*/ 4670 h 26272"/>
                  <a:gd name="connsiteX3" fmla="*/ 2386 w 6781"/>
                  <a:gd name="connsiteY3" fmla="*/ 2409 h 26272"/>
                  <a:gd name="connsiteX4" fmla="*/ 4898 w 6781"/>
                  <a:gd name="connsiteY4" fmla="*/ 902 h 26272"/>
                  <a:gd name="connsiteX5" fmla="*/ 6280 w 6781"/>
                  <a:gd name="connsiteY5" fmla="*/ 777 h 26272"/>
                  <a:gd name="connsiteX6" fmla="*/ 6782 w 6781"/>
                  <a:gd name="connsiteY6" fmla="*/ 1405 h 26272"/>
                  <a:gd name="connsiteX7" fmla="*/ 4521 w 6781"/>
                  <a:gd name="connsiteY7" fmla="*/ 23 h 26272"/>
                  <a:gd name="connsiteX8" fmla="*/ 3893 w 6781"/>
                  <a:gd name="connsiteY8" fmla="*/ 274 h 26272"/>
                  <a:gd name="connsiteX9" fmla="*/ 1381 w 6781"/>
                  <a:gd name="connsiteY9" fmla="*/ 1781 h 26272"/>
                  <a:gd name="connsiteX10" fmla="*/ 0 w 6781"/>
                  <a:gd name="connsiteY10" fmla="*/ 4042 h 26272"/>
                  <a:gd name="connsiteX11" fmla="*/ 0 w 6781"/>
                  <a:gd name="connsiteY11" fmla="*/ 23886 h 26272"/>
                  <a:gd name="connsiteX12" fmla="*/ 0 w 6781"/>
                  <a:gd name="connsiteY12" fmla="*/ 24514 h 26272"/>
                  <a:gd name="connsiteX13" fmla="*/ 2386 w 6781"/>
                  <a:gd name="connsiteY13" fmla="*/ 26272 h 26272"/>
                  <a:gd name="connsiteX14" fmla="*/ 2386 w 6781"/>
                  <a:gd name="connsiteY14" fmla="*/ 26272 h 26272"/>
                  <a:gd name="connsiteX15" fmla="*/ 1759 w 6781"/>
                  <a:gd name="connsiteY15" fmla="*/ 26147 h 26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81" h="26272">
                    <a:moveTo>
                      <a:pt x="1759" y="26147"/>
                    </a:moveTo>
                    <a:cubicBezTo>
                      <a:pt x="1256" y="25896"/>
                      <a:pt x="1005" y="25393"/>
                      <a:pt x="1005" y="24514"/>
                    </a:cubicBezTo>
                    <a:lnTo>
                      <a:pt x="1005" y="4670"/>
                    </a:lnTo>
                    <a:cubicBezTo>
                      <a:pt x="1005" y="3791"/>
                      <a:pt x="1633" y="2786"/>
                      <a:pt x="2386" y="2409"/>
                    </a:cubicBezTo>
                    <a:lnTo>
                      <a:pt x="4898" y="902"/>
                    </a:lnTo>
                    <a:cubicBezTo>
                      <a:pt x="5400" y="651"/>
                      <a:pt x="5903" y="525"/>
                      <a:pt x="6280" y="777"/>
                    </a:cubicBezTo>
                    <a:cubicBezTo>
                      <a:pt x="6531" y="902"/>
                      <a:pt x="6656" y="1153"/>
                      <a:pt x="6782" y="1405"/>
                    </a:cubicBezTo>
                    <a:cubicBezTo>
                      <a:pt x="6405" y="274"/>
                      <a:pt x="5400" y="-103"/>
                      <a:pt x="4521" y="23"/>
                    </a:cubicBezTo>
                    <a:cubicBezTo>
                      <a:pt x="4396" y="23"/>
                      <a:pt x="4145" y="149"/>
                      <a:pt x="3893" y="274"/>
                    </a:cubicBezTo>
                    <a:lnTo>
                      <a:pt x="1381" y="1781"/>
                    </a:lnTo>
                    <a:cubicBezTo>
                      <a:pt x="628" y="2158"/>
                      <a:pt x="0" y="3289"/>
                      <a:pt x="0" y="4042"/>
                    </a:cubicBezTo>
                    <a:lnTo>
                      <a:pt x="0" y="23886"/>
                    </a:lnTo>
                    <a:cubicBezTo>
                      <a:pt x="0" y="24137"/>
                      <a:pt x="0" y="24263"/>
                      <a:pt x="0" y="24514"/>
                    </a:cubicBezTo>
                    <a:cubicBezTo>
                      <a:pt x="251" y="26021"/>
                      <a:pt x="1507" y="26272"/>
                      <a:pt x="2386" y="26272"/>
                    </a:cubicBezTo>
                    <a:lnTo>
                      <a:pt x="2386" y="26272"/>
                    </a:lnTo>
                    <a:cubicBezTo>
                      <a:pt x="2261" y="26272"/>
                      <a:pt x="2009" y="26272"/>
                      <a:pt x="1759" y="26147"/>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 name="Freeform: Shape 466">
                <a:extLst>
                  <a:ext uri="{FF2B5EF4-FFF2-40B4-BE49-F238E27FC236}">
                    <a16:creationId xmlns:a16="http://schemas.microsoft.com/office/drawing/2014/main" id="{E3BC6D5D-6EAF-4D44-B748-9027A2D41740}"/>
                  </a:ext>
                </a:extLst>
              </p:cNvPr>
              <p:cNvSpPr/>
              <p:nvPr/>
            </p:nvSpPr>
            <p:spPr>
              <a:xfrm>
                <a:off x="10762713" y="3575215"/>
                <a:ext cx="10964" cy="12711"/>
              </a:xfrm>
              <a:custGeom>
                <a:avLst/>
                <a:gdLst>
                  <a:gd name="connsiteX0" fmla="*/ 8245 w 10964"/>
                  <a:gd name="connsiteY0" fmla="*/ 1570 h 12711"/>
                  <a:gd name="connsiteX1" fmla="*/ 8201 w 10964"/>
                  <a:gd name="connsiteY1" fmla="*/ 7926 h 12711"/>
                  <a:gd name="connsiteX2" fmla="*/ 2719 w 10964"/>
                  <a:gd name="connsiteY2" fmla="*/ 11141 h 12711"/>
                  <a:gd name="connsiteX3" fmla="*/ 2763 w 10964"/>
                  <a:gd name="connsiteY3" fmla="*/ 4786 h 12711"/>
                  <a:gd name="connsiteX4" fmla="*/ 8245 w 10964"/>
                  <a:gd name="connsiteY4" fmla="*/ 1570 h 1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4" h="12711">
                    <a:moveTo>
                      <a:pt x="8245" y="1570"/>
                    </a:moveTo>
                    <a:cubicBezTo>
                      <a:pt x="9747" y="2437"/>
                      <a:pt x="9727" y="5283"/>
                      <a:pt x="8201" y="7926"/>
                    </a:cubicBezTo>
                    <a:cubicBezTo>
                      <a:pt x="6675" y="10569"/>
                      <a:pt x="4221" y="12009"/>
                      <a:pt x="2719" y="11141"/>
                    </a:cubicBezTo>
                    <a:cubicBezTo>
                      <a:pt x="1217" y="10274"/>
                      <a:pt x="1237" y="7429"/>
                      <a:pt x="2763" y="4786"/>
                    </a:cubicBezTo>
                    <a:cubicBezTo>
                      <a:pt x="4289" y="2143"/>
                      <a:pt x="6743" y="703"/>
                      <a:pt x="8245" y="1570"/>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8" name="Freeform: Shape 467">
                <a:extLst>
                  <a:ext uri="{FF2B5EF4-FFF2-40B4-BE49-F238E27FC236}">
                    <a16:creationId xmlns:a16="http://schemas.microsoft.com/office/drawing/2014/main" id="{3706F78F-03CE-4D98-BADC-DD70D434883C}"/>
                  </a:ext>
                </a:extLst>
              </p:cNvPr>
              <p:cNvSpPr/>
              <p:nvPr/>
            </p:nvSpPr>
            <p:spPr>
              <a:xfrm>
                <a:off x="10764106" y="3568937"/>
                <a:ext cx="5275" cy="6716"/>
              </a:xfrm>
              <a:custGeom>
                <a:avLst/>
                <a:gdLst>
                  <a:gd name="connsiteX0" fmla="*/ 5276 w 5275"/>
                  <a:gd name="connsiteY0" fmla="*/ 1823 h 6716"/>
                  <a:gd name="connsiteX1" fmla="*/ 2638 w 5275"/>
                  <a:gd name="connsiteY1" fmla="*/ 6345 h 6716"/>
                  <a:gd name="connsiteX2" fmla="*/ 0 w 5275"/>
                  <a:gd name="connsiteY2" fmla="*/ 4838 h 6716"/>
                  <a:gd name="connsiteX3" fmla="*/ 2638 w 5275"/>
                  <a:gd name="connsiteY3" fmla="*/ 316 h 6716"/>
                  <a:gd name="connsiteX4" fmla="*/ 5276 w 5275"/>
                  <a:gd name="connsiteY4" fmla="*/ 1823 h 6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716">
                    <a:moveTo>
                      <a:pt x="5276" y="1823"/>
                    </a:moveTo>
                    <a:cubicBezTo>
                      <a:pt x="5276" y="3456"/>
                      <a:pt x="4145" y="5466"/>
                      <a:pt x="2638" y="6345"/>
                    </a:cubicBezTo>
                    <a:cubicBezTo>
                      <a:pt x="1256" y="7224"/>
                      <a:pt x="0" y="6471"/>
                      <a:pt x="0" y="4838"/>
                    </a:cubicBezTo>
                    <a:cubicBezTo>
                      <a:pt x="0" y="3205"/>
                      <a:pt x="1131" y="1196"/>
                      <a:pt x="2638" y="316"/>
                    </a:cubicBezTo>
                    <a:cubicBezTo>
                      <a:pt x="4145" y="-437"/>
                      <a:pt x="5276" y="191"/>
                      <a:pt x="5276" y="1823"/>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 name="Freeform: Shape 468">
                <a:extLst>
                  <a:ext uri="{FF2B5EF4-FFF2-40B4-BE49-F238E27FC236}">
                    <a16:creationId xmlns:a16="http://schemas.microsoft.com/office/drawing/2014/main" id="{0F9A4440-56AB-449B-B9C4-17B88DB7246E}"/>
                  </a:ext>
                </a:extLst>
              </p:cNvPr>
              <p:cNvSpPr/>
              <p:nvPr/>
            </p:nvSpPr>
            <p:spPr>
              <a:xfrm>
                <a:off x="10764106" y="3564184"/>
                <a:ext cx="4019" cy="4486"/>
              </a:xfrm>
              <a:custGeom>
                <a:avLst/>
                <a:gdLst>
                  <a:gd name="connsiteX0" fmla="*/ 3391 w 4019"/>
                  <a:gd name="connsiteY0" fmla="*/ 2934 h 4486"/>
                  <a:gd name="connsiteX1" fmla="*/ 629 w 4019"/>
                  <a:gd name="connsiteY1" fmla="*/ 4441 h 4486"/>
                  <a:gd name="connsiteX2" fmla="*/ 0 w 4019"/>
                  <a:gd name="connsiteY2" fmla="*/ 3939 h 4486"/>
                  <a:gd name="connsiteX3" fmla="*/ 0 w 4019"/>
                  <a:gd name="connsiteY3" fmla="*/ 2683 h 4486"/>
                  <a:gd name="connsiteX4" fmla="*/ 629 w 4019"/>
                  <a:gd name="connsiteY4" fmla="*/ 1552 h 4486"/>
                  <a:gd name="connsiteX5" fmla="*/ 3391 w 4019"/>
                  <a:gd name="connsiteY5" fmla="*/ 45 h 4486"/>
                  <a:gd name="connsiteX6" fmla="*/ 4019 w 4019"/>
                  <a:gd name="connsiteY6" fmla="*/ 548 h 4486"/>
                  <a:gd name="connsiteX7" fmla="*/ 4019 w 4019"/>
                  <a:gd name="connsiteY7" fmla="*/ 1804 h 4486"/>
                  <a:gd name="connsiteX8" fmla="*/ 3391 w 4019"/>
                  <a:gd name="connsiteY8" fmla="*/ 2934 h 4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4486">
                    <a:moveTo>
                      <a:pt x="3391" y="2934"/>
                    </a:moveTo>
                    <a:lnTo>
                      <a:pt x="629" y="4441"/>
                    </a:lnTo>
                    <a:cubicBezTo>
                      <a:pt x="251" y="4567"/>
                      <a:pt x="0" y="4441"/>
                      <a:pt x="0" y="3939"/>
                    </a:cubicBezTo>
                    <a:lnTo>
                      <a:pt x="0" y="2683"/>
                    </a:lnTo>
                    <a:cubicBezTo>
                      <a:pt x="0" y="2306"/>
                      <a:pt x="251" y="1804"/>
                      <a:pt x="629" y="1552"/>
                    </a:cubicBezTo>
                    <a:lnTo>
                      <a:pt x="3391" y="45"/>
                    </a:lnTo>
                    <a:cubicBezTo>
                      <a:pt x="3768" y="-80"/>
                      <a:pt x="4019" y="45"/>
                      <a:pt x="4019" y="548"/>
                    </a:cubicBezTo>
                    <a:lnTo>
                      <a:pt x="4019" y="1804"/>
                    </a:lnTo>
                    <a:cubicBezTo>
                      <a:pt x="4019" y="2306"/>
                      <a:pt x="3768" y="2808"/>
                      <a:pt x="3391" y="2934"/>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0" name="Graphic 4">
              <a:extLst>
                <a:ext uri="{FF2B5EF4-FFF2-40B4-BE49-F238E27FC236}">
                  <a16:creationId xmlns:a16="http://schemas.microsoft.com/office/drawing/2014/main" id="{84FB7ED1-A2DF-40A1-A747-5F7CF3F14040}"/>
                </a:ext>
              </a:extLst>
            </p:cNvPr>
            <p:cNvGrpSpPr/>
            <p:nvPr/>
          </p:nvGrpSpPr>
          <p:grpSpPr>
            <a:xfrm>
              <a:off x="10826809" y="3522030"/>
              <a:ext cx="11774" cy="29661"/>
              <a:chOff x="10826809" y="3522030"/>
              <a:chExt cx="11774" cy="29661"/>
            </a:xfrm>
            <a:solidFill>
              <a:schemeClr val="accent1"/>
            </a:solidFill>
          </p:grpSpPr>
          <p:sp>
            <p:nvSpPr>
              <p:cNvPr id="471" name="Freeform: Shape 470">
                <a:extLst>
                  <a:ext uri="{FF2B5EF4-FFF2-40B4-BE49-F238E27FC236}">
                    <a16:creationId xmlns:a16="http://schemas.microsoft.com/office/drawing/2014/main" id="{FB970E49-8AE1-4E0C-84B3-368DEA618A4F}"/>
                  </a:ext>
                </a:extLst>
              </p:cNvPr>
              <p:cNvSpPr/>
              <p:nvPr/>
            </p:nvSpPr>
            <p:spPr>
              <a:xfrm>
                <a:off x="10827702" y="3522739"/>
                <a:ext cx="10881" cy="28952"/>
              </a:xfrm>
              <a:custGeom>
                <a:avLst/>
                <a:gdLst>
                  <a:gd name="connsiteX0" fmla="*/ 6988 w 10881"/>
                  <a:gd name="connsiteY0" fmla="*/ 1677 h 28952"/>
                  <a:gd name="connsiteX1" fmla="*/ 9500 w 10881"/>
                  <a:gd name="connsiteY1" fmla="*/ 170 h 28952"/>
                  <a:gd name="connsiteX2" fmla="*/ 10882 w 10881"/>
                  <a:gd name="connsiteY2" fmla="*/ 923 h 28952"/>
                  <a:gd name="connsiteX3" fmla="*/ 10882 w 10881"/>
                  <a:gd name="connsiteY3" fmla="*/ 20767 h 28952"/>
                  <a:gd name="connsiteX4" fmla="*/ 8370 w 10881"/>
                  <a:gd name="connsiteY4" fmla="*/ 25037 h 28952"/>
                  <a:gd name="connsiteX5" fmla="*/ 1964 w 10881"/>
                  <a:gd name="connsiteY5" fmla="*/ 28680 h 28952"/>
                  <a:gd name="connsiteX6" fmla="*/ 80 w 10881"/>
                  <a:gd name="connsiteY6" fmla="*/ 26921 h 28952"/>
                  <a:gd name="connsiteX7" fmla="*/ 4978 w 10881"/>
                  <a:gd name="connsiteY7" fmla="*/ 4314 h 28952"/>
                  <a:gd name="connsiteX8" fmla="*/ 6988 w 10881"/>
                  <a:gd name="connsiteY8" fmla="*/ 1677 h 28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1" h="28952">
                    <a:moveTo>
                      <a:pt x="6988" y="1677"/>
                    </a:moveTo>
                    <a:lnTo>
                      <a:pt x="9500" y="170"/>
                    </a:lnTo>
                    <a:cubicBezTo>
                      <a:pt x="10253" y="-207"/>
                      <a:pt x="10882" y="44"/>
                      <a:pt x="10882" y="923"/>
                    </a:cubicBezTo>
                    <a:lnTo>
                      <a:pt x="10882" y="20767"/>
                    </a:lnTo>
                    <a:cubicBezTo>
                      <a:pt x="10882" y="22274"/>
                      <a:pt x="9751" y="24284"/>
                      <a:pt x="8370" y="25037"/>
                    </a:cubicBezTo>
                    <a:lnTo>
                      <a:pt x="1964" y="28680"/>
                    </a:lnTo>
                    <a:cubicBezTo>
                      <a:pt x="709" y="29433"/>
                      <a:pt x="-296" y="28554"/>
                      <a:pt x="80" y="26921"/>
                    </a:cubicBezTo>
                    <a:lnTo>
                      <a:pt x="4978" y="4314"/>
                    </a:lnTo>
                    <a:cubicBezTo>
                      <a:pt x="5356" y="3309"/>
                      <a:pt x="6109" y="2179"/>
                      <a:pt x="6988" y="1677"/>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 name="Freeform: Shape 471">
                <a:extLst>
                  <a:ext uri="{FF2B5EF4-FFF2-40B4-BE49-F238E27FC236}">
                    <a16:creationId xmlns:a16="http://schemas.microsoft.com/office/drawing/2014/main" id="{6A99026A-A376-43F8-9565-99573A3EB8FC}"/>
                  </a:ext>
                </a:extLst>
              </p:cNvPr>
              <p:cNvSpPr/>
              <p:nvPr/>
            </p:nvSpPr>
            <p:spPr>
              <a:xfrm>
                <a:off x="10826809" y="3522030"/>
                <a:ext cx="11648" cy="29640"/>
              </a:xfrm>
              <a:custGeom>
                <a:avLst/>
                <a:gdLst>
                  <a:gd name="connsiteX0" fmla="*/ 1099 w 11648"/>
                  <a:gd name="connsiteY0" fmla="*/ 27631 h 29640"/>
                  <a:gd name="connsiteX1" fmla="*/ 5997 w 11648"/>
                  <a:gd name="connsiteY1" fmla="*/ 5024 h 29640"/>
                  <a:gd name="connsiteX2" fmla="*/ 7881 w 11648"/>
                  <a:gd name="connsiteY2" fmla="*/ 2261 h 29640"/>
                  <a:gd name="connsiteX3" fmla="*/ 10393 w 11648"/>
                  <a:gd name="connsiteY3" fmla="*/ 754 h 29640"/>
                  <a:gd name="connsiteX4" fmla="*/ 11649 w 11648"/>
                  <a:gd name="connsiteY4" fmla="*/ 1005 h 29640"/>
                  <a:gd name="connsiteX5" fmla="*/ 11649 w 11648"/>
                  <a:gd name="connsiteY5" fmla="*/ 1005 h 29640"/>
                  <a:gd name="connsiteX6" fmla="*/ 10142 w 11648"/>
                  <a:gd name="connsiteY6" fmla="*/ 0 h 29640"/>
                  <a:gd name="connsiteX7" fmla="*/ 9388 w 11648"/>
                  <a:gd name="connsiteY7" fmla="*/ 126 h 29640"/>
                  <a:gd name="connsiteX8" fmla="*/ 6876 w 11648"/>
                  <a:gd name="connsiteY8" fmla="*/ 1633 h 29640"/>
                  <a:gd name="connsiteX9" fmla="*/ 4992 w 11648"/>
                  <a:gd name="connsiteY9" fmla="*/ 4396 h 29640"/>
                  <a:gd name="connsiteX10" fmla="*/ 94 w 11648"/>
                  <a:gd name="connsiteY10" fmla="*/ 27003 h 29640"/>
                  <a:gd name="connsiteX11" fmla="*/ 94 w 11648"/>
                  <a:gd name="connsiteY11" fmla="*/ 28133 h 29640"/>
                  <a:gd name="connsiteX12" fmla="*/ 2104 w 11648"/>
                  <a:gd name="connsiteY12" fmla="*/ 29640 h 29640"/>
                  <a:gd name="connsiteX13" fmla="*/ 1099 w 11648"/>
                  <a:gd name="connsiteY13" fmla="*/ 27631 h 29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48" h="29640">
                    <a:moveTo>
                      <a:pt x="1099" y="27631"/>
                    </a:moveTo>
                    <a:lnTo>
                      <a:pt x="5997" y="5024"/>
                    </a:lnTo>
                    <a:cubicBezTo>
                      <a:pt x="6249" y="3893"/>
                      <a:pt x="7002" y="2763"/>
                      <a:pt x="7881" y="2261"/>
                    </a:cubicBezTo>
                    <a:lnTo>
                      <a:pt x="10393" y="754"/>
                    </a:lnTo>
                    <a:cubicBezTo>
                      <a:pt x="10895" y="377"/>
                      <a:pt x="11398" y="502"/>
                      <a:pt x="11649" y="1005"/>
                    </a:cubicBezTo>
                    <a:lnTo>
                      <a:pt x="11649" y="1005"/>
                    </a:lnTo>
                    <a:cubicBezTo>
                      <a:pt x="11398" y="502"/>
                      <a:pt x="10770" y="126"/>
                      <a:pt x="10142" y="0"/>
                    </a:cubicBezTo>
                    <a:cubicBezTo>
                      <a:pt x="9765" y="0"/>
                      <a:pt x="9513" y="126"/>
                      <a:pt x="9388" y="126"/>
                    </a:cubicBezTo>
                    <a:lnTo>
                      <a:pt x="6876" y="1633"/>
                    </a:lnTo>
                    <a:cubicBezTo>
                      <a:pt x="5997" y="2135"/>
                      <a:pt x="5244" y="3265"/>
                      <a:pt x="4992" y="4396"/>
                    </a:cubicBezTo>
                    <a:lnTo>
                      <a:pt x="94" y="27003"/>
                    </a:lnTo>
                    <a:cubicBezTo>
                      <a:pt x="-31" y="27505"/>
                      <a:pt x="-31" y="27882"/>
                      <a:pt x="94" y="28133"/>
                    </a:cubicBezTo>
                    <a:cubicBezTo>
                      <a:pt x="345" y="29264"/>
                      <a:pt x="1350" y="29640"/>
                      <a:pt x="2104" y="29640"/>
                    </a:cubicBezTo>
                    <a:cubicBezTo>
                      <a:pt x="1350" y="29640"/>
                      <a:pt x="848" y="28887"/>
                      <a:pt x="1099" y="27631"/>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 name="Freeform: Shape 472">
                <a:extLst>
                  <a:ext uri="{FF2B5EF4-FFF2-40B4-BE49-F238E27FC236}">
                    <a16:creationId xmlns:a16="http://schemas.microsoft.com/office/drawing/2014/main" id="{E105162C-1E0E-4E8C-89D7-EC97D4BBEDED}"/>
                  </a:ext>
                </a:extLst>
              </p:cNvPr>
              <p:cNvSpPr/>
              <p:nvPr/>
            </p:nvSpPr>
            <p:spPr>
              <a:xfrm>
                <a:off x="10829918" y="3538193"/>
                <a:ext cx="7786" cy="10124"/>
              </a:xfrm>
              <a:custGeom>
                <a:avLst/>
                <a:gdLst>
                  <a:gd name="connsiteX0" fmla="*/ 0 w 7786"/>
                  <a:gd name="connsiteY0" fmla="*/ 7323 h 10124"/>
                  <a:gd name="connsiteX1" fmla="*/ 3893 w 7786"/>
                  <a:gd name="connsiteY1" fmla="*/ 9584 h 10124"/>
                  <a:gd name="connsiteX2" fmla="*/ 7787 w 7786"/>
                  <a:gd name="connsiteY2" fmla="*/ 2801 h 10124"/>
                  <a:gd name="connsiteX3" fmla="*/ 3893 w 7786"/>
                  <a:gd name="connsiteY3" fmla="*/ 541 h 10124"/>
                  <a:gd name="connsiteX4" fmla="*/ 0 w 7786"/>
                  <a:gd name="connsiteY4" fmla="*/ 7323 h 10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6" h="10124">
                    <a:moveTo>
                      <a:pt x="0" y="7323"/>
                    </a:moveTo>
                    <a:cubicBezTo>
                      <a:pt x="0" y="9835"/>
                      <a:pt x="1758" y="10839"/>
                      <a:pt x="3893" y="9584"/>
                    </a:cubicBezTo>
                    <a:cubicBezTo>
                      <a:pt x="6028" y="8328"/>
                      <a:pt x="7787" y="5313"/>
                      <a:pt x="7787" y="2801"/>
                    </a:cubicBezTo>
                    <a:cubicBezTo>
                      <a:pt x="7787" y="290"/>
                      <a:pt x="6028" y="-715"/>
                      <a:pt x="3893" y="541"/>
                    </a:cubicBezTo>
                    <a:cubicBezTo>
                      <a:pt x="1758" y="1797"/>
                      <a:pt x="0" y="4811"/>
                      <a:pt x="0" y="7323"/>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 name="Freeform: Shape 473">
                <a:extLst>
                  <a:ext uri="{FF2B5EF4-FFF2-40B4-BE49-F238E27FC236}">
                    <a16:creationId xmlns:a16="http://schemas.microsoft.com/office/drawing/2014/main" id="{367D6C64-872C-43C5-AFCC-D90AB724AE52}"/>
                  </a:ext>
                </a:extLst>
              </p:cNvPr>
              <p:cNvSpPr/>
              <p:nvPr/>
            </p:nvSpPr>
            <p:spPr>
              <a:xfrm>
                <a:off x="10832555" y="3529500"/>
                <a:ext cx="5275" cy="6661"/>
              </a:xfrm>
              <a:custGeom>
                <a:avLst/>
                <a:gdLst>
                  <a:gd name="connsiteX0" fmla="*/ 0 w 5275"/>
                  <a:gd name="connsiteY0" fmla="*/ 4838 h 6661"/>
                  <a:gd name="connsiteX1" fmla="*/ 2638 w 5275"/>
                  <a:gd name="connsiteY1" fmla="*/ 6345 h 6661"/>
                  <a:gd name="connsiteX2" fmla="*/ 5276 w 5275"/>
                  <a:gd name="connsiteY2" fmla="*/ 1823 h 6661"/>
                  <a:gd name="connsiteX3" fmla="*/ 2638 w 5275"/>
                  <a:gd name="connsiteY3" fmla="*/ 316 h 6661"/>
                  <a:gd name="connsiteX4" fmla="*/ 0 w 5275"/>
                  <a:gd name="connsiteY4" fmla="*/ 4838 h 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661">
                    <a:moveTo>
                      <a:pt x="0" y="4838"/>
                    </a:moveTo>
                    <a:cubicBezTo>
                      <a:pt x="0" y="6471"/>
                      <a:pt x="1131" y="7099"/>
                      <a:pt x="2638" y="6345"/>
                    </a:cubicBezTo>
                    <a:cubicBezTo>
                      <a:pt x="4019" y="5466"/>
                      <a:pt x="5276" y="3582"/>
                      <a:pt x="5276" y="1823"/>
                    </a:cubicBezTo>
                    <a:cubicBezTo>
                      <a:pt x="5276" y="191"/>
                      <a:pt x="4145" y="-437"/>
                      <a:pt x="2638" y="316"/>
                    </a:cubicBezTo>
                    <a:cubicBezTo>
                      <a:pt x="1131" y="1196"/>
                      <a:pt x="0" y="3205"/>
                      <a:pt x="0" y="4838"/>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 name="Freeform: Shape 474">
                <a:extLst>
                  <a:ext uri="{FF2B5EF4-FFF2-40B4-BE49-F238E27FC236}">
                    <a16:creationId xmlns:a16="http://schemas.microsoft.com/office/drawing/2014/main" id="{014D9BE7-4275-4EEE-A0DF-A0EA855DBB9A}"/>
                  </a:ext>
                </a:extLst>
              </p:cNvPr>
              <p:cNvSpPr/>
              <p:nvPr/>
            </p:nvSpPr>
            <p:spPr>
              <a:xfrm>
                <a:off x="10833811" y="3524132"/>
                <a:ext cx="4019" cy="4526"/>
              </a:xfrm>
              <a:custGeom>
                <a:avLst/>
                <a:gdLst>
                  <a:gd name="connsiteX0" fmla="*/ 628 w 4019"/>
                  <a:gd name="connsiteY0" fmla="*/ 4428 h 4526"/>
                  <a:gd name="connsiteX1" fmla="*/ 3391 w 4019"/>
                  <a:gd name="connsiteY1" fmla="*/ 2921 h 4526"/>
                  <a:gd name="connsiteX2" fmla="*/ 4019 w 4019"/>
                  <a:gd name="connsiteY2" fmla="*/ 1791 h 4526"/>
                  <a:gd name="connsiteX3" fmla="*/ 4019 w 4019"/>
                  <a:gd name="connsiteY3" fmla="*/ 535 h 4526"/>
                  <a:gd name="connsiteX4" fmla="*/ 3391 w 4019"/>
                  <a:gd name="connsiteY4" fmla="*/ 33 h 4526"/>
                  <a:gd name="connsiteX5" fmla="*/ 628 w 4019"/>
                  <a:gd name="connsiteY5" fmla="*/ 1540 h 4526"/>
                  <a:gd name="connsiteX6" fmla="*/ 0 w 4019"/>
                  <a:gd name="connsiteY6" fmla="*/ 2670 h 4526"/>
                  <a:gd name="connsiteX7" fmla="*/ 0 w 4019"/>
                  <a:gd name="connsiteY7" fmla="*/ 3926 h 4526"/>
                  <a:gd name="connsiteX8" fmla="*/ 628 w 4019"/>
                  <a:gd name="connsiteY8" fmla="*/ 4428 h 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4526">
                    <a:moveTo>
                      <a:pt x="628" y="4428"/>
                    </a:moveTo>
                    <a:lnTo>
                      <a:pt x="3391" y="2921"/>
                    </a:lnTo>
                    <a:cubicBezTo>
                      <a:pt x="3768" y="2796"/>
                      <a:pt x="4019" y="2293"/>
                      <a:pt x="4019" y="1791"/>
                    </a:cubicBezTo>
                    <a:lnTo>
                      <a:pt x="4019" y="535"/>
                    </a:lnTo>
                    <a:cubicBezTo>
                      <a:pt x="4019" y="158"/>
                      <a:pt x="3768" y="-93"/>
                      <a:pt x="3391" y="33"/>
                    </a:cubicBezTo>
                    <a:lnTo>
                      <a:pt x="628" y="1540"/>
                    </a:lnTo>
                    <a:cubicBezTo>
                      <a:pt x="251" y="1665"/>
                      <a:pt x="0" y="2168"/>
                      <a:pt x="0" y="2670"/>
                    </a:cubicBezTo>
                    <a:lnTo>
                      <a:pt x="0" y="3926"/>
                    </a:lnTo>
                    <a:cubicBezTo>
                      <a:pt x="0" y="4428"/>
                      <a:pt x="251" y="4680"/>
                      <a:pt x="628" y="4428"/>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6" name="Graphic 4">
              <a:extLst>
                <a:ext uri="{FF2B5EF4-FFF2-40B4-BE49-F238E27FC236}">
                  <a16:creationId xmlns:a16="http://schemas.microsoft.com/office/drawing/2014/main" id="{84FB7ED1-A2DF-40A1-A747-5F7CF3F14040}"/>
                </a:ext>
              </a:extLst>
            </p:cNvPr>
            <p:cNvGrpSpPr/>
            <p:nvPr/>
          </p:nvGrpSpPr>
          <p:grpSpPr>
            <a:xfrm>
              <a:off x="10760841" y="3552675"/>
              <a:ext cx="79250" cy="59908"/>
              <a:chOff x="10760841" y="3552675"/>
              <a:chExt cx="79250" cy="59908"/>
            </a:xfrm>
            <a:solidFill>
              <a:schemeClr val="accent1"/>
            </a:solidFill>
          </p:grpSpPr>
          <p:sp>
            <p:nvSpPr>
              <p:cNvPr id="477" name="Freeform: Shape 476">
                <a:extLst>
                  <a:ext uri="{FF2B5EF4-FFF2-40B4-BE49-F238E27FC236}">
                    <a16:creationId xmlns:a16="http://schemas.microsoft.com/office/drawing/2014/main" id="{ECFFEA21-5E51-4905-A18B-3B1C91EC7857}"/>
                  </a:ext>
                </a:extLst>
              </p:cNvPr>
              <p:cNvSpPr/>
              <p:nvPr/>
            </p:nvSpPr>
            <p:spPr>
              <a:xfrm>
                <a:off x="10760841" y="3597889"/>
                <a:ext cx="1004" cy="14694"/>
              </a:xfrm>
              <a:custGeom>
                <a:avLst/>
                <a:gdLst>
                  <a:gd name="connsiteX0" fmla="*/ 0 w 1004"/>
                  <a:gd name="connsiteY0" fmla="*/ 0 h 14694"/>
                  <a:gd name="connsiteX1" fmla="*/ 0 w 1004"/>
                  <a:gd name="connsiteY1" fmla="*/ 14067 h 14694"/>
                  <a:gd name="connsiteX2" fmla="*/ 1004 w 1004"/>
                  <a:gd name="connsiteY2" fmla="*/ 14695 h 14694"/>
                  <a:gd name="connsiteX3" fmla="*/ 1004 w 1004"/>
                  <a:gd name="connsiteY3" fmla="*/ 3517 h 14694"/>
                </a:gdLst>
                <a:ahLst/>
                <a:cxnLst>
                  <a:cxn ang="0">
                    <a:pos x="connsiteX0" y="connsiteY0"/>
                  </a:cxn>
                  <a:cxn ang="0">
                    <a:pos x="connsiteX1" y="connsiteY1"/>
                  </a:cxn>
                  <a:cxn ang="0">
                    <a:pos x="connsiteX2" y="connsiteY2"/>
                  </a:cxn>
                  <a:cxn ang="0">
                    <a:pos x="connsiteX3" y="connsiteY3"/>
                  </a:cxn>
                </a:cxnLst>
                <a:rect l="l" t="t" r="r" b="b"/>
                <a:pathLst>
                  <a:path w="1004" h="14694">
                    <a:moveTo>
                      <a:pt x="0" y="0"/>
                    </a:moveTo>
                    <a:lnTo>
                      <a:pt x="0" y="14067"/>
                    </a:lnTo>
                    <a:lnTo>
                      <a:pt x="1004" y="14695"/>
                    </a:lnTo>
                    <a:lnTo>
                      <a:pt x="1004" y="3517"/>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 name="Freeform: Shape 477">
                <a:extLst>
                  <a:ext uri="{FF2B5EF4-FFF2-40B4-BE49-F238E27FC236}">
                    <a16:creationId xmlns:a16="http://schemas.microsoft.com/office/drawing/2014/main" id="{0BDA3104-65BA-4599-920E-C1493BAF0D5D}"/>
                  </a:ext>
                </a:extLst>
              </p:cNvPr>
              <p:cNvSpPr/>
              <p:nvPr/>
            </p:nvSpPr>
            <p:spPr>
              <a:xfrm>
                <a:off x="10761845" y="3556317"/>
                <a:ext cx="78246" cy="56266"/>
              </a:xfrm>
              <a:custGeom>
                <a:avLst/>
                <a:gdLst>
                  <a:gd name="connsiteX0" fmla="*/ 78246 w 78246"/>
                  <a:gd name="connsiteY0" fmla="*/ 11052 h 56266"/>
                  <a:gd name="connsiteX1" fmla="*/ 0 w 78246"/>
                  <a:gd name="connsiteY1" fmla="*/ 56266 h 56266"/>
                  <a:gd name="connsiteX2" fmla="*/ 0 w 78246"/>
                  <a:gd name="connsiteY2" fmla="*/ 45088 h 56266"/>
                  <a:gd name="connsiteX3" fmla="*/ 78246 w 78246"/>
                  <a:gd name="connsiteY3" fmla="*/ 0 h 56266"/>
                </a:gdLst>
                <a:ahLst/>
                <a:cxnLst>
                  <a:cxn ang="0">
                    <a:pos x="connsiteX0" y="connsiteY0"/>
                  </a:cxn>
                  <a:cxn ang="0">
                    <a:pos x="connsiteX1" y="connsiteY1"/>
                  </a:cxn>
                  <a:cxn ang="0">
                    <a:pos x="connsiteX2" y="connsiteY2"/>
                  </a:cxn>
                  <a:cxn ang="0">
                    <a:pos x="connsiteX3" y="connsiteY3"/>
                  </a:cxn>
                </a:cxnLst>
                <a:rect l="l" t="t" r="r" b="b"/>
                <a:pathLst>
                  <a:path w="78246" h="56266">
                    <a:moveTo>
                      <a:pt x="78246" y="11052"/>
                    </a:moveTo>
                    <a:lnTo>
                      <a:pt x="0" y="56266"/>
                    </a:lnTo>
                    <a:lnTo>
                      <a:pt x="0" y="45088"/>
                    </a:lnTo>
                    <a:lnTo>
                      <a:pt x="78246"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 name="Freeform: Shape 478">
                <a:extLst>
                  <a:ext uri="{FF2B5EF4-FFF2-40B4-BE49-F238E27FC236}">
                    <a16:creationId xmlns:a16="http://schemas.microsoft.com/office/drawing/2014/main" id="{D5C09664-5AED-4F09-AEB8-49B0AD6E81AF}"/>
                  </a:ext>
                </a:extLst>
              </p:cNvPr>
              <p:cNvSpPr/>
              <p:nvPr/>
            </p:nvSpPr>
            <p:spPr>
              <a:xfrm>
                <a:off x="10760841" y="3552675"/>
                <a:ext cx="79250" cy="48730"/>
              </a:xfrm>
              <a:custGeom>
                <a:avLst/>
                <a:gdLst>
                  <a:gd name="connsiteX0" fmla="*/ 79250 w 79250"/>
                  <a:gd name="connsiteY0" fmla="*/ 3642 h 48730"/>
                  <a:gd name="connsiteX1" fmla="*/ 1004 w 79250"/>
                  <a:gd name="connsiteY1" fmla="*/ 48731 h 48730"/>
                  <a:gd name="connsiteX2" fmla="*/ 0 w 79250"/>
                  <a:gd name="connsiteY2" fmla="*/ 45214 h 48730"/>
                  <a:gd name="connsiteX3" fmla="*/ 78245 w 79250"/>
                  <a:gd name="connsiteY3" fmla="*/ 0 h 48730"/>
                </a:gdLst>
                <a:ahLst/>
                <a:cxnLst>
                  <a:cxn ang="0">
                    <a:pos x="connsiteX0" y="connsiteY0"/>
                  </a:cxn>
                  <a:cxn ang="0">
                    <a:pos x="connsiteX1" y="connsiteY1"/>
                  </a:cxn>
                  <a:cxn ang="0">
                    <a:pos x="connsiteX2" y="connsiteY2"/>
                  </a:cxn>
                  <a:cxn ang="0">
                    <a:pos x="connsiteX3" y="connsiteY3"/>
                  </a:cxn>
                </a:cxnLst>
                <a:rect l="l" t="t" r="r" b="b"/>
                <a:pathLst>
                  <a:path w="79250" h="48730">
                    <a:moveTo>
                      <a:pt x="79250" y="3642"/>
                    </a:moveTo>
                    <a:lnTo>
                      <a:pt x="1004" y="48731"/>
                    </a:lnTo>
                    <a:lnTo>
                      <a:pt x="0" y="45214"/>
                    </a:lnTo>
                    <a:lnTo>
                      <a:pt x="78245" y="0"/>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0" name="Freeform: Shape 479">
              <a:extLst>
                <a:ext uri="{FF2B5EF4-FFF2-40B4-BE49-F238E27FC236}">
                  <a16:creationId xmlns:a16="http://schemas.microsoft.com/office/drawing/2014/main" id="{AC22DD9E-F20D-4201-B4C1-707C60F51EB4}"/>
                </a:ext>
              </a:extLst>
            </p:cNvPr>
            <p:cNvSpPr/>
            <p:nvPr/>
          </p:nvSpPr>
          <p:spPr>
            <a:xfrm>
              <a:off x="10780559" y="3571019"/>
              <a:ext cx="40818" cy="26988"/>
            </a:xfrm>
            <a:custGeom>
              <a:avLst/>
              <a:gdLst>
                <a:gd name="connsiteX0" fmla="*/ 38934 w 40818"/>
                <a:gd name="connsiteY0" fmla="*/ 5268 h 26988"/>
                <a:gd name="connsiteX1" fmla="*/ 1883 w 40818"/>
                <a:gd name="connsiteY1" fmla="*/ 26745 h 26988"/>
                <a:gd name="connsiteX2" fmla="*/ 0 w 40818"/>
                <a:gd name="connsiteY2" fmla="*/ 25363 h 26988"/>
                <a:gd name="connsiteX3" fmla="*/ 0 w 40818"/>
                <a:gd name="connsiteY3" fmla="*/ 25363 h 26988"/>
                <a:gd name="connsiteX4" fmla="*/ 1883 w 40818"/>
                <a:gd name="connsiteY4" fmla="*/ 21721 h 26988"/>
                <a:gd name="connsiteX5" fmla="*/ 38934 w 40818"/>
                <a:gd name="connsiteY5" fmla="*/ 244 h 26988"/>
                <a:gd name="connsiteX6" fmla="*/ 40818 w 40818"/>
                <a:gd name="connsiteY6" fmla="*/ 1626 h 26988"/>
                <a:gd name="connsiteX7" fmla="*/ 40818 w 40818"/>
                <a:gd name="connsiteY7" fmla="*/ 1626 h 26988"/>
                <a:gd name="connsiteX8" fmla="*/ 38934 w 40818"/>
                <a:gd name="connsiteY8" fmla="*/ 5268 h 2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18" h="26988">
                  <a:moveTo>
                    <a:pt x="38934" y="5268"/>
                  </a:moveTo>
                  <a:lnTo>
                    <a:pt x="1883" y="26745"/>
                  </a:lnTo>
                  <a:cubicBezTo>
                    <a:pt x="878" y="27373"/>
                    <a:pt x="0" y="26745"/>
                    <a:pt x="0" y="25363"/>
                  </a:cubicBezTo>
                  <a:lnTo>
                    <a:pt x="0" y="25363"/>
                  </a:lnTo>
                  <a:cubicBezTo>
                    <a:pt x="0" y="23981"/>
                    <a:pt x="878" y="22349"/>
                    <a:pt x="1883" y="21721"/>
                  </a:cubicBezTo>
                  <a:lnTo>
                    <a:pt x="38934" y="244"/>
                  </a:lnTo>
                  <a:cubicBezTo>
                    <a:pt x="39939" y="-384"/>
                    <a:pt x="40818" y="244"/>
                    <a:pt x="40818" y="1626"/>
                  </a:cubicBezTo>
                  <a:lnTo>
                    <a:pt x="40818" y="1626"/>
                  </a:lnTo>
                  <a:cubicBezTo>
                    <a:pt x="40818" y="3007"/>
                    <a:pt x="40064" y="4640"/>
                    <a:pt x="38934" y="5268"/>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1" name="Graphic 4">
              <a:extLst>
                <a:ext uri="{FF2B5EF4-FFF2-40B4-BE49-F238E27FC236}">
                  <a16:creationId xmlns:a16="http://schemas.microsoft.com/office/drawing/2014/main" id="{84FB7ED1-A2DF-40A1-A747-5F7CF3F14040}"/>
                </a:ext>
              </a:extLst>
            </p:cNvPr>
            <p:cNvGrpSpPr/>
            <p:nvPr/>
          </p:nvGrpSpPr>
          <p:grpSpPr>
            <a:xfrm>
              <a:off x="10764734" y="3598927"/>
              <a:ext cx="6781" cy="8873"/>
              <a:chOff x="10764734" y="3598927"/>
              <a:chExt cx="6781" cy="8873"/>
            </a:xfrm>
            <a:solidFill>
              <a:schemeClr val="accent1"/>
            </a:solidFill>
          </p:grpSpPr>
          <p:sp>
            <p:nvSpPr>
              <p:cNvPr id="482" name="Freeform: Shape 481">
                <a:extLst>
                  <a:ext uri="{FF2B5EF4-FFF2-40B4-BE49-F238E27FC236}">
                    <a16:creationId xmlns:a16="http://schemas.microsoft.com/office/drawing/2014/main" id="{1AC1E1F4-ABF0-4818-A21A-33D162D1AFF3}"/>
                  </a:ext>
                </a:extLst>
              </p:cNvPr>
              <p:cNvSpPr/>
              <p:nvPr/>
            </p:nvSpPr>
            <p:spPr>
              <a:xfrm>
                <a:off x="10764734" y="3598927"/>
                <a:ext cx="6781" cy="8873"/>
              </a:xfrm>
              <a:custGeom>
                <a:avLst/>
                <a:gdLst>
                  <a:gd name="connsiteX0" fmla="*/ 6782 w 6781"/>
                  <a:gd name="connsiteY0" fmla="*/ 2479 h 8873"/>
                  <a:gd name="connsiteX1" fmla="*/ 3391 w 6781"/>
                  <a:gd name="connsiteY1" fmla="*/ 8382 h 8873"/>
                  <a:gd name="connsiteX2" fmla="*/ 0 w 6781"/>
                  <a:gd name="connsiteY2" fmla="*/ 6372 h 8873"/>
                  <a:gd name="connsiteX3" fmla="*/ 3391 w 6781"/>
                  <a:gd name="connsiteY3" fmla="*/ 470 h 8873"/>
                  <a:gd name="connsiteX4" fmla="*/ 6782 w 6781"/>
                  <a:gd name="connsiteY4" fmla="*/ 2479 h 8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1" h="8873">
                    <a:moveTo>
                      <a:pt x="6782" y="2479"/>
                    </a:moveTo>
                    <a:cubicBezTo>
                      <a:pt x="6782" y="4614"/>
                      <a:pt x="5275" y="7252"/>
                      <a:pt x="3391" y="8382"/>
                    </a:cubicBezTo>
                    <a:cubicBezTo>
                      <a:pt x="1507" y="9512"/>
                      <a:pt x="0" y="8633"/>
                      <a:pt x="0" y="6372"/>
                    </a:cubicBezTo>
                    <a:cubicBezTo>
                      <a:pt x="0" y="4112"/>
                      <a:pt x="1507" y="1600"/>
                      <a:pt x="3391" y="470"/>
                    </a:cubicBezTo>
                    <a:cubicBezTo>
                      <a:pt x="5275" y="-661"/>
                      <a:pt x="6782" y="344"/>
                      <a:pt x="6782" y="2479"/>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 name="Freeform: Shape 482">
                <a:extLst>
                  <a:ext uri="{FF2B5EF4-FFF2-40B4-BE49-F238E27FC236}">
                    <a16:creationId xmlns:a16="http://schemas.microsoft.com/office/drawing/2014/main" id="{B1DD3C4C-96F9-4D3F-80DE-AB1AE019AC9C}"/>
                  </a:ext>
                </a:extLst>
              </p:cNvPr>
              <p:cNvSpPr/>
              <p:nvPr/>
            </p:nvSpPr>
            <p:spPr>
              <a:xfrm>
                <a:off x="10765488" y="3599904"/>
                <a:ext cx="5274" cy="6896"/>
              </a:xfrm>
              <a:custGeom>
                <a:avLst/>
                <a:gdLst>
                  <a:gd name="connsiteX0" fmla="*/ 5275 w 5274"/>
                  <a:gd name="connsiteY0" fmla="*/ 1878 h 6896"/>
                  <a:gd name="connsiteX1" fmla="*/ 2637 w 5274"/>
                  <a:gd name="connsiteY1" fmla="*/ 6525 h 6896"/>
                  <a:gd name="connsiteX2" fmla="*/ 0 w 5274"/>
                  <a:gd name="connsiteY2" fmla="*/ 5018 h 6896"/>
                  <a:gd name="connsiteX3" fmla="*/ 2637 w 5274"/>
                  <a:gd name="connsiteY3" fmla="*/ 371 h 6896"/>
                  <a:gd name="connsiteX4" fmla="*/ 5275 w 5274"/>
                  <a:gd name="connsiteY4" fmla="*/ 1878 h 6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896">
                    <a:moveTo>
                      <a:pt x="5275" y="1878"/>
                    </a:moveTo>
                    <a:cubicBezTo>
                      <a:pt x="5275" y="3637"/>
                      <a:pt x="4019" y="5646"/>
                      <a:pt x="2637" y="6525"/>
                    </a:cubicBezTo>
                    <a:cubicBezTo>
                      <a:pt x="1130" y="7405"/>
                      <a:pt x="0" y="6651"/>
                      <a:pt x="0" y="5018"/>
                    </a:cubicBezTo>
                    <a:cubicBezTo>
                      <a:pt x="0" y="3260"/>
                      <a:pt x="1256" y="1251"/>
                      <a:pt x="2637" y="371"/>
                    </a:cubicBezTo>
                    <a:cubicBezTo>
                      <a:pt x="4019" y="-508"/>
                      <a:pt x="5275" y="246"/>
                      <a:pt x="5275" y="1878"/>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84" name="Graphic 4">
              <a:extLst>
                <a:ext uri="{FF2B5EF4-FFF2-40B4-BE49-F238E27FC236}">
                  <a16:creationId xmlns:a16="http://schemas.microsoft.com/office/drawing/2014/main" id="{84FB7ED1-A2DF-40A1-A747-5F7CF3F14040}"/>
                </a:ext>
              </a:extLst>
            </p:cNvPr>
            <p:cNvGrpSpPr/>
            <p:nvPr/>
          </p:nvGrpSpPr>
          <p:grpSpPr>
            <a:xfrm>
              <a:off x="10830420" y="3561052"/>
              <a:ext cx="6781" cy="8741"/>
              <a:chOff x="10830420" y="3561052"/>
              <a:chExt cx="6781" cy="8741"/>
            </a:xfrm>
            <a:solidFill>
              <a:schemeClr val="accent1"/>
            </a:solidFill>
          </p:grpSpPr>
          <p:sp>
            <p:nvSpPr>
              <p:cNvPr id="485" name="Freeform: Shape 484">
                <a:extLst>
                  <a:ext uri="{FF2B5EF4-FFF2-40B4-BE49-F238E27FC236}">
                    <a16:creationId xmlns:a16="http://schemas.microsoft.com/office/drawing/2014/main" id="{BE5EB29F-9497-4266-88DA-652183CABC53}"/>
                  </a:ext>
                </a:extLst>
              </p:cNvPr>
              <p:cNvSpPr/>
              <p:nvPr/>
            </p:nvSpPr>
            <p:spPr>
              <a:xfrm>
                <a:off x="10830420" y="3561052"/>
                <a:ext cx="6781" cy="8741"/>
              </a:xfrm>
              <a:custGeom>
                <a:avLst/>
                <a:gdLst>
                  <a:gd name="connsiteX0" fmla="*/ 0 w 6781"/>
                  <a:gd name="connsiteY0" fmla="*/ 6318 h 8741"/>
                  <a:gd name="connsiteX1" fmla="*/ 3391 w 6781"/>
                  <a:gd name="connsiteY1" fmla="*/ 8327 h 8741"/>
                  <a:gd name="connsiteX2" fmla="*/ 6782 w 6781"/>
                  <a:gd name="connsiteY2" fmla="*/ 2424 h 8741"/>
                  <a:gd name="connsiteX3" fmla="*/ 3391 w 6781"/>
                  <a:gd name="connsiteY3" fmla="*/ 415 h 8741"/>
                  <a:gd name="connsiteX4" fmla="*/ 0 w 6781"/>
                  <a:gd name="connsiteY4" fmla="*/ 6318 h 8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1" h="8741">
                    <a:moveTo>
                      <a:pt x="0" y="6318"/>
                    </a:moveTo>
                    <a:cubicBezTo>
                      <a:pt x="0" y="8453"/>
                      <a:pt x="1507" y="9332"/>
                      <a:pt x="3391" y="8327"/>
                    </a:cubicBezTo>
                    <a:cubicBezTo>
                      <a:pt x="5275" y="7197"/>
                      <a:pt x="6782" y="4559"/>
                      <a:pt x="6782" y="2424"/>
                    </a:cubicBezTo>
                    <a:cubicBezTo>
                      <a:pt x="6782" y="289"/>
                      <a:pt x="5275" y="-590"/>
                      <a:pt x="3391" y="415"/>
                    </a:cubicBezTo>
                    <a:cubicBezTo>
                      <a:pt x="1507" y="1545"/>
                      <a:pt x="0" y="4183"/>
                      <a:pt x="0" y="631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 name="Freeform: Shape 485">
                <a:extLst>
                  <a:ext uri="{FF2B5EF4-FFF2-40B4-BE49-F238E27FC236}">
                    <a16:creationId xmlns:a16="http://schemas.microsoft.com/office/drawing/2014/main" id="{1729ECD2-AF45-4D26-92A6-07AF17287E1D}"/>
                  </a:ext>
                </a:extLst>
              </p:cNvPr>
              <p:cNvSpPr/>
              <p:nvPr/>
            </p:nvSpPr>
            <p:spPr>
              <a:xfrm>
                <a:off x="10831174" y="3561951"/>
                <a:ext cx="5274" cy="6943"/>
              </a:xfrm>
              <a:custGeom>
                <a:avLst/>
                <a:gdLst>
                  <a:gd name="connsiteX0" fmla="*/ 0 w 5274"/>
                  <a:gd name="connsiteY0" fmla="*/ 5042 h 6943"/>
                  <a:gd name="connsiteX1" fmla="*/ 2638 w 5274"/>
                  <a:gd name="connsiteY1" fmla="*/ 6549 h 6943"/>
                  <a:gd name="connsiteX2" fmla="*/ 5275 w 5274"/>
                  <a:gd name="connsiteY2" fmla="*/ 1902 h 6943"/>
                  <a:gd name="connsiteX3" fmla="*/ 2638 w 5274"/>
                  <a:gd name="connsiteY3" fmla="*/ 394 h 6943"/>
                  <a:gd name="connsiteX4" fmla="*/ 0 w 5274"/>
                  <a:gd name="connsiteY4" fmla="*/ 5042 h 6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943">
                    <a:moveTo>
                      <a:pt x="0" y="5042"/>
                    </a:moveTo>
                    <a:cubicBezTo>
                      <a:pt x="0" y="6800"/>
                      <a:pt x="1256" y="7428"/>
                      <a:pt x="2638" y="6549"/>
                    </a:cubicBezTo>
                    <a:cubicBezTo>
                      <a:pt x="4019" y="5669"/>
                      <a:pt x="5275" y="3660"/>
                      <a:pt x="5275" y="1902"/>
                    </a:cubicBezTo>
                    <a:cubicBezTo>
                      <a:pt x="5275" y="143"/>
                      <a:pt x="4019" y="-485"/>
                      <a:pt x="2638" y="394"/>
                    </a:cubicBezTo>
                    <a:cubicBezTo>
                      <a:pt x="1131" y="1274"/>
                      <a:pt x="0" y="3283"/>
                      <a:pt x="0" y="504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7" name="Freeform: Shape 486">
              <a:extLst>
                <a:ext uri="{FF2B5EF4-FFF2-40B4-BE49-F238E27FC236}">
                  <a16:creationId xmlns:a16="http://schemas.microsoft.com/office/drawing/2014/main" id="{13B8BB0C-D8D4-4C43-ADC3-0DFFE0450FA0}"/>
                </a:ext>
              </a:extLst>
            </p:cNvPr>
            <p:cNvSpPr/>
            <p:nvPr/>
          </p:nvSpPr>
          <p:spPr>
            <a:xfrm>
              <a:off x="10650192" y="3505200"/>
              <a:ext cx="191908" cy="58370"/>
            </a:xfrm>
            <a:custGeom>
              <a:avLst/>
              <a:gdLst>
                <a:gd name="connsiteX0" fmla="*/ 191783 w 191908"/>
                <a:gd name="connsiteY0" fmla="*/ 6657 h 58370"/>
                <a:gd name="connsiteX1" fmla="*/ 189271 w 191908"/>
                <a:gd name="connsiteY1" fmla="*/ 9168 h 58370"/>
                <a:gd name="connsiteX2" fmla="*/ 188643 w 191908"/>
                <a:gd name="connsiteY2" fmla="*/ 9545 h 58370"/>
                <a:gd name="connsiteX3" fmla="*/ 111025 w 191908"/>
                <a:gd name="connsiteY3" fmla="*/ 54382 h 58370"/>
                <a:gd name="connsiteX4" fmla="*/ 97712 w 191908"/>
                <a:gd name="connsiteY4" fmla="*/ 54382 h 58370"/>
                <a:gd name="connsiteX5" fmla="*/ 4018 w 191908"/>
                <a:gd name="connsiteY5" fmla="*/ 0 h 58370"/>
                <a:gd name="connsiteX6" fmla="*/ 0 w 191908"/>
                <a:gd name="connsiteY6" fmla="*/ 2261 h 58370"/>
                <a:gd name="connsiteX7" fmla="*/ 5777 w 191908"/>
                <a:gd name="connsiteY7" fmla="*/ 5652 h 58370"/>
                <a:gd name="connsiteX8" fmla="*/ 8791 w 191908"/>
                <a:gd name="connsiteY8" fmla="*/ 5526 h 58370"/>
                <a:gd name="connsiteX9" fmla="*/ 97587 w 191908"/>
                <a:gd name="connsiteY9" fmla="*/ 56769 h 58370"/>
                <a:gd name="connsiteX10" fmla="*/ 110774 w 191908"/>
                <a:gd name="connsiteY10" fmla="*/ 56769 h 58370"/>
                <a:gd name="connsiteX11" fmla="*/ 189146 w 191908"/>
                <a:gd name="connsiteY11" fmla="*/ 11555 h 58370"/>
                <a:gd name="connsiteX12" fmla="*/ 191908 w 191908"/>
                <a:gd name="connsiteY12" fmla="*/ 7787 h 58370"/>
                <a:gd name="connsiteX13" fmla="*/ 191783 w 191908"/>
                <a:gd name="connsiteY13" fmla="*/ 6657 h 58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1908" h="58370">
                  <a:moveTo>
                    <a:pt x="191783" y="6657"/>
                  </a:moveTo>
                  <a:cubicBezTo>
                    <a:pt x="191281" y="7410"/>
                    <a:pt x="190401" y="8289"/>
                    <a:pt x="189271" y="9168"/>
                  </a:cubicBezTo>
                  <a:cubicBezTo>
                    <a:pt x="189146" y="9294"/>
                    <a:pt x="188894" y="9420"/>
                    <a:pt x="188643" y="9545"/>
                  </a:cubicBezTo>
                  <a:lnTo>
                    <a:pt x="111025" y="54382"/>
                  </a:lnTo>
                  <a:cubicBezTo>
                    <a:pt x="107383" y="56518"/>
                    <a:pt x="101354" y="56518"/>
                    <a:pt x="97712" y="54382"/>
                  </a:cubicBezTo>
                  <a:lnTo>
                    <a:pt x="4018" y="0"/>
                  </a:lnTo>
                  <a:lnTo>
                    <a:pt x="0" y="2261"/>
                  </a:lnTo>
                  <a:lnTo>
                    <a:pt x="5777" y="5652"/>
                  </a:lnTo>
                  <a:lnTo>
                    <a:pt x="8791" y="5526"/>
                  </a:lnTo>
                  <a:lnTo>
                    <a:pt x="97587" y="56769"/>
                  </a:lnTo>
                  <a:cubicBezTo>
                    <a:pt x="101229" y="58904"/>
                    <a:pt x="107132" y="58904"/>
                    <a:pt x="110774" y="56769"/>
                  </a:cubicBezTo>
                  <a:lnTo>
                    <a:pt x="189146" y="11555"/>
                  </a:lnTo>
                  <a:cubicBezTo>
                    <a:pt x="190904" y="10550"/>
                    <a:pt x="191908" y="9168"/>
                    <a:pt x="191908" y="7787"/>
                  </a:cubicBezTo>
                  <a:cubicBezTo>
                    <a:pt x="191908" y="7410"/>
                    <a:pt x="191908" y="7033"/>
                    <a:pt x="191783" y="6657"/>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8" name="Graphic 4">
              <a:extLst>
                <a:ext uri="{FF2B5EF4-FFF2-40B4-BE49-F238E27FC236}">
                  <a16:creationId xmlns:a16="http://schemas.microsoft.com/office/drawing/2014/main" id="{84FB7ED1-A2DF-40A1-A747-5F7CF3F14040}"/>
                </a:ext>
              </a:extLst>
            </p:cNvPr>
            <p:cNvGrpSpPr/>
            <p:nvPr/>
          </p:nvGrpSpPr>
          <p:grpSpPr>
            <a:xfrm>
              <a:off x="10688247" y="3549158"/>
              <a:ext cx="27253" cy="29389"/>
              <a:chOff x="10688247" y="3549158"/>
              <a:chExt cx="27253" cy="29389"/>
            </a:xfrm>
            <a:solidFill>
              <a:schemeClr val="accent1"/>
            </a:solidFill>
          </p:grpSpPr>
          <p:sp>
            <p:nvSpPr>
              <p:cNvPr id="489" name="Freeform: Shape 488">
                <a:extLst>
                  <a:ext uri="{FF2B5EF4-FFF2-40B4-BE49-F238E27FC236}">
                    <a16:creationId xmlns:a16="http://schemas.microsoft.com/office/drawing/2014/main" id="{A073EA41-7BF1-456F-A3D9-1AA1A85E151C}"/>
                  </a:ext>
                </a:extLst>
              </p:cNvPr>
              <p:cNvSpPr/>
              <p:nvPr/>
            </p:nvSpPr>
            <p:spPr>
              <a:xfrm>
                <a:off x="10692266" y="3550666"/>
                <a:ext cx="23234" cy="22481"/>
              </a:xfrm>
              <a:custGeom>
                <a:avLst/>
                <a:gdLst>
                  <a:gd name="connsiteX0" fmla="*/ 2638 w 23234"/>
                  <a:gd name="connsiteY0" fmla="*/ 7410 h 22481"/>
                  <a:gd name="connsiteX1" fmla="*/ 0 w 23234"/>
                  <a:gd name="connsiteY1" fmla="*/ 17583 h 22481"/>
                  <a:gd name="connsiteX2" fmla="*/ 0 w 23234"/>
                  <a:gd name="connsiteY2" fmla="*/ 22481 h 22481"/>
                  <a:gd name="connsiteX3" fmla="*/ 23235 w 23234"/>
                  <a:gd name="connsiteY3" fmla="*/ 9043 h 22481"/>
                  <a:gd name="connsiteX4" fmla="*/ 7661 w 23234"/>
                  <a:gd name="connsiteY4" fmla="*/ 0 h 22481"/>
                  <a:gd name="connsiteX5" fmla="*/ 2638 w 23234"/>
                  <a:gd name="connsiteY5" fmla="*/ 7410 h 2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34" h="22481">
                    <a:moveTo>
                      <a:pt x="2638" y="7410"/>
                    </a:moveTo>
                    <a:cubicBezTo>
                      <a:pt x="879" y="10048"/>
                      <a:pt x="0" y="13439"/>
                      <a:pt x="0" y="17583"/>
                    </a:cubicBezTo>
                    <a:lnTo>
                      <a:pt x="0" y="22481"/>
                    </a:lnTo>
                    <a:lnTo>
                      <a:pt x="23235" y="9043"/>
                    </a:lnTo>
                    <a:lnTo>
                      <a:pt x="7661" y="0"/>
                    </a:lnTo>
                    <a:lnTo>
                      <a:pt x="2638" y="741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 name="Freeform: Shape 489">
                <a:extLst>
                  <a:ext uri="{FF2B5EF4-FFF2-40B4-BE49-F238E27FC236}">
                    <a16:creationId xmlns:a16="http://schemas.microsoft.com/office/drawing/2014/main" id="{AFFECD83-B600-4A88-8FA0-B8071A8018BC}"/>
                  </a:ext>
                </a:extLst>
              </p:cNvPr>
              <p:cNvSpPr/>
              <p:nvPr/>
            </p:nvSpPr>
            <p:spPr>
              <a:xfrm>
                <a:off x="10688247" y="3549158"/>
                <a:ext cx="11680" cy="29389"/>
              </a:xfrm>
              <a:custGeom>
                <a:avLst/>
                <a:gdLst>
                  <a:gd name="connsiteX0" fmla="*/ 8792 w 11680"/>
                  <a:gd name="connsiteY0" fmla="*/ 2135 h 29389"/>
                  <a:gd name="connsiteX1" fmla="*/ 2638 w 11680"/>
                  <a:gd name="connsiteY1" fmla="*/ 11303 h 29389"/>
                  <a:gd name="connsiteX2" fmla="*/ 0 w 11680"/>
                  <a:gd name="connsiteY2" fmla="*/ 21477 h 29389"/>
                  <a:gd name="connsiteX3" fmla="*/ 0 w 11680"/>
                  <a:gd name="connsiteY3" fmla="*/ 29389 h 29389"/>
                  <a:gd name="connsiteX4" fmla="*/ 2386 w 11680"/>
                  <a:gd name="connsiteY4" fmla="*/ 28008 h 29389"/>
                  <a:gd name="connsiteX5" fmla="*/ 4019 w 11680"/>
                  <a:gd name="connsiteY5" fmla="*/ 25119 h 29389"/>
                  <a:gd name="connsiteX6" fmla="*/ 4019 w 11680"/>
                  <a:gd name="connsiteY6" fmla="*/ 19090 h 29389"/>
                  <a:gd name="connsiteX7" fmla="*/ 6657 w 11680"/>
                  <a:gd name="connsiteY7" fmla="*/ 8917 h 29389"/>
                  <a:gd name="connsiteX8" fmla="*/ 11680 w 11680"/>
                  <a:gd name="connsiteY8" fmla="*/ 1633 h 29389"/>
                  <a:gd name="connsiteX9" fmla="*/ 8918 w 11680"/>
                  <a:gd name="connsiteY9" fmla="*/ 0 h 29389"/>
                  <a:gd name="connsiteX10" fmla="*/ 8918 w 11680"/>
                  <a:gd name="connsiteY10" fmla="*/ 2135 h 2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80" h="29389">
                    <a:moveTo>
                      <a:pt x="8792" y="2135"/>
                    </a:moveTo>
                    <a:lnTo>
                      <a:pt x="2638" y="11303"/>
                    </a:lnTo>
                    <a:cubicBezTo>
                      <a:pt x="879" y="13941"/>
                      <a:pt x="0" y="17332"/>
                      <a:pt x="0" y="21477"/>
                    </a:cubicBezTo>
                    <a:lnTo>
                      <a:pt x="0" y="29389"/>
                    </a:lnTo>
                    <a:lnTo>
                      <a:pt x="2386" y="28008"/>
                    </a:lnTo>
                    <a:cubicBezTo>
                      <a:pt x="3391" y="27380"/>
                      <a:pt x="4019" y="26249"/>
                      <a:pt x="4019" y="25119"/>
                    </a:cubicBezTo>
                    <a:lnTo>
                      <a:pt x="4019" y="19090"/>
                    </a:lnTo>
                    <a:cubicBezTo>
                      <a:pt x="4019" y="14946"/>
                      <a:pt x="4898" y="11429"/>
                      <a:pt x="6657" y="8917"/>
                    </a:cubicBezTo>
                    <a:lnTo>
                      <a:pt x="11680" y="1633"/>
                    </a:lnTo>
                    <a:lnTo>
                      <a:pt x="8918" y="0"/>
                    </a:lnTo>
                    <a:lnTo>
                      <a:pt x="8918" y="2135"/>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1" name="Graphic 4">
              <a:extLst>
                <a:ext uri="{FF2B5EF4-FFF2-40B4-BE49-F238E27FC236}">
                  <a16:creationId xmlns:a16="http://schemas.microsoft.com/office/drawing/2014/main" id="{84FB7ED1-A2DF-40A1-A747-5F7CF3F14040}"/>
                </a:ext>
              </a:extLst>
            </p:cNvPr>
            <p:cNvGrpSpPr/>
            <p:nvPr/>
          </p:nvGrpSpPr>
          <p:grpSpPr>
            <a:xfrm>
              <a:off x="10684501" y="3554046"/>
              <a:ext cx="62859" cy="66965"/>
              <a:chOff x="10684501" y="3554046"/>
              <a:chExt cx="62859" cy="66965"/>
            </a:xfrm>
            <a:solidFill>
              <a:schemeClr val="accent1"/>
            </a:solidFill>
          </p:grpSpPr>
          <p:grpSp>
            <p:nvGrpSpPr>
              <p:cNvPr id="492" name="Graphic 4">
                <a:extLst>
                  <a:ext uri="{FF2B5EF4-FFF2-40B4-BE49-F238E27FC236}">
                    <a16:creationId xmlns:a16="http://schemas.microsoft.com/office/drawing/2014/main" id="{84FB7ED1-A2DF-40A1-A747-5F7CF3F14040}"/>
                  </a:ext>
                </a:extLst>
              </p:cNvPr>
              <p:cNvGrpSpPr/>
              <p:nvPr/>
            </p:nvGrpSpPr>
            <p:grpSpPr>
              <a:xfrm>
                <a:off x="10684501" y="3554046"/>
                <a:ext cx="62859" cy="66965"/>
                <a:chOff x="10684501" y="3554046"/>
                <a:chExt cx="62859" cy="66965"/>
              </a:xfrm>
              <a:solidFill>
                <a:schemeClr val="accent1"/>
              </a:solidFill>
            </p:grpSpPr>
            <p:sp>
              <p:nvSpPr>
                <p:cNvPr id="493" name="Freeform: Shape 492">
                  <a:extLst>
                    <a:ext uri="{FF2B5EF4-FFF2-40B4-BE49-F238E27FC236}">
                      <a16:creationId xmlns:a16="http://schemas.microsoft.com/office/drawing/2014/main" id="{BC066D13-F1CE-41CB-A3DA-66EE124090D2}"/>
                    </a:ext>
                  </a:extLst>
                </p:cNvPr>
                <p:cNvSpPr/>
                <p:nvPr/>
              </p:nvSpPr>
              <p:spPr>
                <a:xfrm>
                  <a:off x="10699676" y="3554046"/>
                  <a:ext cx="47684" cy="59165"/>
                </a:xfrm>
                <a:custGeom>
                  <a:avLst/>
                  <a:gdLst>
                    <a:gd name="connsiteX0" fmla="*/ 41823 w 47684"/>
                    <a:gd name="connsiteY0" fmla="*/ 17719 h 59165"/>
                    <a:gd name="connsiteX1" fmla="*/ 27630 w 47684"/>
                    <a:gd name="connsiteY1" fmla="*/ 2773 h 59165"/>
                    <a:gd name="connsiteX2" fmla="*/ 18211 w 47684"/>
                    <a:gd name="connsiteY2" fmla="*/ 11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1 w 47684"/>
                    <a:gd name="connsiteY11" fmla="*/ 59166 h 59165"/>
                    <a:gd name="connsiteX12" fmla="*/ 39813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29" y="10937"/>
                        <a:pt x="32780" y="5662"/>
                        <a:pt x="27630" y="2773"/>
                      </a:cubicBezTo>
                      <a:cubicBezTo>
                        <a:pt x="24365" y="890"/>
                        <a:pt x="21226" y="-115"/>
                        <a:pt x="18211" y="11"/>
                      </a:cubicBezTo>
                      <a:cubicBezTo>
                        <a:pt x="17206" y="11"/>
                        <a:pt x="16201" y="11"/>
                        <a:pt x="15071" y="136"/>
                      </a:cubicBezTo>
                      <a:cubicBezTo>
                        <a:pt x="15071" y="136"/>
                        <a:pt x="15071" y="136"/>
                        <a:pt x="15071" y="136"/>
                      </a:cubicBezTo>
                      <a:lnTo>
                        <a:pt x="15071" y="136"/>
                      </a:lnTo>
                      <a:lnTo>
                        <a:pt x="15071" y="136"/>
                      </a:lnTo>
                      <a:cubicBezTo>
                        <a:pt x="13187" y="136"/>
                        <a:pt x="11429" y="638"/>
                        <a:pt x="9922" y="1518"/>
                      </a:cubicBezTo>
                      <a:lnTo>
                        <a:pt x="0" y="7295"/>
                      </a:lnTo>
                      <a:cubicBezTo>
                        <a:pt x="4144" y="4909"/>
                        <a:pt x="9670" y="5662"/>
                        <a:pt x="15071" y="8802"/>
                      </a:cubicBezTo>
                      <a:cubicBezTo>
                        <a:pt x="20471" y="11942"/>
                        <a:pt x="25997" y="17468"/>
                        <a:pt x="30017" y="24627"/>
                      </a:cubicBezTo>
                      <a:cubicBezTo>
                        <a:pt x="38306" y="38945"/>
                        <a:pt x="38306" y="54393"/>
                        <a:pt x="29891" y="59166"/>
                      </a:cubicBezTo>
                      <a:lnTo>
                        <a:pt x="39813" y="53388"/>
                      </a:lnTo>
                      <a:cubicBezTo>
                        <a:pt x="43330" y="51379"/>
                        <a:pt x="45088" y="47360"/>
                        <a:pt x="45340" y="46857"/>
                      </a:cubicBezTo>
                      <a:cubicBezTo>
                        <a:pt x="49359" y="40326"/>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 name="Freeform: Shape 493">
                  <a:extLst>
                    <a:ext uri="{FF2B5EF4-FFF2-40B4-BE49-F238E27FC236}">
                      <a16:creationId xmlns:a16="http://schemas.microsoft.com/office/drawing/2014/main" id="{6051B832-332E-4208-B37D-264C64F19820}"/>
                    </a:ext>
                  </a:extLst>
                </p:cNvPr>
                <p:cNvSpPr/>
                <p:nvPr/>
              </p:nvSpPr>
              <p:spPr>
                <a:xfrm>
                  <a:off x="10693766" y="3559811"/>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6"/>
                      </a:cubicBezTo>
                      <a:cubicBezTo>
                        <a:pt x="-495" y="13462"/>
                        <a:pt x="26884" y="54029"/>
                        <a:pt x="26884" y="54029"/>
                      </a:cubicBezTo>
                      <a:cubicBezTo>
                        <a:pt x="30024" y="54657"/>
                        <a:pt x="34420" y="54154"/>
                        <a:pt x="35927" y="53275"/>
                      </a:cubicBezTo>
                      <a:cubicBezTo>
                        <a:pt x="44467" y="48377"/>
                        <a:pt x="44342" y="33180"/>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 name="Freeform: Shape 494">
                  <a:extLst>
                    <a:ext uri="{FF2B5EF4-FFF2-40B4-BE49-F238E27FC236}">
                      <a16:creationId xmlns:a16="http://schemas.microsoft.com/office/drawing/2014/main" id="{25810E8A-4708-46F0-9294-FE744604CEB5}"/>
                    </a:ext>
                  </a:extLst>
                </p:cNvPr>
                <p:cNvSpPr/>
                <p:nvPr/>
              </p:nvSpPr>
              <p:spPr>
                <a:xfrm>
                  <a:off x="10684501" y="3555179"/>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7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6"/>
                        <a:pt x="50627" y="53062"/>
                        <a:pt x="42758" y="57606"/>
                      </a:cubicBezTo>
                      <a:cubicBezTo>
                        <a:pt x="34889" y="62149"/>
                        <a:pt x="22128" y="54778"/>
                        <a:pt x="14255" y="41143"/>
                      </a:cubicBezTo>
                      <a:cubicBezTo>
                        <a:pt x="6382" y="27507"/>
                        <a:pt x="6379" y="12770"/>
                        <a:pt x="14248" y="8227"/>
                      </a:cubicBezTo>
                      <a:cubicBezTo>
                        <a:pt x="22117" y="3683"/>
                        <a:pt x="34878"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6" name="Graphic 4">
                <a:extLst>
                  <a:ext uri="{FF2B5EF4-FFF2-40B4-BE49-F238E27FC236}">
                    <a16:creationId xmlns:a16="http://schemas.microsoft.com/office/drawing/2014/main" id="{84FB7ED1-A2DF-40A1-A747-5F7CF3F14040}"/>
                  </a:ext>
                </a:extLst>
              </p:cNvPr>
              <p:cNvGrpSpPr/>
              <p:nvPr/>
            </p:nvGrpSpPr>
            <p:grpSpPr>
              <a:xfrm>
                <a:off x="10699738" y="3570578"/>
                <a:ext cx="27128" cy="35155"/>
                <a:chOff x="10699738" y="3570578"/>
                <a:chExt cx="27128" cy="35155"/>
              </a:xfrm>
              <a:solidFill>
                <a:schemeClr val="accent1"/>
              </a:solidFill>
            </p:grpSpPr>
            <p:sp>
              <p:nvSpPr>
                <p:cNvPr id="497" name="Freeform: Shape 496">
                  <a:extLst>
                    <a:ext uri="{FF2B5EF4-FFF2-40B4-BE49-F238E27FC236}">
                      <a16:creationId xmlns:a16="http://schemas.microsoft.com/office/drawing/2014/main" id="{8285A06A-E1B2-41C5-A8CB-EA389E351E1C}"/>
                    </a:ext>
                  </a:extLst>
                </p:cNvPr>
                <p:cNvSpPr/>
                <p:nvPr/>
              </p:nvSpPr>
              <p:spPr>
                <a:xfrm>
                  <a:off x="10700649" y="3571787"/>
                  <a:ext cx="25181" cy="32612"/>
                </a:xfrm>
                <a:custGeom>
                  <a:avLst/>
                  <a:gdLst>
                    <a:gd name="connsiteX0" fmla="*/ 21508 w 25181"/>
                    <a:gd name="connsiteY0" fmla="*/ 31754 h 32612"/>
                    <a:gd name="connsiteX1" fmla="*/ 3674 w 25181"/>
                    <a:gd name="connsiteY1" fmla="*/ 21456 h 32612"/>
                    <a:gd name="connsiteX2" fmla="*/ 3674 w 25181"/>
                    <a:gd name="connsiteY2" fmla="*/ 858 h 32612"/>
                    <a:gd name="connsiteX3" fmla="*/ 21508 w 25181"/>
                    <a:gd name="connsiteY3" fmla="*/ 11157 h 32612"/>
                    <a:gd name="connsiteX4" fmla="*/ 21508 w 25181"/>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1" h="32612">
                      <a:moveTo>
                        <a:pt x="21508" y="31754"/>
                      </a:moveTo>
                      <a:cubicBezTo>
                        <a:pt x="16610" y="34643"/>
                        <a:pt x="8571" y="29996"/>
                        <a:pt x="3674" y="21456"/>
                      </a:cubicBezTo>
                      <a:cubicBezTo>
                        <a:pt x="-1225" y="12915"/>
                        <a:pt x="-1225" y="3747"/>
                        <a:pt x="3674" y="858"/>
                      </a:cubicBezTo>
                      <a:cubicBezTo>
                        <a:pt x="8571" y="-2031"/>
                        <a:pt x="16610" y="2616"/>
                        <a:pt x="21508" y="11157"/>
                      </a:cubicBezTo>
                      <a:cubicBezTo>
                        <a:pt x="26406" y="19697"/>
                        <a:pt x="26406"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8" name="Freeform: Shape 497">
                  <a:extLst>
                    <a:ext uri="{FF2B5EF4-FFF2-40B4-BE49-F238E27FC236}">
                      <a16:creationId xmlns:a16="http://schemas.microsoft.com/office/drawing/2014/main" id="{65C66C38-5E08-4586-826D-50AD6EA850F8}"/>
                    </a:ext>
                  </a:extLst>
                </p:cNvPr>
                <p:cNvSpPr/>
                <p:nvPr/>
              </p:nvSpPr>
              <p:spPr>
                <a:xfrm>
                  <a:off x="10699738" y="3570578"/>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2 w 27128"/>
                    <a:gd name="connsiteY5" fmla="*/ 15505 h 35155"/>
                    <a:gd name="connsiteX6" fmla="*/ 18148 w 27128"/>
                    <a:gd name="connsiteY6" fmla="*/ 14250 h 35155"/>
                    <a:gd name="connsiteX7" fmla="*/ 16893 w 27128"/>
                    <a:gd name="connsiteY7" fmla="*/ 12366 h 35155"/>
                    <a:gd name="connsiteX8" fmla="*/ 16893 w 27128"/>
                    <a:gd name="connsiteY8" fmla="*/ 5207 h 35155"/>
                    <a:gd name="connsiteX9" fmla="*/ 22419 w 27128"/>
                    <a:gd name="connsiteY9" fmla="*/ 12240 h 35155"/>
                    <a:gd name="connsiteX10" fmla="*/ 24052 w 27128"/>
                    <a:gd name="connsiteY10" fmla="*/ 15505 h 35155"/>
                    <a:gd name="connsiteX11" fmla="*/ 4585 w 27128"/>
                    <a:gd name="connsiteY11" fmla="*/ 2067 h 35155"/>
                    <a:gd name="connsiteX12" fmla="*/ 10111 w 27128"/>
                    <a:gd name="connsiteY12" fmla="*/ 1564 h 35155"/>
                    <a:gd name="connsiteX13" fmla="*/ 10111 w 27128"/>
                    <a:gd name="connsiteY13" fmla="*/ 8723 h 35155"/>
                    <a:gd name="connsiteX14" fmla="*/ 8854 w 27128"/>
                    <a:gd name="connsiteY14" fmla="*/ 9100 h 35155"/>
                    <a:gd name="connsiteX15" fmla="*/ 2952 w 27128"/>
                    <a:gd name="connsiteY15" fmla="*/ 3448 h 35155"/>
                    <a:gd name="connsiteX16" fmla="*/ 4585 w 27128"/>
                    <a:gd name="connsiteY16" fmla="*/ 2067 h 35155"/>
                    <a:gd name="connsiteX17" fmla="*/ 942 w 27128"/>
                    <a:gd name="connsiteY17" fmla="*/ 9477 h 35155"/>
                    <a:gd name="connsiteX18" fmla="*/ 6845 w 27128"/>
                    <a:gd name="connsiteY18" fmla="*/ 15129 h 35155"/>
                    <a:gd name="connsiteX19" fmla="*/ 7347 w 27128"/>
                    <a:gd name="connsiteY19" fmla="*/ 17138 h 35155"/>
                    <a:gd name="connsiteX20" fmla="*/ 3705 w 27128"/>
                    <a:gd name="connsiteY20" fmla="*/ 20780 h 35155"/>
                    <a:gd name="connsiteX21" fmla="*/ 942 w 27128"/>
                    <a:gd name="connsiteY21" fmla="*/ 9477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4 w 27128"/>
                    <a:gd name="connsiteY27" fmla="*/ 32210 h 35155"/>
                    <a:gd name="connsiteX28" fmla="*/ 19781 w 27128"/>
                    <a:gd name="connsiteY28" fmla="*/ 24297 h 35155"/>
                    <a:gd name="connsiteX29" fmla="*/ 20284 w 27128"/>
                    <a:gd name="connsiteY29" fmla="*/ 22790 h 35155"/>
                    <a:gd name="connsiteX30" fmla="*/ 26187 w 27128"/>
                    <a:gd name="connsiteY30" fmla="*/ 23920 h 35155"/>
                    <a:gd name="connsiteX31" fmla="*/ 23424 w 27128"/>
                    <a:gd name="connsiteY31" fmla="*/ 32210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8" y="2820"/>
                        <a:pt x="9232" y="-2203"/>
                        <a:pt x="3956" y="937"/>
                      </a:cubicBezTo>
                      <a:cubicBezTo>
                        <a:pt x="-1319" y="3951"/>
                        <a:pt x="-1319" y="13998"/>
                        <a:pt x="3956" y="23167"/>
                      </a:cubicBezTo>
                      <a:cubicBezTo>
                        <a:pt x="9232" y="32335"/>
                        <a:pt x="17898" y="37359"/>
                        <a:pt x="23172" y="34219"/>
                      </a:cubicBezTo>
                      <a:cubicBezTo>
                        <a:pt x="28447" y="31079"/>
                        <a:pt x="28447" y="21157"/>
                        <a:pt x="23172" y="11989"/>
                      </a:cubicBezTo>
                      <a:close/>
                      <a:moveTo>
                        <a:pt x="24052" y="15505"/>
                      </a:moveTo>
                      <a:lnTo>
                        <a:pt x="18148" y="14250"/>
                      </a:lnTo>
                      <a:cubicBezTo>
                        <a:pt x="17772" y="13622"/>
                        <a:pt x="17269" y="12994"/>
                        <a:pt x="16893" y="12366"/>
                      </a:cubicBezTo>
                      <a:lnTo>
                        <a:pt x="16893" y="5207"/>
                      </a:lnTo>
                      <a:cubicBezTo>
                        <a:pt x="18902" y="7091"/>
                        <a:pt x="20912" y="9351"/>
                        <a:pt x="22419" y="12240"/>
                      </a:cubicBezTo>
                      <a:cubicBezTo>
                        <a:pt x="23047" y="13370"/>
                        <a:pt x="23675" y="14501"/>
                        <a:pt x="24052" y="15505"/>
                      </a:cubicBezTo>
                      <a:close/>
                      <a:moveTo>
                        <a:pt x="4585" y="2067"/>
                      </a:moveTo>
                      <a:cubicBezTo>
                        <a:pt x="6217" y="1188"/>
                        <a:pt x="8101" y="1062"/>
                        <a:pt x="10111" y="1564"/>
                      </a:cubicBezTo>
                      <a:lnTo>
                        <a:pt x="10111" y="8723"/>
                      </a:lnTo>
                      <a:cubicBezTo>
                        <a:pt x="9608" y="8723"/>
                        <a:pt x="9232" y="8849"/>
                        <a:pt x="8854" y="9100"/>
                      </a:cubicBezTo>
                      <a:lnTo>
                        <a:pt x="2952" y="3448"/>
                      </a:lnTo>
                      <a:cubicBezTo>
                        <a:pt x="3454" y="2820"/>
                        <a:pt x="3956" y="2444"/>
                        <a:pt x="4585" y="2067"/>
                      </a:cubicBezTo>
                      <a:close/>
                      <a:moveTo>
                        <a:pt x="942" y="9477"/>
                      </a:moveTo>
                      <a:lnTo>
                        <a:pt x="6845" y="15129"/>
                      </a:lnTo>
                      <a:cubicBezTo>
                        <a:pt x="6971" y="15757"/>
                        <a:pt x="7096" y="16510"/>
                        <a:pt x="7347" y="17138"/>
                      </a:cubicBezTo>
                      <a:lnTo>
                        <a:pt x="3705" y="20780"/>
                      </a:lnTo>
                      <a:cubicBezTo>
                        <a:pt x="1695" y="16887"/>
                        <a:pt x="816" y="12868"/>
                        <a:pt x="942" y="9477"/>
                      </a:cubicBezTo>
                      <a:close/>
                      <a:moveTo>
                        <a:pt x="9106" y="28567"/>
                      </a:moveTo>
                      <a:lnTo>
                        <a:pt x="12748" y="24925"/>
                      </a:lnTo>
                      <a:cubicBezTo>
                        <a:pt x="13251" y="25302"/>
                        <a:pt x="13879" y="25679"/>
                        <a:pt x="14381" y="25804"/>
                      </a:cubicBezTo>
                      <a:lnTo>
                        <a:pt x="18023" y="33717"/>
                      </a:lnTo>
                      <a:cubicBezTo>
                        <a:pt x="15134" y="33214"/>
                        <a:pt x="11994" y="31456"/>
                        <a:pt x="9106" y="28567"/>
                      </a:cubicBezTo>
                      <a:close/>
                      <a:moveTo>
                        <a:pt x="23424" y="32210"/>
                      </a:moveTo>
                      <a:lnTo>
                        <a:pt x="19781" y="24297"/>
                      </a:lnTo>
                      <a:cubicBezTo>
                        <a:pt x="20033" y="23920"/>
                        <a:pt x="20158" y="23418"/>
                        <a:pt x="20284" y="22790"/>
                      </a:cubicBezTo>
                      <a:lnTo>
                        <a:pt x="26187" y="23920"/>
                      </a:lnTo>
                      <a:cubicBezTo>
                        <a:pt x="26312" y="27563"/>
                        <a:pt x="25307" y="30577"/>
                        <a:pt x="23424" y="32210"/>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9" name="Graphic 4">
                  <a:extLst>
                    <a:ext uri="{FF2B5EF4-FFF2-40B4-BE49-F238E27FC236}">
                      <a16:creationId xmlns:a16="http://schemas.microsoft.com/office/drawing/2014/main" id="{84FB7ED1-A2DF-40A1-A747-5F7CF3F14040}"/>
                    </a:ext>
                  </a:extLst>
                </p:cNvPr>
                <p:cNvGrpSpPr/>
                <p:nvPr/>
              </p:nvGrpSpPr>
              <p:grpSpPr>
                <a:xfrm>
                  <a:off x="10700669" y="3572142"/>
                  <a:ext cx="23749" cy="32152"/>
                  <a:chOff x="10700669" y="3572142"/>
                  <a:chExt cx="23749" cy="32152"/>
                </a:xfrm>
                <a:solidFill>
                  <a:srgbClr val="ADAA99"/>
                </a:solidFill>
              </p:grpSpPr>
              <p:sp>
                <p:nvSpPr>
                  <p:cNvPr id="500" name="Freeform: Shape 499">
                    <a:extLst>
                      <a:ext uri="{FF2B5EF4-FFF2-40B4-BE49-F238E27FC236}">
                        <a16:creationId xmlns:a16="http://schemas.microsoft.com/office/drawing/2014/main" id="{698B97F6-BFAA-45EC-9086-C3D8207A5D03}"/>
                      </a:ext>
                    </a:extLst>
                  </p:cNvPr>
                  <p:cNvSpPr/>
                  <p:nvPr/>
                </p:nvSpPr>
                <p:spPr>
                  <a:xfrm>
                    <a:off x="10716631" y="3575910"/>
                    <a:ext cx="7158" cy="10298"/>
                  </a:xfrm>
                  <a:custGeom>
                    <a:avLst/>
                    <a:gdLst>
                      <a:gd name="connsiteX0" fmla="*/ 1759 w 7158"/>
                      <a:gd name="connsiteY0" fmla="*/ 6154 h 10298"/>
                      <a:gd name="connsiteX1" fmla="*/ 1759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9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9" y="6154"/>
                        </a:moveTo>
                        <a:lnTo>
                          <a:pt x="1759" y="1758"/>
                        </a:lnTo>
                        <a:cubicBezTo>
                          <a:pt x="1131" y="1130"/>
                          <a:pt x="628" y="502"/>
                          <a:pt x="0" y="0"/>
                        </a:cubicBezTo>
                        <a:lnTo>
                          <a:pt x="0" y="7159"/>
                        </a:lnTo>
                        <a:cubicBezTo>
                          <a:pt x="502" y="7661"/>
                          <a:pt x="879" y="8289"/>
                          <a:pt x="1256" y="9043"/>
                        </a:cubicBezTo>
                        <a:lnTo>
                          <a:pt x="7159" y="10299"/>
                        </a:lnTo>
                        <a:cubicBezTo>
                          <a:pt x="6908" y="9796"/>
                          <a:pt x="6656" y="9294"/>
                          <a:pt x="6405" y="8792"/>
                        </a:cubicBezTo>
                        <a:lnTo>
                          <a:pt x="3014" y="8038"/>
                        </a:lnTo>
                        <a:cubicBezTo>
                          <a:pt x="2638" y="7410"/>
                          <a:pt x="2261" y="6782"/>
                          <a:pt x="1759"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 name="Freeform: Shape 500">
                    <a:extLst>
                      <a:ext uri="{FF2B5EF4-FFF2-40B4-BE49-F238E27FC236}">
                        <a16:creationId xmlns:a16="http://schemas.microsoft.com/office/drawing/2014/main" id="{10733A46-ABE7-45CC-8A86-47F3284DF705}"/>
                      </a:ext>
                    </a:extLst>
                  </p:cNvPr>
                  <p:cNvSpPr/>
                  <p:nvPr/>
                </p:nvSpPr>
                <p:spPr>
                  <a:xfrm>
                    <a:off x="10719394" y="3593493"/>
                    <a:ext cx="5024" cy="9419"/>
                  </a:xfrm>
                  <a:custGeom>
                    <a:avLst/>
                    <a:gdLst>
                      <a:gd name="connsiteX0" fmla="*/ 1884 w 5024"/>
                      <a:gd name="connsiteY0" fmla="*/ 251 h 9419"/>
                      <a:gd name="connsiteX1" fmla="*/ 503 w 5024"/>
                      <a:gd name="connsiteY1" fmla="*/ 0 h 9419"/>
                      <a:gd name="connsiteX2" fmla="*/ 0 w 5024"/>
                      <a:gd name="connsiteY2" fmla="*/ 1507 h 9419"/>
                      <a:gd name="connsiteX3" fmla="*/ 3643 w 5024"/>
                      <a:gd name="connsiteY3" fmla="*/ 9420 h 9419"/>
                      <a:gd name="connsiteX4" fmla="*/ 5024 w 5024"/>
                      <a:gd name="connsiteY4" fmla="*/ 7661 h 9419"/>
                      <a:gd name="connsiteX5" fmla="*/ 1759 w 5024"/>
                      <a:gd name="connsiteY5" fmla="*/ 502 h 9419"/>
                      <a:gd name="connsiteX6" fmla="*/ 1884 w 5024"/>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4" h="9419">
                        <a:moveTo>
                          <a:pt x="1884" y="251"/>
                        </a:moveTo>
                        <a:lnTo>
                          <a:pt x="503" y="0"/>
                        </a:lnTo>
                        <a:cubicBezTo>
                          <a:pt x="377" y="502"/>
                          <a:pt x="251" y="1005"/>
                          <a:pt x="0" y="1507"/>
                        </a:cubicBezTo>
                        <a:lnTo>
                          <a:pt x="3643" y="9420"/>
                        </a:lnTo>
                        <a:cubicBezTo>
                          <a:pt x="4145" y="8917"/>
                          <a:pt x="4648" y="8415"/>
                          <a:pt x="5024" y="7661"/>
                        </a:cubicBezTo>
                        <a:lnTo>
                          <a:pt x="1759" y="502"/>
                        </a:lnTo>
                        <a:cubicBezTo>
                          <a:pt x="1884" y="377"/>
                          <a:pt x="1884" y="251"/>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 name="Freeform: Shape 501">
                    <a:extLst>
                      <a:ext uri="{FF2B5EF4-FFF2-40B4-BE49-F238E27FC236}">
                        <a16:creationId xmlns:a16="http://schemas.microsoft.com/office/drawing/2014/main" id="{F8BC0FD2-AAE6-44C6-9C0C-C3C61C373D46}"/>
                      </a:ext>
                    </a:extLst>
                  </p:cNvPr>
                  <p:cNvSpPr/>
                  <p:nvPr/>
                </p:nvSpPr>
                <p:spPr>
                  <a:xfrm>
                    <a:off x="10700669" y="3580055"/>
                    <a:ext cx="4282" cy="11303"/>
                  </a:xfrm>
                  <a:custGeom>
                    <a:avLst/>
                    <a:gdLst>
                      <a:gd name="connsiteX0" fmla="*/ 12 w 4282"/>
                      <a:gd name="connsiteY0" fmla="*/ 0 h 11303"/>
                      <a:gd name="connsiteX1" fmla="*/ 2775 w 4282"/>
                      <a:gd name="connsiteY1" fmla="*/ 11303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3"/>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 name="Freeform: Shape 502">
                    <a:extLst>
                      <a:ext uri="{FF2B5EF4-FFF2-40B4-BE49-F238E27FC236}">
                        <a16:creationId xmlns:a16="http://schemas.microsoft.com/office/drawing/2014/main" id="{A7FAB9CD-B7CA-44AC-B1F3-F5E619FC8D0E}"/>
                      </a:ext>
                    </a:extLst>
                  </p:cNvPr>
                  <p:cNvSpPr/>
                  <p:nvPr/>
                </p:nvSpPr>
                <p:spPr>
                  <a:xfrm>
                    <a:off x="10708844" y="3595503"/>
                    <a:ext cx="8917" cy="8791"/>
                  </a:xfrm>
                  <a:custGeom>
                    <a:avLst/>
                    <a:gdLst>
                      <a:gd name="connsiteX0" fmla="*/ 1759 w 8917"/>
                      <a:gd name="connsiteY0" fmla="*/ 2638 h 8791"/>
                      <a:gd name="connsiteX1" fmla="*/ 4145 w 8917"/>
                      <a:gd name="connsiteY1" fmla="*/ 251 h 8791"/>
                      <a:gd name="connsiteX2" fmla="*/ 3642 w 8917"/>
                      <a:gd name="connsiteY2" fmla="*/ 0 h 8791"/>
                      <a:gd name="connsiteX3" fmla="*/ 0 w 8917"/>
                      <a:gd name="connsiteY3" fmla="*/ 3642 h 8791"/>
                      <a:gd name="connsiteX4" fmla="*/ 8918 w 8917"/>
                      <a:gd name="connsiteY4" fmla="*/ 8792 h 8791"/>
                      <a:gd name="connsiteX5" fmla="*/ 8163 w 8917"/>
                      <a:gd name="connsiteY5" fmla="*/ 7033 h 8791"/>
                      <a:gd name="connsiteX6" fmla="*/ 1759 w 8917"/>
                      <a:gd name="connsiteY6" fmla="*/ 2638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8"/>
                        </a:moveTo>
                        <a:lnTo>
                          <a:pt x="4145" y="251"/>
                        </a:lnTo>
                        <a:cubicBezTo>
                          <a:pt x="4019" y="126"/>
                          <a:pt x="3893" y="0"/>
                          <a:pt x="3642" y="0"/>
                        </a:cubicBezTo>
                        <a:lnTo>
                          <a:pt x="0" y="3642"/>
                        </a:lnTo>
                        <a:cubicBezTo>
                          <a:pt x="2888" y="6531"/>
                          <a:pt x="6028" y="8415"/>
                          <a:pt x="8918" y="8792"/>
                        </a:cubicBezTo>
                        <a:lnTo>
                          <a:pt x="8163" y="7033"/>
                        </a:lnTo>
                        <a:cubicBezTo>
                          <a:pt x="6028" y="6154"/>
                          <a:pt x="3768" y="4647"/>
                          <a:pt x="1759" y="2638"/>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 name="Freeform: Shape 503">
                    <a:extLst>
                      <a:ext uri="{FF2B5EF4-FFF2-40B4-BE49-F238E27FC236}">
                        <a16:creationId xmlns:a16="http://schemas.microsoft.com/office/drawing/2014/main" id="{EF5022C5-7068-4517-954D-158D6E7B6CB4}"/>
                      </a:ext>
                    </a:extLst>
                  </p:cNvPr>
                  <p:cNvSpPr/>
                  <p:nvPr/>
                </p:nvSpPr>
                <p:spPr>
                  <a:xfrm>
                    <a:off x="10702816" y="3572142"/>
                    <a:ext cx="7158" cy="7410"/>
                  </a:xfrm>
                  <a:custGeom>
                    <a:avLst/>
                    <a:gdLst>
                      <a:gd name="connsiteX0" fmla="*/ 2511 w 7158"/>
                      <a:gd name="connsiteY0" fmla="*/ 0 h 7410"/>
                      <a:gd name="connsiteX1" fmla="*/ 1632 w 7158"/>
                      <a:gd name="connsiteY1" fmla="*/ 377 h 7410"/>
                      <a:gd name="connsiteX2" fmla="*/ 0 w 7158"/>
                      <a:gd name="connsiteY2" fmla="*/ 1758 h 7410"/>
                      <a:gd name="connsiteX3" fmla="*/ 5903 w 7158"/>
                      <a:gd name="connsiteY3" fmla="*/ 7410 h 7410"/>
                      <a:gd name="connsiteX4" fmla="*/ 7158 w 7158"/>
                      <a:gd name="connsiteY4" fmla="*/ 7033 h 7410"/>
                      <a:gd name="connsiteX5" fmla="*/ 7158 w 7158"/>
                      <a:gd name="connsiteY5" fmla="*/ 5903 h 7410"/>
                      <a:gd name="connsiteX6" fmla="*/ 1758 w 7158"/>
                      <a:gd name="connsiteY6" fmla="*/ 754 h 7410"/>
                      <a:gd name="connsiteX7" fmla="*/ 2511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1" y="0"/>
                        </a:moveTo>
                        <a:cubicBezTo>
                          <a:pt x="2135" y="126"/>
                          <a:pt x="1883" y="251"/>
                          <a:pt x="1632" y="377"/>
                        </a:cubicBezTo>
                        <a:cubicBezTo>
                          <a:pt x="1004" y="754"/>
                          <a:pt x="502" y="1130"/>
                          <a:pt x="0" y="1758"/>
                        </a:cubicBezTo>
                        <a:lnTo>
                          <a:pt x="5903" y="7410"/>
                        </a:lnTo>
                        <a:cubicBezTo>
                          <a:pt x="6280" y="7159"/>
                          <a:pt x="6782" y="7159"/>
                          <a:pt x="7158" y="7033"/>
                        </a:cubicBezTo>
                        <a:lnTo>
                          <a:pt x="7158" y="5903"/>
                        </a:lnTo>
                        <a:lnTo>
                          <a:pt x="1758" y="754"/>
                        </a:lnTo>
                        <a:cubicBezTo>
                          <a:pt x="1883" y="502"/>
                          <a:pt x="2135" y="251"/>
                          <a:pt x="2511"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5" name="Graphic 4">
                  <a:extLst>
                    <a:ext uri="{FF2B5EF4-FFF2-40B4-BE49-F238E27FC236}">
                      <a16:creationId xmlns:a16="http://schemas.microsoft.com/office/drawing/2014/main" id="{84FB7ED1-A2DF-40A1-A747-5F7CF3F14040}"/>
                    </a:ext>
                  </a:extLst>
                </p:cNvPr>
                <p:cNvGrpSpPr/>
                <p:nvPr/>
              </p:nvGrpSpPr>
              <p:grpSpPr>
                <a:xfrm>
                  <a:off x="10708241" y="3581734"/>
                  <a:ext cx="10148" cy="13199"/>
                  <a:chOff x="10708241" y="3581734"/>
                  <a:chExt cx="10148" cy="13199"/>
                </a:xfrm>
                <a:solidFill>
                  <a:srgbClr val="222222"/>
                </a:solidFill>
              </p:grpSpPr>
              <p:sp>
                <p:nvSpPr>
                  <p:cNvPr id="506" name="Freeform: Shape 505">
                    <a:extLst>
                      <a:ext uri="{FF2B5EF4-FFF2-40B4-BE49-F238E27FC236}">
                        <a16:creationId xmlns:a16="http://schemas.microsoft.com/office/drawing/2014/main" id="{793757DF-7677-458D-9DB1-AFB761CA086E}"/>
                      </a:ext>
                    </a:extLst>
                  </p:cNvPr>
                  <p:cNvSpPr/>
                  <p:nvPr/>
                </p:nvSpPr>
                <p:spPr>
                  <a:xfrm>
                    <a:off x="10711639" y="3585848"/>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7" name="Freeform: Shape 506">
                    <a:extLst>
                      <a:ext uri="{FF2B5EF4-FFF2-40B4-BE49-F238E27FC236}">
                        <a16:creationId xmlns:a16="http://schemas.microsoft.com/office/drawing/2014/main" id="{444C2EF2-F51D-4313-9E8A-4D03A7B8A481}"/>
                      </a:ext>
                    </a:extLst>
                  </p:cNvPr>
                  <p:cNvSpPr/>
                  <p:nvPr/>
                </p:nvSpPr>
                <p:spPr>
                  <a:xfrm>
                    <a:off x="10712330" y="3581734"/>
                    <a:ext cx="1946" cy="2543"/>
                  </a:xfrm>
                  <a:custGeom>
                    <a:avLst/>
                    <a:gdLst>
                      <a:gd name="connsiteX0" fmla="*/ 1664 w 1946"/>
                      <a:gd name="connsiteY0" fmla="*/ 2465 h 2543"/>
                      <a:gd name="connsiteX1" fmla="*/ 282 w 1946"/>
                      <a:gd name="connsiteY1" fmla="*/ 1712 h 2543"/>
                      <a:gd name="connsiteX2" fmla="*/ 282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40"/>
                          <a:pt x="282" y="1712"/>
                        </a:cubicBezTo>
                        <a:cubicBezTo>
                          <a:pt x="-94" y="1083"/>
                          <a:pt x="-94" y="330"/>
                          <a:pt x="282"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 name="Freeform: Shape 507">
                    <a:extLst>
                      <a:ext uri="{FF2B5EF4-FFF2-40B4-BE49-F238E27FC236}">
                        <a16:creationId xmlns:a16="http://schemas.microsoft.com/office/drawing/2014/main" id="{7BE36043-C73C-4799-8009-7B89DE34F9CA}"/>
                      </a:ext>
                    </a:extLst>
                  </p:cNvPr>
                  <p:cNvSpPr/>
                  <p:nvPr/>
                </p:nvSpPr>
                <p:spPr>
                  <a:xfrm>
                    <a:off x="10709770" y="3589397"/>
                    <a:ext cx="1986" cy="2613"/>
                  </a:xfrm>
                  <a:custGeom>
                    <a:avLst/>
                    <a:gdLst>
                      <a:gd name="connsiteX0" fmla="*/ 832 w 1986"/>
                      <a:gd name="connsiteY0" fmla="*/ 78 h 2613"/>
                      <a:gd name="connsiteX1" fmla="*/ 1962 w 1986"/>
                      <a:gd name="connsiteY1" fmla="*/ 1710 h 2613"/>
                      <a:gd name="connsiteX2" fmla="*/ 1209 w 1986"/>
                      <a:gd name="connsiteY2" fmla="*/ 2589 h 2613"/>
                      <a:gd name="connsiteX3" fmla="*/ 79 w 1986"/>
                      <a:gd name="connsiteY3" fmla="*/ 957 h 2613"/>
                      <a:gd name="connsiteX4" fmla="*/ 832 w 1986"/>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6" h="2613">
                        <a:moveTo>
                          <a:pt x="832" y="78"/>
                        </a:moveTo>
                        <a:cubicBezTo>
                          <a:pt x="1334" y="329"/>
                          <a:pt x="1837" y="957"/>
                          <a:pt x="1962" y="1710"/>
                        </a:cubicBezTo>
                        <a:cubicBezTo>
                          <a:pt x="2088" y="2338"/>
                          <a:pt x="1712" y="2715"/>
                          <a:pt x="1209" y="2589"/>
                        </a:cubicBezTo>
                        <a:cubicBezTo>
                          <a:pt x="707" y="2338"/>
                          <a:pt x="204" y="1710"/>
                          <a:pt x="79" y="957"/>
                        </a:cubicBezTo>
                        <a:cubicBezTo>
                          <a:pt x="-173" y="203"/>
                          <a:pt x="204" y="-174"/>
                          <a:pt x="832"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 name="Freeform: Shape 508">
                    <a:extLst>
                      <a:ext uri="{FF2B5EF4-FFF2-40B4-BE49-F238E27FC236}">
                        <a16:creationId xmlns:a16="http://schemas.microsoft.com/office/drawing/2014/main" id="{F8754868-43DA-42A9-89D6-1E8ADFFCDD6E}"/>
                      </a:ext>
                    </a:extLst>
                  </p:cNvPr>
                  <p:cNvSpPr/>
                  <p:nvPr/>
                </p:nvSpPr>
                <p:spPr>
                  <a:xfrm>
                    <a:off x="10714848" y="3592304"/>
                    <a:ext cx="1932" cy="2629"/>
                  </a:xfrm>
                  <a:custGeom>
                    <a:avLst/>
                    <a:gdLst>
                      <a:gd name="connsiteX0" fmla="*/ 24 w 1932"/>
                      <a:gd name="connsiteY0" fmla="*/ 561 h 2629"/>
                      <a:gd name="connsiteX1" fmla="*/ 1155 w 1932"/>
                      <a:gd name="connsiteY1" fmla="*/ 310 h 2629"/>
                      <a:gd name="connsiteX2" fmla="*/ 1909 w 1932"/>
                      <a:gd name="connsiteY2" fmla="*/ 2068 h 2629"/>
                      <a:gd name="connsiteX3" fmla="*/ 778 w 1932"/>
                      <a:gd name="connsiteY3" fmla="*/ 2320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9" y="2068"/>
                        </a:cubicBezTo>
                        <a:cubicBezTo>
                          <a:pt x="1783" y="2696"/>
                          <a:pt x="1281" y="2822"/>
                          <a:pt x="778" y="2320"/>
                        </a:cubicBezTo>
                        <a:cubicBezTo>
                          <a:pt x="276" y="1817"/>
                          <a:pt x="-101" y="1189"/>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 name="Freeform: Shape 509">
                    <a:extLst>
                      <a:ext uri="{FF2B5EF4-FFF2-40B4-BE49-F238E27FC236}">
                        <a16:creationId xmlns:a16="http://schemas.microsoft.com/office/drawing/2014/main" id="{8C697345-95EC-49BA-B36F-5D2F5E1F2955}"/>
                      </a:ext>
                    </a:extLst>
                  </p:cNvPr>
                  <p:cNvSpPr/>
                  <p:nvPr/>
                </p:nvSpPr>
                <p:spPr>
                  <a:xfrm>
                    <a:off x="10716505" y="3587622"/>
                    <a:ext cx="1884" cy="2485"/>
                  </a:xfrm>
                  <a:custGeom>
                    <a:avLst/>
                    <a:gdLst>
                      <a:gd name="connsiteX0" fmla="*/ 502 w 1884"/>
                      <a:gd name="connsiteY0" fmla="*/ 1977 h 2485"/>
                      <a:gd name="connsiteX1" fmla="*/ 126 w 1884"/>
                      <a:gd name="connsiteY1" fmla="*/ 219 h 2485"/>
                      <a:gd name="connsiteX2" fmla="*/ 1381 w 1884"/>
                      <a:gd name="connsiteY2" fmla="*/ 470 h 2485"/>
                      <a:gd name="connsiteX3" fmla="*/ 1759 w 1884"/>
                      <a:gd name="connsiteY3" fmla="*/ 2229 h 2485"/>
                      <a:gd name="connsiteX4" fmla="*/ 502 w 1884"/>
                      <a:gd name="connsiteY4" fmla="*/ 1977 h 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4" h="2485">
                        <a:moveTo>
                          <a:pt x="502" y="1977"/>
                        </a:moveTo>
                        <a:cubicBezTo>
                          <a:pt x="0" y="1475"/>
                          <a:pt x="-126" y="596"/>
                          <a:pt x="126" y="219"/>
                        </a:cubicBezTo>
                        <a:cubicBezTo>
                          <a:pt x="377" y="-158"/>
                          <a:pt x="1005" y="-32"/>
                          <a:pt x="1381" y="470"/>
                        </a:cubicBezTo>
                        <a:cubicBezTo>
                          <a:pt x="1884" y="973"/>
                          <a:pt x="2010" y="1852"/>
                          <a:pt x="1759" y="2229"/>
                        </a:cubicBezTo>
                        <a:cubicBezTo>
                          <a:pt x="1507" y="2605"/>
                          <a:pt x="1005" y="2605"/>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 name="Freeform: Shape 510">
                    <a:extLst>
                      <a:ext uri="{FF2B5EF4-FFF2-40B4-BE49-F238E27FC236}">
                        <a16:creationId xmlns:a16="http://schemas.microsoft.com/office/drawing/2014/main" id="{93A17E91-A883-4429-B407-4DF4EF163B24}"/>
                      </a:ext>
                    </a:extLst>
                  </p:cNvPr>
                  <p:cNvSpPr/>
                  <p:nvPr/>
                </p:nvSpPr>
                <p:spPr>
                  <a:xfrm>
                    <a:off x="10708241" y="3582818"/>
                    <a:ext cx="1834" cy="2511"/>
                  </a:xfrm>
                  <a:custGeom>
                    <a:avLst/>
                    <a:gdLst>
                      <a:gd name="connsiteX0" fmla="*/ 1733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3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3" y="1256"/>
                        </a:moveTo>
                        <a:cubicBezTo>
                          <a:pt x="1985" y="2010"/>
                          <a:pt x="1733" y="2512"/>
                          <a:pt x="1357" y="2512"/>
                        </a:cubicBezTo>
                        <a:cubicBezTo>
                          <a:pt x="855" y="2512"/>
                          <a:pt x="226" y="2010"/>
                          <a:pt x="101" y="1256"/>
                        </a:cubicBezTo>
                        <a:cubicBezTo>
                          <a:pt x="-150" y="502"/>
                          <a:pt x="101" y="0"/>
                          <a:pt x="478" y="0"/>
                        </a:cubicBezTo>
                        <a:cubicBezTo>
                          <a:pt x="855" y="0"/>
                          <a:pt x="1483" y="628"/>
                          <a:pt x="1733"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512" name="Freeform: Shape 511">
              <a:extLst>
                <a:ext uri="{FF2B5EF4-FFF2-40B4-BE49-F238E27FC236}">
                  <a16:creationId xmlns:a16="http://schemas.microsoft.com/office/drawing/2014/main" id="{C718E474-5695-48CC-9491-BA06ED458D4F}"/>
                </a:ext>
              </a:extLst>
            </p:cNvPr>
            <p:cNvSpPr/>
            <p:nvPr/>
          </p:nvSpPr>
          <p:spPr>
            <a:xfrm>
              <a:off x="10650066" y="3507586"/>
              <a:ext cx="111151" cy="106975"/>
            </a:xfrm>
            <a:custGeom>
              <a:avLst/>
              <a:gdLst>
                <a:gd name="connsiteX0" fmla="*/ 111025 w 111151"/>
                <a:gd name="connsiteY0" fmla="*/ 56392 h 106975"/>
                <a:gd name="connsiteX1" fmla="*/ 97587 w 111151"/>
                <a:gd name="connsiteY1" fmla="*/ 56392 h 106975"/>
                <a:gd name="connsiteX2" fmla="*/ 0 w 111151"/>
                <a:gd name="connsiteY2" fmla="*/ 0 h 106975"/>
                <a:gd name="connsiteX3" fmla="*/ 0 w 111151"/>
                <a:gd name="connsiteY3" fmla="*/ 48982 h 106975"/>
                <a:gd name="connsiteX4" fmla="*/ 38055 w 111151"/>
                <a:gd name="connsiteY4" fmla="*/ 70961 h 106975"/>
                <a:gd name="connsiteX5" fmla="*/ 38055 w 111151"/>
                <a:gd name="connsiteY5" fmla="*/ 63049 h 106975"/>
                <a:gd name="connsiteX6" fmla="*/ 40693 w 111151"/>
                <a:gd name="connsiteY6" fmla="*/ 52875 h 106975"/>
                <a:gd name="connsiteX7" fmla="*/ 46847 w 111151"/>
                <a:gd name="connsiteY7" fmla="*/ 43707 h 106975"/>
                <a:gd name="connsiteX8" fmla="*/ 46847 w 111151"/>
                <a:gd name="connsiteY8" fmla="*/ 41572 h 106975"/>
                <a:gd name="connsiteX9" fmla="*/ 80632 w 111151"/>
                <a:gd name="connsiteY9" fmla="*/ 61039 h 106975"/>
                <a:gd name="connsiteX10" fmla="*/ 86158 w 111151"/>
                <a:gd name="connsiteY10" fmla="*/ 72091 h 106975"/>
                <a:gd name="connsiteX11" fmla="*/ 90931 w 111151"/>
                <a:gd name="connsiteY11" fmla="*/ 90428 h 106975"/>
                <a:gd name="connsiteX12" fmla="*/ 90931 w 111151"/>
                <a:gd name="connsiteY12" fmla="*/ 101606 h 106975"/>
                <a:gd name="connsiteX13" fmla="*/ 97587 w 111151"/>
                <a:gd name="connsiteY13" fmla="*/ 105374 h 106975"/>
                <a:gd name="connsiteX14" fmla="*/ 111025 w 111151"/>
                <a:gd name="connsiteY14" fmla="*/ 105374 h 106975"/>
                <a:gd name="connsiteX15" fmla="*/ 111151 w 111151"/>
                <a:gd name="connsiteY15" fmla="*/ 105374 h 106975"/>
                <a:gd name="connsiteX16" fmla="*/ 111025 w 111151"/>
                <a:gd name="connsiteY16" fmla="*/ 56392 h 106975"/>
                <a:gd name="connsiteX17" fmla="*/ 111025 w 111151"/>
                <a:gd name="connsiteY17" fmla="*/ 56392 h 106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1151" h="106975">
                  <a:moveTo>
                    <a:pt x="111025" y="56392"/>
                  </a:moveTo>
                  <a:cubicBezTo>
                    <a:pt x="107383" y="58527"/>
                    <a:pt x="101355" y="58527"/>
                    <a:pt x="97587" y="56392"/>
                  </a:cubicBezTo>
                  <a:lnTo>
                    <a:pt x="0" y="0"/>
                  </a:lnTo>
                  <a:lnTo>
                    <a:pt x="0" y="48982"/>
                  </a:lnTo>
                  <a:lnTo>
                    <a:pt x="38055" y="70961"/>
                  </a:lnTo>
                  <a:lnTo>
                    <a:pt x="38055" y="63049"/>
                  </a:lnTo>
                  <a:cubicBezTo>
                    <a:pt x="38055" y="58904"/>
                    <a:pt x="38934" y="55387"/>
                    <a:pt x="40693" y="52875"/>
                  </a:cubicBezTo>
                  <a:lnTo>
                    <a:pt x="46847" y="43707"/>
                  </a:lnTo>
                  <a:lnTo>
                    <a:pt x="46847" y="41572"/>
                  </a:lnTo>
                  <a:lnTo>
                    <a:pt x="80632" y="61039"/>
                  </a:lnTo>
                  <a:lnTo>
                    <a:pt x="86158" y="72091"/>
                  </a:lnTo>
                  <a:cubicBezTo>
                    <a:pt x="89298" y="78246"/>
                    <a:pt x="90931" y="84776"/>
                    <a:pt x="90931" y="90428"/>
                  </a:cubicBezTo>
                  <a:lnTo>
                    <a:pt x="90931" y="101606"/>
                  </a:lnTo>
                  <a:lnTo>
                    <a:pt x="97587" y="105374"/>
                  </a:lnTo>
                  <a:cubicBezTo>
                    <a:pt x="101229" y="107509"/>
                    <a:pt x="107258" y="107509"/>
                    <a:pt x="111025" y="105374"/>
                  </a:cubicBezTo>
                  <a:lnTo>
                    <a:pt x="111151" y="105374"/>
                  </a:lnTo>
                  <a:lnTo>
                    <a:pt x="111025" y="56392"/>
                  </a:lnTo>
                  <a:lnTo>
                    <a:pt x="111025" y="56392"/>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3" name="Graphic 4">
              <a:extLst>
                <a:ext uri="{FF2B5EF4-FFF2-40B4-BE49-F238E27FC236}">
                  <a16:creationId xmlns:a16="http://schemas.microsoft.com/office/drawing/2014/main" id="{84FB7ED1-A2DF-40A1-A747-5F7CF3F14040}"/>
                </a:ext>
              </a:extLst>
            </p:cNvPr>
            <p:cNvGrpSpPr/>
            <p:nvPr/>
          </p:nvGrpSpPr>
          <p:grpSpPr>
            <a:xfrm>
              <a:off x="10666016" y="3514117"/>
              <a:ext cx="31398" cy="60034"/>
              <a:chOff x="10666016" y="3514117"/>
              <a:chExt cx="31398" cy="60034"/>
            </a:xfrm>
            <a:solidFill>
              <a:schemeClr val="accent1"/>
            </a:solidFill>
          </p:grpSpPr>
          <p:sp>
            <p:nvSpPr>
              <p:cNvPr id="514" name="Freeform: Shape 513">
                <a:extLst>
                  <a:ext uri="{FF2B5EF4-FFF2-40B4-BE49-F238E27FC236}">
                    <a16:creationId xmlns:a16="http://schemas.microsoft.com/office/drawing/2014/main" id="{68D01227-F076-49F0-9121-C88FAD688A4C}"/>
                  </a:ext>
                </a:extLst>
              </p:cNvPr>
              <p:cNvSpPr/>
              <p:nvPr/>
            </p:nvSpPr>
            <p:spPr>
              <a:xfrm>
                <a:off x="10671668" y="3514117"/>
                <a:ext cx="25746" cy="54131"/>
              </a:xfrm>
              <a:custGeom>
                <a:avLst/>
                <a:gdLst>
                  <a:gd name="connsiteX0" fmla="*/ 20598 w 25746"/>
                  <a:gd name="connsiteY0" fmla="*/ 17834 h 54131"/>
                  <a:gd name="connsiteX1" fmla="*/ 25747 w 25746"/>
                  <a:gd name="connsiteY1" fmla="*/ 14946 h 54131"/>
                  <a:gd name="connsiteX2" fmla="*/ 0 w 25746"/>
                  <a:gd name="connsiteY2" fmla="*/ 0 h 54131"/>
                  <a:gd name="connsiteX3" fmla="*/ 0 w 25746"/>
                  <a:gd name="connsiteY3" fmla="*/ 46219 h 54131"/>
                  <a:gd name="connsiteX4" fmla="*/ 13816 w 25746"/>
                  <a:gd name="connsiteY4" fmla="*/ 54131 h 54131"/>
                  <a:gd name="connsiteX5" fmla="*/ 13816 w 25746"/>
                  <a:gd name="connsiteY5" fmla="*/ 28259 h 54131"/>
                  <a:gd name="connsiteX6" fmla="*/ 20598 w 25746"/>
                  <a:gd name="connsiteY6" fmla="*/ 32278 h 5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46" h="54131">
                    <a:moveTo>
                      <a:pt x="20598" y="17834"/>
                    </a:moveTo>
                    <a:lnTo>
                      <a:pt x="25747" y="14946"/>
                    </a:lnTo>
                    <a:lnTo>
                      <a:pt x="0" y="0"/>
                    </a:lnTo>
                    <a:lnTo>
                      <a:pt x="0" y="46219"/>
                    </a:lnTo>
                    <a:lnTo>
                      <a:pt x="13816" y="54131"/>
                    </a:lnTo>
                    <a:lnTo>
                      <a:pt x="13816" y="28259"/>
                    </a:lnTo>
                    <a:lnTo>
                      <a:pt x="20598" y="32278"/>
                    </a:lnTo>
                    <a:close/>
                  </a:path>
                </a:pathLst>
              </a:custGeom>
              <a:solidFill>
                <a:srgbClr val="1A1A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 name="Freeform: Shape 514">
                <a:extLst>
                  <a:ext uri="{FF2B5EF4-FFF2-40B4-BE49-F238E27FC236}">
                    <a16:creationId xmlns:a16="http://schemas.microsoft.com/office/drawing/2014/main" id="{AA3B0EC4-665B-42C2-A515-7C734BEA3A02}"/>
                  </a:ext>
                </a:extLst>
              </p:cNvPr>
              <p:cNvSpPr/>
              <p:nvPr/>
            </p:nvSpPr>
            <p:spPr>
              <a:xfrm>
                <a:off x="10666645" y="3514117"/>
                <a:ext cx="5023" cy="49107"/>
              </a:xfrm>
              <a:custGeom>
                <a:avLst/>
                <a:gdLst>
                  <a:gd name="connsiteX0" fmla="*/ 0 w 5023"/>
                  <a:gd name="connsiteY0" fmla="*/ 3014 h 49107"/>
                  <a:gd name="connsiteX1" fmla="*/ 0 w 5023"/>
                  <a:gd name="connsiteY1" fmla="*/ 49108 h 49107"/>
                  <a:gd name="connsiteX2" fmla="*/ 5023 w 5023"/>
                  <a:gd name="connsiteY2" fmla="*/ 46219 h 49107"/>
                  <a:gd name="connsiteX3" fmla="*/ 5023 w 5023"/>
                  <a:gd name="connsiteY3" fmla="*/ 0 h 49107"/>
                </a:gdLst>
                <a:ahLst/>
                <a:cxnLst>
                  <a:cxn ang="0">
                    <a:pos x="connsiteX0" y="connsiteY0"/>
                  </a:cxn>
                  <a:cxn ang="0">
                    <a:pos x="connsiteX1" y="connsiteY1"/>
                  </a:cxn>
                  <a:cxn ang="0">
                    <a:pos x="connsiteX2" y="connsiteY2"/>
                  </a:cxn>
                  <a:cxn ang="0">
                    <a:pos x="connsiteX3" y="connsiteY3"/>
                  </a:cxn>
                </a:cxnLst>
                <a:rect l="l" t="t" r="r" b="b"/>
                <a:pathLst>
                  <a:path w="5023" h="49107">
                    <a:moveTo>
                      <a:pt x="0" y="3014"/>
                    </a:moveTo>
                    <a:lnTo>
                      <a:pt x="0" y="49108"/>
                    </a:lnTo>
                    <a:lnTo>
                      <a:pt x="5023" y="46219"/>
                    </a:lnTo>
                    <a:lnTo>
                      <a:pt x="5023" y="0"/>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6" name="Freeform: Shape 515">
                <a:extLst>
                  <a:ext uri="{FF2B5EF4-FFF2-40B4-BE49-F238E27FC236}">
                    <a16:creationId xmlns:a16="http://schemas.microsoft.com/office/drawing/2014/main" id="{FEF6C501-294A-4094-972E-EC128A1D64A2}"/>
                  </a:ext>
                </a:extLst>
              </p:cNvPr>
              <p:cNvSpPr/>
              <p:nvPr/>
            </p:nvSpPr>
            <p:spPr>
              <a:xfrm>
                <a:off x="10666016" y="3547400"/>
                <a:ext cx="19592" cy="13815"/>
              </a:xfrm>
              <a:custGeom>
                <a:avLst/>
                <a:gdLst>
                  <a:gd name="connsiteX0" fmla="*/ 19593 w 19592"/>
                  <a:gd name="connsiteY0" fmla="*/ 13816 h 13815"/>
                  <a:gd name="connsiteX1" fmla="*/ 0 w 19592"/>
                  <a:gd name="connsiteY1" fmla="*/ 2512 h 13815"/>
                  <a:gd name="connsiteX2" fmla="*/ 629 w 19592"/>
                  <a:gd name="connsiteY2" fmla="*/ 0 h 13815"/>
                  <a:gd name="connsiteX3" fmla="*/ 19468 w 19592"/>
                  <a:gd name="connsiteY3" fmla="*/ 10927 h 13815"/>
                </a:gdLst>
                <a:ahLst/>
                <a:cxnLst>
                  <a:cxn ang="0">
                    <a:pos x="connsiteX0" y="connsiteY0"/>
                  </a:cxn>
                  <a:cxn ang="0">
                    <a:pos x="connsiteX1" y="connsiteY1"/>
                  </a:cxn>
                  <a:cxn ang="0">
                    <a:pos x="connsiteX2" y="connsiteY2"/>
                  </a:cxn>
                  <a:cxn ang="0">
                    <a:pos x="connsiteX3" y="connsiteY3"/>
                  </a:cxn>
                </a:cxnLst>
                <a:rect l="l" t="t" r="r" b="b"/>
                <a:pathLst>
                  <a:path w="19592" h="13815">
                    <a:moveTo>
                      <a:pt x="19593" y="13816"/>
                    </a:moveTo>
                    <a:lnTo>
                      <a:pt x="0" y="2512"/>
                    </a:lnTo>
                    <a:lnTo>
                      <a:pt x="629" y="0"/>
                    </a:lnTo>
                    <a:lnTo>
                      <a:pt x="19468" y="10927"/>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 name="Freeform: Shape 516">
                <a:extLst>
                  <a:ext uri="{FF2B5EF4-FFF2-40B4-BE49-F238E27FC236}">
                    <a16:creationId xmlns:a16="http://schemas.microsoft.com/office/drawing/2014/main" id="{B5F3614A-8439-4ED4-958A-3126A48A8D0B}"/>
                  </a:ext>
                </a:extLst>
              </p:cNvPr>
              <p:cNvSpPr/>
              <p:nvPr/>
            </p:nvSpPr>
            <p:spPr>
              <a:xfrm>
                <a:off x="10666267" y="3531450"/>
                <a:ext cx="19592" cy="13941"/>
              </a:xfrm>
              <a:custGeom>
                <a:avLst/>
                <a:gdLst>
                  <a:gd name="connsiteX0" fmla="*/ 19593 w 19592"/>
                  <a:gd name="connsiteY0" fmla="*/ 13941 h 13941"/>
                  <a:gd name="connsiteX1" fmla="*/ 0 w 19592"/>
                  <a:gd name="connsiteY1" fmla="*/ 2763 h 13941"/>
                  <a:gd name="connsiteX2" fmla="*/ 377 w 19592"/>
                  <a:gd name="connsiteY2" fmla="*/ 0 h 13941"/>
                  <a:gd name="connsiteX3" fmla="*/ 19216 w 19592"/>
                  <a:gd name="connsiteY3" fmla="*/ 10927 h 13941"/>
                </a:gdLst>
                <a:ahLst/>
                <a:cxnLst>
                  <a:cxn ang="0">
                    <a:pos x="connsiteX0" y="connsiteY0"/>
                  </a:cxn>
                  <a:cxn ang="0">
                    <a:pos x="connsiteX1" y="connsiteY1"/>
                  </a:cxn>
                  <a:cxn ang="0">
                    <a:pos x="connsiteX2" y="connsiteY2"/>
                  </a:cxn>
                  <a:cxn ang="0">
                    <a:pos x="connsiteX3" y="connsiteY3"/>
                  </a:cxn>
                </a:cxnLst>
                <a:rect l="l" t="t" r="r" b="b"/>
                <a:pathLst>
                  <a:path w="19592" h="13941">
                    <a:moveTo>
                      <a:pt x="19593" y="13941"/>
                    </a:moveTo>
                    <a:lnTo>
                      <a:pt x="0" y="2763"/>
                    </a:lnTo>
                    <a:lnTo>
                      <a:pt x="377" y="0"/>
                    </a:lnTo>
                    <a:lnTo>
                      <a:pt x="19216" y="10927"/>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 name="Freeform: Shape 517">
                <a:extLst>
                  <a:ext uri="{FF2B5EF4-FFF2-40B4-BE49-F238E27FC236}">
                    <a16:creationId xmlns:a16="http://schemas.microsoft.com/office/drawing/2014/main" id="{1402CB2F-8909-4E69-B10F-54824FB95C83}"/>
                  </a:ext>
                </a:extLst>
              </p:cNvPr>
              <p:cNvSpPr/>
              <p:nvPr/>
            </p:nvSpPr>
            <p:spPr>
              <a:xfrm>
                <a:off x="10666645" y="3560336"/>
                <a:ext cx="18839" cy="13815"/>
              </a:xfrm>
              <a:custGeom>
                <a:avLst/>
                <a:gdLst>
                  <a:gd name="connsiteX0" fmla="*/ 5023 w 18839"/>
                  <a:gd name="connsiteY0" fmla="*/ 0 h 13815"/>
                  <a:gd name="connsiteX1" fmla="*/ 0 w 18839"/>
                  <a:gd name="connsiteY1" fmla="*/ 2889 h 13815"/>
                  <a:gd name="connsiteX2" fmla="*/ 18839 w 18839"/>
                  <a:gd name="connsiteY2" fmla="*/ 13815 h 13815"/>
                  <a:gd name="connsiteX3" fmla="*/ 18839 w 18839"/>
                  <a:gd name="connsiteY3" fmla="*/ 7912 h 13815"/>
                </a:gdLst>
                <a:ahLst/>
                <a:cxnLst>
                  <a:cxn ang="0">
                    <a:pos x="connsiteX0" y="connsiteY0"/>
                  </a:cxn>
                  <a:cxn ang="0">
                    <a:pos x="connsiteX1" y="connsiteY1"/>
                  </a:cxn>
                  <a:cxn ang="0">
                    <a:pos x="connsiteX2" y="connsiteY2"/>
                  </a:cxn>
                  <a:cxn ang="0">
                    <a:pos x="connsiteX3" y="connsiteY3"/>
                  </a:cxn>
                </a:cxnLst>
                <a:rect l="l" t="t" r="r" b="b"/>
                <a:pathLst>
                  <a:path w="18839" h="13815">
                    <a:moveTo>
                      <a:pt x="5023" y="0"/>
                    </a:moveTo>
                    <a:lnTo>
                      <a:pt x="0" y="2889"/>
                    </a:lnTo>
                    <a:lnTo>
                      <a:pt x="18839" y="13815"/>
                    </a:lnTo>
                    <a:lnTo>
                      <a:pt x="18839" y="7912"/>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 name="Freeform: Shape 518">
                <a:extLst>
                  <a:ext uri="{FF2B5EF4-FFF2-40B4-BE49-F238E27FC236}">
                    <a16:creationId xmlns:a16="http://schemas.microsoft.com/office/drawing/2014/main" id="{0B5A6E9D-1CD3-4DE6-A14E-45A0D3337228}"/>
                  </a:ext>
                </a:extLst>
              </p:cNvPr>
              <p:cNvSpPr/>
              <p:nvPr/>
            </p:nvSpPr>
            <p:spPr>
              <a:xfrm>
                <a:off x="10666645" y="3544511"/>
                <a:ext cx="18839" cy="13815"/>
              </a:xfrm>
              <a:custGeom>
                <a:avLst/>
                <a:gdLst>
                  <a:gd name="connsiteX0" fmla="*/ 5023 w 18839"/>
                  <a:gd name="connsiteY0" fmla="*/ 0 h 13815"/>
                  <a:gd name="connsiteX1" fmla="*/ 0 w 18839"/>
                  <a:gd name="connsiteY1" fmla="*/ 2889 h 13815"/>
                  <a:gd name="connsiteX2" fmla="*/ 18839 w 18839"/>
                  <a:gd name="connsiteY2" fmla="*/ 13816 h 13815"/>
                  <a:gd name="connsiteX3" fmla="*/ 18839 w 18839"/>
                  <a:gd name="connsiteY3" fmla="*/ 7913 h 13815"/>
                </a:gdLst>
                <a:ahLst/>
                <a:cxnLst>
                  <a:cxn ang="0">
                    <a:pos x="connsiteX0" y="connsiteY0"/>
                  </a:cxn>
                  <a:cxn ang="0">
                    <a:pos x="connsiteX1" y="connsiteY1"/>
                  </a:cxn>
                  <a:cxn ang="0">
                    <a:pos x="connsiteX2" y="connsiteY2"/>
                  </a:cxn>
                  <a:cxn ang="0">
                    <a:pos x="connsiteX3" y="connsiteY3"/>
                  </a:cxn>
                </a:cxnLst>
                <a:rect l="l" t="t" r="r" b="b"/>
                <a:pathLst>
                  <a:path w="18839" h="13815">
                    <a:moveTo>
                      <a:pt x="5023" y="0"/>
                    </a:moveTo>
                    <a:lnTo>
                      <a:pt x="0" y="2889"/>
                    </a:lnTo>
                    <a:lnTo>
                      <a:pt x="18839" y="13816"/>
                    </a:lnTo>
                    <a:lnTo>
                      <a:pt x="18839" y="7913"/>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 name="Freeform: Shape 519">
                <a:extLst>
                  <a:ext uri="{FF2B5EF4-FFF2-40B4-BE49-F238E27FC236}">
                    <a16:creationId xmlns:a16="http://schemas.microsoft.com/office/drawing/2014/main" id="{9B0A6662-BB4E-461F-8088-40379729CB0E}"/>
                  </a:ext>
                </a:extLst>
              </p:cNvPr>
              <p:cNvSpPr/>
              <p:nvPr/>
            </p:nvSpPr>
            <p:spPr>
              <a:xfrm>
                <a:off x="10666645" y="3528561"/>
                <a:ext cx="25621" cy="17834"/>
              </a:xfrm>
              <a:custGeom>
                <a:avLst/>
                <a:gdLst>
                  <a:gd name="connsiteX0" fmla="*/ 5023 w 25621"/>
                  <a:gd name="connsiteY0" fmla="*/ 0 h 17834"/>
                  <a:gd name="connsiteX1" fmla="*/ 0 w 25621"/>
                  <a:gd name="connsiteY1" fmla="*/ 2889 h 17834"/>
                  <a:gd name="connsiteX2" fmla="*/ 25621 w 25621"/>
                  <a:gd name="connsiteY2" fmla="*/ 17835 h 17834"/>
                  <a:gd name="connsiteX3" fmla="*/ 25621 w 25621"/>
                  <a:gd name="connsiteY3" fmla="*/ 11932 h 17834"/>
                </a:gdLst>
                <a:ahLst/>
                <a:cxnLst>
                  <a:cxn ang="0">
                    <a:pos x="connsiteX0" y="connsiteY0"/>
                  </a:cxn>
                  <a:cxn ang="0">
                    <a:pos x="connsiteX1" y="connsiteY1"/>
                  </a:cxn>
                  <a:cxn ang="0">
                    <a:pos x="connsiteX2" y="connsiteY2"/>
                  </a:cxn>
                  <a:cxn ang="0">
                    <a:pos x="connsiteX3" y="connsiteY3"/>
                  </a:cxn>
                </a:cxnLst>
                <a:rect l="l" t="t" r="r" b="b"/>
                <a:pathLst>
                  <a:path w="25621" h="17834">
                    <a:moveTo>
                      <a:pt x="5023" y="0"/>
                    </a:moveTo>
                    <a:lnTo>
                      <a:pt x="0" y="2889"/>
                    </a:lnTo>
                    <a:lnTo>
                      <a:pt x="25621" y="17835"/>
                    </a:lnTo>
                    <a:lnTo>
                      <a:pt x="25621" y="11932"/>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1" name="Freeform: Shape 520">
              <a:extLst>
                <a:ext uri="{FF2B5EF4-FFF2-40B4-BE49-F238E27FC236}">
                  <a16:creationId xmlns:a16="http://schemas.microsoft.com/office/drawing/2014/main" id="{C08F5B59-42CA-453A-BBA3-36FE7D39AC22}"/>
                </a:ext>
              </a:extLst>
            </p:cNvPr>
            <p:cNvSpPr/>
            <p:nvPr/>
          </p:nvSpPr>
          <p:spPr>
            <a:xfrm>
              <a:off x="10752551" y="3567746"/>
              <a:ext cx="7410" cy="22732"/>
            </a:xfrm>
            <a:custGeom>
              <a:avLst/>
              <a:gdLst>
                <a:gd name="connsiteX0" fmla="*/ 0 w 7410"/>
                <a:gd name="connsiteY0" fmla="*/ 1005 h 22732"/>
                <a:gd name="connsiteX1" fmla="*/ 0 w 7410"/>
                <a:gd name="connsiteY1" fmla="*/ 16327 h 22732"/>
                <a:gd name="connsiteX2" fmla="*/ 7410 w 7410"/>
                <a:gd name="connsiteY2" fmla="*/ 22733 h 22732"/>
                <a:gd name="connsiteX3" fmla="*/ 7410 w 7410"/>
                <a:gd name="connsiteY3" fmla="*/ 0 h 22732"/>
                <a:gd name="connsiteX4" fmla="*/ 0 w 7410"/>
                <a:gd name="connsiteY4" fmla="*/ 1005 h 22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 h="22732">
                  <a:moveTo>
                    <a:pt x="0" y="1005"/>
                  </a:moveTo>
                  <a:lnTo>
                    <a:pt x="0" y="16327"/>
                  </a:lnTo>
                  <a:cubicBezTo>
                    <a:pt x="0" y="22858"/>
                    <a:pt x="7410" y="22733"/>
                    <a:pt x="7410" y="22733"/>
                  </a:cubicBezTo>
                  <a:lnTo>
                    <a:pt x="7410" y="0"/>
                  </a:lnTo>
                  <a:cubicBezTo>
                    <a:pt x="5150" y="1005"/>
                    <a:pt x="2512" y="1382"/>
                    <a:pt x="0" y="1005"/>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 name="Freeform: Shape 521">
              <a:extLst>
                <a:ext uri="{FF2B5EF4-FFF2-40B4-BE49-F238E27FC236}">
                  <a16:creationId xmlns:a16="http://schemas.microsoft.com/office/drawing/2014/main" id="{1F8BCEC4-3E23-4646-AAB0-5420DFB2B623}"/>
                </a:ext>
              </a:extLst>
            </p:cNvPr>
            <p:cNvSpPr/>
            <p:nvPr/>
          </p:nvSpPr>
          <p:spPr>
            <a:xfrm>
              <a:off x="10730196" y="3553805"/>
              <a:ext cx="627" cy="14820"/>
            </a:xfrm>
            <a:custGeom>
              <a:avLst/>
              <a:gdLst>
                <a:gd name="connsiteX0" fmla="*/ 628 w 627"/>
                <a:gd name="connsiteY0" fmla="*/ 14820 h 14820"/>
                <a:gd name="connsiteX1" fmla="*/ 0 w 627"/>
                <a:gd name="connsiteY1" fmla="*/ 14443 h 14820"/>
                <a:gd name="connsiteX2" fmla="*/ 0 w 627"/>
                <a:gd name="connsiteY2" fmla="*/ 0 h 14820"/>
                <a:gd name="connsiteX3" fmla="*/ 628 w 627"/>
                <a:gd name="connsiteY3" fmla="*/ 377 h 14820"/>
              </a:gdLst>
              <a:ahLst/>
              <a:cxnLst>
                <a:cxn ang="0">
                  <a:pos x="connsiteX0" y="connsiteY0"/>
                </a:cxn>
                <a:cxn ang="0">
                  <a:pos x="connsiteX1" y="connsiteY1"/>
                </a:cxn>
                <a:cxn ang="0">
                  <a:pos x="connsiteX2" y="connsiteY2"/>
                </a:cxn>
                <a:cxn ang="0">
                  <a:pos x="connsiteX3" y="connsiteY3"/>
                </a:cxn>
              </a:cxnLst>
              <a:rect l="l" t="t" r="r" b="b"/>
              <a:pathLst>
                <a:path w="627" h="14820">
                  <a:moveTo>
                    <a:pt x="628" y="14820"/>
                  </a:moveTo>
                  <a:lnTo>
                    <a:pt x="0" y="14443"/>
                  </a:lnTo>
                  <a:lnTo>
                    <a:pt x="0" y="0"/>
                  </a:lnTo>
                  <a:lnTo>
                    <a:pt x="628"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3" name="Freeform: Shape 522">
              <a:extLst>
                <a:ext uri="{FF2B5EF4-FFF2-40B4-BE49-F238E27FC236}">
                  <a16:creationId xmlns:a16="http://schemas.microsoft.com/office/drawing/2014/main" id="{EDCC464A-BD3F-4FB9-BAB3-B7BA33195C99}"/>
                </a:ext>
              </a:extLst>
            </p:cNvPr>
            <p:cNvSpPr/>
            <p:nvPr/>
          </p:nvSpPr>
          <p:spPr>
            <a:xfrm>
              <a:off x="10697038" y="3534715"/>
              <a:ext cx="627" cy="14820"/>
            </a:xfrm>
            <a:custGeom>
              <a:avLst/>
              <a:gdLst>
                <a:gd name="connsiteX0" fmla="*/ 628 w 627"/>
                <a:gd name="connsiteY0" fmla="*/ 14820 h 14820"/>
                <a:gd name="connsiteX1" fmla="*/ 0 w 627"/>
                <a:gd name="connsiteY1" fmla="*/ 14444 h 14820"/>
                <a:gd name="connsiteX2" fmla="*/ 0 w 627"/>
                <a:gd name="connsiteY2" fmla="*/ 0 h 14820"/>
                <a:gd name="connsiteX3" fmla="*/ 628 w 627"/>
                <a:gd name="connsiteY3" fmla="*/ 251 h 14820"/>
              </a:gdLst>
              <a:ahLst/>
              <a:cxnLst>
                <a:cxn ang="0">
                  <a:pos x="connsiteX0" y="connsiteY0"/>
                </a:cxn>
                <a:cxn ang="0">
                  <a:pos x="connsiteX1" y="connsiteY1"/>
                </a:cxn>
                <a:cxn ang="0">
                  <a:pos x="connsiteX2" y="connsiteY2"/>
                </a:cxn>
                <a:cxn ang="0">
                  <a:pos x="connsiteX3" y="connsiteY3"/>
                </a:cxn>
              </a:cxnLst>
              <a:rect l="l" t="t" r="r" b="b"/>
              <a:pathLst>
                <a:path w="627" h="14820">
                  <a:moveTo>
                    <a:pt x="628" y="14820"/>
                  </a:moveTo>
                  <a:lnTo>
                    <a:pt x="0" y="14444"/>
                  </a:lnTo>
                  <a:lnTo>
                    <a:pt x="0" y="0"/>
                  </a:lnTo>
                  <a:lnTo>
                    <a:pt x="628" y="251"/>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4" name="Freeform: Shape 523">
              <a:extLst>
                <a:ext uri="{FF2B5EF4-FFF2-40B4-BE49-F238E27FC236}">
                  <a16:creationId xmlns:a16="http://schemas.microsoft.com/office/drawing/2014/main" id="{03D591ED-653F-4861-A76A-0226BABCD96E}"/>
                </a:ext>
              </a:extLst>
            </p:cNvPr>
            <p:cNvSpPr/>
            <p:nvPr/>
          </p:nvSpPr>
          <p:spPr>
            <a:xfrm>
              <a:off x="10843607" y="3486110"/>
              <a:ext cx="12559" cy="251"/>
            </a:xfrm>
            <a:custGeom>
              <a:avLst/>
              <a:gdLst>
                <a:gd name="connsiteX0" fmla="*/ 0 w 12559"/>
                <a:gd name="connsiteY0" fmla="*/ 0 h 251"/>
                <a:gd name="connsiteX1" fmla="*/ 0 w 12559"/>
                <a:gd name="connsiteY1" fmla="*/ 251 h 251"/>
                <a:gd name="connsiteX2" fmla="*/ 0 w 12559"/>
                <a:gd name="connsiteY2" fmla="*/ 0 h 251"/>
              </a:gdLst>
              <a:ahLst/>
              <a:cxnLst>
                <a:cxn ang="0">
                  <a:pos x="connsiteX0" y="connsiteY0"/>
                </a:cxn>
                <a:cxn ang="0">
                  <a:pos x="connsiteX1" y="connsiteY1"/>
                </a:cxn>
                <a:cxn ang="0">
                  <a:pos x="connsiteX2" y="connsiteY2"/>
                </a:cxn>
              </a:cxnLst>
              <a:rect l="l" t="t" r="r" b="b"/>
              <a:pathLst>
                <a:path w="12559" h="251">
                  <a:moveTo>
                    <a:pt x="0" y="0"/>
                  </a:moveTo>
                  <a:lnTo>
                    <a:pt x="0" y="251"/>
                  </a:lnTo>
                  <a:cubicBezTo>
                    <a:pt x="0" y="126"/>
                    <a:pt x="0" y="0"/>
                    <a:pt x="0" y="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 name="Freeform: Shape 524">
              <a:extLst>
                <a:ext uri="{FF2B5EF4-FFF2-40B4-BE49-F238E27FC236}">
                  <a16:creationId xmlns:a16="http://schemas.microsoft.com/office/drawing/2014/main" id="{7175207E-9BB3-4E2B-9AEC-F68E975DD0D5}"/>
                </a:ext>
              </a:extLst>
            </p:cNvPr>
            <p:cNvSpPr/>
            <p:nvPr/>
          </p:nvSpPr>
          <p:spPr>
            <a:xfrm>
              <a:off x="10698420" y="3507461"/>
              <a:ext cx="34915" cy="44460"/>
            </a:xfrm>
            <a:custGeom>
              <a:avLst/>
              <a:gdLst>
                <a:gd name="connsiteX0" fmla="*/ 17206 w 34915"/>
                <a:gd name="connsiteY0" fmla="*/ 10048 h 44460"/>
                <a:gd name="connsiteX1" fmla="*/ 34916 w 34915"/>
                <a:gd name="connsiteY1" fmla="*/ 40818 h 44460"/>
                <a:gd name="connsiteX2" fmla="*/ 34916 w 34915"/>
                <a:gd name="connsiteY2" fmla="*/ 44460 h 44460"/>
                <a:gd name="connsiteX3" fmla="*/ 0 w 34915"/>
                <a:gd name="connsiteY3" fmla="*/ 24240 h 44460"/>
                <a:gd name="connsiteX4" fmla="*/ 0 w 34915"/>
                <a:gd name="connsiteY4" fmla="*/ 0 h 44460"/>
                <a:gd name="connsiteX5" fmla="*/ 17206 w 34915"/>
                <a:gd name="connsiteY5" fmla="*/ 10048 h 4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15" h="44460">
                  <a:moveTo>
                    <a:pt x="17206" y="10048"/>
                  </a:moveTo>
                  <a:cubicBezTo>
                    <a:pt x="27003" y="15699"/>
                    <a:pt x="34916" y="29515"/>
                    <a:pt x="34916" y="40818"/>
                  </a:cubicBezTo>
                  <a:lnTo>
                    <a:pt x="34916" y="44460"/>
                  </a:lnTo>
                  <a:lnTo>
                    <a:pt x="0" y="24240"/>
                  </a:lnTo>
                  <a:lnTo>
                    <a:pt x="0" y="0"/>
                  </a:lnTo>
                  <a:lnTo>
                    <a:pt x="17206" y="10048"/>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6" name="Freeform: Shape 525">
              <a:extLst>
                <a:ext uri="{FF2B5EF4-FFF2-40B4-BE49-F238E27FC236}">
                  <a16:creationId xmlns:a16="http://schemas.microsoft.com/office/drawing/2014/main" id="{56CB9494-CABB-462B-BD5A-CF55864B7BF2}"/>
                </a:ext>
              </a:extLst>
            </p:cNvPr>
            <p:cNvSpPr/>
            <p:nvPr/>
          </p:nvSpPr>
          <p:spPr>
            <a:xfrm>
              <a:off x="10774404" y="3486863"/>
              <a:ext cx="21476" cy="14443"/>
            </a:xfrm>
            <a:custGeom>
              <a:avLst/>
              <a:gdLst>
                <a:gd name="connsiteX0" fmla="*/ 3015 w 21476"/>
                <a:gd name="connsiteY0" fmla="*/ 10676 h 14443"/>
                <a:gd name="connsiteX1" fmla="*/ 21477 w 21476"/>
                <a:gd name="connsiteY1" fmla="*/ 0 h 14443"/>
                <a:gd name="connsiteX2" fmla="*/ 21477 w 21476"/>
                <a:gd name="connsiteY2" fmla="*/ 0 h 14443"/>
                <a:gd name="connsiteX3" fmla="*/ 20221 w 21476"/>
                <a:gd name="connsiteY3" fmla="*/ 2763 h 14443"/>
                <a:gd name="connsiteX4" fmla="*/ 20221 w 21476"/>
                <a:gd name="connsiteY4" fmla="*/ 2763 h 14443"/>
                <a:gd name="connsiteX5" fmla="*/ 0 w 21476"/>
                <a:gd name="connsiteY5" fmla="*/ 14443 h 14443"/>
                <a:gd name="connsiteX6" fmla="*/ 1256 w 21476"/>
                <a:gd name="connsiteY6" fmla="*/ 10550 h 14443"/>
                <a:gd name="connsiteX7" fmla="*/ 1256 w 21476"/>
                <a:gd name="connsiteY7" fmla="*/ 10550 h 14443"/>
                <a:gd name="connsiteX8" fmla="*/ 3015 w 21476"/>
                <a:gd name="connsiteY8" fmla="*/ 10676 h 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76" h="14443">
                  <a:moveTo>
                    <a:pt x="3015" y="10676"/>
                  </a:moveTo>
                  <a:cubicBezTo>
                    <a:pt x="3015" y="10676"/>
                    <a:pt x="16579" y="2889"/>
                    <a:pt x="21477" y="0"/>
                  </a:cubicBezTo>
                  <a:lnTo>
                    <a:pt x="21477" y="0"/>
                  </a:lnTo>
                  <a:cubicBezTo>
                    <a:pt x="21351" y="1382"/>
                    <a:pt x="20975" y="2386"/>
                    <a:pt x="20221" y="2763"/>
                  </a:cubicBezTo>
                  <a:lnTo>
                    <a:pt x="20221" y="2763"/>
                  </a:lnTo>
                  <a:lnTo>
                    <a:pt x="0" y="14443"/>
                  </a:lnTo>
                  <a:lnTo>
                    <a:pt x="1256" y="10550"/>
                  </a:lnTo>
                  <a:lnTo>
                    <a:pt x="1256" y="10550"/>
                  </a:lnTo>
                  <a:cubicBezTo>
                    <a:pt x="2010" y="10927"/>
                    <a:pt x="2512" y="10927"/>
                    <a:pt x="3015" y="10676"/>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 name="Freeform: Shape 526">
              <a:extLst>
                <a:ext uri="{FF2B5EF4-FFF2-40B4-BE49-F238E27FC236}">
                  <a16:creationId xmlns:a16="http://schemas.microsoft.com/office/drawing/2014/main" id="{BC9BBCB8-CB9D-4F46-A061-F5AF9D4FA018}"/>
                </a:ext>
              </a:extLst>
            </p:cNvPr>
            <p:cNvSpPr/>
            <p:nvPr/>
          </p:nvSpPr>
          <p:spPr>
            <a:xfrm>
              <a:off x="10733838" y="3510224"/>
              <a:ext cx="21476" cy="14443"/>
            </a:xfrm>
            <a:custGeom>
              <a:avLst/>
              <a:gdLst>
                <a:gd name="connsiteX0" fmla="*/ 3014 w 21476"/>
                <a:gd name="connsiteY0" fmla="*/ 10676 h 14443"/>
                <a:gd name="connsiteX1" fmla="*/ 21477 w 21476"/>
                <a:gd name="connsiteY1" fmla="*/ 0 h 14443"/>
                <a:gd name="connsiteX2" fmla="*/ 21477 w 21476"/>
                <a:gd name="connsiteY2" fmla="*/ 0 h 14443"/>
                <a:gd name="connsiteX3" fmla="*/ 20221 w 21476"/>
                <a:gd name="connsiteY3" fmla="*/ 2763 h 14443"/>
                <a:gd name="connsiteX4" fmla="*/ 20221 w 21476"/>
                <a:gd name="connsiteY4" fmla="*/ 2763 h 14443"/>
                <a:gd name="connsiteX5" fmla="*/ 0 w 21476"/>
                <a:gd name="connsiteY5" fmla="*/ 14443 h 14443"/>
                <a:gd name="connsiteX6" fmla="*/ 1256 w 21476"/>
                <a:gd name="connsiteY6" fmla="*/ 10550 h 14443"/>
                <a:gd name="connsiteX7" fmla="*/ 1256 w 21476"/>
                <a:gd name="connsiteY7" fmla="*/ 10550 h 14443"/>
                <a:gd name="connsiteX8" fmla="*/ 3014 w 21476"/>
                <a:gd name="connsiteY8" fmla="*/ 10676 h 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76" h="14443">
                  <a:moveTo>
                    <a:pt x="3014" y="10676"/>
                  </a:moveTo>
                  <a:cubicBezTo>
                    <a:pt x="3014" y="10676"/>
                    <a:pt x="16579" y="2889"/>
                    <a:pt x="21477" y="0"/>
                  </a:cubicBezTo>
                  <a:lnTo>
                    <a:pt x="21477" y="0"/>
                  </a:lnTo>
                  <a:cubicBezTo>
                    <a:pt x="21351" y="1382"/>
                    <a:pt x="20974" y="2386"/>
                    <a:pt x="20221" y="2763"/>
                  </a:cubicBezTo>
                  <a:lnTo>
                    <a:pt x="20221" y="2763"/>
                  </a:lnTo>
                  <a:lnTo>
                    <a:pt x="0" y="14443"/>
                  </a:lnTo>
                  <a:lnTo>
                    <a:pt x="1256" y="10550"/>
                  </a:lnTo>
                  <a:lnTo>
                    <a:pt x="1256" y="10550"/>
                  </a:lnTo>
                  <a:cubicBezTo>
                    <a:pt x="2009" y="10927"/>
                    <a:pt x="2638" y="10927"/>
                    <a:pt x="3014" y="10676"/>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 name="Freeform: Shape 527">
              <a:extLst>
                <a:ext uri="{FF2B5EF4-FFF2-40B4-BE49-F238E27FC236}">
                  <a16:creationId xmlns:a16="http://schemas.microsoft.com/office/drawing/2014/main" id="{6247B99A-0FEB-44F5-9077-4D4BBD785E9E}"/>
                </a:ext>
              </a:extLst>
            </p:cNvPr>
            <p:cNvSpPr/>
            <p:nvPr/>
          </p:nvSpPr>
          <p:spPr>
            <a:xfrm>
              <a:off x="10722659" y="3513489"/>
              <a:ext cx="12559" cy="11177"/>
            </a:xfrm>
            <a:custGeom>
              <a:avLst/>
              <a:gdLst>
                <a:gd name="connsiteX0" fmla="*/ 12559 w 12559"/>
                <a:gd name="connsiteY0" fmla="*/ 7285 h 11177"/>
                <a:gd name="connsiteX1" fmla="*/ 11304 w 12559"/>
                <a:gd name="connsiteY1" fmla="*/ 11178 h 11177"/>
                <a:gd name="connsiteX2" fmla="*/ 11304 w 12559"/>
                <a:gd name="connsiteY2" fmla="*/ 11178 h 11177"/>
                <a:gd name="connsiteX3" fmla="*/ 0 w 12559"/>
                <a:gd name="connsiteY3" fmla="*/ 0 h 11177"/>
                <a:gd name="connsiteX4" fmla="*/ 12559 w 12559"/>
                <a:gd name="connsiteY4" fmla="*/ 7285 h 11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1177">
                  <a:moveTo>
                    <a:pt x="12559" y="7285"/>
                  </a:moveTo>
                  <a:cubicBezTo>
                    <a:pt x="12559" y="9169"/>
                    <a:pt x="12183" y="10676"/>
                    <a:pt x="11304" y="11178"/>
                  </a:cubicBezTo>
                  <a:lnTo>
                    <a:pt x="11304" y="11178"/>
                  </a:lnTo>
                  <a:cubicBezTo>
                    <a:pt x="8290" y="6531"/>
                    <a:pt x="4271" y="2512"/>
                    <a:pt x="0" y="0"/>
                  </a:cubicBezTo>
                  <a:lnTo>
                    <a:pt x="12559" y="7285"/>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9" name="Freeform: Shape 528">
              <a:extLst>
                <a:ext uri="{FF2B5EF4-FFF2-40B4-BE49-F238E27FC236}">
                  <a16:creationId xmlns:a16="http://schemas.microsoft.com/office/drawing/2014/main" id="{104CA2FD-5FD4-4D36-86C5-3EAACF3DE775}"/>
                </a:ext>
              </a:extLst>
            </p:cNvPr>
            <p:cNvSpPr/>
            <p:nvPr/>
          </p:nvSpPr>
          <p:spPr>
            <a:xfrm>
              <a:off x="10799523" y="3478825"/>
              <a:ext cx="8415" cy="7158"/>
            </a:xfrm>
            <a:custGeom>
              <a:avLst/>
              <a:gdLst>
                <a:gd name="connsiteX0" fmla="*/ 6405 w 8415"/>
                <a:gd name="connsiteY0" fmla="*/ 0 h 7158"/>
                <a:gd name="connsiteX1" fmla="*/ 0 w 8415"/>
                <a:gd name="connsiteY1" fmla="*/ 3391 h 7158"/>
                <a:gd name="connsiteX2" fmla="*/ 2136 w 8415"/>
                <a:gd name="connsiteY2" fmla="*/ 7159 h 7158"/>
                <a:gd name="connsiteX3" fmla="*/ 8415 w 8415"/>
                <a:gd name="connsiteY3" fmla="*/ 3768 h 7158"/>
              </a:gdLst>
              <a:ahLst/>
              <a:cxnLst>
                <a:cxn ang="0">
                  <a:pos x="connsiteX0" y="connsiteY0"/>
                </a:cxn>
                <a:cxn ang="0">
                  <a:pos x="connsiteX1" y="connsiteY1"/>
                </a:cxn>
                <a:cxn ang="0">
                  <a:pos x="connsiteX2" y="connsiteY2"/>
                </a:cxn>
                <a:cxn ang="0">
                  <a:pos x="connsiteX3" y="connsiteY3"/>
                </a:cxn>
              </a:cxnLst>
              <a:rect l="l" t="t" r="r" b="b"/>
              <a:pathLst>
                <a:path w="8415" h="7158">
                  <a:moveTo>
                    <a:pt x="6405" y="0"/>
                  </a:moveTo>
                  <a:lnTo>
                    <a:pt x="0" y="3391"/>
                  </a:lnTo>
                  <a:lnTo>
                    <a:pt x="2136" y="7159"/>
                  </a:lnTo>
                  <a:lnTo>
                    <a:pt x="8415" y="376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0" name="Freeform: Shape 529">
              <a:extLst>
                <a:ext uri="{FF2B5EF4-FFF2-40B4-BE49-F238E27FC236}">
                  <a16:creationId xmlns:a16="http://schemas.microsoft.com/office/drawing/2014/main" id="{2B82EFB7-F15B-4D3C-B9BF-46CE15F360E1}"/>
                </a:ext>
              </a:extLst>
            </p:cNvPr>
            <p:cNvSpPr/>
            <p:nvPr/>
          </p:nvSpPr>
          <p:spPr>
            <a:xfrm>
              <a:off x="10744890" y="3472671"/>
              <a:ext cx="93316" cy="57145"/>
            </a:xfrm>
            <a:custGeom>
              <a:avLst/>
              <a:gdLst>
                <a:gd name="connsiteX0" fmla="*/ 3391 w 93316"/>
                <a:gd name="connsiteY0" fmla="*/ 55513 h 57145"/>
                <a:gd name="connsiteX1" fmla="*/ 4898 w 93316"/>
                <a:gd name="connsiteY1" fmla="*/ 56392 h 57145"/>
                <a:gd name="connsiteX2" fmla="*/ 11555 w 93316"/>
                <a:gd name="connsiteY2" fmla="*/ 56392 h 57145"/>
                <a:gd name="connsiteX3" fmla="*/ 91935 w 93316"/>
                <a:gd name="connsiteY3" fmla="*/ 9922 h 57145"/>
                <a:gd name="connsiteX4" fmla="*/ 93317 w 93316"/>
                <a:gd name="connsiteY4" fmla="*/ 8038 h 57145"/>
                <a:gd name="connsiteX5" fmla="*/ 91935 w 93316"/>
                <a:gd name="connsiteY5" fmla="*/ 6154 h 57145"/>
                <a:gd name="connsiteX6" fmla="*/ 90177 w 93316"/>
                <a:gd name="connsiteY6" fmla="*/ 5149 h 57145"/>
                <a:gd name="connsiteX7" fmla="*/ 87037 w 93316"/>
                <a:gd name="connsiteY7" fmla="*/ 0 h 57145"/>
                <a:gd name="connsiteX8" fmla="*/ 0 w 93316"/>
                <a:gd name="connsiteY8" fmla="*/ 50238 h 57145"/>
                <a:gd name="connsiteX9" fmla="*/ 1005 w 93316"/>
                <a:gd name="connsiteY9" fmla="*/ 53127 h 57145"/>
                <a:gd name="connsiteX10" fmla="*/ 3014 w 93316"/>
                <a:gd name="connsiteY10" fmla="*/ 55387 h 57145"/>
                <a:gd name="connsiteX11" fmla="*/ 3391 w 93316"/>
                <a:gd name="connsiteY11" fmla="*/ 55513 h 5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316" h="57145">
                  <a:moveTo>
                    <a:pt x="3391" y="55513"/>
                  </a:moveTo>
                  <a:lnTo>
                    <a:pt x="4898" y="56392"/>
                  </a:lnTo>
                  <a:cubicBezTo>
                    <a:pt x="6656" y="57397"/>
                    <a:pt x="9671" y="57397"/>
                    <a:pt x="11555" y="56392"/>
                  </a:cubicBezTo>
                  <a:lnTo>
                    <a:pt x="91935" y="9922"/>
                  </a:lnTo>
                  <a:cubicBezTo>
                    <a:pt x="92815" y="9420"/>
                    <a:pt x="93317" y="8666"/>
                    <a:pt x="93317" y="8038"/>
                  </a:cubicBezTo>
                  <a:cubicBezTo>
                    <a:pt x="93317" y="7285"/>
                    <a:pt x="92815" y="6657"/>
                    <a:pt x="91935" y="6154"/>
                  </a:cubicBezTo>
                  <a:lnTo>
                    <a:pt x="90177" y="5149"/>
                  </a:lnTo>
                  <a:cubicBezTo>
                    <a:pt x="90177" y="5149"/>
                    <a:pt x="87665" y="3391"/>
                    <a:pt x="87037" y="0"/>
                  </a:cubicBezTo>
                  <a:lnTo>
                    <a:pt x="0" y="50238"/>
                  </a:lnTo>
                  <a:cubicBezTo>
                    <a:pt x="126" y="50866"/>
                    <a:pt x="376" y="51996"/>
                    <a:pt x="1005" y="53127"/>
                  </a:cubicBezTo>
                  <a:cubicBezTo>
                    <a:pt x="1759" y="54257"/>
                    <a:pt x="2512" y="55011"/>
                    <a:pt x="3014" y="55387"/>
                  </a:cubicBezTo>
                  <a:cubicBezTo>
                    <a:pt x="3140" y="55387"/>
                    <a:pt x="3266" y="55387"/>
                    <a:pt x="3391" y="55513"/>
                  </a:cubicBezTo>
                  <a:close/>
                </a:path>
              </a:pathLst>
            </a:custGeom>
            <a:solidFill>
              <a:srgbClr val="4740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 name="Freeform: Shape 530">
              <a:extLst>
                <a:ext uri="{FF2B5EF4-FFF2-40B4-BE49-F238E27FC236}">
                  <a16:creationId xmlns:a16="http://schemas.microsoft.com/office/drawing/2014/main" id="{B269B03E-A8CF-45DD-A441-CEB7769122D9}"/>
                </a:ext>
              </a:extLst>
            </p:cNvPr>
            <p:cNvSpPr/>
            <p:nvPr/>
          </p:nvSpPr>
          <p:spPr>
            <a:xfrm>
              <a:off x="10744764" y="3472546"/>
              <a:ext cx="87916" cy="52749"/>
            </a:xfrm>
            <a:custGeom>
              <a:avLst/>
              <a:gdLst>
                <a:gd name="connsiteX0" fmla="*/ 87037 w 87916"/>
                <a:gd name="connsiteY0" fmla="*/ 0 h 52749"/>
                <a:gd name="connsiteX1" fmla="*/ 0 w 87916"/>
                <a:gd name="connsiteY1" fmla="*/ 50238 h 52749"/>
                <a:gd name="connsiteX2" fmla="*/ 879 w 87916"/>
                <a:gd name="connsiteY2" fmla="*/ 52750 h 52749"/>
                <a:gd name="connsiteX3" fmla="*/ 87916 w 87916"/>
                <a:gd name="connsiteY3" fmla="*/ 2512 h 52749"/>
                <a:gd name="connsiteX4" fmla="*/ 87037 w 87916"/>
                <a:gd name="connsiteY4" fmla="*/ 0 h 52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16" h="52749">
                  <a:moveTo>
                    <a:pt x="87037" y="0"/>
                  </a:moveTo>
                  <a:lnTo>
                    <a:pt x="0" y="50238"/>
                  </a:lnTo>
                  <a:cubicBezTo>
                    <a:pt x="126" y="50866"/>
                    <a:pt x="251" y="51745"/>
                    <a:pt x="879" y="52750"/>
                  </a:cubicBezTo>
                  <a:lnTo>
                    <a:pt x="87916" y="2512"/>
                  </a:lnTo>
                  <a:cubicBezTo>
                    <a:pt x="87540" y="1758"/>
                    <a:pt x="87163" y="879"/>
                    <a:pt x="87037" y="0"/>
                  </a:cubicBez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 name="Freeform: Shape 531">
              <a:extLst>
                <a:ext uri="{FF2B5EF4-FFF2-40B4-BE49-F238E27FC236}">
                  <a16:creationId xmlns:a16="http://schemas.microsoft.com/office/drawing/2014/main" id="{EC215C06-267B-4775-9149-7BBC1682399D}"/>
                </a:ext>
              </a:extLst>
            </p:cNvPr>
            <p:cNvSpPr/>
            <p:nvPr/>
          </p:nvSpPr>
          <p:spPr>
            <a:xfrm>
              <a:off x="10793872" y="3473567"/>
              <a:ext cx="31900" cy="22422"/>
            </a:xfrm>
            <a:custGeom>
              <a:avLst/>
              <a:gdLst>
                <a:gd name="connsiteX0" fmla="*/ 31901 w 31900"/>
                <a:gd name="connsiteY0" fmla="*/ 3249 h 22422"/>
                <a:gd name="connsiteX1" fmla="*/ 0 w 31900"/>
                <a:gd name="connsiteY1" fmla="*/ 21712 h 22422"/>
                <a:gd name="connsiteX2" fmla="*/ 15950 w 31900"/>
                <a:gd name="connsiteY2" fmla="*/ 4128 h 22422"/>
                <a:gd name="connsiteX3" fmla="*/ 31901 w 31900"/>
                <a:gd name="connsiteY3" fmla="*/ 3249 h 22422"/>
              </a:gdLst>
              <a:ahLst/>
              <a:cxnLst>
                <a:cxn ang="0">
                  <a:pos x="connsiteX0" y="connsiteY0"/>
                </a:cxn>
                <a:cxn ang="0">
                  <a:pos x="connsiteX1" y="connsiteY1"/>
                </a:cxn>
                <a:cxn ang="0">
                  <a:pos x="connsiteX2" y="connsiteY2"/>
                </a:cxn>
                <a:cxn ang="0">
                  <a:pos x="connsiteX3" y="connsiteY3"/>
                </a:cxn>
              </a:cxnLst>
              <a:rect l="l" t="t" r="r" b="b"/>
              <a:pathLst>
                <a:path w="31900" h="22422">
                  <a:moveTo>
                    <a:pt x="31901" y="3249"/>
                  </a:moveTo>
                  <a:cubicBezTo>
                    <a:pt x="31901" y="7896"/>
                    <a:pt x="0" y="26233"/>
                    <a:pt x="0" y="21712"/>
                  </a:cubicBezTo>
                  <a:cubicBezTo>
                    <a:pt x="0" y="17190"/>
                    <a:pt x="7158" y="9278"/>
                    <a:pt x="15950" y="4128"/>
                  </a:cubicBezTo>
                  <a:cubicBezTo>
                    <a:pt x="24742" y="-1021"/>
                    <a:pt x="31901" y="-1398"/>
                    <a:pt x="31901" y="3249"/>
                  </a:cubicBezTo>
                  <a:close/>
                </a:path>
              </a:pathLst>
            </a:custGeom>
            <a:solidFill>
              <a:srgbClr val="3832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3" name="Freeform: Shape 532">
              <a:extLst>
                <a:ext uri="{FF2B5EF4-FFF2-40B4-BE49-F238E27FC236}">
                  <a16:creationId xmlns:a16="http://schemas.microsoft.com/office/drawing/2014/main" id="{18CB41AE-F511-49CD-8CED-414E38261F7C}"/>
                </a:ext>
              </a:extLst>
            </p:cNvPr>
            <p:cNvSpPr/>
            <p:nvPr/>
          </p:nvSpPr>
          <p:spPr>
            <a:xfrm>
              <a:off x="10746774" y="3477067"/>
              <a:ext cx="96237" cy="58527"/>
            </a:xfrm>
            <a:custGeom>
              <a:avLst/>
              <a:gdLst>
                <a:gd name="connsiteX0" fmla="*/ 94321 w 96237"/>
                <a:gd name="connsiteY0" fmla="*/ 3014 h 58527"/>
                <a:gd name="connsiteX1" fmla="*/ 89172 w 96237"/>
                <a:gd name="connsiteY1" fmla="*/ 0 h 58527"/>
                <a:gd name="connsiteX2" fmla="*/ 89172 w 96237"/>
                <a:gd name="connsiteY2" fmla="*/ 0 h 58527"/>
                <a:gd name="connsiteX3" fmla="*/ 88041 w 96237"/>
                <a:gd name="connsiteY3" fmla="*/ 628 h 58527"/>
                <a:gd name="connsiteX4" fmla="*/ 89926 w 96237"/>
                <a:gd name="connsiteY4" fmla="*/ 1633 h 58527"/>
                <a:gd name="connsiteX5" fmla="*/ 91307 w 96237"/>
                <a:gd name="connsiteY5" fmla="*/ 3517 h 58527"/>
                <a:gd name="connsiteX6" fmla="*/ 89926 w 96237"/>
                <a:gd name="connsiteY6" fmla="*/ 5400 h 58527"/>
                <a:gd name="connsiteX7" fmla="*/ 9545 w 96237"/>
                <a:gd name="connsiteY7" fmla="*/ 51871 h 58527"/>
                <a:gd name="connsiteX8" fmla="*/ 2888 w 96237"/>
                <a:gd name="connsiteY8" fmla="*/ 51871 h 58527"/>
                <a:gd name="connsiteX9" fmla="*/ 1381 w 96237"/>
                <a:gd name="connsiteY9" fmla="*/ 50991 h 58527"/>
                <a:gd name="connsiteX10" fmla="*/ 1004 w 96237"/>
                <a:gd name="connsiteY10" fmla="*/ 50740 h 58527"/>
                <a:gd name="connsiteX11" fmla="*/ 0 w 96237"/>
                <a:gd name="connsiteY11" fmla="*/ 51368 h 58527"/>
                <a:gd name="connsiteX12" fmla="*/ 5149 w 96237"/>
                <a:gd name="connsiteY12" fmla="*/ 54383 h 58527"/>
                <a:gd name="connsiteX13" fmla="*/ 7661 w 96237"/>
                <a:gd name="connsiteY13" fmla="*/ 58527 h 58527"/>
                <a:gd name="connsiteX14" fmla="*/ 94950 w 96237"/>
                <a:gd name="connsiteY14" fmla="*/ 8038 h 58527"/>
                <a:gd name="connsiteX15" fmla="*/ 95703 w 96237"/>
                <a:gd name="connsiteY15" fmla="*/ 4270 h 58527"/>
                <a:gd name="connsiteX16" fmla="*/ 94321 w 96237"/>
                <a:gd name="connsiteY16" fmla="*/ 3014 h 58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237" h="58527">
                  <a:moveTo>
                    <a:pt x="94321" y="3014"/>
                  </a:moveTo>
                  <a:lnTo>
                    <a:pt x="89172" y="0"/>
                  </a:lnTo>
                  <a:lnTo>
                    <a:pt x="89172" y="0"/>
                  </a:lnTo>
                  <a:lnTo>
                    <a:pt x="88041" y="628"/>
                  </a:lnTo>
                  <a:lnTo>
                    <a:pt x="89926" y="1633"/>
                  </a:lnTo>
                  <a:cubicBezTo>
                    <a:pt x="90805" y="2135"/>
                    <a:pt x="91307" y="2889"/>
                    <a:pt x="91307" y="3517"/>
                  </a:cubicBezTo>
                  <a:cubicBezTo>
                    <a:pt x="91307" y="4270"/>
                    <a:pt x="90805" y="4898"/>
                    <a:pt x="89926" y="5400"/>
                  </a:cubicBezTo>
                  <a:lnTo>
                    <a:pt x="9545" y="51871"/>
                  </a:lnTo>
                  <a:cubicBezTo>
                    <a:pt x="7787" y="52875"/>
                    <a:pt x="4772" y="52875"/>
                    <a:pt x="2888" y="51871"/>
                  </a:cubicBezTo>
                  <a:lnTo>
                    <a:pt x="1381" y="50991"/>
                  </a:lnTo>
                  <a:cubicBezTo>
                    <a:pt x="1256" y="50866"/>
                    <a:pt x="1130" y="50866"/>
                    <a:pt x="1004" y="50740"/>
                  </a:cubicBezTo>
                  <a:lnTo>
                    <a:pt x="0" y="51368"/>
                  </a:lnTo>
                  <a:lnTo>
                    <a:pt x="5149" y="54383"/>
                  </a:lnTo>
                  <a:cubicBezTo>
                    <a:pt x="6405" y="55136"/>
                    <a:pt x="7661" y="57020"/>
                    <a:pt x="7661" y="58527"/>
                  </a:cubicBezTo>
                  <a:lnTo>
                    <a:pt x="94950" y="8038"/>
                  </a:lnTo>
                  <a:cubicBezTo>
                    <a:pt x="96205" y="7285"/>
                    <a:pt x="96707" y="5526"/>
                    <a:pt x="95703" y="4270"/>
                  </a:cubicBezTo>
                  <a:cubicBezTo>
                    <a:pt x="95326" y="3768"/>
                    <a:pt x="94824" y="3265"/>
                    <a:pt x="94321" y="30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4" name="Graphic 4">
              <a:extLst>
                <a:ext uri="{FF2B5EF4-FFF2-40B4-BE49-F238E27FC236}">
                  <a16:creationId xmlns:a16="http://schemas.microsoft.com/office/drawing/2014/main" id="{84FB7ED1-A2DF-40A1-A747-5F7CF3F14040}"/>
                </a:ext>
              </a:extLst>
            </p:cNvPr>
            <p:cNvGrpSpPr/>
            <p:nvPr/>
          </p:nvGrpSpPr>
          <p:grpSpPr>
            <a:xfrm>
              <a:off x="10753807" y="3481337"/>
              <a:ext cx="89799" cy="80631"/>
              <a:chOff x="10753807" y="3481337"/>
              <a:chExt cx="89799" cy="80631"/>
            </a:xfrm>
            <a:solidFill>
              <a:srgbClr val="3972C1"/>
            </a:solidFill>
          </p:grpSpPr>
          <p:sp>
            <p:nvSpPr>
              <p:cNvPr id="535" name="Freeform: Shape 534">
                <a:extLst>
                  <a:ext uri="{FF2B5EF4-FFF2-40B4-BE49-F238E27FC236}">
                    <a16:creationId xmlns:a16="http://schemas.microsoft.com/office/drawing/2014/main" id="{DB6286D6-036D-4916-ABB5-BDDAA131CEB2}"/>
                  </a:ext>
                </a:extLst>
              </p:cNvPr>
              <p:cNvSpPr/>
              <p:nvPr/>
            </p:nvSpPr>
            <p:spPr>
              <a:xfrm>
                <a:off x="10754561" y="3511103"/>
                <a:ext cx="88292" cy="50865"/>
              </a:xfrm>
              <a:custGeom>
                <a:avLst/>
                <a:gdLst>
                  <a:gd name="connsiteX0" fmla="*/ 86284 w 88292"/>
                  <a:gd name="connsiteY0" fmla="*/ 1758 h 50865"/>
                  <a:gd name="connsiteX1" fmla="*/ 6656 w 88292"/>
                  <a:gd name="connsiteY1" fmla="*/ 47726 h 50865"/>
                  <a:gd name="connsiteX2" fmla="*/ 0 w 88292"/>
                  <a:gd name="connsiteY2" fmla="*/ 49359 h 50865"/>
                  <a:gd name="connsiteX3" fmla="*/ 0 w 88292"/>
                  <a:gd name="connsiteY3" fmla="*/ 50866 h 50865"/>
                  <a:gd name="connsiteX4" fmla="*/ 6656 w 88292"/>
                  <a:gd name="connsiteY4" fmla="*/ 49233 h 50865"/>
                  <a:gd name="connsiteX5" fmla="*/ 84274 w 88292"/>
                  <a:gd name="connsiteY5" fmla="*/ 4396 h 50865"/>
                  <a:gd name="connsiteX6" fmla="*/ 84901 w 88292"/>
                  <a:gd name="connsiteY6" fmla="*/ 4019 h 50865"/>
                  <a:gd name="connsiteX7" fmla="*/ 88293 w 88292"/>
                  <a:gd name="connsiteY7" fmla="*/ 0 h 50865"/>
                  <a:gd name="connsiteX8" fmla="*/ 86284 w 88292"/>
                  <a:gd name="connsiteY8" fmla="*/ 1758 h 50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292" h="50865">
                    <a:moveTo>
                      <a:pt x="86284" y="1758"/>
                    </a:moveTo>
                    <a:lnTo>
                      <a:pt x="6656" y="47726"/>
                    </a:lnTo>
                    <a:cubicBezTo>
                      <a:pt x="4773" y="48731"/>
                      <a:pt x="2386" y="49359"/>
                      <a:pt x="0" y="49359"/>
                    </a:cubicBezTo>
                    <a:lnTo>
                      <a:pt x="0" y="50866"/>
                    </a:lnTo>
                    <a:cubicBezTo>
                      <a:pt x="2386" y="50866"/>
                      <a:pt x="4898" y="50364"/>
                      <a:pt x="6656" y="49233"/>
                    </a:cubicBezTo>
                    <a:lnTo>
                      <a:pt x="84274" y="4396"/>
                    </a:lnTo>
                    <a:cubicBezTo>
                      <a:pt x="84525" y="4270"/>
                      <a:pt x="84651" y="4145"/>
                      <a:pt x="84901" y="4019"/>
                    </a:cubicBezTo>
                    <a:cubicBezTo>
                      <a:pt x="87037" y="2512"/>
                      <a:pt x="88167" y="502"/>
                      <a:pt x="88293" y="0"/>
                    </a:cubicBezTo>
                    <a:cubicBezTo>
                      <a:pt x="87413" y="1256"/>
                      <a:pt x="86284" y="1758"/>
                      <a:pt x="86284" y="1758"/>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 name="Freeform: Shape 535">
                <a:extLst>
                  <a:ext uri="{FF2B5EF4-FFF2-40B4-BE49-F238E27FC236}">
                    <a16:creationId xmlns:a16="http://schemas.microsoft.com/office/drawing/2014/main" id="{F0AB020B-5EC8-41D6-AF51-9CA361422417}"/>
                  </a:ext>
                </a:extLst>
              </p:cNvPr>
              <p:cNvSpPr/>
              <p:nvPr/>
            </p:nvSpPr>
            <p:spPr>
              <a:xfrm>
                <a:off x="10753807" y="3481337"/>
                <a:ext cx="89799" cy="79250"/>
              </a:xfrm>
              <a:custGeom>
                <a:avLst/>
                <a:gdLst>
                  <a:gd name="connsiteX0" fmla="*/ 89800 w 89799"/>
                  <a:gd name="connsiteY0" fmla="*/ 2638 h 79250"/>
                  <a:gd name="connsiteX1" fmla="*/ 88795 w 89799"/>
                  <a:gd name="connsiteY1" fmla="*/ 0 h 79250"/>
                  <a:gd name="connsiteX2" fmla="*/ 87916 w 89799"/>
                  <a:gd name="connsiteY2" fmla="*/ 3768 h 79250"/>
                  <a:gd name="connsiteX3" fmla="*/ 7033 w 89799"/>
                  <a:gd name="connsiteY3" fmla="*/ 50615 h 79250"/>
                  <a:gd name="connsiteX4" fmla="*/ 628 w 89799"/>
                  <a:gd name="connsiteY4" fmla="*/ 52247 h 79250"/>
                  <a:gd name="connsiteX5" fmla="*/ 0 w 89799"/>
                  <a:gd name="connsiteY5" fmla="*/ 52247 h 79250"/>
                  <a:gd name="connsiteX6" fmla="*/ 628 w 89799"/>
                  <a:gd name="connsiteY6" fmla="*/ 54383 h 79250"/>
                  <a:gd name="connsiteX7" fmla="*/ 628 w 89799"/>
                  <a:gd name="connsiteY7" fmla="*/ 54383 h 79250"/>
                  <a:gd name="connsiteX8" fmla="*/ 628 w 89799"/>
                  <a:gd name="connsiteY8" fmla="*/ 79250 h 79250"/>
                  <a:gd name="connsiteX9" fmla="*/ 7284 w 89799"/>
                  <a:gd name="connsiteY9" fmla="*/ 77618 h 79250"/>
                  <a:gd name="connsiteX10" fmla="*/ 86911 w 89799"/>
                  <a:gd name="connsiteY10" fmla="*/ 31650 h 79250"/>
                  <a:gd name="connsiteX11" fmla="*/ 88921 w 89799"/>
                  <a:gd name="connsiteY11" fmla="*/ 29892 h 79250"/>
                  <a:gd name="connsiteX12" fmla="*/ 89674 w 89799"/>
                  <a:gd name="connsiteY12" fmla="*/ 27757 h 79250"/>
                  <a:gd name="connsiteX13" fmla="*/ 89800 w 89799"/>
                  <a:gd name="connsiteY13" fmla="*/ 2638 h 7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799" h="79250">
                    <a:moveTo>
                      <a:pt x="89800" y="2638"/>
                    </a:moveTo>
                    <a:cubicBezTo>
                      <a:pt x="89800" y="1758"/>
                      <a:pt x="89423" y="754"/>
                      <a:pt x="88795" y="0"/>
                    </a:cubicBezTo>
                    <a:cubicBezTo>
                      <a:pt x="89674" y="1256"/>
                      <a:pt x="89298" y="3014"/>
                      <a:pt x="87916" y="3768"/>
                    </a:cubicBezTo>
                    <a:lnTo>
                      <a:pt x="7033" y="50615"/>
                    </a:lnTo>
                    <a:cubicBezTo>
                      <a:pt x="5275" y="51619"/>
                      <a:pt x="2888" y="52247"/>
                      <a:pt x="628" y="52247"/>
                    </a:cubicBezTo>
                    <a:cubicBezTo>
                      <a:pt x="376" y="52247"/>
                      <a:pt x="251" y="52247"/>
                      <a:pt x="0" y="52247"/>
                    </a:cubicBezTo>
                    <a:cubicBezTo>
                      <a:pt x="376" y="52875"/>
                      <a:pt x="628" y="53629"/>
                      <a:pt x="628" y="54383"/>
                    </a:cubicBezTo>
                    <a:lnTo>
                      <a:pt x="628" y="54383"/>
                    </a:lnTo>
                    <a:lnTo>
                      <a:pt x="628" y="79250"/>
                    </a:lnTo>
                    <a:cubicBezTo>
                      <a:pt x="3014" y="79250"/>
                      <a:pt x="5526" y="78748"/>
                      <a:pt x="7284" y="77618"/>
                    </a:cubicBezTo>
                    <a:lnTo>
                      <a:pt x="86911" y="31650"/>
                    </a:lnTo>
                    <a:cubicBezTo>
                      <a:pt x="86911" y="31650"/>
                      <a:pt x="88041" y="31022"/>
                      <a:pt x="88921" y="29892"/>
                    </a:cubicBezTo>
                    <a:cubicBezTo>
                      <a:pt x="89800" y="28761"/>
                      <a:pt x="89674" y="27757"/>
                      <a:pt x="89674" y="27757"/>
                    </a:cubicBezTo>
                    <a:lnTo>
                      <a:pt x="89800" y="2638"/>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7" name="Freeform: Shape 536">
              <a:extLst>
                <a:ext uri="{FF2B5EF4-FFF2-40B4-BE49-F238E27FC236}">
                  <a16:creationId xmlns:a16="http://schemas.microsoft.com/office/drawing/2014/main" id="{6AF877D7-FC1E-42C1-9639-FB8E8A7975F1}"/>
                </a:ext>
              </a:extLst>
            </p:cNvPr>
            <p:cNvSpPr/>
            <p:nvPr/>
          </p:nvSpPr>
          <p:spPr>
            <a:xfrm>
              <a:off x="10754561" y="3484477"/>
              <a:ext cx="89052" cy="51996"/>
            </a:xfrm>
            <a:custGeom>
              <a:avLst/>
              <a:gdLst>
                <a:gd name="connsiteX0" fmla="*/ 89046 w 89052"/>
                <a:gd name="connsiteY0" fmla="*/ 377 h 51996"/>
                <a:gd name="connsiteX1" fmla="*/ 89046 w 89052"/>
                <a:gd name="connsiteY1" fmla="*/ 0 h 51996"/>
                <a:gd name="connsiteX2" fmla="*/ 88293 w 89052"/>
                <a:gd name="connsiteY2" fmla="*/ 1884 h 51996"/>
                <a:gd name="connsiteX3" fmla="*/ 86284 w 89052"/>
                <a:gd name="connsiteY3" fmla="*/ 3642 h 51996"/>
                <a:gd name="connsiteX4" fmla="*/ 6656 w 89052"/>
                <a:gd name="connsiteY4" fmla="*/ 49610 h 51996"/>
                <a:gd name="connsiteX5" fmla="*/ 0 w 89052"/>
                <a:gd name="connsiteY5" fmla="*/ 51243 h 51996"/>
                <a:gd name="connsiteX6" fmla="*/ 0 w 89052"/>
                <a:gd name="connsiteY6" fmla="*/ 51996 h 51996"/>
                <a:gd name="connsiteX7" fmla="*/ 6656 w 89052"/>
                <a:gd name="connsiteY7" fmla="*/ 50363 h 51996"/>
                <a:gd name="connsiteX8" fmla="*/ 86284 w 89052"/>
                <a:gd name="connsiteY8" fmla="*/ 4396 h 51996"/>
                <a:gd name="connsiteX9" fmla="*/ 88293 w 89052"/>
                <a:gd name="connsiteY9" fmla="*/ 2638 h 51996"/>
                <a:gd name="connsiteX10" fmla="*/ 89046 w 89052"/>
                <a:gd name="connsiteY10" fmla="*/ 377 h 5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052" h="51996">
                  <a:moveTo>
                    <a:pt x="89046" y="377"/>
                  </a:moveTo>
                  <a:lnTo>
                    <a:pt x="89046" y="0"/>
                  </a:lnTo>
                  <a:cubicBezTo>
                    <a:pt x="89046" y="377"/>
                    <a:pt x="88921" y="1130"/>
                    <a:pt x="88293" y="1884"/>
                  </a:cubicBezTo>
                  <a:cubicBezTo>
                    <a:pt x="87413" y="3014"/>
                    <a:pt x="86284" y="3642"/>
                    <a:pt x="86284" y="3642"/>
                  </a:cubicBezTo>
                  <a:lnTo>
                    <a:pt x="6656" y="49610"/>
                  </a:lnTo>
                  <a:cubicBezTo>
                    <a:pt x="4773" y="50615"/>
                    <a:pt x="2386" y="51243"/>
                    <a:pt x="0" y="51243"/>
                  </a:cubicBezTo>
                  <a:lnTo>
                    <a:pt x="0" y="51996"/>
                  </a:lnTo>
                  <a:cubicBezTo>
                    <a:pt x="2386" y="51996"/>
                    <a:pt x="4898" y="51494"/>
                    <a:pt x="6656" y="50363"/>
                  </a:cubicBezTo>
                  <a:lnTo>
                    <a:pt x="86284" y="4396"/>
                  </a:lnTo>
                  <a:cubicBezTo>
                    <a:pt x="86284" y="4396"/>
                    <a:pt x="87413" y="3768"/>
                    <a:pt x="88293" y="2638"/>
                  </a:cubicBezTo>
                  <a:cubicBezTo>
                    <a:pt x="89172" y="1382"/>
                    <a:pt x="89046" y="377"/>
                    <a:pt x="89046" y="37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 name="Freeform: Shape 537">
              <a:extLst>
                <a:ext uri="{FF2B5EF4-FFF2-40B4-BE49-F238E27FC236}">
                  <a16:creationId xmlns:a16="http://schemas.microsoft.com/office/drawing/2014/main" id="{C4176752-AC0D-475A-BC75-9F1AF4466270}"/>
                </a:ext>
              </a:extLst>
            </p:cNvPr>
            <p:cNvSpPr/>
            <p:nvPr/>
          </p:nvSpPr>
          <p:spPr>
            <a:xfrm>
              <a:off x="10838960" y="3488747"/>
              <a:ext cx="1632" cy="26751"/>
            </a:xfrm>
            <a:custGeom>
              <a:avLst/>
              <a:gdLst>
                <a:gd name="connsiteX0" fmla="*/ 1131 w 1632"/>
                <a:gd name="connsiteY0" fmla="*/ 377 h 26751"/>
                <a:gd name="connsiteX1" fmla="*/ 1131 w 1632"/>
                <a:gd name="connsiteY1" fmla="*/ 24617 h 26751"/>
                <a:gd name="connsiteX2" fmla="*/ 0 w 1632"/>
                <a:gd name="connsiteY2" fmla="*/ 26752 h 26751"/>
                <a:gd name="connsiteX3" fmla="*/ 628 w 1632"/>
                <a:gd name="connsiteY3" fmla="*/ 26249 h 26751"/>
                <a:gd name="connsiteX4" fmla="*/ 1633 w 1632"/>
                <a:gd name="connsiteY4" fmla="*/ 24240 h 26751"/>
                <a:gd name="connsiteX5" fmla="*/ 1633 w 1632"/>
                <a:gd name="connsiteY5" fmla="*/ 0 h 26751"/>
                <a:gd name="connsiteX6" fmla="*/ 1131 w 1632"/>
                <a:gd name="connsiteY6" fmla="*/ 377 h 26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26751">
                  <a:moveTo>
                    <a:pt x="1131" y="377"/>
                  </a:moveTo>
                  <a:cubicBezTo>
                    <a:pt x="1131" y="377"/>
                    <a:pt x="1131" y="23989"/>
                    <a:pt x="1131" y="24617"/>
                  </a:cubicBezTo>
                  <a:cubicBezTo>
                    <a:pt x="1131" y="25245"/>
                    <a:pt x="0" y="26752"/>
                    <a:pt x="0" y="26752"/>
                  </a:cubicBezTo>
                  <a:lnTo>
                    <a:pt x="628" y="26249"/>
                  </a:lnTo>
                  <a:cubicBezTo>
                    <a:pt x="628" y="26249"/>
                    <a:pt x="1633" y="24868"/>
                    <a:pt x="1633" y="24240"/>
                  </a:cubicBezTo>
                  <a:cubicBezTo>
                    <a:pt x="1633" y="23612"/>
                    <a:pt x="1633" y="0"/>
                    <a:pt x="1633" y="0"/>
                  </a:cubicBezTo>
                  <a:lnTo>
                    <a:pt x="1131"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 name="Freeform: Shape 538">
              <a:extLst>
                <a:ext uri="{FF2B5EF4-FFF2-40B4-BE49-F238E27FC236}">
                  <a16:creationId xmlns:a16="http://schemas.microsoft.com/office/drawing/2014/main" id="{4D37F3D8-C357-49A8-B614-908757F670DE}"/>
                </a:ext>
              </a:extLst>
            </p:cNvPr>
            <p:cNvSpPr/>
            <p:nvPr/>
          </p:nvSpPr>
          <p:spPr>
            <a:xfrm>
              <a:off x="10760212" y="3534213"/>
              <a:ext cx="1632" cy="26626"/>
            </a:xfrm>
            <a:custGeom>
              <a:avLst/>
              <a:gdLst>
                <a:gd name="connsiteX0" fmla="*/ 1005 w 1632"/>
                <a:gd name="connsiteY0" fmla="*/ 377 h 26626"/>
                <a:gd name="connsiteX1" fmla="*/ 1005 w 1632"/>
                <a:gd name="connsiteY1" fmla="*/ 24616 h 26626"/>
                <a:gd name="connsiteX2" fmla="*/ 0 w 1632"/>
                <a:gd name="connsiteY2" fmla="*/ 26626 h 26626"/>
                <a:gd name="connsiteX3" fmla="*/ 503 w 1632"/>
                <a:gd name="connsiteY3" fmla="*/ 26375 h 26626"/>
                <a:gd name="connsiteX4" fmla="*/ 1633 w 1632"/>
                <a:gd name="connsiteY4" fmla="*/ 24240 h 26626"/>
                <a:gd name="connsiteX5" fmla="*/ 1633 w 1632"/>
                <a:gd name="connsiteY5" fmla="*/ 0 h 26626"/>
                <a:gd name="connsiteX6" fmla="*/ 1005 w 1632"/>
                <a:gd name="connsiteY6" fmla="*/ 377 h 26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26626">
                  <a:moveTo>
                    <a:pt x="1005" y="377"/>
                  </a:moveTo>
                  <a:cubicBezTo>
                    <a:pt x="1005" y="377"/>
                    <a:pt x="1005" y="23988"/>
                    <a:pt x="1005" y="24616"/>
                  </a:cubicBezTo>
                  <a:cubicBezTo>
                    <a:pt x="1005" y="25244"/>
                    <a:pt x="0" y="26626"/>
                    <a:pt x="0" y="26626"/>
                  </a:cubicBezTo>
                  <a:lnTo>
                    <a:pt x="503" y="26375"/>
                  </a:lnTo>
                  <a:cubicBezTo>
                    <a:pt x="503" y="26375"/>
                    <a:pt x="1633" y="24993"/>
                    <a:pt x="1633" y="24240"/>
                  </a:cubicBezTo>
                  <a:cubicBezTo>
                    <a:pt x="1633" y="23612"/>
                    <a:pt x="1633" y="0"/>
                    <a:pt x="1633" y="0"/>
                  </a:cubicBezTo>
                  <a:lnTo>
                    <a:pt x="1005"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 name="Freeform: Shape 539">
              <a:extLst>
                <a:ext uri="{FF2B5EF4-FFF2-40B4-BE49-F238E27FC236}">
                  <a16:creationId xmlns:a16="http://schemas.microsoft.com/office/drawing/2014/main" id="{C2DA9B5F-DE8A-407B-8159-754862AEDBF9}"/>
                </a:ext>
              </a:extLst>
            </p:cNvPr>
            <p:cNvSpPr/>
            <p:nvPr/>
          </p:nvSpPr>
          <p:spPr>
            <a:xfrm>
              <a:off x="10831801" y="3417546"/>
              <a:ext cx="6279" cy="63163"/>
            </a:xfrm>
            <a:custGeom>
              <a:avLst/>
              <a:gdLst>
                <a:gd name="connsiteX0" fmla="*/ 5652 w 6279"/>
                <a:gd name="connsiteY0" fmla="*/ 1748 h 63163"/>
                <a:gd name="connsiteX1" fmla="*/ 3517 w 6279"/>
                <a:gd name="connsiteY1" fmla="*/ 492 h 63163"/>
                <a:gd name="connsiteX2" fmla="*/ 0 w 6279"/>
                <a:gd name="connsiteY2" fmla="*/ 2501 h 63163"/>
                <a:gd name="connsiteX3" fmla="*/ 0 w 6279"/>
                <a:gd name="connsiteY3" fmla="*/ 54246 h 63163"/>
                <a:gd name="connsiteX4" fmla="*/ 3517 w 6279"/>
                <a:gd name="connsiteY4" fmla="*/ 60401 h 63163"/>
                <a:gd name="connsiteX5" fmla="*/ 3517 w 6279"/>
                <a:gd name="connsiteY5" fmla="*/ 60401 h 63163"/>
                <a:gd name="connsiteX6" fmla="*/ 4898 w 6279"/>
                <a:gd name="connsiteY6" fmla="*/ 61280 h 63163"/>
                <a:gd name="connsiteX7" fmla="*/ 6280 w 6279"/>
                <a:gd name="connsiteY7" fmla="*/ 63164 h 63163"/>
                <a:gd name="connsiteX8" fmla="*/ 5652 w 6279"/>
                <a:gd name="connsiteY8" fmla="*/ 1748 h 6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9" h="63163">
                  <a:moveTo>
                    <a:pt x="5652" y="1748"/>
                  </a:moveTo>
                  <a:lnTo>
                    <a:pt x="3517" y="492"/>
                  </a:lnTo>
                  <a:cubicBezTo>
                    <a:pt x="1507" y="-639"/>
                    <a:pt x="0" y="241"/>
                    <a:pt x="0" y="2501"/>
                  </a:cubicBezTo>
                  <a:lnTo>
                    <a:pt x="0" y="54246"/>
                  </a:lnTo>
                  <a:cubicBezTo>
                    <a:pt x="0" y="56507"/>
                    <a:pt x="1633" y="59270"/>
                    <a:pt x="3517" y="60401"/>
                  </a:cubicBezTo>
                  <a:lnTo>
                    <a:pt x="3517" y="60401"/>
                  </a:lnTo>
                  <a:lnTo>
                    <a:pt x="4898" y="61280"/>
                  </a:lnTo>
                  <a:cubicBezTo>
                    <a:pt x="5778" y="61782"/>
                    <a:pt x="6280" y="62536"/>
                    <a:pt x="6280" y="63164"/>
                  </a:cubicBezTo>
                  <a:lnTo>
                    <a:pt x="5652" y="1748"/>
                  </a:lnTo>
                  <a:close/>
                </a:path>
              </a:pathLst>
            </a:custGeom>
            <a:solidFill>
              <a:srgbClr val="1B8CD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1" name="Freeform: Shape 540">
              <a:extLst>
                <a:ext uri="{FF2B5EF4-FFF2-40B4-BE49-F238E27FC236}">
                  <a16:creationId xmlns:a16="http://schemas.microsoft.com/office/drawing/2014/main" id="{C37FB977-ACA8-40B3-B055-009CE90E6408}"/>
                </a:ext>
              </a:extLst>
            </p:cNvPr>
            <p:cNvSpPr/>
            <p:nvPr/>
          </p:nvSpPr>
          <p:spPr>
            <a:xfrm>
              <a:off x="10658983" y="3508842"/>
              <a:ext cx="95578" cy="53252"/>
            </a:xfrm>
            <a:custGeom>
              <a:avLst/>
              <a:gdLst>
                <a:gd name="connsiteX0" fmla="*/ 88796 w 95578"/>
                <a:gd name="connsiteY0" fmla="*/ 50112 h 53252"/>
                <a:gd name="connsiteX1" fmla="*/ 2010 w 95578"/>
                <a:gd name="connsiteY1" fmla="*/ 0 h 53252"/>
                <a:gd name="connsiteX2" fmla="*/ 0 w 95578"/>
                <a:gd name="connsiteY2" fmla="*/ 251 h 53252"/>
                <a:gd name="connsiteX3" fmla="*/ 88921 w 95578"/>
                <a:gd name="connsiteY3" fmla="*/ 51619 h 53252"/>
                <a:gd name="connsiteX4" fmla="*/ 95578 w 95578"/>
                <a:gd name="connsiteY4" fmla="*/ 53252 h 53252"/>
                <a:gd name="connsiteX5" fmla="*/ 95578 w 95578"/>
                <a:gd name="connsiteY5" fmla="*/ 51745 h 53252"/>
                <a:gd name="connsiteX6" fmla="*/ 88796 w 95578"/>
                <a:gd name="connsiteY6" fmla="*/ 50112 h 53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578" h="53252">
                  <a:moveTo>
                    <a:pt x="88796" y="50112"/>
                  </a:moveTo>
                  <a:lnTo>
                    <a:pt x="2010" y="0"/>
                  </a:lnTo>
                  <a:lnTo>
                    <a:pt x="0" y="251"/>
                  </a:lnTo>
                  <a:lnTo>
                    <a:pt x="88921" y="51619"/>
                  </a:lnTo>
                  <a:cubicBezTo>
                    <a:pt x="90806" y="52624"/>
                    <a:pt x="93192" y="53252"/>
                    <a:pt x="95578" y="53252"/>
                  </a:cubicBezTo>
                  <a:lnTo>
                    <a:pt x="95578" y="51745"/>
                  </a:lnTo>
                  <a:cubicBezTo>
                    <a:pt x="93066" y="51619"/>
                    <a:pt x="90680" y="51117"/>
                    <a:pt x="88796" y="50112"/>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2" name="Freeform: Shape 541">
              <a:extLst>
                <a:ext uri="{FF2B5EF4-FFF2-40B4-BE49-F238E27FC236}">
                  <a16:creationId xmlns:a16="http://schemas.microsoft.com/office/drawing/2014/main" id="{750449CE-85EF-4C24-8F8C-D326FA340094}"/>
                </a:ext>
              </a:extLst>
            </p:cNvPr>
            <p:cNvSpPr/>
            <p:nvPr/>
          </p:nvSpPr>
          <p:spPr>
            <a:xfrm>
              <a:off x="10739238" y="3529063"/>
              <a:ext cx="15197" cy="7284"/>
            </a:xfrm>
            <a:custGeom>
              <a:avLst/>
              <a:gdLst>
                <a:gd name="connsiteX0" fmla="*/ 8540 w 15197"/>
                <a:gd name="connsiteY0" fmla="*/ 4898 h 7284"/>
                <a:gd name="connsiteX1" fmla="*/ 0 w 15197"/>
                <a:gd name="connsiteY1" fmla="*/ 0 h 7284"/>
                <a:gd name="connsiteX2" fmla="*/ 0 w 15197"/>
                <a:gd name="connsiteY2" fmla="*/ 754 h 7284"/>
                <a:gd name="connsiteX3" fmla="*/ 8540 w 15197"/>
                <a:gd name="connsiteY3" fmla="*/ 5652 h 7284"/>
                <a:gd name="connsiteX4" fmla="*/ 15197 w 15197"/>
                <a:gd name="connsiteY4" fmla="*/ 7285 h 7284"/>
                <a:gd name="connsiteX5" fmla="*/ 15197 w 15197"/>
                <a:gd name="connsiteY5" fmla="*/ 6531 h 7284"/>
                <a:gd name="connsiteX6" fmla="*/ 8540 w 15197"/>
                <a:gd name="connsiteY6" fmla="*/ 4898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97" h="7284">
                  <a:moveTo>
                    <a:pt x="8540" y="4898"/>
                  </a:moveTo>
                  <a:lnTo>
                    <a:pt x="0" y="0"/>
                  </a:lnTo>
                  <a:lnTo>
                    <a:pt x="0" y="754"/>
                  </a:lnTo>
                  <a:lnTo>
                    <a:pt x="8540" y="5652"/>
                  </a:lnTo>
                  <a:cubicBezTo>
                    <a:pt x="10425" y="6657"/>
                    <a:pt x="12811" y="7285"/>
                    <a:pt x="15197" y="7285"/>
                  </a:cubicBezTo>
                  <a:lnTo>
                    <a:pt x="15197" y="6531"/>
                  </a:lnTo>
                  <a:cubicBezTo>
                    <a:pt x="12811" y="6531"/>
                    <a:pt x="10425" y="6028"/>
                    <a:pt x="8540" y="4898"/>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3" name="Graphic 4">
              <a:extLst>
                <a:ext uri="{FF2B5EF4-FFF2-40B4-BE49-F238E27FC236}">
                  <a16:creationId xmlns:a16="http://schemas.microsoft.com/office/drawing/2014/main" id="{84FB7ED1-A2DF-40A1-A747-5F7CF3F14040}"/>
                </a:ext>
              </a:extLst>
            </p:cNvPr>
            <p:cNvGrpSpPr/>
            <p:nvPr/>
          </p:nvGrpSpPr>
          <p:grpSpPr>
            <a:xfrm>
              <a:off x="10700304" y="3497189"/>
              <a:ext cx="5400" cy="12882"/>
              <a:chOff x="10700304" y="3497189"/>
              <a:chExt cx="5400" cy="12882"/>
            </a:xfrm>
            <a:solidFill>
              <a:schemeClr val="accent1"/>
            </a:solidFill>
          </p:grpSpPr>
          <p:sp>
            <p:nvSpPr>
              <p:cNvPr id="544" name="Freeform: Shape 543">
                <a:extLst>
                  <a:ext uri="{FF2B5EF4-FFF2-40B4-BE49-F238E27FC236}">
                    <a16:creationId xmlns:a16="http://schemas.microsoft.com/office/drawing/2014/main" id="{3285BB33-82DB-4706-9CA0-7EF35A5836C5}"/>
                  </a:ext>
                </a:extLst>
              </p:cNvPr>
              <p:cNvSpPr/>
              <p:nvPr/>
            </p:nvSpPr>
            <p:spPr>
              <a:xfrm>
                <a:off x="10700304" y="3497189"/>
                <a:ext cx="5400" cy="12882"/>
              </a:xfrm>
              <a:custGeom>
                <a:avLst/>
                <a:gdLst>
                  <a:gd name="connsiteX0" fmla="*/ 0 w 5400"/>
                  <a:gd name="connsiteY0" fmla="*/ 601 h 12882"/>
                  <a:gd name="connsiteX1" fmla="*/ 0 w 5400"/>
                  <a:gd name="connsiteY1" fmla="*/ 9141 h 12882"/>
                  <a:gd name="connsiteX2" fmla="*/ 754 w 5400"/>
                  <a:gd name="connsiteY2" fmla="*/ 10523 h 12882"/>
                  <a:gd name="connsiteX3" fmla="*/ 4647 w 5400"/>
                  <a:gd name="connsiteY3" fmla="*/ 12784 h 12882"/>
                  <a:gd name="connsiteX4" fmla="*/ 5400 w 5400"/>
                  <a:gd name="connsiteY4" fmla="*/ 12281 h 12882"/>
                  <a:gd name="connsiteX5" fmla="*/ 5400 w 5400"/>
                  <a:gd name="connsiteY5" fmla="*/ 3741 h 12882"/>
                  <a:gd name="connsiteX6" fmla="*/ 4647 w 5400"/>
                  <a:gd name="connsiteY6" fmla="*/ 2359 h 12882"/>
                  <a:gd name="connsiteX7" fmla="*/ 754 w 5400"/>
                  <a:gd name="connsiteY7" fmla="*/ 99 h 12882"/>
                  <a:gd name="connsiteX8" fmla="*/ 0 w 5400"/>
                  <a:gd name="connsiteY8" fmla="*/ 601 h 1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 h="12882">
                    <a:moveTo>
                      <a:pt x="0" y="601"/>
                    </a:moveTo>
                    <a:lnTo>
                      <a:pt x="0" y="9141"/>
                    </a:lnTo>
                    <a:cubicBezTo>
                      <a:pt x="0" y="9644"/>
                      <a:pt x="376" y="10272"/>
                      <a:pt x="754" y="10523"/>
                    </a:cubicBezTo>
                    <a:lnTo>
                      <a:pt x="4647" y="12784"/>
                    </a:lnTo>
                    <a:cubicBezTo>
                      <a:pt x="5023" y="13035"/>
                      <a:pt x="5400" y="12784"/>
                      <a:pt x="5400" y="12281"/>
                    </a:cubicBezTo>
                    <a:lnTo>
                      <a:pt x="5400" y="3741"/>
                    </a:lnTo>
                    <a:cubicBezTo>
                      <a:pt x="5400" y="3238"/>
                      <a:pt x="5023" y="2610"/>
                      <a:pt x="4647" y="2359"/>
                    </a:cubicBezTo>
                    <a:lnTo>
                      <a:pt x="754" y="99"/>
                    </a:lnTo>
                    <a:cubicBezTo>
                      <a:pt x="376" y="-153"/>
                      <a:pt x="0" y="99"/>
                      <a:pt x="0" y="601"/>
                    </a:cubicBezTo>
                    <a:close/>
                  </a:path>
                </a:pathLst>
              </a:custGeom>
              <a:solidFill>
                <a:srgbClr val="000000">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 name="Freeform: Shape 544">
                <a:extLst>
                  <a:ext uri="{FF2B5EF4-FFF2-40B4-BE49-F238E27FC236}">
                    <a16:creationId xmlns:a16="http://schemas.microsoft.com/office/drawing/2014/main" id="{1626F48D-C6A3-4AA7-B7E0-8C16E26BF9A4}"/>
                  </a:ext>
                </a:extLst>
              </p:cNvPr>
              <p:cNvSpPr/>
              <p:nvPr/>
            </p:nvSpPr>
            <p:spPr>
              <a:xfrm>
                <a:off x="10701685" y="3498443"/>
                <a:ext cx="4019" cy="10023"/>
              </a:xfrm>
              <a:custGeom>
                <a:avLst/>
                <a:gdLst>
                  <a:gd name="connsiteX0" fmla="*/ 3893 w 4019"/>
                  <a:gd name="connsiteY0" fmla="*/ 1985 h 10023"/>
                  <a:gd name="connsiteX1" fmla="*/ 3893 w 4019"/>
                  <a:gd name="connsiteY1" fmla="*/ 1985 h 10023"/>
                  <a:gd name="connsiteX2" fmla="*/ 628 w 4019"/>
                  <a:gd name="connsiteY2" fmla="*/ 101 h 10023"/>
                  <a:gd name="connsiteX3" fmla="*/ 0 w 4019"/>
                  <a:gd name="connsiteY3" fmla="*/ 478 h 10023"/>
                  <a:gd name="connsiteX4" fmla="*/ 0 w 4019"/>
                  <a:gd name="connsiteY4" fmla="*/ 7135 h 10023"/>
                  <a:gd name="connsiteX5" fmla="*/ 628 w 4019"/>
                  <a:gd name="connsiteY5" fmla="*/ 8139 h 10023"/>
                  <a:gd name="connsiteX6" fmla="*/ 4019 w 4019"/>
                  <a:gd name="connsiteY6" fmla="*/ 10023 h 10023"/>
                  <a:gd name="connsiteX7" fmla="*/ 4019 w 4019"/>
                  <a:gd name="connsiteY7" fmla="*/ 2362 h 10023"/>
                  <a:gd name="connsiteX8" fmla="*/ 3893 w 4019"/>
                  <a:gd name="connsiteY8" fmla="*/ 1985 h 10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10023">
                    <a:moveTo>
                      <a:pt x="3893" y="1985"/>
                    </a:moveTo>
                    <a:lnTo>
                      <a:pt x="3893" y="1985"/>
                    </a:lnTo>
                    <a:lnTo>
                      <a:pt x="628" y="101"/>
                    </a:lnTo>
                    <a:cubicBezTo>
                      <a:pt x="251" y="-150"/>
                      <a:pt x="0" y="101"/>
                      <a:pt x="0" y="478"/>
                    </a:cubicBezTo>
                    <a:lnTo>
                      <a:pt x="0" y="7135"/>
                    </a:lnTo>
                    <a:cubicBezTo>
                      <a:pt x="0" y="7511"/>
                      <a:pt x="251" y="8014"/>
                      <a:pt x="628" y="8139"/>
                    </a:cubicBezTo>
                    <a:lnTo>
                      <a:pt x="4019" y="10023"/>
                    </a:lnTo>
                    <a:lnTo>
                      <a:pt x="4019" y="2362"/>
                    </a:lnTo>
                    <a:cubicBezTo>
                      <a:pt x="4019" y="2236"/>
                      <a:pt x="3893" y="2111"/>
                      <a:pt x="3893" y="1985"/>
                    </a:cubicBez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 name="Freeform: Shape 545">
                <a:extLst>
                  <a:ext uri="{FF2B5EF4-FFF2-40B4-BE49-F238E27FC236}">
                    <a16:creationId xmlns:a16="http://schemas.microsoft.com/office/drawing/2014/main" id="{D509F50A-35AA-4E6C-B9EC-C9F1995DA284}"/>
                  </a:ext>
                </a:extLst>
              </p:cNvPr>
              <p:cNvSpPr/>
              <p:nvPr/>
            </p:nvSpPr>
            <p:spPr>
              <a:xfrm>
                <a:off x="10701057" y="3507286"/>
                <a:ext cx="4646" cy="2659"/>
              </a:xfrm>
              <a:custGeom>
                <a:avLst/>
                <a:gdLst>
                  <a:gd name="connsiteX0" fmla="*/ 0 w 4646"/>
                  <a:gd name="connsiteY0" fmla="*/ 300 h 2659"/>
                  <a:gd name="connsiteX1" fmla="*/ 0 w 4646"/>
                  <a:gd name="connsiteY1" fmla="*/ 300 h 2659"/>
                  <a:gd name="connsiteX2" fmla="*/ 3893 w 4646"/>
                  <a:gd name="connsiteY2" fmla="*/ 2561 h 2659"/>
                  <a:gd name="connsiteX3" fmla="*/ 4647 w 4646"/>
                  <a:gd name="connsiteY3" fmla="*/ 2059 h 2659"/>
                  <a:gd name="connsiteX4" fmla="*/ 4647 w 4646"/>
                  <a:gd name="connsiteY4" fmla="*/ 1682 h 2659"/>
                  <a:gd name="connsiteX5" fmla="*/ 2135 w 4646"/>
                  <a:gd name="connsiteY5" fmla="*/ 175 h 2659"/>
                  <a:gd name="connsiteX6" fmla="*/ 0 w 4646"/>
                  <a:gd name="connsiteY6" fmla="*/ 300 h 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46" h="2659">
                    <a:moveTo>
                      <a:pt x="0" y="300"/>
                    </a:moveTo>
                    <a:lnTo>
                      <a:pt x="0" y="300"/>
                    </a:lnTo>
                    <a:lnTo>
                      <a:pt x="3893" y="2561"/>
                    </a:lnTo>
                    <a:cubicBezTo>
                      <a:pt x="4270" y="2813"/>
                      <a:pt x="4647" y="2561"/>
                      <a:pt x="4647" y="2059"/>
                    </a:cubicBezTo>
                    <a:lnTo>
                      <a:pt x="4647" y="1682"/>
                    </a:lnTo>
                    <a:cubicBezTo>
                      <a:pt x="4647" y="1682"/>
                      <a:pt x="2637" y="552"/>
                      <a:pt x="2135" y="175"/>
                    </a:cubicBezTo>
                    <a:cubicBezTo>
                      <a:pt x="1633" y="49"/>
                      <a:pt x="754" y="-202"/>
                      <a:pt x="0" y="300"/>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7" name="Graphic 4">
              <a:extLst>
                <a:ext uri="{FF2B5EF4-FFF2-40B4-BE49-F238E27FC236}">
                  <a16:creationId xmlns:a16="http://schemas.microsoft.com/office/drawing/2014/main" id="{84FB7ED1-A2DF-40A1-A747-5F7CF3F14040}"/>
                </a:ext>
              </a:extLst>
            </p:cNvPr>
            <p:cNvGrpSpPr/>
            <p:nvPr/>
          </p:nvGrpSpPr>
          <p:grpSpPr>
            <a:xfrm>
              <a:off x="10700304" y="3498293"/>
              <a:ext cx="3265" cy="8634"/>
              <a:chOff x="10700304" y="3498293"/>
              <a:chExt cx="3265" cy="8634"/>
            </a:xfrm>
            <a:solidFill>
              <a:schemeClr val="accent1"/>
            </a:solidFill>
          </p:grpSpPr>
          <p:sp>
            <p:nvSpPr>
              <p:cNvPr id="548" name="Freeform: Shape 547">
                <a:extLst>
                  <a:ext uri="{FF2B5EF4-FFF2-40B4-BE49-F238E27FC236}">
                    <a16:creationId xmlns:a16="http://schemas.microsoft.com/office/drawing/2014/main" id="{9BF2F077-E1C4-4049-A346-325D663A79CB}"/>
                  </a:ext>
                </a:extLst>
              </p:cNvPr>
              <p:cNvSpPr/>
              <p:nvPr/>
            </p:nvSpPr>
            <p:spPr>
              <a:xfrm>
                <a:off x="10700304" y="3498544"/>
                <a:ext cx="2888" cy="8383"/>
              </a:xfrm>
              <a:custGeom>
                <a:avLst/>
                <a:gdLst>
                  <a:gd name="connsiteX0" fmla="*/ 1759 w 2888"/>
                  <a:gd name="connsiteY0" fmla="*/ 1005 h 8383"/>
                  <a:gd name="connsiteX1" fmla="*/ 0 w 2888"/>
                  <a:gd name="connsiteY1" fmla="*/ 0 h 8383"/>
                  <a:gd name="connsiteX2" fmla="*/ 0 w 2888"/>
                  <a:gd name="connsiteY2" fmla="*/ 7285 h 8383"/>
                  <a:gd name="connsiteX3" fmla="*/ 1759 w 2888"/>
                  <a:gd name="connsiteY3" fmla="*/ 8289 h 8383"/>
                  <a:gd name="connsiteX4" fmla="*/ 2512 w 2888"/>
                  <a:gd name="connsiteY4" fmla="*/ 8289 h 8383"/>
                  <a:gd name="connsiteX5" fmla="*/ 2888 w 2888"/>
                  <a:gd name="connsiteY5" fmla="*/ 7410 h 8383"/>
                  <a:gd name="connsiteX6" fmla="*/ 2888 w 2888"/>
                  <a:gd name="connsiteY6" fmla="*/ 3014 h 8383"/>
                  <a:gd name="connsiteX7" fmla="*/ 1759 w 2888"/>
                  <a:gd name="connsiteY7" fmla="*/ 1005 h 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8" h="8383">
                    <a:moveTo>
                      <a:pt x="1759" y="1005"/>
                    </a:moveTo>
                    <a:lnTo>
                      <a:pt x="0" y="0"/>
                    </a:lnTo>
                    <a:lnTo>
                      <a:pt x="0" y="7285"/>
                    </a:lnTo>
                    <a:lnTo>
                      <a:pt x="1759" y="8289"/>
                    </a:lnTo>
                    <a:cubicBezTo>
                      <a:pt x="2009" y="8415"/>
                      <a:pt x="2261" y="8415"/>
                      <a:pt x="2512" y="8289"/>
                    </a:cubicBezTo>
                    <a:cubicBezTo>
                      <a:pt x="2763" y="8164"/>
                      <a:pt x="2888" y="7913"/>
                      <a:pt x="2888" y="7410"/>
                    </a:cubicBezTo>
                    <a:lnTo>
                      <a:pt x="2888" y="3014"/>
                    </a:lnTo>
                    <a:cubicBezTo>
                      <a:pt x="2888" y="2261"/>
                      <a:pt x="2386" y="1382"/>
                      <a:pt x="1759" y="1005"/>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 name="Freeform: Shape 548">
                <a:extLst>
                  <a:ext uri="{FF2B5EF4-FFF2-40B4-BE49-F238E27FC236}">
                    <a16:creationId xmlns:a16="http://schemas.microsoft.com/office/drawing/2014/main" id="{84EE5B9D-BD4E-4D0A-8FBE-5D1F636EFBFD}"/>
                  </a:ext>
                </a:extLst>
              </p:cNvPr>
              <p:cNvSpPr/>
              <p:nvPr/>
            </p:nvSpPr>
            <p:spPr>
              <a:xfrm>
                <a:off x="10700304" y="3498293"/>
                <a:ext cx="3265" cy="8414"/>
              </a:xfrm>
              <a:custGeom>
                <a:avLst/>
                <a:gdLst>
                  <a:gd name="connsiteX0" fmla="*/ 2135 w 3265"/>
                  <a:gd name="connsiteY0" fmla="*/ 1005 h 8414"/>
                  <a:gd name="connsiteX1" fmla="*/ 376 w 3265"/>
                  <a:gd name="connsiteY1" fmla="*/ 0 h 8414"/>
                  <a:gd name="connsiteX2" fmla="*/ 0 w 3265"/>
                  <a:gd name="connsiteY2" fmla="*/ 126 h 8414"/>
                  <a:gd name="connsiteX3" fmla="*/ 1759 w 3265"/>
                  <a:gd name="connsiteY3" fmla="*/ 1130 h 8414"/>
                  <a:gd name="connsiteX4" fmla="*/ 2888 w 3265"/>
                  <a:gd name="connsiteY4" fmla="*/ 3140 h 8414"/>
                  <a:gd name="connsiteX5" fmla="*/ 2888 w 3265"/>
                  <a:gd name="connsiteY5" fmla="*/ 7536 h 8414"/>
                  <a:gd name="connsiteX6" fmla="*/ 2512 w 3265"/>
                  <a:gd name="connsiteY6" fmla="*/ 8415 h 8414"/>
                  <a:gd name="connsiteX7" fmla="*/ 2888 w 3265"/>
                  <a:gd name="connsiteY7" fmla="*/ 8289 h 8414"/>
                  <a:gd name="connsiteX8" fmla="*/ 3266 w 3265"/>
                  <a:gd name="connsiteY8" fmla="*/ 7410 h 8414"/>
                  <a:gd name="connsiteX9" fmla="*/ 3266 w 3265"/>
                  <a:gd name="connsiteY9" fmla="*/ 3014 h 8414"/>
                  <a:gd name="connsiteX10" fmla="*/ 2135 w 3265"/>
                  <a:gd name="connsiteY10" fmla="*/ 1005 h 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65" h="8414">
                    <a:moveTo>
                      <a:pt x="2135" y="1005"/>
                    </a:moveTo>
                    <a:lnTo>
                      <a:pt x="376" y="0"/>
                    </a:lnTo>
                    <a:lnTo>
                      <a:pt x="0" y="126"/>
                    </a:lnTo>
                    <a:lnTo>
                      <a:pt x="1759" y="1130"/>
                    </a:lnTo>
                    <a:cubicBezTo>
                      <a:pt x="2386" y="1507"/>
                      <a:pt x="2888" y="2386"/>
                      <a:pt x="2888" y="3140"/>
                    </a:cubicBezTo>
                    <a:lnTo>
                      <a:pt x="2888" y="7536"/>
                    </a:lnTo>
                    <a:cubicBezTo>
                      <a:pt x="2888" y="7912"/>
                      <a:pt x="2763" y="8289"/>
                      <a:pt x="2512" y="8415"/>
                    </a:cubicBezTo>
                    <a:cubicBezTo>
                      <a:pt x="2512" y="8415"/>
                      <a:pt x="2637" y="8289"/>
                      <a:pt x="2888" y="8289"/>
                    </a:cubicBezTo>
                    <a:cubicBezTo>
                      <a:pt x="3140" y="8164"/>
                      <a:pt x="3266" y="7912"/>
                      <a:pt x="3266" y="7410"/>
                    </a:cubicBezTo>
                    <a:lnTo>
                      <a:pt x="3266" y="3014"/>
                    </a:lnTo>
                    <a:cubicBezTo>
                      <a:pt x="3140" y="2261"/>
                      <a:pt x="2637" y="1382"/>
                      <a:pt x="2135" y="1005"/>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50" name="Freeform: Shape 549">
              <a:extLst>
                <a:ext uri="{FF2B5EF4-FFF2-40B4-BE49-F238E27FC236}">
                  <a16:creationId xmlns:a16="http://schemas.microsoft.com/office/drawing/2014/main" id="{9BBCCB0B-F019-4BAD-8DBB-4C031B89A6DB}"/>
                </a:ext>
              </a:extLst>
            </p:cNvPr>
            <p:cNvSpPr/>
            <p:nvPr/>
          </p:nvSpPr>
          <p:spPr>
            <a:xfrm>
              <a:off x="10730823" y="3521402"/>
              <a:ext cx="11861" cy="5902"/>
            </a:xfrm>
            <a:custGeom>
              <a:avLst/>
              <a:gdLst>
                <a:gd name="connsiteX0" fmla="*/ 4145 w 11861"/>
                <a:gd name="connsiteY0" fmla="*/ 5903 h 5902"/>
                <a:gd name="connsiteX1" fmla="*/ 2009 w 11861"/>
                <a:gd name="connsiteY1" fmla="*/ 5400 h 5902"/>
                <a:gd name="connsiteX2" fmla="*/ 0 w 11861"/>
                <a:gd name="connsiteY2" fmla="*/ 1130 h 5902"/>
                <a:gd name="connsiteX3" fmla="*/ 1130 w 11861"/>
                <a:gd name="connsiteY3" fmla="*/ 0 h 5902"/>
                <a:gd name="connsiteX4" fmla="*/ 2261 w 11861"/>
                <a:gd name="connsiteY4" fmla="*/ 1130 h 5902"/>
                <a:gd name="connsiteX5" fmla="*/ 3014 w 11861"/>
                <a:gd name="connsiteY5" fmla="*/ 3391 h 5902"/>
                <a:gd name="connsiteX6" fmla="*/ 10047 w 11861"/>
                <a:gd name="connsiteY6" fmla="*/ 1256 h 5902"/>
                <a:gd name="connsiteX7" fmla="*/ 11680 w 11861"/>
                <a:gd name="connsiteY7" fmla="*/ 1633 h 5902"/>
                <a:gd name="connsiteX8" fmla="*/ 11303 w 11861"/>
                <a:gd name="connsiteY8" fmla="*/ 3265 h 5902"/>
                <a:gd name="connsiteX9" fmla="*/ 4145 w 11861"/>
                <a:gd name="connsiteY9" fmla="*/ 5903 h 5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61" h="5902">
                  <a:moveTo>
                    <a:pt x="4145" y="5903"/>
                  </a:moveTo>
                  <a:cubicBezTo>
                    <a:pt x="3391" y="5903"/>
                    <a:pt x="2638" y="5777"/>
                    <a:pt x="2009" y="5400"/>
                  </a:cubicBezTo>
                  <a:cubicBezTo>
                    <a:pt x="754" y="4647"/>
                    <a:pt x="0" y="3265"/>
                    <a:pt x="0" y="1130"/>
                  </a:cubicBezTo>
                  <a:cubicBezTo>
                    <a:pt x="0" y="502"/>
                    <a:pt x="502" y="0"/>
                    <a:pt x="1130" y="0"/>
                  </a:cubicBezTo>
                  <a:cubicBezTo>
                    <a:pt x="1759" y="0"/>
                    <a:pt x="2261" y="502"/>
                    <a:pt x="2261" y="1130"/>
                  </a:cubicBezTo>
                  <a:cubicBezTo>
                    <a:pt x="2261" y="2010"/>
                    <a:pt x="2386" y="3014"/>
                    <a:pt x="3014" y="3391"/>
                  </a:cubicBezTo>
                  <a:cubicBezTo>
                    <a:pt x="3516" y="3642"/>
                    <a:pt x="5275" y="4019"/>
                    <a:pt x="10047" y="1256"/>
                  </a:cubicBezTo>
                  <a:cubicBezTo>
                    <a:pt x="10550" y="879"/>
                    <a:pt x="11303" y="1130"/>
                    <a:pt x="11680" y="1633"/>
                  </a:cubicBezTo>
                  <a:cubicBezTo>
                    <a:pt x="12057" y="2135"/>
                    <a:pt x="11806" y="2889"/>
                    <a:pt x="11303" y="3265"/>
                  </a:cubicBezTo>
                  <a:cubicBezTo>
                    <a:pt x="8415" y="5024"/>
                    <a:pt x="5903" y="5903"/>
                    <a:pt x="4145" y="590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51" name="Graphic 4">
              <a:extLst>
                <a:ext uri="{FF2B5EF4-FFF2-40B4-BE49-F238E27FC236}">
                  <a16:creationId xmlns:a16="http://schemas.microsoft.com/office/drawing/2014/main" id="{84FB7ED1-A2DF-40A1-A747-5F7CF3F14040}"/>
                </a:ext>
              </a:extLst>
            </p:cNvPr>
            <p:cNvGrpSpPr/>
            <p:nvPr/>
          </p:nvGrpSpPr>
          <p:grpSpPr>
            <a:xfrm>
              <a:off x="10799147" y="3415274"/>
              <a:ext cx="6028" cy="6154"/>
              <a:chOff x="10799147" y="3415274"/>
              <a:chExt cx="6028" cy="6154"/>
            </a:xfrm>
            <a:solidFill>
              <a:schemeClr val="accent1"/>
            </a:solidFill>
          </p:grpSpPr>
          <p:grpSp>
            <p:nvGrpSpPr>
              <p:cNvPr id="552" name="Graphic 4">
                <a:extLst>
                  <a:ext uri="{FF2B5EF4-FFF2-40B4-BE49-F238E27FC236}">
                    <a16:creationId xmlns:a16="http://schemas.microsoft.com/office/drawing/2014/main" id="{84FB7ED1-A2DF-40A1-A747-5F7CF3F14040}"/>
                  </a:ext>
                </a:extLst>
              </p:cNvPr>
              <p:cNvGrpSpPr/>
              <p:nvPr/>
            </p:nvGrpSpPr>
            <p:grpSpPr>
              <a:xfrm>
                <a:off x="10799147" y="3417158"/>
                <a:ext cx="6028" cy="4270"/>
                <a:chOff x="10799147" y="3417158"/>
                <a:chExt cx="6028" cy="4270"/>
              </a:xfrm>
              <a:solidFill>
                <a:schemeClr val="accent1"/>
              </a:solidFill>
            </p:grpSpPr>
            <p:sp>
              <p:nvSpPr>
                <p:cNvPr id="553" name="Freeform: Shape 552">
                  <a:extLst>
                    <a:ext uri="{FF2B5EF4-FFF2-40B4-BE49-F238E27FC236}">
                      <a16:creationId xmlns:a16="http://schemas.microsoft.com/office/drawing/2014/main" id="{D34D0107-3CD9-4A58-B4DE-B8C14B7BF0CE}"/>
                    </a:ext>
                  </a:extLst>
                </p:cNvPr>
                <p:cNvSpPr/>
                <p:nvPr/>
              </p:nvSpPr>
              <p:spPr>
                <a:xfrm>
                  <a:off x="10799147" y="3417158"/>
                  <a:ext cx="6028" cy="3516"/>
                </a:xfrm>
                <a:custGeom>
                  <a:avLst/>
                  <a:gdLst>
                    <a:gd name="connsiteX0" fmla="*/ 3014 w 6028"/>
                    <a:gd name="connsiteY0" fmla="*/ 3517 h 3516"/>
                    <a:gd name="connsiteX1" fmla="*/ 6028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8" y="2763"/>
                        <a:pt x="6028" y="1758"/>
                      </a:cubicBezTo>
                      <a:cubicBezTo>
                        <a:pt x="6028" y="754"/>
                        <a:pt x="4647" y="0"/>
                        <a:pt x="3014" y="0"/>
                      </a:cubicBezTo>
                      <a:cubicBezTo>
                        <a:pt x="1381" y="0"/>
                        <a:pt x="0" y="754"/>
                        <a:pt x="0" y="1758"/>
                      </a:cubicBezTo>
                      <a:cubicBezTo>
                        <a:pt x="0" y="2763"/>
                        <a:pt x="1381"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4" name="Freeform: Shape 553">
                  <a:extLst>
                    <a:ext uri="{FF2B5EF4-FFF2-40B4-BE49-F238E27FC236}">
                      <a16:creationId xmlns:a16="http://schemas.microsoft.com/office/drawing/2014/main" id="{E529BEAE-1A62-45C9-8DC6-3736C171FC9A}"/>
                    </a:ext>
                  </a:extLst>
                </p:cNvPr>
                <p:cNvSpPr/>
                <p:nvPr/>
              </p:nvSpPr>
              <p:spPr>
                <a:xfrm>
                  <a:off x="10799147" y="3418917"/>
                  <a:ext cx="6028" cy="2511"/>
                </a:xfrm>
                <a:custGeom>
                  <a:avLst/>
                  <a:gdLst>
                    <a:gd name="connsiteX0" fmla="*/ 3014 w 6028"/>
                    <a:gd name="connsiteY0" fmla="*/ 1758 h 2511"/>
                    <a:gd name="connsiteX1" fmla="*/ 6028 w 6028"/>
                    <a:gd name="connsiteY1" fmla="*/ 0 h 2511"/>
                    <a:gd name="connsiteX2" fmla="*/ 6028 w 6028"/>
                    <a:gd name="connsiteY2" fmla="*/ 754 h 2511"/>
                    <a:gd name="connsiteX3" fmla="*/ 3014 w 6028"/>
                    <a:gd name="connsiteY3" fmla="*/ 2512 h 2511"/>
                    <a:gd name="connsiteX4" fmla="*/ 0 w 6028"/>
                    <a:gd name="connsiteY4" fmla="*/ 754 h 2511"/>
                    <a:gd name="connsiteX5" fmla="*/ 0 w 6028"/>
                    <a:gd name="connsiteY5" fmla="*/ 0 h 2511"/>
                    <a:gd name="connsiteX6" fmla="*/ 3014 w 6028"/>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1">
                      <a:moveTo>
                        <a:pt x="3014" y="1758"/>
                      </a:moveTo>
                      <a:cubicBezTo>
                        <a:pt x="4647" y="1758"/>
                        <a:pt x="6028" y="1005"/>
                        <a:pt x="6028" y="0"/>
                      </a:cubicBezTo>
                      <a:cubicBezTo>
                        <a:pt x="6028" y="0"/>
                        <a:pt x="6028" y="502"/>
                        <a:pt x="6028" y="754"/>
                      </a:cubicBezTo>
                      <a:cubicBezTo>
                        <a:pt x="6028" y="1758"/>
                        <a:pt x="4647" y="2512"/>
                        <a:pt x="3014" y="2512"/>
                      </a:cubicBezTo>
                      <a:cubicBezTo>
                        <a:pt x="1381" y="2512"/>
                        <a:pt x="0" y="1758"/>
                        <a:pt x="0" y="754"/>
                      </a:cubicBezTo>
                      <a:cubicBezTo>
                        <a:pt x="0" y="502"/>
                        <a:pt x="0" y="0"/>
                        <a:pt x="0" y="0"/>
                      </a:cubicBezTo>
                      <a:cubicBezTo>
                        <a:pt x="0" y="1005"/>
                        <a:pt x="1381"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55" name="Graphic 4">
                <a:extLst>
                  <a:ext uri="{FF2B5EF4-FFF2-40B4-BE49-F238E27FC236}">
                    <a16:creationId xmlns:a16="http://schemas.microsoft.com/office/drawing/2014/main" id="{84FB7ED1-A2DF-40A1-A747-5F7CF3F14040}"/>
                  </a:ext>
                </a:extLst>
              </p:cNvPr>
              <p:cNvGrpSpPr/>
              <p:nvPr/>
            </p:nvGrpSpPr>
            <p:grpSpPr>
              <a:xfrm>
                <a:off x="10800026" y="3415274"/>
                <a:ext cx="4269" cy="5023"/>
                <a:chOff x="10800026" y="3415274"/>
                <a:chExt cx="4269" cy="5023"/>
              </a:xfrm>
              <a:solidFill>
                <a:schemeClr val="accent1"/>
              </a:solidFill>
            </p:grpSpPr>
            <p:sp>
              <p:nvSpPr>
                <p:cNvPr id="556" name="Freeform: Shape 555">
                  <a:extLst>
                    <a:ext uri="{FF2B5EF4-FFF2-40B4-BE49-F238E27FC236}">
                      <a16:creationId xmlns:a16="http://schemas.microsoft.com/office/drawing/2014/main" id="{D4753A0D-AD2C-420E-9AFB-51CCF2D66CB5}"/>
                    </a:ext>
                  </a:extLst>
                </p:cNvPr>
                <p:cNvSpPr/>
                <p:nvPr/>
              </p:nvSpPr>
              <p:spPr>
                <a:xfrm>
                  <a:off x="10800528" y="3415274"/>
                  <a:ext cx="3265" cy="2009"/>
                </a:xfrm>
                <a:custGeom>
                  <a:avLst/>
                  <a:gdLst>
                    <a:gd name="connsiteX0" fmla="*/ 3266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6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6" y="1005"/>
                      </a:moveTo>
                      <a:cubicBezTo>
                        <a:pt x="3266" y="1560"/>
                        <a:pt x="2534" y="2010"/>
                        <a:pt x="1633" y="2010"/>
                      </a:cubicBezTo>
                      <a:cubicBezTo>
                        <a:pt x="731" y="2010"/>
                        <a:pt x="0" y="1560"/>
                        <a:pt x="0" y="1005"/>
                      </a:cubicBezTo>
                      <a:cubicBezTo>
                        <a:pt x="0" y="450"/>
                        <a:pt x="731" y="0"/>
                        <a:pt x="1633" y="0"/>
                      </a:cubicBezTo>
                      <a:cubicBezTo>
                        <a:pt x="2534" y="0"/>
                        <a:pt x="3266" y="450"/>
                        <a:pt x="3266"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7" name="Freeform: Shape 556">
                  <a:extLst>
                    <a:ext uri="{FF2B5EF4-FFF2-40B4-BE49-F238E27FC236}">
                      <a16:creationId xmlns:a16="http://schemas.microsoft.com/office/drawing/2014/main" id="{FECACF73-D7DD-4BBC-8A29-D9920E86F1C7}"/>
                    </a:ext>
                  </a:extLst>
                </p:cNvPr>
                <p:cNvSpPr/>
                <p:nvPr/>
              </p:nvSpPr>
              <p:spPr>
                <a:xfrm>
                  <a:off x="10800026" y="3416279"/>
                  <a:ext cx="4269" cy="4018"/>
                </a:xfrm>
                <a:custGeom>
                  <a:avLst/>
                  <a:gdLst>
                    <a:gd name="connsiteX0" fmla="*/ 2135 w 4269"/>
                    <a:gd name="connsiteY0" fmla="*/ 1005 h 4018"/>
                    <a:gd name="connsiteX1" fmla="*/ 3768 w 4269"/>
                    <a:gd name="connsiteY1" fmla="*/ 0 h 4018"/>
                    <a:gd name="connsiteX2" fmla="*/ 4270 w 4269"/>
                    <a:gd name="connsiteY2" fmla="*/ 2763 h 4018"/>
                    <a:gd name="connsiteX3" fmla="*/ 2135 w 4269"/>
                    <a:gd name="connsiteY3" fmla="*/ 4019 h 4018"/>
                    <a:gd name="connsiteX4" fmla="*/ 0 w 4269"/>
                    <a:gd name="connsiteY4" fmla="*/ 2763 h 4018"/>
                    <a:gd name="connsiteX5" fmla="*/ 502 w 4269"/>
                    <a:gd name="connsiteY5" fmla="*/ 0 h 4018"/>
                    <a:gd name="connsiteX6" fmla="*/ 2135 w 4269"/>
                    <a:gd name="connsiteY6" fmla="*/ 1005 h 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9" h="4018">
                      <a:moveTo>
                        <a:pt x="2135" y="1005"/>
                      </a:moveTo>
                      <a:cubicBezTo>
                        <a:pt x="3014" y="1005"/>
                        <a:pt x="3768" y="628"/>
                        <a:pt x="3768" y="0"/>
                      </a:cubicBezTo>
                      <a:cubicBezTo>
                        <a:pt x="3768" y="0"/>
                        <a:pt x="4270" y="2512"/>
                        <a:pt x="4270" y="2763"/>
                      </a:cubicBezTo>
                      <a:cubicBezTo>
                        <a:pt x="4270" y="3391"/>
                        <a:pt x="3266" y="4019"/>
                        <a:pt x="2135" y="4019"/>
                      </a:cubicBezTo>
                      <a:cubicBezTo>
                        <a:pt x="879" y="4019"/>
                        <a:pt x="0" y="3517"/>
                        <a:pt x="0" y="2763"/>
                      </a:cubicBezTo>
                      <a:cubicBezTo>
                        <a:pt x="0" y="2512"/>
                        <a:pt x="502" y="0"/>
                        <a:pt x="502" y="0"/>
                      </a:cubicBezTo>
                      <a:cubicBezTo>
                        <a:pt x="502" y="502"/>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58" name="Graphic 4">
              <a:extLst>
                <a:ext uri="{FF2B5EF4-FFF2-40B4-BE49-F238E27FC236}">
                  <a16:creationId xmlns:a16="http://schemas.microsoft.com/office/drawing/2014/main" id="{84FB7ED1-A2DF-40A1-A747-5F7CF3F14040}"/>
                </a:ext>
              </a:extLst>
            </p:cNvPr>
            <p:cNvGrpSpPr/>
            <p:nvPr/>
          </p:nvGrpSpPr>
          <p:grpSpPr>
            <a:xfrm>
              <a:off x="10788597" y="3421428"/>
              <a:ext cx="6029" cy="6154"/>
              <a:chOff x="10788597" y="3421428"/>
              <a:chExt cx="6029" cy="6154"/>
            </a:xfrm>
            <a:solidFill>
              <a:schemeClr val="accent1"/>
            </a:solidFill>
          </p:grpSpPr>
          <p:grpSp>
            <p:nvGrpSpPr>
              <p:cNvPr id="559" name="Graphic 4">
                <a:extLst>
                  <a:ext uri="{FF2B5EF4-FFF2-40B4-BE49-F238E27FC236}">
                    <a16:creationId xmlns:a16="http://schemas.microsoft.com/office/drawing/2014/main" id="{84FB7ED1-A2DF-40A1-A747-5F7CF3F14040}"/>
                  </a:ext>
                </a:extLst>
              </p:cNvPr>
              <p:cNvGrpSpPr/>
              <p:nvPr/>
            </p:nvGrpSpPr>
            <p:grpSpPr>
              <a:xfrm>
                <a:off x="10788597" y="3423312"/>
                <a:ext cx="6029" cy="4270"/>
                <a:chOff x="10788597" y="3423312"/>
                <a:chExt cx="6029" cy="4270"/>
              </a:xfrm>
              <a:solidFill>
                <a:schemeClr val="accent1"/>
              </a:solidFill>
            </p:grpSpPr>
            <p:sp>
              <p:nvSpPr>
                <p:cNvPr id="560" name="Freeform: Shape 559">
                  <a:extLst>
                    <a:ext uri="{FF2B5EF4-FFF2-40B4-BE49-F238E27FC236}">
                      <a16:creationId xmlns:a16="http://schemas.microsoft.com/office/drawing/2014/main" id="{65867142-5E72-48C6-9A19-4BE018357FFB}"/>
                    </a:ext>
                  </a:extLst>
                </p:cNvPr>
                <p:cNvSpPr/>
                <p:nvPr/>
              </p:nvSpPr>
              <p:spPr>
                <a:xfrm>
                  <a:off x="10788597" y="3423312"/>
                  <a:ext cx="6029" cy="3516"/>
                </a:xfrm>
                <a:custGeom>
                  <a:avLst/>
                  <a:gdLst>
                    <a:gd name="connsiteX0" fmla="*/ 3014 w 6029"/>
                    <a:gd name="connsiteY0" fmla="*/ 3517 h 3516"/>
                    <a:gd name="connsiteX1" fmla="*/ 6029 w 6029"/>
                    <a:gd name="connsiteY1" fmla="*/ 1758 h 3516"/>
                    <a:gd name="connsiteX2" fmla="*/ 3014 w 6029"/>
                    <a:gd name="connsiteY2" fmla="*/ 0 h 3516"/>
                    <a:gd name="connsiteX3" fmla="*/ 0 w 6029"/>
                    <a:gd name="connsiteY3" fmla="*/ 1758 h 3516"/>
                    <a:gd name="connsiteX4" fmla="*/ 3014 w 6029"/>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9" h="3516">
                      <a:moveTo>
                        <a:pt x="3014" y="3517"/>
                      </a:moveTo>
                      <a:cubicBezTo>
                        <a:pt x="4647" y="3517"/>
                        <a:pt x="6029" y="2763"/>
                        <a:pt x="6029" y="1758"/>
                      </a:cubicBezTo>
                      <a:cubicBezTo>
                        <a:pt x="6029" y="754"/>
                        <a:pt x="4647" y="0"/>
                        <a:pt x="3014" y="0"/>
                      </a:cubicBezTo>
                      <a:cubicBezTo>
                        <a:pt x="1382" y="0"/>
                        <a:pt x="0" y="754"/>
                        <a:pt x="0" y="1758"/>
                      </a:cubicBezTo>
                      <a:cubicBezTo>
                        <a:pt x="0" y="2763"/>
                        <a:pt x="1382"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1" name="Freeform: Shape 560">
                  <a:extLst>
                    <a:ext uri="{FF2B5EF4-FFF2-40B4-BE49-F238E27FC236}">
                      <a16:creationId xmlns:a16="http://schemas.microsoft.com/office/drawing/2014/main" id="{2AC95F2E-6A75-44A3-A07E-04E93FE06E31}"/>
                    </a:ext>
                  </a:extLst>
                </p:cNvPr>
                <p:cNvSpPr/>
                <p:nvPr/>
              </p:nvSpPr>
              <p:spPr>
                <a:xfrm>
                  <a:off x="10788597" y="3425071"/>
                  <a:ext cx="6029" cy="2511"/>
                </a:xfrm>
                <a:custGeom>
                  <a:avLst/>
                  <a:gdLst>
                    <a:gd name="connsiteX0" fmla="*/ 3014 w 6029"/>
                    <a:gd name="connsiteY0" fmla="*/ 1758 h 2511"/>
                    <a:gd name="connsiteX1" fmla="*/ 6029 w 6029"/>
                    <a:gd name="connsiteY1" fmla="*/ 0 h 2511"/>
                    <a:gd name="connsiteX2" fmla="*/ 6029 w 6029"/>
                    <a:gd name="connsiteY2" fmla="*/ 754 h 2511"/>
                    <a:gd name="connsiteX3" fmla="*/ 3014 w 6029"/>
                    <a:gd name="connsiteY3" fmla="*/ 2512 h 2511"/>
                    <a:gd name="connsiteX4" fmla="*/ 0 w 6029"/>
                    <a:gd name="connsiteY4" fmla="*/ 754 h 2511"/>
                    <a:gd name="connsiteX5" fmla="*/ 0 w 6029"/>
                    <a:gd name="connsiteY5" fmla="*/ 0 h 2511"/>
                    <a:gd name="connsiteX6" fmla="*/ 3014 w 6029"/>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9" h="2511">
                      <a:moveTo>
                        <a:pt x="3014" y="1758"/>
                      </a:moveTo>
                      <a:cubicBezTo>
                        <a:pt x="4647" y="1758"/>
                        <a:pt x="6029" y="1005"/>
                        <a:pt x="6029" y="0"/>
                      </a:cubicBezTo>
                      <a:cubicBezTo>
                        <a:pt x="6029" y="0"/>
                        <a:pt x="6029" y="502"/>
                        <a:pt x="6029" y="754"/>
                      </a:cubicBezTo>
                      <a:cubicBezTo>
                        <a:pt x="6029" y="1758"/>
                        <a:pt x="4647" y="2512"/>
                        <a:pt x="3014" y="2512"/>
                      </a:cubicBezTo>
                      <a:cubicBezTo>
                        <a:pt x="1382" y="2512"/>
                        <a:pt x="0" y="1758"/>
                        <a:pt x="0" y="754"/>
                      </a:cubicBezTo>
                      <a:cubicBezTo>
                        <a:pt x="0" y="502"/>
                        <a:pt x="0" y="0"/>
                        <a:pt x="0" y="0"/>
                      </a:cubicBezTo>
                      <a:cubicBezTo>
                        <a:pt x="0" y="1005"/>
                        <a:pt x="1382"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62" name="Graphic 4">
                <a:extLst>
                  <a:ext uri="{FF2B5EF4-FFF2-40B4-BE49-F238E27FC236}">
                    <a16:creationId xmlns:a16="http://schemas.microsoft.com/office/drawing/2014/main" id="{84FB7ED1-A2DF-40A1-A747-5F7CF3F14040}"/>
                  </a:ext>
                </a:extLst>
              </p:cNvPr>
              <p:cNvGrpSpPr/>
              <p:nvPr/>
            </p:nvGrpSpPr>
            <p:grpSpPr>
              <a:xfrm>
                <a:off x="10789476" y="3421428"/>
                <a:ext cx="4270" cy="4898"/>
                <a:chOff x="10789476" y="3421428"/>
                <a:chExt cx="4270" cy="4898"/>
              </a:xfrm>
              <a:solidFill>
                <a:schemeClr val="accent1"/>
              </a:solidFill>
            </p:grpSpPr>
            <p:sp>
              <p:nvSpPr>
                <p:cNvPr id="563" name="Freeform: Shape 562">
                  <a:extLst>
                    <a:ext uri="{FF2B5EF4-FFF2-40B4-BE49-F238E27FC236}">
                      <a16:creationId xmlns:a16="http://schemas.microsoft.com/office/drawing/2014/main" id="{C393FFC9-5899-4BA7-B1AC-A7A1D6BB2029}"/>
                    </a:ext>
                  </a:extLst>
                </p:cNvPr>
                <p:cNvSpPr/>
                <p:nvPr/>
              </p:nvSpPr>
              <p:spPr>
                <a:xfrm>
                  <a:off x="10789978" y="3421428"/>
                  <a:ext cx="3265" cy="2009"/>
                </a:xfrm>
                <a:custGeom>
                  <a:avLst/>
                  <a:gdLst>
                    <a:gd name="connsiteX0" fmla="*/ 3265 w 3265"/>
                    <a:gd name="connsiteY0" fmla="*/ 1005 h 2009"/>
                    <a:gd name="connsiteX1" fmla="*/ 1632 w 3265"/>
                    <a:gd name="connsiteY1" fmla="*/ 2009 h 2009"/>
                    <a:gd name="connsiteX2" fmla="*/ 0 w 3265"/>
                    <a:gd name="connsiteY2" fmla="*/ 1005 h 2009"/>
                    <a:gd name="connsiteX3" fmla="*/ 1632 w 3265"/>
                    <a:gd name="connsiteY3" fmla="*/ 0 h 2009"/>
                    <a:gd name="connsiteX4" fmla="*/ 3265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5" y="1005"/>
                      </a:moveTo>
                      <a:cubicBezTo>
                        <a:pt x="3265" y="1560"/>
                        <a:pt x="2534" y="2009"/>
                        <a:pt x="1632" y="2009"/>
                      </a:cubicBezTo>
                      <a:cubicBezTo>
                        <a:pt x="731" y="2009"/>
                        <a:pt x="0" y="1560"/>
                        <a:pt x="0" y="1005"/>
                      </a:cubicBezTo>
                      <a:cubicBezTo>
                        <a:pt x="0" y="450"/>
                        <a:pt x="731" y="0"/>
                        <a:pt x="1632" y="0"/>
                      </a:cubicBezTo>
                      <a:cubicBezTo>
                        <a:pt x="2534" y="0"/>
                        <a:pt x="3265" y="450"/>
                        <a:pt x="3265"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4" name="Freeform: Shape 563">
                  <a:extLst>
                    <a:ext uri="{FF2B5EF4-FFF2-40B4-BE49-F238E27FC236}">
                      <a16:creationId xmlns:a16="http://schemas.microsoft.com/office/drawing/2014/main" id="{5643306C-8C32-4146-B9D4-2803D4308944}"/>
                    </a:ext>
                  </a:extLst>
                </p:cNvPr>
                <p:cNvSpPr/>
                <p:nvPr/>
              </p:nvSpPr>
              <p:spPr>
                <a:xfrm>
                  <a:off x="10789476" y="3422308"/>
                  <a:ext cx="4270" cy="4018"/>
                </a:xfrm>
                <a:custGeom>
                  <a:avLst/>
                  <a:gdLst>
                    <a:gd name="connsiteX0" fmla="*/ 2135 w 4270"/>
                    <a:gd name="connsiteY0" fmla="*/ 1005 h 4018"/>
                    <a:gd name="connsiteX1" fmla="*/ 3768 w 4270"/>
                    <a:gd name="connsiteY1" fmla="*/ 0 h 4018"/>
                    <a:gd name="connsiteX2" fmla="*/ 4271 w 4270"/>
                    <a:gd name="connsiteY2" fmla="*/ 2763 h 4018"/>
                    <a:gd name="connsiteX3" fmla="*/ 2135 w 4270"/>
                    <a:gd name="connsiteY3" fmla="*/ 4019 h 4018"/>
                    <a:gd name="connsiteX4" fmla="*/ 0 w 4270"/>
                    <a:gd name="connsiteY4" fmla="*/ 2763 h 4018"/>
                    <a:gd name="connsiteX5" fmla="*/ 503 w 4270"/>
                    <a:gd name="connsiteY5" fmla="*/ 0 h 4018"/>
                    <a:gd name="connsiteX6" fmla="*/ 2135 w 4270"/>
                    <a:gd name="connsiteY6" fmla="*/ 1005 h 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0" h="4018">
                      <a:moveTo>
                        <a:pt x="2135" y="1005"/>
                      </a:moveTo>
                      <a:cubicBezTo>
                        <a:pt x="3014" y="1005"/>
                        <a:pt x="3768" y="628"/>
                        <a:pt x="3768" y="0"/>
                      </a:cubicBezTo>
                      <a:cubicBezTo>
                        <a:pt x="3768" y="0"/>
                        <a:pt x="4271" y="2512"/>
                        <a:pt x="4271" y="2763"/>
                      </a:cubicBezTo>
                      <a:cubicBezTo>
                        <a:pt x="4271" y="3391"/>
                        <a:pt x="3266" y="4019"/>
                        <a:pt x="2135" y="4019"/>
                      </a:cubicBezTo>
                      <a:cubicBezTo>
                        <a:pt x="879" y="4019"/>
                        <a:pt x="0" y="3517"/>
                        <a:pt x="0" y="2763"/>
                      </a:cubicBezTo>
                      <a:cubicBezTo>
                        <a:pt x="0" y="2512"/>
                        <a:pt x="503" y="0"/>
                        <a:pt x="503" y="0"/>
                      </a:cubicBezTo>
                      <a:cubicBezTo>
                        <a:pt x="503" y="628"/>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65" name="Freeform: Shape 564">
              <a:extLst>
                <a:ext uri="{FF2B5EF4-FFF2-40B4-BE49-F238E27FC236}">
                  <a16:creationId xmlns:a16="http://schemas.microsoft.com/office/drawing/2014/main" id="{62CA33C5-29EC-4C67-93F9-EFEC74519941}"/>
                </a:ext>
              </a:extLst>
            </p:cNvPr>
            <p:cNvSpPr/>
            <p:nvPr/>
          </p:nvSpPr>
          <p:spPr>
            <a:xfrm>
              <a:off x="10177453" y="3213224"/>
              <a:ext cx="99848" cy="57616"/>
            </a:xfrm>
            <a:custGeom>
              <a:avLst/>
              <a:gdLst>
                <a:gd name="connsiteX0" fmla="*/ 2135 w 99848"/>
                <a:gd name="connsiteY0" fmla="*/ 49076 h 57616"/>
                <a:gd name="connsiteX1" fmla="*/ 84902 w 99848"/>
                <a:gd name="connsiteY1" fmla="*/ 1225 h 57616"/>
                <a:gd name="connsiteX2" fmla="*/ 95075 w 99848"/>
                <a:gd name="connsiteY2" fmla="*/ 1225 h 57616"/>
                <a:gd name="connsiteX3" fmla="*/ 99848 w 99848"/>
                <a:gd name="connsiteY3" fmla="*/ 3988 h 57616"/>
                <a:gd name="connsiteX4" fmla="*/ 94572 w 99848"/>
                <a:gd name="connsiteY4" fmla="*/ 7002 h 57616"/>
                <a:gd name="connsiteX5" fmla="*/ 89926 w 99848"/>
                <a:gd name="connsiteY5" fmla="*/ 4364 h 57616"/>
                <a:gd name="connsiteX6" fmla="*/ 7535 w 99848"/>
                <a:gd name="connsiteY6" fmla="*/ 51965 h 57616"/>
                <a:gd name="connsiteX7" fmla="*/ 12182 w 99848"/>
                <a:gd name="connsiteY7" fmla="*/ 54602 h 57616"/>
                <a:gd name="connsiteX8" fmla="*/ 6908 w 99848"/>
                <a:gd name="connsiteY8" fmla="*/ 57617 h 57616"/>
                <a:gd name="connsiteX9" fmla="*/ 2135 w 99848"/>
                <a:gd name="connsiteY9" fmla="*/ 54854 h 57616"/>
                <a:gd name="connsiteX10" fmla="*/ 0 w 99848"/>
                <a:gd name="connsiteY10" fmla="*/ 51839 h 57616"/>
                <a:gd name="connsiteX11" fmla="*/ 2135 w 99848"/>
                <a:gd name="connsiteY11" fmla="*/ 49076 h 5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848" h="57616">
                  <a:moveTo>
                    <a:pt x="2135" y="49076"/>
                  </a:moveTo>
                  <a:lnTo>
                    <a:pt x="84902" y="1225"/>
                  </a:lnTo>
                  <a:cubicBezTo>
                    <a:pt x="87665" y="-408"/>
                    <a:pt x="92312" y="-408"/>
                    <a:pt x="95075" y="1225"/>
                  </a:cubicBezTo>
                  <a:lnTo>
                    <a:pt x="99848" y="3988"/>
                  </a:lnTo>
                  <a:lnTo>
                    <a:pt x="94572" y="7002"/>
                  </a:lnTo>
                  <a:lnTo>
                    <a:pt x="89926" y="4364"/>
                  </a:lnTo>
                  <a:lnTo>
                    <a:pt x="7535" y="51965"/>
                  </a:lnTo>
                  <a:lnTo>
                    <a:pt x="12182" y="54602"/>
                  </a:lnTo>
                  <a:lnTo>
                    <a:pt x="6908" y="57617"/>
                  </a:lnTo>
                  <a:lnTo>
                    <a:pt x="2135" y="54854"/>
                  </a:lnTo>
                  <a:cubicBezTo>
                    <a:pt x="754" y="54100"/>
                    <a:pt x="0" y="52970"/>
                    <a:pt x="0" y="51839"/>
                  </a:cubicBezTo>
                  <a:cubicBezTo>
                    <a:pt x="0" y="50960"/>
                    <a:pt x="628" y="49955"/>
                    <a:pt x="2135" y="4907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6" name="Freeform: Shape 565">
              <a:extLst>
                <a:ext uri="{FF2B5EF4-FFF2-40B4-BE49-F238E27FC236}">
                  <a16:creationId xmlns:a16="http://schemas.microsoft.com/office/drawing/2014/main" id="{9BEB7B61-D0BA-4370-AD65-FE46BC64944C}"/>
                </a:ext>
              </a:extLst>
            </p:cNvPr>
            <p:cNvSpPr/>
            <p:nvPr/>
          </p:nvSpPr>
          <p:spPr>
            <a:xfrm>
              <a:off x="10272025" y="3217337"/>
              <a:ext cx="5275" cy="11429"/>
            </a:xfrm>
            <a:custGeom>
              <a:avLst/>
              <a:gdLst>
                <a:gd name="connsiteX0" fmla="*/ 5276 w 5275"/>
                <a:gd name="connsiteY0" fmla="*/ 0 h 11429"/>
                <a:gd name="connsiteX1" fmla="*/ 5276 w 5275"/>
                <a:gd name="connsiteY1" fmla="*/ 8415 h 11429"/>
                <a:gd name="connsiteX2" fmla="*/ 0 w 5275"/>
                <a:gd name="connsiteY2" fmla="*/ 11429 h 11429"/>
                <a:gd name="connsiteX3" fmla="*/ 0 w 5275"/>
                <a:gd name="connsiteY3" fmla="*/ 3014 h 11429"/>
              </a:gdLst>
              <a:ahLst/>
              <a:cxnLst>
                <a:cxn ang="0">
                  <a:pos x="connsiteX0" y="connsiteY0"/>
                </a:cxn>
                <a:cxn ang="0">
                  <a:pos x="connsiteX1" y="connsiteY1"/>
                </a:cxn>
                <a:cxn ang="0">
                  <a:pos x="connsiteX2" y="connsiteY2"/>
                </a:cxn>
                <a:cxn ang="0">
                  <a:pos x="connsiteX3" y="connsiteY3"/>
                </a:cxn>
              </a:cxnLst>
              <a:rect l="l" t="t" r="r" b="b"/>
              <a:pathLst>
                <a:path w="5275" h="11429">
                  <a:moveTo>
                    <a:pt x="5276" y="0"/>
                  </a:moveTo>
                  <a:lnTo>
                    <a:pt x="5276" y="8415"/>
                  </a:lnTo>
                  <a:lnTo>
                    <a:pt x="0" y="11429"/>
                  </a:lnTo>
                  <a:lnTo>
                    <a:pt x="0" y="3014"/>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7" name="Freeform: Shape 566">
              <a:extLst>
                <a:ext uri="{FF2B5EF4-FFF2-40B4-BE49-F238E27FC236}">
                  <a16:creationId xmlns:a16="http://schemas.microsoft.com/office/drawing/2014/main" id="{338F4E8D-CE37-43DD-AF68-E1CA37A5DBA1}"/>
                </a:ext>
              </a:extLst>
            </p:cNvPr>
            <p:cNvSpPr/>
            <p:nvPr/>
          </p:nvSpPr>
          <p:spPr>
            <a:xfrm>
              <a:off x="10185114" y="3217714"/>
              <a:ext cx="86911" cy="53377"/>
            </a:xfrm>
            <a:custGeom>
              <a:avLst/>
              <a:gdLst>
                <a:gd name="connsiteX0" fmla="*/ 82390 w 86911"/>
                <a:gd name="connsiteY0" fmla="*/ 0 h 53377"/>
                <a:gd name="connsiteX1" fmla="*/ 86911 w 86911"/>
                <a:gd name="connsiteY1" fmla="*/ 2638 h 53377"/>
                <a:gd name="connsiteX2" fmla="*/ 86911 w 86911"/>
                <a:gd name="connsiteY2" fmla="*/ 11052 h 53377"/>
                <a:gd name="connsiteX3" fmla="*/ 82390 w 86911"/>
                <a:gd name="connsiteY3" fmla="*/ 8415 h 53377"/>
                <a:gd name="connsiteX4" fmla="*/ 4521 w 86911"/>
                <a:gd name="connsiteY4" fmla="*/ 53378 h 53377"/>
                <a:gd name="connsiteX5" fmla="*/ 4521 w 86911"/>
                <a:gd name="connsiteY5" fmla="*/ 50238 h 53377"/>
                <a:gd name="connsiteX6" fmla="*/ 0 w 86911"/>
                <a:gd name="connsiteY6" fmla="*/ 47601 h 5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11" h="53377">
                  <a:moveTo>
                    <a:pt x="82390" y="0"/>
                  </a:moveTo>
                  <a:lnTo>
                    <a:pt x="86911" y="2638"/>
                  </a:lnTo>
                  <a:lnTo>
                    <a:pt x="86911" y="11052"/>
                  </a:lnTo>
                  <a:lnTo>
                    <a:pt x="82390" y="8415"/>
                  </a:lnTo>
                  <a:lnTo>
                    <a:pt x="4521" y="53378"/>
                  </a:lnTo>
                  <a:lnTo>
                    <a:pt x="4521" y="50238"/>
                  </a:lnTo>
                  <a:lnTo>
                    <a:pt x="0" y="47601"/>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8" name="Freeform: Shape 567">
              <a:extLst>
                <a:ext uri="{FF2B5EF4-FFF2-40B4-BE49-F238E27FC236}">
                  <a16:creationId xmlns:a16="http://schemas.microsoft.com/office/drawing/2014/main" id="{4FE4F74A-E44B-4FD8-88BC-AF791D83ADEE}"/>
                </a:ext>
              </a:extLst>
            </p:cNvPr>
            <p:cNvSpPr/>
            <p:nvPr/>
          </p:nvSpPr>
          <p:spPr>
            <a:xfrm>
              <a:off x="10184360" y="3267952"/>
              <a:ext cx="5274" cy="11554"/>
            </a:xfrm>
            <a:custGeom>
              <a:avLst/>
              <a:gdLst>
                <a:gd name="connsiteX0" fmla="*/ 5275 w 5274"/>
                <a:gd name="connsiteY0" fmla="*/ 0 h 11554"/>
                <a:gd name="connsiteX1" fmla="*/ 5275 w 5274"/>
                <a:gd name="connsiteY1" fmla="*/ 8415 h 11554"/>
                <a:gd name="connsiteX2" fmla="*/ 0 w 5274"/>
                <a:gd name="connsiteY2" fmla="*/ 11555 h 11554"/>
                <a:gd name="connsiteX3" fmla="*/ 0 w 5274"/>
                <a:gd name="connsiteY3" fmla="*/ 3014 h 11554"/>
              </a:gdLst>
              <a:ahLst/>
              <a:cxnLst>
                <a:cxn ang="0">
                  <a:pos x="connsiteX0" y="connsiteY0"/>
                </a:cxn>
                <a:cxn ang="0">
                  <a:pos x="connsiteX1" y="connsiteY1"/>
                </a:cxn>
                <a:cxn ang="0">
                  <a:pos x="connsiteX2" y="connsiteY2"/>
                </a:cxn>
                <a:cxn ang="0">
                  <a:pos x="connsiteX3" y="connsiteY3"/>
                </a:cxn>
              </a:cxnLst>
              <a:rect l="l" t="t" r="r" b="b"/>
              <a:pathLst>
                <a:path w="5274" h="11554">
                  <a:moveTo>
                    <a:pt x="5275" y="0"/>
                  </a:moveTo>
                  <a:lnTo>
                    <a:pt x="5275" y="8415"/>
                  </a:lnTo>
                  <a:lnTo>
                    <a:pt x="0" y="11555"/>
                  </a:lnTo>
                  <a:lnTo>
                    <a:pt x="0" y="3014"/>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9" name="Freeform: Shape 568">
              <a:extLst>
                <a:ext uri="{FF2B5EF4-FFF2-40B4-BE49-F238E27FC236}">
                  <a16:creationId xmlns:a16="http://schemas.microsoft.com/office/drawing/2014/main" id="{C098526A-3AFD-4A32-8086-83142FA1845F}"/>
                </a:ext>
              </a:extLst>
            </p:cNvPr>
            <p:cNvSpPr/>
            <p:nvPr/>
          </p:nvSpPr>
          <p:spPr>
            <a:xfrm>
              <a:off x="10177453" y="3265314"/>
              <a:ext cx="6907" cy="14066"/>
            </a:xfrm>
            <a:custGeom>
              <a:avLst/>
              <a:gdLst>
                <a:gd name="connsiteX0" fmla="*/ 2135 w 6907"/>
                <a:gd name="connsiteY0" fmla="*/ 2889 h 14066"/>
                <a:gd name="connsiteX1" fmla="*/ 6908 w 6907"/>
                <a:gd name="connsiteY1" fmla="*/ 5652 h 14066"/>
                <a:gd name="connsiteX2" fmla="*/ 6908 w 6907"/>
                <a:gd name="connsiteY2" fmla="*/ 14067 h 14066"/>
                <a:gd name="connsiteX3" fmla="*/ 2135 w 6907"/>
                <a:gd name="connsiteY3" fmla="*/ 11303 h 14066"/>
                <a:gd name="connsiteX4" fmla="*/ 0 w 6907"/>
                <a:gd name="connsiteY4" fmla="*/ 8415 h 14066"/>
                <a:gd name="connsiteX5" fmla="*/ 0 w 6907"/>
                <a:gd name="connsiteY5" fmla="*/ 0 h 14066"/>
                <a:gd name="connsiteX6" fmla="*/ 2135 w 6907"/>
                <a:gd name="connsiteY6" fmla="*/ 2889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7" h="14066">
                  <a:moveTo>
                    <a:pt x="2135" y="2889"/>
                  </a:moveTo>
                  <a:lnTo>
                    <a:pt x="6908" y="5652"/>
                  </a:lnTo>
                  <a:lnTo>
                    <a:pt x="6908" y="14067"/>
                  </a:lnTo>
                  <a:lnTo>
                    <a:pt x="2135" y="11303"/>
                  </a:lnTo>
                  <a:cubicBezTo>
                    <a:pt x="754" y="10550"/>
                    <a:pt x="0" y="9420"/>
                    <a:pt x="0" y="8415"/>
                  </a:cubicBezTo>
                  <a:cubicBezTo>
                    <a:pt x="0" y="7410"/>
                    <a:pt x="0" y="0"/>
                    <a:pt x="0" y="0"/>
                  </a:cubicBezTo>
                  <a:cubicBezTo>
                    <a:pt x="0" y="1005"/>
                    <a:pt x="628" y="2135"/>
                    <a:pt x="2135" y="288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0" name="Freeform: Shape 569">
              <a:extLst>
                <a:ext uri="{FF2B5EF4-FFF2-40B4-BE49-F238E27FC236}">
                  <a16:creationId xmlns:a16="http://schemas.microsoft.com/office/drawing/2014/main" id="{172E850C-08EC-437F-9870-16E7E48DD7C3}"/>
                </a:ext>
              </a:extLst>
            </p:cNvPr>
            <p:cNvSpPr/>
            <p:nvPr/>
          </p:nvSpPr>
          <p:spPr>
            <a:xfrm>
              <a:off x="10198050" y="3242205"/>
              <a:ext cx="399139" cy="211501"/>
            </a:xfrm>
            <a:custGeom>
              <a:avLst/>
              <a:gdLst>
                <a:gd name="connsiteX0" fmla="*/ 295022 w 399139"/>
                <a:gd name="connsiteY0" fmla="*/ 143052 h 211501"/>
                <a:gd name="connsiteX1" fmla="*/ 209618 w 399139"/>
                <a:gd name="connsiteY1" fmla="*/ 121073 h 211501"/>
                <a:gd name="connsiteX2" fmla="*/ 0 w 399139"/>
                <a:gd name="connsiteY2" fmla="*/ 0 h 211501"/>
                <a:gd name="connsiteX3" fmla="*/ 0 w 399139"/>
                <a:gd name="connsiteY3" fmla="*/ 16704 h 211501"/>
                <a:gd name="connsiteX4" fmla="*/ 208236 w 399139"/>
                <a:gd name="connsiteY4" fmla="*/ 136898 h 211501"/>
                <a:gd name="connsiteX5" fmla="*/ 293641 w 399139"/>
                <a:gd name="connsiteY5" fmla="*/ 158877 h 211501"/>
                <a:gd name="connsiteX6" fmla="*/ 384697 w 399139"/>
                <a:gd name="connsiteY6" fmla="*/ 211502 h 211501"/>
                <a:gd name="connsiteX7" fmla="*/ 399140 w 399139"/>
                <a:gd name="connsiteY7" fmla="*/ 203212 h 21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9139" h="211501">
                  <a:moveTo>
                    <a:pt x="295022" y="143052"/>
                  </a:moveTo>
                  <a:lnTo>
                    <a:pt x="209618" y="121073"/>
                  </a:lnTo>
                  <a:lnTo>
                    <a:pt x="0" y="0"/>
                  </a:lnTo>
                  <a:lnTo>
                    <a:pt x="0" y="16704"/>
                  </a:lnTo>
                  <a:lnTo>
                    <a:pt x="208236" y="136898"/>
                  </a:lnTo>
                  <a:lnTo>
                    <a:pt x="293641" y="158877"/>
                  </a:lnTo>
                  <a:lnTo>
                    <a:pt x="384697" y="211502"/>
                  </a:lnTo>
                  <a:lnTo>
                    <a:pt x="399140" y="203212"/>
                  </a:lnTo>
                  <a:close/>
                </a:path>
              </a:pathLst>
            </a:custGeom>
            <a:solidFill>
              <a:srgbClr val="1A17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1" name="Freeform: Shape 570">
              <a:extLst>
                <a:ext uri="{FF2B5EF4-FFF2-40B4-BE49-F238E27FC236}">
                  <a16:creationId xmlns:a16="http://schemas.microsoft.com/office/drawing/2014/main" id="{BF98C580-0427-42F7-8E2C-C0BF5A122CE3}"/>
                </a:ext>
              </a:extLst>
            </p:cNvPr>
            <p:cNvSpPr/>
            <p:nvPr/>
          </p:nvSpPr>
          <p:spPr>
            <a:xfrm>
              <a:off x="10203827" y="3273990"/>
              <a:ext cx="27379" cy="24983"/>
            </a:xfrm>
            <a:custGeom>
              <a:avLst/>
              <a:gdLst>
                <a:gd name="connsiteX0" fmla="*/ 6405 w 27379"/>
                <a:gd name="connsiteY0" fmla="*/ 7023 h 24983"/>
                <a:gd name="connsiteX1" fmla="*/ 0 w 27379"/>
                <a:gd name="connsiteY1" fmla="*/ 24983 h 24983"/>
                <a:gd name="connsiteX2" fmla="*/ 25245 w 27379"/>
                <a:gd name="connsiteY2" fmla="*/ 10414 h 24983"/>
                <a:gd name="connsiteX3" fmla="*/ 27380 w 27379"/>
                <a:gd name="connsiteY3" fmla="*/ 4386 h 24983"/>
                <a:gd name="connsiteX4" fmla="*/ 24240 w 27379"/>
                <a:gd name="connsiteY4" fmla="*/ 2627 h 24983"/>
                <a:gd name="connsiteX5" fmla="*/ 6405 w 27379"/>
                <a:gd name="connsiteY5" fmla="*/ 7023 h 24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4983">
                  <a:moveTo>
                    <a:pt x="6405" y="7023"/>
                  </a:moveTo>
                  <a:lnTo>
                    <a:pt x="0" y="24983"/>
                  </a:lnTo>
                  <a:lnTo>
                    <a:pt x="25245" y="10414"/>
                  </a:lnTo>
                  <a:lnTo>
                    <a:pt x="27380" y="4386"/>
                  </a:lnTo>
                  <a:lnTo>
                    <a:pt x="24240" y="2627"/>
                  </a:lnTo>
                  <a:cubicBezTo>
                    <a:pt x="16202" y="-2145"/>
                    <a:pt x="9043" y="-261"/>
                    <a:pt x="6405" y="7023"/>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2" name="Freeform: Shape 571">
              <a:extLst>
                <a:ext uri="{FF2B5EF4-FFF2-40B4-BE49-F238E27FC236}">
                  <a16:creationId xmlns:a16="http://schemas.microsoft.com/office/drawing/2014/main" id="{2CF65A97-20BD-4809-9DAA-D5EF08F16260}"/>
                </a:ext>
              </a:extLst>
            </p:cNvPr>
            <p:cNvSpPr/>
            <p:nvPr/>
          </p:nvSpPr>
          <p:spPr>
            <a:xfrm>
              <a:off x="10232463" y="3268695"/>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2 w 47650"/>
                <a:gd name="connsiteY3" fmla="*/ 136 h 59165"/>
                <a:gd name="connsiteX4" fmla="*/ 15072 w 47650"/>
                <a:gd name="connsiteY4" fmla="*/ 136 h 59165"/>
                <a:gd name="connsiteX5" fmla="*/ 15072 w 47650"/>
                <a:gd name="connsiteY5" fmla="*/ 136 h 59165"/>
                <a:gd name="connsiteX6" fmla="*/ 15072 w 47650"/>
                <a:gd name="connsiteY6" fmla="*/ 136 h 59165"/>
                <a:gd name="connsiteX7" fmla="*/ 9922 w 47650"/>
                <a:gd name="connsiteY7" fmla="*/ 1518 h 59165"/>
                <a:gd name="connsiteX8" fmla="*/ 0 w 47650"/>
                <a:gd name="connsiteY8" fmla="*/ 7295 h 59165"/>
                <a:gd name="connsiteX9" fmla="*/ 15072 w 47650"/>
                <a:gd name="connsiteY9" fmla="*/ 8802 h 59165"/>
                <a:gd name="connsiteX10" fmla="*/ 30017 w 47650"/>
                <a:gd name="connsiteY10" fmla="*/ 24627 h 59165"/>
                <a:gd name="connsiteX11" fmla="*/ 29892 w 47650"/>
                <a:gd name="connsiteY11" fmla="*/ 59166 h 59165"/>
                <a:gd name="connsiteX12" fmla="*/ 39813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29" y="10937"/>
                    <a:pt x="32780" y="5662"/>
                    <a:pt x="27631" y="2774"/>
                  </a:cubicBezTo>
                  <a:cubicBezTo>
                    <a:pt x="24365" y="890"/>
                    <a:pt x="21226" y="-115"/>
                    <a:pt x="18211" y="11"/>
                  </a:cubicBezTo>
                  <a:cubicBezTo>
                    <a:pt x="17206" y="11"/>
                    <a:pt x="16201" y="11"/>
                    <a:pt x="15072" y="136"/>
                  </a:cubicBezTo>
                  <a:lnTo>
                    <a:pt x="15072" y="136"/>
                  </a:lnTo>
                  <a:lnTo>
                    <a:pt x="15072" y="136"/>
                  </a:lnTo>
                  <a:lnTo>
                    <a:pt x="15072" y="136"/>
                  </a:lnTo>
                  <a:cubicBezTo>
                    <a:pt x="13187" y="136"/>
                    <a:pt x="11429" y="638"/>
                    <a:pt x="9922" y="1518"/>
                  </a:cubicBezTo>
                  <a:lnTo>
                    <a:pt x="0" y="7295"/>
                  </a:lnTo>
                  <a:cubicBezTo>
                    <a:pt x="4144" y="4909"/>
                    <a:pt x="9670" y="5662"/>
                    <a:pt x="15072" y="8802"/>
                  </a:cubicBezTo>
                  <a:cubicBezTo>
                    <a:pt x="20472" y="11942"/>
                    <a:pt x="25998" y="17468"/>
                    <a:pt x="30017" y="24627"/>
                  </a:cubicBezTo>
                  <a:cubicBezTo>
                    <a:pt x="38306" y="38945"/>
                    <a:pt x="38306" y="54393"/>
                    <a:pt x="29892" y="59166"/>
                  </a:cubicBezTo>
                  <a:lnTo>
                    <a:pt x="39813" y="53388"/>
                  </a:lnTo>
                  <a:cubicBezTo>
                    <a:pt x="43330" y="51379"/>
                    <a:pt x="45088" y="47360"/>
                    <a:pt x="45340" y="46857"/>
                  </a:cubicBezTo>
                  <a:cubicBezTo>
                    <a:pt x="49359" y="40326"/>
                    <a:pt x="48102"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3" name="Freeform: Shape 572">
              <a:extLst>
                <a:ext uri="{FF2B5EF4-FFF2-40B4-BE49-F238E27FC236}">
                  <a16:creationId xmlns:a16="http://schemas.microsoft.com/office/drawing/2014/main" id="{11503BA0-7DFE-4780-B011-A809F6677EE9}"/>
                </a:ext>
              </a:extLst>
            </p:cNvPr>
            <p:cNvSpPr/>
            <p:nvPr/>
          </p:nvSpPr>
          <p:spPr>
            <a:xfrm>
              <a:off x="10226553" y="3274585"/>
              <a:ext cx="42301" cy="54309"/>
            </a:xfrm>
            <a:custGeom>
              <a:avLst/>
              <a:gdLst>
                <a:gd name="connsiteX0" fmla="*/ 36052 w 42301"/>
                <a:gd name="connsiteY0" fmla="*/ 18737 h 54309"/>
                <a:gd name="connsiteX1" fmla="*/ 21107 w 42301"/>
                <a:gd name="connsiteY1" fmla="*/ 2912 h 54309"/>
                <a:gd name="connsiteX2" fmla="*/ 6036 w 42301"/>
                <a:gd name="connsiteY2" fmla="*/ 1405 h 54309"/>
                <a:gd name="connsiteX3" fmla="*/ 7 w 42301"/>
                <a:gd name="connsiteY3" fmla="*/ 11075 h 54309"/>
                <a:gd name="connsiteX4" fmla="*/ 26884 w 42301"/>
                <a:gd name="connsiteY4" fmla="*/ 54029 h 54309"/>
                <a:gd name="connsiteX5" fmla="*/ 35928 w 42301"/>
                <a:gd name="connsiteY5" fmla="*/ 53275 h 54309"/>
                <a:gd name="connsiteX6" fmla="*/ 36052 w 42301"/>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1" h="54309">
                  <a:moveTo>
                    <a:pt x="36052" y="18737"/>
                  </a:moveTo>
                  <a:cubicBezTo>
                    <a:pt x="31908" y="11578"/>
                    <a:pt x="26508" y="6052"/>
                    <a:pt x="21107" y="2912"/>
                  </a:cubicBezTo>
                  <a:cubicBezTo>
                    <a:pt x="15706" y="-228"/>
                    <a:pt x="10180" y="-982"/>
                    <a:pt x="6036" y="1405"/>
                  </a:cubicBezTo>
                  <a:cubicBezTo>
                    <a:pt x="3272" y="3037"/>
                    <a:pt x="886" y="7182"/>
                    <a:pt x="7" y="11075"/>
                  </a:cubicBezTo>
                  <a:cubicBezTo>
                    <a:pt x="-495" y="13462"/>
                    <a:pt x="26884" y="54029"/>
                    <a:pt x="26884" y="54029"/>
                  </a:cubicBezTo>
                  <a:cubicBezTo>
                    <a:pt x="30024" y="54657"/>
                    <a:pt x="34420" y="54154"/>
                    <a:pt x="35928" y="53275"/>
                  </a:cubicBezTo>
                  <a:cubicBezTo>
                    <a:pt x="44468" y="48251"/>
                    <a:pt x="44342" y="33054"/>
                    <a:pt x="36052"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4" name="Freeform: Shape 573">
              <a:extLst>
                <a:ext uri="{FF2B5EF4-FFF2-40B4-BE49-F238E27FC236}">
                  <a16:creationId xmlns:a16="http://schemas.microsoft.com/office/drawing/2014/main" id="{FFDFD5BD-4A82-4C08-9AF9-7CA2C7596E0A}"/>
                </a:ext>
              </a:extLst>
            </p:cNvPr>
            <p:cNvSpPr/>
            <p:nvPr/>
          </p:nvSpPr>
          <p:spPr>
            <a:xfrm>
              <a:off x="10217266" y="3269747"/>
              <a:ext cx="57006" cy="65832"/>
            </a:xfrm>
            <a:custGeom>
              <a:avLst/>
              <a:gdLst>
                <a:gd name="connsiteX0" fmla="*/ 42752 w 57006"/>
                <a:gd name="connsiteY0" fmla="*/ 24689 h 65832"/>
                <a:gd name="connsiteX1" fmla="*/ 42759 w 57006"/>
                <a:gd name="connsiteY1" fmla="*/ 57606 h 65832"/>
                <a:gd name="connsiteX2" fmla="*/ 14255 w 57006"/>
                <a:gd name="connsiteY2" fmla="*/ 41142 h 65832"/>
                <a:gd name="connsiteX3" fmla="*/ 14249 w 57006"/>
                <a:gd name="connsiteY3" fmla="*/ 8226 h 65832"/>
                <a:gd name="connsiteX4" fmla="*/ 42752 w 57006"/>
                <a:gd name="connsiteY4" fmla="*/ 24689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89"/>
                  </a:moveTo>
                  <a:cubicBezTo>
                    <a:pt x="50625" y="38325"/>
                    <a:pt x="50628" y="53062"/>
                    <a:pt x="42759" y="57606"/>
                  </a:cubicBezTo>
                  <a:cubicBezTo>
                    <a:pt x="34889" y="62149"/>
                    <a:pt x="22128" y="54778"/>
                    <a:pt x="14255" y="41142"/>
                  </a:cubicBezTo>
                  <a:cubicBezTo>
                    <a:pt x="6382" y="27507"/>
                    <a:pt x="6379" y="12770"/>
                    <a:pt x="14249" y="8226"/>
                  </a:cubicBezTo>
                  <a:cubicBezTo>
                    <a:pt x="22118" y="3683"/>
                    <a:pt x="34879" y="11054"/>
                    <a:pt x="42752" y="2468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75" name="Graphic 4">
              <a:extLst>
                <a:ext uri="{FF2B5EF4-FFF2-40B4-BE49-F238E27FC236}">
                  <a16:creationId xmlns:a16="http://schemas.microsoft.com/office/drawing/2014/main" id="{84FB7ED1-A2DF-40A1-A747-5F7CF3F14040}"/>
                </a:ext>
              </a:extLst>
            </p:cNvPr>
            <p:cNvGrpSpPr/>
            <p:nvPr/>
          </p:nvGrpSpPr>
          <p:grpSpPr>
            <a:xfrm>
              <a:off x="10203710" y="3276482"/>
              <a:ext cx="62873" cy="66924"/>
              <a:chOff x="10203710" y="3276482"/>
              <a:chExt cx="62873" cy="66924"/>
            </a:xfrm>
            <a:solidFill>
              <a:schemeClr val="accent1"/>
            </a:solidFill>
          </p:grpSpPr>
          <p:sp>
            <p:nvSpPr>
              <p:cNvPr id="576" name="Freeform: Shape 575">
                <a:extLst>
                  <a:ext uri="{FF2B5EF4-FFF2-40B4-BE49-F238E27FC236}">
                    <a16:creationId xmlns:a16="http://schemas.microsoft.com/office/drawing/2014/main" id="{3837B179-8C46-421D-AE87-2F1177D26678}"/>
                  </a:ext>
                </a:extLst>
              </p:cNvPr>
              <p:cNvSpPr/>
              <p:nvPr/>
            </p:nvSpPr>
            <p:spPr>
              <a:xfrm>
                <a:off x="10218899" y="3276482"/>
                <a:ext cx="47684" cy="59165"/>
              </a:xfrm>
              <a:custGeom>
                <a:avLst/>
                <a:gdLst>
                  <a:gd name="connsiteX0" fmla="*/ 41823 w 47684"/>
                  <a:gd name="connsiteY0" fmla="*/ 17719 h 59165"/>
                  <a:gd name="connsiteX1" fmla="*/ 27631 w 47684"/>
                  <a:gd name="connsiteY1" fmla="*/ 2774 h 59165"/>
                  <a:gd name="connsiteX2" fmla="*/ 18211 w 47684"/>
                  <a:gd name="connsiteY2" fmla="*/ 11 h 59165"/>
                  <a:gd name="connsiteX3" fmla="*/ 15072 w 47684"/>
                  <a:gd name="connsiteY3" fmla="*/ 136 h 59165"/>
                  <a:gd name="connsiteX4" fmla="*/ 15072 w 47684"/>
                  <a:gd name="connsiteY4" fmla="*/ 136 h 59165"/>
                  <a:gd name="connsiteX5" fmla="*/ 15072 w 47684"/>
                  <a:gd name="connsiteY5" fmla="*/ 136 h 59165"/>
                  <a:gd name="connsiteX6" fmla="*/ 15072 w 47684"/>
                  <a:gd name="connsiteY6" fmla="*/ 136 h 59165"/>
                  <a:gd name="connsiteX7" fmla="*/ 9922 w 47684"/>
                  <a:gd name="connsiteY7" fmla="*/ 1518 h 59165"/>
                  <a:gd name="connsiteX8" fmla="*/ 0 w 47684"/>
                  <a:gd name="connsiteY8" fmla="*/ 7295 h 59165"/>
                  <a:gd name="connsiteX9" fmla="*/ 15072 w 47684"/>
                  <a:gd name="connsiteY9" fmla="*/ 8802 h 59165"/>
                  <a:gd name="connsiteX10" fmla="*/ 30017 w 47684"/>
                  <a:gd name="connsiteY10" fmla="*/ 24627 h 59165"/>
                  <a:gd name="connsiteX11" fmla="*/ 29892 w 47684"/>
                  <a:gd name="connsiteY11" fmla="*/ 59166 h 59165"/>
                  <a:gd name="connsiteX12" fmla="*/ 39813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1"/>
                    </a:cubicBezTo>
                    <a:cubicBezTo>
                      <a:pt x="17206" y="11"/>
                      <a:pt x="16201" y="11"/>
                      <a:pt x="15072" y="136"/>
                    </a:cubicBezTo>
                    <a:cubicBezTo>
                      <a:pt x="15072" y="136"/>
                      <a:pt x="15072" y="136"/>
                      <a:pt x="15072" y="136"/>
                    </a:cubicBezTo>
                    <a:lnTo>
                      <a:pt x="15072" y="136"/>
                    </a:lnTo>
                    <a:lnTo>
                      <a:pt x="15072" y="136"/>
                    </a:lnTo>
                    <a:cubicBezTo>
                      <a:pt x="13187" y="136"/>
                      <a:pt x="11429" y="639"/>
                      <a:pt x="9922" y="1518"/>
                    </a:cubicBezTo>
                    <a:lnTo>
                      <a:pt x="0" y="7295"/>
                    </a:lnTo>
                    <a:cubicBezTo>
                      <a:pt x="4145" y="4909"/>
                      <a:pt x="9671" y="5662"/>
                      <a:pt x="15072" y="8802"/>
                    </a:cubicBezTo>
                    <a:cubicBezTo>
                      <a:pt x="20472" y="11942"/>
                      <a:pt x="25998" y="17468"/>
                      <a:pt x="30017" y="24627"/>
                    </a:cubicBezTo>
                    <a:cubicBezTo>
                      <a:pt x="38306" y="38945"/>
                      <a:pt x="38306" y="54393"/>
                      <a:pt x="29892" y="59166"/>
                    </a:cubicBezTo>
                    <a:lnTo>
                      <a:pt x="39813" y="53388"/>
                    </a:lnTo>
                    <a:cubicBezTo>
                      <a:pt x="43330" y="51379"/>
                      <a:pt x="45089" y="47360"/>
                      <a:pt x="45340" y="46857"/>
                    </a:cubicBezTo>
                    <a:cubicBezTo>
                      <a:pt x="49359" y="40327"/>
                      <a:pt x="48229"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7" name="Freeform: Shape 576">
                <a:extLst>
                  <a:ext uri="{FF2B5EF4-FFF2-40B4-BE49-F238E27FC236}">
                    <a16:creationId xmlns:a16="http://schemas.microsoft.com/office/drawing/2014/main" id="{B9E15A37-12DA-47BB-BE80-E1E5732769C6}"/>
                  </a:ext>
                </a:extLst>
              </p:cNvPr>
              <p:cNvSpPr/>
              <p:nvPr/>
            </p:nvSpPr>
            <p:spPr>
              <a:xfrm>
                <a:off x="10212989" y="3282372"/>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5" y="7182"/>
                      <a:pt x="7" y="11076"/>
                    </a:cubicBezTo>
                    <a:cubicBezTo>
                      <a:pt x="-496" y="13462"/>
                      <a:pt x="26884" y="54029"/>
                      <a:pt x="26884" y="54029"/>
                    </a:cubicBezTo>
                    <a:cubicBezTo>
                      <a:pt x="30023" y="54657"/>
                      <a:pt x="34420" y="54154"/>
                      <a:pt x="35927" y="53275"/>
                    </a:cubicBezTo>
                    <a:cubicBezTo>
                      <a:pt x="44467" y="48251"/>
                      <a:pt x="44341"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8" name="Freeform: Shape 577">
                <a:extLst>
                  <a:ext uri="{FF2B5EF4-FFF2-40B4-BE49-F238E27FC236}">
                    <a16:creationId xmlns:a16="http://schemas.microsoft.com/office/drawing/2014/main" id="{8FFB79E8-8DA5-4CD8-8F2B-0BA9735A2C6E}"/>
                  </a:ext>
                </a:extLst>
              </p:cNvPr>
              <p:cNvSpPr/>
              <p:nvPr/>
            </p:nvSpPr>
            <p:spPr>
              <a:xfrm>
                <a:off x="10203710" y="3277573"/>
                <a:ext cx="57006" cy="65832"/>
              </a:xfrm>
              <a:custGeom>
                <a:avLst/>
                <a:gdLst>
                  <a:gd name="connsiteX0" fmla="*/ 42752 w 57006"/>
                  <a:gd name="connsiteY0" fmla="*/ 24690 h 65832"/>
                  <a:gd name="connsiteX1" fmla="*/ 42758 w 57006"/>
                  <a:gd name="connsiteY1" fmla="*/ 57606 h 65832"/>
                  <a:gd name="connsiteX2" fmla="*/ 14255 w 57006"/>
                  <a:gd name="connsiteY2" fmla="*/ 41143 h 65832"/>
                  <a:gd name="connsiteX3" fmla="*/ 14248 w 57006"/>
                  <a:gd name="connsiteY3" fmla="*/ 8226 h 65832"/>
                  <a:gd name="connsiteX4" fmla="*/ 42752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90"/>
                    </a:moveTo>
                    <a:cubicBezTo>
                      <a:pt x="50625" y="38325"/>
                      <a:pt x="50628" y="53062"/>
                      <a:pt x="42758" y="57606"/>
                    </a:cubicBezTo>
                    <a:cubicBezTo>
                      <a:pt x="34889" y="62149"/>
                      <a:pt x="22128" y="54778"/>
                      <a:pt x="14255" y="41143"/>
                    </a:cubicBezTo>
                    <a:cubicBezTo>
                      <a:pt x="6382" y="27507"/>
                      <a:pt x="6379" y="12770"/>
                      <a:pt x="14248" y="8226"/>
                    </a:cubicBezTo>
                    <a:cubicBezTo>
                      <a:pt x="22118" y="3683"/>
                      <a:pt x="34879" y="11054"/>
                      <a:pt x="42752"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79" name="Graphic 4">
              <a:extLst>
                <a:ext uri="{FF2B5EF4-FFF2-40B4-BE49-F238E27FC236}">
                  <a16:creationId xmlns:a16="http://schemas.microsoft.com/office/drawing/2014/main" id="{84FB7ED1-A2DF-40A1-A747-5F7CF3F14040}"/>
                </a:ext>
              </a:extLst>
            </p:cNvPr>
            <p:cNvGrpSpPr/>
            <p:nvPr/>
          </p:nvGrpSpPr>
          <p:grpSpPr>
            <a:xfrm>
              <a:off x="10218962" y="3293013"/>
              <a:ext cx="27128" cy="35155"/>
              <a:chOff x="10218962" y="3293013"/>
              <a:chExt cx="27128" cy="35155"/>
            </a:xfrm>
            <a:solidFill>
              <a:schemeClr val="accent1"/>
            </a:solidFill>
          </p:grpSpPr>
          <p:sp>
            <p:nvSpPr>
              <p:cNvPr id="580" name="Freeform: Shape 579">
                <a:extLst>
                  <a:ext uri="{FF2B5EF4-FFF2-40B4-BE49-F238E27FC236}">
                    <a16:creationId xmlns:a16="http://schemas.microsoft.com/office/drawing/2014/main" id="{230E1327-33C8-416F-8D62-EDC1A6EAD2BD}"/>
                  </a:ext>
                </a:extLst>
              </p:cNvPr>
              <p:cNvSpPr/>
              <p:nvPr/>
            </p:nvSpPr>
            <p:spPr>
              <a:xfrm>
                <a:off x="10219872" y="3294222"/>
                <a:ext cx="25276" cy="32612"/>
              </a:xfrm>
              <a:custGeom>
                <a:avLst/>
                <a:gdLst>
                  <a:gd name="connsiteX0" fmla="*/ 21508 w 25276"/>
                  <a:gd name="connsiteY0" fmla="*/ 31754 h 32612"/>
                  <a:gd name="connsiteX1" fmla="*/ 3674 w 25276"/>
                  <a:gd name="connsiteY1" fmla="*/ 21456 h 32612"/>
                  <a:gd name="connsiteX2" fmla="*/ 3674 w 25276"/>
                  <a:gd name="connsiteY2" fmla="*/ 858 h 32612"/>
                  <a:gd name="connsiteX3" fmla="*/ 21508 w 25276"/>
                  <a:gd name="connsiteY3" fmla="*/ 11157 h 32612"/>
                  <a:gd name="connsiteX4" fmla="*/ 21508 w 25276"/>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6" h="32612">
                    <a:moveTo>
                      <a:pt x="21508" y="31754"/>
                    </a:moveTo>
                    <a:cubicBezTo>
                      <a:pt x="16610" y="34643"/>
                      <a:pt x="8572" y="29996"/>
                      <a:pt x="3674" y="21456"/>
                    </a:cubicBezTo>
                    <a:cubicBezTo>
                      <a:pt x="-1225" y="12915"/>
                      <a:pt x="-1225" y="3747"/>
                      <a:pt x="3674" y="858"/>
                    </a:cubicBezTo>
                    <a:cubicBezTo>
                      <a:pt x="8572" y="-2031"/>
                      <a:pt x="16610" y="2616"/>
                      <a:pt x="21508" y="11157"/>
                    </a:cubicBezTo>
                    <a:cubicBezTo>
                      <a:pt x="26532" y="19697"/>
                      <a:pt x="26532"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1" name="Freeform: Shape 580">
                <a:extLst>
                  <a:ext uri="{FF2B5EF4-FFF2-40B4-BE49-F238E27FC236}">
                    <a16:creationId xmlns:a16="http://schemas.microsoft.com/office/drawing/2014/main" id="{ECFEE981-7550-44FA-B1CB-72BB691E0149}"/>
                  </a:ext>
                </a:extLst>
              </p:cNvPr>
              <p:cNvSpPr/>
              <p:nvPr/>
            </p:nvSpPr>
            <p:spPr>
              <a:xfrm>
                <a:off x="10218962" y="3293013"/>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2 w 27128"/>
                  <a:gd name="connsiteY7" fmla="*/ 12491 h 35155"/>
                  <a:gd name="connsiteX8" fmla="*/ 16892 w 27128"/>
                  <a:gd name="connsiteY8" fmla="*/ 5332 h 35155"/>
                  <a:gd name="connsiteX9" fmla="*/ 22418 w 27128"/>
                  <a:gd name="connsiteY9" fmla="*/ 12366 h 35155"/>
                  <a:gd name="connsiteX10" fmla="*/ 24051 w 27128"/>
                  <a:gd name="connsiteY10" fmla="*/ 15631 h 35155"/>
                  <a:gd name="connsiteX11" fmla="*/ 4710 w 27128"/>
                  <a:gd name="connsiteY11" fmla="*/ 2067 h 35155"/>
                  <a:gd name="connsiteX12" fmla="*/ 10236 w 27128"/>
                  <a:gd name="connsiteY12" fmla="*/ 1565 h 35155"/>
                  <a:gd name="connsiteX13" fmla="*/ 10236 w 27128"/>
                  <a:gd name="connsiteY13" fmla="*/ 8723 h 35155"/>
                  <a:gd name="connsiteX14" fmla="*/ 8980 w 27128"/>
                  <a:gd name="connsiteY14" fmla="*/ 9100 h 35155"/>
                  <a:gd name="connsiteX15" fmla="*/ 3077 w 27128"/>
                  <a:gd name="connsiteY15" fmla="*/ 3448 h 35155"/>
                  <a:gd name="connsiteX16" fmla="*/ 4710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5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5 w 27128"/>
                  <a:gd name="connsiteY26" fmla="*/ 28567 h 35155"/>
                  <a:gd name="connsiteX27" fmla="*/ 23423 w 27128"/>
                  <a:gd name="connsiteY27" fmla="*/ 32335 h 35155"/>
                  <a:gd name="connsiteX28" fmla="*/ 19781 w 27128"/>
                  <a:gd name="connsiteY28" fmla="*/ 24423 h 35155"/>
                  <a:gd name="connsiteX29" fmla="*/ 20283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0"/>
                      <a:pt x="9231" y="-2203"/>
                      <a:pt x="3956" y="937"/>
                    </a:cubicBezTo>
                    <a:cubicBezTo>
                      <a:pt x="-1319" y="4076"/>
                      <a:pt x="-1319" y="13998"/>
                      <a:pt x="3956" y="23167"/>
                    </a:cubicBezTo>
                    <a:cubicBezTo>
                      <a:pt x="9231" y="32335"/>
                      <a:pt x="17897" y="37359"/>
                      <a:pt x="23172" y="34219"/>
                    </a:cubicBezTo>
                    <a:cubicBezTo>
                      <a:pt x="28447" y="31079"/>
                      <a:pt x="28447" y="21157"/>
                      <a:pt x="23172" y="11989"/>
                    </a:cubicBezTo>
                    <a:close/>
                    <a:moveTo>
                      <a:pt x="24051" y="15631"/>
                    </a:moveTo>
                    <a:lnTo>
                      <a:pt x="18148" y="14375"/>
                    </a:lnTo>
                    <a:cubicBezTo>
                      <a:pt x="17771" y="13747"/>
                      <a:pt x="17269" y="13119"/>
                      <a:pt x="16892" y="12491"/>
                    </a:cubicBezTo>
                    <a:lnTo>
                      <a:pt x="16892" y="5332"/>
                    </a:lnTo>
                    <a:cubicBezTo>
                      <a:pt x="18902" y="7216"/>
                      <a:pt x="20911" y="9477"/>
                      <a:pt x="22418" y="12366"/>
                    </a:cubicBezTo>
                    <a:cubicBezTo>
                      <a:pt x="23047" y="13371"/>
                      <a:pt x="23675" y="14501"/>
                      <a:pt x="24051" y="15631"/>
                    </a:cubicBezTo>
                    <a:close/>
                    <a:moveTo>
                      <a:pt x="4710" y="2067"/>
                    </a:moveTo>
                    <a:cubicBezTo>
                      <a:pt x="6342" y="1188"/>
                      <a:pt x="8226" y="1062"/>
                      <a:pt x="10236" y="1565"/>
                    </a:cubicBezTo>
                    <a:lnTo>
                      <a:pt x="10236" y="8723"/>
                    </a:lnTo>
                    <a:cubicBezTo>
                      <a:pt x="9734" y="8723"/>
                      <a:pt x="9357" y="8849"/>
                      <a:pt x="8980" y="9100"/>
                    </a:cubicBezTo>
                    <a:lnTo>
                      <a:pt x="3077" y="3448"/>
                    </a:lnTo>
                    <a:cubicBezTo>
                      <a:pt x="3454" y="2820"/>
                      <a:pt x="4082" y="2444"/>
                      <a:pt x="4710" y="2067"/>
                    </a:cubicBezTo>
                    <a:close/>
                    <a:moveTo>
                      <a:pt x="942" y="9603"/>
                    </a:moveTo>
                    <a:lnTo>
                      <a:pt x="6845" y="15254"/>
                    </a:lnTo>
                    <a:cubicBezTo>
                      <a:pt x="6970" y="15882"/>
                      <a:pt x="7096" y="16636"/>
                      <a:pt x="7347" y="17264"/>
                    </a:cubicBezTo>
                    <a:lnTo>
                      <a:pt x="3705" y="20906"/>
                    </a:lnTo>
                    <a:cubicBezTo>
                      <a:pt x="1695" y="16887"/>
                      <a:pt x="816" y="12868"/>
                      <a:pt x="942" y="9603"/>
                    </a:cubicBezTo>
                    <a:close/>
                    <a:moveTo>
                      <a:pt x="9105" y="28567"/>
                    </a:moveTo>
                    <a:lnTo>
                      <a:pt x="12748" y="24925"/>
                    </a:lnTo>
                    <a:cubicBezTo>
                      <a:pt x="13250" y="25302"/>
                      <a:pt x="13878" y="25679"/>
                      <a:pt x="14381" y="25804"/>
                    </a:cubicBezTo>
                    <a:lnTo>
                      <a:pt x="18023" y="33717"/>
                    </a:lnTo>
                    <a:cubicBezTo>
                      <a:pt x="15134" y="33340"/>
                      <a:pt x="11994" y="31456"/>
                      <a:pt x="9105" y="28567"/>
                    </a:cubicBezTo>
                    <a:close/>
                    <a:moveTo>
                      <a:pt x="23423" y="32335"/>
                    </a:moveTo>
                    <a:lnTo>
                      <a:pt x="19781" y="24423"/>
                    </a:lnTo>
                    <a:cubicBezTo>
                      <a:pt x="20032" y="24046"/>
                      <a:pt x="20158" y="23544"/>
                      <a:pt x="20283" y="22916"/>
                    </a:cubicBezTo>
                    <a:lnTo>
                      <a:pt x="26187" y="24046"/>
                    </a:lnTo>
                    <a:cubicBezTo>
                      <a:pt x="26312" y="27563"/>
                      <a:pt x="25433"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82" name="Graphic 4">
                <a:extLst>
                  <a:ext uri="{FF2B5EF4-FFF2-40B4-BE49-F238E27FC236}">
                    <a16:creationId xmlns:a16="http://schemas.microsoft.com/office/drawing/2014/main" id="{84FB7ED1-A2DF-40A1-A747-5F7CF3F14040}"/>
                  </a:ext>
                </a:extLst>
              </p:cNvPr>
              <p:cNvGrpSpPr/>
              <p:nvPr/>
            </p:nvGrpSpPr>
            <p:grpSpPr>
              <a:xfrm>
                <a:off x="10219892" y="3294578"/>
                <a:ext cx="23874" cy="32152"/>
                <a:chOff x="10219892" y="3294578"/>
                <a:chExt cx="23874" cy="32152"/>
              </a:xfrm>
              <a:solidFill>
                <a:srgbClr val="ADAA99"/>
              </a:solidFill>
            </p:grpSpPr>
            <p:sp>
              <p:nvSpPr>
                <p:cNvPr id="583" name="Freeform: Shape 582">
                  <a:extLst>
                    <a:ext uri="{FF2B5EF4-FFF2-40B4-BE49-F238E27FC236}">
                      <a16:creationId xmlns:a16="http://schemas.microsoft.com/office/drawing/2014/main" id="{76482187-65E7-4543-BEC6-9295F03B3074}"/>
                    </a:ext>
                  </a:extLst>
                </p:cNvPr>
                <p:cNvSpPr/>
                <p:nvPr/>
              </p:nvSpPr>
              <p:spPr>
                <a:xfrm>
                  <a:off x="10235854" y="3298346"/>
                  <a:ext cx="7158" cy="10298"/>
                </a:xfrm>
                <a:custGeom>
                  <a:avLst/>
                  <a:gdLst>
                    <a:gd name="connsiteX0" fmla="*/ 1759 w 7158"/>
                    <a:gd name="connsiteY0" fmla="*/ 6154 h 10298"/>
                    <a:gd name="connsiteX1" fmla="*/ 1759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5 w 7158"/>
                    <a:gd name="connsiteY7" fmla="*/ 8038 h 10298"/>
                    <a:gd name="connsiteX8" fmla="*/ 1759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9" y="6154"/>
                      </a:moveTo>
                      <a:lnTo>
                        <a:pt x="1759" y="1758"/>
                      </a:lnTo>
                      <a:cubicBezTo>
                        <a:pt x="1131" y="1130"/>
                        <a:pt x="629" y="502"/>
                        <a:pt x="0" y="0"/>
                      </a:cubicBezTo>
                      <a:lnTo>
                        <a:pt x="0" y="7159"/>
                      </a:lnTo>
                      <a:cubicBezTo>
                        <a:pt x="503" y="7661"/>
                        <a:pt x="879" y="8289"/>
                        <a:pt x="1256" y="9043"/>
                      </a:cubicBezTo>
                      <a:lnTo>
                        <a:pt x="7159" y="10299"/>
                      </a:lnTo>
                      <a:cubicBezTo>
                        <a:pt x="6908" y="9796"/>
                        <a:pt x="6657" y="9294"/>
                        <a:pt x="6405" y="8792"/>
                      </a:cubicBezTo>
                      <a:lnTo>
                        <a:pt x="3015" y="8038"/>
                      </a:lnTo>
                      <a:cubicBezTo>
                        <a:pt x="2638" y="7410"/>
                        <a:pt x="2261" y="6782"/>
                        <a:pt x="1759"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4" name="Freeform: Shape 583">
                  <a:extLst>
                    <a:ext uri="{FF2B5EF4-FFF2-40B4-BE49-F238E27FC236}">
                      <a16:creationId xmlns:a16="http://schemas.microsoft.com/office/drawing/2014/main" id="{B5D27242-5090-402B-B378-8CD5695E95B3}"/>
                    </a:ext>
                  </a:extLst>
                </p:cNvPr>
                <p:cNvSpPr/>
                <p:nvPr/>
              </p:nvSpPr>
              <p:spPr>
                <a:xfrm>
                  <a:off x="10238743" y="3315929"/>
                  <a:ext cx="5023" cy="9419"/>
                </a:xfrm>
                <a:custGeom>
                  <a:avLst/>
                  <a:gdLst>
                    <a:gd name="connsiteX0" fmla="*/ 1883 w 5023"/>
                    <a:gd name="connsiteY0" fmla="*/ 251 h 9419"/>
                    <a:gd name="connsiteX1" fmla="*/ 502 w 5023"/>
                    <a:gd name="connsiteY1" fmla="*/ 0 h 9419"/>
                    <a:gd name="connsiteX2" fmla="*/ 0 w 5023"/>
                    <a:gd name="connsiteY2" fmla="*/ 1507 h 9419"/>
                    <a:gd name="connsiteX3" fmla="*/ 3642 w 5023"/>
                    <a:gd name="connsiteY3" fmla="*/ 9420 h 9419"/>
                    <a:gd name="connsiteX4" fmla="*/ 5023 w 5023"/>
                    <a:gd name="connsiteY4" fmla="*/ 7661 h 9419"/>
                    <a:gd name="connsiteX5" fmla="*/ 1759 w 5023"/>
                    <a:gd name="connsiteY5" fmla="*/ 502 h 9419"/>
                    <a:gd name="connsiteX6" fmla="*/ 1883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3" y="251"/>
                      </a:moveTo>
                      <a:lnTo>
                        <a:pt x="502" y="0"/>
                      </a:lnTo>
                      <a:cubicBezTo>
                        <a:pt x="376" y="502"/>
                        <a:pt x="251" y="1005"/>
                        <a:pt x="0" y="1507"/>
                      </a:cubicBezTo>
                      <a:lnTo>
                        <a:pt x="3642" y="9420"/>
                      </a:lnTo>
                      <a:cubicBezTo>
                        <a:pt x="4144" y="8917"/>
                        <a:pt x="4647" y="8415"/>
                        <a:pt x="5023" y="7661"/>
                      </a:cubicBezTo>
                      <a:lnTo>
                        <a:pt x="1759" y="502"/>
                      </a:lnTo>
                      <a:cubicBezTo>
                        <a:pt x="1759" y="377"/>
                        <a:pt x="1759" y="377"/>
                        <a:pt x="1883"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5" name="Freeform: Shape 584">
                  <a:extLst>
                    <a:ext uri="{FF2B5EF4-FFF2-40B4-BE49-F238E27FC236}">
                      <a16:creationId xmlns:a16="http://schemas.microsoft.com/office/drawing/2014/main" id="{8F199400-9416-4F26-A7CB-FA9DCF06D78D}"/>
                    </a:ext>
                  </a:extLst>
                </p:cNvPr>
                <p:cNvSpPr/>
                <p:nvPr/>
              </p:nvSpPr>
              <p:spPr>
                <a:xfrm>
                  <a:off x="10219892" y="3302616"/>
                  <a:ext cx="4281" cy="11303"/>
                </a:xfrm>
                <a:custGeom>
                  <a:avLst/>
                  <a:gdLst>
                    <a:gd name="connsiteX0" fmla="*/ 12 w 4281"/>
                    <a:gd name="connsiteY0" fmla="*/ 0 h 11303"/>
                    <a:gd name="connsiteX1" fmla="*/ 2774 w 4281"/>
                    <a:gd name="connsiteY1" fmla="*/ 11303 h 11303"/>
                    <a:gd name="connsiteX2" fmla="*/ 4282 w 4281"/>
                    <a:gd name="connsiteY2" fmla="*/ 9796 h 11303"/>
                    <a:gd name="connsiteX3" fmla="*/ 1895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4" y="11303"/>
                      </a:cubicBezTo>
                      <a:lnTo>
                        <a:pt x="4282" y="9796"/>
                      </a:lnTo>
                      <a:cubicBezTo>
                        <a:pt x="3026" y="7033"/>
                        <a:pt x="2147" y="4270"/>
                        <a:pt x="1895"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6" name="Freeform: Shape 585">
                  <a:extLst>
                    <a:ext uri="{FF2B5EF4-FFF2-40B4-BE49-F238E27FC236}">
                      <a16:creationId xmlns:a16="http://schemas.microsoft.com/office/drawing/2014/main" id="{CB26A88B-132C-487C-B14A-FE3811D85FF2}"/>
                    </a:ext>
                  </a:extLst>
                </p:cNvPr>
                <p:cNvSpPr/>
                <p:nvPr/>
              </p:nvSpPr>
              <p:spPr>
                <a:xfrm>
                  <a:off x="10228067" y="3317938"/>
                  <a:ext cx="8917" cy="8791"/>
                </a:xfrm>
                <a:custGeom>
                  <a:avLst/>
                  <a:gdLst>
                    <a:gd name="connsiteX0" fmla="*/ 1759 w 8917"/>
                    <a:gd name="connsiteY0" fmla="*/ 2637 h 8791"/>
                    <a:gd name="connsiteX1" fmla="*/ 4145 w 8917"/>
                    <a:gd name="connsiteY1" fmla="*/ 251 h 8791"/>
                    <a:gd name="connsiteX2" fmla="*/ 3643 w 8917"/>
                    <a:gd name="connsiteY2" fmla="*/ 0 h 8791"/>
                    <a:gd name="connsiteX3" fmla="*/ 0 w 8917"/>
                    <a:gd name="connsiteY3" fmla="*/ 3642 h 8791"/>
                    <a:gd name="connsiteX4" fmla="*/ 8918 w 8917"/>
                    <a:gd name="connsiteY4" fmla="*/ 8792 h 8791"/>
                    <a:gd name="connsiteX5" fmla="*/ 8164 w 8917"/>
                    <a:gd name="connsiteY5" fmla="*/ 7033 h 8791"/>
                    <a:gd name="connsiteX6" fmla="*/ 1759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7"/>
                      </a:moveTo>
                      <a:lnTo>
                        <a:pt x="4145" y="251"/>
                      </a:lnTo>
                      <a:cubicBezTo>
                        <a:pt x="4019" y="126"/>
                        <a:pt x="3893" y="0"/>
                        <a:pt x="3643" y="0"/>
                      </a:cubicBezTo>
                      <a:lnTo>
                        <a:pt x="0" y="3642"/>
                      </a:lnTo>
                      <a:cubicBezTo>
                        <a:pt x="2889" y="6531"/>
                        <a:pt x="6029" y="8415"/>
                        <a:pt x="8918" y="8792"/>
                      </a:cubicBezTo>
                      <a:lnTo>
                        <a:pt x="8164" y="7033"/>
                      </a:lnTo>
                      <a:cubicBezTo>
                        <a:pt x="6029" y="6154"/>
                        <a:pt x="3768" y="4647"/>
                        <a:pt x="1759"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7" name="Freeform: Shape 586">
                  <a:extLst>
                    <a:ext uri="{FF2B5EF4-FFF2-40B4-BE49-F238E27FC236}">
                      <a16:creationId xmlns:a16="http://schemas.microsoft.com/office/drawing/2014/main" id="{5D6A59AB-B7A9-483E-9177-50D0C4DF99D9}"/>
                    </a:ext>
                  </a:extLst>
                </p:cNvPr>
                <p:cNvSpPr/>
                <p:nvPr/>
              </p:nvSpPr>
              <p:spPr>
                <a:xfrm>
                  <a:off x="10222039" y="3294578"/>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9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9" y="754"/>
                      </a:lnTo>
                      <a:cubicBezTo>
                        <a:pt x="2009"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88" name="Graphic 4">
                <a:extLst>
                  <a:ext uri="{FF2B5EF4-FFF2-40B4-BE49-F238E27FC236}">
                    <a16:creationId xmlns:a16="http://schemas.microsoft.com/office/drawing/2014/main" id="{84FB7ED1-A2DF-40A1-A747-5F7CF3F14040}"/>
                  </a:ext>
                </a:extLst>
              </p:cNvPr>
              <p:cNvGrpSpPr/>
              <p:nvPr/>
            </p:nvGrpSpPr>
            <p:grpSpPr>
              <a:xfrm>
                <a:off x="10227464" y="3304170"/>
                <a:ext cx="10148" cy="13199"/>
                <a:chOff x="10227464" y="3304170"/>
                <a:chExt cx="10148" cy="13199"/>
              </a:xfrm>
              <a:solidFill>
                <a:srgbClr val="222222"/>
              </a:solidFill>
            </p:grpSpPr>
            <p:sp>
              <p:nvSpPr>
                <p:cNvPr id="589" name="Freeform: Shape 588">
                  <a:extLst>
                    <a:ext uri="{FF2B5EF4-FFF2-40B4-BE49-F238E27FC236}">
                      <a16:creationId xmlns:a16="http://schemas.microsoft.com/office/drawing/2014/main" id="{5AAFC007-10F2-4764-A11A-B7E793668F51}"/>
                    </a:ext>
                  </a:extLst>
                </p:cNvPr>
                <p:cNvSpPr/>
                <p:nvPr/>
              </p:nvSpPr>
              <p:spPr>
                <a:xfrm>
                  <a:off x="10230862" y="3308284"/>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2"/>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0" name="Freeform: Shape 589">
                  <a:extLst>
                    <a:ext uri="{FF2B5EF4-FFF2-40B4-BE49-F238E27FC236}">
                      <a16:creationId xmlns:a16="http://schemas.microsoft.com/office/drawing/2014/main" id="{52528089-EE52-439D-B406-2524E85949B6}"/>
                    </a:ext>
                  </a:extLst>
                </p:cNvPr>
                <p:cNvSpPr/>
                <p:nvPr/>
              </p:nvSpPr>
              <p:spPr>
                <a:xfrm>
                  <a:off x="10231553" y="3304170"/>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1" name="Freeform: Shape 590">
                  <a:extLst>
                    <a:ext uri="{FF2B5EF4-FFF2-40B4-BE49-F238E27FC236}">
                      <a16:creationId xmlns:a16="http://schemas.microsoft.com/office/drawing/2014/main" id="{DCFC95FC-C07A-4BC6-8133-F6838C8ED59C}"/>
                    </a:ext>
                  </a:extLst>
                </p:cNvPr>
                <p:cNvSpPr/>
                <p:nvPr/>
              </p:nvSpPr>
              <p:spPr>
                <a:xfrm>
                  <a:off x="10229048" y="3311832"/>
                  <a:ext cx="1932" cy="2613"/>
                </a:xfrm>
                <a:custGeom>
                  <a:avLst/>
                  <a:gdLst>
                    <a:gd name="connsiteX0" fmla="*/ 778 w 1932"/>
                    <a:gd name="connsiteY0" fmla="*/ 77 h 2613"/>
                    <a:gd name="connsiteX1" fmla="*/ 1909 w 1932"/>
                    <a:gd name="connsiteY1" fmla="*/ 1710 h 2613"/>
                    <a:gd name="connsiteX2" fmla="*/ 1155 w 1932"/>
                    <a:gd name="connsiteY2" fmla="*/ 2589 h 2613"/>
                    <a:gd name="connsiteX3" fmla="*/ 24 w 1932"/>
                    <a:gd name="connsiteY3" fmla="*/ 957 h 2613"/>
                    <a:gd name="connsiteX4" fmla="*/ 778 w 1932"/>
                    <a:gd name="connsiteY4" fmla="*/ 77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13">
                      <a:moveTo>
                        <a:pt x="778" y="77"/>
                      </a:moveTo>
                      <a:cubicBezTo>
                        <a:pt x="1280" y="329"/>
                        <a:pt x="1783" y="957"/>
                        <a:pt x="1909" y="1710"/>
                      </a:cubicBezTo>
                      <a:cubicBezTo>
                        <a:pt x="2034" y="2338"/>
                        <a:pt x="1657" y="2715"/>
                        <a:pt x="1155" y="2589"/>
                      </a:cubicBezTo>
                      <a:cubicBezTo>
                        <a:pt x="652" y="2338"/>
                        <a:pt x="150" y="1710"/>
                        <a:pt x="24" y="957"/>
                      </a:cubicBezTo>
                      <a:cubicBezTo>
                        <a:pt x="-101" y="203"/>
                        <a:pt x="276" y="-174"/>
                        <a:pt x="778" y="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2" name="Freeform: Shape 591">
                  <a:extLst>
                    <a:ext uri="{FF2B5EF4-FFF2-40B4-BE49-F238E27FC236}">
                      <a16:creationId xmlns:a16="http://schemas.microsoft.com/office/drawing/2014/main" id="{0A34F727-5189-43F1-B958-BCB7E0590426}"/>
                    </a:ext>
                  </a:extLst>
                </p:cNvPr>
                <p:cNvSpPr/>
                <p:nvPr/>
              </p:nvSpPr>
              <p:spPr>
                <a:xfrm>
                  <a:off x="10234096" y="3314740"/>
                  <a:ext cx="1907" cy="2629"/>
                </a:xfrm>
                <a:custGeom>
                  <a:avLst/>
                  <a:gdLst>
                    <a:gd name="connsiteX0" fmla="*/ 0 w 1907"/>
                    <a:gd name="connsiteY0" fmla="*/ 561 h 2629"/>
                    <a:gd name="connsiteX1" fmla="*/ 1130 w 1907"/>
                    <a:gd name="connsiteY1" fmla="*/ 310 h 2629"/>
                    <a:gd name="connsiteX2" fmla="*/ 1883 w 1907"/>
                    <a:gd name="connsiteY2" fmla="*/ 2068 h 2629"/>
                    <a:gd name="connsiteX3" fmla="*/ 754 w 1907"/>
                    <a:gd name="connsiteY3" fmla="*/ 2320 h 2629"/>
                    <a:gd name="connsiteX4" fmla="*/ 0 w 1907"/>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7" h="2629">
                      <a:moveTo>
                        <a:pt x="0" y="561"/>
                      </a:moveTo>
                      <a:cubicBezTo>
                        <a:pt x="126" y="-67"/>
                        <a:pt x="628" y="-192"/>
                        <a:pt x="1130" y="310"/>
                      </a:cubicBezTo>
                      <a:cubicBezTo>
                        <a:pt x="1633" y="687"/>
                        <a:pt x="2009" y="1566"/>
                        <a:pt x="1883" y="2068"/>
                      </a:cubicBezTo>
                      <a:cubicBezTo>
                        <a:pt x="1758" y="2696"/>
                        <a:pt x="1256" y="2822"/>
                        <a:pt x="754" y="2320"/>
                      </a:cubicBezTo>
                      <a:cubicBezTo>
                        <a:pt x="251" y="1943"/>
                        <a:pt x="0" y="1189"/>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3" name="Freeform: Shape 592">
                  <a:extLst>
                    <a:ext uri="{FF2B5EF4-FFF2-40B4-BE49-F238E27FC236}">
                      <a16:creationId xmlns:a16="http://schemas.microsoft.com/office/drawing/2014/main" id="{6C4C36DF-4DD3-462A-81CA-BC109C3AFD0C}"/>
                    </a:ext>
                  </a:extLst>
                </p:cNvPr>
                <p:cNvSpPr/>
                <p:nvPr/>
              </p:nvSpPr>
              <p:spPr>
                <a:xfrm>
                  <a:off x="10235729" y="3310184"/>
                  <a:ext cx="1883" cy="2447"/>
                </a:xfrm>
                <a:custGeom>
                  <a:avLst/>
                  <a:gdLst>
                    <a:gd name="connsiteX0" fmla="*/ 502 w 1883"/>
                    <a:gd name="connsiteY0" fmla="*/ 1977 h 2447"/>
                    <a:gd name="connsiteX1" fmla="*/ 125 w 1883"/>
                    <a:gd name="connsiteY1" fmla="*/ 219 h 2447"/>
                    <a:gd name="connsiteX2" fmla="*/ 1382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5" y="596"/>
                        <a:pt x="125" y="219"/>
                      </a:cubicBezTo>
                      <a:cubicBezTo>
                        <a:pt x="377" y="-158"/>
                        <a:pt x="1004" y="-32"/>
                        <a:pt x="1382" y="470"/>
                      </a:cubicBezTo>
                      <a:cubicBezTo>
                        <a:pt x="1884" y="973"/>
                        <a:pt x="2009" y="1852"/>
                        <a:pt x="1758" y="2229"/>
                      </a:cubicBezTo>
                      <a:cubicBezTo>
                        <a:pt x="1633" y="2605"/>
                        <a:pt x="1004"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4" name="Freeform: Shape 593">
                  <a:extLst>
                    <a:ext uri="{FF2B5EF4-FFF2-40B4-BE49-F238E27FC236}">
                      <a16:creationId xmlns:a16="http://schemas.microsoft.com/office/drawing/2014/main" id="{DFD02691-0B54-4573-BE2D-A8E9D28615C7}"/>
                    </a:ext>
                  </a:extLst>
                </p:cNvPr>
                <p:cNvSpPr/>
                <p:nvPr/>
              </p:nvSpPr>
              <p:spPr>
                <a:xfrm>
                  <a:off x="10227464" y="3305253"/>
                  <a:ext cx="1835" cy="2512"/>
                </a:xfrm>
                <a:custGeom>
                  <a:avLst/>
                  <a:gdLst>
                    <a:gd name="connsiteX0" fmla="*/ 1734 w 1835"/>
                    <a:gd name="connsiteY0" fmla="*/ 1256 h 2512"/>
                    <a:gd name="connsiteX1" fmla="*/ 1357 w 1835"/>
                    <a:gd name="connsiteY1" fmla="*/ 2512 h 2512"/>
                    <a:gd name="connsiteX2" fmla="*/ 101 w 1835"/>
                    <a:gd name="connsiteY2" fmla="*/ 1256 h 2512"/>
                    <a:gd name="connsiteX3" fmla="*/ 478 w 1835"/>
                    <a:gd name="connsiteY3" fmla="*/ 0 h 2512"/>
                    <a:gd name="connsiteX4" fmla="*/ 1734 w 1835"/>
                    <a:gd name="connsiteY4" fmla="*/ 1256 h 2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 h="2512">
                      <a:moveTo>
                        <a:pt x="1734" y="1256"/>
                      </a:moveTo>
                      <a:cubicBezTo>
                        <a:pt x="1985" y="2010"/>
                        <a:pt x="1734" y="2512"/>
                        <a:pt x="1357" y="2512"/>
                      </a:cubicBezTo>
                      <a:cubicBezTo>
                        <a:pt x="855" y="2512"/>
                        <a:pt x="227" y="2010"/>
                        <a:pt x="101" y="1256"/>
                      </a:cubicBezTo>
                      <a:cubicBezTo>
                        <a:pt x="-150" y="502"/>
                        <a:pt x="101" y="0"/>
                        <a:pt x="478" y="0"/>
                      </a:cubicBezTo>
                      <a:cubicBezTo>
                        <a:pt x="980" y="0"/>
                        <a:pt x="1483" y="628"/>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95" name="Freeform: Shape 594">
              <a:extLst>
                <a:ext uri="{FF2B5EF4-FFF2-40B4-BE49-F238E27FC236}">
                  <a16:creationId xmlns:a16="http://schemas.microsoft.com/office/drawing/2014/main" id="{B79ECB93-A806-4119-AF3E-F28A4B9B9FB1}"/>
                </a:ext>
              </a:extLst>
            </p:cNvPr>
            <p:cNvSpPr/>
            <p:nvPr/>
          </p:nvSpPr>
          <p:spPr>
            <a:xfrm>
              <a:off x="10280441" y="3296451"/>
              <a:ext cx="47650" cy="59165"/>
            </a:xfrm>
            <a:custGeom>
              <a:avLst/>
              <a:gdLst>
                <a:gd name="connsiteX0" fmla="*/ 41823 w 47650"/>
                <a:gd name="connsiteY0" fmla="*/ 17719 h 59165"/>
                <a:gd name="connsiteX1" fmla="*/ 27630 w 47650"/>
                <a:gd name="connsiteY1" fmla="*/ 2774 h 59165"/>
                <a:gd name="connsiteX2" fmla="*/ 18211 w 47650"/>
                <a:gd name="connsiteY2" fmla="*/ 10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3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29" y="10937"/>
                    <a:pt x="32780" y="5662"/>
                    <a:pt x="27630" y="2774"/>
                  </a:cubicBezTo>
                  <a:cubicBezTo>
                    <a:pt x="24365" y="890"/>
                    <a:pt x="21226" y="-115"/>
                    <a:pt x="18211" y="10"/>
                  </a:cubicBezTo>
                  <a:cubicBezTo>
                    <a:pt x="17206" y="10"/>
                    <a:pt x="16201" y="10"/>
                    <a:pt x="15071" y="136"/>
                  </a:cubicBezTo>
                  <a:cubicBezTo>
                    <a:pt x="15071" y="136"/>
                    <a:pt x="15071" y="136"/>
                    <a:pt x="15071" y="136"/>
                  </a:cubicBezTo>
                  <a:lnTo>
                    <a:pt x="15071" y="136"/>
                  </a:lnTo>
                  <a:lnTo>
                    <a:pt x="15071" y="136"/>
                  </a:lnTo>
                  <a:cubicBezTo>
                    <a:pt x="13187" y="136"/>
                    <a:pt x="11429" y="639"/>
                    <a:pt x="9922" y="1518"/>
                  </a:cubicBezTo>
                  <a:lnTo>
                    <a:pt x="0" y="7295"/>
                  </a:lnTo>
                  <a:cubicBezTo>
                    <a:pt x="4144" y="4909"/>
                    <a:pt x="9670" y="5662"/>
                    <a:pt x="15071" y="8802"/>
                  </a:cubicBezTo>
                  <a:cubicBezTo>
                    <a:pt x="20472" y="11942"/>
                    <a:pt x="25998" y="17468"/>
                    <a:pt x="30017" y="24627"/>
                  </a:cubicBezTo>
                  <a:cubicBezTo>
                    <a:pt x="38306" y="38945"/>
                    <a:pt x="38306" y="54393"/>
                    <a:pt x="29892" y="59166"/>
                  </a:cubicBezTo>
                  <a:lnTo>
                    <a:pt x="39813" y="53388"/>
                  </a:lnTo>
                  <a:cubicBezTo>
                    <a:pt x="43330" y="51379"/>
                    <a:pt x="45088" y="47360"/>
                    <a:pt x="45340" y="46857"/>
                  </a:cubicBezTo>
                  <a:cubicBezTo>
                    <a:pt x="49359" y="40327"/>
                    <a:pt x="48102"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6" name="Freeform: Shape 595">
              <a:extLst>
                <a:ext uri="{FF2B5EF4-FFF2-40B4-BE49-F238E27FC236}">
                  <a16:creationId xmlns:a16="http://schemas.microsoft.com/office/drawing/2014/main" id="{51D3CF09-62EB-4E92-8AB2-0DEE2345E936}"/>
                </a:ext>
              </a:extLst>
            </p:cNvPr>
            <p:cNvSpPr/>
            <p:nvPr/>
          </p:nvSpPr>
          <p:spPr>
            <a:xfrm>
              <a:off x="10274530" y="3302216"/>
              <a:ext cx="42301" cy="54309"/>
            </a:xfrm>
            <a:custGeom>
              <a:avLst/>
              <a:gdLst>
                <a:gd name="connsiteX0" fmla="*/ 36052 w 42301"/>
                <a:gd name="connsiteY0" fmla="*/ 18737 h 54309"/>
                <a:gd name="connsiteX1" fmla="*/ 21107 w 42301"/>
                <a:gd name="connsiteY1" fmla="*/ 2912 h 54309"/>
                <a:gd name="connsiteX2" fmla="*/ 6035 w 42301"/>
                <a:gd name="connsiteY2" fmla="*/ 1405 h 54309"/>
                <a:gd name="connsiteX3" fmla="*/ 7 w 42301"/>
                <a:gd name="connsiteY3" fmla="*/ 11075 h 54309"/>
                <a:gd name="connsiteX4" fmla="*/ 26884 w 42301"/>
                <a:gd name="connsiteY4" fmla="*/ 54029 h 54309"/>
                <a:gd name="connsiteX5" fmla="*/ 35927 w 42301"/>
                <a:gd name="connsiteY5" fmla="*/ 53275 h 54309"/>
                <a:gd name="connsiteX6" fmla="*/ 36052 w 42301"/>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1" h="54309">
                  <a:moveTo>
                    <a:pt x="36052" y="18737"/>
                  </a:moveTo>
                  <a:cubicBezTo>
                    <a:pt x="31908" y="11578"/>
                    <a:pt x="26507" y="6052"/>
                    <a:pt x="21107" y="2912"/>
                  </a:cubicBezTo>
                  <a:cubicBezTo>
                    <a:pt x="15706" y="-228"/>
                    <a:pt x="10180" y="-982"/>
                    <a:pt x="6035" y="1405"/>
                  </a:cubicBezTo>
                  <a:cubicBezTo>
                    <a:pt x="3272" y="3037"/>
                    <a:pt x="886" y="7182"/>
                    <a:pt x="7" y="11075"/>
                  </a:cubicBezTo>
                  <a:cubicBezTo>
                    <a:pt x="-495" y="13462"/>
                    <a:pt x="26884" y="54029"/>
                    <a:pt x="26884" y="54029"/>
                  </a:cubicBezTo>
                  <a:cubicBezTo>
                    <a:pt x="30024" y="54657"/>
                    <a:pt x="34420" y="54154"/>
                    <a:pt x="35927" y="53275"/>
                  </a:cubicBezTo>
                  <a:cubicBezTo>
                    <a:pt x="44468" y="48377"/>
                    <a:pt x="44342" y="33054"/>
                    <a:pt x="36052"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7" name="Freeform: Shape 596">
              <a:extLst>
                <a:ext uri="{FF2B5EF4-FFF2-40B4-BE49-F238E27FC236}">
                  <a16:creationId xmlns:a16="http://schemas.microsoft.com/office/drawing/2014/main" id="{3B53DCF7-64C3-4008-A6A8-F515A41E474A}"/>
                </a:ext>
              </a:extLst>
            </p:cNvPr>
            <p:cNvSpPr/>
            <p:nvPr/>
          </p:nvSpPr>
          <p:spPr>
            <a:xfrm>
              <a:off x="10273878" y="3304416"/>
              <a:ext cx="40331" cy="52037"/>
            </a:xfrm>
            <a:custGeom>
              <a:avLst/>
              <a:gdLst>
                <a:gd name="connsiteX0" fmla="*/ 34444 w 40331"/>
                <a:gd name="connsiteY0" fmla="*/ 50698 h 52037"/>
                <a:gd name="connsiteX1" fmla="*/ 5934 w 40331"/>
                <a:gd name="connsiteY1" fmla="*/ 34245 h 52037"/>
                <a:gd name="connsiteX2" fmla="*/ 5934 w 40331"/>
                <a:gd name="connsiteY2" fmla="*/ 1339 h 52037"/>
                <a:gd name="connsiteX3" fmla="*/ 34444 w 40331"/>
                <a:gd name="connsiteY3" fmla="*/ 17792 h 52037"/>
                <a:gd name="connsiteX4" fmla="*/ 34444 w 40331"/>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31" h="52037">
                  <a:moveTo>
                    <a:pt x="34444" y="50698"/>
                  </a:moveTo>
                  <a:cubicBezTo>
                    <a:pt x="26532" y="55219"/>
                    <a:pt x="13846" y="47935"/>
                    <a:pt x="5934" y="34245"/>
                  </a:cubicBezTo>
                  <a:cubicBezTo>
                    <a:pt x="-1978" y="20681"/>
                    <a:pt x="-1978" y="5861"/>
                    <a:pt x="5934" y="1339"/>
                  </a:cubicBezTo>
                  <a:cubicBezTo>
                    <a:pt x="13846" y="-3182"/>
                    <a:pt x="26532" y="4102"/>
                    <a:pt x="34444" y="17792"/>
                  </a:cubicBezTo>
                  <a:cubicBezTo>
                    <a:pt x="42357" y="31482"/>
                    <a:pt x="42231"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98" name="Graphic 4">
              <a:extLst>
                <a:ext uri="{FF2B5EF4-FFF2-40B4-BE49-F238E27FC236}">
                  <a16:creationId xmlns:a16="http://schemas.microsoft.com/office/drawing/2014/main" id="{84FB7ED1-A2DF-40A1-A747-5F7CF3F14040}"/>
                </a:ext>
              </a:extLst>
            </p:cNvPr>
            <p:cNvGrpSpPr/>
            <p:nvPr/>
          </p:nvGrpSpPr>
          <p:grpSpPr>
            <a:xfrm>
              <a:off x="10260314" y="3304238"/>
              <a:ext cx="54338" cy="60074"/>
              <a:chOff x="10260314" y="3304238"/>
              <a:chExt cx="54338" cy="60074"/>
            </a:xfrm>
            <a:solidFill>
              <a:schemeClr val="accent1"/>
            </a:solidFill>
          </p:grpSpPr>
          <p:sp>
            <p:nvSpPr>
              <p:cNvPr id="599" name="Freeform: Shape 598">
                <a:extLst>
                  <a:ext uri="{FF2B5EF4-FFF2-40B4-BE49-F238E27FC236}">
                    <a16:creationId xmlns:a16="http://schemas.microsoft.com/office/drawing/2014/main" id="{4FD12FC8-926E-49F1-AA10-AE79A94D95D2}"/>
                  </a:ext>
                </a:extLst>
              </p:cNvPr>
              <p:cNvSpPr/>
              <p:nvPr/>
            </p:nvSpPr>
            <p:spPr>
              <a:xfrm>
                <a:off x="10267002" y="3304238"/>
                <a:ext cx="47650" cy="59165"/>
              </a:xfrm>
              <a:custGeom>
                <a:avLst/>
                <a:gdLst>
                  <a:gd name="connsiteX0" fmla="*/ 41823 w 47650"/>
                  <a:gd name="connsiteY0" fmla="*/ 17719 h 59165"/>
                  <a:gd name="connsiteX1" fmla="*/ 27631 w 47650"/>
                  <a:gd name="connsiteY1" fmla="*/ 2773 h 59165"/>
                  <a:gd name="connsiteX2" fmla="*/ 18211 w 47650"/>
                  <a:gd name="connsiteY2" fmla="*/ 11 h 59165"/>
                  <a:gd name="connsiteX3" fmla="*/ 15072 w 47650"/>
                  <a:gd name="connsiteY3" fmla="*/ 136 h 59165"/>
                  <a:gd name="connsiteX4" fmla="*/ 15072 w 47650"/>
                  <a:gd name="connsiteY4" fmla="*/ 136 h 59165"/>
                  <a:gd name="connsiteX5" fmla="*/ 15072 w 47650"/>
                  <a:gd name="connsiteY5" fmla="*/ 136 h 59165"/>
                  <a:gd name="connsiteX6" fmla="*/ 15072 w 47650"/>
                  <a:gd name="connsiteY6" fmla="*/ 136 h 59165"/>
                  <a:gd name="connsiteX7" fmla="*/ 9922 w 47650"/>
                  <a:gd name="connsiteY7" fmla="*/ 1518 h 59165"/>
                  <a:gd name="connsiteX8" fmla="*/ 0 w 47650"/>
                  <a:gd name="connsiteY8" fmla="*/ 7295 h 59165"/>
                  <a:gd name="connsiteX9" fmla="*/ 15072 w 47650"/>
                  <a:gd name="connsiteY9" fmla="*/ 8802 h 59165"/>
                  <a:gd name="connsiteX10" fmla="*/ 30017 w 47650"/>
                  <a:gd name="connsiteY10" fmla="*/ 24627 h 59165"/>
                  <a:gd name="connsiteX11" fmla="*/ 29892 w 47650"/>
                  <a:gd name="connsiteY11" fmla="*/ 59166 h 59165"/>
                  <a:gd name="connsiteX12" fmla="*/ 39813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29" y="10937"/>
                      <a:pt x="32780" y="5662"/>
                      <a:pt x="27631" y="2773"/>
                    </a:cubicBezTo>
                    <a:cubicBezTo>
                      <a:pt x="24365" y="890"/>
                      <a:pt x="21226" y="-115"/>
                      <a:pt x="18211" y="11"/>
                    </a:cubicBezTo>
                    <a:cubicBezTo>
                      <a:pt x="17206" y="11"/>
                      <a:pt x="16201" y="11"/>
                      <a:pt x="15072" y="136"/>
                    </a:cubicBezTo>
                    <a:cubicBezTo>
                      <a:pt x="15072" y="136"/>
                      <a:pt x="15072" y="136"/>
                      <a:pt x="15072" y="136"/>
                    </a:cubicBezTo>
                    <a:lnTo>
                      <a:pt x="15072" y="136"/>
                    </a:lnTo>
                    <a:lnTo>
                      <a:pt x="15072" y="136"/>
                    </a:lnTo>
                    <a:cubicBezTo>
                      <a:pt x="13187" y="136"/>
                      <a:pt x="11429" y="638"/>
                      <a:pt x="9922" y="1518"/>
                    </a:cubicBezTo>
                    <a:lnTo>
                      <a:pt x="0" y="7295"/>
                    </a:lnTo>
                    <a:cubicBezTo>
                      <a:pt x="4144" y="4909"/>
                      <a:pt x="9670" y="5662"/>
                      <a:pt x="15072" y="8802"/>
                    </a:cubicBezTo>
                    <a:cubicBezTo>
                      <a:pt x="20472" y="11942"/>
                      <a:pt x="25998" y="17468"/>
                      <a:pt x="30017" y="24627"/>
                    </a:cubicBezTo>
                    <a:cubicBezTo>
                      <a:pt x="38306" y="38945"/>
                      <a:pt x="38306" y="54393"/>
                      <a:pt x="29892" y="59166"/>
                    </a:cubicBezTo>
                    <a:lnTo>
                      <a:pt x="39813" y="53388"/>
                    </a:lnTo>
                    <a:cubicBezTo>
                      <a:pt x="43330" y="51379"/>
                      <a:pt x="45088" y="47360"/>
                      <a:pt x="45340" y="46857"/>
                    </a:cubicBezTo>
                    <a:cubicBezTo>
                      <a:pt x="49359" y="40326"/>
                      <a:pt x="48102"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0" name="Freeform: Shape 599">
                <a:extLst>
                  <a:ext uri="{FF2B5EF4-FFF2-40B4-BE49-F238E27FC236}">
                    <a16:creationId xmlns:a16="http://schemas.microsoft.com/office/drawing/2014/main" id="{C43BFFE8-EA9D-4BDA-BDF3-243175C37716}"/>
                  </a:ext>
                </a:extLst>
              </p:cNvPr>
              <p:cNvSpPr/>
              <p:nvPr/>
            </p:nvSpPr>
            <p:spPr>
              <a:xfrm>
                <a:off x="10261092" y="3310003"/>
                <a:ext cx="42206" cy="54309"/>
              </a:xfrm>
              <a:custGeom>
                <a:avLst/>
                <a:gdLst>
                  <a:gd name="connsiteX0" fmla="*/ 36052 w 42206"/>
                  <a:gd name="connsiteY0" fmla="*/ 18737 h 54309"/>
                  <a:gd name="connsiteX1" fmla="*/ 21107 w 42206"/>
                  <a:gd name="connsiteY1" fmla="*/ 2912 h 54309"/>
                  <a:gd name="connsiteX2" fmla="*/ 6036 w 42206"/>
                  <a:gd name="connsiteY2" fmla="*/ 1405 h 54309"/>
                  <a:gd name="connsiteX3" fmla="*/ 7 w 42206"/>
                  <a:gd name="connsiteY3" fmla="*/ 11076 h 54309"/>
                  <a:gd name="connsiteX4" fmla="*/ 26884 w 42206"/>
                  <a:gd name="connsiteY4" fmla="*/ 54029 h 54309"/>
                  <a:gd name="connsiteX5" fmla="*/ 35928 w 42206"/>
                  <a:gd name="connsiteY5" fmla="*/ 53275 h 54309"/>
                  <a:gd name="connsiteX6" fmla="*/ 36052 w 42206"/>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6" h="54309">
                    <a:moveTo>
                      <a:pt x="36052" y="18737"/>
                    </a:moveTo>
                    <a:cubicBezTo>
                      <a:pt x="31908" y="11578"/>
                      <a:pt x="26508" y="6052"/>
                      <a:pt x="21107" y="2912"/>
                    </a:cubicBezTo>
                    <a:cubicBezTo>
                      <a:pt x="15706" y="-228"/>
                      <a:pt x="10180" y="-982"/>
                      <a:pt x="6036" y="1405"/>
                    </a:cubicBezTo>
                    <a:cubicBezTo>
                      <a:pt x="3272" y="3037"/>
                      <a:pt x="886" y="7182"/>
                      <a:pt x="7" y="11076"/>
                    </a:cubicBezTo>
                    <a:cubicBezTo>
                      <a:pt x="-495" y="13462"/>
                      <a:pt x="26884" y="54029"/>
                      <a:pt x="26884" y="54029"/>
                    </a:cubicBezTo>
                    <a:cubicBezTo>
                      <a:pt x="30024" y="54657"/>
                      <a:pt x="34420" y="54154"/>
                      <a:pt x="35928" y="53275"/>
                    </a:cubicBezTo>
                    <a:cubicBezTo>
                      <a:pt x="44342" y="48377"/>
                      <a:pt x="44216"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1" name="Freeform: Shape 600">
                <a:extLst>
                  <a:ext uri="{FF2B5EF4-FFF2-40B4-BE49-F238E27FC236}">
                    <a16:creationId xmlns:a16="http://schemas.microsoft.com/office/drawing/2014/main" id="{3378F467-1BF7-4438-A0A7-C7185698F96C}"/>
                  </a:ext>
                </a:extLst>
              </p:cNvPr>
              <p:cNvSpPr/>
              <p:nvPr/>
            </p:nvSpPr>
            <p:spPr>
              <a:xfrm>
                <a:off x="10260314" y="3312203"/>
                <a:ext cx="40378" cy="52037"/>
              </a:xfrm>
              <a:custGeom>
                <a:avLst/>
                <a:gdLst>
                  <a:gd name="connsiteX0" fmla="*/ 34444 w 40378"/>
                  <a:gd name="connsiteY0" fmla="*/ 50698 h 52037"/>
                  <a:gd name="connsiteX1" fmla="*/ 5934 w 40378"/>
                  <a:gd name="connsiteY1" fmla="*/ 34245 h 52037"/>
                  <a:gd name="connsiteX2" fmla="*/ 5934 w 40378"/>
                  <a:gd name="connsiteY2" fmla="*/ 1339 h 52037"/>
                  <a:gd name="connsiteX3" fmla="*/ 34444 w 40378"/>
                  <a:gd name="connsiteY3" fmla="*/ 17792 h 52037"/>
                  <a:gd name="connsiteX4" fmla="*/ 34444 w 40378"/>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8" h="52037">
                    <a:moveTo>
                      <a:pt x="34444" y="50698"/>
                    </a:moveTo>
                    <a:cubicBezTo>
                      <a:pt x="26531" y="55220"/>
                      <a:pt x="13847" y="47935"/>
                      <a:pt x="5934" y="34245"/>
                    </a:cubicBezTo>
                    <a:cubicBezTo>
                      <a:pt x="-1978" y="20681"/>
                      <a:pt x="-1978" y="5861"/>
                      <a:pt x="5934" y="1339"/>
                    </a:cubicBezTo>
                    <a:cubicBezTo>
                      <a:pt x="13847" y="-3182"/>
                      <a:pt x="26531" y="4102"/>
                      <a:pt x="34444" y="17792"/>
                    </a:cubicBezTo>
                    <a:cubicBezTo>
                      <a:pt x="42356" y="31482"/>
                      <a:pt x="42356"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02" name="Graphic 4">
              <a:extLst>
                <a:ext uri="{FF2B5EF4-FFF2-40B4-BE49-F238E27FC236}">
                  <a16:creationId xmlns:a16="http://schemas.microsoft.com/office/drawing/2014/main" id="{84FB7ED1-A2DF-40A1-A747-5F7CF3F14040}"/>
                </a:ext>
              </a:extLst>
            </p:cNvPr>
            <p:cNvGrpSpPr/>
            <p:nvPr/>
          </p:nvGrpSpPr>
          <p:grpSpPr>
            <a:xfrm>
              <a:off x="10262492" y="3317615"/>
              <a:ext cx="35671" cy="41188"/>
              <a:chOff x="10262492" y="3317615"/>
              <a:chExt cx="35671" cy="41188"/>
            </a:xfrm>
            <a:solidFill>
              <a:schemeClr val="accent1"/>
            </a:solidFill>
          </p:grpSpPr>
          <p:sp>
            <p:nvSpPr>
              <p:cNvPr id="603" name="Freeform: Shape 602">
                <a:extLst>
                  <a:ext uri="{FF2B5EF4-FFF2-40B4-BE49-F238E27FC236}">
                    <a16:creationId xmlns:a16="http://schemas.microsoft.com/office/drawing/2014/main" id="{82AD6E95-8801-4D99-8182-95D6740BB85F}"/>
                  </a:ext>
                </a:extLst>
              </p:cNvPr>
              <p:cNvSpPr/>
              <p:nvPr/>
            </p:nvSpPr>
            <p:spPr>
              <a:xfrm>
                <a:off x="10262492" y="3317615"/>
                <a:ext cx="35671" cy="41188"/>
              </a:xfrm>
              <a:custGeom>
                <a:avLst/>
                <a:gdLst>
                  <a:gd name="connsiteX0" fmla="*/ 26754 w 35671"/>
                  <a:gd name="connsiteY0" fmla="*/ 15445 h 41188"/>
                  <a:gd name="connsiteX1" fmla="*/ 26753 w 35671"/>
                  <a:gd name="connsiteY1" fmla="*/ 36039 h 41188"/>
                  <a:gd name="connsiteX2" fmla="*/ 8917 w 35671"/>
                  <a:gd name="connsiteY2" fmla="*/ 25744 h 41188"/>
                  <a:gd name="connsiteX3" fmla="*/ 8918 w 35671"/>
                  <a:gd name="connsiteY3" fmla="*/ 5150 h 41188"/>
                  <a:gd name="connsiteX4" fmla="*/ 26754 w 35671"/>
                  <a:gd name="connsiteY4" fmla="*/ 15445 h 4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1" h="41188">
                    <a:moveTo>
                      <a:pt x="26754" y="15445"/>
                    </a:moveTo>
                    <a:cubicBezTo>
                      <a:pt x="31679" y="23975"/>
                      <a:pt x="31679" y="33195"/>
                      <a:pt x="26753" y="36039"/>
                    </a:cubicBezTo>
                    <a:cubicBezTo>
                      <a:pt x="21827" y="38883"/>
                      <a:pt x="13842" y="34273"/>
                      <a:pt x="8917" y="25744"/>
                    </a:cubicBezTo>
                    <a:cubicBezTo>
                      <a:pt x="3992" y="17214"/>
                      <a:pt x="3993" y="7994"/>
                      <a:pt x="8918" y="5150"/>
                    </a:cubicBezTo>
                    <a:cubicBezTo>
                      <a:pt x="13844" y="2306"/>
                      <a:pt x="21830" y="6915"/>
                      <a:pt x="26754" y="15445"/>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4" name="Freeform: Shape 603">
                <a:extLst>
                  <a:ext uri="{FF2B5EF4-FFF2-40B4-BE49-F238E27FC236}">
                    <a16:creationId xmlns:a16="http://schemas.microsoft.com/office/drawing/2014/main" id="{CB717575-0451-413D-ADAA-762275E245D0}"/>
                  </a:ext>
                </a:extLst>
              </p:cNvPr>
              <p:cNvSpPr/>
              <p:nvPr/>
            </p:nvSpPr>
            <p:spPr>
              <a:xfrm>
                <a:off x="10266939" y="3320644"/>
                <a:ext cx="27175" cy="35155"/>
              </a:xfrm>
              <a:custGeom>
                <a:avLst/>
                <a:gdLst>
                  <a:gd name="connsiteX0" fmla="*/ 23172 w 27175"/>
                  <a:gd name="connsiteY0" fmla="*/ 11989 h 35155"/>
                  <a:gd name="connsiteX1" fmla="*/ 3956 w 27175"/>
                  <a:gd name="connsiteY1" fmla="*/ 937 h 35155"/>
                  <a:gd name="connsiteX2" fmla="*/ 3956 w 27175"/>
                  <a:gd name="connsiteY2" fmla="*/ 23167 h 35155"/>
                  <a:gd name="connsiteX3" fmla="*/ 23172 w 27175"/>
                  <a:gd name="connsiteY3" fmla="*/ 34219 h 35155"/>
                  <a:gd name="connsiteX4" fmla="*/ 23172 w 27175"/>
                  <a:gd name="connsiteY4" fmla="*/ 11989 h 35155"/>
                  <a:gd name="connsiteX5" fmla="*/ 24177 w 27175"/>
                  <a:gd name="connsiteY5" fmla="*/ 15631 h 35155"/>
                  <a:gd name="connsiteX6" fmla="*/ 18274 w 27175"/>
                  <a:gd name="connsiteY6" fmla="*/ 14375 h 35155"/>
                  <a:gd name="connsiteX7" fmla="*/ 17018 w 27175"/>
                  <a:gd name="connsiteY7" fmla="*/ 12491 h 35155"/>
                  <a:gd name="connsiteX8" fmla="*/ 17018 w 27175"/>
                  <a:gd name="connsiteY8" fmla="*/ 5332 h 35155"/>
                  <a:gd name="connsiteX9" fmla="*/ 22544 w 27175"/>
                  <a:gd name="connsiteY9" fmla="*/ 12366 h 35155"/>
                  <a:gd name="connsiteX10" fmla="*/ 24177 w 27175"/>
                  <a:gd name="connsiteY10" fmla="*/ 15631 h 35155"/>
                  <a:gd name="connsiteX11" fmla="*/ 4710 w 27175"/>
                  <a:gd name="connsiteY11" fmla="*/ 2193 h 35155"/>
                  <a:gd name="connsiteX12" fmla="*/ 10236 w 27175"/>
                  <a:gd name="connsiteY12" fmla="*/ 1690 h 35155"/>
                  <a:gd name="connsiteX13" fmla="*/ 10236 w 27175"/>
                  <a:gd name="connsiteY13" fmla="*/ 8849 h 35155"/>
                  <a:gd name="connsiteX14" fmla="*/ 8979 w 27175"/>
                  <a:gd name="connsiteY14" fmla="*/ 9226 h 35155"/>
                  <a:gd name="connsiteX15" fmla="*/ 3077 w 27175"/>
                  <a:gd name="connsiteY15" fmla="*/ 3574 h 35155"/>
                  <a:gd name="connsiteX16" fmla="*/ 4710 w 27175"/>
                  <a:gd name="connsiteY16" fmla="*/ 2193 h 35155"/>
                  <a:gd name="connsiteX17" fmla="*/ 942 w 27175"/>
                  <a:gd name="connsiteY17" fmla="*/ 9603 h 35155"/>
                  <a:gd name="connsiteX18" fmla="*/ 6845 w 27175"/>
                  <a:gd name="connsiteY18" fmla="*/ 15254 h 35155"/>
                  <a:gd name="connsiteX19" fmla="*/ 7347 w 27175"/>
                  <a:gd name="connsiteY19" fmla="*/ 17264 h 35155"/>
                  <a:gd name="connsiteX20" fmla="*/ 3705 w 27175"/>
                  <a:gd name="connsiteY20" fmla="*/ 20906 h 35155"/>
                  <a:gd name="connsiteX21" fmla="*/ 942 w 27175"/>
                  <a:gd name="connsiteY21" fmla="*/ 9603 h 35155"/>
                  <a:gd name="connsiteX22" fmla="*/ 9105 w 27175"/>
                  <a:gd name="connsiteY22" fmla="*/ 28693 h 35155"/>
                  <a:gd name="connsiteX23" fmla="*/ 12748 w 27175"/>
                  <a:gd name="connsiteY23" fmla="*/ 25051 h 35155"/>
                  <a:gd name="connsiteX24" fmla="*/ 14381 w 27175"/>
                  <a:gd name="connsiteY24" fmla="*/ 25930 h 35155"/>
                  <a:gd name="connsiteX25" fmla="*/ 18023 w 27175"/>
                  <a:gd name="connsiteY25" fmla="*/ 33843 h 35155"/>
                  <a:gd name="connsiteX26" fmla="*/ 9105 w 27175"/>
                  <a:gd name="connsiteY26" fmla="*/ 28693 h 35155"/>
                  <a:gd name="connsiteX27" fmla="*/ 23423 w 27175"/>
                  <a:gd name="connsiteY27" fmla="*/ 32335 h 35155"/>
                  <a:gd name="connsiteX28" fmla="*/ 19781 w 27175"/>
                  <a:gd name="connsiteY28" fmla="*/ 24423 h 35155"/>
                  <a:gd name="connsiteX29" fmla="*/ 20283 w 27175"/>
                  <a:gd name="connsiteY29" fmla="*/ 22916 h 35155"/>
                  <a:gd name="connsiteX30" fmla="*/ 26186 w 27175"/>
                  <a:gd name="connsiteY30" fmla="*/ 24046 h 35155"/>
                  <a:gd name="connsiteX31" fmla="*/ 23423 w 27175"/>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75" h="35155">
                    <a:moveTo>
                      <a:pt x="23172" y="11989"/>
                    </a:moveTo>
                    <a:cubicBezTo>
                      <a:pt x="17897" y="2821"/>
                      <a:pt x="9231" y="-2203"/>
                      <a:pt x="3956" y="937"/>
                    </a:cubicBezTo>
                    <a:cubicBezTo>
                      <a:pt x="-1319" y="3951"/>
                      <a:pt x="-1319" y="13999"/>
                      <a:pt x="3956" y="23167"/>
                    </a:cubicBezTo>
                    <a:cubicBezTo>
                      <a:pt x="9231" y="32335"/>
                      <a:pt x="17897" y="37359"/>
                      <a:pt x="23172" y="34219"/>
                    </a:cubicBezTo>
                    <a:cubicBezTo>
                      <a:pt x="28447" y="31079"/>
                      <a:pt x="28572" y="21283"/>
                      <a:pt x="23172" y="11989"/>
                    </a:cubicBezTo>
                    <a:close/>
                    <a:moveTo>
                      <a:pt x="24177" y="15631"/>
                    </a:moveTo>
                    <a:lnTo>
                      <a:pt x="18274" y="14375"/>
                    </a:lnTo>
                    <a:cubicBezTo>
                      <a:pt x="17897" y="13747"/>
                      <a:pt x="17395" y="13119"/>
                      <a:pt x="17018" y="12491"/>
                    </a:cubicBezTo>
                    <a:lnTo>
                      <a:pt x="17018" y="5332"/>
                    </a:lnTo>
                    <a:cubicBezTo>
                      <a:pt x="19028" y="7216"/>
                      <a:pt x="21037" y="9477"/>
                      <a:pt x="22544" y="12366"/>
                    </a:cubicBezTo>
                    <a:cubicBezTo>
                      <a:pt x="23172" y="13496"/>
                      <a:pt x="23675" y="14626"/>
                      <a:pt x="24177" y="15631"/>
                    </a:cubicBezTo>
                    <a:close/>
                    <a:moveTo>
                      <a:pt x="4710" y="2193"/>
                    </a:moveTo>
                    <a:cubicBezTo>
                      <a:pt x="6342" y="1313"/>
                      <a:pt x="8226" y="1188"/>
                      <a:pt x="10236" y="1690"/>
                    </a:cubicBezTo>
                    <a:lnTo>
                      <a:pt x="10236" y="8849"/>
                    </a:lnTo>
                    <a:cubicBezTo>
                      <a:pt x="9733" y="8849"/>
                      <a:pt x="9357" y="8975"/>
                      <a:pt x="8979" y="9226"/>
                    </a:cubicBezTo>
                    <a:lnTo>
                      <a:pt x="3077" y="3574"/>
                    </a:lnTo>
                    <a:cubicBezTo>
                      <a:pt x="3579" y="2946"/>
                      <a:pt x="4082" y="2444"/>
                      <a:pt x="4710" y="2193"/>
                    </a:cubicBezTo>
                    <a:close/>
                    <a:moveTo>
                      <a:pt x="942" y="9603"/>
                    </a:moveTo>
                    <a:lnTo>
                      <a:pt x="6845" y="15254"/>
                    </a:lnTo>
                    <a:cubicBezTo>
                      <a:pt x="6970" y="15882"/>
                      <a:pt x="7096" y="16636"/>
                      <a:pt x="7347" y="17264"/>
                    </a:cubicBezTo>
                    <a:lnTo>
                      <a:pt x="3705" y="20906"/>
                    </a:lnTo>
                    <a:cubicBezTo>
                      <a:pt x="1821" y="17013"/>
                      <a:pt x="816" y="12994"/>
                      <a:pt x="942" y="9603"/>
                    </a:cubicBezTo>
                    <a:close/>
                    <a:moveTo>
                      <a:pt x="9105" y="28693"/>
                    </a:moveTo>
                    <a:lnTo>
                      <a:pt x="12748" y="25051"/>
                    </a:lnTo>
                    <a:cubicBezTo>
                      <a:pt x="13250" y="25427"/>
                      <a:pt x="13878" y="25804"/>
                      <a:pt x="14381" y="25930"/>
                    </a:cubicBezTo>
                    <a:lnTo>
                      <a:pt x="18023" y="33843"/>
                    </a:lnTo>
                    <a:cubicBezTo>
                      <a:pt x="15134" y="33340"/>
                      <a:pt x="11994" y="31582"/>
                      <a:pt x="9105" y="28693"/>
                    </a:cubicBezTo>
                    <a:close/>
                    <a:moveTo>
                      <a:pt x="23423" y="32335"/>
                    </a:moveTo>
                    <a:lnTo>
                      <a:pt x="19781" y="24423"/>
                    </a:lnTo>
                    <a:cubicBezTo>
                      <a:pt x="20032" y="24046"/>
                      <a:pt x="20158" y="23544"/>
                      <a:pt x="20283" y="22916"/>
                    </a:cubicBezTo>
                    <a:lnTo>
                      <a:pt x="26186" y="24046"/>
                    </a:lnTo>
                    <a:cubicBezTo>
                      <a:pt x="26312" y="27688"/>
                      <a:pt x="25432" y="30703"/>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05" name="Graphic 4">
                <a:extLst>
                  <a:ext uri="{FF2B5EF4-FFF2-40B4-BE49-F238E27FC236}">
                    <a16:creationId xmlns:a16="http://schemas.microsoft.com/office/drawing/2014/main" id="{84FB7ED1-A2DF-40A1-A747-5F7CF3F14040}"/>
                  </a:ext>
                </a:extLst>
              </p:cNvPr>
              <p:cNvGrpSpPr/>
              <p:nvPr/>
            </p:nvGrpSpPr>
            <p:grpSpPr>
              <a:xfrm>
                <a:off x="10267869" y="3322334"/>
                <a:ext cx="23874" cy="32026"/>
                <a:chOff x="10267869" y="3322334"/>
                <a:chExt cx="23874" cy="32026"/>
              </a:xfrm>
              <a:solidFill>
                <a:srgbClr val="ADAA99"/>
              </a:solidFill>
            </p:grpSpPr>
            <p:sp>
              <p:nvSpPr>
                <p:cNvPr id="606" name="Freeform: Shape 605">
                  <a:extLst>
                    <a:ext uri="{FF2B5EF4-FFF2-40B4-BE49-F238E27FC236}">
                      <a16:creationId xmlns:a16="http://schemas.microsoft.com/office/drawing/2014/main" id="{5867C9FB-C59A-4DC5-894A-32B68EBA609B}"/>
                    </a:ext>
                  </a:extLst>
                </p:cNvPr>
                <p:cNvSpPr/>
                <p:nvPr/>
              </p:nvSpPr>
              <p:spPr>
                <a:xfrm>
                  <a:off x="10283831" y="3326102"/>
                  <a:ext cx="7158" cy="10298"/>
                </a:xfrm>
                <a:custGeom>
                  <a:avLst/>
                  <a:gdLst>
                    <a:gd name="connsiteX0" fmla="*/ 1759 w 7158"/>
                    <a:gd name="connsiteY0" fmla="*/ 6154 h 10298"/>
                    <a:gd name="connsiteX1" fmla="*/ 1759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9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9" y="6154"/>
                      </a:moveTo>
                      <a:lnTo>
                        <a:pt x="1759" y="1758"/>
                      </a:lnTo>
                      <a:cubicBezTo>
                        <a:pt x="1131" y="1130"/>
                        <a:pt x="629" y="502"/>
                        <a:pt x="0" y="0"/>
                      </a:cubicBezTo>
                      <a:lnTo>
                        <a:pt x="0" y="7159"/>
                      </a:lnTo>
                      <a:cubicBezTo>
                        <a:pt x="503" y="7661"/>
                        <a:pt x="879" y="8289"/>
                        <a:pt x="1256" y="9043"/>
                      </a:cubicBezTo>
                      <a:lnTo>
                        <a:pt x="7159" y="10299"/>
                      </a:lnTo>
                      <a:cubicBezTo>
                        <a:pt x="6908" y="9796"/>
                        <a:pt x="6657" y="9294"/>
                        <a:pt x="6405" y="8792"/>
                      </a:cubicBezTo>
                      <a:lnTo>
                        <a:pt x="3014" y="8038"/>
                      </a:lnTo>
                      <a:cubicBezTo>
                        <a:pt x="2638" y="7285"/>
                        <a:pt x="2261" y="6782"/>
                        <a:pt x="1759"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7" name="Freeform: Shape 606">
                  <a:extLst>
                    <a:ext uri="{FF2B5EF4-FFF2-40B4-BE49-F238E27FC236}">
                      <a16:creationId xmlns:a16="http://schemas.microsoft.com/office/drawing/2014/main" id="{E34F5EB6-7F8E-4785-9CD2-0F17BF2E84DA}"/>
                    </a:ext>
                  </a:extLst>
                </p:cNvPr>
                <p:cNvSpPr/>
                <p:nvPr/>
              </p:nvSpPr>
              <p:spPr>
                <a:xfrm>
                  <a:off x="10286720" y="3343685"/>
                  <a:ext cx="5023" cy="9419"/>
                </a:xfrm>
                <a:custGeom>
                  <a:avLst/>
                  <a:gdLst>
                    <a:gd name="connsiteX0" fmla="*/ 1883 w 5023"/>
                    <a:gd name="connsiteY0" fmla="*/ 251 h 9419"/>
                    <a:gd name="connsiteX1" fmla="*/ 502 w 5023"/>
                    <a:gd name="connsiteY1" fmla="*/ 0 h 9419"/>
                    <a:gd name="connsiteX2" fmla="*/ 0 w 5023"/>
                    <a:gd name="connsiteY2" fmla="*/ 1507 h 9419"/>
                    <a:gd name="connsiteX3" fmla="*/ 3642 w 5023"/>
                    <a:gd name="connsiteY3" fmla="*/ 9420 h 9419"/>
                    <a:gd name="connsiteX4" fmla="*/ 5023 w 5023"/>
                    <a:gd name="connsiteY4" fmla="*/ 7661 h 9419"/>
                    <a:gd name="connsiteX5" fmla="*/ 1758 w 5023"/>
                    <a:gd name="connsiteY5" fmla="*/ 502 h 9419"/>
                    <a:gd name="connsiteX6" fmla="*/ 1883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3" y="251"/>
                      </a:moveTo>
                      <a:lnTo>
                        <a:pt x="502" y="0"/>
                      </a:lnTo>
                      <a:cubicBezTo>
                        <a:pt x="376" y="502"/>
                        <a:pt x="251" y="1005"/>
                        <a:pt x="0" y="1507"/>
                      </a:cubicBezTo>
                      <a:lnTo>
                        <a:pt x="3642" y="9420"/>
                      </a:lnTo>
                      <a:cubicBezTo>
                        <a:pt x="4144" y="8917"/>
                        <a:pt x="4647" y="8415"/>
                        <a:pt x="5023" y="7661"/>
                      </a:cubicBezTo>
                      <a:lnTo>
                        <a:pt x="1758" y="502"/>
                      </a:lnTo>
                      <a:cubicBezTo>
                        <a:pt x="1758" y="377"/>
                        <a:pt x="1883" y="251"/>
                        <a:pt x="1883"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8" name="Freeform: Shape 607">
                  <a:extLst>
                    <a:ext uri="{FF2B5EF4-FFF2-40B4-BE49-F238E27FC236}">
                      <a16:creationId xmlns:a16="http://schemas.microsoft.com/office/drawing/2014/main" id="{673E4392-8D56-486C-8FA7-C7C7F6DCD1EF}"/>
                    </a:ext>
                  </a:extLst>
                </p:cNvPr>
                <p:cNvSpPr/>
                <p:nvPr/>
              </p:nvSpPr>
              <p:spPr>
                <a:xfrm>
                  <a:off x="10267869" y="3330247"/>
                  <a:ext cx="4281" cy="11303"/>
                </a:xfrm>
                <a:custGeom>
                  <a:avLst/>
                  <a:gdLst>
                    <a:gd name="connsiteX0" fmla="*/ 12 w 4281"/>
                    <a:gd name="connsiteY0" fmla="*/ 0 h 11303"/>
                    <a:gd name="connsiteX1" fmla="*/ 2774 w 4281"/>
                    <a:gd name="connsiteY1" fmla="*/ 11303 h 11303"/>
                    <a:gd name="connsiteX2" fmla="*/ 4282 w 4281"/>
                    <a:gd name="connsiteY2" fmla="*/ 9796 h 11303"/>
                    <a:gd name="connsiteX3" fmla="*/ 1895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4" y="11303"/>
                      </a:cubicBezTo>
                      <a:lnTo>
                        <a:pt x="4282" y="9796"/>
                      </a:lnTo>
                      <a:cubicBezTo>
                        <a:pt x="3026" y="7033"/>
                        <a:pt x="2147" y="4270"/>
                        <a:pt x="1895"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9" name="Freeform: Shape 608">
                  <a:extLst>
                    <a:ext uri="{FF2B5EF4-FFF2-40B4-BE49-F238E27FC236}">
                      <a16:creationId xmlns:a16="http://schemas.microsoft.com/office/drawing/2014/main" id="{2BFF94F1-3106-4D80-B469-EBE56888891C}"/>
                    </a:ext>
                  </a:extLst>
                </p:cNvPr>
                <p:cNvSpPr/>
                <p:nvPr/>
              </p:nvSpPr>
              <p:spPr>
                <a:xfrm>
                  <a:off x="10276044" y="3345569"/>
                  <a:ext cx="8917" cy="8791"/>
                </a:xfrm>
                <a:custGeom>
                  <a:avLst/>
                  <a:gdLst>
                    <a:gd name="connsiteX0" fmla="*/ 1759 w 8917"/>
                    <a:gd name="connsiteY0" fmla="*/ 2638 h 8791"/>
                    <a:gd name="connsiteX1" fmla="*/ 4145 w 8917"/>
                    <a:gd name="connsiteY1" fmla="*/ 251 h 8791"/>
                    <a:gd name="connsiteX2" fmla="*/ 3643 w 8917"/>
                    <a:gd name="connsiteY2" fmla="*/ 0 h 8791"/>
                    <a:gd name="connsiteX3" fmla="*/ 0 w 8917"/>
                    <a:gd name="connsiteY3" fmla="*/ 3642 h 8791"/>
                    <a:gd name="connsiteX4" fmla="*/ 8918 w 8917"/>
                    <a:gd name="connsiteY4" fmla="*/ 8792 h 8791"/>
                    <a:gd name="connsiteX5" fmla="*/ 8164 w 8917"/>
                    <a:gd name="connsiteY5" fmla="*/ 7033 h 8791"/>
                    <a:gd name="connsiteX6" fmla="*/ 1759 w 8917"/>
                    <a:gd name="connsiteY6" fmla="*/ 2638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8"/>
                      </a:moveTo>
                      <a:lnTo>
                        <a:pt x="4145" y="251"/>
                      </a:lnTo>
                      <a:cubicBezTo>
                        <a:pt x="4019" y="126"/>
                        <a:pt x="3893" y="0"/>
                        <a:pt x="3643" y="0"/>
                      </a:cubicBezTo>
                      <a:lnTo>
                        <a:pt x="0" y="3642"/>
                      </a:lnTo>
                      <a:cubicBezTo>
                        <a:pt x="2889" y="6531"/>
                        <a:pt x="6029" y="8415"/>
                        <a:pt x="8918" y="8792"/>
                      </a:cubicBezTo>
                      <a:lnTo>
                        <a:pt x="8164" y="7033"/>
                      </a:lnTo>
                      <a:cubicBezTo>
                        <a:pt x="6029" y="6280"/>
                        <a:pt x="3768" y="4773"/>
                        <a:pt x="1759" y="2638"/>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0" name="Freeform: Shape 609">
                  <a:extLst>
                    <a:ext uri="{FF2B5EF4-FFF2-40B4-BE49-F238E27FC236}">
                      <a16:creationId xmlns:a16="http://schemas.microsoft.com/office/drawing/2014/main" id="{F8C3989D-FFEB-444F-8A5B-AFE23B72490C}"/>
                    </a:ext>
                  </a:extLst>
                </p:cNvPr>
                <p:cNvSpPr/>
                <p:nvPr/>
              </p:nvSpPr>
              <p:spPr>
                <a:xfrm>
                  <a:off x="10270016" y="3322334"/>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9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9" y="754"/>
                      </a:lnTo>
                      <a:cubicBezTo>
                        <a:pt x="2009"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11" name="Graphic 4">
                <a:extLst>
                  <a:ext uri="{FF2B5EF4-FFF2-40B4-BE49-F238E27FC236}">
                    <a16:creationId xmlns:a16="http://schemas.microsoft.com/office/drawing/2014/main" id="{84FB7ED1-A2DF-40A1-A747-5F7CF3F14040}"/>
                  </a:ext>
                </a:extLst>
              </p:cNvPr>
              <p:cNvGrpSpPr/>
              <p:nvPr/>
            </p:nvGrpSpPr>
            <p:grpSpPr>
              <a:xfrm>
                <a:off x="10275567" y="3331926"/>
                <a:ext cx="10022" cy="13199"/>
                <a:chOff x="10275567" y="3331926"/>
                <a:chExt cx="10022" cy="13199"/>
              </a:xfrm>
              <a:solidFill>
                <a:srgbClr val="222222"/>
              </a:solidFill>
            </p:grpSpPr>
            <p:sp>
              <p:nvSpPr>
                <p:cNvPr id="612" name="Freeform: Shape 611">
                  <a:extLst>
                    <a:ext uri="{FF2B5EF4-FFF2-40B4-BE49-F238E27FC236}">
                      <a16:creationId xmlns:a16="http://schemas.microsoft.com/office/drawing/2014/main" id="{40177D80-3F00-48AE-9391-BE4C7FFA0CB7}"/>
                    </a:ext>
                  </a:extLst>
                </p:cNvPr>
                <p:cNvSpPr/>
                <p:nvPr/>
              </p:nvSpPr>
              <p:spPr>
                <a:xfrm>
                  <a:off x="10278839" y="3336040"/>
                  <a:ext cx="3376" cy="4363"/>
                </a:xfrm>
                <a:custGeom>
                  <a:avLst/>
                  <a:gdLst>
                    <a:gd name="connsiteX0" fmla="*/ 2857 w 3376"/>
                    <a:gd name="connsiteY0" fmla="*/ 4254 h 4363"/>
                    <a:gd name="connsiteX1" fmla="*/ 471 w 3376"/>
                    <a:gd name="connsiteY1" fmla="*/ 2873 h 4363"/>
                    <a:gd name="connsiteX2" fmla="*/ 471 w 3376"/>
                    <a:gd name="connsiteY2" fmla="*/ 110 h 4363"/>
                    <a:gd name="connsiteX3" fmla="*/ 2857 w 3376"/>
                    <a:gd name="connsiteY3" fmla="*/ 1491 h 4363"/>
                    <a:gd name="connsiteX4" fmla="*/ 2857 w 3376"/>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6"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611"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3" name="Freeform: Shape 612">
                  <a:extLst>
                    <a:ext uri="{FF2B5EF4-FFF2-40B4-BE49-F238E27FC236}">
                      <a16:creationId xmlns:a16="http://schemas.microsoft.com/office/drawing/2014/main" id="{1A14B857-6F24-4558-AB51-6A5E82DEC26A}"/>
                    </a:ext>
                  </a:extLst>
                </p:cNvPr>
                <p:cNvSpPr/>
                <p:nvPr/>
              </p:nvSpPr>
              <p:spPr>
                <a:xfrm>
                  <a:off x="10279530" y="3331926"/>
                  <a:ext cx="1946" cy="2543"/>
                </a:xfrm>
                <a:custGeom>
                  <a:avLst/>
                  <a:gdLst>
                    <a:gd name="connsiteX0" fmla="*/ 1664 w 1946"/>
                    <a:gd name="connsiteY0" fmla="*/ 2465 h 2543"/>
                    <a:gd name="connsiteX1" fmla="*/ 282 w 1946"/>
                    <a:gd name="connsiteY1" fmla="*/ 1712 h 2543"/>
                    <a:gd name="connsiteX2" fmla="*/ 282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40"/>
                        <a:pt x="282" y="1712"/>
                      </a:cubicBezTo>
                      <a:cubicBezTo>
                        <a:pt x="-94" y="1083"/>
                        <a:pt x="-94" y="330"/>
                        <a:pt x="282"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4" name="Freeform: Shape 613">
                  <a:extLst>
                    <a:ext uri="{FF2B5EF4-FFF2-40B4-BE49-F238E27FC236}">
                      <a16:creationId xmlns:a16="http://schemas.microsoft.com/office/drawing/2014/main" id="{8311DD3E-5ED1-4474-8341-9D0AFF2EA7A2}"/>
                    </a:ext>
                  </a:extLst>
                </p:cNvPr>
                <p:cNvSpPr/>
                <p:nvPr/>
              </p:nvSpPr>
              <p:spPr>
                <a:xfrm>
                  <a:off x="10277025" y="3339589"/>
                  <a:ext cx="1932" cy="2613"/>
                </a:xfrm>
                <a:custGeom>
                  <a:avLst/>
                  <a:gdLst>
                    <a:gd name="connsiteX0" fmla="*/ 778 w 1932"/>
                    <a:gd name="connsiteY0" fmla="*/ 78 h 2613"/>
                    <a:gd name="connsiteX1" fmla="*/ 1909 w 1932"/>
                    <a:gd name="connsiteY1" fmla="*/ 1710 h 2613"/>
                    <a:gd name="connsiteX2" fmla="*/ 1155 w 1932"/>
                    <a:gd name="connsiteY2" fmla="*/ 2589 h 2613"/>
                    <a:gd name="connsiteX3" fmla="*/ 24 w 1932"/>
                    <a:gd name="connsiteY3" fmla="*/ 957 h 2613"/>
                    <a:gd name="connsiteX4" fmla="*/ 778 w 1932"/>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13">
                      <a:moveTo>
                        <a:pt x="778" y="78"/>
                      </a:moveTo>
                      <a:cubicBezTo>
                        <a:pt x="1280" y="329"/>
                        <a:pt x="1783" y="957"/>
                        <a:pt x="1909" y="1710"/>
                      </a:cubicBezTo>
                      <a:cubicBezTo>
                        <a:pt x="2034" y="2338"/>
                        <a:pt x="1657" y="2715"/>
                        <a:pt x="1155" y="2589"/>
                      </a:cubicBezTo>
                      <a:cubicBezTo>
                        <a:pt x="652" y="2464"/>
                        <a:pt x="150" y="1710"/>
                        <a:pt x="24" y="957"/>
                      </a:cubicBezTo>
                      <a:cubicBezTo>
                        <a:pt x="-101" y="203"/>
                        <a:pt x="276" y="-174"/>
                        <a:pt x="778"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5" name="Freeform: Shape 614">
                  <a:extLst>
                    <a:ext uri="{FF2B5EF4-FFF2-40B4-BE49-F238E27FC236}">
                      <a16:creationId xmlns:a16="http://schemas.microsoft.com/office/drawing/2014/main" id="{1C8668D8-3511-44A0-B423-4A772F7E1861}"/>
                    </a:ext>
                  </a:extLst>
                </p:cNvPr>
                <p:cNvSpPr/>
                <p:nvPr/>
              </p:nvSpPr>
              <p:spPr>
                <a:xfrm>
                  <a:off x="10282073" y="3342496"/>
                  <a:ext cx="1907" cy="2629"/>
                </a:xfrm>
                <a:custGeom>
                  <a:avLst/>
                  <a:gdLst>
                    <a:gd name="connsiteX0" fmla="*/ 0 w 1907"/>
                    <a:gd name="connsiteY0" fmla="*/ 561 h 2629"/>
                    <a:gd name="connsiteX1" fmla="*/ 1130 w 1907"/>
                    <a:gd name="connsiteY1" fmla="*/ 310 h 2629"/>
                    <a:gd name="connsiteX2" fmla="*/ 1883 w 1907"/>
                    <a:gd name="connsiteY2" fmla="*/ 2068 h 2629"/>
                    <a:gd name="connsiteX3" fmla="*/ 754 w 1907"/>
                    <a:gd name="connsiteY3" fmla="*/ 2320 h 2629"/>
                    <a:gd name="connsiteX4" fmla="*/ 0 w 1907"/>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7" h="2629">
                      <a:moveTo>
                        <a:pt x="0" y="561"/>
                      </a:moveTo>
                      <a:cubicBezTo>
                        <a:pt x="125" y="-67"/>
                        <a:pt x="628" y="-192"/>
                        <a:pt x="1130" y="310"/>
                      </a:cubicBezTo>
                      <a:cubicBezTo>
                        <a:pt x="1632" y="687"/>
                        <a:pt x="2009" y="1566"/>
                        <a:pt x="1883" y="2068"/>
                      </a:cubicBezTo>
                      <a:cubicBezTo>
                        <a:pt x="1758" y="2696"/>
                        <a:pt x="1256" y="2822"/>
                        <a:pt x="754" y="2320"/>
                      </a:cubicBezTo>
                      <a:cubicBezTo>
                        <a:pt x="376" y="1943"/>
                        <a:pt x="0" y="1189"/>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6" name="Freeform: Shape 615">
                  <a:extLst>
                    <a:ext uri="{FF2B5EF4-FFF2-40B4-BE49-F238E27FC236}">
                      <a16:creationId xmlns:a16="http://schemas.microsoft.com/office/drawing/2014/main" id="{413FC206-8DCD-4547-863F-527032A1B172}"/>
                    </a:ext>
                  </a:extLst>
                </p:cNvPr>
                <p:cNvSpPr/>
                <p:nvPr/>
              </p:nvSpPr>
              <p:spPr>
                <a:xfrm>
                  <a:off x="10283706" y="3337814"/>
                  <a:ext cx="1883" cy="2485"/>
                </a:xfrm>
                <a:custGeom>
                  <a:avLst/>
                  <a:gdLst>
                    <a:gd name="connsiteX0" fmla="*/ 503 w 1883"/>
                    <a:gd name="connsiteY0" fmla="*/ 1977 h 2485"/>
                    <a:gd name="connsiteX1" fmla="*/ 125 w 1883"/>
                    <a:gd name="connsiteY1" fmla="*/ 219 h 2485"/>
                    <a:gd name="connsiteX2" fmla="*/ 1382 w 1883"/>
                    <a:gd name="connsiteY2" fmla="*/ 470 h 2485"/>
                    <a:gd name="connsiteX3" fmla="*/ 1758 w 1883"/>
                    <a:gd name="connsiteY3" fmla="*/ 2229 h 2485"/>
                    <a:gd name="connsiteX4" fmla="*/ 503 w 1883"/>
                    <a:gd name="connsiteY4" fmla="*/ 1977 h 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85">
                      <a:moveTo>
                        <a:pt x="503" y="1977"/>
                      </a:moveTo>
                      <a:cubicBezTo>
                        <a:pt x="0" y="1475"/>
                        <a:pt x="-125" y="596"/>
                        <a:pt x="125" y="219"/>
                      </a:cubicBezTo>
                      <a:cubicBezTo>
                        <a:pt x="377" y="-158"/>
                        <a:pt x="1005" y="-32"/>
                        <a:pt x="1382" y="470"/>
                      </a:cubicBezTo>
                      <a:cubicBezTo>
                        <a:pt x="1884" y="973"/>
                        <a:pt x="2010" y="1852"/>
                        <a:pt x="1758" y="2229"/>
                      </a:cubicBezTo>
                      <a:cubicBezTo>
                        <a:pt x="1508" y="2605"/>
                        <a:pt x="1005" y="2605"/>
                        <a:pt x="503"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7" name="Freeform: Shape 616">
                  <a:extLst>
                    <a:ext uri="{FF2B5EF4-FFF2-40B4-BE49-F238E27FC236}">
                      <a16:creationId xmlns:a16="http://schemas.microsoft.com/office/drawing/2014/main" id="{0419FCEC-BC03-427F-8CB6-5C6862A475BE}"/>
                    </a:ext>
                  </a:extLst>
                </p:cNvPr>
                <p:cNvSpPr/>
                <p:nvPr/>
              </p:nvSpPr>
              <p:spPr>
                <a:xfrm>
                  <a:off x="10275567" y="3333010"/>
                  <a:ext cx="1834" cy="2511"/>
                </a:xfrm>
                <a:custGeom>
                  <a:avLst/>
                  <a:gdLst>
                    <a:gd name="connsiteX0" fmla="*/ 1734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4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4" y="1256"/>
                      </a:moveTo>
                      <a:cubicBezTo>
                        <a:pt x="1985" y="2010"/>
                        <a:pt x="1734" y="2512"/>
                        <a:pt x="1357" y="2512"/>
                      </a:cubicBezTo>
                      <a:cubicBezTo>
                        <a:pt x="980" y="2512"/>
                        <a:pt x="227" y="2010"/>
                        <a:pt x="101" y="1256"/>
                      </a:cubicBezTo>
                      <a:cubicBezTo>
                        <a:pt x="-150" y="502"/>
                        <a:pt x="101" y="0"/>
                        <a:pt x="478" y="0"/>
                      </a:cubicBezTo>
                      <a:cubicBezTo>
                        <a:pt x="855" y="0"/>
                        <a:pt x="1483" y="502"/>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618" name="Freeform: Shape 617">
              <a:extLst>
                <a:ext uri="{FF2B5EF4-FFF2-40B4-BE49-F238E27FC236}">
                  <a16:creationId xmlns:a16="http://schemas.microsoft.com/office/drawing/2014/main" id="{FEF9946F-0755-4443-94A2-E268D0DFB768}"/>
                </a:ext>
              </a:extLst>
            </p:cNvPr>
            <p:cNvSpPr/>
            <p:nvPr/>
          </p:nvSpPr>
          <p:spPr>
            <a:xfrm>
              <a:off x="10200437" y="3269701"/>
              <a:ext cx="113160" cy="91191"/>
            </a:xfrm>
            <a:custGeom>
              <a:avLst/>
              <a:gdLst>
                <a:gd name="connsiteX0" fmla="*/ 6656 w 113160"/>
                <a:gd name="connsiteY0" fmla="*/ 8299 h 91191"/>
                <a:gd name="connsiteX1" fmla="*/ 11931 w 113160"/>
                <a:gd name="connsiteY1" fmla="*/ 1517 h 91191"/>
                <a:gd name="connsiteX2" fmla="*/ 27756 w 113160"/>
                <a:gd name="connsiteY2" fmla="*/ 3024 h 91191"/>
                <a:gd name="connsiteX3" fmla="*/ 85906 w 113160"/>
                <a:gd name="connsiteY3" fmla="*/ 36557 h 91191"/>
                <a:gd name="connsiteX4" fmla="*/ 101606 w 113160"/>
                <a:gd name="connsiteY4" fmla="*/ 53136 h 91191"/>
                <a:gd name="connsiteX5" fmla="*/ 106881 w 113160"/>
                <a:gd name="connsiteY5" fmla="*/ 66072 h 91191"/>
                <a:gd name="connsiteX6" fmla="*/ 113160 w 113160"/>
                <a:gd name="connsiteY6" fmla="*/ 91191 h 91191"/>
                <a:gd name="connsiteX7" fmla="*/ 110020 w 113160"/>
                <a:gd name="connsiteY7" fmla="*/ 90689 h 91191"/>
                <a:gd name="connsiteX8" fmla="*/ 103616 w 113160"/>
                <a:gd name="connsiteY8" fmla="*/ 65444 h 91191"/>
                <a:gd name="connsiteX9" fmla="*/ 85655 w 113160"/>
                <a:gd name="connsiteY9" fmla="*/ 40325 h 91191"/>
                <a:gd name="connsiteX10" fmla="*/ 27505 w 113160"/>
                <a:gd name="connsiteY10" fmla="*/ 6792 h 91191"/>
                <a:gd name="connsiteX11" fmla="*/ 9545 w 113160"/>
                <a:gd name="connsiteY11" fmla="*/ 11313 h 91191"/>
                <a:gd name="connsiteX12" fmla="*/ 3140 w 113160"/>
                <a:gd name="connsiteY12" fmla="*/ 29273 h 91191"/>
                <a:gd name="connsiteX13" fmla="*/ 0 w 113160"/>
                <a:gd name="connsiteY13" fmla="*/ 26133 h 91191"/>
                <a:gd name="connsiteX14" fmla="*/ 6656 w 113160"/>
                <a:gd name="connsiteY14" fmla="*/ 8299 h 91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160" h="91191">
                  <a:moveTo>
                    <a:pt x="6656" y="8299"/>
                  </a:moveTo>
                  <a:cubicBezTo>
                    <a:pt x="7787" y="5159"/>
                    <a:pt x="9545" y="2898"/>
                    <a:pt x="11931" y="1517"/>
                  </a:cubicBezTo>
                  <a:cubicBezTo>
                    <a:pt x="16076" y="-870"/>
                    <a:pt x="21602" y="-493"/>
                    <a:pt x="27756" y="3024"/>
                  </a:cubicBezTo>
                  <a:lnTo>
                    <a:pt x="85906" y="36557"/>
                  </a:lnTo>
                  <a:cubicBezTo>
                    <a:pt x="91935" y="40074"/>
                    <a:pt x="97587" y="46103"/>
                    <a:pt x="101606" y="53136"/>
                  </a:cubicBezTo>
                  <a:cubicBezTo>
                    <a:pt x="103992" y="57281"/>
                    <a:pt x="105751" y="61676"/>
                    <a:pt x="106881" y="66072"/>
                  </a:cubicBezTo>
                  <a:lnTo>
                    <a:pt x="113160" y="91191"/>
                  </a:lnTo>
                  <a:lnTo>
                    <a:pt x="110020" y="90689"/>
                  </a:lnTo>
                  <a:lnTo>
                    <a:pt x="103616" y="65444"/>
                  </a:lnTo>
                  <a:cubicBezTo>
                    <a:pt x="100978" y="55020"/>
                    <a:pt x="93819" y="44972"/>
                    <a:pt x="85655" y="40325"/>
                  </a:cubicBezTo>
                  <a:lnTo>
                    <a:pt x="27505" y="6792"/>
                  </a:lnTo>
                  <a:cubicBezTo>
                    <a:pt x="19341" y="2145"/>
                    <a:pt x="12182" y="3903"/>
                    <a:pt x="9545" y="11313"/>
                  </a:cubicBezTo>
                  <a:lnTo>
                    <a:pt x="3140" y="29273"/>
                  </a:lnTo>
                  <a:lnTo>
                    <a:pt x="0" y="26133"/>
                  </a:lnTo>
                  <a:lnTo>
                    <a:pt x="6656" y="829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9" name="Freeform: Shape 618">
              <a:extLst>
                <a:ext uri="{FF2B5EF4-FFF2-40B4-BE49-F238E27FC236}">
                  <a16:creationId xmlns:a16="http://schemas.microsoft.com/office/drawing/2014/main" id="{3595AD23-7358-49CD-AC55-C727763401E4}"/>
                </a:ext>
              </a:extLst>
            </p:cNvPr>
            <p:cNvSpPr/>
            <p:nvPr/>
          </p:nvSpPr>
          <p:spPr>
            <a:xfrm>
              <a:off x="10212243" y="3255131"/>
              <a:ext cx="114918" cy="67705"/>
            </a:xfrm>
            <a:custGeom>
              <a:avLst/>
              <a:gdLst>
                <a:gd name="connsiteX0" fmla="*/ 25244 w 114918"/>
                <a:gd name="connsiteY0" fmla="*/ 1517 h 67705"/>
                <a:gd name="connsiteX1" fmla="*/ 41069 w 114918"/>
                <a:gd name="connsiteY1" fmla="*/ 3024 h 67705"/>
                <a:gd name="connsiteX2" fmla="*/ 99219 w 114918"/>
                <a:gd name="connsiteY2" fmla="*/ 36558 h 67705"/>
                <a:gd name="connsiteX3" fmla="*/ 114919 w 114918"/>
                <a:gd name="connsiteY3" fmla="*/ 53136 h 67705"/>
                <a:gd name="connsiteX4" fmla="*/ 89674 w 114918"/>
                <a:gd name="connsiteY4" fmla="*/ 67705 h 67705"/>
                <a:gd name="connsiteX5" fmla="*/ 73975 w 114918"/>
                <a:gd name="connsiteY5" fmla="*/ 51127 h 67705"/>
                <a:gd name="connsiteX6" fmla="*/ 15824 w 114918"/>
                <a:gd name="connsiteY6" fmla="*/ 17593 h 67705"/>
                <a:gd name="connsiteX7" fmla="*/ 0 w 114918"/>
                <a:gd name="connsiteY7" fmla="*/ 16086 h 67705"/>
                <a:gd name="connsiteX8" fmla="*/ 25244 w 114918"/>
                <a:gd name="connsiteY8" fmla="*/ 1517 h 67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918" h="67705">
                  <a:moveTo>
                    <a:pt x="25244" y="1517"/>
                  </a:moveTo>
                  <a:cubicBezTo>
                    <a:pt x="29389" y="-870"/>
                    <a:pt x="34915" y="-493"/>
                    <a:pt x="41069" y="3024"/>
                  </a:cubicBezTo>
                  <a:lnTo>
                    <a:pt x="99219" y="36558"/>
                  </a:lnTo>
                  <a:cubicBezTo>
                    <a:pt x="105248" y="40074"/>
                    <a:pt x="110900" y="46103"/>
                    <a:pt x="114919" y="53136"/>
                  </a:cubicBezTo>
                  <a:lnTo>
                    <a:pt x="89674" y="67705"/>
                  </a:lnTo>
                  <a:cubicBezTo>
                    <a:pt x="85655" y="60672"/>
                    <a:pt x="80004" y="54643"/>
                    <a:pt x="73975" y="51127"/>
                  </a:cubicBezTo>
                  <a:lnTo>
                    <a:pt x="15824" y="17593"/>
                  </a:lnTo>
                  <a:cubicBezTo>
                    <a:pt x="9796" y="14076"/>
                    <a:pt x="4144" y="13699"/>
                    <a:pt x="0" y="16086"/>
                  </a:cubicBezTo>
                  <a:cubicBezTo>
                    <a:pt x="125" y="16086"/>
                    <a:pt x="22983" y="2898"/>
                    <a:pt x="25244" y="1517"/>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0" name="Freeform: Shape 619">
              <a:extLst>
                <a:ext uri="{FF2B5EF4-FFF2-40B4-BE49-F238E27FC236}">
                  <a16:creationId xmlns:a16="http://schemas.microsoft.com/office/drawing/2014/main" id="{8FE98D97-6BC8-4C9B-923E-5C72E76EC383}"/>
                </a:ext>
              </a:extLst>
            </p:cNvPr>
            <p:cNvSpPr/>
            <p:nvPr/>
          </p:nvSpPr>
          <p:spPr>
            <a:xfrm>
              <a:off x="10301917" y="3308393"/>
              <a:ext cx="36799" cy="52624"/>
            </a:xfrm>
            <a:custGeom>
              <a:avLst/>
              <a:gdLst>
                <a:gd name="connsiteX0" fmla="*/ 30519 w 36799"/>
                <a:gd name="connsiteY0" fmla="*/ 12936 h 52624"/>
                <a:gd name="connsiteX1" fmla="*/ 25245 w 36799"/>
                <a:gd name="connsiteY1" fmla="*/ 0 h 52624"/>
                <a:gd name="connsiteX2" fmla="*/ 0 w 36799"/>
                <a:gd name="connsiteY2" fmla="*/ 14569 h 52624"/>
                <a:gd name="connsiteX3" fmla="*/ 5276 w 36799"/>
                <a:gd name="connsiteY3" fmla="*/ 27505 h 52624"/>
                <a:gd name="connsiteX4" fmla="*/ 11555 w 36799"/>
                <a:gd name="connsiteY4" fmla="*/ 52624 h 52624"/>
                <a:gd name="connsiteX5" fmla="*/ 36799 w 36799"/>
                <a:gd name="connsiteY5" fmla="*/ 38055 h 52624"/>
                <a:gd name="connsiteX6" fmla="*/ 30519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19" y="12936"/>
                  </a:moveTo>
                  <a:cubicBezTo>
                    <a:pt x="29390" y="8415"/>
                    <a:pt x="27505" y="4019"/>
                    <a:pt x="25245" y="0"/>
                  </a:cubicBezTo>
                  <a:lnTo>
                    <a:pt x="0" y="14569"/>
                  </a:lnTo>
                  <a:cubicBezTo>
                    <a:pt x="2386" y="18714"/>
                    <a:pt x="4145" y="23110"/>
                    <a:pt x="5276" y="27505"/>
                  </a:cubicBezTo>
                  <a:lnTo>
                    <a:pt x="11555" y="52624"/>
                  </a:lnTo>
                  <a:lnTo>
                    <a:pt x="36799" y="38055"/>
                  </a:lnTo>
                  <a:lnTo>
                    <a:pt x="30519"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1" name="Freeform: Shape 620">
              <a:extLst>
                <a:ext uri="{FF2B5EF4-FFF2-40B4-BE49-F238E27FC236}">
                  <a16:creationId xmlns:a16="http://schemas.microsoft.com/office/drawing/2014/main" id="{A5E6F8FC-31F2-4A84-9401-88D5C7F4030A}"/>
                </a:ext>
              </a:extLst>
            </p:cNvPr>
            <p:cNvSpPr/>
            <p:nvPr/>
          </p:nvSpPr>
          <p:spPr>
            <a:xfrm>
              <a:off x="10512665" y="3401365"/>
              <a:ext cx="99848" cy="57616"/>
            </a:xfrm>
            <a:custGeom>
              <a:avLst/>
              <a:gdLst>
                <a:gd name="connsiteX0" fmla="*/ 2135 w 99848"/>
                <a:gd name="connsiteY0" fmla="*/ 49076 h 57616"/>
                <a:gd name="connsiteX1" fmla="*/ 84902 w 99848"/>
                <a:gd name="connsiteY1" fmla="*/ 1224 h 57616"/>
                <a:gd name="connsiteX2" fmla="*/ 95075 w 99848"/>
                <a:gd name="connsiteY2" fmla="*/ 1224 h 57616"/>
                <a:gd name="connsiteX3" fmla="*/ 99848 w 99848"/>
                <a:gd name="connsiteY3" fmla="*/ 3988 h 57616"/>
                <a:gd name="connsiteX4" fmla="*/ 94572 w 99848"/>
                <a:gd name="connsiteY4" fmla="*/ 7002 h 57616"/>
                <a:gd name="connsiteX5" fmla="*/ 89926 w 99848"/>
                <a:gd name="connsiteY5" fmla="*/ 4364 h 57616"/>
                <a:gd name="connsiteX6" fmla="*/ 7535 w 99848"/>
                <a:gd name="connsiteY6" fmla="*/ 51965 h 57616"/>
                <a:gd name="connsiteX7" fmla="*/ 12182 w 99848"/>
                <a:gd name="connsiteY7" fmla="*/ 54602 h 57616"/>
                <a:gd name="connsiteX8" fmla="*/ 6908 w 99848"/>
                <a:gd name="connsiteY8" fmla="*/ 57617 h 57616"/>
                <a:gd name="connsiteX9" fmla="*/ 2135 w 99848"/>
                <a:gd name="connsiteY9" fmla="*/ 54853 h 57616"/>
                <a:gd name="connsiteX10" fmla="*/ 0 w 99848"/>
                <a:gd name="connsiteY10" fmla="*/ 51839 h 57616"/>
                <a:gd name="connsiteX11" fmla="*/ 2135 w 99848"/>
                <a:gd name="connsiteY11" fmla="*/ 49076 h 5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848" h="57616">
                  <a:moveTo>
                    <a:pt x="2135" y="49076"/>
                  </a:moveTo>
                  <a:lnTo>
                    <a:pt x="84902" y="1224"/>
                  </a:lnTo>
                  <a:cubicBezTo>
                    <a:pt x="87665" y="-408"/>
                    <a:pt x="92312" y="-408"/>
                    <a:pt x="95075" y="1224"/>
                  </a:cubicBezTo>
                  <a:lnTo>
                    <a:pt x="99848" y="3988"/>
                  </a:lnTo>
                  <a:lnTo>
                    <a:pt x="94572" y="7002"/>
                  </a:lnTo>
                  <a:lnTo>
                    <a:pt x="89926" y="4364"/>
                  </a:lnTo>
                  <a:lnTo>
                    <a:pt x="7535" y="51965"/>
                  </a:lnTo>
                  <a:lnTo>
                    <a:pt x="12182" y="54602"/>
                  </a:lnTo>
                  <a:lnTo>
                    <a:pt x="6908" y="57617"/>
                  </a:lnTo>
                  <a:lnTo>
                    <a:pt x="2135" y="54853"/>
                  </a:lnTo>
                  <a:cubicBezTo>
                    <a:pt x="754" y="54100"/>
                    <a:pt x="0" y="52970"/>
                    <a:pt x="0" y="51839"/>
                  </a:cubicBezTo>
                  <a:cubicBezTo>
                    <a:pt x="0" y="50960"/>
                    <a:pt x="754" y="49830"/>
                    <a:pt x="2135" y="4907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2" name="Freeform: Shape 621">
              <a:extLst>
                <a:ext uri="{FF2B5EF4-FFF2-40B4-BE49-F238E27FC236}">
                  <a16:creationId xmlns:a16="http://schemas.microsoft.com/office/drawing/2014/main" id="{78F7CD03-D2A2-4C57-B856-01DA2C030346}"/>
                </a:ext>
              </a:extLst>
            </p:cNvPr>
            <p:cNvSpPr/>
            <p:nvPr/>
          </p:nvSpPr>
          <p:spPr>
            <a:xfrm>
              <a:off x="10607238" y="3405352"/>
              <a:ext cx="5275" cy="11554"/>
            </a:xfrm>
            <a:custGeom>
              <a:avLst/>
              <a:gdLst>
                <a:gd name="connsiteX0" fmla="*/ 5276 w 5275"/>
                <a:gd name="connsiteY0" fmla="*/ 0 h 11554"/>
                <a:gd name="connsiteX1" fmla="*/ 5276 w 5275"/>
                <a:gd name="connsiteY1" fmla="*/ 8415 h 11554"/>
                <a:gd name="connsiteX2" fmla="*/ 0 w 5275"/>
                <a:gd name="connsiteY2" fmla="*/ 11555 h 11554"/>
                <a:gd name="connsiteX3" fmla="*/ 0 w 5275"/>
                <a:gd name="connsiteY3" fmla="*/ 3014 h 11554"/>
              </a:gdLst>
              <a:ahLst/>
              <a:cxnLst>
                <a:cxn ang="0">
                  <a:pos x="connsiteX0" y="connsiteY0"/>
                </a:cxn>
                <a:cxn ang="0">
                  <a:pos x="connsiteX1" y="connsiteY1"/>
                </a:cxn>
                <a:cxn ang="0">
                  <a:pos x="connsiteX2" y="connsiteY2"/>
                </a:cxn>
                <a:cxn ang="0">
                  <a:pos x="connsiteX3" y="connsiteY3"/>
                </a:cxn>
              </a:cxnLst>
              <a:rect l="l" t="t" r="r" b="b"/>
              <a:pathLst>
                <a:path w="5275" h="11554">
                  <a:moveTo>
                    <a:pt x="5276" y="0"/>
                  </a:moveTo>
                  <a:lnTo>
                    <a:pt x="5276" y="8415"/>
                  </a:lnTo>
                  <a:lnTo>
                    <a:pt x="0" y="11555"/>
                  </a:lnTo>
                  <a:lnTo>
                    <a:pt x="0" y="3014"/>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3" name="Freeform: Shape 622">
              <a:extLst>
                <a:ext uri="{FF2B5EF4-FFF2-40B4-BE49-F238E27FC236}">
                  <a16:creationId xmlns:a16="http://schemas.microsoft.com/office/drawing/2014/main" id="{50C23753-C3C6-4BEF-B6D7-226CCD43259D}"/>
                </a:ext>
              </a:extLst>
            </p:cNvPr>
            <p:cNvSpPr/>
            <p:nvPr/>
          </p:nvSpPr>
          <p:spPr>
            <a:xfrm>
              <a:off x="10520326" y="3405729"/>
              <a:ext cx="86911" cy="53377"/>
            </a:xfrm>
            <a:custGeom>
              <a:avLst/>
              <a:gdLst>
                <a:gd name="connsiteX0" fmla="*/ 82390 w 86911"/>
                <a:gd name="connsiteY0" fmla="*/ 0 h 53377"/>
                <a:gd name="connsiteX1" fmla="*/ 86911 w 86911"/>
                <a:gd name="connsiteY1" fmla="*/ 2638 h 53377"/>
                <a:gd name="connsiteX2" fmla="*/ 86911 w 86911"/>
                <a:gd name="connsiteY2" fmla="*/ 11178 h 53377"/>
                <a:gd name="connsiteX3" fmla="*/ 82390 w 86911"/>
                <a:gd name="connsiteY3" fmla="*/ 8541 h 53377"/>
                <a:gd name="connsiteX4" fmla="*/ 4521 w 86911"/>
                <a:gd name="connsiteY4" fmla="*/ 53378 h 53377"/>
                <a:gd name="connsiteX5" fmla="*/ 4521 w 86911"/>
                <a:gd name="connsiteY5" fmla="*/ 50238 h 53377"/>
                <a:gd name="connsiteX6" fmla="*/ 0 w 86911"/>
                <a:gd name="connsiteY6" fmla="*/ 47601 h 5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11" h="53377">
                  <a:moveTo>
                    <a:pt x="82390" y="0"/>
                  </a:moveTo>
                  <a:lnTo>
                    <a:pt x="86911" y="2638"/>
                  </a:lnTo>
                  <a:lnTo>
                    <a:pt x="86911" y="11178"/>
                  </a:lnTo>
                  <a:lnTo>
                    <a:pt x="82390" y="8541"/>
                  </a:lnTo>
                  <a:lnTo>
                    <a:pt x="4521" y="53378"/>
                  </a:lnTo>
                  <a:lnTo>
                    <a:pt x="4521" y="50238"/>
                  </a:lnTo>
                  <a:lnTo>
                    <a:pt x="0" y="47601"/>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4" name="Freeform: Shape 623">
              <a:extLst>
                <a:ext uri="{FF2B5EF4-FFF2-40B4-BE49-F238E27FC236}">
                  <a16:creationId xmlns:a16="http://schemas.microsoft.com/office/drawing/2014/main" id="{D10A6DC2-8E61-4977-AA08-F1F6DF05EED6}"/>
                </a:ext>
              </a:extLst>
            </p:cNvPr>
            <p:cNvSpPr/>
            <p:nvPr/>
          </p:nvSpPr>
          <p:spPr>
            <a:xfrm>
              <a:off x="10519573" y="3455967"/>
              <a:ext cx="5274" cy="11554"/>
            </a:xfrm>
            <a:custGeom>
              <a:avLst/>
              <a:gdLst>
                <a:gd name="connsiteX0" fmla="*/ 5275 w 5274"/>
                <a:gd name="connsiteY0" fmla="*/ 0 h 11554"/>
                <a:gd name="connsiteX1" fmla="*/ 5275 w 5274"/>
                <a:gd name="connsiteY1" fmla="*/ 8415 h 11554"/>
                <a:gd name="connsiteX2" fmla="*/ 0 w 5274"/>
                <a:gd name="connsiteY2" fmla="*/ 11555 h 11554"/>
                <a:gd name="connsiteX3" fmla="*/ 0 w 5274"/>
                <a:gd name="connsiteY3" fmla="*/ 3140 h 11554"/>
              </a:gdLst>
              <a:ahLst/>
              <a:cxnLst>
                <a:cxn ang="0">
                  <a:pos x="connsiteX0" y="connsiteY0"/>
                </a:cxn>
                <a:cxn ang="0">
                  <a:pos x="connsiteX1" y="connsiteY1"/>
                </a:cxn>
                <a:cxn ang="0">
                  <a:pos x="connsiteX2" y="connsiteY2"/>
                </a:cxn>
                <a:cxn ang="0">
                  <a:pos x="connsiteX3" y="connsiteY3"/>
                </a:cxn>
              </a:cxnLst>
              <a:rect l="l" t="t" r="r" b="b"/>
              <a:pathLst>
                <a:path w="5274" h="11554">
                  <a:moveTo>
                    <a:pt x="5275" y="0"/>
                  </a:moveTo>
                  <a:lnTo>
                    <a:pt x="5275" y="8415"/>
                  </a:lnTo>
                  <a:lnTo>
                    <a:pt x="0" y="11555"/>
                  </a:lnTo>
                  <a:lnTo>
                    <a:pt x="0" y="3140"/>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5" name="Freeform: Shape 624">
              <a:extLst>
                <a:ext uri="{FF2B5EF4-FFF2-40B4-BE49-F238E27FC236}">
                  <a16:creationId xmlns:a16="http://schemas.microsoft.com/office/drawing/2014/main" id="{57860901-ADF1-4AE2-A389-2AA76F1934B0}"/>
                </a:ext>
              </a:extLst>
            </p:cNvPr>
            <p:cNvSpPr/>
            <p:nvPr/>
          </p:nvSpPr>
          <p:spPr>
            <a:xfrm>
              <a:off x="10512665" y="3453455"/>
              <a:ext cx="6907" cy="14066"/>
            </a:xfrm>
            <a:custGeom>
              <a:avLst/>
              <a:gdLst>
                <a:gd name="connsiteX0" fmla="*/ 2135 w 6907"/>
                <a:gd name="connsiteY0" fmla="*/ 2889 h 14066"/>
                <a:gd name="connsiteX1" fmla="*/ 6908 w 6907"/>
                <a:gd name="connsiteY1" fmla="*/ 5652 h 14066"/>
                <a:gd name="connsiteX2" fmla="*/ 6908 w 6907"/>
                <a:gd name="connsiteY2" fmla="*/ 14067 h 14066"/>
                <a:gd name="connsiteX3" fmla="*/ 2135 w 6907"/>
                <a:gd name="connsiteY3" fmla="*/ 11304 h 14066"/>
                <a:gd name="connsiteX4" fmla="*/ 0 w 6907"/>
                <a:gd name="connsiteY4" fmla="*/ 8415 h 14066"/>
                <a:gd name="connsiteX5" fmla="*/ 0 w 6907"/>
                <a:gd name="connsiteY5" fmla="*/ 0 h 14066"/>
                <a:gd name="connsiteX6" fmla="*/ 2135 w 6907"/>
                <a:gd name="connsiteY6" fmla="*/ 2889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7" h="14066">
                  <a:moveTo>
                    <a:pt x="2135" y="2889"/>
                  </a:moveTo>
                  <a:lnTo>
                    <a:pt x="6908" y="5652"/>
                  </a:lnTo>
                  <a:lnTo>
                    <a:pt x="6908" y="14067"/>
                  </a:lnTo>
                  <a:lnTo>
                    <a:pt x="2135" y="11304"/>
                  </a:lnTo>
                  <a:cubicBezTo>
                    <a:pt x="754" y="10550"/>
                    <a:pt x="0" y="9420"/>
                    <a:pt x="0" y="8415"/>
                  </a:cubicBezTo>
                  <a:cubicBezTo>
                    <a:pt x="0" y="7410"/>
                    <a:pt x="0" y="0"/>
                    <a:pt x="0" y="0"/>
                  </a:cubicBezTo>
                  <a:cubicBezTo>
                    <a:pt x="0" y="879"/>
                    <a:pt x="628" y="2010"/>
                    <a:pt x="2135" y="288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6" name="Freeform: Shape 625">
              <a:extLst>
                <a:ext uri="{FF2B5EF4-FFF2-40B4-BE49-F238E27FC236}">
                  <a16:creationId xmlns:a16="http://schemas.microsoft.com/office/drawing/2014/main" id="{F5A72002-9514-41D1-BE4B-AF9495CA93FA}"/>
                </a:ext>
              </a:extLst>
            </p:cNvPr>
            <p:cNvSpPr/>
            <p:nvPr/>
          </p:nvSpPr>
          <p:spPr>
            <a:xfrm>
              <a:off x="10589152" y="3418140"/>
              <a:ext cx="27379" cy="25016"/>
            </a:xfrm>
            <a:custGeom>
              <a:avLst/>
              <a:gdLst>
                <a:gd name="connsiteX0" fmla="*/ 6405 w 27379"/>
                <a:gd name="connsiteY0" fmla="*/ 7056 h 25016"/>
                <a:gd name="connsiteX1" fmla="*/ 0 w 27379"/>
                <a:gd name="connsiteY1" fmla="*/ 25016 h 25016"/>
                <a:gd name="connsiteX2" fmla="*/ 25245 w 27379"/>
                <a:gd name="connsiteY2" fmla="*/ 10447 h 25016"/>
                <a:gd name="connsiteX3" fmla="*/ 27380 w 27379"/>
                <a:gd name="connsiteY3" fmla="*/ 4419 h 25016"/>
                <a:gd name="connsiteX4" fmla="*/ 24240 w 27379"/>
                <a:gd name="connsiteY4" fmla="*/ 2660 h 25016"/>
                <a:gd name="connsiteX5" fmla="*/ 6405 w 27379"/>
                <a:gd name="connsiteY5" fmla="*/ 7056 h 2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5016">
                  <a:moveTo>
                    <a:pt x="6405" y="7056"/>
                  </a:moveTo>
                  <a:lnTo>
                    <a:pt x="0" y="25016"/>
                  </a:lnTo>
                  <a:lnTo>
                    <a:pt x="25245" y="10447"/>
                  </a:lnTo>
                  <a:lnTo>
                    <a:pt x="27380" y="4419"/>
                  </a:lnTo>
                  <a:lnTo>
                    <a:pt x="24240" y="2660"/>
                  </a:lnTo>
                  <a:cubicBezTo>
                    <a:pt x="16202" y="-2112"/>
                    <a:pt x="9043" y="-354"/>
                    <a:pt x="6405" y="7056"/>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7" name="Freeform: Shape 626">
              <a:extLst>
                <a:ext uri="{FF2B5EF4-FFF2-40B4-BE49-F238E27FC236}">
                  <a16:creationId xmlns:a16="http://schemas.microsoft.com/office/drawing/2014/main" id="{48D3B9A4-8300-4A0E-9D6C-72E81E6082B2}"/>
                </a:ext>
              </a:extLst>
            </p:cNvPr>
            <p:cNvSpPr/>
            <p:nvPr/>
          </p:nvSpPr>
          <p:spPr>
            <a:xfrm>
              <a:off x="10617788" y="3412878"/>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2 w 47650"/>
                <a:gd name="connsiteY3" fmla="*/ 136 h 59165"/>
                <a:gd name="connsiteX4" fmla="*/ 15072 w 47650"/>
                <a:gd name="connsiteY4" fmla="*/ 136 h 59165"/>
                <a:gd name="connsiteX5" fmla="*/ 15072 w 47650"/>
                <a:gd name="connsiteY5" fmla="*/ 136 h 59165"/>
                <a:gd name="connsiteX6" fmla="*/ 15072 w 47650"/>
                <a:gd name="connsiteY6" fmla="*/ 136 h 59165"/>
                <a:gd name="connsiteX7" fmla="*/ 9922 w 47650"/>
                <a:gd name="connsiteY7" fmla="*/ 1518 h 59165"/>
                <a:gd name="connsiteX8" fmla="*/ 0 w 47650"/>
                <a:gd name="connsiteY8" fmla="*/ 7295 h 59165"/>
                <a:gd name="connsiteX9" fmla="*/ 15072 w 47650"/>
                <a:gd name="connsiteY9" fmla="*/ 8802 h 59165"/>
                <a:gd name="connsiteX10" fmla="*/ 30017 w 47650"/>
                <a:gd name="connsiteY10" fmla="*/ 24627 h 59165"/>
                <a:gd name="connsiteX11" fmla="*/ 29892 w 47650"/>
                <a:gd name="connsiteY11" fmla="*/ 59166 h 59165"/>
                <a:gd name="connsiteX12" fmla="*/ 39813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6" y="11"/>
                    <a:pt x="16201" y="11"/>
                    <a:pt x="15072" y="136"/>
                  </a:cubicBezTo>
                  <a:cubicBezTo>
                    <a:pt x="15072" y="136"/>
                    <a:pt x="15072" y="136"/>
                    <a:pt x="15072" y="136"/>
                  </a:cubicBezTo>
                  <a:lnTo>
                    <a:pt x="15072" y="136"/>
                  </a:lnTo>
                  <a:lnTo>
                    <a:pt x="15072" y="136"/>
                  </a:lnTo>
                  <a:cubicBezTo>
                    <a:pt x="13187" y="136"/>
                    <a:pt x="11429" y="639"/>
                    <a:pt x="9922" y="1518"/>
                  </a:cubicBezTo>
                  <a:lnTo>
                    <a:pt x="0" y="7295"/>
                  </a:lnTo>
                  <a:cubicBezTo>
                    <a:pt x="4145" y="4909"/>
                    <a:pt x="9671" y="5662"/>
                    <a:pt x="15072" y="8802"/>
                  </a:cubicBezTo>
                  <a:cubicBezTo>
                    <a:pt x="20472" y="11942"/>
                    <a:pt x="25998" y="17468"/>
                    <a:pt x="30017" y="24627"/>
                  </a:cubicBezTo>
                  <a:cubicBezTo>
                    <a:pt x="38306" y="38945"/>
                    <a:pt x="38306" y="54393"/>
                    <a:pt x="29892" y="59166"/>
                  </a:cubicBezTo>
                  <a:lnTo>
                    <a:pt x="39813" y="53388"/>
                  </a:lnTo>
                  <a:cubicBezTo>
                    <a:pt x="43330" y="51379"/>
                    <a:pt x="45088" y="47360"/>
                    <a:pt x="45340" y="46857"/>
                  </a:cubicBezTo>
                  <a:cubicBezTo>
                    <a:pt x="49359" y="40326"/>
                    <a:pt x="48103"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8" name="Freeform: Shape 627">
              <a:extLst>
                <a:ext uri="{FF2B5EF4-FFF2-40B4-BE49-F238E27FC236}">
                  <a16:creationId xmlns:a16="http://schemas.microsoft.com/office/drawing/2014/main" id="{886501FF-F27A-4435-A944-3F8791FE6F3E}"/>
                </a:ext>
              </a:extLst>
            </p:cNvPr>
            <p:cNvSpPr/>
            <p:nvPr/>
          </p:nvSpPr>
          <p:spPr>
            <a:xfrm>
              <a:off x="10611878" y="3418642"/>
              <a:ext cx="42254" cy="54309"/>
            </a:xfrm>
            <a:custGeom>
              <a:avLst/>
              <a:gdLst>
                <a:gd name="connsiteX0" fmla="*/ 36052 w 42254"/>
                <a:gd name="connsiteY0" fmla="*/ 18737 h 54309"/>
                <a:gd name="connsiteX1" fmla="*/ 21107 w 42254"/>
                <a:gd name="connsiteY1" fmla="*/ 2912 h 54309"/>
                <a:gd name="connsiteX2" fmla="*/ 6036 w 42254"/>
                <a:gd name="connsiteY2" fmla="*/ 1405 h 54309"/>
                <a:gd name="connsiteX3" fmla="*/ 7 w 42254"/>
                <a:gd name="connsiteY3" fmla="*/ 11075 h 54309"/>
                <a:gd name="connsiteX4" fmla="*/ 26884 w 42254"/>
                <a:gd name="connsiteY4" fmla="*/ 54029 h 54309"/>
                <a:gd name="connsiteX5" fmla="*/ 35928 w 42254"/>
                <a:gd name="connsiteY5" fmla="*/ 53275 h 54309"/>
                <a:gd name="connsiteX6" fmla="*/ 36052 w 42254"/>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54" h="54309">
                  <a:moveTo>
                    <a:pt x="36052" y="18737"/>
                  </a:moveTo>
                  <a:cubicBezTo>
                    <a:pt x="31908" y="11578"/>
                    <a:pt x="26508" y="6052"/>
                    <a:pt x="21107" y="2912"/>
                  </a:cubicBezTo>
                  <a:cubicBezTo>
                    <a:pt x="15706" y="-228"/>
                    <a:pt x="10180" y="-982"/>
                    <a:pt x="6036" y="1405"/>
                  </a:cubicBezTo>
                  <a:cubicBezTo>
                    <a:pt x="3272" y="3037"/>
                    <a:pt x="886" y="7182"/>
                    <a:pt x="7" y="11075"/>
                  </a:cubicBezTo>
                  <a:cubicBezTo>
                    <a:pt x="-495" y="13462"/>
                    <a:pt x="26884" y="54029"/>
                    <a:pt x="26884" y="54029"/>
                  </a:cubicBezTo>
                  <a:cubicBezTo>
                    <a:pt x="30024" y="54657"/>
                    <a:pt x="34420" y="54155"/>
                    <a:pt x="35928" y="53275"/>
                  </a:cubicBezTo>
                  <a:cubicBezTo>
                    <a:pt x="44342" y="48377"/>
                    <a:pt x="44342" y="33054"/>
                    <a:pt x="36052"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9" name="Freeform: Shape 628">
              <a:extLst>
                <a:ext uri="{FF2B5EF4-FFF2-40B4-BE49-F238E27FC236}">
                  <a16:creationId xmlns:a16="http://schemas.microsoft.com/office/drawing/2014/main" id="{293367DD-B3B2-42D7-A5A9-BA0870C65FAC}"/>
                </a:ext>
              </a:extLst>
            </p:cNvPr>
            <p:cNvSpPr/>
            <p:nvPr/>
          </p:nvSpPr>
          <p:spPr>
            <a:xfrm>
              <a:off x="10602573" y="3413859"/>
              <a:ext cx="57006" cy="65832"/>
            </a:xfrm>
            <a:custGeom>
              <a:avLst/>
              <a:gdLst>
                <a:gd name="connsiteX0" fmla="*/ 42752 w 57006"/>
                <a:gd name="connsiteY0" fmla="*/ 24690 h 65832"/>
                <a:gd name="connsiteX1" fmla="*/ 42759 w 57006"/>
                <a:gd name="connsiteY1" fmla="*/ 57606 h 65832"/>
                <a:gd name="connsiteX2" fmla="*/ 14255 w 57006"/>
                <a:gd name="connsiteY2" fmla="*/ 41142 h 65832"/>
                <a:gd name="connsiteX3" fmla="*/ 14248 w 57006"/>
                <a:gd name="connsiteY3" fmla="*/ 8226 h 65832"/>
                <a:gd name="connsiteX4" fmla="*/ 42752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90"/>
                  </a:moveTo>
                  <a:cubicBezTo>
                    <a:pt x="50625" y="38325"/>
                    <a:pt x="50628" y="53062"/>
                    <a:pt x="42759" y="57606"/>
                  </a:cubicBezTo>
                  <a:cubicBezTo>
                    <a:pt x="34889" y="62149"/>
                    <a:pt x="22128" y="54778"/>
                    <a:pt x="14255" y="41142"/>
                  </a:cubicBezTo>
                  <a:cubicBezTo>
                    <a:pt x="6382" y="27507"/>
                    <a:pt x="6379" y="12770"/>
                    <a:pt x="14248" y="8226"/>
                  </a:cubicBezTo>
                  <a:cubicBezTo>
                    <a:pt x="22118" y="3683"/>
                    <a:pt x="34879" y="11054"/>
                    <a:pt x="42752"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30" name="Graphic 4">
              <a:extLst>
                <a:ext uri="{FF2B5EF4-FFF2-40B4-BE49-F238E27FC236}">
                  <a16:creationId xmlns:a16="http://schemas.microsoft.com/office/drawing/2014/main" id="{84FB7ED1-A2DF-40A1-A747-5F7CF3F14040}"/>
                </a:ext>
              </a:extLst>
            </p:cNvPr>
            <p:cNvGrpSpPr/>
            <p:nvPr/>
          </p:nvGrpSpPr>
          <p:grpSpPr>
            <a:xfrm>
              <a:off x="10597661" y="3420664"/>
              <a:ext cx="54247" cy="60074"/>
              <a:chOff x="10597661" y="3420664"/>
              <a:chExt cx="54247" cy="60074"/>
            </a:xfrm>
            <a:solidFill>
              <a:schemeClr val="accent1"/>
            </a:solidFill>
          </p:grpSpPr>
          <p:sp>
            <p:nvSpPr>
              <p:cNvPr id="631" name="Freeform: Shape 630">
                <a:extLst>
                  <a:ext uri="{FF2B5EF4-FFF2-40B4-BE49-F238E27FC236}">
                    <a16:creationId xmlns:a16="http://schemas.microsoft.com/office/drawing/2014/main" id="{78638A0B-DC08-4A89-AE52-F04166F015AC}"/>
                  </a:ext>
                </a:extLst>
              </p:cNvPr>
              <p:cNvSpPr/>
              <p:nvPr/>
            </p:nvSpPr>
            <p:spPr>
              <a:xfrm>
                <a:off x="10604224" y="3420664"/>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2 w 47684"/>
                  <a:gd name="connsiteY3" fmla="*/ 136 h 59165"/>
                  <a:gd name="connsiteX4" fmla="*/ 15072 w 47684"/>
                  <a:gd name="connsiteY4" fmla="*/ 136 h 59165"/>
                  <a:gd name="connsiteX5" fmla="*/ 15072 w 47684"/>
                  <a:gd name="connsiteY5" fmla="*/ 136 h 59165"/>
                  <a:gd name="connsiteX6" fmla="*/ 15072 w 47684"/>
                  <a:gd name="connsiteY6" fmla="*/ 136 h 59165"/>
                  <a:gd name="connsiteX7" fmla="*/ 9922 w 47684"/>
                  <a:gd name="connsiteY7" fmla="*/ 1518 h 59165"/>
                  <a:gd name="connsiteX8" fmla="*/ 0 w 47684"/>
                  <a:gd name="connsiteY8" fmla="*/ 7295 h 59165"/>
                  <a:gd name="connsiteX9" fmla="*/ 15072 w 47684"/>
                  <a:gd name="connsiteY9" fmla="*/ 8802 h 59165"/>
                  <a:gd name="connsiteX10" fmla="*/ 30017 w 47684"/>
                  <a:gd name="connsiteY10" fmla="*/ 24627 h 59165"/>
                  <a:gd name="connsiteX11" fmla="*/ 29892 w 47684"/>
                  <a:gd name="connsiteY11" fmla="*/ 59166 h 59165"/>
                  <a:gd name="connsiteX12" fmla="*/ 39813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0"/>
                    </a:cubicBezTo>
                    <a:cubicBezTo>
                      <a:pt x="17206" y="10"/>
                      <a:pt x="16202" y="10"/>
                      <a:pt x="15072" y="136"/>
                    </a:cubicBezTo>
                    <a:cubicBezTo>
                      <a:pt x="15072" y="136"/>
                      <a:pt x="15072" y="136"/>
                      <a:pt x="15072" y="136"/>
                    </a:cubicBezTo>
                    <a:lnTo>
                      <a:pt x="15072" y="136"/>
                    </a:lnTo>
                    <a:lnTo>
                      <a:pt x="15072" y="136"/>
                    </a:lnTo>
                    <a:cubicBezTo>
                      <a:pt x="13187" y="136"/>
                      <a:pt x="11430" y="639"/>
                      <a:pt x="9922" y="1518"/>
                    </a:cubicBezTo>
                    <a:lnTo>
                      <a:pt x="0" y="7295"/>
                    </a:lnTo>
                    <a:cubicBezTo>
                      <a:pt x="4145" y="4909"/>
                      <a:pt x="9671" y="5662"/>
                      <a:pt x="15072" y="8802"/>
                    </a:cubicBezTo>
                    <a:cubicBezTo>
                      <a:pt x="20472" y="11942"/>
                      <a:pt x="25998" y="17468"/>
                      <a:pt x="30017" y="24627"/>
                    </a:cubicBezTo>
                    <a:cubicBezTo>
                      <a:pt x="38306" y="38945"/>
                      <a:pt x="38306" y="54393"/>
                      <a:pt x="29892" y="59166"/>
                    </a:cubicBezTo>
                    <a:lnTo>
                      <a:pt x="39813" y="53388"/>
                    </a:lnTo>
                    <a:cubicBezTo>
                      <a:pt x="43330" y="51379"/>
                      <a:pt x="45089" y="47360"/>
                      <a:pt x="45340" y="46857"/>
                    </a:cubicBezTo>
                    <a:cubicBezTo>
                      <a:pt x="49359" y="40327"/>
                      <a:pt x="48229"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2" name="Freeform: Shape 631">
                <a:extLst>
                  <a:ext uri="{FF2B5EF4-FFF2-40B4-BE49-F238E27FC236}">
                    <a16:creationId xmlns:a16="http://schemas.microsoft.com/office/drawing/2014/main" id="{7A2A32B5-3DF3-4F12-9982-E04DCC4E83DE}"/>
                  </a:ext>
                </a:extLst>
              </p:cNvPr>
              <p:cNvSpPr/>
              <p:nvPr/>
            </p:nvSpPr>
            <p:spPr>
              <a:xfrm>
                <a:off x="10598314" y="3426429"/>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3" y="54657"/>
                      <a:pt x="34420" y="54154"/>
                      <a:pt x="35927" y="53275"/>
                    </a:cubicBezTo>
                    <a:cubicBezTo>
                      <a:pt x="44467" y="48377"/>
                      <a:pt x="44341" y="33054"/>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3" name="Freeform: Shape 632">
                <a:extLst>
                  <a:ext uri="{FF2B5EF4-FFF2-40B4-BE49-F238E27FC236}">
                    <a16:creationId xmlns:a16="http://schemas.microsoft.com/office/drawing/2014/main" id="{72BA47E9-969B-468B-9726-A40A543FF53A}"/>
                  </a:ext>
                </a:extLst>
              </p:cNvPr>
              <p:cNvSpPr/>
              <p:nvPr/>
            </p:nvSpPr>
            <p:spPr>
              <a:xfrm>
                <a:off x="10597661" y="3428630"/>
                <a:ext cx="40284" cy="52037"/>
              </a:xfrm>
              <a:custGeom>
                <a:avLst/>
                <a:gdLst>
                  <a:gd name="connsiteX0" fmla="*/ 34445 w 40284"/>
                  <a:gd name="connsiteY0" fmla="*/ 50698 h 52037"/>
                  <a:gd name="connsiteX1" fmla="*/ 5934 w 40284"/>
                  <a:gd name="connsiteY1" fmla="*/ 34245 h 52037"/>
                  <a:gd name="connsiteX2" fmla="*/ 5934 w 40284"/>
                  <a:gd name="connsiteY2" fmla="*/ 1339 h 52037"/>
                  <a:gd name="connsiteX3" fmla="*/ 34445 w 40284"/>
                  <a:gd name="connsiteY3" fmla="*/ 17792 h 52037"/>
                  <a:gd name="connsiteX4" fmla="*/ 34445 w 40284"/>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84" h="52037">
                    <a:moveTo>
                      <a:pt x="34445" y="50698"/>
                    </a:moveTo>
                    <a:cubicBezTo>
                      <a:pt x="26532" y="55219"/>
                      <a:pt x="13847" y="47935"/>
                      <a:pt x="5934" y="34245"/>
                    </a:cubicBezTo>
                    <a:cubicBezTo>
                      <a:pt x="-1978" y="20681"/>
                      <a:pt x="-1978" y="5861"/>
                      <a:pt x="5934" y="1339"/>
                    </a:cubicBezTo>
                    <a:cubicBezTo>
                      <a:pt x="13847" y="-3182"/>
                      <a:pt x="26532" y="4102"/>
                      <a:pt x="34445" y="17792"/>
                    </a:cubicBezTo>
                    <a:cubicBezTo>
                      <a:pt x="42231" y="31357"/>
                      <a:pt x="42231" y="46177"/>
                      <a:pt x="34445"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34" name="Graphic 4">
              <a:extLst>
                <a:ext uri="{FF2B5EF4-FFF2-40B4-BE49-F238E27FC236}">
                  <a16:creationId xmlns:a16="http://schemas.microsoft.com/office/drawing/2014/main" id="{84FB7ED1-A2DF-40A1-A747-5F7CF3F14040}"/>
                </a:ext>
              </a:extLst>
            </p:cNvPr>
            <p:cNvGrpSpPr/>
            <p:nvPr/>
          </p:nvGrpSpPr>
          <p:grpSpPr>
            <a:xfrm>
              <a:off x="10599672" y="3433973"/>
              <a:ext cx="35671" cy="41188"/>
              <a:chOff x="10599672" y="3433973"/>
              <a:chExt cx="35671" cy="41188"/>
            </a:xfrm>
            <a:solidFill>
              <a:schemeClr val="accent1"/>
            </a:solidFill>
          </p:grpSpPr>
          <p:sp>
            <p:nvSpPr>
              <p:cNvPr id="635" name="Freeform: Shape 634">
                <a:extLst>
                  <a:ext uri="{FF2B5EF4-FFF2-40B4-BE49-F238E27FC236}">
                    <a16:creationId xmlns:a16="http://schemas.microsoft.com/office/drawing/2014/main" id="{2D02BCE6-C1F0-453C-B1BD-8A094503F801}"/>
                  </a:ext>
                </a:extLst>
              </p:cNvPr>
              <p:cNvSpPr/>
              <p:nvPr/>
            </p:nvSpPr>
            <p:spPr>
              <a:xfrm>
                <a:off x="10599672" y="3433973"/>
                <a:ext cx="35671" cy="41188"/>
              </a:xfrm>
              <a:custGeom>
                <a:avLst/>
                <a:gdLst>
                  <a:gd name="connsiteX0" fmla="*/ 26755 w 35671"/>
                  <a:gd name="connsiteY0" fmla="*/ 15444 h 41188"/>
                  <a:gd name="connsiteX1" fmla="*/ 26753 w 35671"/>
                  <a:gd name="connsiteY1" fmla="*/ 36039 h 41188"/>
                  <a:gd name="connsiteX2" fmla="*/ 8917 w 35671"/>
                  <a:gd name="connsiteY2" fmla="*/ 25743 h 41188"/>
                  <a:gd name="connsiteX3" fmla="*/ 8919 w 35671"/>
                  <a:gd name="connsiteY3" fmla="*/ 5149 h 41188"/>
                  <a:gd name="connsiteX4" fmla="*/ 26755 w 35671"/>
                  <a:gd name="connsiteY4" fmla="*/ 15444 h 4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1" h="41188">
                    <a:moveTo>
                      <a:pt x="26755" y="15444"/>
                    </a:moveTo>
                    <a:cubicBezTo>
                      <a:pt x="31680" y="23974"/>
                      <a:pt x="31679" y="33195"/>
                      <a:pt x="26753" y="36039"/>
                    </a:cubicBezTo>
                    <a:cubicBezTo>
                      <a:pt x="21827" y="38883"/>
                      <a:pt x="13842" y="34273"/>
                      <a:pt x="8917" y="25743"/>
                    </a:cubicBezTo>
                    <a:cubicBezTo>
                      <a:pt x="3992" y="17214"/>
                      <a:pt x="3993" y="7993"/>
                      <a:pt x="8919" y="5149"/>
                    </a:cubicBezTo>
                    <a:cubicBezTo>
                      <a:pt x="13845" y="2305"/>
                      <a:pt x="21830" y="6915"/>
                      <a:pt x="26755" y="1544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6" name="Freeform: Shape 635">
                <a:extLst>
                  <a:ext uri="{FF2B5EF4-FFF2-40B4-BE49-F238E27FC236}">
                    <a16:creationId xmlns:a16="http://schemas.microsoft.com/office/drawing/2014/main" id="{6E622161-6CB3-4641-A9CD-A018390A9E32}"/>
                  </a:ext>
                </a:extLst>
              </p:cNvPr>
              <p:cNvSpPr/>
              <p:nvPr/>
            </p:nvSpPr>
            <p:spPr>
              <a:xfrm>
                <a:off x="10604287" y="3437070"/>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584 w 27128"/>
                  <a:gd name="connsiteY11" fmla="*/ 2067 h 35155"/>
                  <a:gd name="connsiteX12" fmla="*/ 10110 w 27128"/>
                  <a:gd name="connsiteY12" fmla="*/ 1565 h 35155"/>
                  <a:gd name="connsiteX13" fmla="*/ 10110 w 27128"/>
                  <a:gd name="connsiteY13" fmla="*/ 8723 h 35155"/>
                  <a:gd name="connsiteX14" fmla="*/ 8854 w 27128"/>
                  <a:gd name="connsiteY14" fmla="*/ 9100 h 35155"/>
                  <a:gd name="connsiteX15" fmla="*/ 2951 w 27128"/>
                  <a:gd name="connsiteY15" fmla="*/ 3448 h 35155"/>
                  <a:gd name="connsiteX16" fmla="*/ 4584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5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5 w 27128"/>
                  <a:gd name="connsiteY26" fmla="*/ 28567 h 35155"/>
                  <a:gd name="connsiteX27" fmla="*/ 23423 w 27128"/>
                  <a:gd name="connsiteY27" fmla="*/ 32335 h 35155"/>
                  <a:gd name="connsiteX28" fmla="*/ 19781 w 27128"/>
                  <a:gd name="connsiteY28" fmla="*/ 24423 h 35155"/>
                  <a:gd name="connsiteX29" fmla="*/ 20283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0"/>
                      <a:pt x="9231" y="-2203"/>
                      <a:pt x="3956" y="937"/>
                    </a:cubicBezTo>
                    <a:cubicBezTo>
                      <a:pt x="-1319" y="3951"/>
                      <a:pt x="-1319" y="13998"/>
                      <a:pt x="3956" y="23167"/>
                    </a:cubicBezTo>
                    <a:cubicBezTo>
                      <a:pt x="9231" y="32335"/>
                      <a:pt x="17897" y="37359"/>
                      <a:pt x="23172" y="34219"/>
                    </a:cubicBezTo>
                    <a:cubicBezTo>
                      <a:pt x="28447" y="31079"/>
                      <a:pt x="28447" y="21157"/>
                      <a:pt x="23172" y="11989"/>
                    </a:cubicBezTo>
                    <a:close/>
                    <a:moveTo>
                      <a:pt x="24051" y="15631"/>
                    </a:moveTo>
                    <a:lnTo>
                      <a:pt x="18148" y="14375"/>
                    </a:lnTo>
                    <a:cubicBezTo>
                      <a:pt x="17771" y="13747"/>
                      <a:pt x="17269" y="13119"/>
                      <a:pt x="16893" y="12491"/>
                    </a:cubicBezTo>
                    <a:lnTo>
                      <a:pt x="16893" y="5332"/>
                    </a:lnTo>
                    <a:cubicBezTo>
                      <a:pt x="18902" y="7216"/>
                      <a:pt x="20911" y="9477"/>
                      <a:pt x="22419" y="12366"/>
                    </a:cubicBezTo>
                    <a:cubicBezTo>
                      <a:pt x="23047" y="13496"/>
                      <a:pt x="23675" y="14501"/>
                      <a:pt x="24051" y="15631"/>
                    </a:cubicBezTo>
                    <a:close/>
                    <a:moveTo>
                      <a:pt x="4584" y="2067"/>
                    </a:moveTo>
                    <a:cubicBezTo>
                      <a:pt x="6217" y="1188"/>
                      <a:pt x="8101" y="1062"/>
                      <a:pt x="10110" y="1565"/>
                    </a:cubicBezTo>
                    <a:lnTo>
                      <a:pt x="10110" y="8723"/>
                    </a:lnTo>
                    <a:cubicBezTo>
                      <a:pt x="9608" y="8723"/>
                      <a:pt x="9231" y="8849"/>
                      <a:pt x="8854" y="9100"/>
                    </a:cubicBezTo>
                    <a:lnTo>
                      <a:pt x="2951" y="3448"/>
                    </a:lnTo>
                    <a:cubicBezTo>
                      <a:pt x="3454" y="2946"/>
                      <a:pt x="4082" y="2444"/>
                      <a:pt x="4584" y="2067"/>
                    </a:cubicBezTo>
                    <a:close/>
                    <a:moveTo>
                      <a:pt x="942" y="9603"/>
                    </a:moveTo>
                    <a:lnTo>
                      <a:pt x="6845" y="15254"/>
                    </a:lnTo>
                    <a:cubicBezTo>
                      <a:pt x="6970" y="15882"/>
                      <a:pt x="7096" y="16636"/>
                      <a:pt x="7347" y="17264"/>
                    </a:cubicBezTo>
                    <a:lnTo>
                      <a:pt x="3705" y="20906"/>
                    </a:lnTo>
                    <a:cubicBezTo>
                      <a:pt x="1695" y="17013"/>
                      <a:pt x="816" y="12994"/>
                      <a:pt x="942" y="9603"/>
                    </a:cubicBezTo>
                    <a:close/>
                    <a:moveTo>
                      <a:pt x="9105" y="28567"/>
                    </a:moveTo>
                    <a:lnTo>
                      <a:pt x="12748" y="24925"/>
                    </a:lnTo>
                    <a:cubicBezTo>
                      <a:pt x="13250" y="25302"/>
                      <a:pt x="13878" y="25679"/>
                      <a:pt x="14381" y="25804"/>
                    </a:cubicBezTo>
                    <a:lnTo>
                      <a:pt x="18023" y="33717"/>
                    </a:lnTo>
                    <a:cubicBezTo>
                      <a:pt x="15134" y="33340"/>
                      <a:pt x="11994" y="31456"/>
                      <a:pt x="9105" y="28567"/>
                    </a:cubicBezTo>
                    <a:close/>
                    <a:moveTo>
                      <a:pt x="23423" y="32335"/>
                    </a:moveTo>
                    <a:lnTo>
                      <a:pt x="19781" y="24423"/>
                    </a:lnTo>
                    <a:cubicBezTo>
                      <a:pt x="20033" y="24046"/>
                      <a:pt x="20158" y="23544"/>
                      <a:pt x="20283" y="22916"/>
                    </a:cubicBezTo>
                    <a:lnTo>
                      <a:pt x="26187" y="24046"/>
                    </a:lnTo>
                    <a:cubicBezTo>
                      <a:pt x="26312" y="27688"/>
                      <a:pt x="25433"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37" name="Graphic 4">
                <a:extLst>
                  <a:ext uri="{FF2B5EF4-FFF2-40B4-BE49-F238E27FC236}">
                    <a16:creationId xmlns:a16="http://schemas.microsoft.com/office/drawing/2014/main" id="{84FB7ED1-A2DF-40A1-A747-5F7CF3F14040}"/>
                  </a:ext>
                </a:extLst>
              </p:cNvPr>
              <p:cNvGrpSpPr/>
              <p:nvPr/>
            </p:nvGrpSpPr>
            <p:grpSpPr>
              <a:xfrm>
                <a:off x="10605217" y="3438761"/>
                <a:ext cx="23874" cy="32026"/>
                <a:chOff x="10605217" y="3438761"/>
                <a:chExt cx="23874" cy="32026"/>
              </a:xfrm>
              <a:solidFill>
                <a:srgbClr val="ADAA99"/>
              </a:solidFill>
            </p:grpSpPr>
            <p:sp>
              <p:nvSpPr>
                <p:cNvPr id="638" name="Freeform: Shape 637">
                  <a:extLst>
                    <a:ext uri="{FF2B5EF4-FFF2-40B4-BE49-F238E27FC236}">
                      <a16:creationId xmlns:a16="http://schemas.microsoft.com/office/drawing/2014/main" id="{8987B6FE-F648-4439-89FA-AB3688DF3826}"/>
                    </a:ext>
                  </a:extLst>
                </p:cNvPr>
                <p:cNvSpPr/>
                <p:nvPr/>
              </p:nvSpPr>
              <p:spPr>
                <a:xfrm>
                  <a:off x="10621179" y="3442528"/>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8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8" y="8289"/>
                        <a:pt x="1256" y="9043"/>
                      </a:cubicBezTo>
                      <a:lnTo>
                        <a:pt x="7158" y="10299"/>
                      </a:lnTo>
                      <a:cubicBezTo>
                        <a:pt x="6908" y="9796"/>
                        <a:pt x="6656" y="9294"/>
                        <a:pt x="6405" y="8792"/>
                      </a:cubicBezTo>
                      <a:lnTo>
                        <a:pt x="3014" y="8038"/>
                      </a:lnTo>
                      <a:cubicBezTo>
                        <a:pt x="2637" y="7285"/>
                        <a:pt x="2261" y="6657"/>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9" name="Freeform: Shape 638">
                  <a:extLst>
                    <a:ext uri="{FF2B5EF4-FFF2-40B4-BE49-F238E27FC236}">
                      <a16:creationId xmlns:a16="http://schemas.microsoft.com/office/drawing/2014/main" id="{302FA85F-36F0-4896-86FD-E9851A1445FF}"/>
                    </a:ext>
                  </a:extLst>
                </p:cNvPr>
                <p:cNvSpPr/>
                <p:nvPr/>
              </p:nvSpPr>
              <p:spPr>
                <a:xfrm>
                  <a:off x="10624068" y="3459986"/>
                  <a:ext cx="5023" cy="9419"/>
                </a:xfrm>
                <a:custGeom>
                  <a:avLst/>
                  <a:gdLst>
                    <a:gd name="connsiteX0" fmla="*/ 1883 w 5023"/>
                    <a:gd name="connsiteY0" fmla="*/ 251 h 9419"/>
                    <a:gd name="connsiteX1" fmla="*/ 502 w 5023"/>
                    <a:gd name="connsiteY1" fmla="*/ 0 h 9419"/>
                    <a:gd name="connsiteX2" fmla="*/ 0 w 5023"/>
                    <a:gd name="connsiteY2" fmla="*/ 1507 h 9419"/>
                    <a:gd name="connsiteX3" fmla="*/ 3642 w 5023"/>
                    <a:gd name="connsiteY3" fmla="*/ 9420 h 9419"/>
                    <a:gd name="connsiteX4" fmla="*/ 5023 w 5023"/>
                    <a:gd name="connsiteY4" fmla="*/ 7661 h 9419"/>
                    <a:gd name="connsiteX5" fmla="*/ 1759 w 5023"/>
                    <a:gd name="connsiteY5" fmla="*/ 502 h 9419"/>
                    <a:gd name="connsiteX6" fmla="*/ 1883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3" y="251"/>
                      </a:moveTo>
                      <a:lnTo>
                        <a:pt x="502" y="0"/>
                      </a:lnTo>
                      <a:cubicBezTo>
                        <a:pt x="376" y="502"/>
                        <a:pt x="251" y="1005"/>
                        <a:pt x="0" y="1507"/>
                      </a:cubicBezTo>
                      <a:lnTo>
                        <a:pt x="3642" y="9420"/>
                      </a:lnTo>
                      <a:cubicBezTo>
                        <a:pt x="4145" y="8917"/>
                        <a:pt x="4647" y="8415"/>
                        <a:pt x="5023" y="7661"/>
                      </a:cubicBezTo>
                      <a:lnTo>
                        <a:pt x="1759" y="502"/>
                      </a:lnTo>
                      <a:cubicBezTo>
                        <a:pt x="1759" y="377"/>
                        <a:pt x="1759" y="377"/>
                        <a:pt x="1883"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0" name="Freeform: Shape 639">
                  <a:extLst>
                    <a:ext uri="{FF2B5EF4-FFF2-40B4-BE49-F238E27FC236}">
                      <a16:creationId xmlns:a16="http://schemas.microsoft.com/office/drawing/2014/main" id="{09CFBA17-453F-4E4B-959B-2175F4A03BCF}"/>
                    </a:ext>
                  </a:extLst>
                </p:cNvPr>
                <p:cNvSpPr/>
                <p:nvPr/>
              </p:nvSpPr>
              <p:spPr>
                <a:xfrm>
                  <a:off x="10605217" y="3446673"/>
                  <a:ext cx="4281" cy="11303"/>
                </a:xfrm>
                <a:custGeom>
                  <a:avLst/>
                  <a:gdLst>
                    <a:gd name="connsiteX0" fmla="*/ 12 w 4281"/>
                    <a:gd name="connsiteY0" fmla="*/ 0 h 11303"/>
                    <a:gd name="connsiteX1" fmla="*/ 2774 w 4281"/>
                    <a:gd name="connsiteY1" fmla="*/ 11303 h 11303"/>
                    <a:gd name="connsiteX2" fmla="*/ 4282 w 4281"/>
                    <a:gd name="connsiteY2" fmla="*/ 9796 h 11303"/>
                    <a:gd name="connsiteX3" fmla="*/ 1895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4" y="11303"/>
                      </a:cubicBezTo>
                      <a:lnTo>
                        <a:pt x="4282" y="9796"/>
                      </a:lnTo>
                      <a:cubicBezTo>
                        <a:pt x="3026" y="7033"/>
                        <a:pt x="2147" y="4270"/>
                        <a:pt x="1895"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1" name="Freeform: Shape 640">
                  <a:extLst>
                    <a:ext uri="{FF2B5EF4-FFF2-40B4-BE49-F238E27FC236}">
                      <a16:creationId xmlns:a16="http://schemas.microsoft.com/office/drawing/2014/main" id="{8AD1615C-ABF7-4715-80E8-CDCFD5286016}"/>
                    </a:ext>
                  </a:extLst>
                </p:cNvPr>
                <p:cNvSpPr/>
                <p:nvPr/>
              </p:nvSpPr>
              <p:spPr>
                <a:xfrm>
                  <a:off x="10613392" y="3461996"/>
                  <a:ext cx="8917" cy="8791"/>
                </a:xfrm>
                <a:custGeom>
                  <a:avLst/>
                  <a:gdLst>
                    <a:gd name="connsiteX0" fmla="*/ 1759 w 8917"/>
                    <a:gd name="connsiteY0" fmla="*/ 2637 h 8791"/>
                    <a:gd name="connsiteX1" fmla="*/ 4145 w 8917"/>
                    <a:gd name="connsiteY1" fmla="*/ 251 h 8791"/>
                    <a:gd name="connsiteX2" fmla="*/ 3643 w 8917"/>
                    <a:gd name="connsiteY2" fmla="*/ 0 h 8791"/>
                    <a:gd name="connsiteX3" fmla="*/ 0 w 8917"/>
                    <a:gd name="connsiteY3" fmla="*/ 3642 h 8791"/>
                    <a:gd name="connsiteX4" fmla="*/ 8918 w 8917"/>
                    <a:gd name="connsiteY4" fmla="*/ 8792 h 8791"/>
                    <a:gd name="connsiteX5" fmla="*/ 8164 w 8917"/>
                    <a:gd name="connsiteY5" fmla="*/ 7033 h 8791"/>
                    <a:gd name="connsiteX6" fmla="*/ 1759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7"/>
                      </a:moveTo>
                      <a:lnTo>
                        <a:pt x="4145" y="251"/>
                      </a:lnTo>
                      <a:cubicBezTo>
                        <a:pt x="4019" y="126"/>
                        <a:pt x="3894" y="0"/>
                        <a:pt x="3643" y="0"/>
                      </a:cubicBezTo>
                      <a:lnTo>
                        <a:pt x="0" y="3642"/>
                      </a:lnTo>
                      <a:cubicBezTo>
                        <a:pt x="2889" y="6531"/>
                        <a:pt x="6029" y="8415"/>
                        <a:pt x="8918" y="8792"/>
                      </a:cubicBezTo>
                      <a:lnTo>
                        <a:pt x="8164" y="7033"/>
                      </a:lnTo>
                      <a:cubicBezTo>
                        <a:pt x="6029" y="6280"/>
                        <a:pt x="3768" y="4772"/>
                        <a:pt x="1759"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2" name="Freeform: Shape 641">
                  <a:extLst>
                    <a:ext uri="{FF2B5EF4-FFF2-40B4-BE49-F238E27FC236}">
                      <a16:creationId xmlns:a16="http://schemas.microsoft.com/office/drawing/2014/main" id="{2E7AF00C-0B9F-48C8-A1D7-599DDC246AA2}"/>
                    </a:ext>
                  </a:extLst>
                </p:cNvPr>
                <p:cNvSpPr/>
                <p:nvPr/>
              </p:nvSpPr>
              <p:spPr>
                <a:xfrm>
                  <a:off x="10607363" y="3438761"/>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9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3" y="1130"/>
                        <a:pt x="0" y="1758"/>
                      </a:cubicBezTo>
                      <a:lnTo>
                        <a:pt x="5903" y="7410"/>
                      </a:lnTo>
                      <a:cubicBezTo>
                        <a:pt x="6280" y="7159"/>
                        <a:pt x="6783" y="7159"/>
                        <a:pt x="7159" y="7033"/>
                      </a:cubicBezTo>
                      <a:lnTo>
                        <a:pt x="7159" y="5903"/>
                      </a:lnTo>
                      <a:lnTo>
                        <a:pt x="1759" y="754"/>
                      </a:lnTo>
                      <a:cubicBezTo>
                        <a:pt x="1884"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43" name="Graphic 4">
                <a:extLst>
                  <a:ext uri="{FF2B5EF4-FFF2-40B4-BE49-F238E27FC236}">
                    <a16:creationId xmlns:a16="http://schemas.microsoft.com/office/drawing/2014/main" id="{84FB7ED1-A2DF-40A1-A747-5F7CF3F14040}"/>
                  </a:ext>
                </a:extLst>
              </p:cNvPr>
              <p:cNvGrpSpPr/>
              <p:nvPr/>
            </p:nvGrpSpPr>
            <p:grpSpPr>
              <a:xfrm>
                <a:off x="10612788" y="3448353"/>
                <a:ext cx="10148" cy="13199"/>
                <a:chOff x="10612788" y="3448353"/>
                <a:chExt cx="10148" cy="13199"/>
              </a:xfrm>
              <a:solidFill>
                <a:srgbClr val="222222"/>
              </a:solidFill>
            </p:grpSpPr>
            <p:sp>
              <p:nvSpPr>
                <p:cNvPr id="644" name="Freeform: Shape 643">
                  <a:extLst>
                    <a:ext uri="{FF2B5EF4-FFF2-40B4-BE49-F238E27FC236}">
                      <a16:creationId xmlns:a16="http://schemas.microsoft.com/office/drawing/2014/main" id="{F25FF2D5-9D6F-47CD-B202-AB9BDCF07052}"/>
                    </a:ext>
                  </a:extLst>
                </p:cNvPr>
                <p:cNvSpPr/>
                <p:nvPr/>
              </p:nvSpPr>
              <p:spPr>
                <a:xfrm>
                  <a:off x="10616187" y="3452467"/>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5" name="Freeform: Shape 644">
                  <a:extLst>
                    <a:ext uri="{FF2B5EF4-FFF2-40B4-BE49-F238E27FC236}">
                      <a16:creationId xmlns:a16="http://schemas.microsoft.com/office/drawing/2014/main" id="{350D4BE9-F85F-442B-A73D-F1FE25A1A739}"/>
                    </a:ext>
                  </a:extLst>
                </p:cNvPr>
                <p:cNvSpPr/>
                <p:nvPr/>
              </p:nvSpPr>
              <p:spPr>
                <a:xfrm>
                  <a:off x="10616877" y="3448353"/>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6" name="Freeform: Shape 645">
                  <a:extLst>
                    <a:ext uri="{FF2B5EF4-FFF2-40B4-BE49-F238E27FC236}">
                      <a16:creationId xmlns:a16="http://schemas.microsoft.com/office/drawing/2014/main" id="{762B2BE0-3BF5-43BD-BBE2-62BBA761B09D}"/>
                    </a:ext>
                  </a:extLst>
                </p:cNvPr>
                <p:cNvSpPr/>
                <p:nvPr/>
              </p:nvSpPr>
              <p:spPr>
                <a:xfrm>
                  <a:off x="10614372" y="3455943"/>
                  <a:ext cx="1932" cy="2560"/>
                </a:xfrm>
                <a:custGeom>
                  <a:avLst/>
                  <a:gdLst>
                    <a:gd name="connsiteX0" fmla="*/ 778 w 1932"/>
                    <a:gd name="connsiteY0" fmla="*/ 24 h 2560"/>
                    <a:gd name="connsiteX1" fmla="*/ 1909 w 1932"/>
                    <a:gd name="connsiteY1" fmla="*/ 1657 h 2560"/>
                    <a:gd name="connsiteX2" fmla="*/ 1155 w 1932"/>
                    <a:gd name="connsiteY2" fmla="*/ 2536 h 2560"/>
                    <a:gd name="connsiteX3" fmla="*/ 24 w 1932"/>
                    <a:gd name="connsiteY3" fmla="*/ 903 h 2560"/>
                    <a:gd name="connsiteX4" fmla="*/ 778 w 1932"/>
                    <a:gd name="connsiteY4" fmla="*/ 24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560">
                      <a:moveTo>
                        <a:pt x="778" y="24"/>
                      </a:moveTo>
                      <a:cubicBezTo>
                        <a:pt x="1281" y="275"/>
                        <a:pt x="1783" y="903"/>
                        <a:pt x="1909" y="1657"/>
                      </a:cubicBezTo>
                      <a:cubicBezTo>
                        <a:pt x="2034" y="2285"/>
                        <a:pt x="1657" y="2662"/>
                        <a:pt x="1155" y="2536"/>
                      </a:cubicBezTo>
                      <a:cubicBezTo>
                        <a:pt x="652" y="2285"/>
                        <a:pt x="150" y="1657"/>
                        <a:pt x="24" y="903"/>
                      </a:cubicBezTo>
                      <a:cubicBezTo>
                        <a:pt x="-101" y="275"/>
                        <a:pt x="276" y="-101"/>
                        <a:pt x="778" y="2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7" name="Freeform: Shape 646">
                  <a:extLst>
                    <a:ext uri="{FF2B5EF4-FFF2-40B4-BE49-F238E27FC236}">
                      <a16:creationId xmlns:a16="http://schemas.microsoft.com/office/drawing/2014/main" id="{E05ED094-9B78-4B26-99D4-F719987BEC62}"/>
                    </a:ext>
                  </a:extLst>
                </p:cNvPr>
                <p:cNvSpPr/>
                <p:nvPr/>
              </p:nvSpPr>
              <p:spPr>
                <a:xfrm>
                  <a:off x="10619421" y="3458923"/>
                  <a:ext cx="1907" cy="2629"/>
                </a:xfrm>
                <a:custGeom>
                  <a:avLst/>
                  <a:gdLst>
                    <a:gd name="connsiteX0" fmla="*/ 0 w 1907"/>
                    <a:gd name="connsiteY0" fmla="*/ 561 h 2629"/>
                    <a:gd name="connsiteX1" fmla="*/ 1130 w 1907"/>
                    <a:gd name="connsiteY1" fmla="*/ 310 h 2629"/>
                    <a:gd name="connsiteX2" fmla="*/ 1883 w 1907"/>
                    <a:gd name="connsiteY2" fmla="*/ 2068 h 2629"/>
                    <a:gd name="connsiteX3" fmla="*/ 754 w 1907"/>
                    <a:gd name="connsiteY3" fmla="*/ 2320 h 2629"/>
                    <a:gd name="connsiteX4" fmla="*/ 0 w 1907"/>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7" h="2629">
                      <a:moveTo>
                        <a:pt x="0" y="561"/>
                      </a:moveTo>
                      <a:cubicBezTo>
                        <a:pt x="126" y="-67"/>
                        <a:pt x="628" y="-192"/>
                        <a:pt x="1130" y="310"/>
                      </a:cubicBezTo>
                      <a:cubicBezTo>
                        <a:pt x="1633" y="687"/>
                        <a:pt x="2009" y="1566"/>
                        <a:pt x="1883" y="2068"/>
                      </a:cubicBezTo>
                      <a:cubicBezTo>
                        <a:pt x="1759" y="2696"/>
                        <a:pt x="1256" y="2822"/>
                        <a:pt x="754" y="2320"/>
                      </a:cubicBezTo>
                      <a:cubicBezTo>
                        <a:pt x="251" y="1943"/>
                        <a:pt x="0" y="1064"/>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8" name="Freeform: Shape 647">
                  <a:extLst>
                    <a:ext uri="{FF2B5EF4-FFF2-40B4-BE49-F238E27FC236}">
                      <a16:creationId xmlns:a16="http://schemas.microsoft.com/office/drawing/2014/main" id="{4939EE2F-6FA8-4FF3-B993-760709FD931C}"/>
                    </a:ext>
                  </a:extLst>
                </p:cNvPr>
                <p:cNvSpPr/>
                <p:nvPr/>
              </p:nvSpPr>
              <p:spPr>
                <a:xfrm>
                  <a:off x="10621054" y="3454241"/>
                  <a:ext cx="1883" cy="2447"/>
                </a:xfrm>
                <a:custGeom>
                  <a:avLst/>
                  <a:gdLst>
                    <a:gd name="connsiteX0" fmla="*/ 502 w 1883"/>
                    <a:gd name="connsiteY0" fmla="*/ 1977 h 2447"/>
                    <a:gd name="connsiteX1" fmla="*/ 126 w 1883"/>
                    <a:gd name="connsiteY1" fmla="*/ 219 h 2447"/>
                    <a:gd name="connsiteX2" fmla="*/ 1381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6" y="596"/>
                        <a:pt x="126" y="219"/>
                      </a:cubicBezTo>
                      <a:cubicBezTo>
                        <a:pt x="376" y="-158"/>
                        <a:pt x="1004" y="-32"/>
                        <a:pt x="1381" y="470"/>
                      </a:cubicBezTo>
                      <a:cubicBezTo>
                        <a:pt x="1883" y="973"/>
                        <a:pt x="2009" y="1852"/>
                        <a:pt x="1758" y="2229"/>
                      </a:cubicBezTo>
                      <a:cubicBezTo>
                        <a:pt x="1633" y="2605"/>
                        <a:pt x="1004"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9" name="Freeform: Shape 648">
                  <a:extLst>
                    <a:ext uri="{FF2B5EF4-FFF2-40B4-BE49-F238E27FC236}">
                      <a16:creationId xmlns:a16="http://schemas.microsoft.com/office/drawing/2014/main" id="{A96B6807-CD36-4D20-A300-5DFC1B830955}"/>
                    </a:ext>
                  </a:extLst>
                </p:cNvPr>
                <p:cNvSpPr/>
                <p:nvPr/>
              </p:nvSpPr>
              <p:spPr>
                <a:xfrm>
                  <a:off x="10612788" y="3449436"/>
                  <a:ext cx="1835" cy="2511"/>
                </a:xfrm>
                <a:custGeom>
                  <a:avLst/>
                  <a:gdLst>
                    <a:gd name="connsiteX0" fmla="*/ 1734 w 1835"/>
                    <a:gd name="connsiteY0" fmla="*/ 1256 h 2511"/>
                    <a:gd name="connsiteX1" fmla="*/ 1358 w 1835"/>
                    <a:gd name="connsiteY1" fmla="*/ 2512 h 2511"/>
                    <a:gd name="connsiteX2" fmla="*/ 101 w 1835"/>
                    <a:gd name="connsiteY2" fmla="*/ 1256 h 2511"/>
                    <a:gd name="connsiteX3" fmla="*/ 478 w 1835"/>
                    <a:gd name="connsiteY3" fmla="*/ 0 h 2511"/>
                    <a:gd name="connsiteX4" fmla="*/ 1734 w 1835"/>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 h="2511">
                      <a:moveTo>
                        <a:pt x="1734" y="1256"/>
                      </a:moveTo>
                      <a:cubicBezTo>
                        <a:pt x="1985" y="2009"/>
                        <a:pt x="1734" y="2512"/>
                        <a:pt x="1358" y="2512"/>
                      </a:cubicBezTo>
                      <a:cubicBezTo>
                        <a:pt x="855" y="2512"/>
                        <a:pt x="227" y="2009"/>
                        <a:pt x="101" y="1256"/>
                      </a:cubicBezTo>
                      <a:cubicBezTo>
                        <a:pt x="-150" y="502"/>
                        <a:pt x="101" y="0"/>
                        <a:pt x="478" y="0"/>
                      </a:cubicBezTo>
                      <a:cubicBezTo>
                        <a:pt x="980" y="0"/>
                        <a:pt x="1483" y="502"/>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650" name="Freeform: Shape 649">
              <a:extLst>
                <a:ext uri="{FF2B5EF4-FFF2-40B4-BE49-F238E27FC236}">
                  <a16:creationId xmlns:a16="http://schemas.microsoft.com/office/drawing/2014/main" id="{2173D191-1288-4502-B30A-36DF3B85D9C7}"/>
                </a:ext>
              </a:extLst>
            </p:cNvPr>
            <p:cNvSpPr/>
            <p:nvPr/>
          </p:nvSpPr>
          <p:spPr>
            <a:xfrm>
              <a:off x="10586515" y="3413883"/>
              <a:ext cx="64555" cy="63434"/>
            </a:xfrm>
            <a:custGeom>
              <a:avLst/>
              <a:gdLst>
                <a:gd name="connsiteX0" fmla="*/ 9042 w 64555"/>
                <a:gd name="connsiteY0" fmla="*/ 11313 h 63434"/>
                <a:gd name="connsiteX1" fmla="*/ 27002 w 64555"/>
                <a:gd name="connsiteY1" fmla="*/ 6792 h 63434"/>
                <a:gd name="connsiteX2" fmla="*/ 37051 w 64555"/>
                <a:gd name="connsiteY2" fmla="*/ 12569 h 63434"/>
                <a:gd name="connsiteX3" fmla="*/ 55011 w 64555"/>
                <a:gd name="connsiteY3" fmla="*/ 37688 h 63434"/>
                <a:gd name="connsiteX4" fmla="*/ 61415 w 64555"/>
                <a:gd name="connsiteY4" fmla="*/ 62932 h 63434"/>
                <a:gd name="connsiteX5" fmla="*/ 64555 w 64555"/>
                <a:gd name="connsiteY5" fmla="*/ 63435 h 63434"/>
                <a:gd name="connsiteX6" fmla="*/ 58275 w 64555"/>
                <a:gd name="connsiteY6" fmla="*/ 38316 h 63434"/>
                <a:gd name="connsiteX7" fmla="*/ 53001 w 64555"/>
                <a:gd name="connsiteY7" fmla="*/ 25380 h 63434"/>
                <a:gd name="connsiteX8" fmla="*/ 37301 w 64555"/>
                <a:gd name="connsiteY8" fmla="*/ 8801 h 63434"/>
                <a:gd name="connsiteX9" fmla="*/ 27254 w 64555"/>
                <a:gd name="connsiteY9" fmla="*/ 3024 h 63434"/>
                <a:gd name="connsiteX10" fmla="*/ 11555 w 64555"/>
                <a:gd name="connsiteY10" fmla="*/ 1517 h 63434"/>
                <a:gd name="connsiteX11" fmla="*/ 6280 w 64555"/>
                <a:gd name="connsiteY11" fmla="*/ 8299 h 63434"/>
                <a:gd name="connsiteX12" fmla="*/ 0 w 64555"/>
                <a:gd name="connsiteY12" fmla="*/ 26133 h 63434"/>
                <a:gd name="connsiteX13" fmla="*/ 3140 w 64555"/>
                <a:gd name="connsiteY13" fmla="*/ 29273 h 63434"/>
                <a:gd name="connsiteX14" fmla="*/ 9042 w 64555"/>
                <a:gd name="connsiteY14" fmla="*/ 11313 h 6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555" h="63434">
                  <a:moveTo>
                    <a:pt x="9042" y="11313"/>
                  </a:moveTo>
                  <a:cubicBezTo>
                    <a:pt x="11680" y="3903"/>
                    <a:pt x="18839" y="2145"/>
                    <a:pt x="27002" y="6792"/>
                  </a:cubicBezTo>
                  <a:lnTo>
                    <a:pt x="37051" y="12569"/>
                  </a:lnTo>
                  <a:cubicBezTo>
                    <a:pt x="45214" y="17216"/>
                    <a:pt x="52373" y="27389"/>
                    <a:pt x="55011" y="37688"/>
                  </a:cubicBezTo>
                  <a:lnTo>
                    <a:pt x="61415" y="62932"/>
                  </a:lnTo>
                  <a:lnTo>
                    <a:pt x="64555" y="63435"/>
                  </a:lnTo>
                  <a:lnTo>
                    <a:pt x="58275" y="38316"/>
                  </a:lnTo>
                  <a:cubicBezTo>
                    <a:pt x="57145" y="33795"/>
                    <a:pt x="55261" y="29399"/>
                    <a:pt x="53001" y="25380"/>
                  </a:cubicBezTo>
                  <a:cubicBezTo>
                    <a:pt x="48982" y="18346"/>
                    <a:pt x="43330" y="12318"/>
                    <a:pt x="37301" y="8801"/>
                  </a:cubicBezTo>
                  <a:lnTo>
                    <a:pt x="27254" y="3024"/>
                  </a:lnTo>
                  <a:cubicBezTo>
                    <a:pt x="21226" y="-493"/>
                    <a:pt x="15574" y="-870"/>
                    <a:pt x="11555" y="1517"/>
                  </a:cubicBezTo>
                  <a:cubicBezTo>
                    <a:pt x="9168" y="2898"/>
                    <a:pt x="7410" y="5159"/>
                    <a:pt x="6280" y="8299"/>
                  </a:cubicBezTo>
                  <a:lnTo>
                    <a:pt x="0" y="26133"/>
                  </a:lnTo>
                  <a:lnTo>
                    <a:pt x="3140" y="29273"/>
                  </a:lnTo>
                  <a:lnTo>
                    <a:pt x="9042" y="11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1" name="Freeform: Shape 650">
              <a:extLst>
                <a:ext uri="{FF2B5EF4-FFF2-40B4-BE49-F238E27FC236}">
                  <a16:creationId xmlns:a16="http://schemas.microsoft.com/office/drawing/2014/main" id="{2EBC1837-FECA-42E1-8E81-9E2238D4E640}"/>
                </a:ext>
              </a:extLst>
            </p:cNvPr>
            <p:cNvSpPr/>
            <p:nvPr/>
          </p:nvSpPr>
          <p:spPr>
            <a:xfrm>
              <a:off x="10597567" y="3399314"/>
              <a:ext cx="66690" cy="39948"/>
            </a:xfrm>
            <a:custGeom>
              <a:avLst/>
              <a:gdLst>
                <a:gd name="connsiteX0" fmla="*/ 51117 w 66690"/>
                <a:gd name="connsiteY0" fmla="*/ 8801 h 39948"/>
                <a:gd name="connsiteX1" fmla="*/ 41069 w 66690"/>
                <a:gd name="connsiteY1" fmla="*/ 3024 h 39948"/>
                <a:gd name="connsiteX2" fmla="*/ 25244 w 66690"/>
                <a:gd name="connsiteY2" fmla="*/ 1516 h 39948"/>
                <a:gd name="connsiteX3" fmla="*/ 0 w 66690"/>
                <a:gd name="connsiteY3" fmla="*/ 16086 h 39948"/>
                <a:gd name="connsiteX4" fmla="*/ 15699 w 66690"/>
                <a:gd name="connsiteY4" fmla="*/ 17593 h 39948"/>
                <a:gd name="connsiteX5" fmla="*/ 25747 w 66690"/>
                <a:gd name="connsiteY5" fmla="*/ 23370 h 39948"/>
                <a:gd name="connsiteX6" fmla="*/ 41446 w 66690"/>
                <a:gd name="connsiteY6" fmla="*/ 39949 h 39948"/>
                <a:gd name="connsiteX7" fmla="*/ 66691 w 66690"/>
                <a:gd name="connsiteY7" fmla="*/ 25380 h 39948"/>
                <a:gd name="connsiteX8" fmla="*/ 51117 w 66690"/>
                <a:gd name="connsiteY8" fmla="*/ 8801 h 3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90" h="39948">
                  <a:moveTo>
                    <a:pt x="51117" y="8801"/>
                  </a:moveTo>
                  <a:lnTo>
                    <a:pt x="41069" y="3024"/>
                  </a:lnTo>
                  <a:cubicBezTo>
                    <a:pt x="35041" y="-493"/>
                    <a:pt x="29389" y="-870"/>
                    <a:pt x="25244" y="1516"/>
                  </a:cubicBezTo>
                  <a:cubicBezTo>
                    <a:pt x="22858" y="2898"/>
                    <a:pt x="0" y="16086"/>
                    <a:pt x="0" y="16086"/>
                  </a:cubicBezTo>
                  <a:cubicBezTo>
                    <a:pt x="4144" y="13699"/>
                    <a:pt x="9670" y="14076"/>
                    <a:pt x="15699" y="17593"/>
                  </a:cubicBezTo>
                  <a:lnTo>
                    <a:pt x="25747" y="23370"/>
                  </a:lnTo>
                  <a:cubicBezTo>
                    <a:pt x="31775" y="26887"/>
                    <a:pt x="37427" y="32915"/>
                    <a:pt x="41446" y="39949"/>
                  </a:cubicBezTo>
                  <a:lnTo>
                    <a:pt x="66691" y="25380"/>
                  </a:lnTo>
                  <a:cubicBezTo>
                    <a:pt x="62797" y="18346"/>
                    <a:pt x="57145" y="12318"/>
                    <a:pt x="51117" y="8801"/>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2" name="Freeform: Shape 651">
              <a:extLst>
                <a:ext uri="{FF2B5EF4-FFF2-40B4-BE49-F238E27FC236}">
                  <a16:creationId xmlns:a16="http://schemas.microsoft.com/office/drawing/2014/main" id="{4E058438-AEA2-4768-83F8-9F1A6F17A8A6}"/>
                </a:ext>
              </a:extLst>
            </p:cNvPr>
            <p:cNvSpPr/>
            <p:nvPr/>
          </p:nvSpPr>
          <p:spPr>
            <a:xfrm>
              <a:off x="10639265" y="3424820"/>
              <a:ext cx="36799" cy="52624"/>
            </a:xfrm>
            <a:custGeom>
              <a:avLst/>
              <a:gdLst>
                <a:gd name="connsiteX0" fmla="*/ 30519 w 36799"/>
                <a:gd name="connsiteY0" fmla="*/ 12936 h 52624"/>
                <a:gd name="connsiteX1" fmla="*/ 25244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19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19" y="12936"/>
                  </a:moveTo>
                  <a:cubicBezTo>
                    <a:pt x="29389" y="8415"/>
                    <a:pt x="27505" y="4019"/>
                    <a:pt x="25244" y="0"/>
                  </a:cubicBezTo>
                  <a:lnTo>
                    <a:pt x="0" y="14569"/>
                  </a:lnTo>
                  <a:cubicBezTo>
                    <a:pt x="2386" y="18714"/>
                    <a:pt x="4144" y="23109"/>
                    <a:pt x="5275" y="27505"/>
                  </a:cubicBezTo>
                  <a:lnTo>
                    <a:pt x="11555" y="52624"/>
                  </a:lnTo>
                  <a:lnTo>
                    <a:pt x="36799" y="38055"/>
                  </a:lnTo>
                  <a:lnTo>
                    <a:pt x="30519"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3" name="Freeform: Shape 652">
              <a:extLst>
                <a:ext uri="{FF2B5EF4-FFF2-40B4-BE49-F238E27FC236}">
                  <a16:creationId xmlns:a16="http://schemas.microsoft.com/office/drawing/2014/main" id="{89D73782-450D-4014-A052-F1709FBCCA75}"/>
                </a:ext>
              </a:extLst>
            </p:cNvPr>
            <p:cNvSpPr/>
            <p:nvPr/>
          </p:nvSpPr>
          <p:spPr>
            <a:xfrm>
              <a:off x="10547832" y="3409246"/>
              <a:ext cx="136521" cy="78747"/>
            </a:xfrm>
            <a:custGeom>
              <a:avLst/>
              <a:gdLst>
                <a:gd name="connsiteX0" fmla="*/ 0 w 136521"/>
                <a:gd name="connsiteY0" fmla="*/ 17835 h 78747"/>
                <a:gd name="connsiteX1" fmla="*/ 105500 w 136521"/>
                <a:gd name="connsiteY1" fmla="*/ 78748 h 78747"/>
                <a:gd name="connsiteX2" fmla="*/ 136522 w 136521"/>
                <a:gd name="connsiteY2" fmla="*/ 60914 h 78747"/>
                <a:gd name="connsiteX3" fmla="*/ 31022 w 136521"/>
                <a:gd name="connsiteY3" fmla="*/ 0 h 78747"/>
              </a:gdLst>
              <a:ahLst/>
              <a:cxnLst>
                <a:cxn ang="0">
                  <a:pos x="connsiteX0" y="connsiteY0"/>
                </a:cxn>
                <a:cxn ang="0">
                  <a:pos x="connsiteX1" y="connsiteY1"/>
                </a:cxn>
                <a:cxn ang="0">
                  <a:pos x="connsiteX2" y="connsiteY2"/>
                </a:cxn>
                <a:cxn ang="0">
                  <a:pos x="connsiteX3" y="connsiteY3"/>
                </a:cxn>
              </a:cxnLst>
              <a:rect l="l" t="t" r="r" b="b"/>
              <a:pathLst>
                <a:path w="136521" h="78747">
                  <a:moveTo>
                    <a:pt x="0" y="17835"/>
                  </a:moveTo>
                  <a:lnTo>
                    <a:pt x="105500" y="78748"/>
                  </a:lnTo>
                  <a:lnTo>
                    <a:pt x="136522" y="60914"/>
                  </a:lnTo>
                  <a:lnTo>
                    <a:pt x="31022"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4" name="Freeform: Shape 653">
              <a:extLst>
                <a:ext uri="{FF2B5EF4-FFF2-40B4-BE49-F238E27FC236}">
                  <a16:creationId xmlns:a16="http://schemas.microsoft.com/office/drawing/2014/main" id="{410F61E9-44EC-47C4-9E84-13BA50154D38}"/>
                </a:ext>
              </a:extLst>
            </p:cNvPr>
            <p:cNvSpPr/>
            <p:nvPr/>
          </p:nvSpPr>
          <p:spPr>
            <a:xfrm>
              <a:off x="10547832" y="3427080"/>
              <a:ext cx="105750" cy="77491"/>
            </a:xfrm>
            <a:custGeom>
              <a:avLst/>
              <a:gdLst>
                <a:gd name="connsiteX0" fmla="*/ 0 w 105750"/>
                <a:gd name="connsiteY0" fmla="*/ 16453 h 77491"/>
                <a:gd name="connsiteX1" fmla="*/ 105751 w 105750"/>
                <a:gd name="connsiteY1" fmla="*/ 77492 h 77491"/>
                <a:gd name="connsiteX2" fmla="*/ 105500 w 105750"/>
                <a:gd name="connsiteY2" fmla="*/ 60913 h 77491"/>
                <a:gd name="connsiteX3" fmla="*/ 0 w 105750"/>
                <a:gd name="connsiteY3" fmla="*/ 0 h 77491"/>
              </a:gdLst>
              <a:ahLst/>
              <a:cxnLst>
                <a:cxn ang="0">
                  <a:pos x="connsiteX0" y="connsiteY0"/>
                </a:cxn>
                <a:cxn ang="0">
                  <a:pos x="connsiteX1" y="connsiteY1"/>
                </a:cxn>
                <a:cxn ang="0">
                  <a:pos x="connsiteX2" y="connsiteY2"/>
                </a:cxn>
                <a:cxn ang="0">
                  <a:pos x="connsiteX3" y="connsiteY3"/>
                </a:cxn>
              </a:cxnLst>
              <a:rect l="l" t="t" r="r" b="b"/>
              <a:pathLst>
                <a:path w="105750" h="77491">
                  <a:moveTo>
                    <a:pt x="0" y="16453"/>
                  </a:moveTo>
                  <a:lnTo>
                    <a:pt x="105751" y="77492"/>
                  </a:lnTo>
                  <a:lnTo>
                    <a:pt x="105500" y="60913"/>
                  </a:lnTo>
                  <a:lnTo>
                    <a:pt x="0" y="0"/>
                  </a:ln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5" name="Freeform: Shape 654">
              <a:extLst>
                <a:ext uri="{FF2B5EF4-FFF2-40B4-BE49-F238E27FC236}">
                  <a16:creationId xmlns:a16="http://schemas.microsoft.com/office/drawing/2014/main" id="{B5E84D3D-8593-4374-9D1A-CEDF93763608}"/>
                </a:ext>
              </a:extLst>
            </p:cNvPr>
            <p:cNvSpPr/>
            <p:nvPr/>
          </p:nvSpPr>
          <p:spPr>
            <a:xfrm>
              <a:off x="10521457" y="3457326"/>
              <a:ext cx="27379" cy="25016"/>
            </a:xfrm>
            <a:custGeom>
              <a:avLst/>
              <a:gdLst>
                <a:gd name="connsiteX0" fmla="*/ 6280 w 27379"/>
                <a:gd name="connsiteY0" fmla="*/ 7056 h 25016"/>
                <a:gd name="connsiteX1" fmla="*/ 0 w 27379"/>
                <a:gd name="connsiteY1" fmla="*/ 25016 h 25016"/>
                <a:gd name="connsiteX2" fmla="*/ 25244 w 27379"/>
                <a:gd name="connsiteY2" fmla="*/ 10447 h 25016"/>
                <a:gd name="connsiteX3" fmla="*/ 27380 w 27379"/>
                <a:gd name="connsiteY3" fmla="*/ 4419 h 25016"/>
                <a:gd name="connsiteX4" fmla="*/ 24240 w 27379"/>
                <a:gd name="connsiteY4" fmla="*/ 2660 h 25016"/>
                <a:gd name="connsiteX5" fmla="*/ 6280 w 27379"/>
                <a:gd name="connsiteY5" fmla="*/ 7056 h 2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5016">
                  <a:moveTo>
                    <a:pt x="6280" y="7056"/>
                  </a:moveTo>
                  <a:lnTo>
                    <a:pt x="0" y="25016"/>
                  </a:lnTo>
                  <a:lnTo>
                    <a:pt x="25244" y="10447"/>
                  </a:lnTo>
                  <a:lnTo>
                    <a:pt x="27380" y="4419"/>
                  </a:lnTo>
                  <a:lnTo>
                    <a:pt x="24240" y="2660"/>
                  </a:lnTo>
                  <a:cubicBezTo>
                    <a:pt x="16076" y="-2112"/>
                    <a:pt x="8791" y="-354"/>
                    <a:pt x="6280" y="7056"/>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6" name="Freeform: Shape 655">
              <a:extLst>
                <a:ext uri="{FF2B5EF4-FFF2-40B4-BE49-F238E27FC236}">
                  <a16:creationId xmlns:a16="http://schemas.microsoft.com/office/drawing/2014/main" id="{AB98A10A-72A6-46D5-A852-29733C455F64}"/>
                </a:ext>
              </a:extLst>
            </p:cNvPr>
            <p:cNvSpPr/>
            <p:nvPr/>
          </p:nvSpPr>
          <p:spPr>
            <a:xfrm>
              <a:off x="10549967" y="3452063"/>
              <a:ext cx="47650" cy="59165"/>
            </a:xfrm>
            <a:custGeom>
              <a:avLst/>
              <a:gdLst>
                <a:gd name="connsiteX0" fmla="*/ 41823 w 47650"/>
                <a:gd name="connsiteY0" fmla="*/ 17719 h 59165"/>
                <a:gd name="connsiteX1" fmla="*/ 27631 w 47650"/>
                <a:gd name="connsiteY1" fmla="*/ 2774 h 59165"/>
                <a:gd name="connsiteX2" fmla="*/ 18211 w 47650"/>
                <a:gd name="connsiteY2" fmla="*/ 10 h 59165"/>
                <a:gd name="connsiteX3" fmla="*/ 15072 w 47650"/>
                <a:gd name="connsiteY3" fmla="*/ 136 h 59165"/>
                <a:gd name="connsiteX4" fmla="*/ 15072 w 47650"/>
                <a:gd name="connsiteY4" fmla="*/ 136 h 59165"/>
                <a:gd name="connsiteX5" fmla="*/ 15072 w 47650"/>
                <a:gd name="connsiteY5" fmla="*/ 136 h 59165"/>
                <a:gd name="connsiteX6" fmla="*/ 15072 w 47650"/>
                <a:gd name="connsiteY6" fmla="*/ 136 h 59165"/>
                <a:gd name="connsiteX7" fmla="*/ 9922 w 47650"/>
                <a:gd name="connsiteY7" fmla="*/ 1518 h 59165"/>
                <a:gd name="connsiteX8" fmla="*/ 0 w 47650"/>
                <a:gd name="connsiteY8" fmla="*/ 7295 h 59165"/>
                <a:gd name="connsiteX9" fmla="*/ 15072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1" y="5662"/>
                    <a:pt x="27631" y="2774"/>
                  </a:cubicBezTo>
                  <a:cubicBezTo>
                    <a:pt x="24365" y="890"/>
                    <a:pt x="21226" y="-115"/>
                    <a:pt x="18211" y="10"/>
                  </a:cubicBezTo>
                  <a:cubicBezTo>
                    <a:pt x="17206" y="10"/>
                    <a:pt x="16202" y="10"/>
                    <a:pt x="15072" y="136"/>
                  </a:cubicBezTo>
                  <a:cubicBezTo>
                    <a:pt x="15072" y="136"/>
                    <a:pt x="15072" y="136"/>
                    <a:pt x="15072" y="136"/>
                  </a:cubicBezTo>
                  <a:lnTo>
                    <a:pt x="15072" y="136"/>
                  </a:lnTo>
                  <a:lnTo>
                    <a:pt x="15072" y="136"/>
                  </a:lnTo>
                  <a:cubicBezTo>
                    <a:pt x="13187" y="136"/>
                    <a:pt x="11430" y="639"/>
                    <a:pt x="9922" y="1518"/>
                  </a:cubicBezTo>
                  <a:lnTo>
                    <a:pt x="0" y="7295"/>
                  </a:lnTo>
                  <a:cubicBezTo>
                    <a:pt x="4145" y="4909"/>
                    <a:pt x="9671" y="5662"/>
                    <a:pt x="15072"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7"/>
                    <a:pt x="48103"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7" name="Freeform: Shape 656">
              <a:extLst>
                <a:ext uri="{FF2B5EF4-FFF2-40B4-BE49-F238E27FC236}">
                  <a16:creationId xmlns:a16="http://schemas.microsoft.com/office/drawing/2014/main" id="{4FEE52E4-0643-4A33-9D5C-82B7C27E0B10}"/>
                </a:ext>
              </a:extLst>
            </p:cNvPr>
            <p:cNvSpPr/>
            <p:nvPr/>
          </p:nvSpPr>
          <p:spPr>
            <a:xfrm>
              <a:off x="10544057" y="3457828"/>
              <a:ext cx="42206" cy="54309"/>
            </a:xfrm>
            <a:custGeom>
              <a:avLst/>
              <a:gdLst>
                <a:gd name="connsiteX0" fmla="*/ 36052 w 42206"/>
                <a:gd name="connsiteY0" fmla="*/ 18737 h 54309"/>
                <a:gd name="connsiteX1" fmla="*/ 21107 w 42206"/>
                <a:gd name="connsiteY1" fmla="*/ 2912 h 54309"/>
                <a:gd name="connsiteX2" fmla="*/ 6035 w 42206"/>
                <a:gd name="connsiteY2" fmla="*/ 1405 h 54309"/>
                <a:gd name="connsiteX3" fmla="*/ 7 w 42206"/>
                <a:gd name="connsiteY3" fmla="*/ 11075 h 54309"/>
                <a:gd name="connsiteX4" fmla="*/ 26884 w 42206"/>
                <a:gd name="connsiteY4" fmla="*/ 54029 h 54309"/>
                <a:gd name="connsiteX5" fmla="*/ 35927 w 42206"/>
                <a:gd name="connsiteY5" fmla="*/ 53275 h 54309"/>
                <a:gd name="connsiteX6" fmla="*/ 36052 w 42206"/>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6" h="54309">
                  <a:moveTo>
                    <a:pt x="36052"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341" y="48377"/>
                    <a:pt x="44216" y="33054"/>
                    <a:pt x="36052"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8" name="Freeform: Shape 657">
              <a:extLst>
                <a:ext uri="{FF2B5EF4-FFF2-40B4-BE49-F238E27FC236}">
                  <a16:creationId xmlns:a16="http://schemas.microsoft.com/office/drawing/2014/main" id="{2FF08CED-954A-475D-8CA8-B73CE3920F7D}"/>
                </a:ext>
              </a:extLst>
            </p:cNvPr>
            <p:cNvSpPr/>
            <p:nvPr/>
          </p:nvSpPr>
          <p:spPr>
            <a:xfrm>
              <a:off x="10543279" y="3459903"/>
              <a:ext cx="40379" cy="52037"/>
            </a:xfrm>
            <a:custGeom>
              <a:avLst/>
              <a:gdLst>
                <a:gd name="connsiteX0" fmla="*/ 34445 w 40379"/>
                <a:gd name="connsiteY0" fmla="*/ 50698 h 52037"/>
                <a:gd name="connsiteX1" fmla="*/ 5934 w 40379"/>
                <a:gd name="connsiteY1" fmla="*/ 34245 h 52037"/>
                <a:gd name="connsiteX2" fmla="*/ 5934 w 40379"/>
                <a:gd name="connsiteY2" fmla="*/ 1339 h 52037"/>
                <a:gd name="connsiteX3" fmla="*/ 34445 w 40379"/>
                <a:gd name="connsiteY3" fmla="*/ 17792 h 52037"/>
                <a:gd name="connsiteX4" fmla="*/ 34445 w 40379"/>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9" h="52037">
                  <a:moveTo>
                    <a:pt x="34445" y="50698"/>
                  </a:moveTo>
                  <a:cubicBezTo>
                    <a:pt x="26532" y="55219"/>
                    <a:pt x="13847" y="47935"/>
                    <a:pt x="5934" y="34245"/>
                  </a:cubicBezTo>
                  <a:cubicBezTo>
                    <a:pt x="-1978" y="20681"/>
                    <a:pt x="-1978" y="5861"/>
                    <a:pt x="5934" y="1339"/>
                  </a:cubicBezTo>
                  <a:cubicBezTo>
                    <a:pt x="13847" y="-3182"/>
                    <a:pt x="26532" y="4102"/>
                    <a:pt x="34445" y="17792"/>
                  </a:cubicBezTo>
                  <a:cubicBezTo>
                    <a:pt x="42357" y="31482"/>
                    <a:pt x="42357" y="46177"/>
                    <a:pt x="34445"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59" name="Graphic 4">
              <a:extLst>
                <a:ext uri="{FF2B5EF4-FFF2-40B4-BE49-F238E27FC236}">
                  <a16:creationId xmlns:a16="http://schemas.microsoft.com/office/drawing/2014/main" id="{84FB7ED1-A2DF-40A1-A747-5F7CF3F14040}"/>
                </a:ext>
              </a:extLst>
            </p:cNvPr>
            <p:cNvGrpSpPr/>
            <p:nvPr/>
          </p:nvGrpSpPr>
          <p:grpSpPr>
            <a:xfrm>
              <a:off x="10521190" y="3459850"/>
              <a:ext cx="62897" cy="66802"/>
              <a:chOff x="10521190" y="3459850"/>
              <a:chExt cx="62897" cy="66802"/>
            </a:xfrm>
            <a:solidFill>
              <a:schemeClr val="accent1"/>
            </a:solidFill>
          </p:grpSpPr>
          <p:sp>
            <p:nvSpPr>
              <p:cNvPr id="660" name="Freeform: Shape 659">
                <a:extLst>
                  <a:ext uri="{FF2B5EF4-FFF2-40B4-BE49-F238E27FC236}">
                    <a16:creationId xmlns:a16="http://schemas.microsoft.com/office/drawing/2014/main" id="{6EA6B357-DFD4-4007-BC03-62095B7A78C4}"/>
                  </a:ext>
                </a:extLst>
              </p:cNvPr>
              <p:cNvSpPr/>
              <p:nvPr/>
            </p:nvSpPr>
            <p:spPr>
              <a:xfrm>
                <a:off x="10536403" y="3459850"/>
                <a:ext cx="47684" cy="59165"/>
              </a:xfrm>
              <a:custGeom>
                <a:avLst/>
                <a:gdLst>
                  <a:gd name="connsiteX0" fmla="*/ 41823 w 47684"/>
                  <a:gd name="connsiteY0" fmla="*/ 17719 h 59165"/>
                  <a:gd name="connsiteX1" fmla="*/ 27630 w 47684"/>
                  <a:gd name="connsiteY1" fmla="*/ 2773 h 59165"/>
                  <a:gd name="connsiteX2" fmla="*/ 18211 w 47684"/>
                  <a:gd name="connsiteY2" fmla="*/ 11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1 w 47684"/>
                  <a:gd name="connsiteY11" fmla="*/ 59166 h 59165"/>
                  <a:gd name="connsiteX12" fmla="*/ 39813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29" y="10937"/>
                      <a:pt x="32780" y="5662"/>
                      <a:pt x="27630" y="2773"/>
                    </a:cubicBezTo>
                    <a:cubicBezTo>
                      <a:pt x="24365" y="890"/>
                      <a:pt x="21226" y="-115"/>
                      <a:pt x="18211" y="11"/>
                    </a:cubicBezTo>
                    <a:cubicBezTo>
                      <a:pt x="17206" y="11"/>
                      <a:pt x="16201" y="11"/>
                      <a:pt x="15071" y="136"/>
                    </a:cubicBezTo>
                    <a:cubicBezTo>
                      <a:pt x="15071" y="136"/>
                      <a:pt x="15071" y="136"/>
                      <a:pt x="15071" y="136"/>
                    </a:cubicBezTo>
                    <a:lnTo>
                      <a:pt x="15071" y="136"/>
                    </a:lnTo>
                    <a:lnTo>
                      <a:pt x="15071" y="136"/>
                    </a:lnTo>
                    <a:cubicBezTo>
                      <a:pt x="13187" y="136"/>
                      <a:pt x="11429" y="638"/>
                      <a:pt x="9922" y="1518"/>
                    </a:cubicBezTo>
                    <a:lnTo>
                      <a:pt x="0" y="7295"/>
                    </a:lnTo>
                    <a:cubicBezTo>
                      <a:pt x="4144" y="4909"/>
                      <a:pt x="9670" y="5662"/>
                      <a:pt x="15071" y="8802"/>
                    </a:cubicBezTo>
                    <a:cubicBezTo>
                      <a:pt x="20471" y="11942"/>
                      <a:pt x="25997" y="17468"/>
                      <a:pt x="30017" y="24627"/>
                    </a:cubicBezTo>
                    <a:cubicBezTo>
                      <a:pt x="38306" y="38945"/>
                      <a:pt x="38306" y="54393"/>
                      <a:pt x="29891" y="59166"/>
                    </a:cubicBezTo>
                    <a:lnTo>
                      <a:pt x="39813" y="53388"/>
                    </a:lnTo>
                    <a:cubicBezTo>
                      <a:pt x="43330" y="51379"/>
                      <a:pt x="45088" y="47360"/>
                      <a:pt x="45340" y="46857"/>
                    </a:cubicBezTo>
                    <a:cubicBezTo>
                      <a:pt x="49359" y="40326"/>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1" name="Freeform: Shape 660">
                <a:extLst>
                  <a:ext uri="{FF2B5EF4-FFF2-40B4-BE49-F238E27FC236}">
                    <a16:creationId xmlns:a16="http://schemas.microsoft.com/office/drawing/2014/main" id="{4CCD1622-A030-4163-9617-90824EF0DE5C}"/>
                  </a:ext>
                </a:extLst>
              </p:cNvPr>
              <p:cNvSpPr/>
              <p:nvPr/>
            </p:nvSpPr>
            <p:spPr>
              <a:xfrm>
                <a:off x="10530493" y="3465615"/>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6"/>
                    </a:cubicBezTo>
                    <a:cubicBezTo>
                      <a:pt x="-495" y="13462"/>
                      <a:pt x="26884" y="54029"/>
                      <a:pt x="26884" y="54029"/>
                    </a:cubicBezTo>
                    <a:cubicBezTo>
                      <a:pt x="30024" y="54657"/>
                      <a:pt x="34420" y="54154"/>
                      <a:pt x="35927" y="53275"/>
                    </a:cubicBezTo>
                    <a:cubicBezTo>
                      <a:pt x="44467" y="48377"/>
                      <a:pt x="44342"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2" name="Freeform: Shape 661">
                <a:extLst>
                  <a:ext uri="{FF2B5EF4-FFF2-40B4-BE49-F238E27FC236}">
                    <a16:creationId xmlns:a16="http://schemas.microsoft.com/office/drawing/2014/main" id="{FBD751C1-7E99-438A-B19E-5F97C5FA4FBC}"/>
                  </a:ext>
                </a:extLst>
              </p:cNvPr>
              <p:cNvSpPr/>
              <p:nvPr/>
            </p:nvSpPr>
            <p:spPr>
              <a:xfrm>
                <a:off x="10521190" y="3460821"/>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7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6"/>
                      <a:pt x="50627" y="53063"/>
                      <a:pt x="42758" y="57606"/>
                    </a:cubicBezTo>
                    <a:cubicBezTo>
                      <a:pt x="34889" y="62149"/>
                      <a:pt x="22128" y="54779"/>
                      <a:pt x="14255" y="41143"/>
                    </a:cubicBezTo>
                    <a:cubicBezTo>
                      <a:pt x="6382" y="27507"/>
                      <a:pt x="6379" y="12770"/>
                      <a:pt x="14248" y="8227"/>
                    </a:cubicBezTo>
                    <a:cubicBezTo>
                      <a:pt x="22117" y="3683"/>
                      <a:pt x="34878"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63" name="Graphic 4">
              <a:extLst>
                <a:ext uri="{FF2B5EF4-FFF2-40B4-BE49-F238E27FC236}">
                  <a16:creationId xmlns:a16="http://schemas.microsoft.com/office/drawing/2014/main" id="{84FB7ED1-A2DF-40A1-A747-5F7CF3F14040}"/>
                </a:ext>
              </a:extLst>
            </p:cNvPr>
            <p:cNvGrpSpPr/>
            <p:nvPr/>
          </p:nvGrpSpPr>
          <p:grpSpPr>
            <a:xfrm>
              <a:off x="10536465" y="3476256"/>
              <a:ext cx="27128" cy="35155"/>
              <a:chOff x="10536465" y="3476256"/>
              <a:chExt cx="27128" cy="35155"/>
            </a:xfrm>
            <a:solidFill>
              <a:schemeClr val="accent1"/>
            </a:solidFill>
          </p:grpSpPr>
          <p:sp>
            <p:nvSpPr>
              <p:cNvPr id="664" name="Freeform: Shape 663">
                <a:extLst>
                  <a:ext uri="{FF2B5EF4-FFF2-40B4-BE49-F238E27FC236}">
                    <a16:creationId xmlns:a16="http://schemas.microsoft.com/office/drawing/2014/main" id="{FBE74699-E254-4F17-BEC8-BD14A8437CC9}"/>
                  </a:ext>
                </a:extLst>
              </p:cNvPr>
              <p:cNvSpPr/>
              <p:nvPr/>
            </p:nvSpPr>
            <p:spPr>
              <a:xfrm>
                <a:off x="10537376" y="3477465"/>
                <a:ext cx="25181" cy="32612"/>
              </a:xfrm>
              <a:custGeom>
                <a:avLst/>
                <a:gdLst>
                  <a:gd name="connsiteX0" fmla="*/ 21508 w 25181"/>
                  <a:gd name="connsiteY0" fmla="*/ 31754 h 32612"/>
                  <a:gd name="connsiteX1" fmla="*/ 3674 w 25181"/>
                  <a:gd name="connsiteY1" fmla="*/ 21456 h 32612"/>
                  <a:gd name="connsiteX2" fmla="*/ 3674 w 25181"/>
                  <a:gd name="connsiteY2" fmla="*/ 858 h 32612"/>
                  <a:gd name="connsiteX3" fmla="*/ 21508 w 25181"/>
                  <a:gd name="connsiteY3" fmla="*/ 11157 h 32612"/>
                  <a:gd name="connsiteX4" fmla="*/ 21508 w 25181"/>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1" h="32612">
                    <a:moveTo>
                      <a:pt x="21508" y="31754"/>
                    </a:moveTo>
                    <a:cubicBezTo>
                      <a:pt x="16610" y="34643"/>
                      <a:pt x="8571" y="29996"/>
                      <a:pt x="3674" y="21456"/>
                    </a:cubicBezTo>
                    <a:cubicBezTo>
                      <a:pt x="-1225" y="12915"/>
                      <a:pt x="-1225" y="3747"/>
                      <a:pt x="3674" y="858"/>
                    </a:cubicBezTo>
                    <a:cubicBezTo>
                      <a:pt x="8571" y="-2031"/>
                      <a:pt x="16610" y="2617"/>
                      <a:pt x="21508" y="11157"/>
                    </a:cubicBezTo>
                    <a:cubicBezTo>
                      <a:pt x="26406" y="19697"/>
                      <a:pt x="26406"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5" name="Freeform: Shape 664">
                <a:extLst>
                  <a:ext uri="{FF2B5EF4-FFF2-40B4-BE49-F238E27FC236}">
                    <a16:creationId xmlns:a16="http://schemas.microsoft.com/office/drawing/2014/main" id="{41CD0A28-B7DC-44DC-9064-1F320AA60845}"/>
                  </a:ext>
                </a:extLst>
              </p:cNvPr>
              <p:cNvSpPr/>
              <p:nvPr/>
            </p:nvSpPr>
            <p:spPr>
              <a:xfrm>
                <a:off x="10536465" y="3476256"/>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2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2 w 27128"/>
                  <a:gd name="connsiteY10" fmla="*/ 15631 h 35155"/>
                  <a:gd name="connsiteX11" fmla="*/ 4585 w 27128"/>
                  <a:gd name="connsiteY11" fmla="*/ 2067 h 35155"/>
                  <a:gd name="connsiteX12" fmla="*/ 10111 w 27128"/>
                  <a:gd name="connsiteY12" fmla="*/ 1565 h 35155"/>
                  <a:gd name="connsiteX13" fmla="*/ 10111 w 27128"/>
                  <a:gd name="connsiteY13" fmla="*/ 8724 h 35155"/>
                  <a:gd name="connsiteX14" fmla="*/ 8854 w 27128"/>
                  <a:gd name="connsiteY14" fmla="*/ 9100 h 35155"/>
                  <a:gd name="connsiteX15" fmla="*/ 2952 w 27128"/>
                  <a:gd name="connsiteY15" fmla="*/ 3448 h 35155"/>
                  <a:gd name="connsiteX16" fmla="*/ 4585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4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4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8" y="2821"/>
                      <a:pt x="9232" y="-2203"/>
                      <a:pt x="3956" y="937"/>
                    </a:cubicBezTo>
                    <a:cubicBezTo>
                      <a:pt x="-1319" y="3951"/>
                      <a:pt x="-1319" y="13999"/>
                      <a:pt x="3956" y="23167"/>
                    </a:cubicBezTo>
                    <a:cubicBezTo>
                      <a:pt x="9232" y="32335"/>
                      <a:pt x="17898" y="37359"/>
                      <a:pt x="23172" y="34219"/>
                    </a:cubicBezTo>
                    <a:cubicBezTo>
                      <a:pt x="28447" y="31079"/>
                      <a:pt x="28447" y="21157"/>
                      <a:pt x="23172" y="11989"/>
                    </a:cubicBezTo>
                    <a:close/>
                    <a:moveTo>
                      <a:pt x="24052" y="15631"/>
                    </a:moveTo>
                    <a:lnTo>
                      <a:pt x="18148" y="14375"/>
                    </a:lnTo>
                    <a:cubicBezTo>
                      <a:pt x="17772" y="13747"/>
                      <a:pt x="17269" y="13119"/>
                      <a:pt x="16893" y="12491"/>
                    </a:cubicBezTo>
                    <a:lnTo>
                      <a:pt x="16893" y="5332"/>
                    </a:lnTo>
                    <a:cubicBezTo>
                      <a:pt x="18902" y="7216"/>
                      <a:pt x="20912" y="9477"/>
                      <a:pt x="22419" y="12366"/>
                    </a:cubicBezTo>
                    <a:cubicBezTo>
                      <a:pt x="23047" y="13496"/>
                      <a:pt x="23549" y="14501"/>
                      <a:pt x="24052" y="15631"/>
                    </a:cubicBezTo>
                    <a:close/>
                    <a:moveTo>
                      <a:pt x="4585" y="2067"/>
                    </a:moveTo>
                    <a:cubicBezTo>
                      <a:pt x="6217" y="1188"/>
                      <a:pt x="8101" y="1062"/>
                      <a:pt x="10111" y="1565"/>
                    </a:cubicBezTo>
                    <a:lnTo>
                      <a:pt x="10111" y="8724"/>
                    </a:lnTo>
                    <a:cubicBezTo>
                      <a:pt x="9608" y="8724"/>
                      <a:pt x="9232" y="8849"/>
                      <a:pt x="8854" y="9100"/>
                    </a:cubicBezTo>
                    <a:lnTo>
                      <a:pt x="2952" y="3448"/>
                    </a:lnTo>
                    <a:cubicBezTo>
                      <a:pt x="3454" y="2946"/>
                      <a:pt x="3956" y="2444"/>
                      <a:pt x="4585" y="2067"/>
                    </a:cubicBezTo>
                    <a:close/>
                    <a:moveTo>
                      <a:pt x="942" y="9603"/>
                    </a:moveTo>
                    <a:lnTo>
                      <a:pt x="6845" y="15254"/>
                    </a:lnTo>
                    <a:cubicBezTo>
                      <a:pt x="6971" y="15882"/>
                      <a:pt x="7096" y="16636"/>
                      <a:pt x="7347" y="17264"/>
                    </a:cubicBezTo>
                    <a:lnTo>
                      <a:pt x="3705" y="20906"/>
                    </a:lnTo>
                    <a:cubicBezTo>
                      <a:pt x="1695" y="17013"/>
                      <a:pt x="816" y="12994"/>
                      <a:pt x="942" y="9603"/>
                    </a:cubicBezTo>
                    <a:close/>
                    <a:moveTo>
                      <a:pt x="9106" y="28567"/>
                    </a:moveTo>
                    <a:lnTo>
                      <a:pt x="12748" y="24925"/>
                    </a:lnTo>
                    <a:cubicBezTo>
                      <a:pt x="13251" y="25302"/>
                      <a:pt x="13879" y="25679"/>
                      <a:pt x="14381" y="25804"/>
                    </a:cubicBezTo>
                    <a:lnTo>
                      <a:pt x="18023" y="33717"/>
                    </a:lnTo>
                    <a:cubicBezTo>
                      <a:pt x="15134" y="33340"/>
                      <a:pt x="11994" y="31456"/>
                      <a:pt x="9106" y="28567"/>
                    </a:cubicBezTo>
                    <a:close/>
                    <a:moveTo>
                      <a:pt x="23424" y="32335"/>
                    </a:moveTo>
                    <a:lnTo>
                      <a:pt x="19781" y="24423"/>
                    </a:lnTo>
                    <a:cubicBezTo>
                      <a:pt x="20033" y="24046"/>
                      <a:pt x="20158" y="23544"/>
                      <a:pt x="20284" y="22916"/>
                    </a:cubicBezTo>
                    <a:lnTo>
                      <a:pt x="26187" y="24046"/>
                    </a:lnTo>
                    <a:cubicBezTo>
                      <a:pt x="26312" y="27688"/>
                      <a:pt x="25307" y="30577"/>
                      <a:pt x="23424"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66" name="Graphic 4">
                <a:extLst>
                  <a:ext uri="{FF2B5EF4-FFF2-40B4-BE49-F238E27FC236}">
                    <a16:creationId xmlns:a16="http://schemas.microsoft.com/office/drawing/2014/main" id="{84FB7ED1-A2DF-40A1-A747-5F7CF3F14040}"/>
                  </a:ext>
                </a:extLst>
              </p:cNvPr>
              <p:cNvGrpSpPr/>
              <p:nvPr/>
            </p:nvGrpSpPr>
            <p:grpSpPr>
              <a:xfrm>
                <a:off x="10537395" y="3477946"/>
                <a:ext cx="23749" cy="32026"/>
                <a:chOff x="10537395" y="3477946"/>
                <a:chExt cx="23749" cy="32026"/>
              </a:xfrm>
              <a:solidFill>
                <a:srgbClr val="ADAA99"/>
              </a:solidFill>
            </p:grpSpPr>
            <p:sp>
              <p:nvSpPr>
                <p:cNvPr id="667" name="Freeform: Shape 666">
                  <a:extLst>
                    <a:ext uri="{FF2B5EF4-FFF2-40B4-BE49-F238E27FC236}">
                      <a16:creationId xmlns:a16="http://schemas.microsoft.com/office/drawing/2014/main" id="{DCE62EAB-3BB1-43BE-BA6C-76B68501121C}"/>
                    </a:ext>
                  </a:extLst>
                </p:cNvPr>
                <p:cNvSpPr/>
                <p:nvPr/>
              </p:nvSpPr>
              <p:spPr>
                <a:xfrm>
                  <a:off x="10553358" y="3481714"/>
                  <a:ext cx="7158" cy="10298"/>
                </a:xfrm>
                <a:custGeom>
                  <a:avLst/>
                  <a:gdLst>
                    <a:gd name="connsiteX0" fmla="*/ 1759 w 7158"/>
                    <a:gd name="connsiteY0" fmla="*/ 6154 h 10298"/>
                    <a:gd name="connsiteX1" fmla="*/ 1759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9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9" y="6154"/>
                      </a:moveTo>
                      <a:lnTo>
                        <a:pt x="1759" y="1758"/>
                      </a:lnTo>
                      <a:cubicBezTo>
                        <a:pt x="1131" y="1130"/>
                        <a:pt x="628" y="502"/>
                        <a:pt x="0" y="0"/>
                      </a:cubicBezTo>
                      <a:lnTo>
                        <a:pt x="0" y="7159"/>
                      </a:lnTo>
                      <a:cubicBezTo>
                        <a:pt x="502" y="7661"/>
                        <a:pt x="879" y="8289"/>
                        <a:pt x="1256" y="9043"/>
                      </a:cubicBezTo>
                      <a:lnTo>
                        <a:pt x="7159" y="10299"/>
                      </a:lnTo>
                      <a:cubicBezTo>
                        <a:pt x="6908" y="9796"/>
                        <a:pt x="6656" y="9294"/>
                        <a:pt x="6405" y="8792"/>
                      </a:cubicBezTo>
                      <a:lnTo>
                        <a:pt x="3014" y="8038"/>
                      </a:lnTo>
                      <a:cubicBezTo>
                        <a:pt x="2638" y="7285"/>
                        <a:pt x="2135" y="6657"/>
                        <a:pt x="1759"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8" name="Freeform: Shape 667">
                  <a:extLst>
                    <a:ext uri="{FF2B5EF4-FFF2-40B4-BE49-F238E27FC236}">
                      <a16:creationId xmlns:a16="http://schemas.microsoft.com/office/drawing/2014/main" id="{B1B70BD4-D3DE-45B1-B46B-6EB945376063}"/>
                    </a:ext>
                  </a:extLst>
                </p:cNvPr>
                <p:cNvSpPr/>
                <p:nvPr/>
              </p:nvSpPr>
              <p:spPr>
                <a:xfrm>
                  <a:off x="10556121" y="3499172"/>
                  <a:ext cx="5024" cy="9419"/>
                </a:xfrm>
                <a:custGeom>
                  <a:avLst/>
                  <a:gdLst>
                    <a:gd name="connsiteX0" fmla="*/ 1884 w 5024"/>
                    <a:gd name="connsiteY0" fmla="*/ 251 h 9419"/>
                    <a:gd name="connsiteX1" fmla="*/ 503 w 5024"/>
                    <a:gd name="connsiteY1" fmla="*/ 0 h 9419"/>
                    <a:gd name="connsiteX2" fmla="*/ 0 w 5024"/>
                    <a:gd name="connsiteY2" fmla="*/ 1507 h 9419"/>
                    <a:gd name="connsiteX3" fmla="*/ 3643 w 5024"/>
                    <a:gd name="connsiteY3" fmla="*/ 9420 h 9419"/>
                    <a:gd name="connsiteX4" fmla="*/ 5024 w 5024"/>
                    <a:gd name="connsiteY4" fmla="*/ 7661 h 9419"/>
                    <a:gd name="connsiteX5" fmla="*/ 1759 w 5024"/>
                    <a:gd name="connsiteY5" fmla="*/ 502 h 9419"/>
                    <a:gd name="connsiteX6" fmla="*/ 1884 w 5024"/>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4" h="9419">
                      <a:moveTo>
                        <a:pt x="1884" y="251"/>
                      </a:moveTo>
                      <a:lnTo>
                        <a:pt x="503" y="0"/>
                      </a:lnTo>
                      <a:cubicBezTo>
                        <a:pt x="377" y="502"/>
                        <a:pt x="251" y="1005"/>
                        <a:pt x="0" y="1507"/>
                      </a:cubicBezTo>
                      <a:lnTo>
                        <a:pt x="3643" y="9420"/>
                      </a:lnTo>
                      <a:cubicBezTo>
                        <a:pt x="4145" y="8917"/>
                        <a:pt x="4648" y="8415"/>
                        <a:pt x="5024" y="7661"/>
                      </a:cubicBezTo>
                      <a:lnTo>
                        <a:pt x="1759" y="502"/>
                      </a:lnTo>
                      <a:cubicBezTo>
                        <a:pt x="1884" y="377"/>
                        <a:pt x="1884" y="377"/>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9" name="Freeform: Shape 668">
                  <a:extLst>
                    <a:ext uri="{FF2B5EF4-FFF2-40B4-BE49-F238E27FC236}">
                      <a16:creationId xmlns:a16="http://schemas.microsoft.com/office/drawing/2014/main" id="{54E28D84-01EA-409D-921B-6A719A9AF141}"/>
                    </a:ext>
                  </a:extLst>
                </p:cNvPr>
                <p:cNvSpPr/>
                <p:nvPr/>
              </p:nvSpPr>
              <p:spPr>
                <a:xfrm>
                  <a:off x="10537395" y="3485859"/>
                  <a:ext cx="4282" cy="11303"/>
                </a:xfrm>
                <a:custGeom>
                  <a:avLst/>
                  <a:gdLst>
                    <a:gd name="connsiteX0" fmla="*/ 12 w 4282"/>
                    <a:gd name="connsiteY0" fmla="*/ 0 h 11303"/>
                    <a:gd name="connsiteX1" fmla="*/ 2775 w 4282"/>
                    <a:gd name="connsiteY1" fmla="*/ 11303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3"/>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0" name="Freeform: Shape 669">
                  <a:extLst>
                    <a:ext uri="{FF2B5EF4-FFF2-40B4-BE49-F238E27FC236}">
                      <a16:creationId xmlns:a16="http://schemas.microsoft.com/office/drawing/2014/main" id="{2B30D409-4496-4910-9714-9A2B2B43CE6C}"/>
                    </a:ext>
                  </a:extLst>
                </p:cNvPr>
                <p:cNvSpPr/>
                <p:nvPr/>
              </p:nvSpPr>
              <p:spPr>
                <a:xfrm>
                  <a:off x="10545571" y="3501181"/>
                  <a:ext cx="8917" cy="8791"/>
                </a:xfrm>
                <a:custGeom>
                  <a:avLst/>
                  <a:gdLst>
                    <a:gd name="connsiteX0" fmla="*/ 1759 w 8917"/>
                    <a:gd name="connsiteY0" fmla="*/ 2638 h 8791"/>
                    <a:gd name="connsiteX1" fmla="*/ 4145 w 8917"/>
                    <a:gd name="connsiteY1" fmla="*/ 251 h 8791"/>
                    <a:gd name="connsiteX2" fmla="*/ 3642 w 8917"/>
                    <a:gd name="connsiteY2" fmla="*/ 0 h 8791"/>
                    <a:gd name="connsiteX3" fmla="*/ 0 w 8917"/>
                    <a:gd name="connsiteY3" fmla="*/ 3642 h 8791"/>
                    <a:gd name="connsiteX4" fmla="*/ 8918 w 8917"/>
                    <a:gd name="connsiteY4" fmla="*/ 8792 h 8791"/>
                    <a:gd name="connsiteX5" fmla="*/ 8163 w 8917"/>
                    <a:gd name="connsiteY5" fmla="*/ 7033 h 8791"/>
                    <a:gd name="connsiteX6" fmla="*/ 1759 w 8917"/>
                    <a:gd name="connsiteY6" fmla="*/ 2638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8"/>
                      </a:moveTo>
                      <a:lnTo>
                        <a:pt x="4145" y="251"/>
                      </a:lnTo>
                      <a:cubicBezTo>
                        <a:pt x="4019" y="126"/>
                        <a:pt x="3893" y="0"/>
                        <a:pt x="3642" y="0"/>
                      </a:cubicBezTo>
                      <a:lnTo>
                        <a:pt x="0" y="3642"/>
                      </a:lnTo>
                      <a:cubicBezTo>
                        <a:pt x="2888" y="6531"/>
                        <a:pt x="6028" y="8415"/>
                        <a:pt x="8918" y="8792"/>
                      </a:cubicBezTo>
                      <a:lnTo>
                        <a:pt x="8163" y="7033"/>
                      </a:lnTo>
                      <a:cubicBezTo>
                        <a:pt x="5903" y="6280"/>
                        <a:pt x="3768" y="4647"/>
                        <a:pt x="1759" y="2638"/>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1" name="Freeform: Shape 670">
                  <a:extLst>
                    <a:ext uri="{FF2B5EF4-FFF2-40B4-BE49-F238E27FC236}">
                      <a16:creationId xmlns:a16="http://schemas.microsoft.com/office/drawing/2014/main" id="{1C6E69EE-DE17-407D-BF58-20463CC8B7B4}"/>
                    </a:ext>
                  </a:extLst>
                </p:cNvPr>
                <p:cNvSpPr/>
                <p:nvPr/>
              </p:nvSpPr>
              <p:spPr>
                <a:xfrm>
                  <a:off x="10539543" y="3477946"/>
                  <a:ext cx="7158" cy="7410"/>
                </a:xfrm>
                <a:custGeom>
                  <a:avLst/>
                  <a:gdLst>
                    <a:gd name="connsiteX0" fmla="*/ 2511 w 7158"/>
                    <a:gd name="connsiteY0" fmla="*/ 0 h 7410"/>
                    <a:gd name="connsiteX1" fmla="*/ 1632 w 7158"/>
                    <a:gd name="connsiteY1" fmla="*/ 377 h 7410"/>
                    <a:gd name="connsiteX2" fmla="*/ 0 w 7158"/>
                    <a:gd name="connsiteY2" fmla="*/ 1758 h 7410"/>
                    <a:gd name="connsiteX3" fmla="*/ 5903 w 7158"/>
                    <a:gd name="connsiteY3" fmla="*/ 7410 h 7410"/>
                    <a:gd name="connsiteX4" fmla="*/ 7158 w 7158"/>
                    <a:gd name="connsiteY4" fmla="*/ 7033 h 7410"/>
                    <a:gd name="connsiteX5" fmla="*/ 7158 w 7158"/>
                    <a:gd name="connsiteY5" fmla="*/ 5903 h 7410"/>
                    <a:gd name="connsiteX6" fmla="*/ 1758 w 7158"/>
                    <a:gd name="connsiteY6" fmla="*/ 754 h 7410"/>
                    <a:gd name="connsiteX7" fmla="*/ 2511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1" y="0"/>
                      </a:moveTo>
                      <a:cubicBezTo>
                        <a:pt x="2135" y="126"/>
                        <a:pt x="1883" y="251"/>
                        <a:pt x="1632" y="377"/>
                      </a:cubicBezTo>
                      <a:cubicBezTo>
                        <a:pt x="1004" y="754"/>
                        <a:pt x="502" y="1130"/>
                        <a:pt x="0" y="1758"/>
                      </a:cubicBezTo>
                      <a:lnTo>
                        <a:pt x="5903" y="7410"/>
                      </a:lnTo>
                      <a:cubicBezTo>
                        <a:pt x="6280" y="7159"/>
                        <a:pt x="6782" y="7159"/>
                        <a:pt x="7158" y="7033"/>
                      </a:cubicBezTo>
                      <a:lnTo>
                        <a:pt x="7158" y="5903"/>
                      </a:lnTo>
                      <a:lnTo>
                        <a:pt x="1758" y="754"/>
                      </a:lnTo>
                      <a:cubicBezTo>
                        <a:pt x="1883" y="502"/>
                        <a:pt x="2135" y="251"/>
                        <a:pt x="2511"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72" name="Graphic 4">
                <a:extLst>
                  <a:ext uri="{FF2B5EF4-FFF2-40B4-BE49-F238E27FC236}">
                    <a16:creationId xmlns:a16="http://schemas.microsoft.com/office/drawing/2014/main" id="{84FB7ED1-A2DF-40A1-A747-5F7CF3F14040}"/>
                  </a:ext>
                </a:extLst>
              </p:cNvPr>
              <p:cNvGrpSpPr/>
              <p:nvPr/>
            </p:nvGrpSpPr>
            <p:grpSpPr>
              <a:xfrm>
                <a:off x="10544968" y="3487538"/>
                <a:ext cx="10148" cy="13199"/>
                <a:chOff x="10544968" y="3487538"/>
                <a:chExt cx="10148" cy="13199"/>
              </a:xfrm>
              <a:solidFill>
                <a:srgbClr val="222222"/>
              </a:solidFill>
            </p:grpSpPr>
            <p:sp>
              <p:nvSpPr>
                <p:cNvPr id="673" name="Freeform: Shape 672">
                  <a:extLst>
                    <a:ext uri="{FF2B5EF4-FFF2-40B4-BE49-F238E27FC236}">
                      <a16:creationId xmlns:a16="http://schemas.microsoft.com/office/drawing/2014/main" id="{1D6A6E4F-802D-44D2-8DDD-21CDBE665AD8}"/>
                    </a:ext>
                  </a:extLst>
                </p:cNvPr>
                <p:cNvSpPr/>
                <p:nvPr/>
              </p:nvSpPr>
              <p:spPr>
                <a:xfrm>
                  <a:off x="10548366" y="3491652"/>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4" name="Freeform: Shape 673">
                  <a:extLst>
                    <a:ext uri="{FF2B5EF4-FFF2-40B4-BE49-F238E27FC236}">
                      <a16:creationId xmlns:a16="http://schemas.microsoft.com/office/drawing/2014/main" id="{009D28C2-A5F5-44C7-BF18-B615D1578BD0}"/>
                    </a:ext>
                  </a:extLst>
                </p:cNvPr>
                <p:cNvSpPr/>
                <p:nvPr/>
              </p:nvSpPr>
              <p:spPr>
                <a:xfrm>
                  <a:off x="10549056" y="3487538"/>
                  <a:ext cx="1946" cy="2543"/>
                </a:xfrm>
                <a:custGeom>
                  <a:avLst/>
                  <a:gdLst>
                    <a:gd name="connsiteX0" fmla="*/ 1664 w 1946"/>
                    <a:gd name="connsiteY0" fmla="*/ 2465 h 2543"/>
                    <a:gd name="connsiteX1" fmla="*/ 282 w 1946"/>
                    <a:gd name="connsiteY1" fmla="*/ 1712 h 2543"/>
                    <a:gd name="connsiteX2" fmla="*/ 282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40"/>
                        <a:pt x="282" y="1712"/>
                      </a:cubicBezTo>
                      <a:cubicBezTo>
                        <a:pt x="-94" y="1083"/>
                        <a:pt x="-94" y="330"/>
                        <a:pt x="282"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5" name="Freeform: Shape 674">
                  <a:extLst>
                    <a:ext uri="{FF2B5EF4-FFF2-40B4-BE49-F238E27FC236}">
                      <a16:creationId xmlns:a16="http://schemas.microsoft.com/office/drawing/2014/main" id="{3FF43516-C0F1-44A5-9361-4B924D774526}"/>
                    </a:ext>
                  </a:extLst>
                </p:cNvPr>
                <p:cNvSpPr/>
                <p:nvPr/>
              </p:nvSpPr>
              <p:spPr>
                <a:xfrm>
                  <a:off x="10546497" y="3495129"/>
                  <a:ext cx="1986" cy="2560"/>
                </a:xfrm>
                <a:custGeom>
                  <a:avLst/>
                  <a:gdLst>
                    <a:gd name="connsiteX0" fmla="*/ 832 w 1986"/>
                    <a:gd name="connsiteY0" fmla="*/ 24 h 2560"/>
                    <a:gd name="connsiteX1" fmla="*/ 1962 w 1986"/>
                    <a:gd name="connsiteY1" fmla="*/ 1657 h 2560"/>
                    <a:gd name="connsiteX2" fmla="*/ 1209 w 1986"/>
                    <a:gd name="connsiteY2" fmla="*/ 2536 h 2560"/>
                    <a:gd name="connsiteX3" fmla="*/ 79 w 1986"/>
                    <a:gd name="connsiteY3" fmla="*/ 903 h 2560"/>
                    <a:gd name="connsiteX4" fmla="*/ 832 w 1986"/>
                    <a:gd name="connsiteY4" fmla="*/ 24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6" h="2560">
                      <a:moveTo>
                        <a:pt x="832" y="24"/>
                      </a:moveTo>
                      <a:cubicBezTo>
                        <a:pt x="1334" y="275"/>
                        <a:pt x="1837" y="903"/>
                        <a:pt x="1962" y="1657"/>
                      </a:cubicBezTo>
                      <a:cubicBezTo>
                        <a:pt x="2088" y="2285"/>
                        <a:pt x="1712" y="2661"/>
                        <a:pt x="1209" y="2536"/>
                      </a:cubicBezTo>
                      <a:cubicBezTo>
                        <a:pt x="707" y="2410"/>
                        <a:pt x="204" y="1657"/>
                        <a:pt x="79" y="903"/>
                      </a:cubicBezTo>
                      <a:cubicBezTo>
                        <a:pt x="-173" y="275"/>
                        <a:pt x="204" y="-102"/>
                        <a:pt x="832" y="2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6" name="Freeform: Shape 675">
                  <a:extLst>
                    <a:ext uri="{FF2B5EF4-FFF2-40B4-BE49-F238E27FC236}">
                      <a16:creationId xmlns:a16="http://schemas.microsoft.com/office/drawing/2014/main" id="{7BCB6065-9538-455F-87F6-490F1DC277EB}"/>
                    </a:ext>
                  </a:extLst>
                </p:cNvPr>
                <p:cNvSpPr/>
                <p:nvPr/>
              </p:nvSpPr>
              <p:spPr>
                <a:xfrm>
                  <a:off x="10551575" y="3498108"/>
                  <a:ext cx="1932" cy="2629"/>
                </a:xfrm>
                <a:custGeom>
                  <a:avLst/>
                  <a:gdLst>
                    <a:gd name="connsiteX0" fmla="*/ 24 w 1932"/>
                    <a:gd name="connsiteY0" fmla="*/ 561 h 2629"/>
                    <a:gd name="connsiteX1" fmla="*/ 1155 w 1932"/>
                    <a:gd name="connsiteY1" fmla="*/ 310 h 2629"/>
                    <a:gd name="connsiteX2" fmla="*/ 1909 w 1932"/>
                    <a:gd name="connsiteY2" fmla="*/ 2068 h 2629"/>
                    <a:gd name="connsiteX3" fmla="*/ 778 w 1932"/>
                    <a:gd name="connsiteY3" fmla="*/ 2320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9" y="2068"/>
                      </a:cubicBezTo>
                      <a:cubicBezTo>
                        <a:pt x="1783" y="2696"/>
                        <a:pt x="1281" y="2822"/>
                        <a:pt x="778" y="2320"/>
                      </a:cubicBezTo>
                      <a:cubicBezTo>
                        <a:pt x="276" y="1817"/>
                        <a:pt x="-101" y="1063"/>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7" name="Freeform: Shape 676">
                  <a:extLst>
                    <a:ext uri="{FF2B5EF4-FFF2-40B4-BE49-F238E27FC236}">
                      <a16:creationId xmlns:a16="http://schemas.microsoft.com/office/drawing/2014/main" id="{D1C0C263-4836-46AA-ABF1-121C493ABAD4}"/>
                    </a:ext>
                  </a:extLst>
                </p:cNvPr>
                <p:cNvSpPr/>
                <p:nvPr/>
              </p:nvSpPr>
              <p:spPr>
                <a:xfrm>
                  <a:off x="10553232" y="3493426"/>
                  <a:ext cx="1884" cy="2447"/>
                </a:xfrm>
                <a:custGeom>
                  <a:avLst/>
                  <a:gdLst>
                    <a:gd name="connsiteX0" fmla="*/ 502 w 1884"/>
                    <a:gd name="connsiteY0" fmla="*/ 1977 h 2447"/>
                    <a:gd name="connsiteX1" fmla="*/ 126 w 1884"/>
                    <a:gd name="connsiteY1" fmla="*/ 219 h 2447"/>
                    <a:gd name="connsiteX2" fmla="*/ 1381 w 1884"/>
                    <a:gd name="connsiteY2" fmla="*/ 470 h 2447"/>
                    <a:gd name="connsiteX3" fmla="*/ 1759 w 1884"/>
                    <a:gd name="connsiteY3" fmla="*/ 2229 h 2447"/>
                    <a:gd name="connsiteX4" fmla="*/ 502 w 1884"/>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4" h="2447">
                      <a:moveTo>
                        <a:pt x="502" y="1977"/>
                      </a:moveTo>
                      <a:cubicBezTo>
                        <a:pt x="0" y="1475"/>
                        <a:pt x="-126" y="596"/>
                        <a:pt x="126" y="219"/>
                      </a:cubicBezTo>
                      <a:cubicBezTo>
                        <a:pt x="377" y="-158"/>
                        <a:pt x="1005" y="-32"/>
                        <a:pt x="1381" y="470"/>
                      </a:cubicBezTo>
                      <a:cubicBezTo>
                        <a:pt x="1884" y="973"/>
                        <a:pt x="2010" y="1852"/>
                        <a:pt x="1759" y="2229"/>
                      </a:cubicBezTo>
                      <a:cubicBezTo>
                        <a:pt x="1507" y="2605"/>
                        <a:pt x="1005"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8" name="Freeform: Shape 677">
                  <a:extLst>
                    <a:ext uri="{FF2B5EF4-FFF2-40B4-BE49-F238E27FC236}">
                      <a16:creationId xmlns:a16="http://schemas.microsoft.com/office/drawing/2014/main" id="{24D8C6A7-4353-4D56-8F8D-F4EB9E6C4B32}"/>
                    </a:ext>
                  </a:extLst>
                </p:cNvPr>
                <p:cNvSpPr/>
                <p:nvPr/>
              </p:nvSpPr>
              <p:spPr>
                <a:xfrm>
                  <a:off x="10544968" y="3488622"/>
                  <a:ext cx="1834" cy="2511"/>
                </a:xfrm>
                <a:custGeom>
                  <a:avLst/>
                  <a:gdLst>
                    <a:gd name="connsiteX0" fmla="*/ 1733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3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3" y="1256"/>
                      </a:moveTo>
                      <a:cubicBezTo>
                        <a:pt x="1985" y="2010"/>
                        <a:pt x="1733" y="2512"/>
                        <a:pt x="1357" y="2512"/>
                      </a:cubicBezTo>
                      <a:cubicBezTo>
                        <a:pt x="855" y="2512"/>
                        <a:pt x="226" y="2010"/>
                        <a:pt x="101" y="1256"/>
                      </a:cubicBezTo>
                      <a:cubicBezTo>
                        <a:pt x="-150" y="502"/>
                        <a:pt x="101" y="0"/>
                        <a:pt x="478" y="0"/>
                      </a:cubicBezTo>
                      <a:cubicBezTo>
                        <a:pt x="855" y="0"/>
                        <a:pt x="1483" y="502"/>
                        <a:pt x="1733"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679" name="Freeform: Shape 678">
              <a:extLst>
                <a:ext uri="{FF2B5EF4-FFF2-40B4-BE49-F238E27FC236}">
                  <a16:creationId xmlns:a16="http://schemas.microsoft.com/office/drawing/2014/main" id="{B9F816C4-A393-46E1-92FC-871EBB71FDCE}"/>
                </a:ext>
              </a:extLst>
            </p:cNvPr>
            <p:cNvSpPr/>
            <p:nvPr/>
          </p:nvSpPr>
          <p:spPr>
            <a:xfrm>
              <a:off x="10518568" y="3453069"/>
              <a:ext cx="64681" cy="63434"/>
            </a:xfrm>
            <a:custGeom>
              <a:avLst/>
              <a:gdLst>
                <a:gd name="connsiteX0" fmla="*/ 9169 w 64681"/>
                <a:gd name="connsiteY0" fmla="*/ 11313 h 63434"/>
                <a:gd name="connsiteX1" fmla="*/ 27129 w 64681"/>
                <a:gd name="connsiteY1" fmla="*/ 6792 h 63434"/>
                <a:gd name="connsiteX2" fmla="*/ 37176 w 64681"/>
                <a:gd name="connsiteY2" fmla="*/ 12569 h 63434"/>
                <a:gd name="connsiteX3" fmla="*/ 55136 w 64681"/>
                <a:gd name="connsiteY3" fmla="*/ 37688 h 63434"/>
                <a:gd name="connsiteX4" fmla="*/ 61542 w 64681"/>
                <a:gd name="connsiteY4" fmla="*/ 62932 h 63434"/>
                <a:gd name="connsiteX5" fmla="*/ 64682 w 64681"/>
                <a:gd name="connsiteY5" fmla="*/ 63435 h 63434"/>
                <a:gd name="connsiteX6" fmla="*/ 58402 w 64681"/>
                <a:gd name="connsiteY6" fmla="*/ 38316 h 63434"/>
                <a:gd name="connsiteX7" fmla="*/ 53127 w 64681"/>
                <a:gd name="connsiteY7" fmla="*/ 25380 h 63434"/>
                <a:gd name="connsiteX8" fmla="*/ 37428 w 64681"/>
                <a:gd name="connsiteY8" fmla="*/ 8801 h 63434"/>
                <a:gd name="connsiteX9" fmla="*/ 27380 w 64681"/>
                <a:gd name="connsiteY9" fmla="*/ 3024 h 63434"/>
                <a:gd name="connsiteX10" fmla="*/ 11555 w 64681"/>
                <a:gd name="connsiteY10" fmla="*/ 1516 h 63434"/>
                <a:gd name="connsiteX11" fmla="*/ 6280 w 64681"/>
                <a:gd name="connsiteY11" fmla="*/ 8299 h 63434"/>
                <a:gd name="connsiteX12" fmla="*/ 0 w 64681"/>
                <a:gd name="connsiteY12" fmla="*/ 26133 h 63434"/>
                <a:gd name="connsiteX13" fmla="*/ 3140 w 64681"/>
                <a:gd name="connsiteY13" fmla="*/ 29273 h 63434"/>
                <a:gd name="connsiteX14" fmla="*/ 9169 w 64681"/>
                <a:gd name="connsiteY14" fmla="*/ 11313 h 6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681" h="63434">
                  <a:moveTo>
                    <a:pt x="9169" y="11313"/>
                  </a:moveTo>
                  <a:cubicBezTo>
                    <a:pt x="11806" y="3903"/>
                    <a:pt x="18965" y="2144"/>
                    <a:pt x="27129" y="6792"/>
                  </a:cubicBezTo>
                  <a:lnTo>
                    <a:pt x="37176" y="12569"/>
                  </a:lnTo>
                  <a:cubicBezTo>
                    <a:pt x="45340" y="17216"/>
                    <a:pt x="52499" y="27389"/>
                    <a:pt x="55136" y="37688"/>
                  </a:cubicBezTo>
                  <a:lnTo>
                    <a:pt x="61542" y="62932"/>
                  </a:lnTo>
                  <a:lnTo>
                    <a:pt x="64682" y="63435"/>
                  </a:lnTo>
                  <a:lnTo>
                    <a:pt x="58402" y="38316"/>
                  </a:lnTo>
                  <a:cubicBezTo>
                    <a:pt x="57271" y="33794"/>
                    <a:pt x="55388" y="29399"/>
                    <a:pt x="53127" y="25380"/>
                  </a:cubicBezTo>
                  <a:cubicBezTo>
                    <a:pt x="49108" y="18346"/>
                    <a:pt x="43456" y="12318"/>
                    <a:pt x="37428" y="8801"/>
                  </a:cubicBezTo>
                  <a:lnTo>
                    <a:pt x="27380" y="3024"/>
                  </a:lnTo>
                  <a:cubicBezTo>
                    <a:pt x="21351" y="-493"/>
                    <a:pt x="15699" y="-870"/>
                    <a:pt x="11555" y="1516"/>
                  </a:cubicBezTo>
                  <a:cubicBezTo>
                    <a:pt x="9169" y="2898"/>
                    <a:pt x="7410" y="5159"/>
                    <a:pt x="6280" y="8299"/>
                  </a:cubicBezTo>
                  <a:lnTo>
                    <a:pt x="0" y="26133"/>
                  </a:lnTo>
                  <a:lnTo>
                    <a:pt x="3140" y="29273"/>
                  </a:lnTo>
                  <a:lnTo>
                    <a:pt x="9169" y="11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0" name="Freeform: Shape 679">
              <a:extLst>
                <a:ext uri="{FF2B5EF4-FFF2-40B4-BE49-F238E27FC236}">
                  <a16:creationId xmlns:a16="http://schemas.microsoft.com/office/drawing/2014/main" id="{C999DA18-AA50-4B12-91AB-316158220922}"/>
                </a:ext>
              </a:extLst>
            </p:cNvPr>
            <p:cNvSpPr/>
            <p:nvPr/>
          </p:nvSpPr>
          <p:spPr>
            <a:xfrm>
              <a:off x="10529746" y="3438500"/>
              <a:ext cx="66816" cy="39948"/>
            </a:xfrm>
            <a:custGeom>
              <a:avLst/>
              <a:gdLst>
                <a:gd name="connsiteX0" fmla="*/ 51117 w 66816"/>
                <a:gd name="connsiteY0" fmla="*/ 8801 h 39948"/>
                <a:gd name="connsiteX1" fmla="*/ 41070 w 66816"/>
                <a:gd name="connsiteY1" fmla="*/ 3024 h 39948"/>
                <a:gd name="connsiteX2" fmla="*/ 25245 w 66816"/>
                <a:gd name="connsiteY2" fmla="*/ 1517 h 39948"/>
                <a:gd name="connsiteX3" fmla="*/ 0 w 66816"/>
                <a:gd name="connsiteY3" fmla="*/ 16085 h 39948"/>
                <a:gd name="connsiteX4" fmla="*/ 15825 w 66816"/>
                <a:gd name="connsiteY4" fmla="*/ 17593 h 39948"/>
                <a:gd name="connsiteX5" fmla="*/ 25873 w 66816"/>
                <a:gd name="connsiteY5" fmla="*/ 23370 h 39948"/>
                <a:gd name="connsiteX6" fmla="*/ 41572 w 66816"/>
                <a:gd name="connsiteY6" fmla="*/ 39949 h 39948"/>
                <a:gd name="connsiteX7" fmla="*/ 66817 w 66816"/>
                <a:gd name="connsiteY7" fmla="*/ 25380 h 39948"/>
                <a:gd name="connsiteX8" fmla="*/ 51117 w 66816"/>
                <a:gd name="connsiteY8" fmla="*/ 8801 h 3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816" h="39948">
                  <a:moveTo>
                    <a:pt x="51117" y="8801"/>
                  </a:moveTo>
                  <a:lnTo>
                    <a:pt x="41070" y="3024"/>
                  </a:lnTo>
                  <a:cubicBezTo>
                    <a:pt x="35041" y="-493"/>
                    <a:pt x="29390" y="-870"/>
                    <a:pt x="25245" y="1517"/>
                  </a:cubicBezTo>
                  <a:cubicBezTo>
                    <a:pt x="22858" y="2898"/>
                    <a:pt x="0" y="16085"/>
                    <a:pt x="0" y="16085"/>
                  </a:cubicBezTo>
                  <a:cubicBezTo>
                    <a:pt x="4145" y="13699"/>
                    <a:pt x="9671" y="14076"/>
                    <a:pt x="15825" y="17593"/>
                  </a:cubicBezTo>
                  <a:lnTo>
                    <a:pt x="25873" y="23370"/>
                  </a:lnTo>
                  <a:cubicBezTo>
                    <a:pt x="31901" y="26887"/>
                    <a:pt x="37553" y="32915"/>
                    <a:pt x="41572" y="39949"/>
                  </a:cubicBezTo>
                  <a:lnTo>
                    <a:pt x="66817" y="25380"/>
                  </a:lnTo>
                  <a:cubicBezTo>
                    <a:pt x="62797" y="18346"/>
                    <a:pt x="57145" y="12318"/>
                    <a:pt x="51117" y="8801"/>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1" name="Freeform: Shape 680">
              <a:extLst>
                <a:ext uri="{FF2B5EF4-FFF2-40B4-BE49-F238E27FC236}">
                  <a16:creationId xmlns:a16="http://schemas.microsoft.com/office/drawing/2014/main" id="{2DEB68CB-5B8D-44CC-82A5-CAF771036E35}"/>
                </a:ext>
              </a:extLst>
            </p:cNvPr>
            <p:cNvSpPr/>
            <p:nvPr/>
          </p:nvSpPr>
          <p:spPr>
            <a:xfrm>
              <a:off x="10571444" y="3464005"/>
              <a:ext cx="36799" cy="52624"/>
            </a:xfrm>
            <a:custGeom>
              <a:avLst/>
              <a:gdLst>
                <a:gd name="connsiteX0" fmla="*/ 30519 w 36799"/>
                <a:gd name="connsiteY0" fmla="*/ 12936 h 52624"/>
                <a:gd name="connsiteX1" fmla="*/ 25245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19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19" y="12936"/>
                  </a:moveTo>
                  <a:cubicBezTo>
                    <a:pt x="29389" y="8415"/>
                    <a:pt x="27505" y="4019"/>
                    <a:pt x="25245" y="0"/>
                  </a:cubicBezTo>
                  <a:lnTo>
                    <a:pt x="0" y="14569"/>
                  </a:lnTo>
                  <a:cubicBezTo>
                    <a:pt x="2386" y="18714"/>
                    <a:pt x="4145" y="23110"/>
                    <a:pt x="5275" y="27505"/>
                  </a:cubicBezTo>
                  <a:lnTo>
                    <a:pt x="11555" y="52624"/>
                  </a:lnTo>
                  <a:lnTo>
                    <a:pt x="36799" y="38055"/>
                  </a:lnTo>
                  <a:lnTo>
                    <a:pt x="30519"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2" name="Freeform: Shape 681">
              <a:extLst>
                <a:ext uri="{FF2B5EF4-FFF2-40B4-BE49-F238E27FC236}">
                  <a16:creationId xmlns:a16="http://schemas.microsoft.com/office/drawing/2014/main" id="{83A61E72-AE9A-458F-91E8-8C3F26496323}"/>
                </a:ext>
              </a:extLst>
            </p:cNvPr>
            <p:cNvSpPr/>
            <p:nvPr/>
          </p:nvSpPr>
          <p:spPr>
            <a:xfrm>
              <a:off x="10591916" y="3467724"/>
              <a:ext cx="69453" cy="65609"/>
            </a:xfrm>
            <a:custGeom>
              <a:avLst/>
              <a:gdLst>
                <a:gd name="connsiteX0" fmla="*/ 2009 w 69453"/>
                <a:gd name="connsiteY0" fmla="*/ 9469 h 65609"/>
                <a:gd name="connsiteX1" fmla="*/ 17834 w 69453"/>
                <a:gd name="connsiteY1" fmla="*/ 301 h 65609"/>
                <a:gd name="connsiteX2" fmla="*/ 19341 w 69453"/>
                <a:gd name="connsiteY2" fmla="*/ 175 h 65609"/>
                <a:gd name="connsiteX3" fmla="*/ 69454 w 69453"/>
                <a:gd name="connsiteY3" fmla="*/ 29187 h 65609"/>
                <a:gd name="connsiteX4" fmla="*/ 67946 w 69453"/>
                <a:gd name="connsiteY4" fmla="*/ 29313 h 65609"/>
                <a:gd name="connsiteX5" fmla="*/ 52121 w 69453"/>
                <a:gd name="connsiteY5" fmla="*/ 38481 h 65609"/>
                <a:gd name="connsiteX6" fmla="*/ 50112 w 69453"/>
                <a:gd name="connsiteY6" fmla="*/ 41998 h 65609"/>
                <a:gd name="connsiteX7" fmla="*/ 50112 w 69453"/>
                <a:gd name="connsiteY7" fmla="*/ 64228 h 65609"/>
                <a:gd name="connsiteX8" fmla="*/ 50740 w 69453"/>
                <a:gd name="connsiteY8" fmla="*/ 65610 h 65609"/>
                <a:gd name="connsiteX9" fmla="*/ 628 w 69453"/>
                <a:gd name="connsiteY9" fmla="*/ 36598 h 65609"/>
                <a:gd name="connsiteX10" fmla="*/ 0 w 69453"/>
                <a:gd name="connsiteY10" fmla="*/ 35216 h 65609"/>
                <a:gd name="connsiteX11" fmla="*/ 0 w 69453"/>
                <a:gd name="connsiteY11" fmla="*/ 12986 h 65609"/>
                <a:gd name="connsiteX12" fmla="*/ 2009 w 69453"/>
                <a:gd name="connsiteY12" fmla="*/ 9469 h 6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453" h="65609">
                  <a:moveTo>
                    <a:pt x="2009" y="9469"/>
                  </a:moveTo>
                  <a:lnTo>
                    <a:pt x="17834" y="301"/>
                  </a:lnTo>
                  <a:cubicBezTo>
                    <a:pt x="18462" y="-76"/>
                    <a:pt x="18965" y="-76"/>
                    <a:pt x="19341" y="175"/>
                  </a:cubicBezTo>
                  <a:cubicBezTo>
                    <a:pt x="19718" y="426"/>
                    <a:pt x="69454" y="29187"/>
                    <a:pt x="69454" y="29187"/>
                  </a:cubicBezTo>
                  <a:cubicBezTo>
                    <a:pt x="69077" y="28936"/>
                    <a:pt x="68574" y="28936"/>
                    <a:pt x="67946" y="29313"/>
                  </a:cubicBezTo>
                  <a:lnTo>
                    <a:pt x="52121" y="38481"/>
                  </a:lnTo>
                  <a:cubicBezTo>
                    <a:pt x="50991" y="39109"/>
                    <a:pt x="50112" y="40742"/>
                    <a:pt x="50112" y="41998"/>
                  </a:cubicBezTo>
                  <a:lnTo>
                    <a:pt x="50112" y="64228"/>
                  </a:lnTo>
                  <a:cubicBezTo>
                    <a:pt x="50112" y="64856"/>
                    <a:pt x="50364" y="65359"/>
                    <a:pt x="50740" y="65610"/>
                  </a:cubicBezTo>
                  <a:cubicBezTo>
                    <a:pt x="50740" y="65610"/>
                    <a:pt x="879" y="36849"/>
                    <a:pt x="628" y="36598"/>
                  </a:cubicBezTo>
                  <a:cubicBezTo>
                    <a:pt x="376" y="36346"/>
                    <a:pt x="0" y="35970"/>
                    <a:pt x="0" y="35216"/>
                  </a:cubicBezTo>
                  <a:lnTo>
                    <a:pt x="0" y="12986"/>
                  </a:lnTo>
                  <a:cubicBezTo>
                    <a:pt x="0" y="11730"/>
                    <a:pt x="879" y="10097"/>
                    <a:pt x="2009" y="9469"/>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3" name="Freeform: Shape 682">
              <a:extLst>
                <a:ext uri="{FF2B5EF4-FFF2-40B4-BE49-F238E27FC236}">
                  <a16:creationId xmlns:a16="http://schemas.microsoft.com/office/drawing/2014/main" id="{46ADE9E5-CF71-4404-BF99-41A9CCBB2291}"/>
                </a:ext>
              </a:extLst>
            </p:cNvPr>
            <p:cNvSpPr/>
            <p:nvPr/>
          </p:nvSpPr>
          <p:spPr>
            <a:xfrm>
              <a:off x="10575965" y="3476313"/>
              <a:ext cx="74101" cy="45716"/>
            </a:xfrm>
            <a:custGeom>
              <a:avLst/>
              <a:gdLst>
                <a:gd name="connsiteX0" fmla="*/ 5024 w 74101"/>
                <a:gd name="connsiteY0" fmla="*/ 0 h 45716"/>
                <a:gd name="connsiteX1" fmla="*/ 74101 w 74101"/>
                <a:gd name="connsiteY1" fmla="*/ 39814 h 45716"/>
                <a:gd name="connsiteX2" fmla="*/ 74101 w 74101"/>
                <a:gd name="connsiteY2" fmla="*/ 45716 h 45716"/>
                <a:gd name="connsiteX3" fmla="*/ 0 w 74101"/>
                <a:gd name="connsiteY3" fmla="*/ 2889 h 45716"/>
              </a:gdLst>
              <a:ahLst/>
              <a:cxnLst>
                <a:cxn ang="0">
                  <a:pos x="connsiteX0" y="connsiteY0"/>
                </a:cxn>
                <a:cxn ang="0">
                  <a:pos x="connsiteX1" y="connsiteY1"/>
                </a:cxn>
                <a:cxn ang="0">
                  <a:pos x="connsiteX2" y="connsiteY2"/>
                </a:cxn>
                <a:cxn ang="0">
                  <a:pos x="connsiteX3" y="connsiteY3"/>
                </a:cxn>
              </a:cxnLst>
              <a:rect l="l" t="t" r="r" b="b"/>
              <a:pathLst>
                <a:path w="74101" h="45716">
                  <a:moveTo>
                    <a:pt x="5024" y="0"/>
                  </a:moveTo>
                  <a:lnTo>
                    <a:pt x="74101" y="39814"/>
                  </a:lnTo>
                  <a:lnTo>
                    <a:pt x="74101" y="45716"/>
                  </a:lnTo>
                  <a:lnTo>
                    <a:pt x="0" y="2889"/>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4" name="Freeform: Shape 683">
              <a:extLst>
                <a:ext uri="{FF2B5EF4-FFF2-40B4-BE49-F238E27FC236}">
                  <a16:creationId xmlns:a16="http://schemas.microsoft.com/office/drawing/2014/main" id="{8A80EE6F-72CB-45A8-96CF-755C9814F2CF}"/>
                </a:ext>
              </a:extLst>
            </p:cNvPr>
            <p:cNvSpPr/>
            <p:nvPr/>
          </p:nvSpPr>
          <p:spPr>
            <a:xfrm>
              <a:off x="10575965" y="3479202"/>
              <a:ext cx="74101" cy="77366"/>
            </a:xfrm>
            <a:custGeom>
              <a:avLst/>
              <a:gdLst>
                <a:gd name="connsiteX0" fmla="*/ 0 w 74101"/>
                <a:gd name="connsiteY0" fmla="*/ 0 h 77366"/>
                <a:gd name="connsiteX1" fmla="*/ 74101 w 74101"/>
                <a:gd name="connsiteY1" fmla="*/ 42828 h 77366"/>
                <a:gd name="connsiteX2" fmla="*/ 74101 w 74101"/>
                <a:gd name="connsiteY2" fmla="*/ 77366 h 77366"/>
                <a:gd name="connsiteX3" fmla="*/ 9797 w 74101"/>
                <a:gd name="connsiteY3" fmla="*/ 40316 h 77366"/>
              </a:gdLst>
              <a:ahLst/>
              <a:cxnLst>
                <a:cxn ang="0">
                  <a:pos x="connsiteX0" y="connsiteY0"/>
                </a:cxn>
                <a:cxn ang="0">
                  <a:pos x="connsiteX1" y="connsiteY1"/>
                </a:cxn>
                <a:cxn ang="0">
                  <a:pos x="connsiteX2" y="connsiteY2"/>
                </a:cxn>
                <a:cxn ang="0">
                  <a:pos x="connsiteX3" y="connsiteY3"/>
                </a:cxn>
              </a:cxnLst>
              <a:rect l="l" t="t" r="r" b="b"/>
              <a:pathLst>
                <a:path w="74101" h="77366">
                  <a:moveTo>
                    <a:pt x="0" y="0"/>
                  </a:moveTo>
                  <a:lnTo>
                    <a:pt x="74101" y="42828"/>
                  </a:lnTo>
                  <a:lnTo>
                    <a:pt x="74101" y="77366"/>
                  </a:lnTo>
                  <a:lnTo>
                    <a:pt x="9797" y="40316"/>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5" name="Freeform: Shape 684">
              <a:extLst>
                <a:ext uri="{FF2B5EF4-FFF2-40B4-BE49-F238E27FC236}">
                  <a16:creationId xmlns:a16="http://schemas.microsoft.com/office/drawing/2014/main" id="{E7F3ABF6-C181-4C48-8D19-F4A8B115AA4C}"/>
                </a:ext>
              </a:extLst>
            </p:cNvPr>
            <p:cNvSpPr/>
            <p:nvPr/>
          </p:nvSpPr>
          <p:spPr>
            <a:xfrm>
              <a:off x="10376520" y="3354863"/>
              <a:ext cx="10047" cy="27128"/>
            </a:xfrm>
            <a:custGeom>
              <a:avLst/>
              <a:gdLst>
                <a:gd name="connsiteX0" fmla="*/ 0 w 10047"/>
                <a:gd name="connsiteY0" fmla="*/ 10801 h 27128"/>
                <a:gd name="connsiteX1" fmla="*/ 0 w 10047"/>
                <a:gd name="connsiteY1" fmla="*/ 7159 h 27128"/>
                <a:gd name="connsiteX2" fmla="*/ 7033 w 10047"/>
                <a:gd name="connsiteY2" fmla="*/ 3014 h 27128"/>
                <a:gd name="connsiteX3" fmla="*/ 7033 w 10047"/>
                <a:gd name="connsiteY3" fmla="*/ 0 h 27128"/>
                <a:gd name="connsiteX4" fmla="*/ 10047 w 10047"/>
                <a:gd name="connsiteY4" fmla="*/ 1758 h 27128"/>
                <a:gd name="connsiteX5" fmla="*/ 10047 w 10047"/>
                <a:gd name="connsiteY5" fmla="*/ 22984 h 27128"/>
                <a:gd name="connsiteX6" fmla="*/ 2889 w 10047"/>
                <a:gd name="connsiteY6" fmla="*/ 27128 h 27128"/>
                <a:gd name="connsiteX7" fmla="*/ 0 w 10047"/>
                <a:gd name="connsiteY7" fmla="*/ 25370 h 27128"/>
                <a:gd name="connsiteX8" fmla="*/ 7033 w 10047"/>
                <a:gd name="connsiteY8" fmla="*/ 21351 h 27128"/>
                <a:gd name="connsiteX9" fmla="*/ 7033 w 10047"/>
                <a:gd name="connsiteY9" fmla="*/ 6657 h 2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47" h="27128">
                  <a:moveTo>
                    <a:pt x="0" y="10801"/>
                  </a:moveTo>
                  <a:lnTo>
                    <a:pt x="0" y="7159"/>
                  </a:lnTo>
                  <a:lnTo>
                    <a:pt x="7033" y="3014"/>
                  </a:lnTo>
                  <a:lnTo>
                    <a:pt x="7033" y="0"/>
                  </a:lnTo>
                  <a:lnTo>
                    <a:pt x="10047" y="1758"/>
                  </a:lnTo>
                  <a:lnTo>
                    <a:pt x="10047" y="22984"/>
                  </a:lnTo>
                  <a:lnTo>
                    <a:pt x="2889" y="27128"/>
                  </a:lnTo>
                  <a:lnTo>
                    <a:pt x="0" y="25370"/>
                  </a:lnTo>
                  <a:lnTo>
                    <a:pt x="7033" y="21351"/>
                  </a:lnTo>
                  <a:lnTo>
                    <a:pt x="7033" y="6657"/>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6" name="Freeform: Shape 685">
              <a:extLst>
                <a:ext uri="{FF2B5EF4-FFF2-40B4-BE49-F238E27FC236}">
                  <a16:creationId xmlns:a16="http://schemas.microsoft.com/office/drawing/2014/main" id="{9CB3E1B0-8E9C-41D9-8466-D198E013682B}"/>
                </a:ext>
              </a:extLst>
            </p:cNvPr>
            <p:cNvSpPr/>
            <p:nvPr/>
          </p:nvSpPr>
          <p:spPr>
            <a:xfrm>
              <a:off x="10379409" y="3356622"/>
              <a:ext cx="10800" cy="29012"/>
            </a:xfrm>
            <a:custGeom>
              <a:avLst/>
              <a:gdLst>
                <a:gd name="connsiteX0" fmla="*/ 0 w 10800"/>
                <a:gd name="connsiteY0" fmla="*/ 10801 h 29012"/>
                <a:gd name="connsiteX1" fmla="*/ 0 w 10800"/>
                <a:gd name="connsiteY1" fmla="*/ 7159 h 29012"/>
                <a:gd name="connsiteX2" fmla="*/ 7158 w 10800"/>
                <a:gd name="connsiteY2" fmla="*/ 3014 h 29012"/>
                <a:gd name="connsiteX3" fmla="*/ 7158 w 10800"/>
                <a:gd name="connsiteY3" fmla="*/ 0 h 29012"/>
                <a:gd name="connsiteX4" fmla="*/ 10801 w 10800"/>
                <a:gd name="connsiteY4" fmla="*/ 2135 h 29012"/>
                <a:gd name="connsiteX5" fmla="*/ 10801 w 10800"/>
                <a:gd name="connsiteY5" fmla="*/ 22858 h 29012"/>
                <a:gd name="connsiteX6" fmla="*/ 0 w 10800"/>
                <a:gd name="connsiteY6" fmla="*/ 29012 h 29012"/>
                <a:gd name="connsiteX7" fmla="*/ 0 w 10800"/>
                <a:gd name="connsiteY7" fmla="*/ 25370 h 29012"/>
                <a:gd name="connsiteX8" fmla="*/ 7158 w 10800"/>
                <a:gd name="connsiteY8" fmla="*/ 21225 h 29012"/>
                <a:gd name="connsiteX9" fmla="*/ 7158 w 10800"/>
                <a:gd name="connsiteY9" fmla="*/ 6657 h 2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00" h="29012">
                  <a:moveTo>
                    <a:pt x="0" y="10801"/>
                  </a:moveTo>
                  <a:lnTo>
                    <a:pt x="0" y="7159"/>
                  </a:lnTo>
                  <a:lnTo>
                    <a:pt x="7158" y="3014"/>
                  </a:lnTo>
                  <a:lnTo>
                    <a:pt x="7158" y="0"/>
                  </a:lnTo>
                  <a:lnTo>
                    <a:pt x="10801" y="2135"/>
                  </a:lnTo>
                  <a:lnTo>
                    <a:pt x="10801" y="22858"/>
                  </a:lnTo>
                  <a:lnTo>
                    <a:pt x="0" y="29012"/>
                  </a:lnTo>
                  <a:lnTo>
                    <a:pt x="0" y="25370"/>
                  </a:lnTo>
                  <a:lnTo>
                    <a:pt x="7158" y="21225"/>
                  </a:lnTo>
                  <a:lnTo>
                    <a:pt x="7158" y="6657"/>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7" name="Freeform: Shape 686">
              <a:extLst>
                <a:ext uri="{FF2B5EF4-FFF2-40B4-BE49-F238E27FC236}">
                  <a16:creationId xmlns:a16="http://schemas.microsoft.com/office/drawing/2014/main" id="{5D6EAE26-3740-487A-A174-55956DF0E06B}"/>
                </a:ext>
              </a:extLst>
            </p:cNvPr>
            <p:cNvSpPr/>
            <p:nvPr/>
          </p:nvSpPr>
          <p:spPr>
            <a:xfrm>
              <a:off x="10467326" y="3407362"/>
              <a:ext cx="10047" cy="27128"/>
            </a:xfrm>
            <a:custGeom>
              <a:avLst/>
              <a:gdLst>
                <a:gd name="connsiteX0" fmla="*/ 0 w 10047"/>
                <a:gd name="connsiteY0" fmla="*/ 10676 h 27128"/>
                <a:gd name="connsiteX1" fmla="*/ 0 w 10047"/>
                <a:gd name="connsiteY1" fmla="*/ 7159 h 27128"/>
                <a:gd name="connsiteX2" fmla="*/ 7158 w 10047"/>
                <a:gd name="connsiteY2" fmla="*/ 3014 h 27128"/>
                <a:gd name="connsiteX3" fmla="*/ 7158 w 10047"/>
                <a:gd name="connsiteY3" fmla="*/ 0 h 27128"/>
                <a:gd name="connsiteX4" fmla="*/ 10047 w 10047"/>
                <a:gd name="connsiteY4" fmla="*/ 1758 h 27128"/>
                <a:gd name="connsiteX5" fmla="*/ 10047 w 10047"/>
                <a:gd name="connsiteY5" fmla="*/ 22984 h 27128"/>
                <a:gd name="connsiteX6" fmla="*/ 3014 w 10047"/>
                <a:gd name="connsiteY6" fmla="*/ 27129 h 27128"/>
                <a:gd name="connsiteX7" fmla="*/ 0 w 10047"/>
                <a:gd name="connsiteY7" fmla="*/ 25370 h 27128"/>
                <a:gd name="connsiteX8" fmla="*/ 7158 w 10047"/>
                <a:gd name="connsiteY8" fmla="*/ 21226 h 27128"/>
                <a:gd name="connsiteX9" fmla="*/ 7158 w 10047"/>
                <a:gd name="connsiteY9" fmla="*/ 6657 h 2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47" h="27128">
                  <a:moveTo>
                    <a:pt x="0" y="10676"/>
                  </a:moveTo>
                  <a:lnTo>
                    <a:pt x="0" y="7159"/>
                  </a:lnTo>
                  <a:lnTo>
                    <a:pt x="7158" y="3014"/>
                  </a:lnTo>
                  <a:lnTo>
                    <a:pt x="7158" y="0"/>
                  </a:lnTo>
                  <a:lnTo>
                    <a:pt x="10047" y="1758"/>
                  </a:lnTo>
                  <a:lnTo>
                    <a:pt x="10047" y="22984"/>
                  </a:lnTo>
                  <a:lnTo>
                    <a:pt x="3014" y="27129"/>
                  </a:lnTo>
                  <a:lnTo>
                    <a:pt x="0" y="25370"/>
                  </a:lnTo>
                  <a:lnTo>
                    <a:pt x="7158" y="21226"/>
                  </a:lnTo>
                  <a:lnTo>
                    <a:pt x="7158" y="6657"/>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8" name="Freeform: Shape 687">
              <a:extLst>
                <a:ext uri="{FF2B5EF4-FFF2-40B4-BE49-F238E27FC236}">
                  <a16:creationId xmlns:a16="http://schemas.microsoft.com/office/drawing/2014/main" id="{727A1810-66AF-47C3-99FA-B84A3A587B19}"/>
                </a:ext>
              </a:extLst>
            </p:cNvPr>
            <p:cNvSpPr/>
            <p:nvPr/>
          </p:nvSpPr>
          <p:spPr>
            <a:xfrm>
              <a:off x="10470340" y="3409120"/>
              <a:ext cx="10675" cy="29012"/>
            </a:xfrm>
            <a:custGeom>
              <a:avLst/>
              <a:gdLst>
                <a:gd name="connsiteX0" fmla="*/ 0 w 10675"/>
                <a:gd name="connsiteY0" fmla="*/ 10676 h 29012"/>
                <a:gd name="connsiteX1" fmla="*/ 0 w 10675"/>
                <a:gd name="connsiteY1" fmla="*/ 7033 h 29012"/>
                <a:gd name="connsiteX2" fmla="*/ 7033 w 10675"/>
                <a:gd name="connsiteY2" fmla="*/ 2889 h 29012"/>
                <a:gd name="connsiteX3" fmla="*/ 7033 w 10675"/>
                <a:gd name="connsiteY3" fmla="*/ 0 h 29012"/>
                <a:gd name="connsiteX4" fmla="*/ 10675 w 10675"/>
                <a:gd name="connsiteY4" fmla="*/ 2010 h 29012"/>
                <a:gd name="connsiteX5" fmla="*/ 10675 w 10675"/>
                <a:gd name="connsiteY5" fmla="*/ 22733 h 29012"/>
                <a:gd name="connsiteX6" fmla="*/ 0 w 10675"/>
                <a:gd name="connsiteY6" fmla="*/ 29012 h 29012"/>
                <a:gd name="connsiteX7" fmla="*/ 0 w 10675"/>
                <a:gd name="connsiteY7" fmla="*/ 25370 h 29012"/>
                <a:gd name="connsiteX8" fmla="*/ 7033 w 10675"/>
                <a:gd name="connsiteY8" fmla="*/ 21226 h 29012"/>
                <a:gd name="connsiteX9" fmla="*/ 7033 w 10675"/>
                <a:gd name="connsiteY9" fmla="*/ 6531 h 2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75" h="29012">
                  <a:moveTo>
                    <a:pt x="0" y="10676"/>
                  </a:moveTo>
                  <a:lnTo>
                    <a:pt x="0" y="7033"/>
                  </a:lnTo>
                  <a:lnTo>
                    <a:pt x="7033" y="2889"/>
                  </a:lnTo>
                  <a:lnTo>
                    <a:pt x="7033" y="0"/>
                  </a:lnTo>
                  <a:lnTo>
                    <a:pt x="10675" y="2010"/>
                  </a:lnTo>
                  <a:lnTo>
                    <a:pt x="10675" y="22733"/>
                  </a:lnTo>
                  <a:lnTo>
                    <a:pt x="0" y="29012"/>
                  </a:lnTo>
                  <a:lnTo>
                    <a:pt x="0" y="25370"/>
                  </a:lnTo>
                  <a:lnTo>
                    <a:pt x="7033" y="21226"/>
                  </a:lnTo>
                  <a:lnTo>
                    <a:pt x="7033" y="6531"/>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9" name="Freeform: Shape 688">
              <a:extLst>
                <a:ext uri="{FF2B5EF4-FFF2-40B4-BE49-F238E27FC236}">
                  <a16:creationId xmlns:a16="http://schemas.microsoft.com/office/drawing/2014/main" id="{EA6C1923-998C-4468-9EA2-EDAFB00D7AB2}"/>
                </a:ext>
              </a:extLst>
            </p:cNvPr>
            <p:cNvSpPr/>
            <p:nvPr/>
          </p:nvSpPr>
          <p:spPr>
            <a:xfrm>
              <a:off x="10363835" y="3368427"/>
              <a:ext cx="132251" cy="85906"/>
            </a:xfrm>
            <a:custGeom>
              <a:avLst/>
              <a:gdLst>
                <a:gd name="connsiteX0" fmla="*/ 132252 w 132251"/>
                <a:gd name="connsiteY0" fmla="*/ 74855 h 85906"/>
                <a:gd name="connsiteX1" fmla="*/ 2638 w 132251"/>
                <a:gd name="connsiteY1" fmla="*/ 0 h 85906"/>
                <a:gd name="connsiteX2" fmla="*/ 0 w 132251"/>
                <a:gd name="connsiteY2" fmla="*/ 1633 h 85906"/>
                <a:gd name="connsiteX3" fmla="*/ 129488 w 132251"/>
                <a:gd name="connsiteY3" fmla="*/ 76362 h 85906"/>
                <a:gd name="connsiteX4" fmla="*/ 129488 w 132251"/>
                <a:gd name="connsiteY4" fmla="*/ 85907 h 85906"/>
                <a:gd name="connsiteX5" fmla="*/ 132252 w 132251"/>
                <a:gd name="connsiteY5" fmla="*/ 84400 h 8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 h="85906">
                  <a:moveTo>
                    <a:pt x="132252" y="74855"/>
                  </a:moveTo>
                  <a:lnTo>
                    <a:pt x="2638" y="0"/>
                  </a:lnTo>
                  <a:lnTo>
                    <a:pt x="0" y="1633"/>
                  </a:lnTo>
                  <a:lnTo>
                    <a:pt x="129488" y="76362"/>
                  </a:lnTo>
                  <a:lnTo>
                    <a:pt x="129488" y="85907"/>
                  </a:lnTo>
                  <a:lnTo>
                    <a:pt x="132252" y="8440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0" name="Freeform: Shape 689">
              <a:extLst>
                <a:ext uri="{FF2B5EF4-FFF2-40B4-BE49-F238E27FC236}">
                  <a16:creationId xmlns:a16="http://schemas.microsoft.com/office/drawing/2014/main" id="{5789C46C-47B2-4101-A1E2-FADF1CAEC8D1}"/>
                </a:ext>
              </a:extLst>
            </p:cNvPr>
            <p:cNvSpPr/>
            <p:nvPr/>
          </p:nvSpPr>
          <p:spPr>
            <a:xfrm>
              <a:off x="10363835" y="3370060"/>
              <a:ext cx="129488" cy="84274"/>
            </a:xfrm>
            <a:custGeom>
              <a:avLst/>
              <a:gdLst>
                <a:gd name="connsiteX0" fmla="*/ 129488 w 129488"/>
                <a:gd name="connsiteY0" fmla="*/ 74729 h 84274"/>
                <a:gd name="connsiteX1" fmla="*/ 0 w 129488"/>
                <a:gd name="connsiteY1" fmla="*/ 0 h 84274"/>
                <a:gd name="connsiteX2" fmla="*/ 2763 w 129488"/>
                <a:gd name="connsiteY2" fmla="*/ 11178 h 84274"/>
                <a:gd name="connsiteX3" fmla="*/ 129488 w 129488"/>
                <a:gd name="connsiteY3" fmla="*/ 84274 h 84274"/>
              </a:gdLst>
              <a:ahLst/>
              <a:cxnLst>
                <a:cxn ang="0">
                  <a:pos x="connsiteX0" y="connsiteY0"/>
                </a:cxn>
                <a:cxn ang="0">
                  <a:pos x="connsiteX1" y="connsiteY1"/>
                </a:cxn>
                <a:cxn ang="0">
                  <a:pos x="connsiteX2" y="connsiteY2"/>
                </a:cxn>
                <a:cxn ang="0">
                  <a:pos x="connsiteX3" y="connsiteY3"/>
                </a:cxn>
              </a:cxnLst>
              <a:rect l="l" t="t" r="r" b="b"/>
              <a:pathLst>
                <a:path w="129488" h="84274">
                  <a:moveTo>
                    <a:pt x="129488" y="74729"/>
                  </a:moveTo>
                  <a:lnTo>
                    <a:pt x="0" y="0"/>
                  </a:lnTo>
                  <a:lnTo>
                    <a:pt x="2763" y="11178"/>
                  </a:lnTo>
                  <a:lnTo>
                    <a:pt x="129488" y="84274"/>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1" name="Freeform: Shape 690">
              <a:extLst>
                <a:ext uri="{FF2B5EF4-FFF2-40B4-BE49-F238E27FC236}">
                  <a16:creationId xmlns:a16="http://schemas.microsoft.com/office/drawing/2014/main" id="{477BE656-CB0D-46B3-A2C9-DC23715690EF}"/>
                </a:ext>
              </a:extLst>
            </p:cNvPr>
            <p:cNvSpPr/>
            <p:nvPr/>
          </p:nvSpPr>
          <p:spPr>
            <a:xfrm>
              <a:off x="10358434" y="3346825"/>
              <a:ext cx="137652" cy="89046"/>
            </a:xfrm>
            <a:custGeom>
              <a:avLst/>
              <a:gdLst>
                <a:gd name="connsiteX0" fmla="*/ 137652 w 137652"/>
                <a:gd name="connsiteY0" fmla="*/ 77869 h 89046"/>
                <a:gd name="connsiteX1" fmla="*/ 2638 w 137652"/>
                <a:gd name="connsiteY1" fmla="*/ 0 h 89046"/>
                <a:gd name="connsiteX2" fmla="*/ 0 w 137652"/>
                <a:gd name="connsiteY2" fmla="*/ 1633 h 89046"/>
                <a:gd name="connsiteX3" fmla="*/ 134889 w 137652"/>
                <a:gd name="connsiteY3" fmla="*/ 79501 h 89046"/>
                <a:gd name="connsiteX4" fmla="*/ 134889 w 137652"/>
                <a:gd name="connsiteY4" fmla="*/ 89047 h 89046"/>
                <a:gd name="connsiteX5" fmla="*/ 137652 w 137652"/>
                <a:gd name="connsiteY5" fmla="*/ 87539 h 8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652" h="89046">
                  <a:moveTo>
                    <a:pt x="137652" y="77869"/>
                  </a:moveTo>
                  <a:lnTo>
                    <a:pt x="2638" y="0"/>
                  </a:lnTo>
                  <a:lnTo>
                    <a:pt x="0" y="1633"/>
                  </a:lnTo>
                  <a:lnTo>
                    <a:pt x="134889" y="79501"/>
                  </a:lnTo>
                  <a:lnTo>
                    <a:pt x="134889" y="89047"/>
                  </a:lnTo>
                  <a:lnTo>
                    <a:pt x="137652" y="87539"/>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2" name="Freeform: Shape 691">
              <a:extLst>
                <a:ext uri="{FF2B5EF4-FFF2-40B4-BE49-F238E27FC236}">
                  <a16:creationId xmlns:a16="http://schemas.microsoft.com/office/drawing/2014/main" id="{911834C0-5AB1-4C81-A010-B1A98AABBADD}"/>
                </a:ext>
              </a:extLst>
            </p:cNvPr>
            <p:cNvSpPr/>
            <p:nvPr/>
          </p:nvSpPr>
          <p:spPr>
            <a:xfrm>
              <a:off x="10358434" y="3348458"/>
              <a:ext cx="134888" cy="87414"/>
            </a:xfrm>
            <a:custGeom>
              <a:avLst/>
              <a:gdLst>
                <a:gd name="connsiteX0" fmla="*/ 134889 w 134888"/>
                <a:gd name="connsiteY0" fmla="*/ 77869 h 87414"/>
                <a:gd name="connsiteX1" fmla="*/ 0 w 134888"/>
                <a:gd name="connsiteY1" fmla="*/ 0 h 87414"/>
                <a:gd name="connsiteX2" fmla="*/ 2763 w 134888"/>
                <a:gd name="connsiteY2" fmla="*/ 11178 h 87414"/>
                <a:gd name="connsiteX3" fmla="*/ 134889 w 134888"/>
                <a:gd name="connsiteY3" fmla="*/ 87414 h 87414"/>
              </a:gdLst>
              <a:ahLst/>
              <a:cxnLst>
                <a:cxn ang="0">
                  <a:pos x="connsiteX0" y="connsiteY0"/>
                </a:cxn>
                <a:cxn ang="0">
                  <a:pos x="connsiteX1" y="connsiteY1"/>
                </a:cxn>
                <a:cxn ang="0">
                  <a:pos x="connsiteX2" y="connsiteY2"/>
                </a:cxn>
                <a:cxn ang="0">
                  <a:pos x="connsiteX3" y="connsiteY3"/>
                </a:cxn>
              </a:cxnLst>
              <a:rect l="l" t="t" r="r" b="b"/>
              <a:pathLst>
                <a:path w="134888" h="87414">
                  <a:moveTo>
                    <a:pt x="134889" y="77869"/>
                  </a:moveTo>
                  <a:lnTo>
                    <a:pt x="0" y="0"/>
                  </a:lnTo>
                  <a:lnTo>
                    <a:pt x="2763" y="11178"/>
                  </a:lnTo>
                  <a:lnTo>
                    <a:pt x="134889" y="87414"/>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3" name="Freeform: Shape 692">
              <a:extLst>
                <a:ext uri="{FF2B5EF4-FFF2-40B4-BE49-F238E27FC236}">
                  <a16:creationId xmlns:a16="http://schemas.microsoft.com/office/drawing/2014/main" id="{2C72ED30-8963-4A1D-9B9C-618B8EA67281}"/>
                </a:ext>
              </a:extLst>
            </p:cNvPr>
            <p:cNvSpPr/>
            <p:nvPr/>
          </p:nvSpPr>
          <p:spPr>
            <a:xfrm>
              <a:off x="10281822" y="3044895"/>
              <a:ext cx="439833" cy="383692"/>
            </a:xfrm>
            <a:custGeom>
              <a:avLst/>
              <a:gdLst>
                <a:gd name="connsiteX0" fmla="*/ 439833 w 439833"/>
                <a:gd name="connsiteY0" fmla="*/ 253827 h 383692"/>
                <a:gd name="connsiteX1" fmla="*/ 0 w 439833"/>
                <a:gd name="connsiteY1" fmla="*/ 0 h 383692"/>
                <a:gd name="connsiteX2" fmla="*/ 0 w 439833"/>
                <a:gd name="connsiteY2" fmla="*/ 129739 h 383692"/>
                <a:gd name="connsiteX3" fmla="*/ 439833 w 439833"/>
                <a:gd name="connsiteY3" fmla="*/ 383692 h 383692"/>
              </a:gdLst>
              <a:ahLst/>
              <a:cxnLst>
                <a:cxn ang="0">
                  <a:pos x="connsiteX0" y="connsiteY0"/>
                </a:cxn>
                <a:cxn ang="0">
                  <a:pos x="connsiteX1" y="connsiteY1"/>
                </a:cxn>
                <a:cxn ang="0">
                  <a:pos x="connsiteX2" y="connsiteY2"/>
                </a:cxn>
                <a:cxn ang="0">
                  <a:pos x="connsiteX3" y="connsiteY3"/>
                </a:cxn>
              </a:cxnLst>
              <a:rect l="l" t="t" r="r" b="b"/>
              <a:pathLst>
                <a:path w="439833" h="383692">
                  <a:moveTo>
                    <a:pt x="439833" y="253827"/>
                  </a:moveTo>
                  <a:lnTo>
                    <a:pt x="0" y="0"/>
                  </a:lnTo>
                  <a:lnTo>
                    <a:pt x="0" y="129739"/>
                  </a:lnTo>
                  <a:lnTo>
                    <a:pt x="439833" y="383692"/>
                  </a:ln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4" name="Freeform: Shape 693">
              <a:extLst>
                <a:ext uri="{FF2B5EF4-FFF2-40B4-BE49-F238E27FC236}">
                  <a16:creationId xmlns:a16="http://schemas.microsoft.com/office/drawing/2014/main" id="{918D00CC-0645-4B85-9823-C02BDF599766}"/>
                </a:ext>
              </a:extLst>
            </p:cNvPr>
            <p:cNvSpPr/>
            <p:nvPr/>
          </p:nvSpPr>
          <p:spPr>
            <a:xfrm>
              <a:off x="10178206" y="3107190"/>
              <a:ext cx="103615" cy="127478"/>
            </a:xfrm>
            <a:custGeom>
              <a:avLst/>
              <a:gdLst>
                <a:gd name="connsiteX0" fmla="*/ 103616 w 103615"/>
                <a:gd name="connsiteY0" fmla="*/ 67444 h 127478"/>
                <a:gd name="connsiteX1" fmla="*/ 0 w 103615"/>
                <a:gd name="connsiteY1" fmla="*/ 127479 h 127478"/>
                <a:gd name="connsiteX2" fmla="*/ 0 w 103615"/>
                <a:gd name="connsiteY2" fmla="*/ 0 h 127478"/>
                <a:gd name="connsiteX3" fmla="*/ 103616 w 103615"/>
                <a:gd name="connsiteY3" fmla="*/ 56894 h 127478"/>
              </a:gdLst>
              <a:ahLst/>
              <a:cxnLst>
                <a:cxn ang="0">
                  <a:pos x="connsiteX0" y="connsiteY0"/>
                </a:cxn>
                <a:cxn ang="0">
                  <a:pos x="connsiteX1" y="connsiteY1"/>
                </a:cxn>
                <a:cxn ang="0">
                  <a:pos x="connsiteX2" y="connsiteY2"/>
                </a:cxn>
                <a:cxn ang="0">
                  <a:pos x="connsiteX3" y="connsiteY3"/>
                </a:cxn>
              </a:cxnLst>
              <a:rect l="l" t="t" r="r" b="b"/>
              <a:pathLst>
                <a:path w="103615" h="127478">
                  <a:moveTo>
                    <a:pt x="103616" y="67444"/>
                  </a:moveTo>
                  <a:lnTo>
                    <a:pt x="0" y="127479"/>
                  </a:lnTo>
                  <a:lnTo>
                    <a:pt x="0" y="0"/>
                  </a:lnTo>
                  <a:lnTo>
                    <a:pt x="103616" y="56894"/>
                  </a:lnTo>
                  <a:close/>
                </a:path>
              </a:pathLst>
            </a:custGeom>
            <a:solidFill>
              <a:srgbClr val="918F8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5" name="Freeform: Shape 694">
              <a:extLst>
                <a:ext uri="{FF2B5EF4-FFF2-40B4-BE49-F238E27FC236}">
                  <a16:creationId xmlns:a16="http://schemas.microsoft.com/office/drawing/2014/main" id="{27F7E2E3-941B-4598-A102-940932B3313A}"/>
                </a:ext>
              </a:extLst>
            </p:cNvPr>
            <p:cNvSpPr/>
            <p:nvPr/>
          </p:nvSpPr>
          <p:spPr>
            <a:xfrm>
              <a:off x="10178206" y="3174635"/>
              <a:ext cx="440837" cy="314489"/>
            </a:xfrm>
            <a:custGeom>
              <a:avLst/>
              <a:gdLst>
                <a:gd name="connsiteX0" fmla="*/ 103616 w 440837"/>
                <a:gd name="connsiteY0" fmla="*/ 0 h 314489"/>
                <a:gd name="connsiteX1" fmla="*/ 440837 w 440837"/>
                <a:gd name="connsiteY1" fmla="*/ 194672 h 314489"/>
                <a:gd name="connsiteX2" fmla="*/ 440837 w 440837"/>
                <a:gd name="connsiteY2" fmla="*/ 314489 h 314489"/>
                <a:gd name="connsiteX3" fmla="*/ 0 w 440837"/>
                <a:gd name="connsiteY3" fmla="*/ 60034 h 314489"/>
              </a:gdLst>
              <a:ahLst/>
              <a:cxnLst>
                <a:cxn ang="0">
                  <a:pos x="connsiteX0" y="connsiteY0"/>
                </a:cxn>
                <a:cxn ang="0">
                  <a:pos x="connsiteX1" y="connsiteY1"/>
                </a:cxn>
                <a:cxn ang="0">
                  <a:pos x="connsiteX2" y="connsiteY2"/>
                </a:cxn>
                <a:cxn ang="0">
                  <a:pos x="connsiteX3" y="connsiteY3"/>
                </a:cxn>
              </a:cxnLst>
              <a:rect l="l" t="t" r="r" b="b"/>
              <a:pathLst>
                <a:path w="440837" h="314489">
                  <a:moveTo>
                    <a:pt x="103616" y="0"/>
                  </a:moveTo>
                  <a:lnTo>
                    <a:pt x="440837" y="194672"/>
                  </a:lnTo>
                  <a:lnTo>
                    <a:pt x="440837" y="314489"/>
                  </a:lnTo>
                  <a:lnTo>
                    <a:pt x="0" y="60034"/>
                  </a:lnTo>
                  <a:close/>
                </a:path>
              </a:pathLst>
            </a:custGeom>
            <a:solidFill>
              <a:srgbClr val="47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6" name="Freeform: Shape 695">
              <a:extLst>
                <a:ext uri="{FF2B5EF4-FFF2-40B4-BE49-F238E27FC236}">
                  <a16:creationId xmlns:a16="http://schemas.microsoft.com/office/drawing/2014/main" id="{C7E8EE1C-FF9B-4DC3-9B36-29D8BC9D0954}"/>
                </a:ext>
              </a:extLst>
            </p:cNvPr>
            <p:cNvSpPr/>
            <p:nvPr/>
          </p:nvSpPr>
          <p:spPr>
            <a:xfrm>
              <a:off x="10174313" y="3101287"/>
              <a:ext cx="444730" cy="391981"/>
            </a:xfrm>
            <a:custGeom>
              <a:avLst/>
              <a:gdLst>
                <a:gd name="connsiteX0" fmla="*/ 3893 w 444730"/>
                <a:gd name="connsiteY0" fmla="*/ 133382 h 391981"/>
                <a:gd name="connsiteX1" fmla="*/ 3893 w 444730"/>
                <a:gd name="connsiteY1" fmla="*/ 5903 h 391981"/>
                <a:gd name="connsiteX2" fmla="*/ 444731 w 444730"/>
                <a:gd name="connsiteY2" fmla="*/ 260358 h 391981"/>
                <a:gd name="connsiteX3" fmla="*/ 444731 w 444730"/>
                <a:gd name="connsiteY3" fmla="*/ 256716 h 391981"/>
                <a:gd name="connsiteX4" fmla="*/ 0 w 444730"/>
                <a:gd name="connsiteY4" fmla="*/ 0 h 391981"/>
                <a:gd name="connsiteX5" fmla="*/ 0 w 444730"/>
                <a:gd name="connsiteY5" fmla="*/ 135140 h 391981"/>
                <a:gd name="connsiteX6" fmla="*/ 444731 w 444730"/>
                <a:gd name="connsiteY6" fmla="*/ 391981 h 391981"/>
                <a:gd name="connsiteX7" fmla="*/ 444731 w 444730"/>
                <a:gd name="connsiteY7" fmla="*/ 387837 h 39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730" h="391981">
                  <a:moveTo>
                    <a:pt x="3893" y="133382"/>
                  </a:moveTo>
                  <a:lnTo>
                    <a:pt x="3893" y="5903"/>
                  </a:lnTo>
                  <a:lnTo>
                    <a:pt x="444731" y="260358"/>
                  </a:lnTo>
                  <a:lnTo>
                    <a:pt x="444731" y="256716"/>
                  </a:lnTo>
                  <a:lnTo>
                    <a:pt x="0" y="0"/>
                  </a:lnTo>
                  <a:lnTo>
                    <a:pt x="0" y="135140"/>
                  </a:lnTo>
                  <a:lnTo>
                    <a:pt x="444731" y="391981"/>
                  </a:lnTo>
                  <a:lnTo>
                    <a:pt x="444731" y="387837"/>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7" name="Freeform: Shape 696">
              <a:extLst>
                <a:ext uri="{FF2B5EF4-FFF2-40B4-BE49-F238E27FC236}">
                  <a16:creationId xmlns:a16="http://schemas.microsoft.com/office/drawing/2014/main" id="{4B7CBD97-E463-466D-A0B2-5B508ACCCB35}"/>
                </a:ext>
              </a:extLst>
            </p:cNvPr>
            <p:cNvSpPr/>
            <p:nvPr/>
          </p:nvSpPr>
          <p:spPr>
            <a:xfrm>
              <a:off x="10398249" y="3234167"/>
              <a:ext cx="4018" cy="129739"/>
            </a:xfrm>
            <a:custGeom>
              <a:avLst/>
              <a:gdLst>
                <a:gd name="connsiteX0" fmla="*/ 4018 w 4018"/>
                <a:gd name="connsiteY0" fmla="*/ 2386 h 129739"/>
                <a:gd name="connsiteX1" fmla="*/ 4018 w 4018"/>
                <a:gd name="connsiteY1" fmla="*/ 129739 h 129739"/>
                <a:gd name="connsiteX2" fmla="*/ 0 w 4018"/>
                <a:gd name="connsiteY2" fmla="*/ 127479 h 129739"/>
                <a:gd name="connsiteX3" fmla="*/ 0 w 4018"/>
                <a:gd name="connsiteY3" fmla="*/ 0 h 129739"/>
              </a:gdLst>
              <a:ahLst/>
              <a:cxnLst>
                <a:cxn ang="0">
                  <a:pos x="connsiteX0" y="connsiteY0"/>
                </a:cxn>
                <a:cxn ang="0">
                  <a:pos x="connsiteX1" y="connsiteY1"/>
                </a:cxn>
                <a:cxn ang="0">
                  <a:pos x="connsiteX2" y="connsiteY2"/>
                </a:cxn>
                <a:cxn ang="0">
                  <a:pos x="connsiteX3" y="connsiteY3"/>
                </a:cxn>
              </a:cxnLst>
              <a:rect l="l" t="t" r="r" b="b"/>
              <a:pathLst>
                <a:path w="4018" h="129739">
                  <a:moveTo>
                    <a:pt x="4018" y="2386"/>
                  </a:moveTo>
                  <a:lnTo>
                    <a:pt x="4018" y="129739"/>
                  </a:lnTo>
                  <a:lnTo>
                    <a:pt x="0" y="127479"/>
                  </a:lnTo>
                  <a:lnTo>
                    <a:pt x="0" y="0"/>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8" name="Freeform: Shape 697">
              <a:extLst>
                <a:ext uri="{FF2B5EF4-FFF2-40B4-BE49-F238E27FC236}">
                  <a16:creationId xmlns:a16="http://schemas.microsoft.com/office/drawing/2014/main" id="{E1D9CD02-7137-4568-A740-D87D027FD847}"/>
                </a:ext>
              </a:extLst>
            </p:cNvPr>
            <p:cNvSpPr/>
            <p:nvPr/>
          </p:nvSpPr>
          <p:spPr>
            <a:xfrm>
              <a:off x="10174313" y="3037360"/>
              <a:ext cx="562538" cy="324787"/>
            </a:xfrm>
            <a:custGeom>
              <a:avLst/>
              <a:gdLst>
                <a:gd name="connsiteX0" fmla="*/ 110775 w 562538"/>
                <a:gd name="connsiteY0" fmla="*/ 0 h 324787"/>
                <a:gd name="connsiteX1" fmla="*/ 0 w 562538"/>
                <a:gd name="connsiteY1" fmla="*/ 63928 h 324787"/>
                <a:gd name="connsiteX2" fmla="*/ 444731 w 562538"/>
                <a:gd name="connsiteY2" fmla="*/ 320643 h 324787"/>
                <a:gd name="connsiteX3" fmla="*/ 451890 w 562538"/>
                <a:gd name="connsiteY3" fmla="*/ 324788 h 324787"/>
                <a:gd name="connsiteX4" fmla="*/ 562539 w 562538"/>
                <a:gd name="connsiteY4" fmla="*/ 260860 h 32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538" h="324787">
                  <a:moveTo>
                    <a:pt x="110775" y="0"/>
                  </a:moveTo>
                  <a:lnTo>
                    <a:pt x="0" y="63928"/>
                  </a:lnTo>
                  <a:lnTo>
                    <a:pt x="444731" y="320643"/>
                  </a:lnTo>
                  <a:lnTo>
                    <a:pt x="451890" y="324788"/>
                  </a:lnTo>
                  <a:lnTo>
                    <a:pt x="562539" y="260860"/>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9" name="Freeform: Shape 698">
              <a:extLst>
                <a:ext uri="{FF2B5EF4-FFF2-40B4-BE49-F238E27FC236}">
                  <a16:creationId xmlns:a16="http://schemas.microsoft.com/office/drawing/2014/main" id="{B866F9D6-1C91-411E-9B59-D6E6A4094A46}"/>
                </a:ext>
              </a:extLst>
            </p:cNvPr>
            <p:cNvSpPr/>
            <p:nvPr/>
          </p:nvSpPr>
          <p:spPr>
            <a:xfrm>
              <a:off x="10619044" y="3358003"/>
              <a:ext cx="7158" cy="139284"/>
            </a:xfrm>
            <a:custGeom>
              <a:avLst/>
              <a:gdLst>
                <a:gd name="connsiteX0" fmla="*/ 0 w 7158"/>
                <a:gd name="connsiteY0" fmla="*/ 135265 h 139284"/>
                <a:gd name="connsiteX1" fmla="*/ 7159 w 7158"/>
                <a:gd name="connsiteY1" fmla="*/ 139285 h 139284"/>
                <a:gd name="connsiteX2" fmla="*/ 7159 w 7158"/>
                <a:gd name="connsiteY2" fmla="*/ 4144 h 139284"/>
                <a:gd name="connsiteX3" fmla="*/ 0 w 7158"/>
                <a:gd name="connsiteY3" fmla="*/ 0 h 139284"/>
              </a:gdLst>
              <a:ahLst/>
              <a:cxnLst>
                <a:cxn ang="0">
                  <a:pos x="connsiteX0" y="connsiteY0"/>
                </a:cxn>
                <a:cxn ang="0">
                  <a:pos x="connsiteX1" y="connsiteY1"/>
                </a:cxn>
                <a:cxn ang="0">
                  <a:pos x="connsiteX2" y="connsiteY2"/>
                </a:cxn>
                <a:cxn ang="0">
                  <a:pos x="connsiteX3" y="connsiteY3"/>
                </a:cxn>
              </a:cxnLst>
              <a:rect l="l" t="t" r="r" b="b"/>
              <a:pathLst>
                <a:path w="7158" h="139284">
                  <a:moveTo>
                    <a:pt x="0" y="135265"/>
                  </a:moveTo>
                  <a:lnTo>
                    <a:pt x="7159" y="139285"/>
                  </a:lnTo>
                  <a:lnTo>
                    <a:pt x="7159" y="4144"/>
                  </a:lnTo>
                  <a:lnTo>
                    <a:pt x="0" y="0"/>
                  </a:lnTo>
                  <a:close/>
                </a:path>
              </a:pathLst>
            </a:custGeom>
            <a:solidFill>
              <a:srgbClr val="D3D1C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0" name="Freeform: Shape 699">
              <a:extLst>
                <a:ext uri="{FF2B5EF4-FFF2-40B4-BE49-F238E27FC236}">
                  <a16:creationId xmlns:a16="http://schemas.microsoft.com/office/drawing/2014/main" id="{3F50E047-1806-4C55-B921-FB368E310DB4}"/>
                </a:ext>
              </a:extLst>
            </p:cNvPr>
            <p:cNvSpPr/>
            <p:nvPr/>
          </p:nvSpPr>
          <p:spPr>
            <a:xfrm>
              <a:off x="10626203" y="3298220"/>
              <a:ext cx="110648" cy="199067"/>
            </a:xfrm>
            <a:custGeom>
              <a:avLst/>
              <a:gdLst>
                <a:gd name="connsiteX0" fmla="*/ 0 w 110648"/>
                <a:gd name="connsiteY0" fmla="*/ 63928 h 199067"/>
                <a:gd name="connsiteX1" fmla="*/ 110649 w 110648"/>
                <a:gd name="connsiteY1" fmla="*/ 0 h 199067"/>
                <a:gd name="connsiteX2" fmla="*/ 110649 w 110648"/>
                <a:gd name="connsiteY2" fmla="*/ 135140 h 199067"/>
                <a:gd name="connsiteX3" fmla="*/ 0 w 110648"/>
                <a:gd name="connsiteY3" fmla="*/ 199068 h 199067"/>
              </a:gdLst>
              <a:ahLst/>
              <a:cxnLst>
                <a:cxn ang="0">
                  <a:pos x="connsiteX0" y="connsiteY0"/>
                </a:cxn>
                <a:cxn ang="0">
                  <a:pos x="connsiteX1" y="connsiteY1"/>
                </a:cxn>
                <a:cxn ang="0">
                  <a:pos x="connsiteX2" y="connsiteY2"/>
                </a:cxn>
                <a:cxn ang="0">
                  <a:pos x="connsiteX3" y="connsiteY3"/>
                </a:cxn>
              </a:cxnLst>
              <a:rect l="l" t="t" r="r" b="b"/>
              <a:pathLst>
                <a:path w="110648" h="199067">
                  <a:moveTo>
                    <a:pt x="0" y="63928"/>
                  </a:moveTo>
                  <a:lnTo>
                    <a:pt x="110649" y="0"/>
                  </a:lnTo>
                  <a:lnTo>
                    <a:pt x="110649" y="135140"/>
                  </a:lnTo>
                  <a:lnTo>
                    <a:pt x="0" y="199068"/>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1" name="Freeform: Shape 700">
              <a:extLst>
                <a:ext uri="{FF2B5EF4-FFF2-40B4-BE49-F238E27FC236}">
                  <a16:creationId xmlns:a16="http://schemas.microsoft.com/office/drawing/2014/main" id="{29B55E6A-A7C3-48C2-A529-E66AA249F261}"/>
                </a:ext>
              </a:extLst>
            </p:cNvPr>
            <p:cNvSpPr/>
            <p:nvPr/>
          </p:nvSpPr>
          <p:spPr>
            <a:xfrm>
              <a:off x="10636250" y="3323088"/>
              <a:ext cx="100601" cy="168422"/>
            </a:xfrm>
            <a:custGeom>
              <a:avLst/>
              <a:gdLst>
                <a:gd name="connsiteX0" fmla="*/ 100602 w 100601"/>
                <a:gd name="connsiteY0" fmla="*/ 110272 h 168422"/>
                <a:gd name="connsiteX1" fmla="*/ 100602 w 100601"/>
                <a:gd name="connsiteY1" fmla="*/ 0 h 168422"/>
                <a:gd name="connsiteX2" fmla="*/ 0 w 100601"/>
                <a:gd name="connsiteY2" fmla="*/ 58150 h 168422"/>
                <a:gd name="connsiteX3" fmla="*/ 0 w 100601"/>
                <a:gd name="connsiteY3" fmla="*/ 168422 h 168422"/>
              </a:gdLst>
              <a:ahLst/>
              <a:cxnLst>
                <a:cxn ang="0">
                  <a:pos x="connsiteX0" y="connsiteY0"/>
                </a:cxn>
                <a:cxn ang="0">
                  <a:pos x="connsiteX1" y="connsiteY1"/>
                </a:cxn>
                <a:cxn ang="0">
                  <a:pos x="connsiteX2" y="connsiteY2"/>
                </a:cxn>
                <a:cxn ang="0">
                  <a:pos x="connsiteX3" y="connsiteY3"/>
                </a:cxn>
              </a:cxnLst>
              <a:rect l="l" t="t" r="r" b="b"/>
              <a:pathLst>
                <a:path w="100601" h="168422">
                  <a:moveTo>
                    <a:pt x="100602" y="110272"/>
                  </a:moveTo>
                  <a:lnTo>
                    <a:pt x="100602" y="0"/>
                  </a:lnTo>
                  <a:lnTo>
                    <a:pt x="0" y="58150"/>
                  </a:lnTo>
                  <a:lnTo>
                    <a:pt x="0" y="168422"/>
                  </a:lnTo>
                  <a:close/>
                </a:path>
              </a:pathLst>
            </a:custGeom>
            <a:solidFill>
              <a:srgbClr val="878A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2" name="Freeform: Shape 701">
              <a:extLst>
                <a:ext uri="{FF2B5EF4-FFF2-40B4-BE49-F238E27FC236}">
                  <a16:creationId xmlns:a16="http://schemas.microsoft.com/office/drawing/2014/main" id="{2BAF2844-C15F-4282-990B-E18B19A3960C}"/>
                </a:ext>
              </a:extLst>
            </p:cNvPr>
            <p:cNvSpPr/>
            <p:nvPr/>
          </p:nvSpPr>
          <p:spPr>
            <a:xfrm>
              <a:off x="10619044" y="3294075"/>
              <a:ext cx="117807" cy="68072"/>
            </a:xfrm>
            <a:custGeom>
              <a:avLst/>
              <a:gdLst>
                <a:gd name="connsiteX0" fmla="*/ 110775 w 117807"/>
                <a:gd name="connsiteY0" fmla="*/ 0 h 68072"/>
                <a:gd name="connsiteX1" fmla="*/ 0 w 117807"/>
                <a:gd name="connsiteY1" fmla="*/ 63928 h 68072"/>
                <a:gd name="connsiteX2" fmla="*/ 7159 w 117807"/>
                <a:gd name="connsiteY2" fmla="*/ 68072 h 68072"/>
                <a:gd name="connsiteX3" fmla="*/ 117808 w 117807"/>
                <a:gd name="connsiteY3" fmla="*/ 4145 h 68072"/>
              </a:gdLst>
              <a:ahLst/>
              <a:cxnLst>
                <a:cxn ang="0">
                  <a:pos x="connsiteX0" y="connsiteY0"/>
                </a:cxn>
                <a:cxn ang="0">
                  <a:pos x="connsiteX1" y="connsiteY1"/>
                </a:cxn>
                <a:cxn ang="0">
                  <a:pos x="connsiteX2" y="connsiteY2"/>
                </a:cxn>
                <a:cxn ang="0">
                  <a:pos x="connsiteX3" y="connsiteY3"/>
                </a:cxn>
              </a:cxnLst>
              <a:rect l="l" t="t" r="r" b="b"/>
              <a:pathLst>
                <a:path w="117807" h="68072">
                  <a:moveTo>
                    <a:pt x="110775" y="0"/>
                  </a:moveTo>
                  <a:lnTo>
                    <a:pt x="0" y="63928"/>
                  </a:lnTo>
                  <a:lnTo>
                    <a:pt x="7159" y="68072"/>
                  </a:lnTo>
                  <a:lnTo>
                    <a:pt x="117808" y="4145"/>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3" name="Freeform: Shape 702">
              <a:extLst>
                <a:ext uri="{FF2B5EF4-FFF2-40B4-BE49-F238E27FC236}">
                  <a16:creationId xmlns:a16="http://schemas.microsoft.com/office/drawing/2014/main" id="{111FCDC4-C883-4E4C-B087-853A93120372}"/>
                </a:ext>
              </a:extLst>
            </p:cNvPr>
            <p:cNvSpPr/>
            <p:nvPr/>
          </p:nvSpPr>
          <p:spPr>
            <a:xfrm>
              <a:off x="10210233" y="3230273"/>
              <a:ext cx="26374" cy="18588"/>
            </a:xfrm>
            <a:custGeom>
              <a:avLst/>
              <a:gdLst>
                <a:gd name="connsiteX0" fmla="*/ 0 w 26374"/>
                <a:gd name="connsiteY0" fmla="*/ 0 h 18588"/>
                <a:gd name="connsiteX1" fmla="*/ 3266 w 26374"/>
                <a:gd name="connsiteY1" fmla="*/ 5275 h 18588"/>
                <a:gd name="connsiteX2" fmla="*/ 26375 w 26374"/>
                <a:gd name="connsiteY2" fmla="*/ 18588 h 18588"/>
                <a:gd name="connsiteX3" fmla="*/ 26375 w 26374"/>
                <a:gd name="connsiteY3" fmla="*/ 15197 h 18588"/>
              </a:gdLst>
              <a:ahLst/>
              <a:cxnLst>
                <a:cxn ang="0">
                  <a:pos x="connsiteX0" y="connsiteY0"/>
                </a:cxn>
                <a:cxn ang="0">
                  <a:pos x="connsiteX1" y="connsiteY1"/>
                </a:cxn>
                <a:cxn ang="0">
                  <a:pos x="connsiteX2" y="connsiteY2"/>
                </a:cxn>
                <a:cxn ang="0">
                  <a:pos x="connsiteX3" y="connsiteY3"/>
                </a:cxn>
              </a:cxnLst>
              <a:rect l="l" t="t" r="r" b="b"/>
              <a:pathLst>
                <a:path w="26374" h="18588">
                  <a:moveTo>
                    <a:pt x="0" y="0"/>
                  </a:moveTo>
                  <a:lnTo>
                    <a:pt x="3266" y="5275"/>
                  </a:lnTo>
                  <a:lnTo>
                    <a:pt x="26375" y="18588"/>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4" name="Freeform: Shape 703">
              <a:extLst>
                <a:ext uri="{FF2B5EF4-FFF2-40B4-BE49-F238E27FC236}">
                  <a16:creationId xmlns:a16="http://schemas.microsoft.com/office/drawing/2014/main" id="{D346FE59-8082-4C65-BBBF-9578B1514C19}"/>
                </a:ext>
              </a:extLst>
            </p:cNvPr>
            <p:cNvSpPr/>
            <p:nvPr/>
          </p:nvSpPr>
          <p:spPr>
            <a:xfrm>
              <a:off x="10242385" y="3248861"/>
              <a:ext cx="39059" cy="25998"/>
            </a:xfrm>
            <a:custGeom>
              <a:avLst/>
              <a:gdLst>
                <a:gd name="connsiteX0" fmla="*/ 0 w 39059"/>
                <a:gd name="connsiteY0" fmla="*/ 0 h 25998"/>
                <a:gd name="connsiteX1" fmla="*/ 15951 w 39059"/>
                <a:gd name="connsiteY1" fmla="*/ 12685 h 25998"/>
                <a:gd name="connsiteX2" fmla="*/ 39060 w 39059"/>
                <a:gd name="connsiteY2" fmla="*/ 25998 h 25998"/>
                <a:gd name="connsiteX3" fmla="*/ 39060 w 39059"/>
                <a:gd name="connsiteY3" fmla="*/ 22481 h 25998"/>
              </a:gdLst>
              <a:ahLst/>
              <a:cxnLst>
                <a:cxn ang="0">
                  <a:pos x="connsiteX0" y="connsiteY0"/>
                </a:cxn>
                <a:cxn ang="0">
                  <a:pos x="connsiteX1" y="connsiteY1"/>
                </a:cxn>
                <a:cxn ang="0">
                  <a:pos x="connsiteX2" y="connsiteY2"/>
                </a:cxn>
                <a:cxn ang="0">
                  <a:pos x="connsiteX3" y="connsiteY3"/>
                </a:cxn>
              </a:cxnLst>
              <a:rect l="l" t="t" r="r" b="b"/>
              <a:pathLst>
                <a:path w="39059" h="25998">
                  <a:moveTo>
                    <a:pt x="0" y="0"/>
                  </a:moveTo>
                  <a:lnTo>
                    <a:pt x="15951" y="12685"/>
                  </a:lnTo>
                  <a:lnTo>
                    <a:pt x="39060" y="25998"/>
                  </a:lnTo>
                  <a:lnTo>
                    <a:pt x="39060" y="22481"/>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5" name="Freeform: Shape 704">
              <a:extLst>
                <a:ext uri="{FF2B5EF4-FFF2-40B4-BE49-F238E27FC236}">
                  <a16:creationId xmlns:a16="http://schemas.microsoft.com/office/drawing/2014/main" id="{F687BA3E-7B08-46DC-8F5A-9D8D9A113CCA}"/>
                </a:ext>
              </a:extLst>
            </p:cNvPr>
            <p:cNvSpPr/>
            <p:nvPr/>
          </p:nvSpPr>
          <p:spPr>
            <a:xfrm>
              <a:off x="10287976" y="3275111"/>
              <a:ext cx="26374" cy="18713"/>
            </a:xfrm>
            <a:custGeom>
              <a:avLst/>
              <a:gdLst>
                <a:gd name="connsiteX0" fmla="*/ 0 w 26374"/>
                <a:gd name="connsiteY0" fmla="*/ 0 h 18713"/>
                <a:gd name="connsiteX1" fmla="*/ 3266 w 26374"/>
                <a:gd name="connsiteY1" fmla="*/ 5400 h 18713"/>
                <a:gd name="connsiteX2" fmla="*/ 26375 w 26374"/>
                <a:gd name="connsiteY2" fmla="*/ 18714 h 18713"/>
                <a:gd name="connsiteX3" fmla="*/ 26375 w 26374"/>
                <a:gd name="connsiteY3" fmla="*/ 15197 h 18713"/>
              </a:gdLst>
              <a:ahLst/>
              <a:cxnLst>
                <a:cxn ang="0">
                  <a:pos x="connsiteX0" y="connsiteY0"/>
                </a:cxn>
                <a:cxn ang="0">
                  <a:pos x="connsiteX1" y="connsiteY1"/>
                </a:cxn>
                <a:cxn ang="0">
                  <a:pos x="connsiteX2" y="connsiteY2"/>
                </a:cxn>
                <a:cxn ang="0">
                  <a:pos x="connsiteX3" y="connsiteY3"/>
                </a:cxn>
              </a:cxnLst>
              <a:rect l="l" t="t" r="r" b="b"/>
              <a:pathLst>
                <a:path w="26374" h="18713">
                  <a:moveTo>
                    <a:pt x="0" y="0"/>
                  </a:moveTo>
                  <a:lnTo>
                    <a:pt x="3266" y="5400"/>
                  </a:lnTo>
                  <a:lnTo>
                    <a:pt x="26375" y="18714"/>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6" name="Freeform: Shape 705">
              <a:extLst>
                <a:ext uri="{FF2B5EF4-FFF2-40B4-BE49-F238E27FC236}">
                  <a16:creationId xmlns:a16="http://schemas.microsoft.com/office/drawing/2014/main" id="{7B692C55-CE53-43B0-8DDD-0108738BC577}"/>
                </a:ext>
              </a:extLst>
            </p:cNvPr>
            <p:cNvSpPr/>
            <p:nvPr/>
          </p:nvSpPr>
          <p:spPr>
            <a:xfrm>
              <a:off x="10320003" y="3293573"/>
              <a:ext cx="26375" cy="18713"/>
            </a:xfrm>
            <a:custGeom>
              <a:avLst/>
              <a:gdLst>
                <a:gd name="connsiteX0" fmla="*/ 0 w 26375"/>
                <a:gd name="connsiteY0" fmla="*/ 0 h 18713"/>
                <a:gd name="connsiteX1" fmla="*/ 3266 w 26375"/>
                <a:gd name="connsiteY1" fmla="*/ 5400 h 18713"/>
                <a:gd name="connsiteX2" fmla="*/ 26375 w 26375"/>
                <a:gd name="connsiteY2" fmla="*/ 18714 h 18713"/>
                <a:gd name="connsiteX3" fmla="*/ 26375 w 26375"/>
                <a:gd name="connsiteY3" fmla="*/ 15197 h 18713"/>
              </a:gdLst>
              <a:ahLst/>
              <a:cxnLst>
                <a:cxn ang="0">
                  <a:pos x="connsiteX0" y="connsiteY0"/>
                </a:cxn>
                <a:cxn ang="0">
                  <a:pos x="connsiteX1" y="connsiteY1"/>
                </a:cxn>
                <a:cxn ang="0">
                  <a:pos x="connsiteX2" y="connsiteY2"/>
                </a:cxn>
                <a:cxn ang="0">
                  <a:pos x="connsiteX3" y="connsiteY3"/>
                </a:cxn>
              </a:cxnLst>
              <a:rect l="l" t="t" r="r" b="b"/>
              <a:pathLst>
                <a:path w="26375" h="18713">
                  <a:moveTo>
                    <a:pt x="0" y="0"/>
                  </a:moveTo>
                  <a:lnTo>
                    <a:pt x="3266" y="5400"/>
                  </a:lnTo>
                  <a:lnTo>
                    <a:pt x="26375" y="18714"/>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7" name="Freeform: Shape 706">
              <a:extLst>
                <a:ext uri="{FF2B5EF4-FFF2-40B4-BE49-F238E27FC236}">
                  <a16:creationId xmlns:a16="http://schemas.microsoft.com/office/drawing/2014/main" id="{24E03E9C-A4E4-4BF4-8822-4232E4D66B24}"/>
                </a:ext>
              </a:extLst>
            </p:cNvPr>
            <p:cNvSpPr/>
            <p:nvPr/>
          </p:nvSpPr>
          <p:spPr>
            <a:xfrm>
              <a:off x="10749035" y="3354235"/>
              <a:ext cx="90698" cy="136898"/>
            </a:xfrm>
            <a:custGeom>
              <a:avLst/>
              <a:gdLst>
                <a:gd name="connsiteX0" fmla="*/ 62672 w 90698"/>
                <a:gd name="connsiteY0" fmla="*/ 136898 h 136898"/>
                <a:gd name="connsiteX1" fmla="*/ 0 w 90698"/>
                <a:gd name="connsiteY1" fmla="*/ 100727 h 136898"/>
                <a:gd name="connsiteX2" fmla="*/ 0 w 90698"/>
                <a:gd name="connsiteY2" fmla="*/ 0 h 136898"/>
                <a:gd name="connsiteX3" fmla="*/ 81385 w 90698"/>
                <a:gd name="connsiteY3" fmla="*/ 46972 h 136898"/>
                <a:gd name="connsiteX4" fmla="*/ 89926 w 90698"/>
                <a:gd name="connsiteY4" fmla="*/ 60034 h 136898"/>
                <a:gd name="connsiteX5" fmla="*/ 90679 w 90698"/>
                <a:gd name="connsiteY5" fmla="*/ 64932 h 136898"/>
                <a:gd name="connsiteX6" fmla="*/ 89674 w 90698"/>
                <a:gd name="connsiteY6" fmla="*/ 65812 h 136898"/>
                <a:gd name="connsiteX7" fmla="*/ 85906 w 90698"/>
                <a:gd name="connsiteY7" fmla="*/ 63676 h 136898"/>
                <a:gd name="connsiteX8" fmla="*/ 85906 w 90698"/>
                <a:gd name="connsiteY8" fmla="*/ 63676 h 136898"/>
                <a:gd name="connsiteX9" fmla="*/ 82767 w 90698"/>
                <a:gd name="connsiteY9" fmla="*/ 65937 h 136898"/>
                <a:gd name="connsiteX10" fmla="*/ 82767 w 90698"/>
                <a:gd name="connsiteY10" fmla="*/ 117682 h 136898"/>
                <a:gd name="connsiteX11" fmla="*/ 85906 w 90698"/>
                <a:gd name="connsiteY11" fmla="*/ 123585 h 136898"/>
                <a:gd name="connsiteX12" fmla="*/ 85906 w 90698"/>
                <a:gd name="connsiteY12" fmla="*/ 123585 h 136898"/>
                <a:gd name="connsiteX13" fmla="*/ 62672 w 90698"/>
                <a:gd name="connsiteY13" fmla="*/ 136898 h 136898"/>
                <a:gd name="connsiteX14" fmla="*/ 72468 w 90698"/>
                <a:gd name="connsiteY14" fmla="*/ 60913 h 136898"/>
                <a:gd name="connsiteX15" fmla="*/ 39688 w 90698"/>
                <a:gd name="connsiteY15" fmla="*/ 42074 h 136898"/>
                <a:gd name="connsiteX16" fmla="*/ 37176 w 90698"/>
                <a:gd name="connsiteY16" fmla="*/ 43958 h 136898"/>
                <a:gd name="connsiteX17" fmla="*/ 37176 w 90698"/>
                <a:gd name="connsiteY17" fmla="*/ 80883 h 136898"/>
                <a:gd name="connsiteX18" fmla="*/ 39688 w 90698"/>
                <a:gd name="connsiteY18" fmla="*/ 85781 h 136898"/>
                <a:gd name="connsiteX19" fmla="*/ 72468 w 90698"/>
                <a:gd name="connsiteY19" fmla="*/ 104620 h 136898"/>
                <a:gd name="connsiteX20" fmla="*/ 74980 w 90698"/>
                <a:gd name="connsiteY20" fmla="*/ 102736 h 136898"/>
                <a:gd name="connsiteX21" fmla="*/ 74980 w 90698"/>
                <a:gd name="connsiteY21" fmla="*/ 65812 h 136898"/>
                <a:gd name="connsiteX22" fmla="*/ 72468 w 90698"/>
                <a:gd name="connsiteY22" fmla="*/ 60913 h 13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698" h="136898">
                  <a:moveTo>
                    <a:pt x="62672" y="136898"/>
                  </a:moveTo>
                  <a:lnTo>
                    <a:pt x="0" y="100727"/>
                  </a:lnTo>
                  <a:lnTo>
                    <a:pt x="0" y="0"/>
                  </a:lnTo>
                  <a:lnTo>
                    <a:pt x="81385" y="46972"/>
                  </a:lnTo>
                  <a:cubicBezTo>
                    <a:pt x="85530" y="49359"/>
                    <a:pt x="89172" y="54885"/>
                    <a:pt x="89926" y="60034"/>
                  </a:cubicBezTo>
                  <a:lnTo>
                    <a:pt x="90679" y="64932"/>
                  </a:lnTo>
                  <a:cubicBezTo>
                    <a:pt x="90805" y="65686"/>
                    <a:pt x="90303" y="66189"/>
                    <a:pt x="89674" y="65812"/>
                  </a:cubicBezTo>
                  <a:lnTo>
                    <a:pt x="85906" y="63676"/>
                  </a:lnTo>
                  <a:lnTo>
                    <a:pt x="85906" y="63676"/>
                  </a:lnTo>
                  <a:cubicBezTo>
                    <a:pt x="84148" y="62923"/>
                    <a:pt x="82767" y="63802"/>
                    <a:pt x="82767" y="65937"/>
                  </a:cubicBezTo>
                  <a:lnTo>
                    <a:pt x="82767" y="117682"/>
                  </a:lnTo>
                  <a:cubicBezTo>
                    <a:pt x="82767" y="119817"/>
                    <a:pt x="84148" y="122329"/>
                    <a:pt x="85906" y="123585"/>
                  </a:cubicBezTo>
                  <a:lnTo>
                    <a:pt x="85906" y="123585"/>
                  </a:lnTo>
                  <a:lnTo>
                    <a:pt x="62672" y="136898"/>
                  </a:lnTo>
                  <a:close/>
                  <a:moveTo>
                    <a:pt x="72468" y="60913"/>
                  </a:moveTo>
                  <a:lnTo>
                    <a:pt x="39688" y="42074"/>
                  </a:lnTo>
                  <a:cubicBezTo>
                    <a:pt x="38306" y="41321"/>
                    <a:pt x="37176" y="42074"/>
                    <a:pt x="37176" y="43958"/>
                  </a:cubicBezTo>
                  <a:lnTo>
                    <a:pt x="37176" y="80883"/>
                  </a:lnTo>
                  <a:cubicBezTo>
                    <a:pt x="37176" y="82767"/>
                    <a:pt x="38306" y="84902"/>
                    <a:pt x="39688" y="85781"/>
                  </a:cubicBezTo>
                  <a:lnTo>
                    <a:pt x="72468" y="104620"/>
                  </a:lnTo>
                  <a:cubicBezTo>
                    <a:pt x="73850" y="105374"/>
                    <a:pt x="74980" y="104620"/>
                    <a:pt x="74980" y="102736"/>
                  </a:cubicBezTo>
                  <a:lnTo>
                    <a:pt x="74980" y="65812"/>
                  </a:lnTo>
                  <a:cubicBezTo>
                    <a:pt x="75105" y="63928"/>
                    <a:pt x="73975" y="61793"/>
                    <a:pt x="72468" y="60913"/>
                  </a:cubicBez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8" name="Freeform: Shape 707">
              <a:extLst>
                <a:ext uri="{FF2B5EF4-FFF2-40B4-BE49-F238E27FC236}">
                  <a16:creationId xmlns:a16="http://schemas.microsoft.com/office/drawing/2014/main" id="{16941CC4-2506-4329-92D4-E2E655CCD817}"/>
                </a:ext>
              </a:extLst>
            </p:cNvPr>
            <p:cNvSpPr/>
            <p:nvPr/>
          </p:nvSpPr>
          <p:spPr>
            <a:xfrm>
              <a:off x="10665138" y="3451446"/>
              <a:ext cx="163273" cy="94447"/>
            </a:xfrm>
            <a:custGeom>
              <a:avLst/>
              <a:gdLst>
                <a:gd name="connsiteX0" fmla="*/ 85655 w 163273"/>
                <a:gd name="connsiteY0" fmla="*/ 94447 h 94447"/>
                <a:gd name="connsiteX1" fmla="*/ 163273 w 163273"/>
                <a:gd name="connsiteY1" fmla="*/ 49610 h 94447"/>
                <a:gd name="connsiteX2" fmla="*/ 146569 w 163273"/>
                <a:gd name="connsiteY2" fmla="*/ 39688 h 94447"/>
                <a:gd name="connsiteX3" fmla="*/ 77994 w 163273"/>
                <a:gd name="connsiteY3" fmla="*/ 0 h 94447"/>
                <a:gd name="connsiteX4" fmla="*/ 0 w 163273"/>
                <a:gd name="connsiteY4" fmla="*/ 45089 h 94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273" h="94447">
                  <a:moveTo>
                    <a:pt x="85655" y="94447"/>
                  </a:moveTo>
                  <a:lnTo>
                    <a:pt x="163273" y="49610"/>
                  </a:lnTo>
                  <a:lnTo>
                    <a:pt x="146569" y="39688"/>
                  </a:lnTo>
                  <a:lnTo>
                    <a:pt x="77994" y="0"/>
                  </a:lnTo>
                  <a:lnTo>
                    <a:pt x="0" y="4508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9" name="Freeform: Shape 708">
              <a:extLst>
                <a:ext uri="{FF2B5EF4-FFF2-40B4-BE49-F238E27FC236}">
                  <a16:creationId xmlns:a16="http://schemas.microsoft.com/office/drawing/2014/main" id="{942735AD-C7AB-4769-8350-9E037EB44BE5}"/>
                </a:ext>
              </a:extLst>
            </p:cNvPr>
            <p:cNvSpPr/>
            <p:nvPr/>
          </p:nvSpPr>
          <p:spPr>
            <a:xfrm>
              <a:off x="10662123" y="3359636"/>
              <a:ext cx="81008" cy="136898"/>
            </a:xfrm>
            <a:custGeom>
              <a:avLst/>
              <a:gdLst>
                <a:gd name="connsiteX0" fmla="*/ 0 w 81008"/>
                <a:gd name="connsiteY0" fmla="*/ 46847 h 136898"/>
                <a:gd name="connsiteX1" fmla="*/ 0 w 81008"/>
                <a:gd name="connsiteY1" fmla="*/ 133131 h 136898"/>
                <a:gd name="connsiteX2" fmla="*/ 3015 w 81008"/>
                <a:gd name="connsiteY2" fmla="*/ 136898 h 136898"/>
                <a:gd name="connsiteX3" fmla="*/ 81009 w 81008"/>
                <a:gd name="connsiteY3" fmla="*/ 91810 h 136898"/>
                <a:gd name="connsiteX4" fmla="*/ 81009 w 81008"/>
                <a:gd name="connsiteY4" fmla="*/ 0 h 13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08" h="136898">
                  <a:moveTo>
                    <a:pt x="0" y="46847"/>
                  </a:moveTo>
                  <a:lnTo>
                    <a:pt x="0" y="133131"/>
                  </a:lnTo>
                  <a:lnTo>
                    <a:pt x="3015" y="136898"/>
                  </a:lnTo>
                  <a:lnTo>
                    <a:pt x="81009" y="91810"/>
                  </a:lnTo>
                  <a:lnTo>
                    <a:pt x="81009" y="0"/>
                  </a:ln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0" name="Freeform: Shape 709">
              <a:extLst>
                <a:ext uri="{FF2B5EF4-FFF2-40B4-BE49-F238E27FC236}">
                  <a16:creationId xmlns:a16="http://schemas.microsoft.com/office/drawing/2014/main" id="{BABC3BF9-79DB-4E45-A176-04863B236FD0}"/>
                </a:ext>
              </a:extLst>
            </p:cNvPr>
            <p:cNvSpPr/>
            <p:nvPr/>
          </p:nvSpPr>
          <p:spPr>
            <a:xfrm>
              <a:off x="10650192" y="3453832"/>
              <a:ext cx="193666" cy="111748"/>
            </a:xfrm>
            <a:custGeom>
              <a:avLst/>
              <a:gdLst>
                <a:gd name="connsiteX0" fmla="*/ 190653 w 193666"/>
                <a:gd name="connsiteY0" fmla="*/ 56392 h 111748"/>
                <a:gd name="connsiteX1" fmla="*/ 93065 w 193666"/>
                <a:gd name="connsiteY1" fmla="*/ 0 h 111748"/>
                <a:gd name="connsiteX2" fmla="*/ 0 w 193666"/>
                <a:gd name="connsiteY2" fmla="*/ 53755 h 111748"/>
                <a:gd name="connsiteX3" fmla="*/ 16453 w 193666"/>
                <a:gd name="connsiteY3" fmla="*/ 63300 h 111748"/>
                <a:gd name="connsiteX4" fmla="*/ 21602 w 193666"/>
                <a:gd name="connsiteY4" fmla="*/ 60411 h 111748"/>
                <a:gd name="connsiteX5" fmla="*/ 47349 w 193666"/>
                <a:gd name="connsiteY5" fmla="*/ 75231 h 111748"/>
                <a:gd name="connsiteX6" fmla="*/ 42325 w 193666"/>
                <a:gd name="connsiteY6" fmla="*/ 78120 h 111748"/>
                <a:gd name="connsiteX7" fmla="*/ 97712 w 193666"/>
                <a:gd name="connsiteY7" fmla="*/ 110147 h 111748"/>
                <a:gd name="connsiteX8" fmla="*/ 111151 w 193666"/>
                <a:gd name="connsiteY8" fmla="*/ 110147 h 111748"/>
                <a:gd name="connsiteX9" fmla="*/ 111277 w 193666"/>
                <a:gd name="connsiteY9" fmla="*/ 110147 h 111748"/>
                <a:gd name="connsiteX10" fmla="*/ 110272 w 193666"/>
                <a:gd name="connsiteY10" fmla="*/ 109519 h 111748"/>
                <a:gd name="connsiteX11" fmla="*/ 110900 w 193666"/>
                <a:gd name="connsiteY11" fmla="*/ 109142 h 111748"/>
                <a:gd name="connsiteX12" fmla="*/ 189774 w 193666"/>
                <a:gd name="connsiteY12" fmla="*/ 63677 h 111748"/>
                <a:gd name="connsiteX13" fmla="*/ 190779 w 193666"/>
                <a:gd name="connsiteY13" fmla="*/ 64305 h 111748"/>
                <a:gd name="connsiteX14" fmla="*/ 190904 w 193666"/>
                <a:gd name="connsiteY14" fmla="*/ 64305 h 111748"/>
                <a:gd name="connsiteX15" fmla="*/ 193667 w 193666"/>
                <a:gd name="connsiteY15" fmla="*/ 60411 h 111748"/>
                <a:gd name="connsiteX16" fmla="*/ 190653 w 193666"/>
                <a:gd name="connsiteY16" fmla="*/ 56392 h 111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3666" h="111748">
                  <a:moveTo>
                    <a:pt x="190653" y="56392"/>
                  </a:moveTo>
                  <a:lnTo>
                    <a:pt x="93065" y="0"/>
                  </a:lnTo>
                  <a:lnTo>
                    <a:pt x="0" y="53755"/>
                  </a:lnTo>
                  <a:lnTo>
                    <a:pt x="16453" y="63300"/>
                  </a:lnTo>
                  <a:lnTo>
                    <a:pt x="21602" y="60411"/>
                  </a:lnTo>
                  <a:lnTo>
                    <a:pt x="47349" y="75231"/>
                  </a:lnTo>
                  <a:lnTo>
                    <a:pt x="42325" y="78120"/>
                  </a:lnTo>
                  <a:lnTo>
                    <a:pt x="97712" y="110147"/>
                  </a:lnTo>
                  <a:cubicBezTo>
                    <a:pt x="101354" y="112282"/>
                    <a:pt x="107383" y="112282"/>
                    <a:pt x="111151" y="110147"/>
                  </a:cubicBezTo>
                  <a:lnTo>
                    <a:pt x="111277" y="110147"/>
                  </a:lnTo>
                  <a:lnTo>
                    <a:pt x="110272" y="109519"/>
                  </a:lnTo>
                  <a:lnTo>
                    <a:pt x="110900" y="109142"/>
                  </a:lnTo>
                  <a:lnTo>
                    <a:pt x="189774" y="63677"/>
                  </a:lnTo>
                  <a:lnTo>
                    <a:pt x="190779" y="64305"/>
                  </a:lnTo>
                  <a:lnTo>
                    <a:pt x="190904" y="64305"/>
                  </a:lnTo>
                  <a:cubicBezTo>
                    <a:pt x="192788" y="63300"/>
                    <a:pt x="193667" y="61793"/>
                    <a:pt x="193667" y="60411"/>
                  </a:cubicBezTo>
                  <a:cubicBezTo>
                    <a:pt x="193416" y="58904"/>
                    <a:pt x="192411" y="57522"/>
                    <a:pt x="190653" y="56392"/>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1" name="Freeform: Shape 710">
              <a:extLst>
                <a:ext uri="{FF2B5EF4-FFF2-40B4-BE49-F238E27FC236}">
                  <a16:creationId xmlns:a16="http://schemas.microsoft.com/office/drawing/2014/main" id="{56421758-E5DF-452E-9748-48A8995F5854}"/>
                </a:ext>
              </a:extLst>
            </p:cNvPr>
            <p:cNvSpPr/>
            <p:nvPr/>
          </p:nvSpPr>
          <p:spPr>
            <a:xfrm>
              <a:off x="10698545" y="3454460"/>
              <a:ext cx="74729" cy="53126"/>
            </a:xfrm>
            <a:custGeom>
              <a:avLst/>
              <a:gdLst>
                <a:gd name="connsiteX0" fmla="*/ 74729 w 74729"/>
                <a:gd name="connsiteY0" fmla="*/ 10048 h 53126"/>
                <a:gd name="connsiteX1" fmla="*/ 0 w 74729"/>
                <a:gd name="connsiteY1" fmla="*/ 53127 h 53126"/>
                <a:gd name="connsiteX2" fmla="*/ 0 w 74729"/>
                <a:gd name="connsiteY2" fmla="*/ 43205 h 53126"/>
                <a:gd name="connsiteX3" fmla="*/ 74729 w 74729"/>
                <a:gd name="connsiteY3" fmla="*/ 0 h 53126"/>
              </a:gdLst>
              <a:ahLst/>
              <a:cxnLst>
                <a:cxn ang="0">
                  <a:pos x="connsiteX0" y="connsiteY0"/>
                </a:cxn>
                <a:cxn ang="0">
                  <a:pos x="connsiteX1" y="connsiteY1"/>
                </a:cxn>
                <a:cxn ang="0">
                  <a:pos x="connsiteX2" y="connsiteY2"/>
                </a:cxn>
                <a:cxn ang="0">
                  <a:pos x="connsiteX3" y="connsiteY3"/>
                </a:cxn>
              </a:cxnLst>
              <a:rect l="l" t="t" r="r" b="b"/>
              <a:pathLst>
                <a:path w="74729" h="53126">
                  <a:moveTo>
                    <a:pt x="74729" y="10048"/>
                  </a:moveTo>
                  <a:lnTo>
                    <a:pt x="0" y="53127"/>
                  </a:lnTo>
                  <a:lnTo>
                    <a:pt x="0" y="43205"/>
                  </a:lnTo>
                  <a:lnTo>
                    <a:pt x="74729" y="0"/>
                  </a:ln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2" name="Freeform: Shape 711">
              <a:extLst>
                <a:ext uri="{FF2B5EF4-FFF2-40B4-BE49-F238E27FC236}">
                  <a16:creationId xmlns:a16="http://schemas.microsoft.com/office/drawing/2014/main" id="{F2AFCAF4-7EFE-469A-B433-845E11CA26C6}"/>
                </a:ext>
              </a:extLst>
            </p:cNvPr>
            <p:cNvSpPr/>
            <p:nvPr/>
          </p:nvSpPr>
          <p:spPr>
            <a:xfrm>
              <a:off x="10666142" y="3435746"/>
              <a:ext cx="107132" cy="61918"/>
            </a:xfrm>
            <a:custGeom>
              <a:avLst/>
              <a:gdLst>
                <a:gd name="connsiteX0" fmla="*/ 107133 w 107132"/>
                <a:gd name="connsiteY0" fmla="*/ 18714 h 61918"/>
                <a:gd name="connsiteX1" fmla="*/ 32404 w 107132"/>
                <a:gd name="connsiteY1" fmla="*/ 61918 h 61918"/>
                <a:gd name="connsiteX2" fmla="*/ 0 w 107132"/>
                <a:gd name="connsiteY2" fmla="*/ 43205 h 61918"/>
                <a:gd name="connsiteX3" fmla="*/ 74729 w 107132"/>
                <a:gd name="connsiteY3" fmla="*/ 0 h 61918"/>
              </a:gdLst>
              <a:ahLst/>
              <a:cxnLst>
                <a:cxn ang="0">
                  <a:pos x="connsiteX0" y="connsiteY0"/>
                </a:cxn>
                <a:cxn ang="0">
                  <a:pos x="connsiteX1" y="connsiteY1"/>
                </a:cxn>
                <a:cxn ang="0">
                  <a:pos x="connsiteX2" y="connsiteY2"/>
                </a:cxn>
                <a:cxn ang="0">
                  <a:pos x="connsiteX3" y="connsiteY3"/>
                </a:cxn>
              </a:cxnLst>
              <a:rect l="l" t="t" r="r" b="b"/>
              <a:pathLst>
                <a:path w="107132" h="61918">
                  <a:moveTo>
                    <a:pt x="107133" y="18714"/>
                  </a:moveTo>
                  <a:lnTo>
                    <a:pt x="32404" y="61918"/>
                  </a:lnTo>
                  <a:lnTo>
                    <a:pt x="0" y="43205"/>
                  </a:lnTo>
                  <a:lnTo>
                    <a:pt x="74729" y="0"/>
                  </a:lnTo>
                  <a:close/>
                </a:path>
              </a:pathLst>
            </a:custGeom>
            <a:solidFill>
              <a:srgbClr val="33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13" name="Graphic 4">
              <a:extLst>
                <a:ext uri="{FF2B5EF4-FFF2-40B4-BE49-F238E27FC236}">
                  <a16:creationId xmlns:a16="http://schemas.microsoft.com/office/drawing/2014/main" id="{84FB7ED1-A2DF-40A1-A747-5F7CF3F14040}"/>
                </a:ext>
              </a:extLst>
            </p:cNvPr>
            <p:cNvGrpSpPr/>
            <p:nvPr/>
          </p:nvGrpSpPr>
          <p:grpSpPr>
            <a:xfrm>
              <a:off x="10698545" y="3464508"/>
              <a:ext cx="109644" cy="87413"/>
              <a:chOff x="10698545" y="3464508"/>
              <a:chExt cx="109644" cy="87413"/>
            </a:xfrm>
            <a:solidFill>
              <a:schemeClr val="accent1"/>
            </a:solidFill>
          </p:grpSpPr>
          <p:sp>
            <p:nvSpPr>
              <p:cNvPr id="714" name="Freeform: Shape 713">
                <a:extLst>
                  <a:ext uri="{FF2B5EF4-FFF2-40B4-BE49-F238E27FC236}">
                    <a16:creationId xmlns:a16="http://schemas.microsoft.com/office/drawing/2014/main" id="{DA270C68-039F-4218-B84C-D268FD849B0B}"/>
                  </a:ext>
                </a:extLst>
              </p:cNvPr>
              <p:cNvSpPr/>
              <p:nvPr/>
            </p:nvSpPr>
            <p:spPr>
              <a:xfrm>
                <a:off x="10715752" y="3474304"/>
                <a:ext cx="92437" cy="77617"/>
              </a:xfrm>
              <a:custGeom>
                <a:avLst/>
                <a:gdLst>
                  <a:gd name="connsiteX0" fmla="*/ 74729 w 92437"/>
                  <a:gd name="connsiteY0" fmla="*/ 0 h 77617"/>
                  <a:gd name="connsiteX1" fmla="*/ 0 w 92437"/>
                  <a:gd name="connsiteY1" fmla="*/ 43205 h 77617"/>
                  <a:gd name="connsiteX2" fmla="*/ 17709 w 92437"/>
                  <a:gd name="connsiteY2" fmla="*/ 73975 h 77617"/>
                  <a:gd name="connsiteX3" fmla="*/ 17709 w 92437"/>
                  <a:gd name="connsiteY3" fmla="*/ 77617 h 77617"/>
                  <a:gd name="connsiteX4" fmla="*/ 92438 w 92437"/>
                  <a:gd name="connsiteY4" fmla="*/ 34413 h 77617"/>
                  <a:gd name="connsiteX5" fmla="*/ 92438 w 92437"/>
                  <a:gd name="connsiteY5" fmla="*/ 30771 h 77617"/>
                  <a:gd name="connsiteX6" fmla="*/ 74729 w 92437"/>
                  <a:gd name="connsiteY6" fmla="*/ 0 h 7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437" h="77617">
                    <a:moveTo>
                      <a:pt x="74729" y="0"/>
                    </a:moveTo>
                    <a:lnTo>
                      <a:pt x="0" y="43205"/>
                    </a:lnTo>
                    <a:cubicBezTo>
                      <a:pt x="9797" y="48856"/>
                      <a:pt x="17709" y="62672"/>
                      <a:pt x="17709" y="73975"/>
                    </a:cubicBezTo>
                    <a:lnTo>
                      <a:pt x="17709" y="77617"/>
                    </a:lnTo>
                    <a:lnTo>
                      <a:pt x="92438" y="34413"/>
                    </a:lnTo>
                    <a:lnTo>
                      <a:pt x="92438" y="30771"/>
                    </a:lnTo>
                    <a:cubicBezTo>
                      <a:pt x="92438" y="19467"/>
                      <a:pt x="84525" y="5777"/>
                      <a:pt x="74729" y="0"/>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5" name="Freeform: Shape 714">
                <a:extLst>
                  <a:ext uri="{FF2B5EF4-FFF2-40B4-BE49-F238E27FC236}">
                    <a16:creationId xmlns:a16="http://schemas.microsoft.com/office/drawing/2014/main" id="{5506B315-9D61-42A6-85FC-534EC7E8DAB7}"/>
                  </a:ext>
                </a:extLst>
              </p:cNvPr>
              <p:cNvSpPr/>
              <p:nvPr/>
            </p:nvSpPr>
            <p:spPr>
              <a:xfrm>
                <a:off x="10698545" y="3464508"/>
                <a:ext cx="91935" cy="53001"/>
              </a:xfrm>
              <a:custGeom>
                <a:avLst/>
                <a:gdLst>
                  <a:gd name="connsiteX0" fmla="*/ 74729 w 91935"/>
                  <a:gd name="connsiteY0" fmla="*/ 0 h 53001"/>
                  <a:gd name="connsiteX1" fmla="*/ 0 w 91935"/>
                  <a:gd name="connsiteY1" fmla="*/ 43079 h 53001"/>
                  <a:gd name="connsiteX2" fmla="*/ 17081 w 91935"/>
                  <a:gd name="connsiteY2" fmla="*/ 53001 h 53001"/>
                  <a:gd name="connsiteX3" fmla="*/ 91935 w 91935"/>
                  <a:gd name="connsiteY3" fmla="*/ 9796 h 53001"/>
                </a:gdLst>
                <a:ahLst/>
                <a:cxnLst>
                  <a:cxn ang="0">
                    <a:pos x="connsiteX0" y="connsiteY0"/>
                  </a:cxn>
                  <a:cxn ang="0">
                    <a:pos x="connsiteX1" y="connsiteY1"/>
                  </a:cxn>
                  <a:cxn ang="0">
                    <a:pos x="connsiteX2" y="connsiteY2"/>
                  </a:cxn>
                  <a:cxn ang="0">
                    <a:pos x="connsiteX3" y="connsiteY3"/>
                  </a:cxn>
                </a:cxnLst>
                <a:rect l="l" t="t" r="r" b="b"/>
                <a:pathLst>
                  <a:path w="91935" h="53001">
                    <a:moveTo>
                      <a:pt x="74729" y="0"/>
                    </a:moveTo>
                    <a:lnTo>
                      <a:pt x="0" y="43079"/>
                    </a:lnTo>
                    <a:lnTo>
                      <a:pt x="17081" y="53001"/>
                    </a:lnTo>
                    <a:lnTo>
                      <a:pt x="91935" y="9796"/>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16" name="Graphic 4">
              <a:extLst>
                <a:ext uri="{FF2B5EF4-FFF2-40B4-BE49-F238E27FC236}">
                  <a16:creationId xmlns:a16="http://schemas.microsoft.com/office/drawing/2014/main" id="{84FB7ED1-A2DF-40A1-A747-5F7CF3F14040}"/>
                </a:ext>
              </a:extLst>
            </p:cNvPr>
            <p:cNvGrpSpPr/>
            <p:nvPr/>
          </p:nvGrpSpPr>
          <p:grpSpPr>
            <a:xfrm>
              <a:off x="10749663" y="3462247"/>
              <a:ext cx="48605" cy="35467"/>
              <a:chOff x="10749663" y="3462247"/>
              <a:chExt cx="48605" cy="35467"/>
            </a:xfrm>
            <a:solidFill>
              <a:schemeClr val="accent1"/>
            </a:solidFill>
          </p:grpSpPr>
          <p:sp>
            <p:nvSpPr>
              <p:cNvPr id="717" name="Freeform: Shape 716">
                <a:extLst>
                  <a:ext uri="{FF2B5EF4-FFF2-40B4-BE49-F238E27FC236}">
                    <a16:creationId xmlns:a16="http://schemas.microsoft.com/office/drawing/2014/main" id="{07E1375D-50F2-4D84-9D52-9342F9DEA413}"/>
                  </a:ext>
                </a:extLst>
              </p:cNvPr>
              <p:cNvSpPr/>
              <p:nvPr/>
            </p:nvSpPr>
            <p:spPr>
              <a:xfrm>
                <a:off x="10749663" y="3473927"/>
                <a:ext cx="28258" cy="23786"/>
              </a:xfrm>
              <a:custGeom>
                <a:avLst/>
                <a:gdLst>
                  <a:gd name="connsiteX0" fmla="*/ 2763 w 28258"/>
                  <a:gd name="connsiteY0" fmla="*/ 10048 h 23786"/>
                  <a:gd name="connsiteX1" fmla="*/ 25998 w 28258"/>
                  <a:gd name="connsiteY1" fmla="*/ 23486 h 23786"/>
                  <a:gd name="connsiteX2" fmla="*/ 27631 w 28258"/>
                  <a:gd name="connsiteY2" fmla="*/ 23612 h 23786"/>
                  <a:gd name="connsiteX3" fmla="*/ 28259 w 28258"/>
                  <a:gd name="connsiteY3" fmla="*/ 22105 h 23786"/>
                  <a:gd name="connsiteX4" fmla="*/ 28259 w 28258"/>
                  <a:gd name="connsiteY4" fmla="*/ 19844 h 23786"/>
                  <a:gd name="connsiteX5" fmla="*/ 24993 w 28258"/>
                  <a:gd name="connsiteY5" fmla="*/ 13187 h 23786"/>
                  <a:gd name="connsiteX6" fmla="*/ 13439 w 28258"/>
                  <a:gd name="connsiteY6" fmla="*/ 5903 h 23786"/>
                  <a:gd name="connsiteX7" fmla="*/ 0 w 28258"/>
                  <a:gd name="connsiteY7" fmla="*/ 0 h 23786"/>
                  <a:gd name="connsiteX8" fmla="*/ 2763 w 28258"/>
                  <a:gd name="connsiteY8" fmla="*/ 10048 h 23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58" h="23786">
                    <a:moveTo>
                      <a:pt x="2763" y="10048"/>
                    </a:moveTo>
                    <a:lnTo>
                      <a:pt x="25998" y="23486"/>
                    </a:lnTo>
                    <a:cubicBezTo>
                      <a:pt x="26626" y="23863"/>
                      <a:pt x="27254" y="23863"/>
                      <a:pt x="27631" y="23612"/>
                    </a:cubicBezTo>
                    <a:cubicBezTo>
                      <a:pt x="28007" y="23361"/>
                      <a:pt x="28259" y="22858"/>
                      <a:pt x="28259" y="22105"/>
                    </a:cubicBezTo>
                    <a:lnTo>
                      <a:pt x="28259" y="19844"/>
                    </a:lnTo>
                    <a:cubicBezTo>
                      <a:pt x="28259" y="17583"/>
                      <a:pt x="26877" y="14820"/>
                      <a:pt x="24993" y="13187"/>
                    </a:cubicBezTo>
                    <a:cubicBezTo>
                      <a:pt x="21100" y="9796"/>
                      <a:pt x="17332" y="7536"/>
                      <a:pt x="13439" y="5903"/>
                    </a:cubicBezTo>
                    <a:cubicBezTo>
                      <a:pt x="9294" y="4270"/>
                      <a:pt x="4270" y="2386"/>
                      <a:pt x="0" y="0"/>
                    </a:cubicBezTo>
                    <a:lnTo>
                      <a:pt x="2763" y="1004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8" name="Freeform: Shape 717">
                <a:extLst>
                  <a:ext uri="{FF2B5EF4-FFF2-40B4-BE49-F238E27FC236}">
                    <a16:creationId xmlns:a16="http://schemas.microsoft.com/office/drawing/2014/main" id="{8ACC9DFF-F2DA-4393-851A-191338AA3B64}"/>
                  </a:ext>
                </a:extLst>
              </p:cNvPr>
              <p:cNvSpPr/>
              <p:nvPr/>
            </p:nvSpPr>
            <p:spPr>
              <a:xfrm>
                <a:off x="10749788" y="3462247"/>
                <a:ext cx="48479" cy="35292"/>
              </a:xfrm>
              <a:custGeom>
                <a:avLst/>
                <a:gdLst>
                  <a:gd name="connsiteX0" fmla="*/ 28259 w 48479"/>
                  <a:gd name="connsiteY0" fmla="*/ 33785 h 35292"/>
                  <a:gd name="connsiteX1" fmla="*/ 28259 w 48479"/>
                  <a:gd name="connsiteY1" fmla="*/ 31524 h 35292"/>
                  <a:gd name="connsiteX2" fmla="*/ 24993 w 48479"/>
                  <a:gd name="connsiteY2" fmla="*/ 24868 h 35292"/>
                  <a:gd name="connsiteX3" fmla="*/ 13439 w 48479"/>
                  <a:gd name="connsiteY3" fmla="*/ 17583 h 35292"/>
                  <a:gd name="connsiteX4" fmla="*/ 0 w 48479"/>
                  <a:gd name="connsiteY4" fmla="*/ 11680 h 35292"/>
                  <a:gd name="connsiteX5" fmla="*/ 20221 w 48479"/>
                  <a:gd name="connsiteY5" fmla="*/ 0 h 35292"/>
                  <a:gd name="connsiteX6" fmla="*/ 33659 w 48479"/>
                  <a:gd name="connsiteY6" fmla="*/ 5903 h 35292"/>
                  <a:gd name="connsiteX7" fmla="*/ 45214 w 48479"/>
                  <a:gd name="connsiteY7" fmla="*/ 13187 h 35292"/>
                  <a:gd name="connsiteX8" fmla="*/ 48479 w 48479"/>
                  <a:gd name="connsiteY8" fmla="*/ 19844 h 35292"/>
                  <a:gd name="connsiteX9" fmla="*/ 48479 w 48479"/>
                  <a:gd name="connsiteY9" fmla="*/ 22105 h 35292"/>
                  <a:gd name="connsiteX10" fmla="*/ 47852 w 48479"/>
                  <a:gd name="connsiteY10" fmla="*/ 23612 h 35292"/>
                  <a:gd name="connsiteX11" fmla="*/ 27631 w 48479"/>
                  <a:gd name="connsiteY11" fmla="*/ 35292 h 35292"/>
                  <a:gd name="connsiteX12" fmla="*/ 28259 w 48479"/>
                  <a:gd name="connsiteY12" fmla="*/ 33785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79" h="35292">
                    <a:moveTo>
                      <a:pt x="28259" y="33785"/>
                    </a:moveTo>
                    <a:lnTo>
                      <a:pt x="28259" y="31524"/>
                    </a:lnTo>
                    <a:cubicBezTo>
                      <a:pt x="28259" y="29264"/>
                      <a:pt x="26877" y="26501"/>
                      <a:pt x="24993" y="24868"/>
                    </a:cubicBezTo>
                    <a:cubicBezTo>
                      <a:pt x="21100" y="21477"/>
                      <a:pt x="17332" y="19216"/>
                      <a:pt x="13439" y="17583"/>
                    </a:cubicBezTo>
                    <a:cubicBezTo>
                      <a:pt x="9294" y="15951"/>
                      <a:pt x="4270" y="14067"/>
                      <a:pt x="0" y="11680"/>
                    </a:cubicBezTo>
                    <a:lnTo>
                      <a:pt x="20221" y="0"/>
                    </a:lnTo>
                    <a:cubicBezTo>
                      <a:pt x="24365" y="2386"/>
                      <a:pt x="29514" y="4270"/>
                      <a:pt x="33659" y="5903"/>
                    </a:cubicBezTo>
                    <a:cubicBezTo>
                      <a:pt x="37678" y="7536"/>
                      <a:pt x="41320" y="9796"/>
                      <a:pt x="45214" y="13187"/>
                    </a:cubicBezTo>
                    <a:cubicBezTo>
                      <a:pt x="47098" y="14820"/>
                      <a:pt x="48479" y="17583"/>
                      <a:pt x="48479" y="19844"/>
                    </a:cubicBezTo>
                    <a:lnTo>
                      <a:pt x="48479" y="22105"/>
                    </a:lnTo>
                    <a:cubicBezTo>
                      <a:pt x="48479" y="22858"/>
                      <a:pt x="48228" y="23361"/>
                      <a:pt x="47852" y="23612"/>
                    </a:cubicBezTo>
                    <a:cubicBezTo>
                      <a:pt x="47474" y="23863"/>
                      <a:pt x="27631" y="35292"/>
                      <a:pt x="27631" y="35292"/>
                    </a:cubicBezTo>
                    <a:cubicBezTo>
                      <a:pt x="28007" y="35041"/>
                      <a:pt x="28259" y="34539"/>
                      <a:pt x="28259" y="33785"/>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19" name="Graphic 4">
              <a:extLst>
                <a:ext uri="{FF2B5EF4-FFF2-40B4-BE49-F238E27FC236}">
                  <a16:creationId xmlns:a16="http://schemas.microsoft.com/office/drawing/2014/main" id="{84FB7ED1-A2DF-40A1-A747-5F7CF3F14040}"/>
                </a:ext>
              </a:extLst>
            </p:cNvPr>
            <p:cNvGrpSpPr/>
            <p:nvPr/>
          </p:nvGrpSpPr>
          <p:grpSpPr>
            <a:xfrm>
              <a:off x="10742408" y="3430083"/>
              <a:ext cx="34760" cy="47235"/>
              <a:chOff x="10742408" y="3430083"/>
              <a:chExt cx="34760" cy="47235"/>
            </a:xfrm>
            <a:solidFill>
              <a:schemeClr val="accent1"/>
            </a:solidFill>
          </p:grpSpPr>
          <p:sp>
            <p:nvSpPr>
              <p:cNvPr id="720" name="Freeform: Shape 719">
                <a:extLst>
                  <a:ext uri="{FF2B5EF4-FFF2-40B4-BE49-F238E27FC236}">
                    <a16:creationId xmlns:a16="http://schemas.microsoft.com/office/drawing/2014/main" id="{FF107C01-4080-4997-BC1E-DEEF66DF899F}"/>
                  </a:ext>
                </a:extLst>
              </p:cNvPr>
              <p:cNvSpPr/>
              <p:nvPr/>
            </p:nvSpPr>
            <p:spPr>
              <a:xfrm>
                <a:off x="10742408" y="3441799"/>
                <a:ext cx="14664" cy="35519"/>
              </a:xfrm>
              <a:custGeom>
                <a:avLst/>
                <a:gdLst>
                  <a:gd name="connsiteX0" fmla="*/ 2985 w 14664"/>
                  <a:gd name="connsiteY0" fmla="*/ 227 h 35519"/>
                  <a:gd name="connsiteX1" fmla="*/ 2985 w 14664"/>
                  <a:gd name="connsiteY1" fmla="*/ 227 h 35519"/>
                  <a:gd name="connsiteX2" fmla="*/ 7004 w 14664"/>
                  <a:gd name="connsiteY2" fmla="*/ 4498 h 35519"/>
                  <a:gd name="connsiteX3" fmla="*/ 10018 w 14664"/>
                  <a:gd name="connsiteY3" fmla="*/ 12913 h 35519"/>
                  <a:gd name="connsiteX4" fmla="*/ 12404 w 14664"/>
                  <a:gd name="connsiteY4" fmla="*/ 24342 h 35519"/>
                  <a:gd name="connsiteX5" fmla="*/ 13535 w 14664"/>
                  <a:gd name="connsiteY5" fmla="*/ 30873 h 35519"/>
                  <a:gd name="connsiteX6" fmla="*/ 14665 w 14664"/>
                  <a:gd name="connsiteY6" fmla="*/ 35520 h 35519"/>
                  <a:gd name="connsiteX7" fmla="*/ 7507 w 14664"/>
                  <a:gd name="connsiteY7" fmla="*/ 32129 h 35519"/>
                  <a:gd name="connsiteX8" fmla="*/ 222 w 14664"/>
                  <a:gd name="connsiteY8" fmla="*/ 4372 h 35519"/>
                  <a:gd name="connsiteX9" fmla="*/ 1101 w 14664"/>
                  <a:gd name="connsiteY9" fmla="*/ 353 h 35519"/>
                  <a:gd name="connsiteX10" fmla="*/ 2985 w 14664"/>
                  <a:gd name="connsiteY10" fmla="*/ 227 h 3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64" h="35519">
                    <a:moveTo>
                      <a:pt x="2985" y="227"/>
                    </a:moveTo>
                    <a:lnTo>
                      <a:pt x="2985" y="227"/>
                    </a:lnTo>
                    <a:cubicBezTo>
                      <a:pt x="4492" y="730"/>
                      <a:pt x="6124" y="2488"/>
                      <a:pt x="7004" y="4498"/>
                    </a:cubicBezTo>
                    <a:cubicBezTo>
                      <a:pt x="8009" y="7010"/>
                      <a:pt x="9139" y="9773"/>
                      <a:pt x="10018" y="12913"/>
                    </a:cubicBezTo>
                    <a:cubicBezTo>
                      <a:pt x="11274" y="17434"/>
                      <a:pt x="12028" y="21202"/>
                      <a:pt x="12404" y="24342"/>
                    </a:cubicBezTo>
                    <a:cubicBezTo>
                      <a:pt x="12656" y="26477"/>
                      <a:pt x="13033" y="28612"/>
                      <a:pt x="13535" y="30873"/>
                    </a:cubicBezTo>
                    <a:lnTo>
                      <a:pt x="14665" y="35520"/>
                    </a:lnTo>
                    <a:cubicBezTo>
                      <a:pt x="12278" y="34515"/>
                      <a:pt x="9767" y="33384"/>
                      <a:pt x="7507" y="32129"/>
                    </a:cubicBezTo>
                    <a:lnTo>
                      <a:pt x="222" y="4372"/>
                    </a:lnTo>
                    <a:cubicBezTo>
                      <a:pt x="-281" y="2363"/>
                      <a:pt x="96" y="855"/>
                      <a:pt x="1101" y="353"/>
                    </a:cubicBezTo>
                    <a:cubicBezTo>
                      <a:pt x="1603" y="-24"/>
                      <a:pt x="2231" y="-149"/>
                      <a:pt x="2985" y="227"/>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1" name="Freeform: Shape 720">
                <a:extLst>
                  <a:ext uri="{FF2B5EF4-FFF2-40B4-BE49-F238E27FC236}">
                    <a16:creationId xmlns:a16="http://schemas.microsoft.com/office/drawing/2014/main" id="{D00CF0B4-A47B-491E-8EE7-293FCFAEF5C4}"/>
                  </a:ext>
                </a:extLst>
              </p:cNvPr>
              <p:cNvSpPr/>
              <p:nvPr/>
            </p:nvSpPr>
            <p:spPr>
              <a:xfrm>
                <a:off x="10743383" y="3430083"/>
                <a:ext cx="33785" cy="47109"/>
              </a:xfrm>
              <a:custGeom>
                <a:avLst/>
                <a:gdLst>
                  <a:gd name="connsiteX0" fmla="*/ 11303 w 33785"/>
                  <a:gd name="connsiteY0" fmla="*/ 35931 h 47109"/>
                  <a:gd name="connsiteX1" fmla="*/ 8918 w 33785"/>
                  <a:gd name="connsiteY1" fmla="*/ 24502 h 47109"/>
                  <a:gd name="connsiteX2" fmla="*/ 5903 w 33785"/>
                  <a:gd name="connsiteY2" fmla="*/ 16087 h 47109"/>
                  <a:gd name="connsiteX3" fmla="*/ 1883 w 33785"/>
                  <a:gd name="connsiteY3" fmla="*/ 11817 h 47109"/>
                  <a:gd name="connsiteX4" fmla="*/ 1883 w 33785"/>
                  <a:gd name="connsiteY4" fmla="*/ 11817 h 47109"/>
                  <a:gd name="connsiteX5" fmla="*/ 0 w 33785"/>
                  <a:gd name="connsiteY5" fmla="*/ 11943 h 47109"/>
                  <a:gd name="connsiteX6" fmla="*/ 20221 w 33785"/>
                  <a:gd name="connsiteY6" fmla="*/ 263 h 47109"/>
                  <a:gd name="connsiteX7" fmla="*/ 22105 w 33785"/>
                  <a:gd name="connsiteY7" fmla="*/ 137 h 47109"/>
                  <a:gd name="connsiteX8" fmla="*/ 22105 w 33785"/>
                  <a:gd name="connsiteY8" fmla="*/ 137 h 47109"/>
                  <a:gd name="connsiteX9" fmla="*/ 26124 w 33785"/>
                  <a:gd name="connsiteY9" fmla="*/ 4407 h 47109"/>
                  <a:gd name="connsiteX10" fmla="*/ 29138 w 33785"/>
                  <a:gd name="connsiteY10" fmla="*/ 12822 h 47109"/>
                  <a:gd name="connsiteX11" fmla="*/ 31524 w 33785"/>
                  <a:gd name="connsiteY11" fmla="*/ 24251 h 47109"/>
                  <a:gd name="connsiteX12" fmla="*/ 32654 w 33785"/>
                  <a:gd name="connsiteY12" fmla="*/ 30782 h 47109"/>
                  <a:gd name="connsiteX13" fmla="*/ 33785 w 33785"/>
                  <a:gd name="connsiteY13" fmla="*/ 35429 h 47109"/>
                  <a:gd name="connsiteX14" fmla="*/ 13564 w 33785"/>
                  <a:gd name="connsiteY14" fmla="*/ 47109 h 47109"/>
                  <a:gd name="connsiteX15" fmla="*/ 12434 w 33785"/>
                  <a:gd name="connsiteY15" fmla="*/ 42462 h 47109"/>
                  <a:gd name="connsiteX16" fmla="*/ 11303 w 33785"/>
                  <a:gd name="connsiteY16" fmla="*/ 35931 h 47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85" h="47109">
                    <a:moveTo>
                      <a:pt x="11303" y="35931"/>
                    </a:moveTo>
                    <a:cubicBezTo>
                      <a:pt x="10927" y="32917"/>
                      <a:pt x="10299" y="29024"/>
                      <a:pt x="8918" y="24502"/>
                    </a:cubicBezTo>
                    <a:cubicBezTo>
                      <a:pt x="8038" y="21362"/>
                      <a:pt x="6908" y="18474"/>
                      <a:pt x="5903" y="16087"/>
                    </a:cubicBezTo>
                    <a:cubicBezTo>
                      <a:pt x="5023" y="14078"/>
                      <a:pt x="3516" y="12445"/>
                      <a:pt x="1883" y="11817"/>
                    </a:cubicBezTo>
                    <a:lnTo>
                      <a:pt x="1883" y="11817"/>
                    </a:lnTo>
                    <a:cubicBezTo>
                      <a:pt x="1130" y="11566"/>
                      <a:pt x="502" y="11566"/>
                      <a:pt x="0" y="11943"/>
                    </a:cubicBezTo>
                    <a:cubicBezTo>
                      <a:pt x="0" y="11943"/>
                      <a:pt x="19216" y="891"/>
                      <a:pt x="20221" y="263"/>
                    </a:cubicBezTo>
                    <a:cubicBezTo>
                      <a:pt x="20723" y="11"/>
                      <a:pt x="21351" y="-114"/>
                      <a:pt x="22105" y="137"/>
                    </a:cubicBezTo>
                    <a:lnTo>
                      <a:pt x="22105" y="137"/>
                    </a:lnTo>
                    <a:cubicBezTo>
                      <a:pt x="23612" y="639"/>
                      <a:pt x="25245" y="2398"/>
                      <a:pt x="26124" y="4407"/>
                    </a:cubicBezTo>
                    <a:cubicBezTo>
                      <a:pt x="27128" y="6919"/>
                      <a:pt x="28259" y="9682"/>
                      <a:pt x="29138" y="12822"/>
                    </a:cubicBezTo>
                    <a:cubicBezTo>
                      <a:pt x="30394" y="17343"/>
                      <a:pt x="31147" y="21111"/>
                      <a:pt x="31524" y="24251"/>
                    </a:cubicBezTo>
                    <a:cubicBezTo>
                      <a:pt x="31775" y="26386"/>
                      <a:pt x="32152" y="28521"/>
                      <a:pt x="32654" y="30782"/>
                    </a:cubicBezTo>
                    <a:lnTo>
                      <a:pt x="33785" y="35429"/>
                    </a:lnTo>
                    <a:lnTo>
                      <a:pt x="13564" y="47109"/>
                    </a:lnTo>
                    <a:lnTo>
                      <a:pt x="12434" y="42462"/>
                    </a:lnTo>
                    <a:cubicBezTo>
                      <a:pt x="11932" y="40327"/>
                      <a:pt x="11555" y="38066"/>
                      <a:pt x="11303" y="35931"/>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22" name="Freeform: Shape 721">
              <a:extLst>
                <a:ext uri="{FF2B5EF4-FFF2-40B4-BE49-F238E27FC236}">
                  <a16:creationId xmlns:a16="http://schemas.microsoft.com/office/drawing/2014/main" id="{FB26BA0D-BCDC-4DC2-A826-4BF11F1872E5}"/>
                </a:ext>
              </a:extLst>
            </p:cNvPr>
            <p:cNvSpPr/>
            <p:nvPr/>
          </p:nvSpPr>
          <p:spPr>
            <a:xfrm>
              <a:off x="10763227" y="3490129"/>
              <a:ext cx="12559" cy="11177"/>
            </a:xfrm>
            <a:custGeom>
              <a:avLst/>
              <a:gdLst>
                <a:gd name="connsiteX0" fmla="*/ 12559 w 12559"/>
                <a:gd name="connsiteY0" fmla="*/ 7285 h 11177"/>
                <a:gd name="connsiteX1" fmla="*/ 11303 w 12559"/>
                <a:gd name="connsiteY1" fmla="*/ 11178 h 11177"/>
                <a:gd name="connsiteX2" fmla="*/ 11303 w 12559"/>
                <a:gd name="connsiteY2" fmla="*/ 11178 h 11177"/>
                <a:gd name="connsiteX3" fmla="*/ 0 w 12559"/>
                <a:gd name="connsiteY3" fmla="*/ 0 h 11177"/>
                <a:gd name="connsiteX4" fmla="*/ 12559 w 12559"/>
                <a:gd name="connsiteY4" fmla="*/ 7285 h 11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1177">
                  <a:moveTo>
                    <a:pt x="12559" y="7285"/>
                  </a:moveTo>
                  <a:cubicBezTo>
                    <a:pt x="12559" y="9169"/>
                    <a:pt x="12182" y="10676"/>
                    <a:pt x="11303" y="11178"/>
                  </a:cubicBezTo>
                  <a:lnTo>
                    <a:pt x="11303" y="11178"/>
                  </a:lnTo>
                  <a:cubicBezTo>
                    <a:pt x="8289" y="6531"/>
                    <a:pt x="4270" y="2512"/>
                    <a:pt x="0" y="0"/>
                  </a:cubicBezTo>
                  <a:lnTo>
                    <a:pt x="12559" y="7285"/>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23" name="Graphic 4">
              <a:extLst>
                <a:ext uri="{FF2B5EF4-FFF2-40B4-BE49-F238E27FC236}">
                  <a16:creationId xmlns:a16="http://schemas.microsoft.com/office/drawing/2014/main" id="{84FB7ED1-A2DF-40A1-A747-5F7CF3F14040}"/>
                </a:ext>
              </a:extLst>
            </p:cNvPr>
            <p:cNvGrpSpPr/>
            <p:nvPr/>
          </p:nvGrpSpPr>
          <p:grpSpPr>
            <a:xfrm>
              <a:off x="10709221" y="3485607"/>
              <a:ext cx="48605" cy="35467"/>
              <a:chOff x="10709221" y="3485607"/>
              <a:chExt cx="48605" cy="35467"/>
            </a:xfrm>
            <a:solidFill>
              <a:schemeClr val="accent1"/>
            </a:solidFill>
          </p:grpSpPr>
          <p:sp>
            <p:nvSpPr>
              <p:cNvPr id="724" name="Freeform: Shape 723">
                <a:extLst>
                  <a:ext uri="{FF2B5EF4-FFF2-40B4-BE49-F238E27FC236}">
                    <a16:creationId xmlns:a16="http://schemas.microsoft.com/office/drawing/2014/main" id="{B62C9896-F08D-4153-89CB-01B550DB3C17}"/>
                  </a:ext>
                </a:extLst>
              </p:cNvPr>
              <p:cNvSpPr/>
              <p:nvPr/>
            </p:nvSpPr>
            <p:spPr>
              <a:xfrm>
                <a:off x="10709221" y="3497288"/>
                <a:ext cx="28258" cy="23786"/>
              </a:xfrm>
              <a:custGeom>
                <a:avLst/>
                <a:gdLst>
                  <a:gd name="connsiteX0" fmla="*/ 2763 w 28258"/>
                  <a:gd name="connsiteY0" fmla="*/ 10048 h 23786"/>
                  <a:gd name="connsiteX1" fmla="*/ 25998 w 28258"/>
                  <a:gd name="connsiteY1" fmla="*/ 23486 h 23786"/>
                  <a:gd name="connsiteX2" fmla="*/ 27631 w 28258"/>
                  <a:gd name="connsiteY2" fmla="*/ 23612 h 23786"/>
                  <a:gd name="connsiteX3" fmla="*/ 28259 w 28258"/>
                  <a:gd name="connsiteY3" fmla="*/ 22105 h 23786"/>
                  <a:gd name="connsiteX4" fmla="*/ 28259 w 28258"/>
                  <a:gd name="connsiteY4" fmla="*/ 19844 h 23786"/>
                  <a:gd name="connsiteX5" fmla="*/ 24994 w 28258"/>
                  <a:gd name="connsiteY5" fmla="*/ 13187 h 23786"/>
                  <a:gd name="connsiteX6" fmla="*/ 13439 w 28258"/>
                  <a:gd name="connsiteY6" fmla="*/ 5903 h 23786"/>
                  <a:gd name="connsiteX7" fmla="*/ 0 w 28258"/>
                  <a:gd name="connsiteY7" fmla="*/ 0 h 23786"/>
                  <a:gd name="connsiteX8" fmla="*/ 2763 w 28258"/>
                  <a:gd name="connsiteY8" fmla="*/ 10048 h 23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58" h="23786">
                    <a:moveTo>
                      <a:pt x="2763" y="10048"/>
                    </a:moveTo>
                    <a:lnTo>
                      <a:pt x="25998" y="23486"/>
                    </a:lnTo>
                    <a:cubicBezTo>
                      <a:pt x="26626" y="23863"/>
                      <a:pt x="27255" y="23863"/>
                      <a:pt x="27631" y="23612"/>
                    </a:cubicBezTo>
                    <a:cubicBezTo>
                      <a:pt x="28008" y="23361"/>
                      <a:pt x="28259" y="22858"/>
                      <a:pt x="28259" y="22105"/>
                    </a:cubicBezTo>
                    <a:lnTo>
                      <a:pt x="28259" y="19844"/>
                    </a:lnTo>
                    <a:cubicBezTo>
                      <a:pt x="28259" y="17583"/>
                      <a:pt x="26877" y="14820"/>
                      <a:pt x="24994" y="13187"/>
                    </a:cubicBezTo>
                    <a:cubicBezTo>
                      <a:pt x="21101" y="9796"/>
                      <a:pt x="17332" y="7536"/>
                      <a:pt x="13439" y="5903"/>
                    </a:cubicBezTo>
                    <a:cubicBezTo>
                      <a:pt x="9295" y="4270"/>
                      <a:pt x="4271" y="2386"/>
                      <a:pt x="0" y="0"/>
                    </a:cubicBezTo>
                    <a:lnTo>
                      <a:pt x="2763" y="1004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5" name="Freeform: Shape 724">
                <a:extLst>
                  <a:ext uri="{FF2B5EF4-FFF2-40B4-BE49-F238E27FC236}">
                    <a16:creationId xmlns:a16="http://schemas.microsoft.com/office/drawing/2014/main" id="{0352580E-6595-4C1E-B38D-BF142E187EA1}"/>
                  </a:ext>
                </a:extLst>
              </p:cNvPr>
              <p:cNvSpPr/>
              <p:nvPr/>
            </p:nvSpPr>
            <p:spPr>
              <a:xfrm>
                <a:off x="10709346" y="3485607"/>
                <a:ext cx="48479" cy="35292"/>
              </a:xfrm>
              <a:custGeom>
                <a:avLst/>
                <a:gdLst>
                  <a:gd name="connsiteX0" fmla="*/ 28259 w 48479"/>
                  <a:gd name="connsiteY0" fmla="*/ 33785 h 35292"/>
                  <a:gd name="connsiteX1" fmla="*/ 28259 w 48479"/>
                  <a:gd name="connsiteY1" fmla="*/ 31524 h 35292"/>
                  <a:gd name="connsiteX2" fmla="*/ 24993 w 48479"/>
                  <a:gd name="connsiteY2" fmla="*/ 24868 h 35292"/>
                  <a:gd name="connsiteX3" fmla="*/ 13439 w 48479"/>
                  <a:gd name="connsiteY3" fmla="*/ 17583 h 35292"/>
                  <a:gd name="connsiteX4" fmla="*/ 0 w 48479"/>
                  <a:gd name="connsiteY4" fmla="*/ 11680 h 35292"/>
                  <a:gd name="connsiteX5" fmla="*/ 20221 w 48479"/>
                  <a:gd name="connsiteY5" fmla="*/ 0 h 35292"/>
                  <a:gd name="connsiteX6" fmla="*/ 33659 w 48479"/>
                  <a:gd name="connsiteY6" fmla="*/ 5903 h 35292"/>
                  <a:gd name="connsiteX7" fmla="*/ 45215 w 48479"/>
                  <a:gd name="connsiteY7" fmla="*/ 13187 h 35292"/>
                  <a:gd name="connsiteX8" fmla="*/ 48479 w 48479"/>
                  <a:gd name="connsiteY8" fmla="*/ 19844 h 35292"/>
                  <a:gd name="connsiteX9" fmla="*/ 48479 w 48479"/>
                  <a:gd name="connsiteY9" fmla="*/ 22105 h 35292"/>
                  <a:gd name="connsiteX10" fmla="*/ 47852 w 48479"/>
                  <a:gd name="connsiteY10" fmla="*/ 23612 h 35292"/>
                  <a:gd name="connsiteX11" fmla="*/ 27631 w 48479"/>
                  <a:gd name="connsiteY11" fmla="*/ 35292 h 35292"/>
                  <a:gd name="connsiteX12" fmla="*/ 28259 w 48479"/>
                  <a:gd name="connsiteY12" fmla="*/ 33785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79" h="35292">
                    <a:moveTo>
                      <a:pt x="28259" y="33785"/>
                    </a:moveTo>
                    <a:lnTo>
                      <a:pt x="28259" y="31524"/>
                    </a:lnTo>
                    <a:cubicBezTo>
                      <a:pt x="28259" y="29264"/>
                      <a:pt x="26877" y="26501"/>
                      <a:pt x="24993" y="24868"/>
                    </a:cubicBezTo>
                    <a:cubicBezTo>
                      <a:pt x="21100" y="21477"/>
                      <a:pt x="17332" y="19216"/>
                      <a:pt x="13439" y="17583"/>
                    </a:cubicBezTo>
                    <a:cubicBezTo>
                      <a:pt x="9294" y="15951"/>
                      <a:pt x="4271" y="14067"/>
                      <a:pt x="0" y="11680"/>
                    </a:cubicBezTo>
                    <a:lnTo>
                      <a:pt x="20221" y="0"/>
                    </a:lnTo>
                    <a:cubicBezTo>
                      <a:pt x="24365" y="2386"/>
                      <a:pt x="29515" y="4270"/>
                      <a:pt x="33659" y="5903"/>
                    </a:cubicBezTo>
                    <a:cubicBezTo>
                      <a:pt x="37678" y="7536"/>
                      <a:pt x="41321" y="9796"/>
                      <a:pt x="45215" y="13187"/>
                    </a:cubicBezTo>
                    <a:cubicBezTo>
                      <a:pt x="47098" y="14820"/>
                      <a:pt x="48479" y="17583"/>
                      <a:pt x="48479" y="19844"/>
                    </a:cubicBezTo>
                    <a:lnTo>
                      <a:pt x="48479" y="22105"/>
                    </a:lnTo>
                    <a:cubicBezTo>
                      <a:pt x="48479" y="22858"/>
                      <a:pt x="48229" y="23361"/>
                      <a:pt x="47852" y="23612"/>
                    </a:cubicBezTo>
                    <a:cubicBezTo>
                      <a:pt x="47475" y="23863"/>
                      <a:pt x="27631" y="35292"/>
                      <a:pt x="27631" y="35292"/>
                    </a:cubicBezTo>
                    <a:cubicBezTo>
                      <a:pt x="27882" y="35041"/>
                      <a:pt x="28259" y="34539"/>
                      <a:pt x="28259" y="33785"/>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26" name="Graphic 4">
              <a:extLst>
                <a:ext uri="{FF2B5EF4-FFF2-40B4-BE49-F238E27FC236}">
                  <a16:creationId xmlns:a16="http://schemas.microsoft.com/office/drawing/2014/main" id="{84FB7ED1-A2DF-40A1-A747-5F7CF3F14040}"/>
                </a:ext>
              </a:extLst>
            </p:cNvPr>
            <p:cNvGrpSpPr/>
            <p:nvPr/>
          </p:nvGrpSpPr>
          <p:grpSpPr>
            <a:xfrm>
              <a:off x="10701841" y="3453569"/>
              <a:ext cx="34760" cy="47109"/>
              <a:chOff x="10701841" y="3453569"/>
              <a:chExt cx="34760" cy="47109"/>
            </a:xfrm>
            <a:solidFill>
              <a:schemeClr val="accent1"/>
            </a:solidFill>
          </p:grpSpPr>
          <p:sp>
            <p:nvSpPr>
              <p:cNvPr id="727" name="Freeform: Shape 726">
                <a:extLst>
                  <a:ext uri="{FF2B5EF4-FFF2-40B4-BE49-F238E27FC236}">
                    <a16:creationId xmlns:a16="http://schemas.microsoft.com/office/drawing/2014/main" id="{AAEA390A-56D6-41CE-97A5-3D76B1F1C479}"/>
                  </a:ext>
                </a:extLst>
              </p:cNvPr>
              <p:cNvSpPr/>
              <p:nvPr/>
            </p:nvSpPr>
            <p:spPr>
              <a:xfrm>
                <a:off x="10701841" y="3465212"/>
                <a:ext cx="14664" cy="35467"/>
              </a:xfrm>
              <a:custGeom>
                <a:avLst/>
                <a:gdLst>
                  <a:gd name="connsiteX0" fmla="*/ 2985 w 14664"/>
                  <a:gd name="connsiteY0" fmla="*/ 175 h 35467"/>
                  <a:gd name="connsiteX1" fmla="*/ 2985 w 14664"/>
                  <a:gd name="connsiteY1" fmla="*/ 175 h 35467"/>
                  <a:gd name="connsiteX2" fmla="*/ 7004 w 14664"/>
                  <a:gd name="connsiteY2" fmla="*/ 4445 h 35467"/>
                  <a:gd name="connsiteX3" fmla="*/ 10018 w 14664"/>
                  <a:gd name="connsiteY3" fmla="*/ 12860 h 35467"/>
                  <a:gd name="connsiteX4" fmla="*/ 12404 w 14664"/>
                  <a:gd name="connsiteY4" fmla="*/ 24289 h 35467"/>
                  <a:gd name="connsiteX5" fmla="*/ 13535 w 14664"/>
                  <a:gd name="connsiteY5" fmla="*/ 30820 h 35467"/>
                  <a:gd name="connsiteX6" fmla="*/ 14665 w 14664"/>
                  <a:gd name="connsiteY6" fmla="*/ 35467 h 35467"/>
                  <a:gd name="connsiteX7" fmla="*/ 7506 w 14664"/>
                  <a:gd name="connsiteY7" fmla="*/ 32076 h 35467"/>
                  <a:gd name="connsiteX8" fmla="*/ 222 w 14664"/>
                  <a:gd name="connsiteY8" fmla="*/ 4320 h 35467"/>
                  <a:gd name="connsiteX9" fmla="*/ 1100 w 14664"/>
                  <a:gd name="connsiteY9" fmla="*/ 301 h 35467"/>
                  <a:gd name="connsiteX10" fmla="*/ 2985 w 14664"/>
                  <a:gd name="connsiteY10" fmla="*/ 175 h 3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64" h="35467">
                    <a:moveTo>
                      <a:pt x="2985" y="175"/>
                    </a:moveTo>
                    <a:lnTo>
                      <a:pt x="2985" y="175"/>
                    </a:lnTo>
                    <a:cubicBezTo>
                      <a:pt x="4492" y="677"/>
                      <a:pt x="6124" y="2436"/>
                      <a:pt x="7004" y="4445"/>
                    </a:cubicBezTo>
                    <a:cubicBezTo>
                      <a:pt x="8009" y="6957"/>
                      <a:pt x="9139" y="9720"/>
                      <a:pt x="10018" y="12860"/>
                    </a:cubicBezTo>
                    <a:cubicBezTo>
                      <a:pt x="11273" y="17382"/>
                      <a:pt x="12027" y="21149"/>
                      <a:pt x="12404" y="24289"/>
                    </a:cubicBezTo>
                    <a:cubicBezTo>
                      <a:pt x="12656" y="26424"/>
                      <a:pt x="13032" y="28559"/>
                      <a:pt x="13535" y="30820"/>
                    </a:cubicBezTo>
                    <a:lnTo>
                      <a:pt x="14665" y="35467"/>
                    </a:lnTo>
                    <a:cubicBezTo>
                      <a:pt x="12278" y="34462"/>
                      <a:pt x="9766" y="33332"/>
                      <a:pt x="7506" y="32076"/>
                    </a:cubicBezTo>
                    <a:lnTo>
                      <a:pt x="222" y="4320"/>
                    </a:lnTo>
                    <a:cubicBezTo>
                      <a:pt x="-281" y="2310"/>
                      <a:pt x="96" y="803"/>
                      <a:pt x="1100" y="301"/>
                    </a:cubicBezTo>
                    <a:cubicBezTo>
                      <a:pt x="1603" y="-76"/>
                      <a:pt x="2231" y="-76"/>
                      <a:pt x="2985" y="175"/>
                    </a:cubicBezTo>
                    <a:close/>
                  </a:path>
                </a:pathLst>
              </a:custGeom>
              <a:solidFill>
                <a:srgbClr val="423C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8" name="Freeform: Shape 727">
                <a:extLst>
                  <a:ext uri="{FF2B5EF4-FFF2-40B4-BE49-F238E27FC236}">
                    <a16:creationId xmlns:a16="http://schemas.microsoft.com/office/drawing/2014/main" id="{CA53413F-9335-4014-8148-A4F8A64F6FE1}"/>
                  </a:ext>
                </a:extLst>
              </p:cNvPr>
              <p:cNvSpPr/>
              <p:nvPr/>
            </p:nvSpPr>
            <p:spPr>
              <a:xfrm>
                <a:off x="10702816" y="3453569"/>
                <a:ext cx="33785" cy="47109"/>
              </a:xfrm>
              <a:custGeom>
                <a:avLst/>
                <a:gdLst>
                  <a:gd name="connsiteX0" fmla="*/ 11303 w 33785"/>
                  <a:gd name="connsiteY0" fmla="*/ 35932 h 47109"/>
                  <a:gd name="connsiteX1" fmla="*/ 8917 w 33785"/>
                  <a:gd name="connsiteY1" fmla="*/ 24502 h 47109"/>
                  <a:gd name="connsiteX2" fmla="*/ 5903 w 33785"/>
                  <a:gd name="connsiteY2" fmla="*/ 16088 h 47109"/>
                  <a:gd name="connsiteX3" fmla="*/ 1883 w 33785"/>
                  <a:gd name="connsiteY3" fmla="*/ 11817 h 47109"/>
                  <a:gd name="connsiteX4" fmla="*/ 1883 w 33785"/>
                  <a:gd name="connsiteY4" fmla="*/ 11817 h 47109"/>
                  <a:gd name="connsiteX5" fmla="*/ 0 w 33785"/>
                  <a:gd name="connsiteY5" fmla="*/ 11943 h 47109"/>
                  <a:gd name="connsiteX6" fmla="*/ 20221 w 33785"/>
                  <a:gd name="connsiteY6" fmla="*/ 262 h 47109"/>
                  <a:gd name="connsiteX7" fmla="*/ 22104 w 33785"/>
                  <a:gd name="connsiteY7" fmla="*/ 137 h 47109"/>
                  <a:gd name="connsiteX8" fmla="*/ 22104 w 33785"/>
                  <a:gd name="connsiteY8" fmla="*/ 137 h 47109"/>
                  <a:gd name="connsiteX9" fmla="*/ 26123 w 33785"/>
                  <a:gd name="connsiteY9" fmla="*/ 4407 h 47109"/>
                  <a:gd name="connsiteX10" fmla="*/ 29137 w 33785"/>
                  <a:gd name="connsiteY10" fmla="*/ 12822 h 47109"/>
                  <a:gd name="connsiteX11" fmla="*/ 31524 w 33785"/>
                  <a:gd name="connsiteY11" fmla="*/ 24251 h 47109"/>
                  <a:gd name="connsiteX12" fmla="*/ 32654 w 33785"/>
                  <a:gd name="connsiteY12" fmla="*/ 30782 h 47109"/>
                  <a:gd name="connsiteX13" fmla="*/ 33785 w 33785"/>
                  <a:gd name="connsiteY13" fmla="*/ 35429 h 47109"/>
                  <a:gd name="connsiteX14" fmla="*/ 13564 w 33785"/>
                  <a:gd name="connsiteY14" fmla="*/ 47109 h 47109"/>
                  <a:gd name="connsiteX15" fmla="*/ 12434 w 33785"/>
                  <a:gd name="connsiteY15" fmla="*/ 42462 h 47109"/>
                  <a:gd name="connsiteX16" fmla="*/ 11303 w 33785"/>
                  <a:gd name="connsiteY16" fmla="*/ 35932 h 47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85" h="47109">
                    <a:moveTo>
                      <a:pt x="11303" y="35932"/>
                    </a:moveTo>
                    <a:cubicBezTo>
                      <a:pt x="10927" y="32917"/>
                      <a:pt x="10298" y="29024"/>
                      <a:pt x="8917" y="24502"/>
                    </a:cubicBezTo>
                    <a:cubicBezTo>
                      <a:pt x="8037" y="21362"/>
                      <a:pt x="6908" y="18474"/>
                      <a:pt x="5903" y="16088"/>
                    </a:cubicBezTo>
                    <a:cubicBezTo>
                      <a:pt x="5023" y="14078"/>
                      <a:pt x="3516" y="12445"/>
                      <a:pt x="1883" y="11817"/>
                    </a:cubicBezTo>
                    <a:lnTo>
                      <a:pt x="1883" y="11817"/>
                    </a:lnTo>
                    <a:cubicBezTo>
                      <a:pt x="1130" y="11566"/>
                      <a:pt x="502" y="11566"/>
                      <a:pt x="0" y="11943"/>
                    </a:cubicBezTo>
                    <a:cubicBezTo>
                      <a:pt x="0" y="11943"/>
                      <a:pt x="19216" y="890"/>
                      <a:pt x="20221" y="262"/>
                    </a:cubicBezTo>
                    <a:cubicBezTo>
                      <a:pt x="20723" y="11"/>
                      <a:pt x="21351" y="-114"/>
                      <a:pt x="22104" y="137"/>
                    </a:cubicBezTo>
                    <a:lnTo>
                      <a:pt x="22104" y="137"/>
                    </a:lnTo>
                    <a:cubicBezTo>
                      <a:pt x="23611" y="639"/>
                      <a:pt x="25244" y="2398"/>
                      <a:pt x="26123" y="4407"/>
                    </a:cubicBezTo>
                    <a:cubicBezTo>
                      <a:pt x="27128" y="6919"/>
                      <a:pt x="28259" y="9682"/>
                      <a:pt x="29137" y="12822"/>
                    </a:cubicBezTo>
                    <a:cubicBezTo>
                      <a:pt x="30394" y="17343"/>
                      <a:pt x="31147" y="21111"/>
                      <a:pt x="31524" y="24251"/>
                    </a:cubicBezTo>
                    <a:cubicBezTo>
                      <a:pt x="31775" y="26386"/>
                      <a:pt x="32152" y="28521"/>
                      <a:pt x="32654" y="30782"/>
                    </a:cubicBezTo>
                    <a:lnTo>
                      <a:pt x="33785" y="35429"/>
                    </a:lnTo>
                    <a:lnTo>
                      <a:pt x="13564" y="47109"/>
                    </a:lnTo>
                    <a:lnTo>
                      <a:pt x="12434" y="42462"/>
                    </a:lnTo>
                    <a:cubicBezTo>
                      <a:pt x="11931" y="40202"/>
                      <a:pt x="11555" y="38067"/>
                      <a:pt x="11303" y="35932"/>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29" name="Graphic 4">
              <a:extLst>
                <a:ext uri="{FF2B5EF4-FFF2-40B4-BE49-F238E27FC236}">
                  <a16:creationId xmlns:a16="http://schemas.microsoft.com/office/drawing/2014/main" id="{84FB7ED1-A2DF-40A1-A747-5F7CF3F14040}"/>
                </a:ext>
              </a:extLst>
            </p:cNvPr>
            <p:cNvGrpSpPr/>
            <p:nvPr/>
          </p:nvGrpSpPr>
          <p:grpSpPr>
            <a:xfrm>
              <a:off x="10783573" y="3466973"/>
              <a:ext cx="36300" cy="22048"/>
              <a:chOff x="10783573" y="3466973"/>
              <a:chExt cx="36300" cy="22048"/>
            </a:xfrm>
            <a:solidFill>
              <a:schemeClr val="accent1"/>
            </a:solidFill>
          </p:grpSpPr>
          <p:sp>
            <p:nvSpPr>
              <p:cNvPr id="730" name="Freeform: Shape 729">
                <a:extLst>
                  <a:ext uri="{FF2B5EF4-FFF2-40B4-BE49-F238E27FC236}">
                    <a16:creationId xmlns:a16="http://schemas.microsoft.com/office/drawing/2014/main" id="{54588744-83D6-4ACF-A9E2-C8577DF3F171}"/>
                  </a:ext>
                </a:extLst>
              </p:cNvPr>
              <p:cNvSpPr/>
              <p:nvPr/>
            </p:nvSpPr>
            <p:spPr>
              <a:xfrm>
                <a:off x="10787587" y="3470034"/>
                <a:ext cx="24496" cy="14066"/>
              </a:xfrm>
              <a:custGeom>
                <a:avLst/>
                <a:gdLst>
                  <a:gd name="connsiteX0" fmla="*/ 24496 w 24496"/>
                  <a:gd name="connsiteY0" fmla="*/ 1256 h 14066"/>
                  <a:gd name="connsiteX1" fmla="*/ 23868 w 24496"/>
                  <a:gd name="connsiteY1" fmla="*/ 0 h 14066"/>
                  <a:gd name="connsiteX2" fmla="*/ 23743 w 24496"/>
                  <a:gd name="connsiteY2" fmla="*/ 0 h 14066"/>
                  <a:gd name="connsiteX3" fmla="*/ 23617 w 24496"/>
                  <a:gd name="connsiteY3" fmla="*/ 0 h 14066"/>
                  <a:gd name="connsiteX4" fmla="*/ 5281 w 24496"/>
                  <a:gd name="connsiteY4" fmla="*/ 9671 h 14066"/>
                  <a:gd name="connsiteX5" fmla="*/ 6 w 24496"/>
                  <a:gd name="connsiteY5" fmla="*/ 13187 h 14066"/>
                  <a:gd name="connsiteX6" fmla="*/ 508 w 24496"/>
                  <a:gd name="connsiteY6" fmla="*/ 14067 h 14066"/>
                  <a:gd name="connsiteX7" fmla="*/ 24496 w 24496"/>
                  <a:gd name="connsiteY7" fmla="*/ 1256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96" h="14066">
                    <a:moveTo>
                      <a:pt x="24496" y="1256"/>
                    </a:moveTo>
                    <a:lnTo>
                      <a:pt x="23868" y="0"/>
                    </a:lnTo>
                    <a:cubicBezTo>
                      <a:pt x="23868" y="0"/>
                      <a:pt x="23868" y="0"/>
                      <a:pt x="23743" y="0"/>
                    </a:cubicBezTo>
                    <a:cubicBezTo>
                      <a:pt x="23743" y="0"/>
                      <a:pt x="23743" y="0"/>
                      <a:pt x="23617" y="0"/>
                    </a:cubicBezTo>
                    <a:cubicBezTo>
                      <a:pt x="19347" y="2009"/>
                      <a:pt x="11183" y="6280"/>
                      <a:pt x="5281" y="9671"/>
                    </a:cubicBezTo>
                    <a:cubicBezTo>
                      <a:pt x="1764" y="11680"/>
                      <a:pt x="-120" y="12936"/>
                      <a:pt x="6" y="13187"/>
                    </a:cubicBezTo>
                    <a:lnTo>
                      <a:pt x="508" y="14067"/>
                    </a:lnTo>
                    <a:lnTo>
                      <a:pt x="24496" y="1256"/>
                    </a:lnTo>
                    <a:close/>
                  </a:path>
                </a:pathLst>
              </a:custGeom>
              <a:solidFill>
                <a:srgbClr val="4E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1" name="Freeform: Shape 730">
                <a:extLst>
                  <a:ext uri="{FF2B5EF4-FFF2-40B4-BE49-F238E27FC236}">
                    <a16:creationId xmlns:a16="http://schemas.microsoft.com/office/drawing/2014/main" id="{D9A70DF7-7FB9-4573-A74C-00FEF3F9047E}"/>
                  </a:ext>
                </a:extLst>
              </p:cNvPr>
              <p:cNvSpPr/>
              <p:nvPr/>
            </p:nvSpPr>
            <p:spPr>
              <a:xfrm>
                <a:off x="10796384" y="3478449"/>
                <a:ext cx="502" cy="125"/>
              </a:xfrm>
              <a:custGeom>
                <a:avLst/>
                <a:gdLst>
                  <a:gd name="connsiteX0" fmla="*/ 0 w 502"/>
                  <a:gd name="connsiteY0" fmla="*/ 126 h 125"/>
                  <a:gd name="connsiteX1" fmla="*/ 0 w 502"/>
                  <a:gd name="connsiteY1" fmla="*/ 126 h 125"/>
                  <a:gd name="connsiteX2" fmla="*/ 503 w 502"/>
                  <a:gd name="connsiteY2" fmla="*/ 0 h 125"/>
                  <a:gd name="connsiteX3" fmla="*/ 0 w 502"/>
                  <a:gd name="connsiteY3" fmla="*/ 126 h 125"/>
                </a:gdLst>
                <a:ahLst/>
                <a:cxnLst>
                  <a:cxn ang="0">
                    <a:pos x="connsiteX0" y="connsiteY0"/>
                  </a:cxn>
                  <a:cxn ang="0">
                    <a:pos x="connsiteX1" y="connsiteY1"/>
                  </a:cxn>
                  <a:cxn ang="0">
                    <a:pos x="connsiteX2" y="connsiteY2"/>
                  </a:cxn>
                  <a:cxn ang="0">
                    <a:pos x="connsiteX3" y="connsiteY3"/>
                  </a:cxn>
                </a:cxnLst>
                <a:rect l="l" t="t" r="r" b="b"/>
                <a:pathLst>
                  <a:path w="502" h="125">
                    <a:moveTo>
                      <a:pt x="0" y="126"/>
                    </a:moveTo>
                    <a:lnTo>
                      <a:pt x="0" y="126"/>
                    </a:lnTo>
                    <a:lnTo>
                      <a:pt x="503" y="0"/>
                    </a:lnTo>
                    <a:cubicBezTo>
                      <a:pt x="126" y="126"/>
                      <a:pt x="0" y="126"/>
                      <a:pt x="0" y="12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2" name="Freeform: Shape 731">
                <a:extLst>
                  <a:ext uri="{FF2B5EF4-FFF2-40B4-BE49-F238E27FC236}">
                    <a16:creationId xmlns:a16="http://schemas.microsoft.com/office/drawing/2014/main" id="{DCCD3D4F-FB12-46A8-9A10-2B19909E101B}"/>
                  </a:ext>
                </a:extLst>
              </p:cNvPr>
              <p:cNvSpPr/>
              <p:nvPr/>
            </p:nvSpPr>
            <p:spPr>
              <a:xfrm>
                <a:off x="10793369" y="3469280"/>
                <a:ext cx="20472" cy="12182"/>
              </a:xfrm>
              <a:custGeom>
                <a:avLst/>
                <a:gdLst>
                  <a:gd name="connsiteX0" fmla="*/ 0 w 20472"/>
                  <a:gd name="connsiteY0" fmla="*/ 11429 h 12182"/>
                  <a:gd name="connsiteX1" fmla="*/ 503 w 20472"/>
                  <a:gd name="connsiteY1" fmla="*/ 12183 h 12182"/>
                  <a:gd name="connsiteX2" fmla="*/ 20472 w 20472"/>
                  <a:gd name="connsiteY2" fmla="*/ 1130 h 12182"/>
                  <a:gd name="connsiteX3" fmla="*/ 19844 w 20472"/>
                  <a:gd name="connsiteY3" fmla="*/ 0 h 12182"/>
                </a:gdLst>
                <a:ahLst/>
                <a:cxnLst>
                  <a:cxn ang="0">
                    <a:pos x="connsiteX0" y="connsiteY0"/>
                  </a:cxn>
                  <a:cxn ang="0">
                    <a:pos x="connsiteX1" y="connsiteY1"/>
                  </a:cxn>
                  <a:cxn ang="0">
                    <a:pos x="connsiteX2" y="connsiteY2"/>
                  </a:cxn>
                  <a:cxn ang="0">
                    <a:pos x="connsiteX3" y="connsiteY3"/>
                  </a:cxn>
                </a:cxnLst>
                <a:rect l="l" t="t" r="r" b="b"/>
                <a:pathLst>
                  <a:path w="20472" h="12182">
                    <a:moveTo>
                      <a:pt x="0" y="11429"/>
                    </a:moveTo>
                    <a:lnTo>
                      <a:pt x="503" y="12183"/>
                    </a:lnTo>
                    <a:lnTo>
                      <a:pt x="20472" y="1130"/>
                    </a:lnTo>
                    <a:lnTo>
                      <a:pt x="19844" y="0"/>
                    </a:lnTo>
                    <a:close/>
                  </a:path>
                </a:pathLst>
              </a:custGeom>
              <a:solidFill>
                <a:srgbClr val="6158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3" name="Freeform: Shape 732">
                <a:extLst>
                  <a:ext uri="{FF2B5EF4-FFF2-40B4-BE49-F238E27FC236}">
                    <a16:creationId xmlns:a16="http://schemas.microsoft.com/office/drawing/2014/main" id="{DE4ADE97-412C-47A3-80AF-A68B34E2C271}"/>
                  </a:ext>
                </a:extLst>
              </p:cNvPr>
              <p:cNvSpPr/>
              <p:nvPr/>
            </p:nvSpPr>
            <p:spPr>
              <a:xfrm>
                <a:off x="10813339" y="3469154"/>
                <a:ext cx="627" cy="376"/>
              </a:xfrm>
              <a:custGeom>
                <a:avLst/>
                <a:gdLst>
                  <a:gd name="connsiteX0" fmla="*/ 0 w 627"/>
                  <a:gd name="connsiteY0" fmla="*/ 126 h 376"/>
                  <a:gd name="connsiteX1" fmla="*/ 0 w 627"/>
                  <a:gd name="connsiteY1" fmla="*/ 126 h 376"/>
                  <a:gd name="connsiteX2" fmla="*/ 502 w 627"/>
                  <a:gd name="connsiteY2" fmla="*/ 0 h 376"/>
                  <a:gd name="connsiteX3" fmla="*/ 628 w 627"/>
                  <a:gd name="connsiteY3" fmla="*/ 126 h 376"/>
                  <a:gd name="connsiteX4" fmla="*/ 126 w 627"/>
                  <a:gd name="connsiteY4" fmla="*/ 377 h 376"/>
                  <a:gd name="connsiteX5" fmla="*/ 0 w 627"/>
                  <a:gd name="connsiteY5" fmla="*/ 126 h 376"/>
                  <a:gd name="connsiteX6" fmla="*/ 0 w 627"/>
                  <a:gd name="connsiteY6" fmla="*/ 126 h 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 h="376">
                    <a:moveTo>
                      <a:pt x="0" y="126"/>
                    </a:moveTo>
                    <a:lnTo>
                      <a:pt x="0" y="126"/>
                    </a:lnTo>
                    <a:cubicBezTo>
                      <a:pt x="376" y="0"/>
                      <a:pt x="502" y="0"/>
                      <a:pt x="502" y="0"/>
                    </a:cubicBezTo>
                    <a:lnTo>
                      <a:pt x="628" y="126"/>
                    </a:lnTo>
                    <a:lnTo>
                      <a:pt x="126" y="377"/>
                    </a:lnTo>
                    <a:lnTo>
                      <a:pt x="0" y="126"/>
                    </a:lnTo>
                    <a:cubicBezTo>
                      <a:pt x="0" y="126"/>
                      <a:pt x="0" y="126"/>
                      <a:pt x="0" y="126"/>
                    </a:cubicBezTo>
                    <a:close/>
                  </a:path>
                </a:pathLst>
              </a:custGeom>
              <a:solidFill>
                <a:srgbClr val="3B35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4" name="Freeform: Shape 733">
                <a:extLst>
                  <a:ext uri="{FF2B5EF4-FFF2-40B4-BE49-F238E27FC236}">
                    <a16:creationId xmlns:a16="http://schemas.microsoft.com/office/drawing/2014/main" id="{0D5FA29A-6F61-4E29-8B56-B23AD14849E6}"/>
                  </a:ext>
                </a:extLst>
              </p:cNvPr>
              <p:cNvSpPr/>
              <p:nvPr/>
            </p:nvSpPr>
            <p:spPr>
              <a:xfrm>
                <a:off x="10789853" y="3469406"/>
                <a:ext cx="23486" cy="13061"/>
              </a:xfrm>
              <a:custGeom>
                <a:avLst/>
                <a:gdLst>
                  <a:gd name="connsiteX0" fmla="*/ 8289 w 23486"/>
                  <a:gd name="connsiteY0" fmla="*/ 8038 h 13061"/>
                  <a:gd name="connsiteX1" fmla="*/ 7033 w 23486"/>
                  <a:gd name="connsiteY1" fmla="*/ 9043 h 13061"/>
                  <a:gd name="connsiteX2" fmla="*/ 0 w 23486"/>
                  <a:gd name="connsiteY2" fmla="*/ 13062 h 13061"/>
                  <a:gd name="connsiteX3" fmla="*/ 376 w 23486"/>
                  <a:gd name="connsiteY3" fmla="*/ 12936 h 13061"/>
                  <a:gd name="connsiteX4" fmla="*/ 502 w 23486"/>
                  <a:gd name="connsiteY4" fmla="*/ 12936 h 13061"/>
                  <a:gd name="connsiteX5" fmla="*/ 628 w 23486"/>
                  <a:gd name="connsiteY5" fmla="*/ 12936 h 13061"/>
                  <a:gd name="connsiteX6" fmla="*/ 754 w 23486"/>
                  <a:gd name="connsiteY6" fmla="*/ 12936 h 13061"/>
                  <a:gd name="connsiteX7" fmla="*/ 879 w 23486"/>
                  <a:gd name="connsiteY7" fmla="*/ 12811 h 13061"/>
                  <a:gd name="connsiteX8" fmla="*/ 3642 w 23486"/>
                  <a:gd name="connsiteY8" fmla="*/ 11429 h 13061"/>
                  <a:gd name="connsiteX9" fmla="*/ 23486 w 23486"/>
                  <a:gd name="connsiteY9" fmla="*/ 0 h 13061"/>
                  <a:gd name="connsiteX10" fmla="*/ 21728 w 23486"/>
                  <a:gd name="connsiteY10" fmla="*/ 754 h 13061"/>
                  <a:gd name="connsiteX11" fmla="*/ 21602 w 23486"/>
                  <a:gd name="connsiteY11" fmla="*/ 754 h 13061"/>
                  <a:gd name="connsiteX12" fmla="*/ 21476 w 23486"/>
                  <a:gd name="connsiteY12" fmla="*/ 754 h 13061"/>
                  <a:gd name="connsiteX13" fmla="*/ 21100 w 23486"/>
                  <a:gd name="connsiteY13" fmla="*/ 879 h 13061"/>
                  <a:gd name="connsiteX14" fmla="*/ 14067 w 23486"/>
                  <a:gd name="connsiteY14" fmla="*/ 4898 h 13061"/>
                  <a:gd name="connsiteX15" fmla="*/ 8289 w 23486"/>
                  <a:gd name="connsiteY15" fmla="*/ 8038 h 13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486" h="13061">
                    <a:moveTo>
                      <a:pt x="8289" y="8038"/>
                    </a:moveTo>
                    <a:cubicBezTo>
                      <a:pt x="6530" y="9043"/>
                      <a:pt x="6028" y="9420"/>
                      <a:pt x="7033" y="9043"/>
                    </a:cubicBezTo>
                    <a:lnTo>
                      <a:pt x="0" y="13062"/>
                    </a:lnTo>
                    <a:cubicBezTo>
                      <a:pt x="126" y="13062"/>
                      <a:pt x="251" y="12936"/>
                      <a:pt x="376" y="12936"/>
                    </a:cubicBezTo>
                    <a:cubicBezTo>
                      <a:pt x="376" y="12936"/>
                      <a:pt x="376" y="12936"/>
                      <a:pt x="502" y="12936"/>
                    </a:cubicBezTo>
                    <a:cubicBezTo>
                      <a:pt x="502" y="12936"/>
                      <a:pt x="628" y="12936"/>
                      <a:pt x="628" y="12936"/>
                    </a:cubicBezTo>
                    <a:cubicBezTo>
                      <a:pt x="628" y="12936"/>
                      <a:pt x="754" y="12936"/>
                      <a:pt x="754" y="12936"/>
                    </a:cubicBezTo>
                    <a:cubicBezTo>
                      <a:pt x="754" y="12936"/>
                      <a:pt x="879" y="12936"/>
                      <a:pt x="879" y="12811"/>
                    </a:cubicBezTo>
                    <a:cubicBezTo>
                      <a:pt x="1758" y="12434"/>
                      <a:pt x="2637" y="11931"/>
                      <a:pt x="3642" y="11429"/>
                    </a:cubicBezTo>
                    <a:lnTo>
                      <a:pt x="23486" y="0"/>
                    </a:lnTo>
                    <a:cubicBezTo>
                      <a:pt x="23109" y="126"/>
                      <a:pt x="22481" y="377"/>
                      <a:pt x="21728" y="754"/>
                    </a:cubicBezTo>
                    <a:cubicBezTo>
                      <a:pt x="21728" y="754"/>
                      <a:pt x="21728" y="754"/>
                      <a:pt x="21602" y="754"/>
                    </a:cubicBezTo>
                    <a:cubicBezTo>
                      <a:pt x="21602" y="754"/>
                      <a:pt x="21602" y="754"/>
                      <a:pt x="21476" y="754"/>
                    </a:cubicBezTo>
                    <a:cubicBezTo>
                      <a:pt x="21351" y="754"/>
                      <a:pt x="21226" y="879"/>
                      <a:pt x="21100" y="879"/>
                    </a:cubicBezTo>
                    <a:lnTo>
                      <a:pt x="14067" y="4898"/>
                    </a:lnTo>
                    <a:cubicBezTo>
                      <a:pt x="12559" y="5652"/>
                      <a:pt x="10047" y="6908"/>
                      <a:pt x="8289" y="8038"/>
                    </a:cubicBez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5" name="Freeform: Shape 734">
                <a:extLst>
                  <a:ext uri="{FF2B5EF4-FFF2-40B4-BE49-F238E27FC236}">
                    <a16:creationId xmlns:a16="http://schemas.microsoft.com/office/drawing/2014/main" id="{1C09EDEF-5E4C-4C84-9A43-987816DB7421}"/>
                  </a:ext>
                </a:extLst>
              </p:cNvPr>
              <p:cNvSpPr/>
              <p:nvPr/>
            </p:nvSpPr>
            <p:spPr>
              <a:xfrm>
                <a:off x="10783573" y="3467019"/>
                <a:ext cx="36300" cy="22002"/>
              </a:xfrm>
              <a:custGeom>
                <a:avLst/>
                <a:gdLst>
                  <a:gd name="connsiteX0" fmla="*/ 0 w 36300"/>
                  <a:gd name="connsiteY0" fmla="*/ 18462 h 22002"/>
                  <a:gd name="connsiteX1" fmla="*/ 1883 w 36300"/>
                  <a:gd name="connsiteY1" fmla="*/ 21979 h 22002"/>
                  <a:gd name="connsiteX2" fmla="*/ 5275 w 36300"/>
                  <a:gd name="connsiteY2" fmla="*/ 20723 h 22002"/>
                  <a:gd name="connsiteX3" fmla="*/ 29263 w 36300"/>
                  <a:gd name="connsiteY3" fmla="*/ 8038 h 22002"/>
                  <a:gd name="connsiteX4" fmla="*/ 36296 w 36300"/>
                  <a:gd name="connsiteY4" fmla="*/ 3517 h 22002"/>
                  <a:gd name="connsiteX5" fmla="*/ 34413 w 36300"/>
                  <a:gd name="connsiteY5" fmla="*/ 0 h 22002"/>
                  <a:gd name="connsiteX6" fmla="*/ 27380 w 36300"/>
                  <a:gd name="connsiteY6" fmla="*/ 4521 h 22002"/>
                  <a:gd name="connsiteX7" fmla="*/ 3391 w 36300"/>
                  <a:gd name="connsiteY7" fmla="*/ 17206 h 22002"/>
                  <a:gd name="connsiteX8" fmla="*/ 0 w 36300"/>
                  <a:gd name="connsiteY8" fmla="*/ 18462 h 2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00" h="22002">
                    <a:moveTo>
                      <a:pt x="0" y="18462"/>
                    </a:moveTo>
                    <a:lnTo>
                      <a:pt x="1883" y="21979"/>
                    </a:lnTo>
                    <a:cubicBezTo>
                      <a:pt x="2009" y="22105"/>
                      <a:pt x="3014" y="21728"/>
                      <a:pt x="5275" y="20723"/>
                    </a:cubicBezTo>
                    <a:cubicBezTo>
                      <a:pt x="10927" y="18086"/>
                      <a:pt x="21602" y="12434"/>
                      <a:pt x="29263" y="8038"/>
                    </a:cubicBezTo>
                    <a:cubicBezTo>
                      <a:pt x="33910" y="5275"/>
                      <a:pt x="36422" y="3768"/>
                      <a:pt x="36296" y="3517"/>
                    </a:cubicBezTo>
                    <a:lnTo>
                      <a:pt x="34413" y="0"/>
                    </a:lnTo>
                    <a:cubicBezTo>
                      <a:pt x="34539" y="251"/>
                      <a:pt x="32152" y="1884"/>
                      <a:pt x="27380" y="4521"/>
                    </a:cubicBezTo>
                    <a:cubicBezTo>
                      <a:pt x="19718" y="8917"/>
                      <a:pt x="8917" y="14569"/>
                      <a:pt x="3391" y="17206"/>
                    </a:cubicBezTo>
                    <a:cubicBezTo>
                      <a:pt x="1130" y="18211"/>
                      <a:pt x="126" y="18588"/>
                      <a:pt x="0" y="18462"/>
                    </a:cubicBezTo>
                    <a:close/>
                  </a:path>
                </a:pathLst>
              </a:custGeom>
              <a:solidFill>
                <a:srgbClr val="5E55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6" name="Freeform: Shape 735">
                <a:extLst>
                  <a:ext uri="{FF2B5EF4-FFF2-40B4-BE49-F238E27FC236}">
                    <a16:creationId xmlns:a16="http://schemas.microsoft.com/office/drawing/2014/main" id="{762E3EC3-0ECC-49FB-A58F-C375EB091F5B}"/>
                  </a:ext>
                </a:extLst>
              </p:cNvPr>
              <p:cNvSpPr/>
              <p:nvPr/>
            </p:nvSpPr>
            <p:spPr>
              <a:xfrm>
                <a:off x="10796259" y="3472922"/>
                <a:ext cx="14066" cy="10173"/>
              </a:xfrm>
              <a:custGeom>
                <a:avLst/>
                <a:gdLst>
                  <a:gd name="connsiteX0" fmla="*/ 14067 w 14066"/>
                  <a:gd name="connsiteY0" fmla="*/ 3517 h 10173"/>
                  <a:gd name="connsiteX1" fmla="*/ 1883 w 14066"/>
                  <a:gd name="connsiteY1" fmla="*/ 10173 h 10173"/>
                  <a:gd name="connsiteX2" fmla="*/ 0 w 14066"/>
                  <a:gd name="connsiteY2" fmla="*/ 6657 h 10173"/>
                  <a:gd name="connsiteX3" fmla="*/ 12182 w 14066"/>
                  <a:gd name="connsiteY3" fmla="*/ 0 h 10173"/>
                  <a:gd name="connsiteX4" fmla="*/ 14067 w 14066"/>
                  <a:gd name="connsiteY4" fmla="*/ 3517 h 10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6" h="10173">
                    <a:moveTo>
                      <a:pt x="14067" y="3517"/>
                    </a:moveTo>
                    <a:cubicBezTo>
                      <a:pt x="10173" y="5652"/>
                      <a:pt x="5903" y="8038"/>
                      <a:pt x="1883" y="10173"/>
                    </a:cubicBezTo>
                    <a:lnTo>
                      <a:pt x="0" y="6657"/>
                    </a:lnTo>
                    <a:cubicBezTo>
                      <a:pt x="4018" y="4521"/>
                      <a:pt x="8289" y="2261"/>
                      <a:pt x="12182" y="0"/>
                    </a:cubicBezTo>
                    <a:lnTo>
                      <a:pt x="14067" y="3517"/>
                    </a:lnTo>
                    <a:close/>
                  </a:path>
                </a:pathLst>
              </a:custGeom>
              <a:solidFill>
                <a:srgbClr val="73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7" name="Freeform: Shape 736">
                <a:extLst>
                  <a:ext uri="{FF2B5EF4-FFF2-40B4-BE49-F238E27FC236}">
                    <a16:creationId xmlns:a16="http://schemas.microsoft.com/office/drawing/2014/main" id="{138D208A-B441-4470-8EFB-44A882AFB12A}"/>
                  </a:ext>
                </a:extLst>
              </p:cNvPr>
              <p:cNvSpPr/>
              <p:nvPr/>
            </p:nvSpPr>
            <p:spPr>
              <a:xfrm>
                <a:off x="10783598" y="3466973"/>
                <a:ext cx="34362" cy="18555"/>
              </a:xfrm>
              <a:custGeom>
                <a:avLst/>
                <a:gdLst>
                  <a:gd name="connsiteX0" fmla="*/ 30997 w 34362"/>
                  <a:gd name="connsiteY0" fmla="*/ 1303 h 18555"/>
                  <a:gd name="connsiteX1" fmla="*/ 27355 w 34362"/>
                  <a:gd name="connsiteY1" fmla="*/ 4568 h 18555"/>
                  <a:gd name="connsiteX2" fmla="*/ 3366 w 34362"/>
                  <a:gd name="connsiteY2" fmla="*/ 17253 h 18555"/>
                  <a:gd name="connsiteX3" fmla="*/ 7008 w 34362"/>
                  <a:gd name="connsiteY3" fmla="*/ 13988 h 18555"/>
                  <a:gd name="connsiteX4" fmla="*/ 30997 w 34362"/>
                  <a:gd name="connsiteY4" fmla="*/ 1303 h 18555"/>
                  <a:gd name="connsiteX5" fmla="*/ 6757 w 34362"/>
                  <a:gd name="connsiteY5" fmla="*/ 15244 h 18555"/>
                  <a:gd name="connsiteX6" fmla="*/ 6757 w 34362"/>
                  <a:gd name="connsiteY6" fmla="*/ 15244 h 18555"/>
                  <a:gd name="connsiteX7" fmla="*/ 6883 w 34362"/>
                  <a:gd name="connsiteY7" fmla="*/ 15118 h 18555"/>
                  <a:gd name="connsiteX8" fmla="*/ 7008 w 34362"/>
                  <a:gd name="connsiteY8" fmla="*/ 14992 h 18555"/>
                  <a:gd name="connsiteX9" fmla="*/ 24843 w 34362"/>
                  <a:gd name="connsiteY9" fmla="*/ 5573 h 18555"/>
                  <a:gd name="connsiteX10" fmla="*/ 27731 w 34362"/>
                  <a:gd name="connsiteY10" fmla="*/ 2935 h 18555"/>
                  <a:gd name="connsiteX11" fmla="*/ 27605 w 34362"/>
                  <a:gd name="connsiteY11" fmla="*/ 2935 h 18555"/>
                  <a:gd name="connsiteX12" fmla="*/ 27480 w 34362"/>
                  <a:gd name="connsiteY12" fmla="*/ 2935 h 18555"/>
                  <a:gd name="connsiteX13" fmla="*/ 9143 w 34362"/>
                  <a:gd name="connsiteY13" fmla="*/ 12606 h 18555"/>
                  <a:gd name="connsiteX14" fmla="*/ 6757 w 34362"/>
                  <a:gd name="connsiteY14" fmla="*/ 15244 h 18555"/>
                  <a:gd name="connsiteX15" fmla="*/ 6757 w 34362"/>
                  <a:gd name="connsiteY15" fmla="*/ 15244 h 18555"/>
                  <a:gd name="connsiteX16" fmla="*/ 6757 w 34362"/>
                  <a:gd name="connsiteY16" fmla="*/ 15244 h 18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362" h="18555">
                    <a:moveTo>
                      <a:pt x="30997" y="1303"/>
                    </a:moveTo>
                    <a:cubicBezTo>
                      <a:pt x="36649" y="-1335"/>
                      <a:pt x="35016" y="172"/>
                      <a:pt x="27355" y="4568"/>
                    </a:cubicBezTo>
                    <a:cubicBezTo>
                      <a:pt x="19694" y="8964"/>
                      <a:pt x="8892" y="14616"/>
                      <a:pt x="3366" y="17253"/>
                    </a:cubicBezTo>
                    <a:cubicBezTo>
                      <a:pt x="-2285" y="19891"/>
                      <a:pt x="-653" y="18383"/>
                      <a:pt x="7008" y="13988"/>
                    </a:cubicBezTo>
                    <a:cubicBezTo>
                      <a:pt x="14544" y="9592"/>
                      <a:pt x="25345" y="3814"/>
                      <a:pt x="30997" y="1303"/>
                    </a:cubicBezTo>
                    <a:close/>
                    <a:moveTo>
                      <a:pt x="6757" y="15244"/>
                    </a:moveTo>
                    <a:cubicBezTo>
                      <a:pt x="6757" y="15244"/>
                      <a:pt x="6757" y="15244"/>
                      <a:pt x="6757" y="15244"/>
                    </a:cubicBezTo>
                    <a:cubicBezTo>
                      <a:pt x="6883" y="15244"/>
                      <a:pt x="6883" y="15118"/>
                      <a:pt x="6883" y="15118"/>
                    </a:cubicBezTo>
                    <a:cubicBezTo>
                      <a:pt x="6883" y="15118"/>
                      <a:pt x="7008" y="15118"/>
                      <a:pt x="7008" y="14992"/>
                    </a:cubicBezTo>
                    <a:cubicBezTo>
                      <a:pt x="11404" y="12983"/>
                      <a:pt x="19191" y="8713"/>
                      <a:pt x="24843" y="5573"/>
                    </a:cubicBezTo>
                    <a:cubicBezTo>
                      <a:pt x="30620" y="2307"/>
                      <a:pt x="31876" y="1177"/>
                      <a:pt x="27731" y="2935"/>
                    </a:cubicBezTo>
                    <a:cubicBezTo>
                      <a:pt x="27731" y="2935"/>
                      <a:pt x="27731" y="2935"/>
                      <a:pt x="27605" y="2935"/>
                    </a:cubicBezTo>
                    <a:cubicBezTo>
                      <a:pt x="27605" y="2935"/>
                      <a:pt x="27605" y="2935"/>
                      <a:pt x="27480" y="2935"/>
                    </a:cubicBezTo>
                    <a:cubicBezTo>
                      <a:pt x="23210" y="4945"/>
                      <a:pt x="15046" y="9215"/>
                      <a:pt x="9143" y="12606"/>
                    </a:cubicBezTo>
                    <a:cubicBezTo>
                      <a:pt x="3241" y="15997"/>
                      <a:pt x="2362" y="17253"/>
                      <a:pt x="6757" y="15244"/>
                    </a:cubicBezTo>
                    <a:cubicBezTo>
                      <a:pt x="6631" y="15244"/>
                      <a:pt x="6631" y="15244"/>
                      <a:pt x="6757" y="15244"/>
                    </a:cubicBezTo>
                    <a:lnTo>
                      <a:pt x="6757" y="15244"/>
                    </a:ln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38" name="Freeform: Shape 737">
              <a:extLst>
                <a:ext uri="{FF2B5EF4-FFF2-40B4-BE49-F238E27FC236}">
                  <a16:creationId xmlns:a16="http://schemas.microsoft.com/office/drawing/2014/main" id="{B19D7EC3-5A01-4AE6-9267-EF090153B0D7}"/>
                </a:ext>
              </a:extLst>
            </p:cNvPr>
            <p:cNvSpPr/>
            <p:nvPr/>
          </p:nvSpPr>
          <p:spPr>
            <a:xfrm>
              <a:off x="10743634" y="3468401"/>
              <a:ext cx="4144" cy="60159"/>
            </a:xfrm>
            <a:custGeom>
              <a:avLst/>
              <a:gdLst>
                <a:gd name="connsiteX0" fmla="*/ 0 w 4144"/>
                <a:gd name="connsiteY0" fmla="*/ 2512 h 60159"/>
                <a:gd name="connsiteX1" fmla="*/ 0 w 4144"/>
                <a:gd name="connsiteY1" fmla="*/ 54257 h 60159"/>
                <a:gd name="connsiteX2" fmla="*/ 3140 w 4144"/>
                <a:gd name="connsiteY2" fmla="*/ 60160 h 60159"/>
                <a:gd name="connsiteX3" fmla="*/ 4144 w 4144"/>
                <a:gd name="connsiteY3" fmla="*/ 59532 h 60159"/>
                <a:gd name="connsiteX4" fmla="*/ 1004 w 4144"/>
                <a:gd name="connsiteY4" fmla="*/ 53629 h 60159"/>
                <a:gd name="connsiteX5" fmla="*/ 1004 w 4144"/>
                <a:gd name="connsiteY5" fmla="*/ 1884 h 60159"/>
                <a:gd name="connsiteX6" fmla="*/ 1632 w 4144"/>
                <a:gd name="connsiteY6" fmla="*/ 0 h 60159"/>
                <a:gd name="connsiteX7" fmla="*/ 0 w 4144"/>
                <a:gd name="connsiteY7" fmla="*/ 2512 h 6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4" h="60159">
                  <a:moveTo>
                    <a:pt x="0" y="2512"/>
                  </a:moveTo>
                  <a:lnTo>
                    <a:pt x="0" y="54257"/>
                  </a:lnTo>
                  <a:cubicBezTo>
                    <a:pt x="0" y="56392"/>
                    <a:pt x="1381" y="58904"/>
                    <a:pt x="3140" y="60160"/>
                  </a:cubicBezTo>
                  <a:lnTo>
                    <a:pt x="4144" y="59532"/>
                  </a:lnTo>
                  <a:cubicBezTo>
                    <a:pt x="2386" y="58276"/>
                    <a:pt x="1004" y="55764"/>
                    <a:pt x="1004" y="53629"/>
                  </a:cubicBezTo>
                  <a:lnTo>
                    <a:pt x="1004" y="1884"/>
                  </a:lnTo>
                  <a:cubicBezTo>
                    <a:pt x="1004" y="1005"/>
                    <a:pt x="1256" y="377"/>
                    <a:pt x="1632" y="0"/>
                  </a:cubicBezTo>
                  <a:cubicBezTo>
                    <a:pt x="754" y="126"/>
                    <a:pt x="0" y="1005"/>
                    <a:pt x="0" y="2512"/>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9" name="Freeform: Shape 738">
              <a:extLst>
                <a:ext uri="{FF2B5EF4-FFF2-40B4-BE49-F238E27FC236}">
                  <a16:creationId xmlns:a16="http://schemas.microsoft.com/office/drawing/2014/main" id="{C588A2CB-C09F-448F-9735-F2A34A4367B0}"/>
                </a:ext>
              </a:extLst>
            </p:cNvPr>
            <p:cNvSpPr/>
            <p:nvPr/>
          </p:nvSpPr>
          <p:spPr>
            <a:xfrm>
              <a:off x="10744639" y="3418665"/>
              <a:ext cx="93442" cy="111151"/>
            </a:xfrm>
            <a:custGeom>
              <a:avLst/>
              <a:gdLst>
                <a:gd name="connsiteX0" fmla="*/ 91935 w 93442"/>
                <a:gd name="connsiteY0" fmla="*/ 0 h 111151"/>
                <a:gd name="connsiteX1" fmla="*/ 1005 w 93442"/>
                <a:gd name="connsiteY1" fmla="*/ 49359 h 111151"/>
                <a:gd name="connsiteX2" fmla="*/ 0 w 93442"/>
                <a:gd name="connsiteY2" fmla="*/ 51619 h 111151"/>
                <a:gd name="connsiteX3" fmla="*/ 0 w 93442"/>
                <a:gd name="connsiteY3" fmla="*/ 103365 h 111151"/>
                <a:gd name="connsiteX4" fmla="*/ 3517 w 93442"/>
                <a:gd name="connsiteY4" fmla="*/ 109519 h 111151"/>
                <a:gd name="connsiteX5" fmla="*/ 5024 w 93442"/>
                <a:gd name="connsiteY5" fmla="*/ 110398 h 111151"/>
                <a:gd name="connsiteX6" fmla="*/ 11680 w 93442"/>
                <a:gd name="connsiteY6" fmla="*/ 110398 h 111151"/>
                <a:gd name="connsiteX7" fmla="*/ 92061 w 93442"/>
                <a:gd name="connsiteY7" fmla="*/ 63928 h 111151"/>
                <a:gd name="connsiteX8" fmla="*/ 93443 w 93442"/>
                <a:gd name="connsiteY8" fmla="*/ 62044 h 111151"/>
                <a:gd name="connsiteX9" fmla="*/ 91935 w 93442"/>
                <a:gd name="connsiteY9" fmla="*/ 0 h 11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42" h="111151">
                  <a:moveTo>
                    <a:pt x="91935" y="0"/>
                  </a:moveTo>
                  <a:cubicBezTo>
                    <a:pt x="91935" y="0"/>
                    <a:pt x="1633" y="48982"/>
                    <a:pt x="1005" y="49359"/>
                  </a:cubicBezTo>
                  <a:cubicBezTo>
                    <a:pt x="377" y="49736"/>
                    <a:pt x="0" y="50489"/>
                    <a:pt x="0" y="51619"/>
                  </a:cubicBezTo>
                  <a:lnTo>
                    <a:pt x="0" y="103365"/>
                  </a:lnTo>
                  <a:cubicBezTo>
                    <a:pt x="0" y="105625"/>
                    <a:pt x="1633" y="108388"/>
                    <a:pt x="3517" y="109519"/>
                  </a:cubicBezTo>
                  <a:lnTo>
                    <a:pt x="5024" y="110398"/>
                  </a:lnTo>
                  <a:cubicBezTo>
                    <a:pt x="6783" y="111403"/>
                    <a:pt x="9797" y="111403"/>
                    <a:pt x="11680" y="110398"/>
                  </a:cubicBezTo>
                  <a:lnTo>
                    <a:pt x="92061" y="63928"/>
                  </a:lnTo>
                  <a:cubicBezTo>
                    <a:pt x="92940" y="63425"/>
                    <a:pt x="93443" y="62672"/>
                    <a:pt x="93443" y="62044"/>
                  </a:cubicBezTo>
                  <a:cubicBezTo>
                    <a:pt x="93443" y="61290"/>
                    <a:pt x="91935" y="0"/>
                    <a:pt x="91935" y="0"/>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0" name="Freeform: Shape 739">
              <a:extLst>
                <a:ext uri="{FF2B5EF4-FFF2-40B4-BE49-F238E27FC236}">
                  <a16:creationId xmlns:a16="http://schemas.microsoft.com/office/drawing/2014/main" id="{F82DCA8C-5629-464F-9484-84ABA9DA73E7}"/>
                </a:ext>
              </a:extLst>
            </p:cNvPr>
            <p:cNvSpPr/>
            <p:nvPr/>
          </p:nvSpPr>
          <p:spPr>
            <a:xfrm>
              <a:off x="10744764" y="3467783"/>
              <a:ext cx="6279" cy="62033"/>
            </a:xfrm>
            <a:custGeom>
              <a:avLst/>
              <a:gdLst>
                <a:gd name="connsiteX0" fmla="*/ 4773 w 6279"/>
                <a:gd name="connsiteY0" fmla="*/ 1245 h 62033"/>
                <a:gd name="connsiteX1" fmla="*/ 3517 w 6279"/>
                <a:gd name="connsiteY1" fmla="*/ 492 h 62033"/>
                <a:gd name="connsiteX2" fmla="*/ 0 w 6279"/>
                <a:gd name="connsiteY2" fmla="*/ 2501 h 62033"/>
                <a:gd name="connsiteX3" fmla="*/ 0 w 6279"/>
                <a:gd name="connsiteY3" fmla="*/ 54246 h 62033"/>
                <a:gd name="connsiteX4" fmla="*/ 3517 w 6279"/>
                <a:gd name="connsiteY4" fmla="*/ 60401 h 62033"/>
                <a:gd name="connsiteX5" fmla="*/ 6280 w 6279"/>
                <a:gd name="connsiteY5" fmla="*/ 62033 h 62033"/>
                <a:gd name="connsiteX6" fmla="*/ 4773 w 6279"/>
                <a:gd name="connsiteY6" fmla="*/ 1245 h 6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9" h="62033">
                  <a:moveTo>
                    <a:pt x="4773" y="1245"/>
                  </a:moveTo>
                  <a:lnTo>
                    <a:pt x="3517" y="492"/>
                  </a:lnTo>
                  <a:cubicBezTo>
                    <a:pt x="1507" y="-639"/>
                    <a:pt x="0" y="241"/>
                    <a:pt x="0" y="2501"/>
                  </a:cubicBezTo>
                  <a:lnTo>
                    <a:pt x="0" y="54246"/>
                  </a:lnTo>
                  <a:cubicBezTo>
                    <a:pt x="0" y="56507"/>
                    <a:pt x="1633" y="59270"/>
                    <a:pt x="3517" y="60401"/>
                  </a:cubicBezTo>
                  <a:lnTo>
                    <a:pt x="6280" y="62033"/>
                  </a:lnTo>
                  <a:lnTo>
                    <a:pt x="4773" y="1245"/>
                  </a:lnTo>
                  <a:close/>
                </a:path>
              </a:pathLst>
            </a:custGeom>
            <a:solidFill>
              <a:srgbClr val="1B8CD4">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1" name="Freeform: Shape 740">
              <a:extLst>
                <a:ext uri="{FF2B5EF4-FFF2-40B4-BE49-F238E27FC236}">
                  <a16:creationId xmlns:a16="http://schemas.microsoft.com/office/drawing/2014/main" id="{15DDF8F5-EB9B-46A3-921D-FCB8A869AA20}"/>
                </a:ext>
              </a:extLst>
            </p:cNvPr>
            <p:cNvSpPr/>
            <p:nvPr/>
          </p:nvSpPr>
          <p:spPr>
            <a:xfrm>
              <a:off x="10660993" y="3404850"/>
              <a:ext cx="93442" cy="155486"/>
            </a:xfrm>
            <a:custGeom>
              <a:avLst/>
              <a:gdLst>
                <a:gd name="connsiteX0" fmla="*/ 91056 w 93442"/>
                <a:gd name="connsiteY0" fmla="*/ 126600 h 155486"/>
                <a:gd name="connsiteX1" fmla="*/ 85906 w 93442"/>
                <a:gd name="connsiteY1" fmla="*/ 123585 h 155486"/>
                <a:gd name="connsiteX2" fmla="*/ 82767 w 93442"/>
                <a:gd name="connsiteY2" fmla="*/ 117682 h 155486"/>
                <a:gd name="connsiteX3" fmla="*/ 82767 w 93442"/>
                <a:gd name="connsiteY3" fmla="*/ 65937 h 155486"/>
                <a:gd name="connsiteX4" fmla="*/ 85906 w 93442"/>
                <a:gd name="connsiteY4" fmla="*/ 63676 h 155486"/>
                <a:gd name="connsiteX5" fmla="*/ 89172 w 93442"/>
                <a:gd name="connsiteY5" fmla="*/ 62044 h 155486"/>
                <a:gd name="connsiteX6" fmla="*/ 90931 w 93442"/>
                <a:gd name="connsiteY6" fmla="*/ 58150 h 155486"/>
                <a:gd name="connsiteX7" fmla="*/ 85906 w 93442"/>
                <a:gd name="connsiteY7" fmla="*/ 49610 h 155486"/>
                <a:gd name="connsiteX8" fmla="*/ 0 w 93442"/>
                <a:gd name="connsiteY8" fmla="*/ 0 h 155486"/>
                <a:gd name="connsiteX9" fmla="*/ 0 w 93442"/>
                <a:gd name="connsiteY9" fmla="*/ 103741 h 155486"/>
                <a:gd name="connsiteX10" fmla="*/ 86786 w 93442"/>
                <a:gd name="connsiteY10" fmla="*/ 153854 h 155486"/>
                <a:gd name="connsiteX11" fmla="*/ 93443 w 93442"/>
                <a:gd name="connsiteY11" fmla="*/ 155486 h 155486"/>
                <a:gd name="connsiteX12" fmla="*/ 93443 w 93442"/>
                <a:gd name="connsiteY12" fmla="*/ 130619 h 155486"/>
                <a:gd name="connsiteX13" fmla="*/ 91056 w 93442"/>
                <a:gd name="connsiteY13" fmla="*/ 126600 h 155486"/>
                <a:gd name="connsiteX14" fmla="*/ 32027 w 93442"/>
                <a:gd name="connsiteY14" fmla="*/ 59909 h 155486"/>
                <a:gd name="connsiteX15" fmla="*/ 29514 w 93442"/>
                <a:gd name="connsiteY15" fmla="*/ 61793 h 155486"/>
                <a:gd name="connsiteX16" fmla="*/ 6656 w 93442"/>
                <a:gd name="connsiteY16" fmla="*/ 48605 h 155486"/>
                <a:gd name="connsiteX17" fmla="*/ 4145 w 93442"/>
                <a:gd name="connsiteY17" fmla="*/ 43707 h 155486"/>
                <a:gd name="connsiteX18" fmla="*/ 4145 w 93442"/>
                <a:gd name="connsiteY18" fmla="*/ 23863 h 155486"/>
                <a:gd name="connsiteX19" fmla="*/ 6656 w 93442"/>
                <a:gd name="connsiteY19" fmla="*/ 21979 h 155486"/>
                <a:gd name="connsiteX20" fmla="*/ 29514 w 93442"/>
                <a:gd name="connsiteY20" fmla="*/ 35167 h 155486"/>
                <a:gd name="connsiteX21" fmla="*/ 32027 w 93442"/>
                <a:gd name="connsiteY21" fmla="*/ 40065 h 155486"/>
                <a:gd name="connsiteX22" fmla="*/ 32027 w 93442"/>
                <a:gd name="connsiteY22" fmla="*/ 59909 h 155486"/>
                <a:gd name="connsiteX23" fmla="*/ 75985 w 93442"/>
                <a:gd name="connsiteY23" fmla="*/ 102360 h 155486"/>
                <a:gd name="connsiteX24" fmla="*/ 73473 w 93442"/>
                <a:gd name="connsiteY24" fmla="*/ 104244 h 155486"/>
                <a:gd name="connsiteX25" fmla="*/ 40693 w 93442"/>
                <a:gd name="connsiteY25" fmla="*/ 85404 h 155486"/>
                <a:gd name="connsiteX26" fmla="*/ 38181 w 93442"/>
                <a:gd name="connsiteY26" fmla="*/ 80506 h 155486"/>
                <a:gd name="connsiteX27" fmla="*/ 38181 w 93442"/>
                <a:gd name="connsiteY27" fmla="*/ 43581 h 155486"/>
                <a:gd name="connsiteX28" fmla="*/ 40693 w 93442"/>
                <a:gd name="connsiteY28" fmla="*/ 41697 h 155486"/>
                <a:gd name="connsiteX29" fmla="*/ 73473 w 93442"/>
                <a:gd name="connsiteY29" fmla="*/ 60537 h 155486"/>
                <a:gd name="connsiteX30" fmla="*/ 75985 w 93442"/>
                <a:gd name="connsiteY30" fmla="*/ 65435 h 155486"/>
                <a:gd name="connsiteX31" fmla="*/ 75985 w 93442"/>
                <a:gd name="connsiteY31" fmla="*/ 102360 h 15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3442" h="155486">
                  <a:moveTo>
                    <a:pt x="91056" y="126600"/>
                  </a:moveTo>
                  <a:lnTo>
                    <a:pt x="85906" y="123585"/>
                  </a:lnTo>
                  <a:cubicBezTo>
                    <a:pt x="84149" y="122329"/>
                    <a:pt x="82767" y="119817"/>
                    <a:pt x="82767" y="117682"/>
                  </a:cubicBezTo>
                  <a:lnTo>
                    <a:pt x="82767" y="65937"/>
                  </a:lnTo>
                  <a:cubicBezTo>
                    <a:pt x="82767" y="63802"/>
                    <a:pt x="84149" y="62923"/>
                    <a:pt x="85906" y="63676"/>
                  </a:cubicBezTo>
                  <a:cubicBezTo>
                    <a:pt x="86409" y="63551"/>
                    <a:pt x="87916" y="63300"/>
                    <a:pt x="89172" y="62044"/>
                  </a:cubicBezTo>
                  <a:cubicBezTo>
                    <a:pt x="90679" y="60537"/>
                    <a:pt x="90931" y="58653"/>
                    <a:pt x="90931" y="58150"/>
                  </a:cubicBezTo>
                  <a:cubicBezTo>
                    <a:pt x="90931" y="55513"/>
                    <a:pt x="89675" y="51745"/>
                    <a:pt x="85906" y="49610"/>
                  </a:cubicBezTo>
                  <a:lnTo>
                    <a:pt x="0" y="0"/>
                  </a:lnTo>
                  <a:lnTo>
                    <a:pt x="0" y="103741"/>
                  </a:lnTo>
                  <a:lnTo>
                    <a:pt x="86786" y="153854"/>
                  </a:lnTo>
                  <a:cubicBezTo>
                    <a:pt x="88670" y="154858"/>
                    <a:pt x="91056" y="155486"/>
                    <a:pt x="93443" y="155486"/>
                  </a:cubicBezTo>
                  <a:lnTo>
                    <a:pt x="93443" y="130619"/>
                  </a:lnTo>
                  <a:cubicBezTo>
                    <a:pt x="93443" y="129237"/>
                    <a:pt x="92312" y="127353"/>
                    <a:pt x="91056" y="126600"/>
                  </a:cubicBezTo>
                  <a:close/>
                  <a:moveTo>
                    <a:pt x="32027" y="59909"/>
                  </a:moveTo>
                  <a:cubicBezTo>
                    <a:pt x="32027" y="61793"/>
                    <a:pt x="30896" y="62672"/>
                    <a:pt x="29514" y="61793"/>
                  </a:cubicBezTo>
                  <a:lnTo>
                    <a:pt x="6656" y="48605"/>
                  </a:lnTo>
                  <a:cubicBezTo>
                    <a:pt x="5275" y="47852"/>
                    <a:pt x="4145" y="45591"/>
                    <a:pt x="4145" y="43707"/>
                  </a:cubicBezTo>
                  <a:lnTo>
                    <a:pt x="4145" y="23863"/>
                  </a:lnTo>
                  <a:cubicBezTo>
                    <a:pt x="4145" y="21979"/>
                    <a:pt x="5275" y="21100"/>
                    <a:pt x="6656" y="21979"/>
                  </a:cubicBezTo>
                  <a:lnTo>
                    <a:pt x="29514" y="35167"/>
                  </a:lnTo>
                  <a:cubicBezTo>
                    <a:pt x="30896" y="35920"/>
                    <a:pt x="32027" y="38181"/>
                    <a:pt x="32027" y="40065"/>
                  </a:cubicBezTo>
                  <a:lnTo>
                    <a:pt x="32027" y="59909"/>
                  </a:lnTo>
                  <a:close/>
                  <a:moveTo>
                    <a:pt x="75985" y="102360"/>
                  </a:moveTo>
                  <a:cubicBezTo>
                    <a:pt x="75985" y="104244"/>
                    <a:pt x="74854" y="105123"/>
                    <a:pt x="73473" y="104244"/>
                  </a:cubicBezTo>
                  <a:lnTo>
                    <a:pt x="40693" y="85404"/>
                  </a:lnTo>
                  <a:cubicBezTo>
                    <a:pt x="39311" y="84651"/>
                    <a:pt x="38181" y="82390"/>
                    <a:pt x="38181" y="80506"/>
                  </a:cubicBezTo>
                  <a:lnTo>
                    <a:pt x="38181" y="43581"/>
                  </a:lnTo>
                  <a:cubicBezTo>
                    <a:pt x="38181" y="41697"/>
                    <a:pt x="39311" y="40818"/>
                    <a:pt x="40693" y="41697"/>
                  </a:cubicBezTo>
                  <a:lnTo>
                    <a:pt x="73473" y="60537"/>
                  </a:lnTo>
                  <a:cubicBezTo>
                    <a:pt x="74854" y="61290"/>
                    <a:pt x="75985" y="63551"/>
                    <a:pt x="75985" y="65435"/>
                  </a:cubicBezTo>
                  <a:lnTo>
                    <a:pt x="75985" y="10236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2" name="Freeform: Shape 741">
              <a:extLst>
                <a:ext uri="{FF2B5EF4-FFF2-40B4-BE49-F238E27FC236}">
                  <a16:creationId xmlns:a16="http://schemas.microsoft.com/office/drawing/2014/main" id="{0478D556-DE3F-4AB7-A163-A8BFF9320834}"/>
                </a:ext>
              </a:extLst>
            </p:cNvPr>
            <p:cNvSpPr/>
            <p:nvPr/>
          </p:nvSpPr>
          <p:spPr>
            <a:xfrm>
              <a:off x="10738610" y="3464508"/>
              <a:ext cx="1758" cy="91558"/>
            </a:xfrm>
            <a:custGeom>
              <a:avLst/>
              <a:gdLst>
                <a:gd name="connsiteX0" fmla="*/ 628 w 1758"/>
                <a:gd name="connsiteY0" fmla="*/ 377 h 91558"/>
                <a:gd name="connsiteX1" fmla="*/ 628 w 1758"/>
                <a:gd name="connsiteY1" fmla="*/ 89423 h 91558"/>
                <a:gd name="connsiteX2" fmla="*/ 1759 w 1758"/>
                <a:gd name="connsiteY2" fmla="*/ 91559 h 91558"/>
                <a:gd name="connsiteX3" fmla="*/ 1131 w 1758"/>
                <a:gd name="connsiteY3" fmla="*/ 91182 h 91558"/>
                <a:gd name="connsiteX4" fmla="*/ 0 w 1758"/>
                <a:gd name="connsiteY4" fmla="*/ 89047 h 91558"/>
                <a:gd name="connsiteX5" fmla="*/ 0 w 1758"/>
                <a:gd name="connsiteY5" fmla="*/ 0 h 91558"/>
                <a:gd name="connsiteX6" fmla="*/ 628 w 1758"/>
                <a:gd name="connsiteY6" fmla="*/ 377 h 9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8" h="91558">
                  <a:moveTo>
                    <a:pt x="628" y="377"/>
                  </a:moveTo>
                  <a:cubicBezTo>
                    <a:pt x="628" y="377"/>
                    <a:pt x="628" y="88795"/>
                    <a:pt x="628" y="89423"/>
                  </a:cubicBezTo>
                  <a:cubicBezTo>
                    <a:pt x="628" y="90051"/>
                    <a:pt x="1759" y="91559"/>
                    <a:pt x="1759" y="91559"/>
                  </a:cubicBezTo>
                  <a:lnTo>
                    <a:pt x="1131" y="91182"/>
                  </a:lnTo>
                  <a:cubicBezTo>
                    <a:pt x="1131" y="91182"/>
                    <a:pt x="0" y="89800"/>
                    <a:pt x="0" y="89047"/>
                  </a:cubicBezTo>
                  <a:cubicBezTo>
                    <a:pt x="0" y="88419"/>
                    <a:pt x="0" y="0"/>
                    <a:pt x="0" y="0"/>
                  </a:cubicBezTo>
                  <a:lnTo>
                    <a:pt x="628"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3" name="Freeform: Shape 742">
              <a:extLst>
                <a:ext uri="{FF2B5EF4-FFF2-40B4-BE49-F238E27FC236}">
                  <a16:creationId xmlns:a16="http://schemas.microsoft.com/office/drawing/2014/main" id="{055B9C4C-A59E-4C63-93E0-52825E6C8341}"/>
                </a:ext>
              </a:extLst>
            </p:cNvPr>
            <p:cNvSpPr/>
            <p:nvPr/>
          </p:nvSpPr>
          <p:spPr>
            <a:xfrm>
              <a:off x="10697038" y="3440519"/>
              <a:ext cx="1758" cy="91558"/>
            </a:xfrm>
            <a:custGeom>
              <a:avLst/>
              <a:gdLst>
                <a:gd name="connsiteX0" fmla="*/ 628 w 1758"/>
                <a:gd name="connsiteY0" fmla="*/ 377 h 91558"/>
                <a:gd name="connsiteX1" fmla="*/ 628 w 1758"/>
                <a:gd name="connsiteY1" fmla="*/ 89423 h 91558"/>
                <a:gd name="connsiteX2" fmla="*/ 1759 w 1758"/>
                <a:gd name="connsiteY2" fmla="*/ 91559 h 91558"/>
                <a:gd name="connsiteX3" fmla="*/ 1130 w 1758"/>
                <a:gd name="connsiteY3" fmla="*/ 91182 h 91558"/>
                <a:gd name="connsiteX4" fmla="*/ 0 w 1758"/>
                <a:gd name="connsiteY4" fmla="*/ 89047 h 91558"/>
                <a:gd name="connsiteX5" fmla="*/ 0 w 1758"/>
                <a:gd name="connsiteY5" fmla="*/ 0 h 91558"/>
                <a:gd name="connsiteX6" fmla="*/ 628 w 1758"/>
                <a:gd name="connsiteY6" fmla="*/ 377 h 9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8" h="91558">
                  <a:moveTo>
                    <a:pt x="628" y="377"/>
                  </a:moveTo>
                  <a:cubicBezTo>
                    <a:pt x="628" y="377"/>
                    <a:pt x="628" y="88796"/>
                    <a:pt x="628" y="89423"/>
                  </a:cubicBezTo>
                  <a:cubicBezTo>
                    <a:pt x="628" y="90051"/>
                    <a:pt x="1759" y="91559"/>
                    <a:pt x="1759" y="91559"/>
                  </a:cubicBezTo>
                  <a:lnTo>
                    <a:pt x="1130" y="91182"/>
                  </a:lnTo>
                  <a:cubicBezTo>
                    <a:pt x="1130" y="91182"/>
                    <a:pt x="0" y="89800"/>
                    <a:pt x="0" y="89047"/>
                  </a:cubicBezTo>
                  <a:cubicBezTo>
                    <a:pt x="0" y="88419"/>
                    <a:pt x="0" y="0"/>
                    <a:pt x="0" y="0"/>
                  </a:cubicBezTo>
                  <a:lnTo>
                    <a:pt x="628"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4" name="Freeform: Shape 743">
              <a:extLst>
                <a:ext uri="{FF2B5EF4-FFF2-40B4-BE49-F238E27FC236}">
                  <a16:creationId xmlns:a16="http://schemas.microsoft.com/office/drawing/2014/main" id="{87581102-A3F3-44D0-A5A0-4AD0EF2A52B4}"/>
                </a:ext>
              </a:extLst>
            </p:cNvPr>
            <p:cNvSpPr/>
            <p:nvPr/>
          </p:nvSpPr>
          <p:spPr>
            <a:xfrm>
              <a:off x="10660867" y="3419042"/>
              <a:ext cx="85907" cy="49609"/>
            </a:xfrm>
            <a:custGeom>
              <a:avLst/>
              <a:gdLst>
                <a:gd name="connsiteX0" fmla="*/ 85907 w 85907"/>
                <a:gd name="connsiteY0" fmla="*/ 49610 h 49609"/>
                <a:gd name="connsiteX1" fmla="*/ 0 w 85907"/>
                <a:gd name="connsiteY1" fmla="*/ 0 h 49609"/>
                <a:gd name="connsiteX2" fmla="*/ 0 w 85907"/>
                <a:gd name="connsiteY2" fmla="*/ 754 h 49609"/>
                <a:gd name="connsiteX3" fmla="*/ 84274 w 85907"/>
                <a:gd name="connsiteY3" fmla="*/ 49484 h 49609"/>
                <a:gd name="connsiteX4" fmla="*/ 85907 w 85907"/>
                <a:gd name="connsiteY4" fmla="*/ 49610 h 4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07" h="49609">
                  <a:moveTo>
                    <a:pt x="85907" y="49610"/>
                  </a:moveTo>
                  <a:lnTo>
                    <a:pt x="0" y="0"/>
                  </a:lnTo>
                  <a:lnTo>
                    <a:pt x="0" y="754"/>
                  </a:lnTo>
                  <a:lnTo>
                    <a:pt x="84274" y="49484"/>
                  </a:lnTo>
                  <a:cubicBezTo>
                    <a:pt x="84776" y="49233"/>
                    <a:pt x="85404" y="49359"/>
                    <a:pt x="85907" y="49610"/>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5" name="Freeform: Shape 744">
              <a:extLst>
                <a:ext uri="{FF2B5EF4-FFF2-40B4-BE49-F238E27FC236}">
                  <a16:creationId xmlns:a16="http://schemas.microsoft.com/office/drawing/2014/main" id="{EA5C1940-E38C-40EC-B728-903622C3E607}"/>
                </a:ext>
              </a:extLst>
            </p:cNvPr>
            <p:cNvSpPr/>
            <p:nvPr/>
          </p:nvSpPr>
          <p:spPr>
            <a:xfrm>
              <a:off x="10665138" y="3426563"/>
              <a:ext cx="27755" cy="40478"/>
            </a:xfrm>
            <a:custGeom>
              <a:avLst/>
              <a:gdLst>
                <a:gd name="connsiteX0" fmla="*/ 27756 w 27755"/>
                <a:gd name="connsiteY0" fmla="*/ 39200 h 40478"/>
                <a:gd name="connsiteX1" fmla="*/ 27380 w 27755"/>
                <a:gd name="connsiteY1" fmla="*/ 39075 h 40478"/>
                <a:gd name="connsiteX2" fmla="*/ 4521 w 27755"/>
                <a:gd name="connsiteY2" fmla="*/ 25887 h 40478"/>
                <a:gd name="connsiteX3" fmla="*/ 2009 w 27755"/>
                <a:gd name="connsiteY3" fmla="*/ 20989 h 40478"/>
                <a:gd name="connsiteX4" fmla="*/ 2009 w 27755"/>
                <a:gd name="connsiteY4" fmla="*/ 1145 h 40478"/>
                <a:gd name="connsiteX5" fmla="*/ 2135 w 27755"/>
                <a:gd name="connsiteY5" fmla="*/ 140 h 40478"/>
                <a:gd name="connsiteX6" fmla="*/ 0 w 27755"/>
                <a:gd name="connsiteY6" fmla="*/ 2275 h 40478"/>
                <a:gd name="connsiteX7" fmla="*/ 0 w 27755"/>
                <a:gd name="connsiteY7" fmla="*/ 22119 h 40478"/>
                <a:gd name="connsiteX8" fmla="*/ 2511 w 27755"/>
                <a:gd name="connsiteY8" fmla="*/ 27018 h 40478"/>
                <a:gd name="connsiteX9" fmla="*/ 25370 w 27755"/>
                <a:gd name="connsiteY9" fmla="*/ 40205 h 40478"/>
                <a:gd name="connsiteX10" fmla="*/ 27756 w 27755"/>
                <a:gd name="connsiteY10" fmla="*/ 39200 h 40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755" h="40478">
                  <a:moveTo>
                    <a:pt x="27756" y="39200"/>
                  </a:moveTo>
                  <a:cubicBezTo>
                    <a:pt x="27630" y="39200"/>
                    <a:pt x="27505" y="39075"/>
                    <a:pt x="27380" y="39075"/>
                  </a:cubicBezTo>
                  <a:lnTo>
                    <a:pt x="4521" y="25887"/>
                  </a:lnTo>
                  <a:cubicBezTo>
                    <a:pt x="3140" y="25133"/>
                    <a:pt x="2009" y="22873"/>
                    <a:pt x="2009" y="20989"/>
                  </a:cubicBezTo>
                  <a:lnTo>
                    <a:pt x="2009" y="1145"/>
                  </a:lnTo>
                  <a:cubicBezTo>
                    <a:pt x="2009" y="768"/>
                    <a:pt x="2009" y="517"/>
                    <a:pt x="2135" y="140"/>
                  </a:cubicBezTo>
                  <a:cubicBezTo>
                    <a:pt x="878" y="-362"/>
                    <a:pt x="0" y="517"/>
                    <a:pt x="0" y="2275"/>
                  </a:cubicBezTo>
                  <a:lnTo>
                    <a:pt x="0" y="22119"/>
                  </a:lnTo>
                  <a:cubicBezTo>
                    <a:pt x="0" y="24003"/>
                    <a:pt x="1130" y="26138"/>
                    <a:pt x="2511" y="27018"/>
                  </a:cubicBezTo>
                  <a:lnTo>
                    <a:pt x="25370" y="40205"/>
                  </a:lnTo>
                  <a:cubicBezTo>
                    <a:pt x="26375" y="40833"/>
                    <a:pt x="27380" y="40331"/>
                    <a:pt x="27756" y="3920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46" name="Graphic 4">
              <a:extLst>
                <a:ext uri="{FF2B5EF4-FFF2-40B4-BE49-F238E27FC236}">
                  <a16:creationId xmlns:a16="http://schemas.microsoft.com/office/drawing/2014/main" id="{84FB7ED1-A2DF-40A1-A747-5F7CF3F14040}"/>
                </a:ext>
              </a:extLst>
            </p:cNvPr>
            <p:cNvGrpSpPr/>
            <p:nvPr/>
          </p:nvGrpSpPr>
          <p:grpSpPr>
            <a:xfrm>
              <a:off x="10664007" y="3425260"/>
              <a:ext cx="29898" cy="43077"/>
              <a:chOff x="10664007" y="3425260"/>
              <a:chExt cx="29898" cy="43077"/>
            </a:xfrm>
            <a:solidFill>
              <a:schemeClr val="accent1"/>
            </a:solidFill>
          </p:grpSpPr>
          <p:sp>
            <p:nvSpPr>
              <p:cNvPr id="747" name="Freeform: Shape 746">
                <a:extLst>
                  <a:ext uri="{FF2B5EF4-FFF2-40B4-BE49-F238E27FC236}">
                    <a16:creationId xmlns:a16="http://schemas.microsoft.com/office/drawing/2014/main" id="{FC91CE7C-CCF6-4484-A3A6-9DCF346517B4}"/>
                  </a:ext>
                </a:extLst>
              </p:cNvPr>
              <p:cNvSpPr/>
              <p:nvPr/>
            </p:nvSpPr>
            <p:spPr>
              <a:xfrm>
                <a:off x="10664007" y="3425260"/>
                <a:ext cx="29898" cy="43077"/>
              </a:xfrm>
              <a:custGeom>
                <a:avLst/>
                <a:gdLst>
                  <a:gd name="connsiteX0" fmla="*/ 26375 w 29898"/>
                  <a:gd name="connsiteY0" fmla="*/ 13626 h 43077"/>
                  <a:gd name="connsiteX1" fmla="*/ 3517 w 29898"/>
                  <a:gd name="connsiteY1" fmla="*/ 439 h 43077"/>
                  <a:gd name="connsiteX2" fmla="*/ 0 w 29898"/>
                  <a:gd name="connsiteY2" fmla="*/ 2951 h 43077"/>
                  <a:gd name="connsiteX3" fmla="*/ 0 w 29898"/>
                  <a:gd name="connsiteY3" fmla="*/ 22795 h 43077"/>
                  <a:gd name="connsiteX4" fmla="*/ 3517 w 29898"/>
                  <a:gd name="connsiteY4" fmla="*/ 29451 h 43077"/>
                  <a:gd name="connsiteX5" fmla="*/ 26375 w 29898"/>
                  <a:gd name="connsiteY5" fmla="*/ 42639 h 43077"/>
                  <a:gd name="connsiteX6" fmla="*/ 29892 w 29898"/>
                  <a:gd name="connsiteY6" fmla="*/ 40127 h 43077"/>
                  <a:gd name="connsiteX7" fmla="*/ 29892 w 29898"/>
                  <a:gd name="connsiteY7" fmla="*/ 20283 h 43077"/>
                  <a:gd name="connsiteX8" fmla="*/ 26375 w 29898"/>
                  <a:gd name="connsiteY8" fmla="*/ 13626 h 43077"/>
                  <a:gd name="connsiteX9" fmla="*/ 29012 w 29898"/>
                  <a:gd name="connsiteY9" fmla="*/ 39499 h 43077"/>
                  <a:gd name="connsiteX10" fmla="*/ 26500 w 29898"/>
                  <a:gd name="connsiteY10" fmla="*/ 41383 h 43077"/>
                  <a:gd name="connsiteX11" fmla="*/ 3642 w 29898"/>
                  <a:gd name="connsiteY11" fmla="*/ 28195 h 43077"/>
                  <a:gd name="connsiteX12" fmla="*/ 1131 w 29898"/>
                  <a:gd name="connsiteY12" fmla="*/ 23297 h 43077"/>
                  <a:gd name="connsiteX13" fmla="*/ 1131 w 29898"/>
                  <a:gd name="connsiteY13" fmla="*/ 3453 h 43077"/>
                  <a:gd name="connsiteX14" fmla="*/ 3642 w 29898"/>
                  <a:gd name="connsiteY14" fmla="*/ 1569 h 43077"/>
                  <a:gd name="connsiteX15" fmla="*/ 26500 w 29898"/>
                  <a:gd name="connsiteY15" fmla="*/ 14757 h 43077"/>
                  <a:gd name="connsiteX16" fmla="*/ 29012 w 29898"/>
                  <a:gd name="connsiteY16" fmla="*/ 19655 h 43077"/>
                  <a:gd name="connsiteX17" fmla="*/ 29012 w 29898"/>
                  <a:gd name="connsiteY17" fmla="*/ 39499 h 43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898" h="43077">
                    <a:moveTo>
                      <a:pt x="26375" y="13626"/>
                    </a:moveTo>
                    <a:lnTo>
                      <a:pt x="3517" y="439"/>
                    </a:lnTo>
                    <a:cubicBezTo>
                      <a:pt x="1507" y="-692"/>
                      <a:pt x="0" y="439"/>
                      <a:pt x="0" y="2951"/>
                    </a:cubicBezTo>
                    <a:lnTo>
                      <a:pt x="0" y="22795"/>
                    </a:lnTo>
                    <a:cubicBezTo>
                      <a:pt x="0" y="25307"/>
                      <a:pt x="1633" y="28321"/>
                      <a:pt x="3517" y="29451"/>
                    </a:cubicBezTo>
                    <a:lnTo>
                      <a:pt x="26375" y="42639"/>
                    </a:lnTo>
                    <a:cubicBezTo>
                      <a:pt x="28385" y="43769"/>
                      <a:pt x="29892" y="42639"/>
                      <a:pt x="29892" y="40127"/>
                    </a:cubicBezTo>
                    <a:lnTo>
                      <a:pt x="29892" y="20283"/>
                    </a:lnTo>
                    <a:cubicBezTo>
                      <a:pt x="30017" y="17771"/>
                      <a:pt x="28385" y="14757"/>
                      <a:pt x="26375" y="13626"/>
                    </a:cubicBezTo>
                    <a:close/>
                    <a:moveTo>
                      <a:pt x="29012" y="39499"/>
                    </a:moveTo>
                    <a:cubicBezTo>
                      <a:pt x="29012" y="41383"/>
                      <a:pt x="27882" y="42262"/>
                      <a:pt x="26500" y="41383"/>
                    </a:cubicBezTo>
                    <a:lnTo>
                      <a:pt x="3642" y="28195"/>
                    </a:lnTo>
                    <a:cubicBezTo>
                      <a:pt x="2261" y="27442"/>
                      <a:pt x="1131" y="25181"/>
                      <a:pt x="1131" y="23297"/>
                    </a:cubicBezTo>
                    <a:lnTo>
                      <a:pt x="1131" y="3453"/>
                    </a:lnTo>
                    <a:cubicBezTo>
                      <a:pt x="1131" y="1569"/>
                      <a:pt x="2261" y="690"/>
                      <a:pt x="3642" y="1569"/>
                    </a:cubicBezTo>
                    <a:lnTo>
                      <a:pt x="26500" y="14757"/>
                    </a:lnTo>
                    <a:cubicBezTo>
                      <a:pt x="27882" y="15510"/>
                      <a:pt x="29012" y="17771"/>
                      <a:pt x="29012" y="19655"/>
                    </a:cubicBezTo>
                    <a:lnTo>
                      <a:pt x="29012" y="39499"/>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8" name="Freeform: Shape 747">
                <a:extLst>
                  <a:ext uri="{FF2B5EF4-FFF2-40B4-BE49-F238E27FC236}">
                    <a16:creationId xmlns:a16="http://schemas.microsoft.com/office/drawing/2014/main" id="{C50E214A-F725-4B07-B84D-9CB15ED394A4}"/>
                  </a:ext>
                </a:extLst>
              </p:cNvPr>
              <p:cNvSpPr/>
              <p:nvPr/>
            </p:nvSpPr>
            <p:spPr>
              <a:xfrm>
                <a:off x="10665012" y="3426540"/>
                <a:ext cx="27891" cy="40391"/>
              </a:xfrm>
              <a:custGeom>
                <a:avLst/>
                <a:gdLst>
                  <a:gd name="connsiteX0" fmla="*/ 25370 w 27891"/>
                  <a:gd name="connsiteY0" fmla="*/ 13476 h 40391"/>
                  <a:gd name="connsiteX1" fmla="*/ 2512 w 27891"/>
                  <a:gd name="connsiteY1" fmla="*/ 289 h 40391"/>
                  <a:gd name="connsiteX2" fmla="*/ 0 w 27891"/>
                  <a:gd name="connsiteY2" fmla="*/ 2173 h 40391"/>
                  <a:gd name="connsiteX3" fmla="*/ 0 w 27891"/>
                  <a:gd name="connsiteY3" fmla="*/ 22017 h 40391"/>
                  <a:gd name="connsiteX4" fmla="*/ 2512 w 27891"/>
                  <a:gd name="connsiteY4" fmla="*/ 26915 h 40391"/>
                  <a:gd name="connsiteX5" fmla="*/ 25370 w 27891"/>
                  <a:gd name="connsiteY5" fmla="*/ 40102 h 40391"/>
                  <a:gd name="connsiteX6" fmla="*/ 27882 w 27891"/>
                  <a:gd name="connsiteY6" fmla="*/ 38218 h 40391"/>
                  <a:gd name="connsiteX7" fmla="*/ 27882 w 27891"/>
                  <a:gd name="connsiteY7" fmla="*/ 18374 h 40391"/>
                  <a:gd name="connsiteX8" fmla="*/ 25370 w 27891"/>
                  <a:gd name="connsiteY8" fmla="*/ 13476 h 40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91" h="40391">
                    <a:moveTo>
                      <a:pt x="25370" y="13476"/>
                    </a:moveTo>
                    <a:lnTo>
                      <a:pt x="2512" y="289"/>
                    </a:lnTo>
                    <a:cubicBezTo>
                      <a:pt x="1130" y="-465"/>
                      <a:pt x="0" y="289"/>
                      <a:pt x="0" y="2173"/>
                    </a:cubicBezTo>
                    <a:lnTo>
                      <a:pt x="0" y="22017"/>
                    </a:lnTo>
                    <a:cubicBezTo>
                      <a:pt x="0" y="23901"/>
                      <a:pt x="1130" y="26036"/>
                      <a:pt x="2512" y="26915"/>
                    </a:cubicBezTo>
                    <a:lnTo>
                      <a:pt x="25370" y="40102"/>
                    </a:lnTo>
                    <a:cubicBezTo>
                      <a:pt x="26752" y="40856"/>
                      <a:pt x="27882" y="40102"/>
                      <a:pt x="27882" y="38218"/>
                    </a:cubicBezTo>
                    <a:lnTo>
                      <a:pt x="27882" y="18374"/>
                    </a:lnTo>
                    <a:cubicBezTo>
                      <a:pt x="28007" y="16490"/>
                      <a:pt x="26877" y="14355"/>
                      <a:pt x="25370" y="13476"/>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49" name="Freeform: Shape 748">
              <a:extLst>
                <a:ext uri="{FF2B5EF4-FFF2-40B4-BE49-F238E27FC236}">
                  <a16:creationId xmlns:a16="http://schemas.microsoft.com/office/drawing/2014/main" id="{A33A6E15-778D-4AD1-A07B-E787EB7D5408}"/>
                </a:ext>
              </a:extLst>
            </p:cNvPr>
            <p:cNvSpPr/>
            <p:nvPr/>
          </p:nvSpPr>
          <p:spPr>
            <a:xfrm>
              <a:off x="10698168" y="3445104"/>
              <a:ext cx="39814" cy="65809"/>
            </a:xfrm>
            <a:custGeom>
              <a:avLst/>
              <a:gdLst>
                <a:gd name="connsiteX0" fmla="*/ 36297 w 39814"/>
                <a:gd name="connsiteY0" fmla="*/ 19278 h 65809"/>
                <a:gd name="connsiteX1" fmla="*/ 3517 w 39814"/>
                <a:gd name="connsiteY1" fmla="*/ 439 h 65809"/>
                <a:gd name="connsiteX2" fmla="*/ 0 w 39814"/>
                <a:gd name="connsiteY2" fmla="*/ 2951 h 65809"/>
                <a:gd name="connsiteX3" fmla="*/ 0 w 39814"/>
                <a:gd name="connsiteY3" fmla="*/ 39876 h 65809"/>
                <a:gd name="connsiteX4" fmla="*/ 3517 w 39814"/>
                <a:gd name="connsiteY4" fmla="*/ 46532 h 65809"/>
                <a:gd name="connsiteX5" fmla="*/ 36297 w 39814"/>
                <a:gd name="connsiteY5" fmla="*/ 65371 h 65809"/>
                <a:gd name="connsiteX6" fmla="*/ 39814 w 39814"/>
                <a:gd name="connsiteY6" fmla="*/ 62859 h 65809"/>
                <a:gd name="connsiteX7" fmla="*/ 39814 w 39814"/>
                <a:gd name="connsiteY7" fmla="*/ 25935 h 65809"/>
                <a:gd name="connsiteX8" fmla="*/ 36297 w 39814"/>
                <a:gd name="connsiteY8" fmla="*/ 19278 h 65809"/>
                <a:gd name="connsiteX9" fmla="*/ 38809 w 39814"/>
                <a:gd name="connsiteY9" fmla="*/ 62106 h 65809"/>
                <a:gd name="connsiteX10" fmla="*/ 36297 w 39814"/>
                <a:gd name="connsiteY10" fmla="*/ 63990 h 65809"/>
                <a:gd name="connsiteX11" fmla="*/ 3517 w 39814"/>
                <a:gd name="connsiteY11" fmla="*/ 45151 h 65809"/>
                <a:gd name="connsiteX12" fmla="*/ 1005 w 39814"/>
                <a:gd name="connsiteY12" fmla="*/ 40252 h 65809"/>
                <a:gd name="connsiteX13" fmla="*/ 1005 w 39814"/>
                <a:gd name="connsiteY13" fmla="*/ 3327 h 65809"/>
                <a:gd name="connsiteX14" fmla="*/ 3517 w 39814"/>
                <a:gd name="connsiteY14" fmla="*/ 1443 h 65809"/>
                <a:gd name="connsiteX15" fmla="*/ 36297 w 39814"/>
                <a:gd name="connsiteY15" fmla="*/ 20283 h 65809"/>
                <a:gd name="connsiteX16" fmla="*/ 38809 w 39814"/>
                <a:gd name="connsiteY16" fmla="*/ 25181 h 65809"/>
                <a:gd name="connsiteX17" fmla="*/ 38809 w 39814"/>
                <a:gd name="connsiteY17" fmla="*/ 62106 h 6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814" h="65809">
                  <a:moveTo>
                    <a:pt x="36297" y="19278"/>
                  </a:moveTo>
                  <a:lnTo>
                    <a:pt x="3517" y="439"/>
                  </a:lnTo>
                  <a:cubicBezTo>
                    <a:pt x="1508" y="-692"/>
                    <a:pt x="0" y="439"/>
                    <a:pt x="0" y="2951"/>
                  </a:cubicBezTo>
                  <a:lnTo>
                    <a:pt x="0" y="39876"/>
                  </a:lnTo>
                  <a:cubicBezTo>
                    <a:pt x="0" y="42387"/>
                    <a:pt x="1633" y="45402"/>
                    <a:pt x="3517" y="46532"/>
                  </a:cubicBezTo>
                  <a:lnTo>
                    <a:pt x="36297" y="65371"/>
                  </a:lnTo>
                  <a:cubicBezTo>
                    <a:pt x="38307" y="66502"/>
                    <a:pt x="39814" y="65371"/>
                    <a:pt x="39814" y="62859"/>
                  </a:cubicBezTo>
                  <a:lnTo>
                    <a:pt x="39814" y="25935"/>
                  </a:lnTo>
                  <a:cubicBezTo>
                    <a:pt x="39814" y="23297"/>
                    <a:pt x="38307" y="20408"/>
                    <a:pt x="36297" y="19278"/>
                  </a:cubicBezTo>
                  <a:close/>
                  <a:moveTo>
                    <a:pt x="38809" y="62106"/>
                  </a:moveTo>
                  <a:cubicBezTo>
                    <a:pt x="38809" y="63990"/>
                    <a:pt x="37678" y="64869"/>
                    <a:pt x="36297" y="63990"/>
                  </a:cubicBezTo>
                  <a:lnTo>
                    <a:pt x="3517" y="45151"/>
                  </a:lnTo>
                  <a:cubicBezTo>
                    <a:pt x="2136" y="44397"/>
                    <a:pt x="1005" y="42136"/>
                    <a:pt x="1005" y="40252"/>
                  </a:cubicBezTo>
                  <a:lnTo>
                    <a:pt x="1005" y="3327"/>
                  </a:lnTo>
                  <a:cubicBezTo>
                    <a:pt x="1005" y="1443"/>
                    <a:pt x="2136" y="564"/>
                    <a:pt x="3517" y="1443"/>
                  </a:cubicBezTo>
                  <a:lnTo>
                    <a:pt x="36297" y="20283"/>
                  </a:lnTo>
                  <a:cubicBezTo>
                    <a:pt x="37678" y="21036"/>
                    <a:pt x="38809" y="23297"/>
                    <a:pt x="38809" y="25181"/>
                  </a:cubicBezTo>
                  <a:lnTo>
                    <a:pt x="38809" y="62106"/>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0" name="Freeform: Shape 749">
              <a:extLst>
                <a:ext uri="{FF2B5EF4-FFF2-40B4-BE49-F238E27FC236}">
                  <a16:creationId xmlns:a16="http://schemas.microsoft.com/office/drawing/2014/main" id="{1BF9DCE0-7DA7-4C6B-997B-A1F63678CF1E}"/>
                </a:ext>
              </a:extLst>
            </p:cNvPr>
            <p:cNvSpPr/>
            <p:nvPr/>
          </p:nvSpPr>
          <p:spPr>
            <a:xfrm>
              <a:off x="10699173" y="3446282"/>
              <a:ext cx="37678" cy="63211"/>
            </a:xfrm>
            <a:custGeom>
              <a:avLst/>
              <a:gdLst>
                <a:gd name="connsiteX0" fmla="*/ 37678 w 37678"/>
                <a:gd name="connsiteY0" fmla="*/ 61933 h 63211"/>
                <a:gd name="connsiteX1" fmla="*/ 37302 w 37678"/>
                <a:gd name="connsiteY1" fmla="*/ 61807 h 63211"/>
                <a:gd name="connsiteX2" fmla="*/ 4521 w 37678"/>
                <a:gd name="connsiteY2" fmla="*/ 42968 h 63211"/>
                <a:gd name="connsiteX3" fmla="*/ 2010 w 37678"/>
                <a:gd name="connsiteY3" fmla="*/ 38070 h 63211"/>
                <a:gd name="connsiteX4" fmla="*/ 2010 w 37678"/>
                <a:gd name="connsiteY4" fmla="*/ 1145 h 63211"/>
                <a:gd name="connsiteX5" fmla="*/ 2135 w 37678"/>
                <a:gd name="connsiteY5" fmla="*/ 140 h 63211"/>
                <a:gd name="connsiteX6" fmla="*/ 0 w 37678"/>
                <a:gd name="connsiteY6" fmla="*/ 2275 h 63211"/>
                <a:gd name="connsiteX7" fmla="*/ 0 w 37678"/>
                <a:gd name="connsiteY7" fmla="*/ 39200 h 63211"/>
                <a:gd name="connsiteX8" fmla="*/ 2512 w 37678"/>
                <a:gd name="connsiteY8" fmla="*/ 44098 h 63211"/>
                <a:gd name="connsiteX9" fmla="*/ 35292 w 37678"/>
                <a:gd name="connsiteY9" fmla="*/ 62938 h 63211"/>
                <a:gd name="connsiteX10" fmla="*/ 37678 w 37678"/>
                <a:gd name="connsiteY10" fmla="*/ 61933 h 63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8" h="63211">
                  <a:moveTo>
                    <a:pt x="37678" y="61933"/>
                  </a:moveTo>
                  <a:cubicBezTo>
                    <a:pt x="37553" y="61933"/>
                    <a:pt x="37428" y="61807"/>
                    <a:pt x="37302" y="61807"/>
                  </a:cubicBezTo>
                  <a:lnTo>
                    <a:pt x="4521" y="42968"/>
                  </a:lnTo>
                  <a:cubicBezTo>
                    <a:pt x="3140" y="42214"/>
                    <a:pt x="2010" y="39954"/>
                    <a:pt x="2010" y="38070"/>
                  </a:cubicBezTo>
                  <a:lnTo>
                    <a:pt x="2010" y="1145"/>
                  </a:lnTo>
                  <a:cubicBezTo>
                    <a:pt x="2010" y="768"/>
                    <a:pt x="2010" y="517"/>
                    <a:pt x="2135" y="140"/>
                  </a:cubicBezTo>
                  <a:cubicBezTo>
                    <a:pt x="879" y="-362"/>
                    <a:pt x="0" y="517"/>
                    <a:pt x="0" y="2275"/>
                  </a:cubicBezTo>
                  <a:lnTo>
                    <a:pt x="0" y="39200"/>
                  </a:lnTo>
                  <a:cubicBezTo>
                    <a:pt x="0" y="41084"/>
                    <a:pt x="1131" y="43219"/>
                    <a:pt x="2512" y="44098"/>
                  </a:cubicBezTo>
                  <a:lnTo>
                    <a:pt x="35292" y="62938"/>
                  </a:lnTo>
                  <a:cubicBezTo>
                    <a:pt x="36423" y="63566"/>
                    <a:pt x="37428" y="63063"/>
                    <a:pt x="37678" y="6193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1" name="Freeform: Shape 750">
              <a:extLst>
                <a:ext uri="{FF2B5EF4-FFF2-40B4-BE49-F238E27FC236}">
                  <a16:creationId xmlns:a16="http://schemas.microsoft.com/office/drawing/2014/main" id="{E1597B3B-B8D3-4686-8206-634CB8CE441A}"/>
                </a:ext>
              </a:extLst>
            </p:cNvPr>
            <p:cNvSpPr/>
            <p:nvPr/>
          </p:nvSpPr>
          <p:spPr>
            <a:xfrm>
              <a:off x="10699173" y="3446384"/>
              <a:ext cx="37804" cy="63123"/>
            </a:xfrm>
            <a:custGeom>
              <a:avLst/>
              <a:gdLst>
                <a:gd name="connsiteX0" fmla="*/ 35292 w 37804"/>
                <a:gd name="connsiteY0" fmla="*/ 19128 h 63123"/>
                <a:gd name="connsiteX1" fmla="*/ 2512 w 37804"/>
                <a:gd name="connsiteY1" fmla="*/ 289 h 63123"/>
                <a:gd name="connsiteX2" fmla="*/ 0 w 37804"/>
                <a:gd name="connsiteY2" fmla="*/ 2173 h 63123"/>
                <a:gd name="connsiteX3" fmla="*/ 0 w 37804"/>
                <a:gd name="connsiteY3" fmla="*/ 39098 h 63123"/>
                <a:gd name="connsiteX4" fmla="*/ 2512 w 37804"/>
                <a:gd name="connsiteY4" fmla="*/ 43996 h 63123"/>
                <a:gd name="connsiteX5" fmla="*/ 35292 w 37804"/>
                <a:gd name="connsiteY5" fmla="*/ 62835 h 63123"/>
                <a:gd name="connsiteX6" fmla="*/ 37804 w 37804"/>
                <a:gd name="connsiteY6" fmla="*/ 60951 h 63123"/>
                <a:gd name="connsiteX7" fmla="*/ 37804 w 37804"/>
                <a:gd name="connsiteY7" fmla="*/ 24026 h 63123"/>
                <a:gd name="connsiteX8" fmla="*/ 35292 w 37804"/>
                <a:gd name="connsiteY8" fmla="*/ 19128 h 6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04" h="63123">
                  <a:moveTo>
                    <a:pt x="35292" y="19128"/>
                  </a:moveTo>
                  <a:lnTo>
                    <a:pt x="2512" y="289"/>
                  </a:lnTo>
                  <a:cubicBezTo>
                    <a:pt x="1131" y="-465"/>
                    <a:pt x="0" y="289"/>
                    <a:pt x="0" y="2173"/>
                  </a:cubicBezTo>
                  <a:lnTo>
                    <a:pt x="0" y="39098"/>
                  </a:lnTo>
                  <a:cubicBezTo>
                    <a:pt x="0" y="40981"/>
                    <a:pt x="1131" y="43117"/>
                    <a:pt x="2512" y="43996"/>
                  </a:cubicBezTo>
                  <a:lnTo>
                    <a:pt x="35292" y="62835"/>
                  </a:lnTo>
                  <a:cubicBezTo>
                    <a:pt x="36673" y="63588"/>
                    <a:pt x="37804" y="62835"/>
                    <a:pt x="37804" y="60951"/>
                  </a:cubicBezTo>
                  <a:lnTo>
                    <a:pt x="37804" y="24026"/>
                  </a:lnTo>
                  <a:cubicBezTo>
                    <a:pt x="37804" y="22142"/>
                    <a:pt x="36673" y="19882"/>
                    <a:pt x="35292" y="19128"/>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52" name="Graphic 4">
              <a:extLst>
                <a:ext uri="{FF2B5EF4-FFF2-40B4-BE49-F238E27FC236}">
                  <a16:creationId xmlns:a16="http://schemas.microsoft.com/office/drawing/2014/main" id="{84FB7ED1-A2DF-40A1-A747-5F7CF3F14040}"/>
                </a:ext>
              </a:extLst>
            </p:cNvPr>
            <p:cNvGrpSpPr/>
            <p:nvPr/>
          </p:nvGrpSpPr>
          <p:grpSpPr>
            <a:xfrm>
              <a:off x="10726679" y="3487863"/>
              <a:ext cx="12183" cy="36510"/>
              <a:chOff x="10726679" y="3487863"/>
              <a:chExt cx="12183" cy="36510"/>
            </a:xfrm>
            <a:solidFill>
              <a:schemeClr val="accent1"/>
            </a:solidFill>
          </p:grpSpPr>
          <p:sp>
            <p:nvSpPr>
              <p:cNvPr id="753" name="Freeform: Shape 752">
                <a:extLst>
                  <a:ext uri="{FF2B5EF4-FFF2-40B4-BE49-F238E27FC236}">
                    <a16:creationId xmlns:a16="http://schemas.microsoft.com/office/drawing/2014/main" id="{519AFE23-DF49-4F6F-923A-C1E75872565D}"/>
                  </a:ext>
                </a:extLst>
              </p:cNvPr>
              <p:cNvSpPr/>
              <p:nvPr/>
            </p:nvSpPr>
            <p:spPr>
              <a:xfrm>
                <a:off x="10728563" y="3489119"/>
                <a:ext cx="10298" cy="35254"/>
              </a:xfrm>
              <a:custGeom>
                <a:avLst/>
                <a:gdLst>
                  <a:gd name="connsiteX0" fmla="*/ 2763 w 10298"/>
                  <a:gd name="connsiteY0" fmla="*/ 35046 h 35254"/>
                  <a:gd name="connsiteX1" fmla="*/ 8163 w 10298"/>
                  <a:gd name="connsiteY1" fmla="*/ 32660 h 35254"/>
                  <a:gd name="connsiteX2" fmla="*/ 10299 w 10298"/>
                  <a:gd name="connsiteY2" fmla="*/ 29143 h 35254"/>
                  <a:gd name="connsiteX3" fmla="*/ 10299 w 10298"/>
                  <a:gd name="connsiteY3" fmla="*/ 1387 h 35254"/>
                  <a:gd name="connsiteX4" fmla="*/ 9670 w 10298"/>
                  <a:gd name="connsiteY4" fmla="*/ 131 h 35254"/>
                  <a:gd name="connsiteX5" fmla="*/ 8038 w 10298"/>
                  <a:gd name="connsiteY5" fmla="*/ 382 h 35254"/>
                  <a:gd name="connsiteX6" fmla="*/ 2637 w 10298"/>
                  <a:gd name="connsiteY6" fmla="*/ 4275 h 35254"/>
                  <a:gd name="connsiteX7" fmla="*/ 0 w 10298"/>
                  <a:gd name="connsiteY7" fmla="*/ 9299 h 35254"/>
                  <a:gd name="connsiteX8" fmla="*/ 0 w 10298"/>
                  <a:gd name="connsiteY8" fmla="*/ 33162 h 35254"/>
                  <a:gd name="connsiteX9" fmla="*/ 879 w 10298"/>
                  <a:gd name="connsiteY9" fmla="*/ 35172 h 35254"/>
                  <a:gd name="connsiteX10" fmla="*/ 2763 w 10298"/>
                  <a:gd name="connsiteY10" fmla="*/ 35046 h 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98" h="35254">
                    <a:moveTo>
                      <a:pt x="2763" y="35046"/>
                    </a:moveTo>
                    <a:lnTo>
                      <a:pt x="8163" y="32660"/>
                    </a:lnTo>
                    <a:cubicBezTo>
                      <a:pt x="9294" y="32157"/>
                      <a:pt x="10299" y="30525"/>
                      <a:pt x="10299" y="29143"/>
                    </a:cubicBezTo>
                    <a:lnTo>
                      <a:pt x="10299" y="1387"/>
                    </a:lnTo>
                    <a:cubicBezTo>
                      <a:pt x="10299" y="759"/>
                      <a:pt x="10047" y="382"/>
                      <a:pt x="9670" y="131"/>
                    </a:cubicBezTo>
                    <a:cubicBezTo>
                      <a:pt x="9294" y="-121"/>
                      <a:pt x="8666" y="5"/>
                      <a:pt x="8038" y="382"/>
                    </a:cubicBezTo>
                    <a:lnTo>
                      <a:pt x="2637" y="4275"/>
                    </a:lnTo>
                    <a:cubicBezTo>
                      <a:pt x="1130" y="5406"/>
                      <a:pt x="0" y="7541"/>
                      <a:pt x="0" y="9299"/>
                    </a:cubicBezTo>
                    <a:lnTo>
                      <a:pt x="0" y="33162"/>
                    </a:lnTo>
                    <a:cubicBezTo>
                      <a:pt x="0" y="34167"/>
                      <a:pt x="376" y="34795"/>
                      <a:pt x="879" y="35172"/>
                    </a:cubicBezTo>
                    <a:cubicBezTo>
                      <a:pt x="1507" y="35297"/>
                      <a:pt x="2009" y="35297"/>
                      <a:pt x="2763" y="35046"/>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4" name="Freeform: Shape 753">
                <a:extLst>
                  <a:ext uri="{FF2B5EF4-FFF2-40B4-BE49-F238E27FC236}">
                    <a16:creationId xmlns:a16="http://schemas.microsoft.com/office/drawing/2014/main" id="{59F2769F-1CAF-4903-B510-AF3E26918178}"/>
                  </a:ext>
                </a:extLst>
              </p:cNvPr>
              <p:cNvSpPr/>
              <p:nvPr/>
            </p:nvSpPr>
            <p:spPr>
              <a:xfrm>
                <a:off x="10726679" y="3487863"/>
                <a:ext cx="11680" cy="36176"/>
              </a:xfrm>
              <a:custGeom>
                <a:avLst/>
                <a:gdLst>
                  <a:gd name="connsiteX0" fmla="*/ 2010 w 11680"/>
                  <a:gd name="connsiteY0" fmla="*/ 34292 h 36176"/>
                  <a:gd name="connsiteX1" fmla="*/ 2010 w 11680"/>
                  <a:gd name="connsiteY1" fmla="*/ 10430 h 36176"/>
                  <a:gd name="connsiteX2" fmla="*/ 4647 w 11680"/>
                  <a:gd name="connsiteY2" fmla="*/ 5406 h 36176"/>
                  <a:gd name="connsiteX3" fmla="*/ 10047 w 11680"/>
                  <a:gd name="connsiteY3" fmla="*/ 1512 h 36176"/>
                  <a:gd name="connsiteX4" fmla="*/ 11680 w 11680"/>
                  <a:gd name="connsiteY4" fmla="*/ 1261 h 36176"/>
                  <a:gd name="connsiteX5" fmla="*/ 9671 w 11680"/>
                  <a:gd name="connsiteY5" fmla="*/ 131 h 36176"/>
                  <a:gd name="connsiteX6" fmla="*/ 8038 w 11680"/>
                  <a:gd name="connsiteY6" fmla="*/ 382 h 36176"/>
                  <a:gd name="connsiteX7" fmla="*/ 2638 w 11680"/>
                  <a:gd name="connsiteY7" fmla="*/ 4275 h 36176"/>
                  <a:gd name="connsiteX8" fmla="*/ 0 w 11680"/>
                  <a:gd name="connsiteY8" fmla="*/ 9299 h 36176"/>
                  <a:gd name="connsiteX9" fmla="*/ 0 w 11680"/>
                  <a:gd name="connsiteY9" fmla="*/ 33162 h 36176"/>
                  <a:gd name="connsiteX10" fmla="*/ 879 w 11680"/>
                  <a:gd name="connsiteY10" fmla="*/ 35046 h 36176"/>
                  <a:gd name="connsiteX11" fmla="*/ 2888 w 11680"/>
                  <a:gd name="connsiteY11" fmla="*/ 36177 h 36176"/>
                  <a:gd name="connsiteX12" fmla="*/ 2010 w 11680"/>
                  <a:gd name="connsiteY12" fmla="*/ 34292 h 3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80" h="36176">
                    <a:moveTo>
                      <a:pt x="2010" y="34292"/>
                    </a:moveTo>
                    <a:lnTo>
                      <a:pt x="2010" y="10430"/>
                    </a:lnTo>
                    <a:cubicBezTo>
                      <a:pt x="2010" y="8671"/>
                      <a:pt x="3140" y="6536"/>
                      <a:pt x="4647" y="5406"/>
                    </a:cubicBezTo>
                    <a:lnTo>
                      <a:pt x="10047" y="1512"/>
                    </a:lnTo>
                    <a:cubicBezTo>
                      <a:pt x="10676" y="1010"/>
                      <a:pt x="11304" y="1010"/>
                      <a:pt x="11680" y="1261"/>
                    </a:cubicBezTo>
                    <a:cubicBezTo>
                      <a:pt x="11680" y="1261"/>
                      <a:pt x="10047" y="256"/>
                      <a:pt x="9671" y="131"/>
                    </a:cubicBezTo>
                    <a:cubicBezTo>
                      <a:pt x="9294" y="-121"/>
                      <a:pt x="8666" y="5"/>
                      <a:pt x="8038" y="382"/>
                    </a:cubicBezTo>
                    <a:lnTo>
                      <a:pt x="2638" y="4275"/>
                    </a:lnTo>
                    <a:cubicBezTo>
                      <a:pt x="1131" y="5406"/>
                      <a:pt x="0" y="7541"/>
                      <a:pt x="0" y="9299"/>
                    </a:cubicBezTo>
                    <a:lnTo>
                      <a:pt x="0" y="33162"/>
                    </a:lnTo>
                    <a:cubicBezTo>
                      <a:pt x="0" y="34167"/>
                      <a:pt x="377" y="34795"/>
                      <a:pt x="879" y="35046"/>
                    </a:cubicBezTo>
                    <a:cubicBezTo>
                      <a:pt x="1381" y="35297"/>
                      <a:pt x="2888" y="36177"/>
                      <a:pt x="2888" y="36177"/>
                    </a:cubicBezTo>
                    <a:cubicBezTo>
                      <a:pt x="2386" y="36051"/>
                      <a:pt x="2010" y="35297"/>
                      <a:pt x="2010" y="34292"/>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55" name="Freeform: Shape 754">
              <a:extLst>
                <a:ext uri="{FF2B5EF4-FFF2-40B4-BE49-F238E27FC236}">
                  <a16:creationId xmlns:a16="http://schemas.microsoft.com/office/drawing/2014/main" id="{0A0E7F71-7677-407F-A250-6A680CCF87E8}"/>
                </a:ext>
              </a:extLst>
            </p:cNvPr>
            <p:cNvSpPr/>
            <p:nvPr/>
          </p:nvSpPr>
          <p:spPr>
            <a:xfrm>
              <a:off x="10730949" y="3477639"/>
              <a:ext cx="11987" cy="14499"/>
            </a:xfrm>
            <a:custGeom>
              <a:avLst/>
              <a:gdLst>
                <a:gd name="connsiteX0" fmla="*/ 1130 w 11987"/>
                <a:gd name="connsiteY0" fmla="*/ 14499 h 14499"/>
                <a:gd name="connsiteX1" fmla="*/ 0 w 11987"/>
                <a:gd name="connsiteY1" fmla="*/ 13369 h 14499"/>
                <a:gd name="connsiteX2" fmla="*/ 10173 w 11987"/>
                <a:gd name="connsiteY2" fmla="*/ 181 h 14499"/>
                <a:gd name="connsiteX3" fmla="*/ 11806 w 11987"/>
                <a:gd name="connsiteY3" fmla="*/ 558 h 14499"/>
                <a:gd name="connsiteX4" fmla="*/ 11429 w 11987"/>
                <a:gd name="connsiteY4" fmla="*/ 2191 h 14499"/>
                <a:gd name="connsiteX5" fmla="*/ 2386 w 11987"/>
                <a:gd name="connsiteY5" fmla="*/ 13369 h 14499"/>
                <a:gd name="connsiteX6" fmla="*/ 1130 w 11987"/>
                <a:gd name="connsiteY6" fmla="*/ 14499 h 1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87" h="14499">
                  <a:moveTo>
                    <a:pt x="1130" y="14499"/>
                  </a:moveTo>
                  <a:cubicBezTo>
                    <a:pt x="502" y="14499"/>
                    <a:pt x="0" y="13997"/>
                    <a:pt x="0" y="13369"/>
                  </a:cubicBezTo>
                  <a:cubicBezTo>
                    <a:pt x="0" y="8471"/>
                    <a:pt x="3391" y="4075"/>
                    <a:pt x="10173" y="181"/>
                  </a:cubicBezTo>
                  <a:cubicBezTo>
                    <a:pt x="10675" y="-195"/>
                    <a:pt x="11429" y="56"/>
                    <a:pt x="11806" y="558"/>
                  </a:cubicBezTo>
                  <a:cubicBezTo>
                    <a:pt x="12182" y="1061"/>
                    <a:pt x="11932" y="1814"/>
                    <a:pt x="11429" y="2191"/>
                  </a:cubicBezTo>
                  <a:cubicBezTo>
                    <a:pt x="5526" y="5582"/>
                    <a:pt x="2386" y="9475"/>
                    <a:pt x="2386" y="13369"/>
                  </a:cubicBezTo>
                  <a:cubicBezTo>
                    <a:pt x="2261" y="13997"/>
                    <a:pt x="1758" y="14499"/>
                    <a:pt x="1130" y="1449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6" name="Freeform: Shape 755">
              <a:extLst>
                <a:ext uri="{FF2B5EF4-FFF2-40B4-BE49-F238E27FC236}">
                  <a16:creationId xmlns:a16="http://schemas.microsoft.com/office/drawing/2014/main" id="{A7EBC335-A17F-4E6A-A846-0A160CE2469D}"/>
                </a:ext>
              </a:extLst>
            </p:cNvPr>
            <p:cNvSpPr/>
            <p:nvPr/>
          </p:nvSpPr>
          <p:spPr>
            <a:xfrm>
              <a:off x="10746899" y="3411758"/>
              <a:ext cx="96833" cy="58495"/>
            </a:xfrm>
            <a:custGeom>
              <a:avLst/>
              <a:gdLst>
                <a:gd name="connsiteX0" fmla="*/ 96206 w 96833"/>
                <a:gd name="connsiteY0" fmla="*/ 0 h 58495"/>
                <a:gd name="connsiteX1" fmla="*/ 93066 w 96833"/>
                <a:gd name="connsiteY1" fmla="*/ 3893 h 58495"/>
                <a:gd name="connsiteX2" fmla="*/ 93066 w 96833"/>
                <a:gd name="connsiteY2" fmla="*/ 3893 h 58495"/>
                <a:gd name="connsiteX3" fmla="*/ 13439 w 96833"/>
                <a:gd name="connsiteY3" fmla="*/ 49861 h 58495"/>
                <a:gd name="connsiteX4" fmla="*/ 5024 w 96833"/>
                <a:gd name="connsiteY4" fmla="*/ 51368 h 58495"/>
                <a:gd name="connsiteX5" fmla="*/ 3266 w 96833"/>
                <a:gd name="connsiteY5" fmla="*/ 55262 h 58495"/>
                <a:gd name="connsiteX6" fmla="*/ 0 w 96833"/>
                <a:gd name="connsiteY6" fmla="*/ 56894 h 58495"/>
                <a:gd name="connsiteX7" fmla="*/ 13439 w 96833"/>
                <a:gd name="connsiteY7" fmla="*/ 56894 h 58495"/>
                <a:gd name="connsiteX8" fmla="*/ 93066 w 96833"/>
                <a:gd name="connsiteY8" fmla="*/ 10927 h 58495"/>
                <a:gd name="connsiteX9" fmla="*/ 94322 w 96833"/>
                <a:gd name="connsiteY9" fmla="*/ 9922 h 58495"/>
                <a:gd name="connsiteX10" fmla="*/ 96206 w 96833"/>
                <a:gd name="connsiteY10" fmla="*/ 0 h 58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33" h="58495">
                  <a:moveTo>
                    <a:pt x="96206" y="0"/>
                  </a:moveTo>
                  <a:cubicBezTo>
                    <a:pt x="96206" y="251"/>
                    <a:pt x="95703" y="2261"/>
                    <a:pt x="93066" y="3893"/>
                  </a:cubicBezTo>
                  <a:lnTo>
                    <a:pt x="93066" y="3893"/>
                  </a:lnTo>
                  <a:cubicBezTo>
                    <a:pt x="91308" y="4898"/>
                    <a:pt x="19970" y="46219"/>
                    <a:pt x="13439" y="49861"/>
                  </a:cubicBezTo>
                  <a:cubicBezTo>
                    <a:pt x="8666" y="52499"/>
                    <a:pt x="5024" y="51368"/>
                    <a:pt x="5024" y="51368"/>
                  </a:cubicBezTo>
                  <a:cubicBezTo>
                    <a:pt x="5024" y="51871"/>
                    <a:pt x="4773" y="53755"/>
                    <a:pt x="3266" y="55262"/>
                  </a:cubicBezTo>
                  <a:cubicBezTo>
                    <a:pt x="2010" y="56518"/>
                    <a:pt x="629" y="56769"/>
                    <a:pt x="0" y="56894"/>
                  </a:cubicBezTo>
                  <a:cubicBezTo>
                    <a:pt x="3643" y="59030"/>
                    <a:pt x="9671" y="59030"/>
                    <a:pt x="13439" y="56894"/>
                  </a:cubicBezTo>
                  <a:lnTo>
                    <a:pt x="93066" y="10927"/>
                  </a:lnTo>
                  <a:cubicBezTo>
                    <a:pt x="93443" y="10675"/>
                    <a:pt x="93945" y="10299"/>
                    <a:pt x="94322" y="9922"/>
                  </a:cubicBezTo>
                  <a:cubicBezTo>
                    <a:pt x="96834" y="7661"/>
                    <a:pt x="97462" y="4270"/>
                    <a:pt x="96206" y="0"/>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7" name="Freeform: Shape 756">
              <a:extLst>
                <a:ext uri="{FF2B5EF4-FFF2-40B4-BE49-F238E27FC236}">
                  <a16:creationId xmlns:a16="http://schemas.microsoft.com/office/drawing/2014/main" id="{3EFDEE20-A47D-4878-AD16-ADBA7E0A91C7}"/>
                </a:ext>
              </a:extLst>
            </p:cNvPr>
            <p:cNvSpPr/>
            <p:nvPr/>
          </p:nvSpPr>
          <p:spPr>
            <a:xfrm>
              <a:off x="10660867" y="3353733"/>
              <a:ext cx="182129" cy="109633"/>
            </a:xfrm>
            <a:custGeom>
              <a:avLst/>
              <a:gdLst>
                <a:gd name="connsiteX0" fmla="*/ 175958 w 182129"/>
                <a:gd name="connsiteY0" fmla="*/ 48856 h 109633"/>
                <a:gd name="connsiteX1" fmla="*/ 92689 w 182129"/>
                <a:gd name="connsiteY1" fmla="*/ 754 h 109633"/>
                <a:gd name="connsiteX2" fmla="*/ 87414 w 182129"/>
                <a:gd name="connsiteY2" fmla="*/ 754 h 109633"/>
                <a:gd name="connsiteX3" fmla="*/ 0 w 182129"/>
                <a:gd name="connsiteY3" fmla="*/ 51243 h 109633"/>
                <a:gd name="connsiteX4" fmla="*/ 85907 w 182129"/>
                <a:gd name="connsiteY4" fmla="*/ 100852 h 109633"/>
                <a:gd name="connsiteX5" fmla="*/ 90931 w 182129"/>
                <a:gd name="connsiteY5" fmla="*/ 109393 h 109633"/>
                <a:gd name="connsiteX6" fmla="*/ 99345 w 182129"/>
                <a:gd name="connsiteY6" fmla="*/ 107886 h 109633"/>
                <a:gd name="connsiteX7" fmla="*/ 178973 w 182129"/>
                <a:gd name="connsiteY7" fmla="*/ 61918 h 109633"/>
                <a:gd name="connsiteX8" fmla="*/ 182112 w 182129"/>
                <a:gd name="connsiteY8" fmla="*/ 58025 h 109633"/>
                <a:gd name="connsiteX9" fmla="*/ 175958 w 182129"/>
                <a:gd name="connsiteY9" fmla="*/ 48856 h 109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129" h="109633">
                  <a:moveTo>
                    <a:pt x="175958" y="48856"/>
                  </a:moveTo>
                  <a:lnTo>
                    <a:pt x="92689" y="754"/>
                  </a:lnTo>
                  <a:cubicBezTo>
                    <a:pt x="91056" y="-251"/>
                    <a:pt x="89047" y="-251"/>
                    <a:pt x="87414" y="754"/>
                  </a:cubicBezTo>
                  <a:lnTo>
                    <a:pt x="0" y="51243"/>
                  </a:lnTo>
                  <a:lnTo>
                    <a:pt x="85907" y="100852"/>
                  </a:lnTo>
                  <a:cubicBezTo>
                    <a:pt x="89549" y="102988"/>
                    <a:pt x="90931" y="106630"/>
                    <a:pt x="90931" y="109393"/>
                  </a:cubicBezTo>
                  <a:cubicBezTo>
                    <a:pt x="90931" y="109393"/>
                    <a:pt x="94573" y="110523"/>
                    <a:pt x="99345" y="107886"/>
                  </a:cubicBezTo>
                  <a:cubicBezTo>
                    <a:pt x="105876" y="104118"/>
                    <a:pt x="178973" y="61918"/>
                    <a:pt x="178973" y="61918"/>
                  </a:cubicBezTo>
                  <a:cubicBezTo>
                    <a:pt x="181735" y="60285"/>
                    <a:pt x="182238" y="58276"/>
                    <a:pt x="182112" y="58025"/>
                  </a:cubicBezTo>
                  <a:cubicBezTo>
                    <a:pt x="181359" y="55638"/>
                    <a:pt x="179726" y="50992"/>
                    <a:pt x="175958" y="48856"/>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58" name="Graphic 4">
              <a:extLst>
                <a:ext uri="{FF2B5EF4-FFF2-40B4-BE49-F238E27FC236}">
                  <a16:creationId xmlns:a16="http://schemas.microsoft.com/office/drawing/2014/main" id="{84FB7ED1-A2DF-40A1-A747-5F7CF3F14040}"/>
                </a:ext>
              </a:extLst>
            </p:cNvPr>
            <p:cNvGrpSpPr/>
            <p:nvPr/>
          </p:nvGrpSpPr>
          <p:grpSpPr>
            <a:xfrm>
              <a:off x="10778047" y="3427457"/>
              <a:ext cx="6028" cy="6279"/>
              <a:chOff x="10778047" y="3427457"/>
              <a:chExt cx="6028" cy="6279"/>
            </a:xfrm>
            <a:solidFill>
              <a:schemeClr val="accent1"/>
            </a:solidFill>
          </p:grpSpPr>
          <p:grpSp>
            <p:nvGrpSpPr>
              <p:cNvPr id="759" name="Graphic 4">
                <a:extLst>
                  <a:ext uri="{FF2B5EF4-FFF2-40B4-BE49-F238E27FC236}">
                    <a16:creationId xmlns:a16="http://schemas.microsoft.com/office/drawing/2014/main" id="{84FB7ED1-A2DF-40A1-A747-5F7CF3F14040}"/>
                  </a:ext>
                </a:extLst>
              </p:cNvPr>
              <p:cNvGrpSpPr/>
              <p:nvPr/>
            </p:nvGrpSpPr>
            <p:grpSpPr>
              <a:xfrm>
                <a:off x="10778047" y="3429466"/>
                <a:ext cx="6028" cy="4270"/>
                <a:chOff x="10778047" y="3429466"/>
                <a:chExt cx="6028" cy="4270"/>
              </a:xfrm>
              <a:solidFill>
                <a:schemeClr val="accent1"/>
              </a:solidFill>
            </p:grpSpPr>
            <p:sp>
              <p:nvSpPr>
                <p:cNvPr id="760" name="Freeform: Shape 759">
                  <a:extLst>
                    <a:ext uri="{FF2B5EF4-FFF2-40B4-BE49-F238E27FC236}">
                      <a16:creationId xmlns:a16="http://schemas.microsoft.com/office/drawing/2014/main" id="{CF820E29-709E-4779-B0B3-8D25C1589B39}"/>
                    </a:ext>
                  </a:extLst>
                </p:cNvPr>
                <p:cNvSpPr/>
                <p:nvPr/>
              </p:nvSpPr>
              <p:spPr>
                <a:xfrm>
                  <a:off x="10778047" y="3429466"/>
                  <a:ext cx="6028" cy="3516"/>
                </a:xfrm>
                <a:custGeom>
                  <a:avLst/>
                  <a:gdLst>
                    <a:gd name="connsiteX0" fmla="*/ 3014 w 6028"/>
                    <a:gd name="connsiteY0" fmla="*/ 3517 h 3516"/>
                    <a:gd name="connsiteX1" fmla="*/ 6028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8" y="2763"/>
                        <a:pt x="6028" y="1758"/>
                      </a:cubicBezTo>
                      <a:cubicBezTo>
                        <a:pt x="6028" y="754"/>
                        <a:pt x="4647" y="0"/>
                        <a:pt x="3014" y="0"/>
                      </a:cubicBezTo>
                      <a:cubicBezTo>
                        <a:pt x="1381" y="0"/>
                        <a:pt x="0" y="754"/>
                        <a:pt x="0" y="1758"/>
                      </a:cubicBezTo>
                      <a:cubicBezTo>
                        <a:pt x="0" y="2638"/>
                        <a:pt x="1381"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1" name="Freeform: Shape 760">
                  <a:extLst>
                    <a:ext uri="{FF2B5EF4-FFF2-40B4-BE49-F238E27FC236}">
                      <a16:creationId xmlns:a16="http://schemas.microsoft.com/office/drawing/2014/main" id="{24111319-9112-463D-849F-9897BDD026CF}"/>
                    </a:ext>
                  </a:extLst>
                </p:cNvPr>
                <p:cNvSpPr/>
                <p:nvPr/>
              </p:nvSpPr>
              <p:spPr>
                <a:xfrm>
                  <a:off x="10778047" y="3431225"/>
                  <a:ext cx="6028" cy="2512"/>
                </a:xfrm>
                <a:custGeom>
                  <a:avLst/>
                  <a:gdLst>
                    <a:gd name="connsiteX0" fmla="*/ 3014 w 6028"/>
                    <a:gd name="connsiteY0" fmla="*/ 1759 h 2512"/>
                    <a:gd name="connsiteX1" fmla="*/ 6028 w 6028"/>
                    <a:gd name="connsiteY1" fmla="*/ 0 h 2512"/>
                    <a:gd name="connsiteX2" fmla="*/ 6028 w 6028"/>
                    <a:gd name="connsiteY2" fmla="*/ 754 h 2512"/>
                    <a:gd name="connsiteX3" fmla="*/ 3014 w 6028"/>
                    <a:gd name="connsiteY3" fmla="*/ 2512 h 2512"/>
                    <a:gd name="connsiteX4" fmla="*/ 0 w 6028"/>
                    <a:gd name="connsiteY4" fmla="*/ 754 h 2512"/>
                    <a:gd name="connsiteX5" fmla="*/ 0 w 6028"/>
                    <a:gd name="connsiteY5" fmla="*/ 0 h 2512"/>
                    <a:gd name="connsiteX6" fmla="*/ 3014 w 6028"/>
                    <a:gd name="connsiteY6" fmla="*/ 1759 h 2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2">
                      <a:moveTo>
                        <a:pt x="3014" y="1759"/>
                      </a:moveTo>
                      <a:cubicBezTo>
                        <a:pt x="4647" y="1759"/>
                        <a:pt x="6028" y="1005"/>
                        <a:pt x="6028" y="0"/>
                      </a:cubicBezTo>
                      <a:cubicBezTo>
                        <a:pt x="6028" y="0"/>
                        <a:pt x="6028" y="502"/>
                        <a:pt x="6028" y="754"/>
                      </a:cubicBezTo>
                      <a:cubicBezTo>
                        <a:pt x="6028" y="1759"/>
                        <a:pt x="4647" y="2512"/>
                        <a:pt x="3014" y="2512"/>
                      </a:cubicBezTo>
                      <a:cubicBezTo>
                        <a:pt x="1381" y="2512"/>
                        <a:pt x="0" y="1759"/>
                        <a:pt x="0" y="754"/>
                      </a:cubicBezTo>
                      <a:cubicBezTo>
                        <a:pt x="0" y="502"/>
                        <a:pt x="0" y="0"/>
                        <a:pt x="0" y="0"/>
                      </a:cubicBezTo>
                      <a:cubicBezTo>
                        <a:pt x="0" y="879"/>
                        <a:pt x="1381" y="1759"/>
                        <a:pt x="3014" y="1759"/>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62" name="Graphic 4">
                <a:extLst>
                  <a:ext uri="{FF2B5EF4-FFF2-40B4-BE49-F238E27FC236}">
                    <a16:creationId xmlns:a16="http://schemas.microsoft.com/office/drawing/2014/main" id="{84FB7ED1-A2DF-40A1-A747-5F7CF3F14040}"/>
                  </a:ext>
                </a:extLst>
              </p:cNvPr>
              <p:cNvGrpSpPr/>
              <p:nvPr/>
            </p:nvGrpSpPr>
            <p:grpSpPr>
              <a:xfrm>
                <a:off x="10778926" y="3427457"/>
                <a:ext cx="4269" cy="5023"/>
                <a:chOff x="10778926" y="3427457"/>
                <a:chExt cx="4269" cy="5023"/>
              </a:xfrm>
              <a:solidFill>
                <a:schemeClr val="accent1"/>
              </a:solidFill>
            </p:grpSpPr>
            <p:sp>
              <p:nvSpPr>
                <p:cNvPr id="763" name="Freeform: Shape 762">
                  <a:extLst>
                    <a:ext uri="{FF2B5EF4-FFF2-40B4-BE49-F238E27FC236}">
                      <a16:creationId xmlns:a16="http://schemas.microsoft.com/office/drawing/2014/main" id="{2351CA61-7B14-4C95-A4AB-B4E331A71BA9}"/>
                    </a:ext>
                  </a:extLst>
                </p:cNvPr>
                <p:cNvSpPr/>
                <p:nvPr/>
              </p:nvSpPr>
              <p:spPr>
                <a:xfrm>
                  <a:off x="10779429" y="3427457"/>
                  <a:ext cx="3265" cy="2009"/>
                </a:xfrm>
                <a:custGeom>
                  <a:avLst/>
                  <a:gdLst>
                    <a:gd name="connsiteX0" fmla="*/ 3266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6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6" y="1005"/>
                      </a:moveTo>
                      <a:cubicBezTo>
                        <a:pt x="3266" y="1560"/>
                        <a:pt x="2534" y="2010"/>
                        <a:pt x="1633" y="2010"/>
                      </a:cubicBezTo>
                      <a:cubicBezTo>
                        <a:pt x="731" y="2010"/>
                        <a:pt x="0" y="1560"/>
                        <a:pt x="0" y="1005"/>
                      </a:cubicBezTo>
                      <a:cubicBezTo>
                        <a:pt x="0" y="450"/>
                        <a:pt x="731" y="0"/>
                        <a:pt x="1633" y="0"/>
                      </a:cubicBezTo>
                      <a:cubicBezTo>
                        <a:pt x="2534" y="0"/>
                        <a:pt x="3266" y="450"/>
                        <a:pt x="3266"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4" name="Freeform: Shape 763">
                  <a:extLst>
                    <a:ext uri="{FF2B5EF4-FFF2-40B4-BE49-F238E27FC236}">
                      <a16:creationId xmlns:a16="http://schemas.microsoft.com/office/drawing/2014/main" id="{2357AB84-CE61-48C5-9131-80CAB0C085EA}"/>
                    </a:ext>
                  </a:extLst>
                </p:cNvPr>
                <p:cNvSpPr/>
                <p:nvPr/>
              </p:nvSpPr>
              <p:spPr>
                <a:xfrm>
                  <a:off x="10778926" y="3428462"/>
                  <a:ext cx="4269" cy="4018"/>
                </a:xfrm>
                <a:custGeom>
                  <a:avLst/>
                  <a:gdLst>
                    <a:gd name="connsiteX0" fmla="*/ 2135 w 4269"/>
                    <a:gd name="connsiteY0" fmla="*/ 1005 h 4018"/>
                    <a:gd name="connsiteX1" fmla="*/ 3768 w 4269"/>
                    <a:gd name="connsiteY1" fmla="*/ 0 h 4018"/>
                    <a:gd name="connsiteX2" fmla="*/ 4270 w 4269"/>
                    <a:gd name="connsiteY2" fmla="*/ 2763 h 4018"/>
                    <a:gd name="connsiteX3" fmla="*/ 2135 w 4269"/>
                    <a:gd name="connsiteY3" fmla="*/ 4019 h 4018"/>
                    <a:gd name="connsiteX4" fmla="*/ 0 w 4269"/>
                    <a:gd name="connsiteY4" fmla="*/ 2763 h 4018"/>
                    <a:gd name="connsiteX5" fmla="*/ 502 w 4269"/>
                    <a:gd name="connsiteY5" fmla="*/ 0 h 4018"/>
                    <a:gd name="connsiteX6" fmla="*/ 2135 w 4269"/>
                    <a:gd name="connsiteY6" fmla="*/ 1005 h 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9" h="4018">
                      <a:moveTo>
                        <a:pt x="2135" y="1005"/>
                      </a:moveTo>
                      <a:cubicBezTo>
                        <a:pt x="3014" y="1005"/>
                        <a:pt x="3768" y="628"/>
                        <a:pt x="3768" y="0"/>
                      </a:cubicBezTo>
                      <a:cubicBezTo>
                        <a:pt x="3768" y="0"/>
                        <a:pt x="4270" y="2512"/>
                        <a:pt x="4270" y="2763"/>
                      </a:cubicBezTo>
                      <a:cubicBezTo>
                        <a:pt x="4270" y="3391"/>
                        <a:pt x="3265" y="4019"/>
                        <a:pt x="2135" y="4019"/>
                      </a:cubicBezTo>
                      <a:cubicBezTo>
                        <a:pt x="878" y="4019"/>
                        <a:pt x="0" y="3517"/>
                        <a:pt x="0" y="2763"/>
                      </a:cubicBezTo>
                      <a:cubicBezTo>
                        <a:pt x="0" y="2512"/>
                        <a:pt x="502" y="0"/>
                        <a:pt x="502" y="0"/>
                      </a:cubicBezTo>
                      <a:cubicBezTo>
                        <a:pt x="502" y="502"/>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765" name="Freeform: Shape 764">
              <a:extLst>
                <a:ext uri="{FF2B5EF4-FFF2-40B4-BE49-F238E27FC236}">
                  <a16:creationId xmlns:a16="http://schemas.microsoft.com/office/drawing/2014/main" id="{D371A091-0251-4DBF-A6C7-7B420B4BDCE0}"/>
                </a:ext>
              </a:extLst>
            </p:cNvPr>
            <p:cNvSpPr/>
            <p:nvPr/>
          </p:nvSpPr>
          <p:spPr>
            <a:xfrm>
              <a:off x="10646950" y="3339114"/>
              <a:ext cx="106480" cy="170781"/>
            </a:xfrm>
            <a:custGeom>
              <a:avLst/>
              <a:gdLst>
                <a:gd name="connsiteX0" fmla="*/ 94675 w 106480"/>
                <a:gd name="connsiteY0" fmla="*/ 175 h 170781"/>
                <a:gd name="connsiteX1" fmla="*/ 92666 w 106480"/>
                <a:gd name="connsiteY1" fmla="*/ 301 h 170781"/>
                <a:gd name="connsiteX2" fmla="*/ 49587 w 106480"/>
                <a:gd name="connsiteY2" fmla="*/ 23285 h 170781"/>
                <a:gd name="connsiteX3" fmla="*/ 3493 w 106480"/>
                <a:gd name="connsiteY3" fmla="*/ 51669 h 170781"/>
                <a:gd name="connsiteX4" fmla="*/ 353 w 106480"/>
                <a:gd name="connsiteY4" fmla="*/ 57195 h 170781"/>
                <a:gd name="connsiteX5" fmla="*/ 227 w 106480"/>
                <a:gd name="connsiteY5" fmla="*/ 155913 h 170781"/>
                <a:gd name="connsiteX6" fmla="*/ 856 w 106480"/>
                <a:gd name="connsiteY6" fmla="*/ 166839 h 170781"/>
                <a:gd name="connsiteX7" fmla="*/ 5628 w 106480"/>
                <a:gd name="connsiteY7" fmla="*/ 170733 h 170781"/>
                <a:gd name="connsiteX8" fmla="*/ 13792 w 106480"/>
                <a:gd name="connsiteY8" fmla="*/ 169603 h 170781"/>
                <a:gd name="connsiteX9" fmla="*/ 13792 w 106480"/>
                <a:gd name="connsiteY9" fmla="*/ 77039 h 170781"/>
                <a:gd name="connsiteX10" fmla="*/ 23463 w 106480"/>
                <a:gd name="connsiteY10" fmla="*/ 60335 h 170781"/>
                <a:gd name="connsiteX11" fmla="*/ 101080 w 106480"/>
                <a:gd name="connsiteY11" fmla="*/ 15498 h 170781"/>
                <a:gd name="connsiteX12" fmla="*/ 106481 w 106480"/>
                <a:gd name="connsiteY12" fmla="*/ 15498 h 170781"/>
                <a:gd name="connsiteX13" fmla="*/ 94675 w 106480"/>
                <a:gd name="connsiteY13" fmla="*/ 175 h 170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480" h="170781">
                  <a:moveTo>
                    <a:pt x="94675" y="175"/>
                  </a:moveTo>
                  <a:cubicBezTo>
                    <a:pt x="94173" y="-76"/>
                    <a:pt x="93419" y="-76"/>
                    <a:pt x="92666" y="301"/>
                  </a:cubicBezTo>
                  <a:cubicBezTo>
                    <a:pt x="78222" y="7460"/>
                    <a:pt x="65914" y="13991"/>
                    <a:pt x="49587" y="23285"/>
                  </a:cubicBezTo>
                  <a:cubicBezTo>
                    <a:pt x="35143" y="31574"/>
                    <a:pt x="19820" y="40993"/>
                    <a:pt x="3493" y="51669"/>
                  </a:cubicBezTo>
                  <a:cubicBezTo>
                    <a:pt x="1735" y="52799"/>
                    <a:pt x="479" y="55186"/>
                    <a:pt x="353" y="57195"/>
                  </a:cubicBezTo>
                  <a:cubicBezTo>
                    <a:pt x="-24" y="74025"/>
                    <a:pt x="-149" y="139962"/>
                    <a:pt x="227" y="155913"/>
                  </a:cubicBezTo>
                  <a:cubicBezTo>
                    <a:pt x="227" y="158173"/>
                    <a:pt x="604" y="163197"/>
                    <a:pt x="856" y="166839"/>
                  </a:cubicBezTo>
                  <a:cubicBezTo>
                    <a:pt x="981" y="169226"/>
                    <a:pt x="3242" y="171110"/>
                    <a:pt x="5628" y="170733"/>
                  </a:cubicBezTo>
                  <a:lnTo>
                    <a:pt x="13792" y="169603"/>
                  </a:lnTo>
                  <a:lnTo>
                    <a:pt x="13792" y="77039"/>
                  </a:lnTo>
                  <a:cubicBezTo>
                    <a:pt x="13792" y="70131"/>
                    <a:pt x="17434" y="63726"/>
                    <a:pt x="23463" y="60335"/>
                  </a:cubicBezTo>
                  <a:lnTo>
                    <a:pt x="101080" y="15498"/>
                  </a:lnTo>
                  <a:cubicBezTo>
                    <a:pt x="102713" y="14493"/>
                    <a:pt x="104722" y="14493"/>
                    <a:pt x="106481" y="15498"/>
                  </a:cubicBezTo>
                  <a:cubicBezTo>
                    <a:pt x="104346" y="10474"/>
                    <a:pt x="98820" y="2561"/>
                    <a:pt x="94675" y="175"/>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66" name="Graphic 4">
              <a:extLst>
                <a:ext uri="{FF2B5EF4-FFF2-40B4-BE49-F238E27FC236}">
                  <a16:creationId xmlns:a16="http://schemas.microsoft.com/office/drawing/2014/main" id="{84FB7ED1-A2DF-40A1-A747-5F7CF3F14040}"/>
                </a:ext>
              </a:extLst>
            </p:cNvPr>
            <p:cNvGrpSpPr/>
            <p:nvPr/>
          </p:nvGrpSpPr>
          <p:grpSpPr>
            <a:xfrm>
              <a:off x="10696661" y="3370877"/>
              <a:ext cx="72719" cy="42702"/>
              <a:chOff x="10696661" y="3370877"/>
              <a:chExt cx="72719" cy="42702"/>
            </a:xfrm>
            <a:solidFill>
              <a:srgbClr val="244690"/>
            </a:solidFill>
          </p:grpSpPr>
          <p:grpSp>
            <p:nvGrpSpPr>
              <p:cNvPr id="767" name="Graphic 4">
                <a:extLst>
                  <a:ext uri="{FF2B5EF4-FFF2-40B4-BE49-F238E27FC236}">
                    <a16:creationId xmlns:a16="http://schemas.microsoft.com/office/drawing/2014/main" id="{84FB7ED1-A2DF-40A1-A747-5F7CF3F14040}"/>
                  </a:ext>
                </a:extLst>
              </p:cNvPr>
              <p:cNvGrpSpPr/>
              <p:nvPr/>
            </p:nvGrpSpPr>
            <p:grpSpPr>
              <a:xfrm>
                <a:off x="10696661" y="3389088"/>
                <a:ext cx="41321" cy="24490"/>
                <a:chOff x="10696661" y="3389088"/>
                <a:chExt cx="41321" cy="24490"/>
              </a:xfrm>
              <a:solidFill>
                <a:srgbClr val="244690"/>
              </a:solidFill>
            </p:grpSpPr>
            <p:sp>
              <p:nvSpPr>
                <p:cNvPr id="768" name="Freeform: Shape 767">
                  <a:extLst>
                    <a:ext uri="{FF2B5EF4-FFF2-40B4-BE49-F238E27FC236}">
                      <a16:creationId xmlns:a16="http://schemas.microsoft.com/office/drawing/2014/main" id="{7179E4D3-BC7C-4E7C-B12A-C8A47ED42D80}"/>
                    </a:ext>
                  </a:extLst>
                </p:cNvPr>
                <p:cNvSpPr/>
                <p:nvPr/>
              </p:nvSpPr>
              <p:spPr>
                <a:xfrm>
                  <a:off x="10696661" y="3389088"/>
                  <a:ext cx="41321" cy="23988"/>
                </a:xfrm>
                <a:custGeom>
                  <a:avLst/>
                  <a:gdLst>
                    <a:gd name="connsiteX0" fmla="*/ 40944 w 41321"/>
                    <a:gd name="connsiteY0" fmla="*/ 21414 h 23988"/>
                    <a:gd name="connsiteX1" fmla="*/ 4271 w 41321"/>
                    <a:gd name="connsiteY1" fmla="*/ 188 h 23988"/>
                    <a:gd name="connsiteX2" fmla="*/ 2638 w 41321"/>
                    <a:gd name="connsiteY2" fmla="*/ 188 h 23988"/>
                    <a:gd name="connsiteX3" fmla="*/ 377 w 41321"/>
                    <a:gd name="connsiteY3" fmla="*/ 1570 h 23988"/>
                    <a:gd name="connsiteX4" fmla="*/ 0 w 41321"/>
                    <a:gd name="connsiteY4" fmla="*/ 2072 h 23988"/>
                    <a:gd name="connsiteX5" fmla="*/ 377 w 41321"/>
                    <a:gd name="connsiteY5" fmla="*/ 2575 h 23988"/>
                    <a:gd name="connsiteX6" fmla="*/ 37051 w 41321"/>
                    <a:gd name="connsiteY6" fmla="*/ 23800 h 23988"/>
                    <a:gd name="connsiteX7" fmla="*/ 38683 w 41321"/>
                    <a:gd name="connsiteY7" fmla="*/ 23800 h 23988"/>
                    <a:gd name="connsiteX8" fmla="*/ 40944 w 41321"/>
                    <a:gd name="connsiteY8" fmla="*/ 22419 h 23988"/>
                    <a:gd name="connsiteX9" fmla="*/ 41321 w 41321"/>
                    <a:gd name="connsiteY9" fmla="*/ 21916 h 23988"/>
                    <a:gd name="connsiteX10" fmla="*/ 40944 w 41321"/>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1" h="23988">
                      <a:moveTo>
                        <a:pt x="40944" y="21414"/>
                      </a:moveTo>
                      <a:lnTo>
                        <a:pt x="4271" y="188"/>
                      </a:lnTo>
                      <a:cubicBezTo>
                        <a:pt x="3768" y="-63"/>
                        <a:pt x="3140" y="-63"/>
                        <a:pt x="2638" y="188"/>
                      </a:cubicBezTo>
                      <a:lnTo>
                        <a:pt x="377" y="1570"/>
                      </a:lnTo>
                      <a:cubicBezTo>
                        <a:pt x="126" y="1696"/>
                        <a:pt x="0" y="1821"/>
                        <a:pt x="0" y="2072"/>
                      </a:cubicBezTo>
                      <a:cubicBezTo>
                        <a:pt x="0" y="2323"/>
                        <a:pt x="126" y="2449"/>
                        <a:pt x="377" y="2575"/>
                      </a:cubicBezTo>
                      <a:lnTo>
                        <a:pt x="37051" y="23800"/>
                      </a:lnTo>
                      <a:cubicBezTo>
                        <a:pt x="37553" y="24051"/>
                        <a:pt x="38181" y="24051"/>
                        <a:pt x="38683" y="23800"/>
                      </a:cubicBezTo>
                      <a:lnTo>
                        <a:pt x="40944" y="22419"/>
                      </a:lnTo>
                      <a:cubicBezTo>
                        <a:pt x="41195" y="22293"/>
                        <a:pt x="41321" y="22167"/>
                        <a:pt x="41321" y="21916"/>
                      </a:cubicBezTo>
                      <a:cubicBezTo>
                        <a:pt x="41321" y="21665"/>
                        <a:pt x="41195" y="21539"/>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9" name="Freeform: Shape 768">
                  <a:extLst>
                    <a:ext uri="{FF2B5EF4-FFF2-40B4-BE49-F238E27FC236}">
                      <a16:creationId xmlns:a16="http://schemas.microsoft.com/office/drawing/2014/main" id="{87963A34-E1F5-4CE0-938E-7679E1B8344D}"/>
                    </a:ext>
                  </a:extLst>
                </p:cNvPr>
                <p:cNvSpPr/>
                <p:nvPr/>
              </p:nvSpPr>
              <p:spPr>
                <a:xfrm>
                  <a:off x="10696661" y="3391035"/>
                  <a:ext cx="41321" cy="22544"/>
                </a:xfrm>
                <a:custGeom>
                  <a:avLst/>
                  <a:gdLst>
                    <a:gd name="connsiteX0" fmla="*/ 40944 w 41321"/>
                    <a:gd name="connsiteY0" fmla="*/ 20346 h 22544"/>
                    <a:gd name="connsiteX1" fmla="*/ 38683 w 41321"/>
                    <a:gd name="connsiteY1" fmla="*/ 21728 h 22544"/>
                    <a:gd name="connsiteX2" fmla="*/ 37051 w 41321"/>
                    <a:gd name="connsiteY2" fmla="*/ 21728 h 22544"/>
                    <a:gd name="connsiteX3" fmla="*/ 377 w 41321"/>
                    <a:gd name="connsiteY3" fmla="*/ 502 h 22544"/>
                    <a:gd name="connsiteX4" fmla="*/ 0 w 41321"/>
                    <a:gd name="connsiteY4" fmla="*/ 0 h 22544"/>
                    <a:gd name="connsiteX5" fmla="*/ 0 w 41321"/>
                    <a:gd name="connsiteY5" fmla="*/ 628 h 22544"/>
                    <a:gd name="connsiteX6" fmla="*/ 377 w 41321"/>
                    <a:gd name="connsiteY6" fmla="*/ 1130 h 22544"/>
                    <a:gd name="connsiteX7" fmla="*/ 37051 w 41321"/>
                    <a:gd name="connsiteY7" fmla="*/ 22356 h 22544"/>
                    <a:gd name="connsiteX8" fmla="*/ 38683 w 41321"/>
                    <a:gd name="connsiteY8" fmla="*/ 22356 h 22544"/>
                    <a:gd name="connsiteX9" fmla="*/ 40944 w 41321"/>
                    <a:gd name="connsiteY9" fmla="*/ 20974 h 22544"/>
                    <a:gd name="connsiteX10" fmla="*/ 41321 w 41321"/>
                    <a:gd name="connsiteY10" fmla="*/ 20472 h 22544"/>
                    <a:gd name="connsiteX11" fmla="*/ 41321 w 41321"/>
                    <a:gd name="connsiteY11" fmla="*/ 19844 h 22544"/>
                    <a:gd name="connsiteX12" fmla="*/ 40944 w 41321"/>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1"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321" y="20095"/>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70" name="Graphic 4">
                <a:extLst>
                  <a:ext uri="{FF2B5EF4-FFF2-40B4-BE49-F238E27FC236}">
                    <a16:creationId xmlns:a16="http://schemas.microsoft.com/office/drawing/2014/main" id="{84FB7ED1-A2DF-40A1-A747-5F7CF3F14040}"/>
                  </a:ext>
                </a:extLst>
              </p:cNvPr>
              <p:cNvGrpSpPr/>
              <p:nvPr/>
            </p:nvGrpSpPr>
            <p:grpSpPr>
              <a:xfrm>
                <a:off x="10728060" y="3370877"/>
                <a:ext cx="41321" cy="24616"/>
                <a:chOff x="10728060" y="3370877"/>
                <a:chExt cx="41321" cy="24616"/>
              </a:xfrm>
              <a:solidFill>
                <a:srgbClr val="244690"/>
              </a:solidFill>
            </p:grpSpPr>
            <p:sp>
              <p:nvSpPr>
                <p:cNvPr id="771" name="Freeform: Shape 770">
                  <a:extLst>
                    <a:ext uri="{FF2B5EF4-FFF2-40B4-BE49-F238E27FC236}">
                      <a16:creationId xmlns:a16="http://schemas.microsoft.com/office/drawing/2014/main" id="{2E5F44BC-F34D-47B3-B2F8-1DB0E7A3B244}"/>
                    </a:ext>
                  </a:extLst>
                </p:cNvPr>
                <p:cNvSpPr/>
                <p:nvPr/>
              </p:nvSpPr>
              <p:spPr>
                <a:xfrm>
                  <a:off x="10728060" y="3370877"/>
                  <a:ext cx="41321" cy="23988"/>
                </a:xfrm>
                <a:custGeom>
                  <a:avLst/>
                  <a:gdLst>
                    <a:gd name="connsiteX0" fmla="*/ 40944 w 41321"/>
                    <a:gd name="connsiteY0" fmla="*/ 21414 h 23988"/>
                    <a:gd name="connsiteX1" fmla="*/ 4271 w 41321"/>
                    <a:gd name="connsiteY1" fmla="*/ 188 h 23988"/>
                    <a:gd name="connsiteX2" fmla="*/ 2638 w 41321"/>
                    <a:gd name="connsiteY2" fmla="*/ 188 h 23988"/>
                    <a:gd name="connsiteX3" fmla="*/ 377 w 41321"/>
                    <a:gd name="connsiteY3" fmla="*/ 1570 h 23988"/>
                    <a:gd name="connsiteX4" fmla="*/ 0 w 41321"/>
                    <a:gd name="connsiteY4" fmla="*/ 2072 h 23988"/>
                    <a:gd name="connsiteX5" fmla="*/ 377 w 41321"/>
                    <a:gd name="connsiteY5" fmla="*/ 2575 h 23988"/>
                    <a:gd name="connsiteX6" fmla="*/ 37051 w 41321"/>
                    <a:gd name="connsiteY6" fmla="*/ 23800 h 23988"/>
                    <a:gd name="connsiteX7" fmla="*/ 38683 w 41321"/>
                    <a:gd name="connsiteY7" fmla="*/ 23800 h 23988"/>
                    <a:gd name="connsiteX8" fmla="*/ 40944 w 41321"/>
                    <a:gd name="connsiteY8" fmla="*/ 22419 h 23988"/>
                    <a:gd name="connsiteX9" fmla="*/ 41321 w 41321"/>
                    <a:gd name="connsiteY9" fmla="*/ 21916 h 23988"/>
                    <a:gd name="connsiteX10" fmla="*/ 40944 w 41321"/>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1" h="23988">
                      <a:moveTo>
                        <a:pt x="40944" y="21414"/>
                      </a:moveTo>
                      <a:lnTo>
                        <a:pt x="4271" y="188"/>
                      </a:lnTo>
                      <a:cubicBezTo>
                        <a:pt x="3768" y="-63"/>
                        <a:pt x="3140" y="-63"/>
                        <a:pt x="2638" y="188"/>
                      </a:cubicBezTo>
                      <a:lnTo>
                        <a:pt x="377" y="1570"/>
                      </a:lnTo>
                      <a:cubicBezTo>
                        <a:pt x="126" y="1696"/>
                        <a:pt x="0" y="1821"/>
                        <a:pt x="0" y="2072"/>
                      </a:cubicBezTo>
                      <a:cubicBezTo>
                        <a:pt x="0" y="2198"/>
                        <a:pt x="126" y="2449"/>
                        <a:pt x="377" y="2575"/>
                      </a:cubicBezTo>
                      <a:lnTo>
                        <a:pt x="37051" y="23800"/>
                      </a:lnTo>
                      <a:cubicBezTo>
                        <a:pt x="37553" y="24051"/>
                        <a:pt x="38181" y="24051"/>
                        <a:pt x="38683" y="23800"/>
                      </a:cubicBezTo>
                      <a:lnTo>
                        <a:pt x="40944" y="22419"/>
                      </a:lnTo>
                      <a:cubicBezTo>
                        <a:pt x="41195" y="22293"/>
                        <a:pt x="41321" y="22168"/>
                        <a:pt x="41321" y="21916"/>
                      </a:cubicBezTo>
                      <a:cubicBezTo>
                        <a:pt x="41321" y="21791"/>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2" name="Freeform: Shape 771">
                  <a:extLst>
                    <a:ext uri="{FF2B5EF4-FFF2-40B4-BE49-F238E27FC236}">
                      <a16:creationId xmlns:a16="http://schemas.microsoft.com/office/drawing/2014/main" id="{C1D1F3C0-0F58-425A-810A-3ECDE188BDC0}"/>
                    </a:ext>
                  </a:extLst>
                </p:cNvPr>
                <p:cNvSpPr/>
                <p:nvPr/>
              </p:nvSpPr>
              <p:spPr>
                <a:xfrm>
                  <a:off x="10728060" y="3372949"/>
                  <a:ext cx="41321" cy="22544"/>
                </a:xfrm>
                <a:custGeom>
                  <a:avLst/>
                  <a:gdLst>
                    <a:gd name="connsiteX0" fmla="*/ 40944 w 41321"/>
                    <a:gd name="connsiteY0" fmla="*/ 20346 h 22544"/>
                    <a:gd name="connsiteX1" fmla="*/ 38683 w 41321"/>
                    <a:gd name="connsiteY1" fmla="*/ 21728 h 22544"/>
                    <a:gd name="connsiteX2" fmla="*/ 37051 w 41321"/>
                    <a:gd name="connsiteY2" fmla="*/ 21728 h 22544"/>
                    <a:gd name="connsiteX3" fmla="*/ 377 w 41321"/>
                    <a:gd name="connsiteY3" fmla="*/ 502 h 22544"/>
                    <a:gd name="connsiteX4" fmla="*/ 0 w 41321"/>
                    <a:gd name="connsiteY4" fmla="*/ 0 h 22544"/>
                    <a:gd name="connsiteX5" fmla="*/ 0 w 41321"/>
                    <a:gd name="connsiteY5" fmla="*/ 628 h 22544"/>
                    <a:gd name="connsiteX6" fmla="*/ 377 w 41321"/>
                    <a:gd name="connsiteY6" fmla="*/ 1130 h 22544"/>
                    <a:gd name="connsiteX7" fmla="*/ 37051 w 41321"/>
                    <a:gd name="connsiteY7" fmla="*/ 22356 h 22544"/>
                    <a:gd name="connsiteX8" fmla="*/ 38683 w 41321"/>
                    <a:gd name="connsiteY8" fmla="*/ 22356 h 22544"/>
                    <a:gd name="connsiteX9" fmla="*/ 40944 w 41321"/>
                    <a:gd name="connsiteY9" fmla="*/ 20974 h 22544"/>
                    <a:gd name="connsiteX10" fmla="*/ 41321 w 41321"/>
                    <a:gd name="connsiteY10" fmla="*/ 20472 h 22544"/>
                    <a:gd name="connsiteX11" fmla="*/ 41321 w 41321"/>
                    <a:gd name="connsiteY11" fmla="*/ 19844 h 22544"/>
                    <a:gd name="connsiteX12" fmla="*/ 40944 w 41321"/>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1"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321" y="19970"/>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73" name="Graphic 4">
                <a:extLst>
                  <a:ext uri="{FF2B5EF4-FFF2-40B4-BE49-F238E27FC236}">
                    <a16:creationId xmlns:a16="http://schemas.microsoft.com/office/drawing/2014/main" id="{84FB7ED1-A2DF-40A1-A747-5F7CF3F14040}"/>
                  </a:ext>
                </a:extLst>
              </p:cNvPr>
              <p:cNvGrpSpPr/>
              <p:nvPr/>
            </p:nvGrpSpPr>
            <p:grpSpPr>
              <a:xfrm>
                <a:off x="10717636" y="3376905"/>
                <a:ext cx="41320" cy="24616"/>
                <a:chOff x="10717636" y="3376905"/>
                <a:chExt cx="41320" cy="24616"/>
              </a:xfrm>
              <a:solidFill>
                <a:srgbClr val="244690"/>
              </a:solidFill>
            </p:grpSpPr>
            <p:sp>
              <p:nvSpPr>
                <p:cNvPr id="774" name="Freeform: Shape 773">
                  <a:extLst>
                    <a:ext uri="{FF2B5EF4-FFF2-40B4-BE49-F238E27FC236}">
                      <a16:creationId xmlns:a16="http://schemas.microsoft.com/office/drawing/2014/main" id="{A334CE00-5E68-4FFC-85E2-158EE5B1B499}"/>
                    </a:ext>
                  </a:extLst>
                </p:cNvPr>
                <p:cNvSpPr/>
                <p:nvPr/>
              </p:nvSpPr>
              <p:spPr>
                <a:xfrm>
                  <a:off x="10717636" y="3376905"/>
                  <a:ext cx="41320" cy="23988"/>
                </a:xfrm>
                <a:custGeom>
                  <a:avLst/>
                  <a:gdLst>
                    <a:gd name="connsiteX0" fmla="*/ 40944 w 41320"/>
                    <a:gd name="connsiteY0" fmla="*/ 21414 h 23988"/>
                    <a:gd name="connsiteX1" fmla="*/ 4270 w 41320"/>
                    <a:gd name="connsiteY1" fmla="*/ 188 h 23988"/>
                    <a:gd name="connsiteX2" fmla="*/ 2637 w 41320"/>
                    <a:gd name="connsiteY2" fmla="*/ 188 h 23988"/>
                    <a:gd name="connsiteX3" fmla="*/ 376 w 41320"/>
                    <a:gd name="connsiteY3" fmla="*/ 1570 h 23988"/>
                    <a:gd name="connsiteX4" fmla="*/ 0 w 41320"/>
                    <a:gd name="connsiteY4" fmla="*/ 2072 h 23988"/>
                    <a:gd name="connsiteX5" fmla="*/ 376 w 41320"/>
                    <a:gd name="connsiteY5" fmla="*/ 2575 h 23988"/>
                    <a:gd name="connsiteX6" fmla="*/ 37050 w 41320"/>
                    <a:gd name="connsiteY6" fmla="*/ 23800 h 23988"/>
                    <a:gd name="connsiteX7" fmla="*/ 38683 w 41320"/>
                    <a:gd name="connsiteY7" fmla="*/ 23800 h 23988"/>
                    <a:gd name="connsiteX8" fmla="*/ 40944 w 41320"/>
                    <a:gd name="connsiteY8" fmla="*/ 22419 h 23988"/>
                    <a:gd name="connsiteX9" fmla="*/ 41320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7" y="188"/>
                      </a:cubicBezTo>
                      <a:lnTo>
                        <a:pt x="376" y="1570"/>
                      </a:lnTo>
                      <a:cubicBezTo>
                        <a:pt x="126" y="1696"/>
                        <a:pt x="0" y="1821"/>
                        <a:pt x="0" y="2072"/>
                      </a:cubicBezTo>
                      <a:cubicBezTo>
                        <a:pt x="0" y="2323"/>
                        <a:pt x="126" y="2449"/>
                        <a:pt x="376" y="2575"/>
                      </a:cubicBezTo>
                      <a:lnTo>
                        <a:pt x="37050" y="23800"/>
                      </a:lnTo>
                      <a:cubicBezTo>
                        <a:pt x="37553" y="24051"/>
                        <a:pt x="38181" y="24051"/>
                        <a:pt x="38683" y="23800"/>
                      </a:cubicBezTo>
                      <a:lnTo>
                        <a:pt x="40944" y="22419"/>
                      </a:lnTo>
                      <a:cubicBezTo>
                        <a:pt x="41195" y="22293"/>
                        <a:pt x="41320" y="22167"/>
                        <a:pt x="41320" y="21916"/>
                      </a:cubicBezTo>
                      <a:cubicBezTo>
                        <a:pt x="41195" y="21791"/>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5" name="Freeform: Shape 774">
                  <a:extLst>
                    <a:ext uri="{FF2B5EF4-FFF2-40B4-BE49-F238E27FC236}">
                      <a16:creationId xmlns:a16="http://schemas.microsoft.com/office/drawing/2014/main" id="{4C100AFD-2503-4DF0-A883-98AEB7EFD2C8}"/>
                    </a:ext>
                  </a:extLst>
                </p:cNvPr>
                <p:cNvSpPr/>
                <p:nvPr/>
              </p:nvSpPr>
              <p:spPr>
                <a:xfrm>
                  <a:off x="10717636" y="3378978"/>
                  <a:ext cx="41320" cy="22544"/>
                </a:xfrm>
                <a:custGeom>
                  <a:avLst/>
                  <a:gdLst>
                    <a:gd name="connsiteX0" fmla="*/ 40944 w 41320"/>
                    <a:gd name="connsiteY0" fmla="*/ 20346 h 22544"/>
                    <a:gd name="connsiteX1" fmla="*/ 38683 w 41320"/>
                    <a:gd name="connsiteY1" fmla="*/ 21728 h 22544"/>
                    <a:gd name="connsiteX2" fmla="*/ 37050 w 41320"/>
                    <a:gd name="connsiteY2" fmla="*/ 21728 h 22544"/>
                    <a:gd name="connsiteX3" fmla="*/ 376 w 41320"/>
                    <a:gd name="connsiteY3" fmla="*/ 502 h 22544"/>
                    <a:gd name="connsiteX4" fmla="*/ 0 w 41320"/>
                    <a:gd name="connsiteY4" fmla="*/ 0 h 22544"/>
                    <a:gd name="connsiteX5" fmla="*/ 0 w 41320"/>
                    <a:gd name="connsiteY5" fmla="*/ 628 h 22544"/>
                    <a:gd name="connsiteX6" fmla="*/ 376 w 41320"/>
                    <a:gd name="connsiteY6" fmla="*/ 1130 h 22544"/>
                    <a:gd name="connsiteX7" fmla="*/ 37050 w 41320"/>
                    <a:gd name="connsiteY7" fmla="*/ 22356 h 22544"/>
                    <a:gd name="connsiteX8" fmla="*/ 38683 w 41320"/>
                    <a:gd name="connsiteY8" fmla="*/ 22356 h 22544"/>
                    <a:gd name="connsiteX9" fmla="*/ 40944 w 41320"/>
                    <a:gd name="connsiteY9" fmla="*/ 20974 h 22544"/>
                    <a:gd name="connsiteX10" fmla="*/ 41320 w 41320"/>
                    <a:gd name="connsiteY10" fmla="*/ 20472 h 22544"/>
                    <a:gd name="connsiteX11" fmla="*/ 41320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0" y="21728"/>
                      </a:cubicBezTo>
                      <a:lnTo>
                        <a:pt x="376" y="502"/>
                      </a:lnTo>
                      <a:cubicBezTo>
                        <a:pt x="126" y="377"/>
                        <a:pt x="0" y="251"/>
                        <a:pt x="0" y="0"/>
                      </a:cubicBezTo>
                      <a:cubicBezTo>
                        <a:pt x="0" y="0"/>
                        <a:pt x="0" y="502"/>
                        <a:pt x="0" y="628"/>
                      </a:cubicBezTo>
                      <a:cubicBezTo>
                        <a:pt x="0" y="754"/>
                        <a:pt x="126" y="1005"/>
                        <a:pt x="376" y="1130"/>
                      </a:cubicBezTo>
                      <a:lnTo>
                        <a:pt x="37050" y="22356"/>
                      </a:lnTo>
                      <a:cubicBezTo>
                        <a:pt x="37553" y="22607"/>
                        <a:pt x="38181" y="22607"/>
                        <a:pt x="38683" y="22356"/>
                      </a:cubicBezTo>
                      <a:lnTo>
                        <a:pt x="40944" y="20974"/>
                      </a:lnTo>
                      <a:cubicBezTo>
                        <a:pt x="41195" y="20849"/>
                        <a:pt x="41320" y="20723"/>
                        <a:pt x="41320" y="20472"/>
                      </a:cubicBezTo>
                      <a:lnTo>
                        <a:pt x="41320" y="19844"/>
                      </a:lnTo>
                      <a:cubicBezTo>
                        <a:pt x="41195" y="19970"/>
                        <a:pt x="41069"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76" name="Graphic 4">
                <a:extLst>
                  <a:ext uri="{FF2B5EF4-FFF2-40B4-BE49-F238E27FC236}">
                    <a16:creationId xmlns:a16="http://schemas.microsoft.com/office/drawing/2014/main" id="{84FB7ED1-A2DF-40A1-A747-5F7CF3F14040}"/>
                  </a:ext>
                </a:extLst>
              </p:cNvPr>
              <p:cNvGrpSpPr/>
              <p:nvPr/>
            </p:nvGrpSpPr>
            <p:grpSpPr>
              <a:xfrm>
                <a:off x="10707086" y="3383059"/>
                <a:ext cx="41320" cy="24491"/>
                <a:chOff x="10707086" y="3383059"/>
                <a:chExt cx="41320" cy="24491"/>
              </a:xfrm>
              <a:solidFill>
                <a:srgbClr val="244690"/>
              </a:solidFill>
            </p:grpSpPr>
            <p:sp>
              <p:nvSpPr>
                <p:cNvPr id="777" name="Freeform: Shape 776">
                  <a:extLst>
                    <a:ext uri="{FF2B5EF4-FFF2-40B4-BE49-F238E27FC236}">
                      <a16:creationId xmlns:a16="http://schemas.microsoft.com/office/drawing/2014/main" id="{8ED72142-717B-484C-9B5A-877DDDE26D6F}"/>
                    </a:ext>
                  </a:extLst>
                </p:cNvPr>
                <p:cNvSpPr/>
                <p:nvPr/>
              </p:nvSpPr>
              <p:spPr>
                <a:xfrm>
                  <a:off x="10707086" y="3383059"/>
                  <a:ext cx="41320" cy="23988"/>
                </a:xfrm>
                <a:custGeom>
                  <a:avLst/>
                  <a:gdLst>
                    <a:gd name="connsiteX0" fmla="*/ 40944 w 41320"/>
                    <a:gd name="connsiteY0" fmla="*/ 21414 h 23988"/>
                    <a:gd name="connsiteX1" fmla="*/ 4271 w 41320"/>
                    <a:gd name="connsiteY1" fmla="*/ 188 h 23988"/>
                    <a:gd name="connsiteX2" fmla="*/ 2638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1 w 41320"/>
                    <a:gd name="connsiteY6" fmla="*/ 23800 h 23988"/>
                    <a:gd name="connsiteX7" fmla="*/ 38683 w 41320"/>
                    <a:gd name="connsiteY7" fmla="*/ 23800 h 23988"/>
                    <a:gd name="connsiteX8" fmla="*/ 40944 w 41320"/>
                    <a:gd name="connsiteY8" fmla="*/ 22419 h 23988"/>
                    <a:gd name="connsiteX9" fmla="*/ 41320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1" y="188"/>
                      </a:lnTo>
                      <a:cubicBezTo>
                        <a:pt x="3768" y="-63"/>
                        <a:pt x="3140" y="-63"/>
                        <a:pt x="2638" y="188"/>
                      </a:cubicBezTo>
                      <a:lnTo>
                        <a:pt x="377" y="1570"/>
                      </a:lnTo>
                      <a:cubicBezTo>
                        <a:pt x="126" y="1696"/>
                        <a:pt x="0" y="1821"/>
                        <a:pt x="0" y="2072"/>
                      </a:cubicBezTo>
                      <a:cubicBezTo>
                        <a:pt x="0" y="2324"/>
                        <a:pt x="126" y="2449"/>
                        <a:pt x="377" y="2575"/>
                      </a:cubicBezTo>
                      <a:lnTo>
                        <a:pt x="37051" y="23800"/>
                      </a:lnTo>
                      <a:cubicBezTo>
                        <a:pt x="37553" y="24051"/>
                        <a:pt x="38181" y="24051"/>
                        <a:pt x="38683" y="23800"/>
                      </a:cubicBezTo>
                      <a:lnTo>
                        <a:pt x="40944" y="22419"/>
                      </a:lnTo>
                      <a:cubicBezTo>
                        <a:pt x="41195" y="22293"/>
                        <a:pt x="41320" y="22168"/>
                        <a:pt x="41320" y="21916"/>
                      </a:cubicBezTo>
                      <a:cubicBezTo>
                        <a:pt x="41320" y="21665"/>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8" name="Freeform: Shape 777">
                  <a:extLst>
                    <a:ext uri="{FF2B5EF4-FFF2-40B4-BE49-F238E27FC236}">
                      <a16:creationId xmlns:a16="http://schemas.microsoft.com/office/drawing/2014/main" id="{C8D525EE-F91A-4799-A994-EE035E957091}"/>
                    </a:ext>
                  </a:extLst>
                </p:cNvPr>
                <p:cNvSpPr/>
                <p:nvPr/>
              </p:nvSpPr>
              <p:spPr>
                <a:xfrm>
                  <a:off x="10707086" y="3385006"/>
                  <a:ext cx="41320" cy="22544"/>
                </a:xfrm>
                <a:custGeom>
                  <a:avLst/>
                  <a:gdLst>
                    <a:gd name="connsiteX0" fmla="*/ 40944 w 41320"/>
                    <a:gd name="connsiteY0" fmla="*/ 20346 h 22544"/>
                    <a:gd name="connsiteX1" fmla="*/ 38683 w 41320"/>
                    <a:gd name="connsiteY1" fmla="*/ 21728 h 22544"/>
                    <a:gd name="connsiteX2" fmla="*/ 37051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1 w 41320"/>
                    <a:gd name="connsiteY7" fmla="*/ 22356 h 22544"/>
                    <a:gd name="connsiteX8" fmla="*/ 38683 w 41320"/>
                    <a:gd name="connsiteY8" fmla="*/ 22356 h 22544"/>
                    <a:gd name="connsiteX9" fmla="*/ 40944 w 41320"/>
                    <a:gd name="connsiteY9" fmla="*/ 20974 h 22544"/>
                    <a:gd name="connsiteX10" fmla="*/ 41320 w 41320"/>
                    <a:gd name="connsiteY10" fmla="*/ 20472 h 22544"/>
                    <a:gd name="connsiteX11" fmla="*/ 41320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0" y="20723"/>
                        <a:pt x="41320" y="20472"/>
                      </a:cubicBezTo>
                      <a:lnTo>
                        <a:pt x="41320" y="19844"/>
                      </a:lnTo>
                      <a:cubicBezTo>
                        <a:pt x="41320" y="20095"/>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779" name="Graphic 4">
              <a:extLst>
                <a:ext uri="{FF2B5EF4-FFF2-40B4-BE49-F238E27FC236}">
                  <a16:creationId xmlns:a16="http://schemas.microsoft.com/office/drawing/2014/main" id="{84FB7ED1-A2DF-40A1-A747-5F7CF3F14040}"/>
                </a:ext>
              </a:extLst>
            </p:cNvPr>
            <p:cNvGrpSpPr/>
            <p:nvPr/>
          </p:nvGrpSpPr>
          <p:grpSpPr>
            <a:xfrm>
              <a:off x="10675687" y="3358820"/>
              <a:ext cx="141419" cy="82390"/>
              <a:chOff x="10675687" y="3358820"/>
              <a:chExt cx="141419" cy="82390"/>
            </a:xfrm>
            <a:solidFill>
              <a:srgbClr val="244690"/>
            </a:solidFill>
          </p:grpSpPr>
          <p:grpSp>
            <p:nvGrpSpPr>
              <p:cNvPr id="780" name="Graphic 4">
                <a:extLst>
                  <a:ext uri="{FF2B5EF4-FFF2-40B4-BE49-F238E27FC236}">
                    <a16:creationId xmlns:a16="http://schemas.microsoft.com/office/drawing/2014/main" id="{84FB7ED1-A2DF-40A1-A747-5F7CF3F14040}"/>
                  </a:ext>
                </a:extLst>
              </p:cNvPr>
              <p:cNvGrpSpPr/>
              <p:nvPr/>
            </p:nvGrpSpPr>
            <p:grpSpPr>
              <a:xfrm>
                <a:off x="10749035" y="3358820"/>
                <a:ext cx="68072" cy="39939"/>
                <a:chOff x="10749035" y="3358820"/>
                <a:chExt cx="68072" cy="39939"/>
              </a:xfrm>
              <a:solidFill>
                <a:srgbClr val="244690"/>
              </a:solidFill>
            </p:grpSpPr>
            <p:sp>
              <p:nvSpPr>
                <p:cNvPr id="781" name="Freeform: Shape 780">
                  <a:extLst>
                    <a:ext uri="{FF2B5EF4-FFF2-40B4-BE49-F238E27FC236}">
                      <a16:creationId xmlns:a16="http://schemas.microsoft.com/office/drawing/2014/main" id="{6754063D-4745-4B4C-B32E-3817F956926C}"/>
                    </a:ext>
                  </a:extLst>
                </p:cNvPr>
                <p:cNvSpPr/>
                <p:nvPr/>
              </p:nvSpPr>
              <p:spPr>
                <a:xfrm>
                  <a:off x="10749035" y="3358820"/>
                  <a:ext cx="68072" cy="39436"/>
                </a:xfrm>
                <a:custGeom>
                  <a:avLst/>
                  <a:gdLst>
                    <a:gd name="connsiteX0" fmla="*/ 67695 w 68072"/>
                    <a:gd name="connsiteY0" fmla="*/ 36862 h 39436"/>
                    <a:gd name="connsiteX1" fmla="*/ 4270 w 68072"/>
                    <a:gd name="connsiteY1" fmla="*/ 188 h 39436"/>
                    <a:gd name="connsiteX2" fmla="*/ 2637 w 68072"/>
                    <a:gd name="connsiteY2" fmla="*/ 188 h 39436"/>
                    <a:gd name="connsiteX3" fmla="*/ 376 w 68072"/>
                    <a:gd name="connsiteY3" fmla="*/ 1570 h 39436"/>
                    <a:gd name="connsiteX4" fmla="*/ 0 w 68072"/>
                    <a:gd name="connsiteY4" fmla="*/ 2072 h 39436"/>
                    <a:gd name="connsiteX5" fmla="*/ 376 w 68072"/>
                    <a:gd name="connsiteY5" fmla="*/ 2575 h 39436"/>
                    <a:gd name="connsiteX6" fmla="*/ 63802 w 68072"/>
                    <a:gd name="connsiteY6" fmla="*/ 39248 h 39436"/>
                    <a:gd name="connsiteX7" fmla="*/ 65434 w 68072"/>
                    <a:gd name="connsiteY7" fmla="*/ 39248 h 39436"/>
                    <a:gd name="connsiteX8" fmla="*/ 67695 w 68072"/>
                    <a:gd name="connsiteY8" fmla="*/ 37867 h 39436"/>
                    <a:gd name="connsiteX9" fmla="*/ 68072 w 68072"/>
                    <a:gd name="connsiteY9" fmla="*/ 37364 h 39436"/>
                    <a:gd name="connsiteX10" fmla="*/ 67695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5" y="36862"/>
                      </a:moveTo>
                      <a:lnTo>
                        <a:pt x="4270" y="188"/>
                      </a:lnTo>
                      <a:cubicBezTo>
                        <a:pt x="3768" y="-63"/>
                        <a:pt x="3140" y="-63"/>
                        <a:pt x="2637" y="188"/>
                      </a:cubicBezTo>
                      <a:lnTo>
                        <a:pt x="376" y="1570"/>
                      </a:lnTo>
                      <a:cubicBezTo>
                        <a:pt x="126" y="1696"/>
                        <a:pt x="0" y="1821"/>
                        <a:pt x="0" y="2072"/>
                      </a:cubicBezTo>
                      <a:cubicBezTo>
                        <a:pt x="0" y="2198"/>
                        <a:pt x="126" y="2449"/>
                        <a:pt x="376" y="2575"/>
                      </a:cubicBezTo>
                      <a:lnTo>
                        <a:pt x="63802" y="39248"/>
                      </a:lnTo>
                      <a:cubicBezTo>
                        <a:pt x="64304" y="39500"/>
                        <a:pt x="64932" y="39500"/>
                        <a:pt x="65434" y="39248"/>
                      </a:cubicBezTo>
                      <a:lnTo>
                        <a:pt x="67695" y="37867"/>
                      </a:lnTo>
                      <a:cubicBezTo>
                        <a:pt x="67946" y="37741"/>
                        <a:pt x="68072" y="37616"/>
                        <a:pt x="68072" y="37364"/>
                      </a:cubicBezTo>
                      <a:cubicBezTo>
                        <a:pt x="68072" y="37113"/>
                        <a:pt x="67946" y="36988"/>
                        <a:pt x="67695"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82" name="Freeform: Shape 781">
                  <a:extLst>
                    <a:ext uri="{FF2B5EF4-FFF2-40B4-BE49-F238E27FC236}">
                      <a16:creationId xmlns:a16="http://schemas.microsoft.com/office/drawing/2014/main" id="{747FD60C-84AC-4BF3-89B6-0359F2DAF2DB}"/>
                    </a:ext>
                  </a:extLst>
                </p:cNvPr>
                <p:cNvSpPr/>
                <p:nvPr/>
              </p:nvSpPr>
              <p:spPr>
                <a:xfrm>
                  <a:off x="10749035" y="3360766"/>
                  <a:ext cx="68072" cy="37992"/>
                </a:xfrm>
                <a:custGeom>
                  <a:avLst/>
                  <a:gdLst>
                    <a:gd name="connsiteX0" fmla="*/ 67695 w 68072"/>
                    <a:gd name="connsiteY0" fmla="*/ 35794 h 37992"/>
                    <a:gd name="connsiteX1" fmla="*/ 65434 w 68072"/>
                    <a:gd name="connsiteY1" fmla="*/ 37176 h 37992"/>
                    <a:gd name="connsiteX2" fmla="*/ 63802 w 68072"/>
                    <a:gd name="connsiteY2" fmla="*/ 37176 h 37992"/>
                    <a:gd name="connsiteX3" fmla="*/ 376 w 68072"/>
                    <a:gd name="connsiteY3" fmla="*/ 502 h 37992"/>
                    <a:gd name="connsiteX4" fmla="*/ 0 w 68072"/>
                    <a:gd name="connsiteY4" fmla="*/ 0 h 37992"/>
                    <a:gd name="connsiteX5" fmla="*/ 0 w 68072"/>
                    <a:gd name="connsiteY5" fmla="*/ 628 h 37992"/>
                    <a:gd name="connsiteX6" fmla="*/ 376 w 68072"/>
                    <a:gd name="connsiteY6" fmla="*/ 1130 h 37992"/>
                    <a:gd name="connsiteX7" fmla="*/ 63802 w 68072"/>
                    <a:gd name="connsiteY7" fmla="*/ 37804 h 37992"/>
                    <a:gd name="connsiteX8" fmla="*/ 65434 w 68072"/>
                    <a:gd name="connsiteY8" fmla="*/ 37804 h 37992"/>
                    <a:gd name="connsiteX9" fmla="*/ 67695 w 68072"/>
                    <a:gd name="connsiteY9" fmla="*/ 36422 h 37992"/>
                    <a:gd name="connsiteX10" fmla="*/ 68072 w 68072"/>
                    <a:gd name="connsiteY10" fmla="*/ 35920 h 37992"/>
                    <a:gd name="connsiteX11" fmla="*/ 68072 w 68072"/>
                    <a:gd name="connsiteY11" fmla="*/ 35292 h 37992"/>
                    <a:gd name="connsiteX12" fmla="*/ 67695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5" y="35794"/>
                      </a:moveTo>
                      <a:lnTo>
                        <a:pt x="65434" y="37176"/>
                      </a:lnTo>
                      <a:cubicBezTo>
                        <a:pt x="64932" y="37427"/>
                        <a:pt x="64304" y="37427"/>
                        <a:pt x="63802" y="37176"/>
                      </a:cubicBezTo>
                      <a:lnTo>
                        <a:pt x="376" y="502"/>
                      </a:lnTo>
                      <a:cubicBezTo>
                        <a:pt x="126" y="377"/>
                        <a:pt x="0" y="251"/>
                        <a:pt x="0" y="0"/>
                      </a:cubicBezTo>
                      <a:cubicBezTo>
                        <a:pt x="0" y="0"/>
                        <a:pt x="0" y="502"/>
                        <a:pt x="0" y="628"/>
                      </a:cubicBezTo>
                      <a:cubicBezTo>
                        <a:pt x="0" y="754"/>
                        <a:pt x="126" y="1005"/>
                        <a:pt x="376" y="1130"/>
                      </a:cubicBezTo>
                      <a:lnTo>
                        <a:pt x="63802" y="37804"/>
                      </a:lnTo>
                      <a:cubicBezTo>
                        <a:pt x="64304" y="38055"/>
                        <a:pt x="64932" y="38055"/>
                        <a:pt x="65434" y="37804"/>
                      </a:cubicBezTo>
                      <a:lnTo>
                        <a:pt x="67695" y="36422"/>
                      </a:lnTo>
                      <a:cubicBezTo>
                        <a:pt x="67946" y="36297"/>
                        <a:pt x="68072" y="36171"/>
                        <a:pt x="68072" y="35920"/>
                      </a:cubicBezTo>
                      <a:lnTo>
                        <a:pt x="68072" y="35292"/>
                      </a:lnTo>
                      <a:cubicBezTo>
                        <a:pt x="68072" y="35543"/>
                        <a:pt x="67946" y="35669"/>
                        <a:pt x="67695"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83" name="Graphic 4">
                <a:extLst>
                  <a:ext uri="{FF2B5EF4-FFF2-40B4-BE49-F238E27FC236}">
                    <a16:creationId xmlns:a16="http://schemas.microsoft.com/office/drawing/2014/main" id="{84FB7ED1-A2DF-40A1-A747-5F7CF3F14040}"/>
                  </a:ext>
                </a:extLst>
              </p:cNvPr>
              <p:cNvGrpSpPr/>
              <p:nvPr/>
            </p:nvGrpSpPr>
            <p:grpSpPr>
              <a:xfrm>
                <a:off x="10738610" y="3364848"/>
                <a:ext cx="68072" cy="39939"/>
                <a:chOff x="10738610" y="3364848"/>
                <a:chExt cx="68072" cy="39939"/>
              </a:xfrm>
              <a:solidFill>
                <a:srgbClr val="244690"/>
              </a:solidFill>
            </p:grpSpPr>
            <p:sp>
              <p:nvSpPr>
                <p:cNvPr id="784" name="Freeform: Shape 783">
                  <a:extLst>
                    <a:ext uri="{FF2B5EF4-FFF2-40B4-BE49-F238E27FC236}">
                      <a16:creationId xmlns:a16="http://schemas.microsoft.com/office/drawing/2014/main" id="{69BB4ED6-A6B9-4B71-B1FC-4907E56E1EC1}"/>
                    </a:ext>
                  </a:extLst>
                </p:cNvPr>
                <p:cNvSpPr/>
                <p:nvPr/>
              </p:nvSpPr>
              <p:spPr>
                <a:xfrm>
                  <a:off x="10738610" y="3364848"/>
                  <a:ext cx="68072" cy="39436"/>
                </a:xfrm>
                <a:custGeom>
                  <a:avLst/>
                  <a:gdLst>
                    <a:gd name="connsiteX0" fmla="*/ 67696 w 68072"/>
                    <a:gd name="connsiteY0" fmla="*/ 36862 h 39436"/>
                    <a:gd name="connsiteX1" fmla="*/ 4271 w 68072"/>
                    <a:gd name="connsiteY1" fmla="*/ 188 h 39436"/>
                    <a:gd name="connsiteX2" fmla="*/ 2638 w 68072"/>
                    <a:gd name="connsiteY2" fmla="*/ 188 h 39436"/>
                    <a:gd name="connsiteX3" fmla="*/ 376 w 68072"/>
                    <a:gd name="connsiteY3" fmla="*/ 1570 h 39436"/>
                    <a:gd name="connsiteX4" fmla="*/ 0 w 68072"/>
                    <a:gd name="connsiteY4" fmla="*/ 2072 h 39436"/>
                    <a:gd name="connsiteX5" fmla="*/ 376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1" y="188"/>
                      </a:lnTo>
                      <a:cubicBezTo>
                        <a:pt x="3768" y="-63"/>
                        <a:pt x="3140" y="-63"/>
                        <a:pt x="2638" y="188"/>
                      </a:cubicBezTo>
                      <a:lnTo>
                        <a:pt x="376" y="1570"/>
                      </a:lnTo>
                      <a:cubicBezTo>
                        <a:pt x="126" y="1696"/>
                        <a:pt x="0" y="1821"/>
                        <a:pt x="0" y="2072"/>
                      </a:cubicBezTo>
                      <a:cubicBezTo>
                        <a:pt x="0" y="2198"/>
                        <a:pt x="126" y="2449"/>
                        <a:pt x="376" y="2575"/>
                      </a:cubicBezTo>
                      <a:lnTo>
                        <a:pt x="63802" y="39248"/>
                      </a:lnTo>
                      <a:cubicBezTo>
                        <a:pt x="64304" y="39499"/>
                        <a:pt x="64932" y="39499"/>
                        <a:pt x="65435" y="39248"/>
                      </a:cubicBezTo>
                      <a:lnTo>
                        <a:pt x="67696" y="37867"/>
                      </a:lnTo>
                      <a:cubicBezTo>
                        <a:pt x="67946" y="37741"/>
                        <a:pt x="68072" y="37616"/>
                        <a:pt x="68072" y="37364"/>
                      </a:cubicBezTo>
                      <a:cubicBezTo>
                        <a:pt x="67946" y="37113"/>
                        <a:pt x="67822"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85" name="Freeform: Shape 784">
                  <a:extLst>
                    <a:ext uri="{FF2B5EF4-FFF2-40B4-BE49-F238E27FC236}">
                      <a16:creationId xmlns:a16="http://schemas.microsoft.com/office/drawing/2014/main" id="{CE376336-CF6A-4478-BD51-0DB992105151}"/>
                    </a:ext>
                  </a:extLst>
                </p:cNvPr>
                <p:cNvSpPr/>
                <p:nvPr/>
              </p:nvSpPr>
              <p:spPr>
                <a:xfrm>
                  <a:off x="10738610" y="3366795"/>
                  <a:ext cx="68072" cy="37992"/>
                </a:xfrm>
                <a:custGeom>
                  <a:avLst/>
                  <a:gdLst>
                    <a:gd name="connsiteX0" fmla="*/ 67696 w 68072"/>
                    <a:gd name="connsiteY0" fmla="*/ 35794 h 37992"/>
                    <a:gd name="connsiteX1" fmla="*/ 65435 w 68072"/>
                    <a:gd name="connsiteY1" fmla="*/ 37176 h 37992"/>
                    <a:gd name="connsiteX2" fmla="*/ 63802 w 68072"/>
                    <a:gd name="connsiteY2" fmla="*/ 37176 h 37992"/>
                    <a:gd name="connsiteX3" fmla="*/ 376 w 68072"/>
                    <a:gd name="connsiteY3" fmla="*/ 502 h 37992"/>
                    <a:gd name="connsiteX4" fmla="*/ 0 w 68072"/>
                    <a:gd name="connsiteY4" fmla="*/ 0 h 37992"/>
                    <a:gd name="connsiteX5" fmla="*/ 0 w 68072"/>
                    <a:gd name="connsiteY5" fmla="*/ 628 h 37992"/>
                    <a:gd name="connsiteX6" fmla="*/ 376 w 68072"/>
                    <a:gd name="connsiteY6" fmla="*/ 1130 h 37992"/>
                    <a:gd name="connsiteX7" fmla="*/ 63802 w 68072"/>
                    <a:gd name="connsiteY7" fmla="*/ 37804 h 37992"/>
                    <a:gd name="connsiteX8" fmla="*/ 65435 w 68072"/>
                    <a:gd name="connsiteY8" fmla="*/ 37804 h 37992"/>
                    <a:gd name="connsiteX9" fmla="*/ 67696 w 68072"/>
                    <a:gd name="connsiteY9" fmla="*/ 36422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5" y="37176"/>
                      </a:lnTo>
                      <a:cubicBezTo>
                        <a:pt x="64932" y="37427"/>
                        <a:pt x="64304" y="37427"/>
                        <a:pt x="63802" y="37176"/>
                      </a:cubicBezTo>
                      <a:lnTo>
                        <a:pt x="376" y="502"/>
                      </a:lnTo>
                      <a:cubicBezTo>
                        <a:pt x="126" y="377"/>
                        <a:pt x="0" y="251"/>
                        <a:pt x="0" y="0"/>
                      </a:cubicBezTo>
                      <a:cubicBezTo>
                        <a:pt x="0" y="0"/>
                        <a:pt x="0" y="502"/>
                        <a:pt x="0" y="628"/>
                      </a:cubicBezTo>
                      <a:cubicBezTo>
                        <a:pt x="0" y="754"/>
                        <a:pt x="126" y="1005"/>
                        <a:pt x="376" y="1130"/>
                      </a:cubicBezTo>
                      <a:lnTo>
                        <a:pt x="63802" y="37804"/>
                      </a:lnTo>
                      <a:cubicBezTo>
                        <a:pt x="64304" y="38055"/>
                        <a:pt x="64932" y="38055"/>
                        <a:pt x="65435" y="37804"/>
                      </a:cubicBezTo>
                      <a:lnTo>
                        <a:pt x="67696" y="36422"/>
                      </a:lnTo>
                      <a:cubicBezTo>
                        <a:pt x="67946" y="36297"/>
                        <a:pt x="68072" y="36171"/>
                        <a:pt x="68072" y="35920"/>
                      </a:cubicBezTo>
                      <a:lnTo>
                        <a:pt x="68072" y="35292"/>
                      </a:lnTo>
                      <a:cubicBezTo>
                        <a:pt x="67946" y="35543"/>
                        <a:pt x="67822"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86" name="Graphic 4">
                <a:extLst>
                  <a:ext uri="{FF2B5EF4-FFF2-40B4-BE49-F238E27FC236}">
                    <a16:creationId xmlns:a16="http://schemas.microsoft.com/office/drawing/2014/main" id="{84FB7ED1-A2DF-40A1-A747-5F7CF3F14040}"/>
                  </a:ext>
                </a:extLst>
              </p:cNvPr>
              <p:cNvGrpSpPr/>
              <p:nvPr/>
            </p:nvGrpSpPr>
            <p:grpSpPr>
              <a:xfrm>
                <a:off x="10675687" y="3401145"/>
                <a:ext cx="68072" cy="40064"/>
                <a:chOff x="10675687" y="3401145"/>
                <a:chExt cx="68072" cy="40064"/>
              </a:xfrm>
              <a:solidFill>
                <a:srgbClr val="244690"/>
              </a:solidFill>
            </p:grpSpPr>
            <p:sp>
              <p:nvSpPr>
                <p:cNvPr id="787" name="Freeform: Shape 786">
                  <a:extLst>
                    <a:ext uri="{FF2B5EF4-FFF2-40B4-BE49-F238E27FC236}">
                      <a16:creationId xmlns:a16="http://schemas.microsoft.com/office/drawing/2014/main" id="{CA31EFDC-6347-44F1-9A18-03462DDA16D1}"/>
                    </a:ext>
                  </a:extLst>
                </p:cNvPr>
                <p:cNvSpPr/>
                <p:nvPr/>
              </p:nvSpPr>
              <p:spPr>
                <a:xfrm>
                  <a:off x="10675687" y="3401145"/>
                  <a:ext cx="68072" cy="39436"/>
                </a:xfrm>
                <a:custGeom>
                  <a:avLst/>
                  <a:gdLst>
                    <a:gd name="connsiteX0" fmla="*/ 67696 w 68072"/>
                    <a:gd name="connsiteY0" fmla="*/ 36862 h 39436"/>
                    <a:gd name="connsiteX1" fmla="*/ 4271 w 68072"/>
                    <a:gd name="connsiteY1" fmla="*/ 188 h 39436"/>
                    <a:gd name="connsiteX2" fmla="*/ 2638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1" y="188"/>
                      </a:lnTo>
                      <a:cubicBezTo>
                        <a:pt x="3768" y="-63"/>
                        <a:pt x="3140" y="-63"/>
                        <a:pt x="2638" y="188"/>
                      </a:cubicBezTo>
                      <a:lnTo>
                        <a:pt x="377" y="1570"/>
                      </a:lnTo>
                      <a:cubicBezTo>
                        <a:pt x="126" y="1696"/>
                        <a:pt x="0" y="1821"/>
                        <a:pt x="0" y="2072"/>
                      </a:cubicBezTo>
                      <a:cubicBezTo>
                        <a:pt x="0" y="2198"/>
                        <a:pt x="126" y="2449"/>
                        <a:pt x="377" y="2575"/>
                      </a:cubicBezTo>
                      <a:lnTo>
                        <a:pt x="63802" y="39248"/>
                      </a:lnTo>
                      <a:cubicBezTo>
                        <a:pt x="64304" y="39499"/>
                        <a:pt x="64932" y="39499"/>
                        <a:pt x="65435" y="39248"/>
                      </a:cubicBezTo>
                      <a:lnTo>
                        <a:pt x="67696" y="37867"/>
                      </a:lnTo>
                      <a:cubicBezTo>
                        <a:pt x="67947" y="37741"/>
                        <a:pt x="68072" y="37616"/>
                        <a:pt x="68072" y="37364"/>
                      </a:cubicBezTo>
                      <a:cubicBezTo>
                        <a:pt x="68072" y="37113"/>
                        <a:pt x="67947"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88" name="Freeform: Shape 787">
                  <a:extLst>
                    <a:ext uri="{FF2B5EF4-FFF2-40B4-BE49-F238E27FC236}">
                      <a16:creationId xmlns:a16="http://schemas.microsoft.com/office/drawing/2014/main" id="{169F71E0-4CB8-4C5C-B296-5094ADCD51BA}"/>
                    </a:ext>
                  </a:extLst>
                </p:cNvPr>
                <p:cNvSpPr/>
                <p:nvPr/>
              </p:nvSpPr>
              <p:spPr>
                <a:xfrm>
                  <a:off x="10675687" y="3403217"/>
                  <a:ext cx="68072" cy="37992"/>
                </a:xfrm>
                <a:custGeom>
                  <a:avLst/>
                  <a:gdLst>
                    <a:gd name="connsiteX0" fmla="*/ 67696 w 68072"/>
                    <a:gd name="connsiteY0" fmla="*/ 35795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3 h 37992"/>
                    <a:gd name="connsiteX10" fmla="*/ 68072 w 68072"/>
                    <a:gd name="connsiteY10" fmla="*/ 35920 h 37992"/>
                    <a:gd name="connsiteX11" fmla="*/ 68072 w 68072"/>
                    <a:gd name="connsiteY11" fmla="*/ 35292 h 37992"/>
                    <a:gd name="connsiteX12" fmla="*/ 67696 w 68072"/>
                    <a:gd name="connsiteY12" fmla="*/ 35795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5"/>
                      </a:moveTo>
                      <a:lnTo>
                        <a:pt x="65435" y="37176"/>
                      </a:lnTo>
                      <a:cubicBezTo>
                        <a:pt x="64932" y="37427"/>
                        <a:pt x="64304"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4" y="38055"/>
                        <a:pt x="64932" y="38055"/>
                        <a:pt x="65435" y="37804"/>
                      </a:cubicBezTo>
                      <a:lnTo>
                        <a:pt x="67696" y="36423"/>
                      </a:lnTo>
                      <a:cubicBezTo>
                        <a:pt x="67947" y="36297"/>
                        <a:pt x="68072" y="36171"/>
                        <a:pt x="68072" y="35920"/>
                      </a:cubicBezTo>
                      <a:lnTo>
                        <a:pt x="68072" y="35292"/>
                      </a:lnTo>
                      <a:cubicBezTo>
                        <a:pt x="68072" y="35418"/>
                        <a:pt x="67947" y="35669"/>
                        <a:pt x="67696" y="3579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89" name="Graphic 4">
                <a:extLst>
                  <a:ext uri="{FF2B5EF4-FFF2-40B4-BE49-F238E27FC236}">
                    <a16:creationId xmlns:a16="http://schemas.microsoft.com/office/drawing/2014/main" id="{84FB7ED1-A2DF-40A1-A747-5F7CF3F14040}"/>
                  </a:ext>
                </a:extLst>
              </p:cNvPr>
              <p:cNvGrpSpPr/>
              <p:nvPr/>
            </p:nvGrpSpPr>
            <p:grpSpPr>
              <a:xfrm>
                <a:off x="10686112" y="3395116"/>
                <a:ext cx="68072" cy="39939"/>
                <a:chOff x="10686112" y="3395116"/>
                <a:chExt cx="68072" cy="39939"/>
              </a:xfrm>
              <a:solidFill>
                <a:srgbClr val="244690"/>
              </a:solidFill>
            </p:grpSpPr>
            <p:sp>
              <p:nvSpPr>
                <p:cNvPr id="790" name="Freeform: Shape 789">
                  <a:extLst>
                    <a:ext uri="{FF2B5EF4-FFF2-40B4-BE49-F238E27FC236}">
                      <a16:creationId xmlns:a16="http://schemas.microsoft.com/office/drawing/2014/main" id="{EDF874D8-20CC-441E-8171-69DBF0FDAC18}"/>
                    </a:ext>
                  </a:extLst>
                </p:cNvPr>
                <p:cNvSpPr/>
                <p:nvPr/>
              </p:nvSpPr>
              <p:spPr>
                <a:xfrm>
                  <a:off x="10686112" y="3395116"/>
                  <a:ext cx="68072" cy="39436"/>
                </a:xfrm>
                <a:custGeom>
                  <a:avLst/>
                  <a:gdLst>
                    <a:gd name="connsiteX0" fmla="*/ 67696 w 68072"/>
                    <a:gd name="connsiteY0" fmla="*/ 36862 h 39436"/>
                    <a:gd name="connsiteX1" fmla="*/ 4270 w 68072"/>
                    <a:gd name="connsiteY1" fmla="*/ 188 h 39436"/>
                    <a:gd name="connsiteX2" fmla="*/ 2637 w 68072"/>
                    <a:gd name="connsiteY2" fmla="*/ 188 h 39436"/>
                    <a:gd name="connsiteX3" fmla="*/ 376 w 68072"/>
                    <a:gd name="connsiteY3" fmla="*/ 1570 h 39436"/>
                    <a:gd name="connsiteX4" fmla="*/ 0 w 68072"/>
                    <a:gd name="connsiteY4" fmla="*/ 2072 h 39436"/>
                    <a:gd name="connsiteX5" fmla="*/ 376 w 68072"/>
                    <a:gd name="connsiteY5" fmla="*/ 2575 h 39436"/>
                    <a:gd name="connsiteX6" fmla="*/ 63802 w 68072"/>
                    <a:gd name="connsiteY6" fmla="*/ 39248 h 39436"/>
                    <a:gd name="connsiteX7" fmla="*/ 65434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7" y="188"/>
                      </a:cubicBezTo>
                      <a:lnTo>
                        <a:pt x="376" y="1570"/>
                      </a:lnTo>
                      <a:cubicBezTo>
                        <a:pt x="126" y="1696"/>
                        <a:pt x="0" y="1821"/>
                        <a:pt x="0" y="2072"/>
                      </a:cubicBezTo>
                      <a:cubicBezTo>
                        <a:pt x="0" y="2198"/>
                        <a:pt x="126" y="2449"/>
                        <a:pt x="376" y="2575"/>
                      </a:cubicBezTo>
                      <a:lnTo>
                        <a:pt x="63802" y="39248"/>
                      </a:lnTo>
                      <a:cubicBezTo>
                        <a:pt x="64304" y="39499"/>
                        <a:pt x="64932" y="39499"/>
                        <a:pt x="65434" y="39248"/>
                      </a:cubicBezTo>
                      <a:lnTo>
                        <a:pt x="67696" y="37867"/>
                      </a:lnTo>
                      <a:cubicBezTo>
                        <a:pt x="67946" y="37741"/>
                        <a:pt x="68072" y="37616"/>
                        <a:pt x="68072" y="37364"/>
                      </a:cubicBezTo>
                      <a:cubicBezTo>
                        <a:pt x="68072" y="37113"/>
                        <a:pt x="67946"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91" name="Freeform: Shape 790">
                  <a:extLst>
                    <a:ext uri="{FF2B5EF4-FFF2-40B4-BE49-F238E27FC236}">
                      <a16:creationId xmlns:a16="http://schemas.microsoft.com/office/drawing/2014/main" id="{254518E5-92CB-4B60-A770-9F184E625B5F}"/>
                    </a:ext>
                  </a:extLst>
                </p:cNvPr>
                <p:cNvSpPr/>
                <p:nvPr/>
              </p:nvSpPr>
              <p:spPr>
                <a:xfrm>
                  <a:off x="10686112" y="3397063"/>
                  <a:ext cx="68072" cy="37992"/>
                </a:xfrm>
                <a:custGeom>
                  <a:avLst/>
                  <a:gdLst>
                    <a:gd name="connsiteX0" fmla="*/ 67696 w 68072"/>
                    <a:gd name="connsiteY0" fmla="*/ 35794 h 37992"/>
                    <a:gd name="connsiteX1" fmla="*/ 65434 w 68072"/>
                    <a:gd name="connsiteY1" fmla="*/ 37176 h 37992"/>
                    <a:gd name="connsiteX2" fmla="*/ 63802 w 68072"/>
                    <a:gd name="connsiteY2" fmla="*/ 37176 h 37992"/>
                    <a:gd name="connsiteX3" fmla="*/ 376 w 68072"/>
                    <a:gd name="connsiteY3" fmla="*/ 502 h 37992"/>
                    <a:gd name="connsiteX4" fmla="*/ 0 w 68072"/>
                    <a:gd name="connsiteY4" fmla="*/ 0 h 37992"/>
                    <a:gd name="connsiteX5" fmla="*/ 0 w 68072"/>
                    <a:gd name="connsiteY5" fmla="*/ 628 h 37992"/>
                    <a:gd name="connsiteX6" fmla="*/ 376 w 68072"/>
                    <a:gd name="connsiteY6" fmla="*/ 1130 h 37992"/>
                    <a:gd name="connsiteX7" fmla="*/ 63802 w 68072"/>
                    <a:gd name="connsiteY7" fmla="*/ 37804 h 37992"/>
                    <a:gd name="connsiteX8" fmla="*/ 65434 w 68072"/>
                    <a:gd name="connsiteY8" fmla="*/ 37804 h 37992"/>
                    <a:gd name="connsiteX9" fmla="*/ 67696 w 68072"/>
                    <a:gd name="connsiteY9" fmla="*/ 36422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4" y="37176"/>
                      </a:lnTo>
                      <a:cubicBezTo>
                        <a:pt x="64932" y="37427"/>
                        <a:pt x="64304" y="37427"/>
                        <a:pt x="63802" y="37176"/>
                      </a:cubicBezTo>
                      <a:lnTo>
                        <a:pt x="376" y="502"/>
                      </a:lnTo>
                      <a:cubicBezTo>
                        <a:pt x="126" y="377"/>
                        <a:pt x="0" y="251"/>
                        <a:pt x="0" y="0"/>
                      </a:cubicBezTo>
                      <a:cubicBezTo>
                        <a:pt x="0" y="0"/>
                        <a:pt x="0" y="502"/>
                        <a:pt x="0" y="628"/>
                      </a:cubicBezTo>
                      <a:cubicBezTo>
                        <a:pt x="0" y="754"/>
                        <a:pt x="126" y="1005"/>
                        <a:pt x="376" y="1130"/>
                      </a:cubicBezTo>
                      <a:lnTo>
                        <a:pt x="63802" y="37804"/>
                      </a:lnTo>
                      <a:cubicBezTo>
                        <a:pt x="64304" y="38055"/>
                        <a:pt x="64932" y="38055"/>
                        <a:pt x="65434" y="37804"/>
                      </a:cubicBezTo>
                      <a:lnTo>
                        <a:pt x="67696" y="36422"/>
                      </a:lnTo>
                      <a:cubicBezTo>
                        <a:pt x="67946" y="36297"/>
                        <a:pt x="68072" y="36171"/>
                        <a:pt x="68072" y="35920"/>
                      </a:cubicBezTo>
                      <a:lnTo>
                        <a:pt x="68072" y="35292"/>
                      </a:lnTo>
                      <a:cubicBezTo>
                        <a:pt x="68072" y="35543"/>
                        <a:pt x="67946"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792" name="Graphic 4">
              <a:extLst>
                <a:ext uri="{FF2B5EF4-FFF2-40B4-BE49-F238E27FC236}">
                  <a16:creationId xmlns:a16="http://schemas.microsoft.com/office/drawing/2014/main" id="{84FB7ED1-A2DF-40A1-A747-5F7CF3F14040}"/>
                </a:ext>
              </a:extLst>
            </p:cNvPr>
            <p:cNvGrpSpPr/>
            <p:nvPr/>
          </p:nvGrpSpPr>
          <p:grpSpPr>
            <a:xfrm>
              <a:off x="10739983" y="3394597"/>
              <a:ext cx="55405" cy="33994"/>
              <a:chOff x="10739983" y="3394597"/>
              <a:chExt cx="55405" cy="33994"/>
            </a:xfrm>
            <a:solidFill>
              <a:srgbClr val="244690"/>
            </a:solidFill>
          </p:grpSpPr>
          <p:sp>
            <p:nvSpPr>
              <p:cNvPr id="793" name="Freeform: Shape 792">
                <a:extLst>
                  <a:ext uri="{FF2B5EF4-FFF2-40B4-BE49-F238E27FC236}">
                    <a16:creationId xmlns:a16="http://schemas.microsoft.com/office/drawing/2014/main" id="{C4644389-D7DC-4032-A701-9A38883F8BC1}"/>
                  </a:ext>
                </a:extLst>
              </p:cNvPr>
              <p:cNvSpPr/>
              <p:nvPr/>
            </p:nvSpPr>
            <p:spPr>
              <a:xfrm>
                <a:off x="10739983" y="3394597"/>
                <a:ext cx="55405" cy="31934"/>
              </a:xfrm>
              <a:custGeom>
                <a:avLst/>
                <a:gdLst>
                  <a:gd name="connsiteX0" fmla="*/ 763 w 55405"/>
                  <a:gd name="connsiteY0" fmla="*/ 20928 h 31934"/>
                  <a:gd name="connsiteX1" fmla="*/ 19100 w 55405"/>
                  <a:gd name="connsiteY1" fmla="*/ 31478 h 31934"/>
                  <a:gd name="connsiteX2" fmla="*/ 23621 w 55405"/>
                  <a:gd name="connsiteY2" fmla="*/ 31353 h 31934"/>
                  <a:gd name="connsiteX3" fmla="*/ 54266 w 55405"/>
                  <a:gd name="connsiteY3" fmla="*/ 13644 h 31934"/>
                  <a:gd name="connsiteX4" fmla="*/ 54643 w 55405"/>
                  <a:gd name="connsiteY4" fmla="*/ 11006 h 31934"/>
                  <a:gd name="connsiteX5" fmla="*/ 36306 w 55405"/>
                  <a:gd name="connsiteY5" fmla="*/ 456 h 31934"/>
                  <a:gd name="connsiteX6" fmla="*/ 31785 w 55405"/>
                  <a:gd name="connsiteY6" fmla="*/ 582 h 31934"/>
                  <a:gd name="connsiteX7" fmla="*/ 1140 w 55405"/>
                  <a:gd name="connsiteY7" fmla="*/ 18291 h 31934"/>
                  <a:gd name="connsiteX8" fmla="*/ 763 w 55405"/>
                  <a:gd name="connsiteY8" fmla="*/ 20928 h 3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05" h="31934">
                    <a:moveTo>
                      <a:pt x="763" y="20928"/>
                    </a:moveTo>
                    <a:lnTo>
                      <a:pt x="19100" y="31478"/>
                    </a:lnTo>
                    <a:cubicBezTo>
                      <a:pt x="20230" y="32106"/>
                      <a:pt x="22240" y="32106"/>
                      <a:pt x="23621" y="31353"/>
                    </a:cubicBezTo>
                    <a:lnTo>
                      <a:pt x="54266" y="13644"/>
                    </a:lnTo>
                    <a:cubicBezTo>
                      <a:pt x="55647" y="12890"/>
                      <a:pt x="55773" y="11760"/>
                      <a:pt x="54643" y="11006"/>
                    </a:cubicBezTo>
                    <a:lnTo>
                      <a:pt x="36306" y="456"/>
                    </a:lnTo>
                    <a:cubicBezTo>
                      <a:pt x="35175" y="-172"/>
                      <a:pt x="33166" y="-172"/>
                      <a:pt x="31785" y="582"/>
                    </a:cubicBezTo>
                    <a:lnTo>
                      <a:pt x="1140" y="18291"/>
                    </a:lnTo>
                    <a:cubicBezTo>
                      <a:pt x="-242" y="19170"/>
                      <a:pt x="-367" y="20300"/>
                      <a:pt x="763" y="2092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94" name="Freeform: Shape 793">
                <a:extLst>
                  <a:ext uri="{FF2B5EF4-FFF2-40B4-BE49-F238E27FC236}">
                    <a16:creationId xmlns:a16="http://schemas.microsoft.com/office/drawing/2014/main" id="{8ECEED3D-5D42-43E4-901A-F0125283DF85}"/>
                  </a:ext>
                </a:extLst>
              </p:cNvPr>
              <p:cNvSpPr/>
              <p:nvPr/>
            </p:nvSpPr>
            <p:spPr>
              <a:xfrm>
                <a:off x="10739992" y="3406860"/>
                <a:ext cx="55387" cy="21731"/>
              </a:xfrm>
              <a:custGeom>
                <a:avLst/>
                <a:gdLst>
                  <a:gd name="connsiteX0" fmla="*/ 0 w 55387"/>
                  <a:gd name="connsiteY0" fmla="*/ 7661 h 21731"/>
                  <a:gd name="connsiteX1" fmla="*/ 0 w 55387"/>
                  <a:gd name="connsiteY1" fmla="*/ 7661 h 21731"/>
                  <a:gd name="connsiteX2" fmla="*/ 754 w 55387"/>
                  <a:gd name="connsiteY2" fmla="*/ 8792 h 21731"/>
                  <a:gd name="connsiteX3" fmla="*/ 19091 w 55387"/>
                  <a:gd name="connsiteY3" fmla="*/ 19342 h 21731"/>
                  <a:gd name="connsiteX4" fmla="*/ 23612 w 55387"/>
                  <a:gd name="connsiteY4" fmla="*/ 19216 h 21731"/>
                  <a:gd name="connsiteX5" fmla="*/ 54257 w 55387"/>
                  <a:gd name="connsiteY5" fmla="*/ 1507 h 21731"/>
                  <a:gd name="connsiteX6" fmla="*/ 55388 w 55387"/>
                  <a:gd name="connsiteY6" fmla="*/ 0 h 21731"/>
                  <a:gd name="connsiteX7" fmla="*/ 55388 w 55387"/>
                  <a:gd name="connsiteY7" fmla="*/ 0 h 21731"/>
                  <a:gd name="connsiteX8" fmla="*/ 55388 w 55387"/>
                  <a:gd name="connsiteY8" fmla="*/ 1884 h 21731"/>
                  <a:gd name="connsiteX9" fmla="*/ 54257 w 55387"/>
                  <a:gd name="connsiteY9" fmla="*/ 3391 h 21731"/>
                  <a:gd name="connsiteX10" fmla="*/ 23612 w 55387"/>
                  <a:gd name="connsiteY10" fmla="*/ 21100 h 21731"/>
                  <a:gd name="connsiteX11" fmla="*/ 19091 w 55387"/>
                  <a:gd name="connsiteY11" fmla="*/ 21225 h 21731"/>
                  <a:gd name="connsiteX12" fmla="*/ 754 w 55387"/>
                  <a:gd name="connsiteY12" fmla="*/ 10675 h 21731"/>
                  <a:gd name="connsiteX13" fmla="*/ 0 w 55387"/>
                  <a:gd name="connsiteY13" fmla="*/ 9545 h 21731"/>
                  <a:gd name="connsiteX14" fmla="*/ 0 w 55387"/>
                  <a:gd name="connsiteY14" fmla="*/ 7661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387" h="21731">
                    <a:moveTo>
                      <a:pt x="0" y="7661"/>
                    </a:moveTo>
                    <a:lnTo>
                      <a:pt x="0" y="7661"/>
                    </a:lnTo>
                    <a:cubicBezTo>
                      <a:pt x="0" y="8038"/>
                      <a:pt x="251" y="8415"/>
                      <a:pt x="754" y="8792"/>
                    </a:cubicBezTo>
                    <a:lnTo>
                      <a:pt x="19091" y="19342"/>
                    </a:lnTo>
                    <a:cubicBezTo>
                      <a:pt x="20221" y="19970"/>
                      <a:pt x="22231" y="19970"/>
                      <a:pt x="23612" y="19216"/>
                    </a:cubicBezTo>
                    <a:lnTo>
                      <a:pt x="54257" y="1507"/>
                    </a:lnTo>
                    <a:cubicBezTo>
                      <a:pt x="55011" y="1130"/>
                      <a:pt x="55388" y="502"/>
                      <a:pt x="55388" y="0"/>
                    </a:cubicBezTo>
                    <a:lnTo>
                      <a:pt x="55388" y="0"/>
                    </a:lnTo>
                    <a:cubicBezTo>
                      <a:pt x="55388" y="0"/>
                      <a:pt x="55388" y="1507"/>
                      <a:pt x="55388" y="1884"/>
                    </a:cubicBezTo>
                    <a:cubicBezTo>
                      <a:pt x="55388" y="2386"/>
                      <a:pt x="55011" y="2889"/>
                      <a:pt x="54257" y="3391"/>
                    </a:cubicBezTo>
                    <a:lnTo>
                      <a:pt x="23612" y="21100"/>
                    </a:lnTo>
                    <a:cubicBezTo>
                      <a:pt x="22231" y="21853"/>
                      <a:pt x="20346" y="21979"/>
                      <a:pt x="19091" y="21225"/>
                    </a:cubicBezTo>
                    <a:lnTo>
                      <a:pt x="754" y="10675"/>
                    </a:lnTo>
                    <a:cubicBezTo>
                      <a:pt x="251" y="10424"/>
                      <a:pt x="0" y="9922"/>
                      <a:pt x="0" y="9545"/>
                    </a:cubicBezTo>
                    <a:cubicBezTo>
                      <a:pt x="0" y="9043"/>
                      <a:pt x="0" y="7661"/>
                      <a:pt x="0" y="7661"/>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95" name="Freeform: Shape 794">
              <a:extLst>
                <a:ext uri="{FF2B5EF4-FFF2-40B4-BE49-F238E27FC236}">
                  <a16:creationId xmlns:a16="http://schemas.microsoft.com/office/drawing/2014/main" id="{FEE7BF51-6EEC-4D7D-923C-5D47BC4E0438}"/>
                </a:ext>
              </a:extLst>
            </p:cNvPr>
            <p:cNvSpPr/>
            <p:nvPr/>
          </p:nvSpPr>
          <p:spPr>
            <a:xfrm>
              <a:off x="10174313" y="3101287"/>
              <a:ext cx="444730" cy="391981"/>
            </a:xfrm>
            <a:custGeom>
              <a:avLst/>
              <a:gdLst>
                <a:gd name="connsiteX0" fmla="*/ 444731 w 444730"/>
                <a:gd name="connsiteY0" fmla="*/ 391981 h 391981"/>
                <a:gd name="connsiteX1" fmla="*/ 444731 w 444730"/>
                <a:gd name="connsiteY1" fmla="*/ 256716 h 391981"/>
                <a:gd name="connsiteX2" fmla="*/ 0 w 444730"/>
                <a:gd name="connsiteY2" fmla="*/ 0 h 391981"/>
                <a:gd name="connsiteX3" fmla="*/ 0 w 444730"/>
                <a:gd name="connsiteY3" fmla="*/ 135140 h 391981"/>
              </a:gdLst>
              <a:ahLst/>
              <a:cxnLst>
                <a:cxn ang="0">
                  <a:pos x="connsiteX0" y="connsiteY0"/>
                </a:cxn>
                <a:cxn ang="0">
                  <a:pos x="connsiteX1" y="connsiteY1"/>
                </a:cxn>
                <a:cxn ang="0">
                  <a:pos x="connsiteX2" y="connsiteY2"/>
                </a:cxn>
                <a:cxn ang="0">
                  <a:pos x="connsiteX3" y="connsiteY3"/>
                </a:cxn>
              </a:cxnLst>
              <a:rect l="l" t="t" r="r" b="b"/>
              <a:pathLst>
                <a:path w="444730" h="391981">
                  <a:moveTo>
                    <a:pt x="444731" y="391981"/>
                  </a:moveTo>
                  <a:lnTo>
                    <a:pt x="444731" y="256716"/>
                  </a:lnTo>
                  <a:lnTo>
                    <a:pt x="0" y="0"/>
                  </a:lnTo>
                  <a:lnTo>
                    <a:pt x="0" y="135140"/>
                  </a:lnTo>
                  <a:close/>
                </a:path>
              </a:pathLst>
            </a:custGeom>
            <a:solidFill>
              <a:srgbClr val="D3D1C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96" name="Graphic 4">
            <a:extLst>
              <a:ext uri="{FF2B5EF4-FFF2-40B4-BE49-F238E27FC236}">
                <a16:creationId xmlns:a16="http://schemas.microsoft.com/office/drawing/2014/main" id="{84FB7ED1-A2DF-40A1-A747-5F7CF3F14040}"/>
              </a:ext>
            </a:extLst>
          </p:cNvPr>
          <p:cNvGrpSpPr/>
          <p:nvPr/>
        </p:nvGrpSpPr>
        <p:grpSpPr>
          <a:xfrm>
            <a:off x="2050966" y="2411632"/>
            <a:ext cx="550818" cy="602515"/>
            <a:chOff x="2050966" y="2411632"/>
            <a:chExt cx="550818" cy="602515"/>
          </a:xfrm>
          <a:solidFill>
            <a:schemeClr val="accent1"/>
          </a:solidFill>
        </p:grpSpPr>
        <p:sp>
          <p:nvSpPr>
            <p:cNvPr id="797" name="Freeform: Shape 796">
              <a:extLst>
                <a:ext uri="{FF2B5EF4-FFF2-40B4-BE49-F238E27FC236}">
                  <a16:creationId xmlns:a16="http://schemas.microsoft.com/office/drawing/2014/main" id="{C0783FFF-6C54-48BE-8C79-2C55F15C2ACE}"/>
                </a:ext>
              </a:extLst>
            </p:cNvPr>
            <p:cNvSpPr/>
            <p:nvPr/>
          </p:nvSpPr>
          <p:spPr>
            <a:xfrm>
              <a:off x="2589517" y="2812796"/>
              <a:ext cx="12182" cy="17583"/>
            </a:xfrm>
            <a:custGeom>
              <a:avLst/>
              <a:gdLst>
                <a:gd name="connsiteX0" fmla="*/ 12183 w 12182"/>
                <a:gd name="connsiteY0" fmla="*/ 0 h 17583"/>
                <a:gd name="connsiteX1" fmla="*/ 12183 w 12182"/>
                <a:gd name="connsiteY1" fmla="*/ 17583 h 17583"/>
                <a:gd name="connsiteX2" fmla="*/ 0 w 12182"/>
                <a:gd name="connsiteY2" fmla="*/ 8415 h 17583"/>
              </a:gdLst>
              <a:ahLst/>
              <a:cxnLst>
                <a:cxn ang="0">
                  <a:pos x="connsiteX0" y="connsiteY0"/>
                </a:cxn>
                <a:cxn ang="0">
                  <a:pos x="connsiteX1" y="connsiteY1"/>
                </a:cxn>
                <a:cxn ang="0">
                  <a:pos x="connsiteX2" y="connsiteY2"/>
                </a:cxn>
              </a:cxnLst>
              <a:rect l="l" t="t" r="r" b="b"/>
              <a:pathLst>
                <a:path w="12182" h="17583">
                  <a:moveTo>
                    <a:pt x="12183" y="0"/>
                  </a:moveTo>
                  <a:lnTo>
                    <a:pt x="12183" y="17583"/>
                  </a:lnTo>
                  <a:lnTo>
                    <a:pt x="0" y="8415"/>
                  </a:ln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98" name="Graphic 4">
              <a:extLst>
                <a:ext uri="{FF2B5EF4-FFF2-40B4-BE49-F238E27FC236}">
                  <a16:creationId xmlns:a16="http://schemas.microsoft.com/office/drawing/2014/main" id="{84FB7ED1-A2DF-40A1-A747-5F7CF3F14040}"/>
                </a:ext>
              </a:extLst>
            </p:cNvPr>
            <p:cNvGrpSpPr/>
            <p:nvPr/>
          </p:nvGrpSpPr>
          <p:grpSpPr>
            <a:xfrm>
              <a:off x="2050966" y="2411632"/>
              <a:ext cx="550818" cy="602515"/>
              <a:chOff x="2050966" y="2411632"/>
              <a:chExt cx="550818" cy="602515"/>
            </a:xfrm>
            <a:solidFill>
              <a:schemeClr val="accent1"/>
            </a:solidFill>
          </p:grpSpPr>
          <p:sp>
            <p:nvSpPr>
              <p:cNvPr id="799" name="Freeform: Shape 798">
                <a:extLst>
                  <a:ext uri="{FF2B5EF4-FFF2-40B4-BE49-F238E27FC236}">
                    <a16:creationId xmlns:a16="http://schemas.microsoft.com/office/drawing/2014/main" id="{1E18B91B-1A54-4475-9845-02B3C42FFA67}"/>
                  </a:ext>
                </a:extLst>
              </p:cNvPr>
              <p:cNvSpPr/>
              <p:nvPr/>
            </p:nvSpPr>
            <p:spPr>
              <a:xfrm>
                <a:off x="2369977" y="2412023"/>
                <a:ext cx="10173" cy="7535"/>
              </a:xfrm>
              <a:custGeom>
                <a:avLst/>
                <a:gdLst>
                  <a:gd name="connsiteX0" fmla="*/ 10173 w 10173"/>
                  <a:gd name="connsiteY0" fmla="*/ 4270 h 7535"/>
                  <a:gd name="connsiteX1" fmla="*/ 2261 w 10173"/>
                  <a:gd name="connsiteY1" fmla="*/ 0 h 7535"/>
                  <a:gd name="connsiteX2" fmla="*/ 0 w 10173"/>
                  <a:gd name="connsiteY2" fmla="*/ 3517 h 7535"/>
                  <a:gd name="connsiteX3" fmla="*/ 8289 w 10173"/>
                  <a:gd name="connsiteY3" fmla="*/ 7536 h 7535"/>
                </a:gdLst>
                <a:ahLst/>
                <a:cxnLst>
                  <a:cxn ang="0">
                    <a:pos x="connsiteX0" y="connsiteY0"/>
                  </a:cxn>
                  <a:cxn ang="0">
                    <a:pos x="connsiteX1" y="connsiteY1"/>
                  </a:cxn>
                  <a:cxn ang="0">
                    <a:pos x="connsiteX2" y="connsiteY2"/>
                  </a:cxn>
                  <a:cxn ang="0">
                    <a:pos x="connsiteX3" y="connsiteY3"/>
                  </a:cxn>
                </a:cxnLst>
                <a:rect l="l" t="t" r="r" b="b"/>
                <a:pathLst>
                  <a:path w="10173" h="7535">
                    <a:moveTo>
                      <a:pt x="10173" y="4270"/>
                    </a:moveTo>
                    <a:lnTo>
                      <a:pt x="2261" y="0"/>
                    </a:lnTo>
                    <a:lnTo>
                      <a:pt x="0" y="3517"/>
                    </a:lnTo>
                    <a:lnTo>
                      <a:pt x="8289" y="7536"/>
                    </a:ln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0" name="Freeform: Shape 799">
                <a:extLst>
                  <a:ext uri="{FF2B5EF4-FFF2-40B4-BE49-F238E27FC236}">
                    <a16:creationId xmlns:a16="http://schemas.microsoft.com/office/drawing/2014/main" id="{FD51572C-EB4C-4DB3-A457-50D443194FE0}"/>
                  </a:ext>
                </a:extLst>
              </p:cNvPr>
              <p:cNvSpPr/>
              <p:nvPr/>
            </p:nvSpPr>
            <p:spPr>
              <a:xfrm>
                <a:off x="2054357" y="2849093"/>
                <a:ext cx="8540" cy="10549"/>
              </a:xfrm>
              <a:custGeom>
                <a:avLst/>
                <a:gdLst>
                  <a:gd name="connsiteX0" fmla="*/ 0 w 8540"/>
                  <a:gd name="connsiteY0" fmla="*/ 6405 h 10549"/>
                  <a:gd name="connsiteX1" fmla="*/ 7661 w 8540"/>
                  <a:gd name="connsiteY1" fmla="*/ 10550 h 10549"/>
                  <a:gd name="connsiteX2" fmla="*/ 8540 w 8540"/>
                  <a:gd name="connsiteY2" fmla="*/ 4396 h 10549"/>
                  <a:gd name="connsiteX3" fmla="*/ 628 w 8540"/>
                  <a:gd name="connsiteY3" fmla="*/ 0 h 10549"/>
                </a:gdLst>
                <a:ahLst/>
                <a:cxnLst>
                  <a:cxn ang="0">
                    <a:pos x="connsiteX0" y="connsiteY0"/>
                  </a:cxn>
                  <a:cxn ang="0">
                    <a:pos x="connsiteX1" y="connsiteY1"/>
                  </a:cxn>
                  <a:cxn ang="0">
                    <a:pos x="connsiteX2" y="connsiteY2"/>
                  </a:cxn>
                  <a:cxn ang="0">
                    <a:pos x="connsiteX3" y="connsiteY3"/>
                  </a:cxn>
                </a:cxnLst>
                <a:rect l="l" t="t" r="r" b="b"/>
                <a:pathLst>
                  <a:path w="8540" h="10549">
                    <a:moveTo>
                      <a:pt x="0" y="6405"/>
                    </a:moveTo>
                    <a:lnTo>
                      <a:pt x="7661" y="10550"/>
                    </a:lnTo>
                    <a:lnTo>
                      <a:pt x="8540" y="4396"/>
                    </a:lnTo>
                    <a:lnTo>
                      <a:pt x="628" y="0"/>
                    </a:lnTo>
                    <a:close/>
                  </a:path>
                </a:pathLst>
              </a:custGeom>
              <a:solidFill>
                <a:srgbClr val="FEAC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1" name="Freeform: Shape 800">
                <a:extLst>
                  <a:ext uri="{FF2B5EF4-FFF2-40B4-BE49-F238E27FC236}">
                    <a16:creationId xmlns:a16="http://schemas.microsoft.com/office/drawing/2014/main" id="{11D37A84-DAE3-423E-9380-928DF2014FC5}"/>
                  </a:ext>
                </a:extLst>
              </p:cNvPr>
              <p:cNvSpPr/>
              <p:nvPr/>
            </p:nvSpPr>
            <p:spPr>
              <a:xfrm>
                <a:off x="2050966" y="2411632"/>
                <a:ext cx="325164" cy="444383"/>
              </a:xfrm>
              <a:custGeom>
                <a:avLst/>
                <a:gdLst>
                  <a:gd name="connsiteX0" fmla="*/ 9420 w 325164"/>
                  <a:gd name="connsiteY0" fmla="*/ 443239 h 444383"/>
                  <a:gd name="connsiteX1" fmla="*/ 315745 w 325164"/>
                  <a:gd name="connsiteY1" fmla="*/ 266401 h 444383"/>
                  <a:gd name="connsiteX2" fmla="*/ 325165 w 325164"/>
                  <a:gd name="connsiteY2" fmla="*/ 248567 h 444383"/>
                  <a:gd name="connsiteX3" fmla="*/ 325165 w 325164"/>
                  <a:gd name="connsiteY3" fmla="*/ 8178 h 444383"/>
                  <a:gd name="connsiteX4" fmla="*/ 315745 w 325164"/>
                  <a:gd name="connsiteY4" fmla="*/ 1145 h 444383"/>
                  <a:gd name="connsiteX5" fmla="*/ 9420 w 325164"/>
                  <a:gd name="connsiteY5" fmla="*/ 177983 h 444383"/>
                  <a:gd name="connsiteX6" fmla="*/ 0 w 325164"/>
                  <a:gd name="connsiteY6" fmla="*/ 195817 h 444383"/>
                  <a:gd name="connsiteX7" fmla="*/ 0 w 325164"/>
                  <a:gd name="connsiteY7" fmla="*/ 436205 h 444383"/>
                  <a:gd name="connsiteX8" fmla="*/ 9420 w 325164"/>
                  <a:gd name="connsiteY8" fmla="*/ 443239 h 444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164" h="444383">
                    <a:moveTo>
                      <a:pt x="9420" y="443239"/>
                    </a:moveTo>
                    <a:lnTo>
                      <a:pt x="315745" y="266401"/>
                    </a:lnTo>
                    <a:cubicBezTo>
                      <a:pt x="320895" y="263387"/>
                      <a:pt x="325165" y="255475"/>
                      <a:pt x="325165" y="248567"/>
                    </a:cubicBezTo>
                    <a:lnTo>
                      <a:pt x="325165" y="8178"/>
                    </a:lnTo>
                    <a:cubicBezTo>
                      <a:pt x="325165" y="1271"/>
                      <a:pt x="321020" y="-1869"/>
                      <a:pt x="315745" y="1145"/>
                    </a:cubicBezTo>
                    <a:lnTo>
                      <a:pt x="9420" y="177983"/>
                    </a:lnTo>
                    <a:cubicBezTo>
                      <a:pt x="4270" y="180997"/>
                      <a:pt x="0" y="188909"/>
                      <a:pt x="0" y="195817"/>
                    </a:cubicBezTo>
                    <a:lnTo>
                      <a:pt x="0" y="436205"/>
                    </a:lnTo>
                    <a:cubicBezTo>
                      <a:pt x="126" y="443113"/>
                      <a:pt x="4270" y="446253"/>
                      <a:pt x="9420" y="443239"/>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2" name="Freeform: Shape 801">
                <a:extLst>
                  <a:ext uri="{FF2B5EF4-FFF2-40B4-BE49-F238E27FC236}">
                    <a16:creationId xmlns:a16="http://schemas.microsoft.com/office/drawing/2014/main" id="{293F1BE0-96BD-447C-83E1-48EC14CE1C7D}"/>
                  </a:ext>
                </a:extLst>
              </p:cNvPr>
              <p:cNvSpPr/>
              <p:nvPr/>
            </p:nvSpPr>
            <p:spPr>
              <a:xfrm>
                <a:off x="2058627" y="2415902"/>
                <a:ext cx="325164" cy="444312"/>
              </a:xfrm>
              <a:custGeom>
                <a:avLst/>
                <a:gdLst>
                  <a:gd name="connsiteX0" fmla="*/ 9420 w 325164"/>
                  <a:gd name="connsiteY0" fmla="*/ 443239 h 444312"/>
                  <a:gd name="connsiteX1" fmla="*/ 315745 w 325164"/>
                  <a:gd name="connsiteY1" fmla="*/ 266401 h 444312"/>
                  <a:gd name="connsiteX2" fmla="*/ 325165 w 325164"/>
                  <a:gd name="connsiteY2" fmla="*/ 248567 h 444312"/>
                  <a:gd name="connsiteX3" fmla="*/ 325165 w 325164"/>
                  <a:gd name="connsiteY3" fmla="*/ 8178 h 444312"/>
                  <a:gd name="connsiteX4" fmla="*/ 315745 w 325164"/>
                  <a:gd name="connsiteY4" fmla="*/ 1145 h 444312"/>
                  <a:gd name="connsiteX5" fmla="*/ 9420 w 325164"/>
                  <a:gd name="connsiteY5" fmla="*/ 177983 h 444312"/>
                  <a:gd name="connsiteX6" fmla="*/ 0 w 325164"/>
                  <a:gd name="connsiteY6" fmla="*/ 195817 h 444312"/>
                  <a:gd name="connsiteX7" fmla="*/ 0 w 325164"/>
                  <a:gd name="connsiteY7" fmla="*/ 436206 h 444312"/>
                  <a:gd name="connsiteX8" fmla="*/ 9420 w 325164"/>
                  <a:gd name="connsiteY8" fmla="*/ 443239 h 444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164" h="444312">
                    <a:moveTo>
                      <a:pt x="9420" y="443239"/>
                    </a:moveTo>
                    <a:lnTo>
                      <a:pt x="315745" y="266401"/>
                    </a:lnTo>
                    <a:cubicBezTo>
                      <a:pt x="320895" y="263387"/>
                      <a:pt x="325165" y="255349"/>
                      <a:pt x="325165" y="248567"/>
                    </a:cubicBezTo>
                    <a:lnTo>
                      <a:pt x="325165" y="8178"/>
                    </a:lnTo>
                    <a:cubicBezTo>
                      <a:pt x="325165" y="1271"/>
                      <a:pt x="321020" y="-1869"/>
                      <a:pt x="315745" y="1145"/>
                    </a:cubicBezTo>
                    <a:lnTo>
                      <a:pt x="9420" y="177983"/>
                    </a:lnTo>
                    <a:cubicBezTo>
                      <a:pt x="4270" y="180997"/>
                      <a:pt x="0" y="188909"/>
                      <a:pt x="0" y="195817"/>
                    </a:cubicBezTo>
                    <a:lnTo>
                      <a:pt x="0" y="436206"/>
                    </a:lnTo>
                    <a:cubicBezTo>
                      <a:pt x="126" y="442988"/>
                      <a:pt x="4270" y="446127"/>
                      <a:pt x="9420" y="44323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3" name="Freeform: Shape 802">
                <a:extLst>
                  <a:ext uri="{FF2B5EF4-FFF2-40B4-BE49-F238E27FC236}">
                    <a16:creationId xmlns:a16="http://schemas.microsoft.com/office/drawing/2014/main" id="{4E1109AE-E478-4722-9EB2-D6D0ADDDBC05}"/>
                  </a:ext>
                </a:extLst>
              </p:cNvPr>
              <p:cNvSpPr/>
              <p:nvPr/>
            </p:nvSpPr>
            <p:spPr>
              <a:xfrm>
                <a:off x="2072945" y="2440895"/>
                <a:ext cx="296278" cy="394271"/>
              </a:xfrm>
              <a:custGeom>
                <a:avLst/>
                <a:gdLst>
                  <a:gd name="connsiteX0" fmla="*/ 296278 w 296278"/>
                  <a:gd name="connsiteY0" fmla="*/ 215159 h 394271"/>
                  <a:gd name="connsiteX1" fmla="*/ 296278 w 296278"/>
                  <a:gd name="connsiteY1" fmla="*/ 8178 h 394271"/>
                  <a:gd name="connsiteX2" fmla="*/ 286859 w 296278"/>
                  <a:gd name="connsiteY2" fmla="*/ 1145 h 394271"/>
                  <a:gd name="connsiteX3" fmla="*/ 9420 w 296278"/>
                  <a:gd name="connsiteY3" fmla="*/ 161278 h 394271"/>
                  <a:gd name="connsiteX4" fmla="*/ 0 w 296278"/>
                  <a:gd name="connsiteY4" fmla="*/ 179113 h 394271"/>
                  <a:gd name="connsiteX5" fmla="*/ 0 w 296278"/>
                  <a:gd name="connsiteY5" fmla="*/ 386093 h 394271"/>
                  <a:gd name="connsiteX6" fmla="*/ 9420 w 296278"/>
                  <a:gd name="connsiteY6" fmla="*/ 393127 h 394271"/>
                  <a:gd name="connsiteX7" fmla="*/ 286859 w 296278"/>
                  <a:gd name="connsiteY7" fmla="*/ 232993 h 394271"/>
                  <a:gd name="connsiteX8" fmla="*/ 296278 w 296278"/>
                  <a:gd name="connsiteY8" fmla="*/ 215159 h 394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6278" h="394271">
                    <a:moveTo>
                      <a:pt x="296278" y="215159"/>
                    </a:moveTo>
                    <a:lnTo>
                      <a:pt x="296278" y="8178"/>
                    </a:lnTo>
                    <a:cubicBezTo>
                      <a:pt x="296278" y="1271"/>
                      <a:pt x="292133" y="-1869"/>
                      <a:pt x="286859" y="1145"/>
                    </a:cubicBezTo>
                    <a:lnTo>
                      <a:pt x="9420" y="161278"/>
                    </a:lnTo>
                    <a:cubicBezTo>
                      <a:pt x="4270" y="164293"/>
                      <a:pt x="0" y="172205"/>
                      <a:pt x="0" y="179113"/>
                    </a:cubicBezTo>
                    <a:lnTo>
                      <a:pt x="0" y="386093"/>
                    </a:lnTo>
                    <a:cubicBezTo>
                      <a:pt x="0" y="393001"/>
                      <a:pt x="4145" y="396141"/>
                      <a:pt x="9420" y="393127"/>
                    </a:cubicBezTo>
                    <a:lnTo>
                      <a:pt x="286859" y="232993"/>
                    </a:lnTo>
                    <a:cubicBezTo>
                      <a:pt x="292133" y="229979"/>
                      <a:pt x="296278" y="222066"/>
                      <a:pt x="296278" y="215159"/>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4" name="Freeform: Shape 803">
                <a:extLst>
                  <a:ext uri="{FF2B5EF4-FFF2-40B4-BE49-F238E27FC236}">
                    <a16:creationId xmlns:a16="http://schemas.microsoft.com/office/drawing/2014/main" id="{FA745E94-8F54-4E04-A485-A25B7995109E}"/>
                  </a:ext>
                </a:extLst>
              </p:cNvPr>
              <p:cNvSpPr/>
              <p:nvPr/>
            </p:nvSpPr>
            <p:spPr>
              <a:xfrm>
                <a:off x="2058607" y="2866852"/>
                <a:ext cx="19969" cy="18085"/>
              </a:xfrm>
              <a:custGeom>
                <a:avLst/>
                <a:gdLst>
                  <a:gd name="connsiteX0" fmla="*/ 19970 w 19969"/>
                  <a:gd name="connsiteY0" fmla="*/ 18086 h 18085"/>
                  <a:gd name="connsiteX1" fmla="*/ 0 w 19969"/>
                  <a:gd name="connsiteY1" fmla="*/ 18086 h 18085"/>
                  <a:gd name="connsiteX2" fmla="*/ 0 w 19969"/>
                  <a:gd name="connsiteY2" fmla="*/ 0 h 18085"/>
                  <a:gd name="connsiteX3" fmla="*/ 19970 w 19969"/>
                  <a:gd name="connsiteY3" fmla="*/ 0 h 18085"/>
                </a:gdLst>
                <a:ahLst/>
                <a:cxnLst>
                  <a:cxn ang="0">
                    <a:pos x="connsiteX0" y="connsiteY0"/>
                  </a:cxn>
                  <a:cxn ang="0">
                    <a:pos x="connsiteX1" y="connsiteY1"/>
                  </a:cxn>
                  <a:cxn ang="0">
                    <a:pos x="connsiteX2" y="connsiteY2"/>
                  </a:cxn>
                  <a:cxn ang="0">
                    <a:pos x="connsiteX3" y="connsiteY3"/>
                  </a:cxn>
                </a:cxnLst>
                <a:rect l="l" t="t" r="r" b="b"/>
                <a:pathLst>
                  <a:path w="19969" h="18085">
                    <a:moveTo>
                      <a:pt x="19970" y="18086"/>
                    </a:moveTo>
                    <a:lnTo>
                      <a:pt x="0" y="18086"/>
                    </a:lnTo>
                    <a:lnTo>
                      <a:pt x="0" y="0"/>
                    </a:lnTo>
                    <a:lnTo>
                      <a:pt x="19970" y="0"/>
                    </a:ln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5" name="Freeform: Shape 804">
                <a:extLst>
                  <a:ext uri="{FF2B5EF4-FFF2-40B4-BE49-F238E27FC236}">
                    <a16:creationId xmlns:a16="http://schemas.microsoft.com/office/drawing/2014/main" id="{3F7A048A-37B9-4971-9FF4-D90B98712FB6}"/>
                  </a:ext>
                </a:extLst>
              </p:cNvPr>
              <p:cNvSpPr/>
              <p:nvPr/>
            </p:nvSpPr>
            <p:spPr>
              <a:xfrm>
                <a:off x="2058668" y="2700585"/>
                <a:ext cx="543117" cy="313562"/>
              </a:xfrm>
              <a:custGeom>
                <a:avLst/>
                <a:gdLst>
                  <a:gd name="connsiteX0" fmla="*/ 233315 w 543117"/>
                  <a:gd name="connsiteY0" fmla="*/ 311530 h 313562"/>
                  <a:gd name="connsiteX1" fmla="*/ 539641 w 543117"/>
                  <a:gd name="connsiteY1" fmla="*/ 134692 h 313562"/>
                  <a:gd name="connsiteX2" fmla="*/ 538133 w 543117"/>
                  <a:gd name="connsiteY2" fmla="*/ 123012 h 313562"/>
                  <a:gd name="connsiteX3" fmla="*/ 330023 w 543117"/>
                  <a:gd name="connsiteY3" fmla="*/ 2818 h 313562"/>
                  <a:gd name="connsiteX4" fmla="*/ 309802 w 543117"/>
                  <a:gd name="connsiteY4" fmla="*/ 1939 h 313562"/>
                  <a:gd name="connsiteX5" fmla="*/ 3476 w 543117"/>
                  <a:gd name="connsiteY5" fmla="*/ 178776 h 313562"/>
                  <a:gd name="connsiteX6" fmla="*/ 4983 w 543117"/>
                  <a:gd name="connsiteY6" fmla="*/ 190457 h 313562"/>
                  <a:gd name="connsiteX7" fmla="*/ 213094 w 543117"/>
                  <a:gd name="connsiteY7" fmla="*/ 310651 h 313562"/>
                  <a:gd name="connsiteX8" fmla="*/ 233315 w 543117"/>
                  <a:gd name="connsiteY8" fmla="*/ 311530 h 313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3117" h="313562">
                    <a:moveTo>
                      <a:pt x="233315" y="311530"/>
                    </a:moveTo>
                    <a:lnTo>
                      <a:pt x="539641" y="134692"/>
                    </a:lnTo>
                    <a:cubicBezTo>
                      <a:pt x="544790" y="131678"/>
                      <a:pt x="544162" y="126529"/>
                      <a:pt x="538133" y="123012"/>
                    </a:cubicBezTo>
                    <a:lnTo>
                      <a:pt x="330023" y="2818"/>
                    </a:lnTo>
                    <a:cubicBezTo>
                      <a:pt x="323994" y="-573"/>
                      <a:pt x="315077" y="-950"/>
                      <a:pt x="309802" y="1939"/>
                    </a:cubicBezTo>
                    <a:lnTo>
                      <a:pt x="3476" y="178776"/>
                    </a:lnTo>
                    <a:cubicBezTo>
                      <a:pt x="-1673" y="181791"/>
                      <a:pt x="-1045" y="186940"/>
                      <a:pt x="4983" y="190457"/>
                    </a:cubicBezTo>
                    <a:lnTo>
                      <a:pt x="213094" y="310651"/>
                    </a:lnTo>
                    <a:cubicBezTo>
                      <a:pt x="219123" y="314168"/>
                      <a:pt x="228040" y="314544"/>
                      <a:pt x="233315" y="311530"/>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6" name="Freeform: Shape 805">
                <a:extLst>
                  <a:ext uri="{FF2B5EF4-FFF2-40B4-BE49-F238E27FC236}">
                    <a16:creationId xmlns:a16="http://schemas.microsoft.com/office/drawing/2014/main" id="{D089B0DF-8300-485C-BA0D-5277AB2FFE50}"/>
                  </a:ext>
                </a:extLst>
              </p:cNvPr>
              <p:cNvSpPr/>
              <p:nvPr/>
            </p:nvSpPr>
            <p:spPr>
              <a:xfrm>
                <a:off x="2058668" y="2683504"/>
                <a:ext cx="543117" cy="313562"/>
              </a:xfrm>
              <a:custGeom>
                <a:avLst/>
                <a:gdLst>
                  <a:gd name="connsiteX0" fmla="*/ 233315 w 543117"/>
                  <a:gd name="connsiteY0" fmla="*/ 311530 h 313562"/>
                  <a:gd name="connsiteX1" fmla="*/ 539641 w 543117"/>
                  <a:gd name="connsiteY1" fmla="*/ 134692 h 313562"/>
                  <a:gd name="connsiteX2" fmla="*/ 538133 w 543117"/>
                  <a:gd name="connsiteY2" fmla="*/ 123012 h 313562"/>
                  <a:gd name="connsiteX3" fmla="*/ 330023 w 543117"/>
                  <a:gd name="connsiteY3" fmla="*/ 2818 h 313562"/>
                  <a:gd name="connsiteX4" fmla="*/ 309802 w 543117"/>
                  <a:gd name="connsiteY4" fmla="*/ 1939 h 313562"/>
                  <a:gd name="connsiteX5" fmla="*/ 3476 w 543117"/>
                  <a:gd name="connsiteY5" fmla="*/ 178776 h 313562"/>
                  <a:gd name="connsiteX6" fmla="*/ 4983 w 543117"/>
                  <a:gd name="connsiteY6" fmla="*/ 190457 h 313562"/>
                  <a:gd name="connsiteX7" fmla="*/ 213094 w 543117"/>
                  <a:gd name="connsiteY7" fmla="*/ 310651 h 313562"/>
                  <a:gd name="connsiteX8" fmla="*/ 233315 w 543117"/>
                  <a:gd name="connsiteY8" fmla="*/ 311530 h 313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3117" h="313562">
                    <a:moveTo>
                      <a:pt x="233315" y="311530"/>
                    </a:moveTo>
                    <a:lnTo>
                      <a:pt x="539641" y="134692"/>
                    </a:lnTo>
                    <a:cubicBezTo>
                      <a:pt x="544790" y="131678"/>
                      <a:pt x="544162" y="126529"/>
                      <a:pt x="538133" y="123012"/>
                    </a:cubicBezTo>
                    <a:lnTo>
                      <a:pt x="330023" y="2818"/>
                    </a:lnTo>
                    <a:cubicBezTo>
                      <a:pt x="323994" y="-573"/>
                      <a:pt x="315077" y="-950"/>
                      <a:pt x="309802" y="1939"/>
                    </a:cubicBezTo>
                    <a:lnTo>
                      <a:pt x="3476" y="178776"/>
                    </a:lnTo>
                    <a:cubicBezTo>
                      <a:pt x="-1673" y="181791"/>
                      <a:pt x="-1045" y="186940"/>
                      <a:pt x="4983" y="190457"/>
                    </a:cubicBezTo>
                    <a:lnTo>
                      <a:pt x="213094" y="310651"/>
                    </a:lnTo>
                    <a:cubicBezTo>
                      <a:pt x="219123" y="314168"/>
                      <a:pt x="228040" y="314544"/>
                      <a:pt x="233315" y="311530"/>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7" name="Freeform: Shape 806">
                <a:extLst>
                  <a:ext uri="{FF2B5EF4-FFF2-40B4-BE49-F238E27FC236}">
                    <a16:creationId xmlns:a16="http://schemas.microsoft.com/office/drawing/2014/main" id="{8E137CEE-B383-4806-8CC1-9554764FC4D4}"/>
                  </a:ext>
                </a:extLst>
              </p:cNvPr>
              <p:cNvSpPr/>
              <p:nvPr/>
            </p:nvSpPr>
            <p:spPr>
              <a:xfrm>
                <a:off x="2086466" y="2699511"/>
                <a:ext cx="415178" cy="239757"/>
              </a:xfrm>
              <a:custGeom>
                <a:avLst/>
                <a:gdLst>
                  <a:gd name="connsiteX0" fmla="*/ 411241 w 415178"/>
                  <a:gd name="connsiteY0" fmla="*/ 66438 h 239757"/>
                  <a:gd name="connsiteX1" fmla="*/ 300090 w 415178"/>
                  <a:gd name="connsiteY1" fmla="*/ 2259 h 239757"/>
                  <a:gd name="connsiteX2" fmla="*/ 284014 w 415178"/>
                  <a:gd name="connsiteY2" fmla="*/ 1631 h 239757"/>
                  <a:gd name="connsiteX3" fmla="*/ 2807 w 415178"/>
                  <a:gd name="connsiteY3" fmla="*/ 164025 h 239757"/>
                  <a:gd name="connsiteX4" fmla="*/ 3937 w 415178"/>
                  <a:gd name="connsiteY4" fmla="*/ 173319 h 239757"/>
                  <a:gd name="connsiteX5" fmla="*/ 115089 w 415178"/>
                  <a:gd name="connsiteY5" fmla="*/ 237498 h 239757"/>
                  <a:gd name="connsiteX6" fmla="*/ 131165 w 415178"/>
                  <a:gd name="connsiteY6" fmla="*/ 238126 h 239757"/>
                  <a:gd name="connsiteX7" fmla="*/ 412372 w 415178"/>
                  <a:gd name="connsiteY7" fmla="*/ 75732 h 239757"/>
                  <a:gd name="connsiteX8" fmla="*/ 411241 w 415178"/>
                  <a:gd name="connsiteY8" fmla="*/ 66438 h 23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178" h="239757">
                    <a:moveTo>
                      <a:pt x="411241" y="66438"/>
                    </a:moveTo>
                    <a:lnTo>
                      <a:pt x="300090" y="2259"/>
                    </a:lnTo>
                    <a:cubicBezTo>
                      <a:pt x="295317" y="-504"/>
                      <a:pt x="288158" y="-755"/>
                      <a:pt x="284014" y="1631"/>
                    </a:cubicBezTo>
                    <a:lnTo>
                      <a:pt x="2807" y="164025"/>
                    </a:lnTo>
                    <a:cubicBezTo>
                      <a:pt x="-1338" y="166411"/>
                      <a:pt x="-836" y="170556"/>
                      <a:pt x="3937" y="173319"/>
                    </a:cubicBezTo>
                    <a:lnTo>
                      <a:pt x="115089" y="237498"/>
                    </a:lnTo>
                    <a:cubicBezTo>
                      <a:pt x="119861" y="240261"/>
                      <a:pt x="127020" y="240512"/>
                      <a:pt x="131165" y="238126"/>
                    </a:cubicBezTo>
                    <a:lnTo>
                      <a:pt x="412372" y="75732"/>
                    </a:lnTo>
                    <a:cubicBezTo>
                      <a:pt x="416516" y="73346"/>
                      <a:pt x="416014" y="69201"/>
                      <a:pt x="411241" y="66438"/>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8" name="Freeform: Shape 807">
                <a:extLst>
                  <a:ext uri="{FF2B5EF4-FFF2-40B4-BE49-F238E27FC236}">
                    <a16:creationId xmlns:a16="http://schemas.microsoft.com/office/drawing/2014/main" id="{052B5707-D3CC-4B70-B69A-04FF8372F086}"/>
                  </a:ext>
                </a:extLst>
              </p:cNvPr>
              <p:cNvSpPr/>
              <p:nvPr/>
            </p:nvSpPr>
            <p:spPr>
              <a:xfrm>
                <a:off x="2325505" y="2837446"/>
                <a:ext cx="149229" cy="86341"/>
              </a:xfrm>
              <a:custGeom>
                <a:avLst/>
                <a:gdLst>
                  <a:gd name="connsiteX0" fmla="*/ 145199 w 149229"/>
                  <a:gd name="connsiteY0" fmla="*/ 27221 h 86341"/>
                  <a:gd name="connsiteX1" fmla="*/ 102246 w 149229"/>
                  <a:gd name="connsiteY1" fmla="*/ 2353 h 86341"/>
                  <a:gd name="connsiteX2" fmla="*/ 85667 w 149229"/>
                  <a:gd name="connsiteY2" fmla="*/ 1725 h 86341"/>
                  <a:gd name="connsiteX3" fmla="*/ 2900 w 149229"/>
                  <a:gd name="connsiteY3" fmla="*/ 49576 h 86341"/>
                  <a:gd name="connsiteX4" fmla="*/ 4031 w 149229"/>
                  <a:gd name="connsiteY4" fmla="*/ 59121 h 86341"/>
                  <a:gd name="connsiteX5" fmla="*/ 46984 w 149229"/>
                  <a:gd name="connsiteY5" fmla="*/ 83989 h 86341"/>
                  <a:gd name="connsiteX6" fmla="*/ 63563 w 149229"/>
                  <a:gd name="connsiteY6" fmla="*/ 84617 h 86341"/>
                  <a:gd name="connsiteX7" fmla="*/ 146329 w 149229"/>
                  <a:gd name="connsiteY7" fmla="*/ 36766 h 86341"/>
                  <a:gd name="connsiteX8" fmla="*/ 145199 w 149229"/>
                  <a:gd name="connsiteY8" fmla="*/ 27221 h 86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229" h="86341">
                    <a:moveTo>
                      <a:pt x="145199" y="27221"/>
                    </a:moveTo>
                    <a:lnTo>
                      <a:pt x="102246" y="2353"/>
                    </a:lnTo>
                    <a:cubicBezTo>
                      <a:pt x="97348" y="-536"/>
                      <a:pt x="89938" y="-787"/>
                      <a:pt x="85667" y="1725"/>
                    </a:cubicBezTo>
                    <a:lnTo>
                      <a:pt x="2900" y="49576"/>
                    </a:lnTo>
                    <a:cubicBezTo>
                      <a:pt x="-1370" y="52088"/>
                      <a:pt x="-868" y="56358"/>
                      <a:pt x="4031" y="59121"/>
                    </a:cubicBezTo>
                    <a:lnTo>
                      <a:pt x="46984" y="83989"/>
                    </a:lnTo>
                    <a:cubicBezTo>
                      <a:pt x="51882" y="86878"/>
                      <a:pt x="59292" y="87129"/>
                      <a:pt x="63563" y="84617"/>
                    </a:cubicBezTo>
                    <a:lnTo>
                      <a:pt x="146329" y="36766"/>
                    </a:lnTo>
                    <a:cubicBezTo>
                      <a:pt x="150600" y="34379"/>
                      <a:pt x="150097" y="29983"/>
                      <a:pt x="145199" y="2722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809" name="Graphic 4">
                <a:extLst>
                  <a:ext uri="{FF2B5EF4-FFF2-40B4-BE49-F238E27FC236}">
                    <a16:creationId xmlns:a16="http://schemas.microsoft.com/office/drawing/2014/main" id="{84FB7ED1-A2DF-40A1-A747-5F7CF3F14040}"/>
                  </a:ext>
                </a:extLst>
              </p:cNvPr>
              <p:cNvGrpSpPr/>
              <p:nvPr/>
            </p:nvGrpSpPr>
            <p:grpSpPr>
              <a:xfrm>
                <a:off x="2095709" y="2704847"/>
                <a:ext cx="388276" cy="224186"/>
                <a:chOff x="2095709" y="2704847"/>
                <a:chExt cx="388276" cy="224186"/>
              </a:xfrm>
              <a:solidFill>
                <a:srgbClr val="131315"/>
              </a:solidFill>
            </p:grpSpPr>
            <p:grpSp>
              <p:nvGrpSpPr>
                <p:cNvPr id="810" name="Graphic 4">
                  <a:extLst>
                    <a:ext uri="{FF2B5EF4-FFF2-40B4-BE49-F238E27FC236}">
                      <a16:creationId xmlns:a16="http://schemas.microsoft.com/office/drawing/2014/main" id="{84FB7ED1-A2DF-40A1-A747-5F7CF3F14040}"/>
                    </a:ext>
                  </a:extLst>
                </p:cNvPr>
                <p:cNvGrpSpPr/>
                <p:nvPr/>
              </p:nvGrpSpPr>
              <p:grpSpPr>
                <a:xfrm>
                  <a:off x="2127862" y="2776060"/>
                  <a:ext cx="323971" cy="85184"/>
                  <a:chOff x="2127862" y="2776060"/>
                  <a:chExt cx="323971" cy="85184"/>
                </a:xfrm>
                <a:solidFill>
                  <a:srgbClr val="131315"/>
                </a:solidFill>
              </p:grpSpPr>
              <p:sp>
                <p:nvSpPr>
                  <p:cNvPr id="811" name="Freeform: Shape 810">
                    <a:extLst>
                      <a:ext uri="{FF2B5EF4-FFF2-40B4-BE49-F238E27FC236}">
                        <a16:creationId xmlns:a16="http://schemas.microsoft.com/office/drawing/2014/main" id="{99DD67EE-B61B-4E54-8965-1A15286672F0}"/>
                      </a:ext>
                    </a:extLst>
                  </p:cNvPr>
                  <p:cNvSpPr/>
                  <p:nvPr/>
                </p:nvSpPr>
                <p:spPr>
                  <a:xfrm>
                    <a:off x="2160139" y="2816250"/>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2" name="Freeform: Shape 811">
                    <a:extLst>
                      <a:ext uri="{FF2B5EF4-FFF2-40B4-BE49-F238E27FC236}">
                        <a16:creationId xmlns:a16="http://schemas.microsoft.com/office/drawing/2014/main" id="{61502A5B-89A7-4E2D-B0AD-D5462B8886F1}"/>
                      </a:ext>
                    </a:extLst>
                  </p:cNvPr>
                  <p:cNvSpPr/>
                  <p:nvPr/>
                </p:nvSpPr>
                <p:spPr>
                  <a:xfrm>
                    <a:off x="2127862" y="2834838"/>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3" name="Freeform: Shape 812">
                    <a:extLst>
                      <a:ext uri="{FF2B5EF4-FFF2-40B4-BE49-F238E27FC236}">
                        <a16:creationId xmlns:a16="http://schemas.microsoft.com/office/drawing/2014/main" id="{3286876F-B0C8-44DA-8807-CFFD87C0395B}"/>
                      </a:ext>
                    </a:extLst>
                  </p:cNvPr>
                  <p:cNvSpPr/>
                  <p:nvPr/>
                </p:nvSpPr>
                <p:spPr>
                  <a:xfrm>
                    <a:off x="2167550" y="2838355"/>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4" name="Freeform: Shape 813">
                    <a:extLst>
                      <a:ext uri="{FF2B5EF4-FFF2-40B4-BE49-F238E27FC236}">
                        <a16:creationId xmlns:a16="http://schemas.microsoft.com/office/drawing/2014/main" id="{D8918653-B163-4BF0-8C2A-5FA465E9418E}"/>
                      </a:ext>
                    </a:extLst>
                  </p:cNvPr>
                  <p:cNvSpPr/>
                  <p:nvPr/>
                </p:nvSpPr>
                <p:spPr>
                  <a:xfrm>
                    <a:off x="2412083" y="2776060"/>
                    <a:ext cx="39750" cy="22889"/>
                  </a:xfrm>
                  <a:custGeom>
                    <a:avLst/>
                    <a:gdLst>
                      <a:gd name="connsiteX0" fmla="*/ 18933 w 39750"/>
                      <a:gd name="connsiteY0" fmla="*/ 22042 h 22889"/>
                      <a:gd name="connsiteX1" fmla="*/ 38149 w 39750"/>
                      <a:gd name="connsiteY1" fmla="*/ 10989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89"/>
                        </a:lnTo>
                        <a:cubicBezTo>
                          <a:pt x="40284" y="9733"/>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815" name="Graphic 4">
                  <a:extLst>
                    <a:ext uri="{FF2B5EF4-FFF2-40B4-BE49-F238E27FC236}">
                      <a16:creationId xmlns:a16="http://schemas.microsoft.com/office/drawing/2014/main" id="{84FB7ED1-A2DF-40A1-A747-5F7CF3F14040}"/>
                    </a:ext>
                  </a:extLst>
                </p:cNvPr>
                <p:cNvGrpSpPr/>
                <p:nvPr/>
              </p:nvGrpSpPr>
              <p:grpSpPr>
                <a:xfrm>
                  <a:off x="2095709" y="2704847"/>
                  <a:ext cx="388276" cy="224186"/>
                  <a:chOff x="2095709" y="2704847"/>
                  <a:chExt cx="388276" cy="224186"/>
                </a:xfrm>
                <a:solidFill>
                  <a:srgbClr val="131315"/>
                </a:solidFill>
              </p:grpSpPr>
              <p:sp>
                <p:nvSpPr>
                  <p:cNvPr id="816" name="Freeform: Shape 815">
                    <a:extLst>
                      <a:ext uri="{FF2B5EF4-FFF2-40B4-BE49-F238E27FC236}">
                        <a16:creationId xmlns:a16="http://schemas.microsoft.com/office/drawing/2014/main" id="{EF7D62BC-808F-4E63-B9F7-6952FFF45FA5}"/>
                      </a:ext>
                    </a:extLst>
                  </p:cNvPr>
                  <p:cNvSpPr/>
                  <p:nvPr/>
                </p:nvSpPr>
                <p:spPr>
                  <a:xfrm>
                    <a:off x="2353179" y="2704847"/>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7" name="Freeform: Shape 816">
                    <a:extLst>
                      <a:ext uri="{FF2B5EF4-FFF2-40B4-BE49-F238E27FC236}">
                        <a16:creationId xmlns:a16="http://schemas.microsoft.com/office/drawing/2014/main" id="{4F2BE504-C663-4168-B0D8-2C28FDC9034C}"/>
                      </a:ext>
                    </a:extLst>
                  </p:cNvPr>
                  <p:cNvSpPr/>
                  <p:nvPr/>
                </p:nvSpPr>
                <p:spPr>
                  <a:xfrm>
                    <a:off x="2320901" y="2723435"/>
                    <a:ext cx="39750" cy="22889"/>
                  </a:xfrm>
                  <a:custGeom>
                    <a:avLst/>
                    <a:gdLst>
                      <a:gd name="connsiteX0" fmla="*/ 18933 w 39750"/>
                      <a:gd name="connsiteY0" fmla="*/ 22042 h 22889"/>
                      <a:gd name="connsiteX1" fmla="*/ 38149 w 39750"/>
                      <a:gd name="connsiteY1" fmla="*/ 10989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8" name="Freeform: Shape 817">
                    <a:extLst>
                      <a:ext uri="{FF2B5EF4-FFF2-40B4-BE49-F238E27FC236}">
                        <a16:creationId xmlns:a16="http://schemas.microsoft.com/office/drawing/2014/main" id="{BC6745B1-F3C4-498E-B4E7-912F1B861741}"/>
                      </a:ext>
                    </a:extLst>
                  </p:cNvPr>
                  <p:cNvSpPr/>
                  <p:nvPr/>
                </p:nvSpPr>
                <p:spPr>
                  <a:xfrm>
                    <a:off x="2288749" y="2742023"/>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9" name="Freeform: Shape 818">
                    <a:extLst>
                      <a:ext uri="{FF2B5EF4-FFF2-40B4-BE49-F238E27FC236}">
                        <a16:creationId xmlns:a16="http://schemas.microsoft.com/office/drawing/2014/main" id="{8E551D03-363A-49C2-B035-201B20DE620D}"/>
                      </a:ext>
                    </a:extLst>
                  </p:cNvPr>
                  <p:cNvSpPr/>
                  <p:nvPr/>
                </p:nvSpPr>
                <p:spPr>
                  <a:xfrm>
                    <a:off x="2256596" y="2760612"/>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0" name="Freeform: Shape 819">
                    <a:extLst>
                      <a:ext uri="{FF2B5EF4-FFF2-40B4-BE49-F238E27FC236}">
                        <a16:creationId xmlns:a16="http://schemas.microsoft.com/office/drawing/2014/main" id="{C1854FFC-6C10-4A36-BF9B-46C05E87C877}"/>
                      </a:ext>
                    </a:extLst>
                  </p:cNvPr>
                  <p:cNvSpPr/>
                  <p:nvPr/>
                </p:nvSpPr>
                <p:spPr>
                  <a:xfrm>
                    <a:off x="2224444" y="2779074"/>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1" name="Freeform: Shape 820">
                    <a:extLst>
                      <a:ext uri="{FF2B5EF4-FFF2-40B4-BE49-F238E27FC236}">
                        <a16:creationId xmlns:a16="http://schemas.microsoft.com/office/drawing/2014/main" id="{1BAD811A-D36F-40A8-B9BE-C3F44DF55D66}"/>
                      </a:ext>
                    </a:extLst>
                  </p:cNvPr>
                  <p:cNvSpPr/>
                  <p:nvPr/>
                </p:nvSpPr>
                <p:spPr>
                  <a:xfrm>
                    <a:off x="2192292" y="2797662"/>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4" y="9733"/>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2" name="Freeform: Shape 821">
                    <a:extLst>
                      <a:ext uri="{FF2B5EF4-FFF2-40B4-BE49-F238E27FC236}">
                        <a16:creationId xmlns:a16="http://schemas.microsoft.com/office/drawing/2014/main" id="{B37C113D-D549-4D4A-8F37-E7C6FF8218AB}"/>
                      </a:ext>
                    </a:extLst>
                  </p:cNvPr>
                  <p:cNvSpPr/>
                  <p:nvPr/>
                </p:nvSpPr>
                <p:spPr>
                  <a:xfrm>
                    <a:off x="2095709" y="2853426"/>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3" name="Freeform: Shape 822">
                    <a:extLst>
                      <a:ext uri="{FF2B5EF4-FFF2-40B4-BE49-F238E27FC236}">
                        <a16:creationId xmlns:a16="http://schemas.microsoft.com/office/drawing/2014/main" id="{05F899A8-1062-4BAD-A3DF-DAA4A95082DB}"/>
                      </a:ext>
                    </a:extLst>
                  </p:cNvPr>
                  <p:cNvSpPr/>
                  <p:nvPr/>
                </p:nvSpPr>
                <p:spPr>
                  <a:xfrm>
                    <a:off x="2360589" y="2717909"/>
                    <a:ext cx="55073" cy="31901"/>
                  </a:xfrm>
                  <a:custGeom>
                    <a:avLst/>
                    <a:gdLst>
                      <a:gd name="connsiteX0" fmla="*/ 18933 w 55073"/>
                      <a:gd name="connsiteY0" fmla="*/ 30959 h 31901"/>
                      <a:gd name="connsiteX1" fmla="*/ 53472 w 55073"/>
                      <a:gd name="connsiteY1" fmla="*/ 10990 h 31901"/>
                      <a:gd name="connsiteX2" fmla="*/ 53472 w 55073"/>
                      <a:gd name="connsiteY2" fmla="*/ 6594 h 31901"/>
                      <a:gd name="connsiteX3" fmla="*/ 43676 w 55073"/>
                      <a:gd name="connsiteY3" fmla="*/ 942 h 31901"/>
                      <a:gd name="connsiteX4" fmla="*/ 36140 w 55073"/>
                      <a:gd name="connsiteY4" fmla="*/ 942 h 31901"/>
                      <a:gd name="connsiteX5" fmla="*/ 1601 w 55073"/>
                      <a:gd name="connsiteY5" fmla="*/ 20912 h 31901"/>
                      <a:gd name="connsiteX6" fmla="*/ 1601 w 55073"/>
                      <a:gd name="connsiteY6" fmla="*/ 25307 h 31901"/>
                      <a:gd name="connsiteX7" fmla="*/ 11398 w 55073"/>
                      <a:gd name="connsiteY7" fmla="*/ 30959 h 31901"/>
                      <a:gd name="connsiteX8" fmla="*/ 18933 w 55073"/>
                      <a:gd name="connsiteY8" fmla="*/ 30959 h 3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073" h="31901">
                        <a:moveTo>
                          <a:pt x="18933" y="30959"/>
                        </a:moveTo>
                        <a:lnTo>
                          <a:pt x="53472" y="10990"/>
                        </a:lnTo>
                        <a:cubicBezTo>
                          <a:pt x="55607" y="9734"/>
                          <a:pt x="55607" y="7850"/>
                          <a:pt x="53472" y="6594"/>
                        </a:cubicBezTo>
                        <a:lnTo>
                          <a:pt x="43676" y="942"/>
                        </a:lnTo>
                        <a:cubicBezTo>
                          <a:pt x="41540" y="-314"/>
                          <a:pt x="38275" y="-314"/>
                          <a:pt x="36140" y="942"/>
                        </a:cubicBezTo>
                        <a:lnTo>
                          <a:pt x="1601" y="20912"/>
                        </a:lnTo>
                        <a:cubicBezTo>
                          <a:pt x="-534" y="22167"/>
                          <a:pt x="-534" y="24051"/>
                          <a:pt x="1601" y="25307"/>
                        </a:cubicBezTo>
                        <a:lnTo>
                          <a:pt x="11398" y="30959"/>
                        </a:lnTo>
                        <a:cubicBezTo>
                          <a:pt x="13533" y="32215"/>
                          <a:pt x="16798" y="32215"/>
                          <a:pt x="18933" y="3095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4" name="Freeform: Shape 823">
                    <a:extLst>
                      <a:ext uri="{FF2B5EF4-FFF2-40B4-BE49-F238E27FC236}">
                        <a16:creationId xmlns:a16="http://schemas.microsoft.com/office/drawing/2014/main" id="{7F3EFB20-4A14-4E24-A327-0DF718CA4408}"/>
                      </a:ext>
                    </a:extLst>
                  </p:cNvPr>
                  <p:cNvSpPr/>
                  <p:nvPr/>
                </p:nvSpPr>
                <p:spPr>
                  <a:xfrm>
                    <a:off x="2328437" y="2745415"/>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5" name="Freeform: Shape 824">
                    <a:extLst>
                      <a:ext uri="{FF2B5EF4-FFF2-40B4-BE49-F238E27FC236}">
                        <a16:creationId xmlns:a16="http://schemas.microsoft.com/office/drawing/2014/main" id="{9C1878F9-8DF0-44C6-9FC7-DCF8AF3985A2}"/>
                      </a:ext>
                    </a:extLst>
                  </p:cNvPr>
                  <p:cNvSpPr/>
                  <p:nvPr/>
                </p:nvSpPr>
                <p:spPr>
                  <a:xfrm>
                    <a:off x="2296284" y="2764003"/>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6" name="Freeform: Shape 825">
                    <a:extLst>
                      <a:ext uri="{FF2B5EF4-FFF2-40B4-BE49-F238E27FC236}">
                        <a16:creationId xmlns:a16="http://schemas.microsoft.com/office/drawing/2014/main" id="{C8B49C9E-7EDF-42C1-BE92-BE27FE28A176}"/>
                      </a:ext>
                    </a:extLst>
                  </p:cNvPr>
                  <p:cNvSpPr/>
                  <p:nvPr/>
                </p:nvSpPr>
                <p:spPr>
                  <a:xfrm>
                    <a:off x="2264006" y="2782591"/>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7" name="Freeform: Shape 826">
                    <a:extLst>
                      <a:ext uri="{FF2B5EF4-FFF2-40B4-BE49-F238E27FC236}">
                        <a16:creationId xmlns:a16="http://schemas.microsoft.com/office/drawing/2014/main" id="{2F1FD04E-C3EE-4C4F-A096-60679BC0FEC4}"/>
                      </a:ext>
                    </a:extLst>
                  </p:cNvPr>
                  <p:cNvSpPr/>
                  <p:nvPr/>
                </p:nvSpPr>
                <p:spPr>
                  <a:xfrm>
                    <a:off x="2231854" y="2801179"/>
                    <a:ext cx="39750" cy="22889"/>
                  </a:xfrm>
                  <a:custGeom>
                    <a:avLst/>
                    <a:gdLst>
                      <a:gd name="connsiteX0" fmla="*/ 18933 w 39750"/>
                      <a:gd name="connsiteY0" fmla="*/ 22042 h 22889"/>
                      <a:gd name="connsiteX1" fmla="*/ 38149 w 39750"/>
                      <a:gd name="connsiteY1" fmla="*/ 10989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89"/>
                        </a:lnTo>
                        <a:cubicBezTo>
                          <a:pt x="40285" y="9733"/>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8" name="Freeform: Shape 827">
                    <a:extLst>
                      <a:ext uri="{FF2B5EF4-FFF2-40B4-BE49-F238E27FC236}">
                        <a16:creationId xmlns:a16="http://schemas.microsoft.com/office/drawing/2014/main" id="{6BB5BAEF-5FBA-425F-9904-6D3E4F757DBF}"/>
                      </a:ext>
                    </a:extLst>
                  </p:cNvPr>
                  <p:cNvSpPr/>
                  <p:nvPr/>
                </p:nvSpPr>
                <p:spPr>
                  <a:xfrm>
                    <a:off x="2199702" y="2819767"/>
                    <a:ext cx="39750" cy="22889"/>
                  </a:xfrm>
                  <a:custGeom>
                    <a:avLst/>
                    <a:gdLst>
                      <a:gd name="connsiteX0" fmla="*/ 18933 w 39750"/>
                      <a:gd name="connsiteY0" fmla="*/ 22042 h 22889"/>
                      <a:gd name="connsiteX1" fmla="*/ 38149 w 39750"/>
                      <a:gd name="connsiteY1" fmla="*/ 10989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9" name="Freeform: Shape 828">
                    <a:extLst>
                      <a:ext uri="{FF2B5EF4-FFF2-40B4-BE49-F238E27FC236}">
                        <a16:creationId xmlns:a16="http://schemas.microsoft.com/office/drawing/2014/main" id="{835F0F5A-9A68-47B6-9D12-4E3C5BD038DB}"/>
                      </a:ext>
                    </a:extLst>
                  </p:cNvPr>
                  <p:cNvSpPr/>
                  <p:nvPr/>
                </p:nvSpPr>
                <p:spPr>
                  <a:xfrm>
                    <a:off x="2118568" y="2857320"/>
                    <a:ext cx="55826" cy="32183"/>
                  </a:xfrm>
                  <a:custGeom>
                    <a:avLst/>
                    <a:gdLst>
                      <a:gd name="connsiteX0" fmla="*/ 18933 w 55826"/>
                      <a:gd name="connsiteY0" fmla="*/ 31336 h 32183"/>
                      <a:gd name="connsiteX1" fmla="*/ 54226 w 55826"/>
                      <a:gd name="connsiteY1" fmla="*/ 10989 h 32183"/>
                      <a:gd name="connsiteX2" fmla="*/ 54226 w 55826"/>
                      <a:gd name="connsiteY2" fmla="*/ 6594 h 32183"/>
                      <a:gd name="connsiteX3" fmla="*/ 44429 w 55826"/>
                      <a:gd name="connsiteY3" fmla="*/ 942 h 32183"/>
                      <a:gd name="connsiteX4" fmla="*/ 36893 w 55826"/>
                      <a:gd name="connsiteY4" fmla="*/ 942 h 32183"/>
                      <a:gd name="connsiteX5" fmla="*/ 1601 w 55826"/>
                      <a:gd name="connsiteY5" fmla="*/ 21288 h 32183"/>
                      <a:gd name="connsiteX6" fmla="*/ 1601 w 55826"/>
                      <a:gd name="connsiteY6" fmla="*/ 25684 h 32183"/>
                      <a:gd name="connsiteX7" fmla="*/ 11398 w 55826"/>
                      <a:gd name="connsiteY7" fmla="*/ 31336 h 32183"/>
                      <a:gd name="connsiteX8" fmla="*/ 18933 w 55826"/>
                      <a:gd name="connsiteY8" fmla="*/ 31336 h 32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26" h="32183">
                        <a:moveTo>
                          <a:pt x="18933" y="31336"/>
                        </a:moveTo>
                        <a:lnTo>
                          <a:pt x="54226" y="10989"/>
                        </a:lnTo>
                        <a:cubicBezTo>
                          <a:pt x="56361" y="9733"/>
                          <a:pt x="56361" y="7850"/>
                          <a:pt x="54226" y="6594"/>
                        </a:cubicBezTo>
                        <a:lnTo>
                          <a:pt x="44429" y="942"/>
                        </a:lnTo>
                        <a:cubicBezTo>
                          <a:pt x="42294" y="-314"/>
                          <a:pt x="39029" y="-314"/>
                          <a:pt x="36893" y="942"/>
                        </a:cubicBezTo>
                        <a:lnTo>
                          <a:pt x="1601" y="21288"/>
                        </a:lnTo>
                        <a:cubicBezTo>
                          <a:pt x="-534" y="22544"/>
                          <a:pt x="-534" y="24428"/>
                          <a:pt x="1601" y="25684"/>
                        </a:cubicBezTo>
                        <a:lnTo>
                          <a:pt x="11398" y="31336"/>
                        </a:lnTo>
                        <a:cubicBezTo>
                          <a:pt x="13407" y="32466"/>
                          <a:pt x="16798" y="32466"/>
                          <a:pt x="18933" y="31336"/>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0" name="Freeform: Shape 829">
                    <a:extLst>
                      <a:ext uri="{FF2B5EF4-FFF2-40B4-BE49-F238E27FC236}">
                        <a16:creationId xmlns:a16="http://schemas.microsoft.com/office/drawing/2014/main" id="{14687577-402F-4041-BD4D-BB83B87E3E14}"/>
                      </a:ext>
                    </a:extLst>
                  </p:cNvPr>
                  <p:cNvSpPr/>
                  <p:nvPr/>
                </p:nvSpPr>
                <p:spPr>
                  <a:xfrm>
                    <a:off x="2406180" y="2744284"/>
                    <a:ext cx="55073" cy="31806"/>
                  </a:xfrm>
                  <a:custGeom>
                    <a:avLst/>
                    <a:gdLst>
                      <a:gd name="connsiteX0" fmla="*/ 18933 w 55073"/>
                      <a:gd name="connsiteY0" fmla="*/ 30959 h 31806"/>
                      <a:gd name="connsiteX1" fmla="*/ 53472 w 55073"/>
                      <a:gd name="connsiteY1" fmla="*/ 10990 h 31806"/>
                      <a:gd name="connsiteX2" fmla="*/ 53472 w 55073"/>
                      <a:gd name="connsiteY2" fmla="*/ 6594 h 31806"/>
                      <a:gd name="connsiteX3" fmla="*/ 43675 w 55073"/>
                      <a:gd name="connsiteY3" fmla="*/ 942 h 31806"/>
                      <a:gd name="connsiteX4" fmla="*/ 36140 w 55073"/>
                      <a:gd name="connsiteY4" fmla="*/ 942 h 31806"/>
                      <a:gd name="connsiteX5" fmla="*/ 1601 w 55073"/>
                      <a:gd name="connsiteY5" fmla="*/ 20911 h 31806"/>
                      <a:gd name="connsiteX6" fmla="*/ 1601 w 55073"/>
                      <a:gd name="connsiteY6" fmla="*/ 25307 h 31806"/>
                      <a:gd name="connsiteX7" fmla="*/ 11398 w 55073"/>
                      <a:gd name="connsiteY7" fmla="*/ 30959 h 31806"/>
                      <a:gd name="connsiteX8" fmla="*/ 18933 w 55073"/>
                      <a:gd name="connsiteY8" fmla="*/ 30959 h 31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073" h="31806">
                        <a:moveTo>
                          <a:pt x="18933" y="30959"/>
                        </a:moveTo>
                        <a:lnTo>
                          <a:pt x="53472" y="10990"/>
                        </a:lnTo>
                        <a:cubicBezTo>
                          <a:pt x="55607" y="9734"/>
                          <a:pt x="55607" y="7850"/>
                          <a:pt x="53472" y="6594"/>
                        </a:cubicBezTo>
                        <a:lnTo>
                          <a:pt x="43675" y="942"/>
                        </a:lnTo>
                        <a:cubicBezTo>
                          <a:pt x="41540" y="-314"/>
                          <a:pt x="38275" y="-314"/>
                          <a:pt x="36140" y="942"/>
                        </a:cubicBezTo>
                        <a:lnTo>
                          <a:pt x="1601" y="20911"/>
                        </a:lnTo>
                        <a:cubicBezTo>
                          <a:pt x="-534" y="22167"/>
                          <a:pt x="-534" y="24051"/>
                          <a:pt x="1601" y="25307"/>
                        </a:cubicBezTo>
                        <a:lnTo>
                          <a:pt x="11398" y="30959"/>
                        </a:lnTo>
                        <a:cubicBezTo>
                          <a:pt x="13407" y="32089"/>
                          <a:pt x="16798" y="32089"/>
                          <a:pt x="18933" y="3095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1" name="Freeform: Shape 830">
                    <a:extLst>
                      <a:ext uri="{FF2B5EF4-FFF2-40B4-BE49-F238E27FC236}">
                        <a16:creationId xmlns:a16="http://schemas.microsoft.com/office/drawing/2014/main" id="{C6EA3B79-B761-4786-9A39-98BDDB9D44AC}"/>
                      </a:ext>
                    </a:extLst>
                  </p:cNvPr>
                  <p:cNvSpPr/>
                  <p:nvPr/>
                </p:nvSpPr>
                <p:spPr>
                  <a:xfrm>
                    <a:off x="2374027" y="2771789"/>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4" y="9734"/>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2" name="Freeform: Shape 831">
                    <a:extLst>
                      <a:ext uri="{FF2B5EF4-FFF2-40B4-BE49-F238E27FC236}">
                        <a16:creationId xmlns:a16="http://schemas.microsoft.com/office/drawing/2014/main" id="{5EDFCB3B-2FF1-40AB-9E39-5B4A83C94953}"/>
                      </a:ext>
                    </a:extLst>
                  </p:cNvPr>
                  <p:cNvSpPr/>
                  <p:nvPr/>
                </p:nvSpPr>
                <p:spPr>
                  <a:xfrm>
                    <a:off x="2341750" y="2790252"/>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3" name="Freeform: Shape 832">
                    <a:extLst>
                      <a:ext uri="{FF2B5EF4-FFF2-40B4-BE49-F238E27FC236}">
                        <a16:creationId xmlns:a16="http://schemas.microsoft.com/office/drawing/2014/main" id="{FD9FF2A6-F972-443C-AFD0-828F859AF98F}"/>
                      </a:ext>
                    </a:extLst>
                  </p:cNvPr>
                  <p:cNvSpPr/>
                  <p:nvPr/>
                </p:nvSpPr>
                <p:spPr>
                  <a:xfrm>
                    <a:off x="2309597" y="2808840"/>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3"/>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4" name="Freeform: Shape 833">
                    <a:extLst>
                      <a:ext uri="{FF2B5EF4-FFF2-40B4-BE49-F238E27FC236}">
                        <a16:creationId xmlns:a16="http://schemas.microsoft.com/office/drawing/2014/main" id="{B317C113-C040-46A6-9189-B50BBEA70F77}"/>
                      </a:ext>
                    </a:extLst>
                  </p:cNvPr>
                  <p:cNvSpPr/>
                  <p:nvPr/>
                </p:nvSpPr>
                <p:spPr>
                  <a:xfrm>
                    <a:off x="2277445" y="2827428"/>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5" name="Freeform: Shape 834">
                    <a:extLst>
                      <a:ext uri="{FF2B5EF4-FFF2-40B4-BE49-F238E27FC236}">
                        <a16:creationId xmlns:a16="http://schemas.microsoft.com/office/drawing/2014/main" id="{C4799452-BEAB-4CE0-9545-DD324193160C}"/>
                      </a:ext>
                    </a:extLst>
                  </p:cNvPr>
                  <p:cNvSpPr/>
                  <p:nvPr/>
                </p:nvSpPr>
                <p:spPr>
                  <a:xfrm>
                    <a:off x="2245293" y="2846016"/>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4" y="9734"/>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6" name="Freeform: Shape 835">
                    <a:extLst>
                      <a:ext uri="{FF2B5EF4-FFF2-40B4-BE49-F238E27FC236}">
                        <a16:creationId xmlns:a16="http://schemas.microsoft.com/office/drawing/2014/main" id="{7AA53965-91CB-4A18-BB9C-7F84181C8EEE}"/>
                      </a:ext>
                    </a:extLst>
                  </p:cNvPr>
                  <p:cNvSpPr/>
                  <p:nvPr/>
                </p:nvSpPr>
                <p:spPr>
                  <a:xfrm>
                    <a:off x="2213140" y="2864604"/>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7" name="Freeform: Shape 836">
                    <a:extLst>
                      <a:ext uri="{FF2B5EF4-FFF2-40B4-BE49-F238E27FC236}">
                        <a16:creationId xmlns:a16="http://schemas.microsoft.com/office/drawing/2014/main" id="{8BAE1125-0329-4E01-B6F0-D6A946A83E04}"/>
                      </a:ext>
                    </a:extLst>
                  </p:cNvPr>
                  <p:cNvSpPr/>
                  <p:nvPr/>
                </p:nvSpPr>
                <p:spPr>
                  <a:xfrm>
                    <a:off x="2164159" y="2883569"/>
                    <a:ext cx="55826" cy="32277"/>
                  </a:xfrm>
                  <a:custGeom>
                    <a:avLst/>
                    <a:gdLst>
                      <a:gd name="connsiteX0" fmla="*/ 18933 w 55826"/>
                      <a:gd name="connsiteY0" fmla="*/ 31336 h 32277"/>
                      <a:gd name="connsiteX1" fmla="*/ 54226 w 55826"/>
                      <a:gd name="connsiteY1" fmla="*/ 10989 h 32277"/>
                      <a:gd name="connsiteX2" fmla="*/ 54226 w 55826"/>
                      <a:gd name="connsiteY2" fmla="*/ 6594 h 32277"/>
                      <a:gd name="connsiteX3" fmla="*/ 44429 w 55826"/>
                      <a:gd name="connsiteY3" fmla="*/ 942 h 32277"/>
                      <a:gd name="connsiteX4" fmla="*/ 36893 w 55826"/>
                      <a:gd name="connsiteY4" fmla="*/ 942 h 32277"/>
                      <a:gd name="connsiteX5" fmla="*/ 1601 w 55826"/>
                      <a:gd name="connsiteY5" fmla="*/ 21288 h 32277"/>
                      <a:gd name="connsiteX6" fmla="*/ 1601 w 55826"/>
                      <a:gd name="connsiteY6" fmla="*/ 25684 h 32277"/>
                      <a:gd name="connsiteX7" fmla="*/ 11398 w 55826"/>
                      <a:gd name="connsiteY7" fmla="*/ 31336 h 32277"/>
                      <a:gd name="connsiteX8" fmla="*/ 18933 w 55826"/>
                      <a:gd name="connsiteY8" fmla="*/ 31336 h 3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26" h="32277">
                        <a:moveTo>
                          <a:pt x="18933" y="31336"/>
                        </a:moveTo>
                        <a:lnTo>
                          <a:pt x="54226" y="10989"/>
                        </a:lnTo>
                        <a:cubicBezTo>
                          <a:pt x="56361" y="9734"/>
                          <a:pt x="56361" y="7850"/>
                          <a:pt x="54226" y="6594"/>
                        </a:cubicBezTo>
                        <a:lnTo>
                          <a:pt x="44429" y="942"/>
                        </a:lnTo>
                        <a:cubicBezTo>
                          <a:pt x="42294" y="-314"/>
                          <a:pt x="39029" y="-314"/>
                          <a:pt x="36893" y="942"/>
                        </a:cubicBezTo>
                        <a:lnTo>
                          <a:pt x="1601" y="21288"/>
                        </a:lnTo>
                        <a:cubicBezTo>
                          <a:pt x="-534" y="22544"/>
                          <a:pt x="-534" y="24428"/>
                          <a:pt x="1601" y="25684"/>
                        </a:cubicBezTo>
                        <a:lnTo>
                          <a:pt x="11398" y="31336"/>
                        </a:lnTo>
                        <a:cubicBezTo>
                          <a:pt x="13407" y="32592"/>
                          <a:pt x="16798" y="32592"/>
                          <a:pt x="18933" y="31336"/>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8" name="Freeform: Shape 837">
                    <a:extLst>
                      <a:ext uri="{FF2B5EF4-FFF2-40B4-BE49-F238E27FC236}">
                        <a16:creationId xmlns:a16="http://schemas.microsoft.com/office/drawing/2014/main" id="{C0EE2CEA-0982-4664-9FA2-0D10B180FAED}"/>
                      </a:ext>
                    </a:extLst>
                  </p:cNvPr>
                  <p:cNvSpPr/>
                  <p:nvPr/>
                </p:nvSpPr>
                <p:spPr>
                  <a:xfrm>
                    <a:off x="2398770" y="2731097"/>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9" name="Freeform: Shape 838">
                    <a:extLst>
                      <a:ext uri="{FF2B5EF4-FFF2-40B4-BE49-F238E27FC236}">
                        <a16:creationId xmlns:a16="http://schemas.microsoft.com/office/drawing/2014/main" id="{AAFB3633-0A35-4AE6-A23C-E5425E1FEF91}"/>
                      </a:ext>
                    </a:extLst>
                  </p:cNvPr>
                  <p:cNvSpPr/>
                  <p:nvPr/>
                </p:nvSpPr>
                <p:spPr>
                  <a:xfrm>
                    <a:off x="2366492" y="2749685"/>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0" name="Freeform: Shape 839">
                    <a:extLst>
                      <a:ext uri="{FF2B5EF4-FFF2-40B4-BE49-F238E27FC236}">
                        <a16:creationId xmlns:a16="http://schemas.microsoft.com/office/drawing/2014/main" id="{68590C0E-E38B-4773-8BB3-68A101168C34}"/>
                      </a:ext>
                    </a:extLst>
                  </p:cNvPr>
                  <p:cNvSpPr/>
                  <p:nvPr/>
                </p:nvSpPr>
                <p:spPr>
                  <a:xfrm>
                    <a:off x="2334340" y="2768273"/>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1" name="Freeform: Shape 840">
                    <a:extLst>
                      <a:ext uri="{FF2B5EF4-FFF2-40B4-BE49-F238E27FC236}">
                        <a16:creationId xmlns:a16="http://schemas.microsoft.com/office/drawing/2014/main" id="{49E82530-D80C-4BF6-BDEE-61673CD67658}"/>
                      </a:ext>
                    </a:extLst>
                  </p:cNvPr>
                  <p:cNvSpPr/>
                  <p:nvPr/>
                </p:nvSpPr>
                <p:spPr>
                  <a:xfrm>
                    <a:off x="2302187" y="2786861"/>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4" y="9733"/>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2" name="Freeform: Shape 841">
                    <a:extLst>
                      <a:ext uri="{FF2B5EF4-FFF2-40B4-BE49-F238E27FC236}">
                        <a16:creationId xmlns:a16="http://schemas.microsoft.com/office/drawing/2014/main" id="{BA74C4D0-6E46-4295-AB84-C969DAB61777}"/>
                      </a:ext>
                    </a:extLst>
                  </p:cNvPr>
                  <p:cNvSpPr/>
                  <p:nvPr/>
                </p:nvSpPr>
                <p:spPr>
                  <a:xfrm>
                    <a:off x="2270035" y="2805449"/>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3" name="Freeform: Shape 842">
                    <a:extLst>
                      <a:ext uri="{FF2B5EF4-FFF2-40B4-BE49-F238E27FC236}">
                        <a16:creationId xmlns:a16="http://schemas.microsoft.com/office/drawing/2014/main" id="{A9F050E9-594C-48EE-A9A6-8F4C8063A5B7}"/>
                      </a:ext>
                    </a:extLst>
                  </p:cNvPr>
                  <p:cNvSpPr/>
                  <p:nvPr/>
                </p:nvSpPr>
                <p:spPr>
                  <a:xfrm>
                    <a:off x="2237883" y="2824037"/>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4" name="Freeform: Shape 843">
                    <a:extLst>
                      <a:ext uri="{FF2B5EF4-FFF2-40B4-BE49-F238E27FC236}">
                        <a16:creationId xmlns:a16="http://schemas.microsoft.com/office/drawing/2014/main" id="{F2638328-1DE1-406C-BD89-2B38E9B997FF}"/>
                      </a:ext>
                    </a:extLst>
                  </p:cNvPr>
                  <p:cNvSpPr/>
                  <p:nvPr/>
                </p:nvSpPr>
                <p:spPr>
                  <a:xfrm>
                    <a:off x="2205730" y="2842625"/>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5" name="Freeform: Shape 844">
                    <a:extLst>
                      <a:ext uri="{FF2B5EF4-FFF2-40B4-BE49-F238E27FC236}">
                        <a16:creationId xmlns:a16="http://schemas.microsoft.com/office/drawing/2014/main" id="{7B53822C-B12A-48E1-AE51-2E7DC57FD04F}"/>
                      </a:ext>
                    </a:extLst>
                  </p:cNvPr>
                  <p:cNvSpPr/>
                  <p:nvPr/>
                </p:nvSpPr>
                <p:spPr>
                  <a:xfrm>
                    <a:off x="2141300" y="2861339"/>
                    <a:ext cx="71651" cy="41352"/>
                  </a:xfrm>
                  <a:custGeom>
                    <a:avLst/>
                    <a:gdLst>
                      <a:gd name="connsiteX0" fmla="*/ 18933 w 71651"/>
                      <a:gd name="connsiteY0" fmla="*/ 40504 h 41352"/>
                      <a:gd name="connsiteX1" fmla="*/ 70051 w 71651"/>
                      <a:gd name="connsiteY1" fmla="*/ 10989 h 41352"/>
                      <a:gd name="connsiteX2" fmla="*/ 70051 w 71651"/>
                      <a:gd name="connsiteY2" fmla="*/ 6594 h 41352"/>
                      <a:gd name="connsiteX3" fmla="*/ 60254 w 71651"/>
                      <a:gd name="connsiteY3" fmla="*/ 942 h 41352"/>
                      <a:gd name="connsiteX4" fmla="*/ 52718 w 71651"/>
                      <a:gd name="connsiteY4" fmla="*/ 942 h 41352"/>
                      <a:gd name="connsiteX5" fmla="*/ 1601 w 71651"/>
                      <a:gd name="connsiteY5" fmla="*/ 30457 h 41352"/>
                      <a:gd name="connsiteX6" fmla="*/ 1601 w 71651"/>
                      <a:gd name="connsiteY6" fmla="*/ 34853 h 41352"/>
                      <a:gd name="connsiteX7" fmla="*/ 11398 w 71651"/>
                      <a:gd name="connsiteY7" fmla="*/ 40504 h 41352"/>
                      <a:gd name="connsiteX8" fmla="*/ 18933 w 71651"/>
                      <a:gd name="connsiteY8" fmla="*/ 40504 h 4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651" h="41352">
                        <a:moveTo>
                          <a:pt x="18933" y="40504"/>
                        </a:moveTo>
                        <a:lnTo>
                          <a:pt x="70051" y="10989"/>
                        </a:lnTo>
                        <a:cubicBezTo>
                          <a:pt x="72186" y="9734"/>
                          <a:pt x="72186" y="7850"/>
                          <a:pt x="70051" y="6594"/>
                        </a:cubicBezTo>
                        <a:lnTo>
                          <a:pt x="60254" y="942"/>
                        </a:lnTo>
                        <a:cubicBezTo>
                          <a:pt x="58119" y="-314"/>
                          <a:pt x="54854" y="-314"/>
                          <a:pt x="52718" y="942"/>
                        </a:cubicBezTo>
                        <a:lnTo>
                          <a:pt x="1601" y="30457"/>
                        </a:lnTo>
                        <a:cubicBezTo>
                          <a:pt x="-534" y="31713"/>
                          <a:pt x="-534" y="33597"/>
                          <a:pt x="1601" y="34853"/>
                        </a:cubicBezTo>
                        <a:lnTo>
                          <a:pt x="11398" y="40504"/>
                        </a:lnTo>
                        <a:cubicBezTo>
                          <a:pt x="13533" y="41635"/>
                          <a:pt x="16924" y="41635"/>
                          <a:pt x="18933" y="40504"/>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6" name="Freeform: Shape 845">
                    <a:extLst>
                      <a:ext uri="{FF2B5EF4-FFF2-40B4-BE49-F238E27FC236}">
                        <a16:creationId xmlns:a16="http://schemas.microsoft.com/office/drawing/2014/main" id="{E9668A50-C7C2-4156-A946-097AEA857B9A}"/>
                      </a:ext>
                    </a:extLst>
                  </p:cNvPr>
                  <p:cNvSpPr/>
                  <p:nvPr/>
                </p:nvSpPr>
                <p:spPr>
                  <a:xfrm>
                    <a:off x="2444235" y="2757472"/>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7" name="Freeform: Shape 846">
                    <a:extLst>
                      <a:ext uri="{FF2B5EF4-FFF2-40B4-BE49-F238E27FC236}">
                        <a16:creationId xmlns:a16="http://schemas.microsoft.com/office/drawing/2014/main" id="{F0B3C40A-1B3D-4BF0-9C3A-36B4210D15D2}"/>
                      </a:ext>
                    </a:extLst>
                  </p:cNvPr>
                  <p:cNvSpPr/>
                  <p:nvPr/>
                </p:nvSpPr>
                <p:spPr>
                  <a:xfrm>
                    <a:off x="2283474" y="2794522"/>
                    <a:ext cx="136207" cy="78747"/>
                  </a:xfrm>
                  <a:custGeom>
                    <a:avLst/>
                    <a:gdLst>
                      <a:gd name="connsiteX0" fmla="*/ 18933 w 136207"/>
                      <a:gd name="connsiteY0" fmla="*/ 77806 h 78747"/>
                      <a:gd name="connsiteX1" fmla="*/ 134606 w 136207"/>
                      <a:gd name="connsiteY1" fmla="*/ 10989 h 78747"/>
                      <a:gd name="connsiteX2" fmla="*/ 134606 w 136207"/>
                      <a:gd name="connsiteY2" fmla="*/ 6594 h 78747"/>
                      <a:gd name="connsiteX3" fmla="*/ 124810 w 136207"/>
                      <a:gd name="connsiteY3" fmla="*/ 942 h 78747"/>
                      <a:gd name="connsiteX4" fmla="*/ 117274 w 136207"/>
                      <a:gd name="connsiteY4" fmla="*/ 942 h 78747"/>
                      <a:gd name="connsiteX5" fmla="*/ 1601 w 136207"/>
                      <a:gd name="connsiteY5" fmla="*/ 67758 h 78747"/>
                      <a:gd name="connsiteX6" fmla="*/ 1601 w 136207"/>
                      <a:gd name="connsiteY6" fmla="*/ 72154 h 78747"/>
                      <a:gd name="connsiteX7" fmla="*/ 11398 w 136207"/>
                      <a:gd name="connsiteY7" fmla="*/ 77806 h 78747"/>
                      <a:gd name="connsiteX8" fmla="*/ 18933 w 136207"/>
                      <a:gd name="connsiteY8" fmla="*/ 77806 h 78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207" h="78747">
                        <a:moveTo>
                          <a:pt x="18933" y="77806"/>
                        </a:moveTo>
                        <a:lnTo>
                          <a:pt x="134606" y="10989"/>
                        </a:lnTo>
                        <a:cubicBezTo>
                          <a:pt x="136741" y="9733"/>
                          <a:pt x="136741" y="7850"/>
                          <a:pt x="134606" y="6594"/>
                        </a:cubicBezTo>
                        <a:lnTo>
                          <a:pt x="124810" y="942"/>
                        </a:lnTo>
                        <a:cubicBezTo>
                          <a:pt x="122675" y="-314"/>
                          <a:pt x="119409" y="-314"/>
                          <a:pt x="117274" y="942"/>
                        </a:cubicBezTo>
                        <a:lnTo>
                          <a:pt x="1601" y="67758"/>
                        </a:lnTo>
                        <a:cubicBezTo>
                          <a:pt x="-534" y="69014"/>
                          <a:pt x="-534" y="70898"/>
                          <a:pt x="1601" y="72154"/>
                        </a:cubicBezTo>
                        <a:lnTo>
                          <a:pt x="11398" y="77806"/>
                        </a:lnTo>
                        <a:cubicBezTo>
                          <a:pt x="13407" y="79062"/>
                          <a:pt x="16798" y="79062"/>
                          <a:pt x="18933" y="77806"/>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8" name="Freeform: Shape 847">
                    <a:extLst>
                      <a:ext uri="{FF2B5EF4-FFF2-40B4-BE49-F238E27FC236}">
                        <a16:creationId xmlns:a16="http://schemas.microsoft.com/office/drawing/2014/main" id="{AE584B36-C345-4156-A952-AB38952D5408}"/>
                      </a:ext>
                    </a:extLst>
                  </p:cNvPr>
                  <p:cNvSpPr/>
                  <p:nvPr/>
                </p:nvSpPr>
                <p:spPr>
                  <a:xfrm>
                    <a:off x="2251196" y="2868874"/>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3"/>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9" name="Freeform: Shape 848">
                    <a:extLst>
                      <a:ext uri="{FF2B5EF4-FFF2-40B4-BE49-F238E27FC236}">
                        <a16:creationId xmlns:a16="http://schemas.microsoft.com/office/drawing/2014/main" id="{6936AC4E-DE31-4151-BC87-8295F91682BA}"/>
                      </a:ext>
                    </a:extLst>
                  </p:cNvPr>
                  <p:cNvSpPr/>
                  <p:nvPr/>
                </p:nvSpPr>
                <p:spPr>
                  <a:xfrm>
                    <a:off x="2219043" y="2887462"/>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0" name="Freeform: Shape 849">
                    <a:extLst>
                      <a:ext uri="{FF2B5EF4-FFF2-40B4-BE49-F238E27FC236}">
                        <a16:creationId xmlns:a16="http://schemas.microsoft.com/office/drawing/2014/main" id="{1911CCE9-7850-4684-A096-9B99552B72F9}"/>
                      </a:ext>
                    </a:extLst>
                  </p:cNvPr>
                  <p:cNvSpPr/>
                  <p:nvPr/>
                </p:nvSpPr>
                <p:spPr>
                  <a:xfrm>
                    <a:off x="2186891" y="2906050"/>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851" name="Freeform: Shape 850">
                <a:extLst>
                  <a:ext uri="{FF2B5EF4-FFF2-40B4-BE49-F238E27FC236}">
                    <a16:creationId xmlns:a16="http://schemas.microsoft.com/office/drawing/2014/main" id="{3F2B931F-9EB9-4CB4-B96E-A338DB676236}"/>
                  </a:ext>
                </a:extLst>
              </p:cNvPr>
              <p:cNvSpPr/>
              <p:nvPr/>
            </p:nvSpPr>
            <p:spPr>
              <a:xfrm>
                <a:off x="2105726" y="2904458"/>
                <a:ext cx="21225" cy="17502"/>
              </a:xfrm>
              <a:custGeom>
                <a:avLst/>
                <a:gdLst>
                  <a:gd name="connsiteX0" fmla="*/ 21226 w 21225"/>
                  <a:gd name="connsiteY0" fmla="*/ 16601 h 17502"/>
                  <a:gd name="connsiteX1" fmla="*/ 21226 w 21225"/>
                  <a:gd name="connsiteY1" fmla="*/ 13210 h 17502"/>
                  <a:gd name="connsiteX2" fmla="*/ 20221 w 21225"/>
                  <a:gd name="connsiteY2" fmla="*/ 11200 h 17502"/>
                  <a:gd name="connsiteX3" fmla="*/ 1005 w 21225"/>
                  <a:gd name="connsiteY3" fmla="*/ 148 h 17502"/>
                  <a:gd name="connsiteX4" fmla="*/ 0 w 21225"/>
                  <a:gd name="connsiteY4" fmla="*/ 901 h 17502"/>
                  <a:gd name="connsiteX5" fmla="*/ 0 w 21225"/>
                  <a:gd name="connsiteY5" fmla="*/ 4292 h 17502"/>
                  <a:gd name="connsiteX6" fmla="*/ 1005 w 21225"/>
                  <a:gd name="connsiteY6" fmla="*/ 6302 h 17502"/>
                  <a:gd name="connsiteX7" fmla="*/ 20221 w 21225"/>
                  <a:gd name="connsiteY7" fmla="*/ 17354 h 17502"/>
                  <a:gd name="connsiteX8" fmla="*/ 21226 w 21225"/>
                  <a:gd name="connsiteY8" fmla="*/ 16601 h 17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25" h="17502">
                    <a:moveTo>
                      <a:pt x="21226" y="16601"/>
                    </a:moveTo>
                    <a:lnTo>
                      <a:pt x="21226" y="13210"/>
                    </a:lnTo>
                    <a:cubicBezTo>
                      <a:pt x="21226" y="12456"/>
                      <a:pt x="20723" y="11451"/>
                      <a:pt x="20221" y="11200"/>
                    </a:cubicBezTo>
                    <a:lnTo>
                      <a:pt x="1005" y="148"/>
                    </a:lnTo>
                    <a:cubicBezTo>
                      <a:pt x="377" y="-229"/>
                      <a:pt x="0" y="148"/>
                      <a:pt x="0" y="901"/>
                    </a:cubicBezTo>
                    <a:lnTo>
                      <a:pt x="0" y="4292"/>
                    </a:lnTo>
                    <a:cubicBezTo>
                      <a:pt x="0" y="5046"/>
                      <a:pt x="502" y="6051"/>
                      <a:pt x="1005" y="6302"/>
                    </a:cubicBezTo>
                    <a:lnTo>
                      <a:pt x="20221" y="17354"/>
                    </a:lnTo>
                    <a:cubicBezTo>
                      <a:pt x="20849" y="17731"/>
                      <a:pt x="21226" y="17354"/>
                      <a:pt x="21226" y="16601"/>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2" name="Freeform: Shape 851">
                <a:extLst>
                  <a:ext uri="{FF2B5EF4-FFF2-40B4-BE49-F238E27FC236}">
                    <a16:creationId xmlns:a16="http://schemas.microsoft.com/office/drawing/2014/main" id="{D1CE25B5-AEBE-4A46-AB17-6BD583B7CE18}"/>
                  </a:ext>
                </a:extLst>
              </p:cNvPr>
              <p:cNvSpPr/>
              <p:nvPr/>
            </p:nvSpPr>
            <p:spPr>
              <a:xfrm>
                <a:off x="2134236" y="2920911"/>
                <a:ext cx="21225" cy="17502"/>
              </a:xfrm>
              <a:custGeom>
                <a:avLst/>
                <a:gdLst>
                  <a:gd name="connsiteX0" fmla="*/ 21225 w 21225"/>
                  <a:gd name="connsiteY0" fmla="*/ 16601 h 17502"/>
                  <a:gd name="connsiteX1" fmla="*/ 21225 w 21225"/>
                  <a:gd name="connsiteY1" fmla="*/ 13210 h 17502"/>
                  <a:gd name="connsiteX2" fmla="*/ 20221 w 21225"/>
                  <a:gd name="connsiteY2" fmla="*/ 11200 h 17502"/>
                  <a:gd name="connsiteX3" fmla="*/ 1005 w 21225"/>
                  <a:gd name="connsiteY3" fmla="*/ 148 h 17502"/>
                  <a:gd name="connsiteX4" fmla="*/ 0 w 21225"/>
                  <a:gd name="connsiteY4" fmla="*/ 901 h 17502"/>
                  <a:gd name="connsiteX5" fmla="*/ 0 w 21225"/>
                  <a:gd name="connsiteY5" fmla="*/ 4292 h 17502"/>
                  <a:gd name="connsiteX6" fmla="*/ 1005 w 21225"/>
                  <a:gd name="connsiteY6" fmla="*/ 6302 h 17502"/>
                  <a:gd name="connsiteX7" fmla="*/ 20221 w 21225"/>
                  <a:gd name="connsiteY7" fmla="*/ 17354 h 17502"/>
                  <a:gd name="connsiteX8" fmla="*/ 21225 w 21225"/>
                  <a:gd name="connsiteY8" fmla="*/ 16601 h 17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25" h="17502">
                    <a:moveTo>
                      <a:pt x="21225" y="16601"/>
                    </a:moveTo>
                    <a:lnTo>
                      <a:pt x="21225" y="13210"/>
                    </a:lnTo>
                    <a:cubicBezTo>
                      <a:pt x="21225" y="12456"/>
                      <a:pt x="20723" y="11451"/>
                      <a:pt x="20221" y="11200"/>
                    </a:cubicBezTo>
                    <a:lnTo>
                      <a:pt x="1005" y="148"/>
                    </a:lnTo>
                    <a:cubicBezTo>
                      <a:pt x="377" y="-229"/>
                      <a:pt x="0" y="148"/>
                      <a:pt x="0" y="901"/>
                    </a:cubicBezTo>
                    <a:lnTo>
                      <a:pt x="0" y="4292"/>
                    </a:lnTo>
                    <a:cubicBezTo>
                      <a:pt x="0" y="5046"/>
                      <a:pt x="502" y="6051"/>
                      <a:pt x="1005" y="6302"/>
                    </a:cubicBezTo>
                    <a:lnTo>
                      <a:pt x="20221" y="17354"/>
                    </a:lnTo>
                    <a:cubicBezTo>
                      <a:pt x="20723" y="17731"/>
                      <a:pt x="21225" y="17354"/>
                      <a:pt x="21225" y="16601"/>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3" name="Freeform: Shape 852">
                <a:extLst>
                  <a:ext uri="{FF2B5EF4-FFF2-40B4-BE49-F238E27FC236}">
                    <a16:creationId xmlns:a16="http://schemas.microsoft.com/office/drawing/2014/main" id="{6206E376-3B39-4579-AC2C-23B2CCBF0AC0}"/>
                  </a:ext>
                </a:extLst>
              </p:cNvPr>
              <p:cNvSpPr/>
              <p:nvPr/>
            </p:nvSpPr>
            <p:spPr>
              <a:xfrm>
                <a:off x="2504559" y="2901843"/>
                <a:ext cx="111" cy="145"/>
              </a:xfrm>
              <a:custGeom>
                <a:avLst/>
                <a:gdLst>
                  <a:gd name="connsiteX0" fmla="*/ 56 w 111"/>
                  <a:gd name="connsiteY0" fmla="*/ 0 h 145"/>
                  <a:gd name="connsiteX1" fmla="*/ 56 w 111"/>
                  <a:gd name="connsiteY1" fmla="*/ 0 h 145"/>
                  <a:gd name="connsiteX2" fmla="*/ 56 w 111"/>
                  <a:gd name="connsiteY2" fmla="*/ 0 h 145"/>
                </a:gdLst>
                <a:ahLst/>
                <a:cxnLst>
                  <a:cxn ang="0">
                    <a:pos x="connsiteX0" y="connsiteY0"/>
                  </a:cxn>
                  <a:cxn ang="0">
                    <a:pos x="connsiteX1" y="connsiteY1"/>
                  </a:cxn>
                  <a:cxn ang="0">
                    <a:pos x="connsiteX2" y="connsiteY2"/>
                  </a:cxn>
                </a:cxnLst>
                <a:rect l="l" t="t" r="r" b="b"/>
                <a:pathLst>
                  <a:path w="111" h="145">
                    <a:moveTo>
                      <a:pt x="56" y="0"/>
                    </a:moveTo>
                    <a:cubicBezTo>
                      <a:pt x="-70" y="251"/>
                      <a:pt x="56" y="126"/>
                      <a:pt x="56" y="0"/>
                    </a:cubicBezTo>
                    <a:cubicBezTo>
                      <a:pt x="182" y="0"/>
                      <a:pt x="56" y="0"/>
                      <a:pt x="56" y="0"/>
                    </a:cubicBez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4" name="Freeform: Shape 853">
                <a:extLst>
                  <a:ext uri="{FF2B5EF4-FFF2-40B4-BE49-F238E27FC236}">
                    <a16:creationId xmlns:a16="http://schemas.microsoft.com/office/drawing/2014/main" id="{5E5EA610-5FD7-4392-B9EA-A7C621B8CD03}"/>
                  </a:ext>
                </a:extLst>
              </p:cNvPr>
              <p:cNvSpPr/>
              <p:nvPr/>
            </p:nvSpPr>
            <p:spPr>
              <a:xfrm>
                <a:off x="2394287" y="2917793"/>
                <a:ext cx="111" cy="94"/>
              </a:xfrm>
              <a:custGeom>
                <a:avLst/>
                <a:gdLst>
                  <a:gd name="connsiteX0" fmla="*/ 56 w 111"/>
                  <a:gd name="connsiteY0" fmla="*/ 0 h 94"/>
                  <a:gd name="connsiteX1" fmla="*/ 56 w 111"/>
                  <a:gd name="connsiteY1" fmla="*/ 0 h 94"/>
                  <a:gd name="connsiteX2" fmla="*/ 56 w 111"/>
                  <a:gd name="connsiteY2" fmla="*/ 0 h 94"/>
                </a:gdLst>
                <a:ahLst/>
                <a:cxnLst>
                  <a:cxn ang="0">
                    <a:pos x="connsiteX0" y="connsiteY0"/>
                  </a:cxn>
                  <a:cxn ang="0">
                    <a:pos x="connsiteX1" y="connsiteY1"/>
                  </a:cxn>
                  <a:cxn ang="0">
                    <a:pos x="connsiteX2" y="connsiteY2"/>
                  </a:cxn>
                </a:cxnLst>
                <a:rect l="l" t="t" r="r" b="b"/>
                <a:pathLst>
                  <a:path w="111" h="94">
                    <a:moveTo>
                      <a:pt x="56" y="0"/>
                    </a:moveTo>
                    <a:cubicBezTo>
                      <a:pt x="-70" y="126"/>
                      <a:pt x="56" y="126"/>
                      <a:pt x="56" y="0"/>
                    </a:cubicBezTo>
                    <a:cubicBezTo>
                      <a:pt x="182" y="0"/>
                      <a:pt x="56" y="0"/>
                      <a:pt x="56" y="0"/>
                    </a:cubicBezTo>
                    <a:close/>
                  </a:path>
                </a:pathLst>
              </a:custGeom>
              <a:solidFill>
                <a:srgbClr val="FE7E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855" name="Freeform: Shape 854">
              <a:extLst>
                <a:ext uri="{FF2B5EF4-FFF2-40B4-BE49-F238E27FC236}">
                  <a16:creationId xmlns:a16="http://schemas.microsoft.com/office/drawing/2014/main" id="{44E3E26D-62AA-43BD-A82F-1F2653DE60F1}"/>
                </a:ext>
              </a:extLst>
            </p:cNvPr>
            <p:cNvSpPr/>
            <p:nvPr/>
          </p:nvSpPr>
          <p:spPr>
            <a:xfrm>
              <a:off x="2085002" y="2607949"/>
              <a:ext cx="19090" cy="31527"/>
            </a:xfrm>
            <a:custGeom>
              <a:avLst/>
              <a:gdLst>
                <a:gd name="connsiteX0" fmla="*/ 502 w 19090"/>
                <a:gd name="connsiteY0" fmla="*/ 10050 h 31527"/>
                <a:gd name="connsiteX1" fmla="*/ 17458 w 19090"/>
                <a:gd name="connsiteY1" fmla="*/ 128 h 31527"/>
                <a:gd name="connsiteX2" fmla="*/ 19090 w 19090"/>
                <a:gd name="connsiteY2" fmla="*/ 1007 h 31527"/>
                <a:gd name="connsiteX3" fmla="*/ 19090 w 19090"/>
                <a:gd name="connsiteY3" fmla="*/ 20726 h 31527"/>
                <a:gd name="connsiteX4" fmla="*/ 18588 w 19090"/>
                <a:gd name="connsiteY4" fmla="*/ 21730 h 31527"/>
                <a:gd name="connsiteX5" fmla="*/ 1633 w 19090"/>
                <a:gd name="connsiteY5" fmla="*/ 31401 h 31527"/>
                <a:gd name="connsiteX6" fmla="*/ 0 w 19090"/>
                <a:gd name="connsiteY6" fmla="*/ 30397 h 31527"/>
                <a:gd name="connsiteX7" fmla="*/ 0 w 19090"/>
                <a:gd name="connsiteY7" fmla="*/ 10804 h 31527"/>
                <a:gd name="connsiteX8" fmla="*/ 502 w 19090"/>
                <a:gd name="connsiteY8" fmla="*/ 10050 h 3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90" h="31527">
                  <a:moveTo>
                    <a:pt x="502" y="10050"/>
                  </a:moveTo>
                  <a:lnTo>
                    <a:pt x="17458" y="128"/>
                  </a:lnTo>
                  <a:cubicBezTo>
                    <a:pt x="18211" y="-249"/>
                    <a:pt x="19090" y="254"/>
                    <a:pt x="19090" y="1007"/>
                  </a:cubicBezTo>
                  <a:lnTo>
                    <a:pt x="19090" y="20726"/>
                  </a:lnTo>
                  <a:cubicBezTo>
                    <a:pt x="19090" y="21102"/>
                    <a:pt x="18839" y="21479"/>
                    <a:pt x="18588" y="21730"/>
                  </a:cubicBezTo>
                  <a:lnTo>
                    <a:pt x="1633" y="31401"/>
                  </a:lnTo>
                  <a:cubicBezTo>
                    <a:pt x="879" y="31778"/>
                    <a:pt x="0" y="31276"/>
                    <a:pt x="0" y="30397"/>
                  </a:cubicBezTo>
                  <a:lnTo>
                    <a:pt x="0" y="10804"/>
                  </a:lnTo>
                  <a:cubicBezTo>
                    <a:pt x="0" y="10553"/>
                    <a:pt x="251" y="10176"/>
                    <a:pt x="502" y="10050"/>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6" name="Freeform: Shape 855">
              <a:extLst>
                <a:ext uri="{FF2B5EF4-FFF2-40B4-BE49-F238E27FC236}">
                  <a16:creationId xmlns:a16="http://schemas.microsoft.com/office/drawing/2014/main" id="{05C91935-5932-4498-A3F3-9C5FEE65D77D}"/>
                </a:ext>
              </a:extLst>
            </p:cNvPr>
            <p:cNvSpPr/>
            <p:nvPr/>
          </p:nvSpPr>
          <p:spPr>
            <a:xfrm>
              <a:off x="2085002" y="2643115"/>
              <a:ext cx="19090" cy="31527"/>
            </a:xfrm>
            <a:custGeom>
              <a:avLst/>
              <a:gdLst>
                <a:gd name="connsiteX0" fmla="*/ 502 w 19090"/>
                <a:gd name="connsiteY0" fmla="*/ 10050 h 31527"/>
                <a:gd name="connsiteX1" fmla="*/ 17458 w 19090"/>
                <a:gd name="connsiteY1" fmla="*/ 128 h 31527"/>
                <a:gd name="connsiteX2" fmla="*/ 19090 w 19090"/>
                <a:gd name="connsiteY2" fmla="*/ 1007 h 31527"/>
                <a:gd name="connsiteX3" fmla="*/ 19090 w 19090"/>
                <a:gd name="connsiteY3" fmla="*/ 20726 h 31527"/>
                <a:gd name="connsiteX4" fmla="*/ 18588 w 19090"/>
                <a:gd name="connsiteY4" fmla="*/ 21730 h 31527"/>
                <a:gd name="connsiteX5" fmla="*/ 1633 w 19090"/>
                <a:gd name="connsiteY5" fmla="*/ 31401 h 31527"/>
                <a:gd name="connsiteX6" fmla="*/ 0 w 19090"/>
                <a:gd name="connsiteY6" fmla="*/ 30396 h 31527"/>
                <a:gd name="connsiteX7" fmla="*/ 0 w 19090"/>
                <a:gd name="connsiteY7" fmla="*/ 10804 h 31527"/>
                <a:gd name="connsiteX8" fmla="*/ 502 w 19090"/>
                <a:gd name="connsiteY8" fmla="*/ 10050 h 3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90" h="31527">
                  <a:moveTo>
                    <a:pt x="502" y="10050"/>
                  </a:moveTo>
                  <a:lnTo>
                    <a:pt x="17458" y="128"/>
                  </a:lnTo>
                  <a:cubicBezTo>
                    <a:pt x="18211" y="-249"/>
                    <a:pt x="19090" y="254"/>
                    <a:pt x="19090" y="1007"/>
                  </a:cubicBezTo>
                  <a:lnTo>
                    <a:pt x="19090" y="20726"/>
                  </a:lnTo>
                  <a:cubicBezTo>
                    <a:pt x="19090" y="21102"/>
                    <a:pt x="18839" y="21479"/>
                    <a:pt x="18588" y="21730"/>
                  </a:cubicBezTo>
                  <a:lnTo>
                    <a:pt x="1633" y="31401"/>
                  </a:lnTo>
                  <a:cubicBezTo>
                    <a:pt x="879" y="31778"/>
                    <a:pt x="0" y="31276"/>
                    <a:pt x="0" y="30396"/>
                  </a:cubicBezTo>
                  <a:lnTo>
                    <a:pt x="0" y="10804"/>
                  </a:lnTo>
                  <a:cubicBezTo>
                    <a:pt x="0" y="10678"/>
                    <a:pt x="251" y="10301"/>
                    <a:pt x="502" y="10050"/>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7" name="Freeform: Shape 856">
              <a:extLst>
                <a:ext uri="{FF2B5EF4-FFF2-40B4-BE49-F238E27FC236}">
                  <a16:creationId xmlns:a16="http://schemas.microsoft.com/office/drawing/2014/main" id="{5A8B2B13-59A2-42E4-A539-03682B7FC149}"/>
                </a:ext>
              </a:extLst>
            </p:cNvPr>
            <p:cNvSpPr/>
            <p:nvPr/>
          </p:nvSpPr>
          <p:spPr>
            <a:xfrm>
              <a:off x="2085002" y="2678407"/>
              <a:ext cx="19090" cy="31527"/>
            </a:xfrm>
            <a:custGeom>
              <a:avLst/>
              <a:gdLst>
                <a:gd name="connsiteX0" fmla="*/ 502 w 19090"/>
                <a:gd name="connsiteY0" fmla="*/ 10050 h 31527"/>
                <a:gd name="connsiteX1" fmla="*/ 17458 w 19090"/>
                <a:gd name="connsiteY1" fmla="*/ 128 h 31527"/>
                <a:gd name="connsiteX2" fmla="*/ 19090 w 19090"/>
                <a:gd name="connsiteY2" fmla="*/ 1007 h 31527"/>
                <a:gd name="connsiteX3" fmla="*/ 19090 w 19090"/>
                <a:gd name="connsiteY3" fmla="*/ 20726 h 31527"/>
                <a:gd name="connsiteX4" fmla="*/ 18588 w 19090"/>
                <a:gd name="connsiteY4" fmla="*/ 21730 h 31527"/>
                <a:gd name="connsiteX5" fmla="*/ 1633 w 19090"/>
                <a:gd name="connsiteY5" fmla="*/ 31401 h 31527"/>
                <a:gd name="connsiteX6" fmla="*/ 0 w 19090"/>
                <a:gd name="connsiteY6" fmla="*/ 30397 h 31527"/>
                <a:gd name="connsiteX7" fmla="*/ 0 w 19090"/>
                <a:gd name="connsiteY7" fmla="*/ 10804 h 31527"/>
                <a:gd name="connsiteX8" fmla="*/ 502 w 19090"/>
                <a:gd name="connsiteY8" fmla="*/ 10050 h 3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90" h="31527">
                  <a:moveTo>
                    <a:pt x="502" y="10050"/>
                  </a:moveTo>
                  <a:lnTo>
                    <a:pt x="17458" y="128"/>
                  </a:lnTo>
                  <a:cubicBezTo>
                    <a:pt x="18211" y="-249"/>
                    <a:pt x="19090" y="254"/>
                    <a:pt x="19090" y="1007"/>
                  </a:cubicBezTo>
                  <a:lnTo>
                    <a:pt x="19090" y="20726"/>
                  </a:lnTo>
                  <a:cubicBezTo>
                    <a:pt x="19090" y="21102"/>
                    <a:pt x="18839" y="21479"/>
                    <a:pt x="18588" y="21730"/>
                  </a:cubicBezTo>
                  <a:lnTo>
                    <a:pt x="1633" y="31401"/>
                  </a:lnTo>
                  <a:cubicBezTo>
                    <a:pt x="879" y="31778"/>
                    <a:pt x="0" y="31276"/>
                    <a:pt x="0" y="30397"/>
                  </a:cubicBezTo>
                  <a:lnTo>
                    <a:pt x="0" y="10804"/>
                  </a:lnTo>
                  <a:cubicBezTo>
                    <a:pt x="0" y="10553"/>
                    <a:pt x="251" y="10176"/>
                    <a:pt x="502" y="10050"/>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8" name="Freeform: Shape 857">
              <a:extLst>
                <a:ext uri="{FF2B5EF4-FFF2-40B4-BE49-F238E27FC236}">
                  <a16:creationId xmlns:a16="http://schemas.microsoft.com/office/drawing/2014/main" id="{98FCB64B-5A3C-470D-ACD5-6EDFCFA1CD5C}"/>
                </a:ext>
              </a:extLst>
            </p:cNvPr>
            <p:cNvSpPr/>
            <p:nvPr/>
          </p:nvSpPr>
          <p:spPr>
            <a:xfrm>
              <a:off x="2085002" y="2713574"/>
              <a:ext cx="19090" cy="31527"/>
            </a:xfrm>
            <a:custGeom>
              <a:avLst/>
              <a:gdLst>
                <a:gd name="connsiteX0" fmla="*/ 502 w 19090"/>
                <a:gd name="connsiteY0" fmla="*/ 10050 h 31527"/>
                <a:gd name="connsiteX1" fmla="*/ 17458 w 19090"/>
                <a:gd name="connsiteY1" fmla="*/ 128 h 31527"/>
                <a:gd name="connsiteX2" fmla="*/ 19090 w 19090"/>
                <a:gd name="connsiteY2" fmla="*/ 1007 h 31527"/>
                <a:gd name="connsiteX3" fmla="*/ 19090 w 19090"/>
                <a:gd name="connsiteY3" fmla="*/ 20726 h 31527"/>
                <a:gd name="connsiteX4" fmla="*/ 18588 w 19090"/>
                <a:gd name="connsiteY4" fmla="*/ 21730 h 31527"/>
                <a:gd name="connsiteX5" fmla="*/ 1633 w 19090"/>
                <a:gd name="connsiteY5" fmla="*/ 31401 h 31527"/>
                <a:gd name="connsiteX6" fmla="*/ 0 w 19090"/>
                <a:gd name="connsiteY6" fmla="*/ 30396 h 31527"/>
                <a:gd name="connsiteX7" fmla="*/ 0 w 19090"/>
                <a:gd name="connsiteY7" fmla="*/ 10804 h 31527"/>
                <a:gd name="connsiteX8" fmla="*/ 502 w 19090"/>
                <a:gd name="connsiteY8" fmla="*/ 10050 h 3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90" h="31527">
                  <a:moveTo>
                    <a:pt x="502" y="10050"/>
                  </a:moveTo>
                  <a:lnTo>
                    <a:pt x="17458" y="128"/>
                  </a:lnTo>
                  <a:cubicBezTo>
                    <a:pt x="18211" y="-249"/>
                    <a:pt x="19090" y="254"/>
                    <a:pt x="19090" y="1007"/>
                  </a:cubicBezTo>
                  <a:lnTo>
                    <a:pt x="19090" y="20726"/>
                  </a:lnTo>
                  <a:cubicBezTo>
                    <a:pt x="19090" y="21102"/>
                    <a:pt x="18839" y="21479"/>
                    <a:pt x="18588" y="21730"/>
                  </a:cubicBezTo>
                  <a:lnTo>
                    <a:pt x="1633" y="31401"/>
                  </a:lnTo>
                  <a:cubicBezTo>
                    <a:pt x="879" y="31778"/>
                    <a:pt x="0" y="31276"/>
                    <a:pt x="0" y="30396"/>
                  </a:cubicBezTo>
                  <a:lnTo>
                    <a:pt x="0" y="10804"/>
                  </a:lnTo>
                  <a:cubicBezTo>
                    <a:pt x="0" y="10552"/>
                    <a:pt x="251" y="10301"/>
                    <a:pt x="502" y="10050"/>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859" name="Graphic 4">
              <a:extLst>
                <a:ext uri="{FF2B5EF4-FFF2-40B4-BE49-F238E27FC236}">
                  <a16:creationId xmlns:a16="http://schemas.microsoft.com/office/drawing/2014/main" id="{84FB7ED1-A2DF-40A1-A747-5F7CF3F14040}"/>
                </a:ext>
              </a:extLst>
            </p:cNvPr>
            <p:cNvGrpSpPr/>
            <p:nvPr/>
          </p:nvGrpSpPr>
          <p:grpSpPr>
            <a:xfrm>
              <a:off x="2153315" y="2504435"/>
              <a:ext cx="157380" cy="238381"/>
              <a:chOff x="2153315" y="2504435"/>
              <a:chExt cx="157380" cy="238381"/>
            </a:xfrm>
            <a:solidFill>
              <a:schemeClr val="accent1"/>
            </a:solidFill>
          </p:grpSpPr>
          <p:sp>
            <p:nvSpPr>
              <p:cNvPr id="860" name="Freeform: Shape 859">
                <a:extLst>
                  <a:ext uri="{FF2B5EF4-FFF2-40B4-BE49-F238E27FC236}">
                    <a16:creationId xmlns:a16="http://schemas.microsoft.com/office/drawing/2014/main" id="{28A33EB9-C8AB-4748-87EF-D70694994FEE}"/>
                  </a:ext>
                </a:extLst>
              </p:cNvPr>
              <p:cNvSpPr/>
              <p:nvPr/>
            </p:nvSpPr>
            <p:spPr>
              <a:xfrm>
                <a:off x="2153315" y="2504435"/>
                <a:ext cx="157380" cy="238381"/>
              </a:xfrm>
              <a:custGeom>
                <a:avLst/>
                <a:gdLst>
                  <a:gd name="connsiteX0" fmla="*/ 2523 w 157380"/>
                  <a:gd name="connsiteY0" fmla="*/ 87314 h 238381"/>
                  <a:gd name="connsiteX1" fmla="*/ 152985 w 157380"/>
                  <a:gd name="connsiteY1" fmla="*/ 402 h 238381"/>
                  <a:gd name="connsiteX2" fmla="*/ 157381 w 157380"/>
                  <a:gd name="connsiteY2" fmla="*/ 2914 h 238381"/>
                  <a:gd name="connsiteX3" fmla="*/ 157381 w 157380"/>
                  <a:gd name="connsiteY3" fmla="*/ 146344 h 238381"/>
                  <a:gd name="connsiteX4" fmla="*/ 154743 w 157380"/>
                  <a:gd name="connsiteY4" fmla="*/ 150865 h 238381"/>
                  <a:gd name="connsiteX5" fmla="*/ 3778 w 157380"/>
                  <a:gd name="connsiteY5" fmla="*/ 238028 h 238381"/>
                  <a:gd name="connsiteX6" fmla="*/ 11 w 157380"/>
                  <a:gd name="connsiteY6" fmla="*/ 235767 h 238381"/>
                  <a:gd name="connsiteX7" fmla="*/ 11 w 157380"/>
                  <a:gd name="connsiteY7" fmla="*/ 91710 h 238381"/>
                  <a:gd name="connsiteX8" fmla="*/ 2523 w 157380"/>
                  <a:gd name="connsiteY8" fmla="*/ 87314 h 238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380" h="238381">
                    <a:moveTo>
                      <a:pt x="2523" y="87314"/>
                    </a:moveTo>
                    <a:lnTo>
                      <a:pt x="152985" y="402"/>
                    </a:lnTo>
                    <a:cubicBezTo>
                      <a:pt x="154869" y="-728"/>
                      <a:pt x="157381" y="654"/>
                      <a:pt x="157381" y="2914"/>
                    </a:cubicBezTo>
                    <a:lnTo>
                      <a:pt x="157381" y="146344"/>
                    </a:lnTo>
                    <a:cubicBezTo>
                      <a:pt x="157381" y="148228"/>
                      <a:pt x="156376" y="149986"/>
                      <a:pt x="154743" y="150865"/>
                    </a:cubicBezTo>
                    <a:lnTo>
                      <a:pt x="3778" y="238028"/>
                    </a:lnTo>
                    <a:cubicBezTo>
                      <a:pt x="2020" y="239033"/>
                      <a:pt x="11" y="237777"/>
                      <a:pt x="11" y="235767"/>
                    </a:cubicBezTo>
                    <a:lnTo>
                      <a:pt x="11" y="91710"/>
                    </a:lnTo>
                    <a:cubicBezTo>
                      <a:pt x="-115" y="90077"/>
                      <a:pt x="890" y="88319"/>
                      <a:pt x="2523" y="87314"/>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1" name="Freeform: Shape 860">
                <a:extLst>
                  <a:ext uri="{FF2B5EF4-FFF2-40B4-BE49-F238E27FC236}">
                    <a16:creationId xmlns:a16="http://schemas.microsoft.com/office/drawing/2014/main" id="{ECFA1B6A-9AD5-41D1-A468-8DD117B6A0B6}"/>
                  </a:ext>
                </a:extLst>
              </p:cNvPr>
              <p:cNvSpPr/>
              <p:nvPr/>
            </p:nvSpPr>
            <p:spPr>
              <a:xfrm>
                <a:off x="2158350" y="2532469"/>
                <a:ext cx="148076" cy="201202"/>
              </a:xfrm>
              <a:custGeom>
                <a:avLst/>
                <a:gdLst>
                  <a:gd name="connsiteX0" fmla="*/ 0 w 148076"/>
                  <a:gd name="connsiteY0" fmla="*/ 201203 h 201202"/>
                  <a:gd name="connsiteX1" fmla="*/ 0 w 148076"/>
                  <a:gd name="connsiteY1" fmla="*/ 85404 h 201202"/>
                  <a:gd name="connsiteX2" fmla="*/ 148076 w 148076"/>
                  <a:gd name="connsiteY2" fmla="*/ 0 h 201202"/>
                  <a:gd name="connsiteX3" fmla="*/ 148076 w 148076"/>
                  <a:gd name="connsiteY3" fmla="*/ 115296 h 201202"/>
                </a:gdLst>
                <a:ahLst/>
                <a:cxnLst>
                  <a:cxn ang="0">
                    <a:pos x="connsiteX0" y="connsiteY0"/>
                  </a:cxn>
                  <a:cxn ang="0">
                    <a:pos x="connsiteX1" y="connsiteY1"/>
                  </a:cxn>
                  <a:cxn ang="0">
                    <a:pos x="connsiteX2" y="connsiteY2"/>
                  </a:cxn>
                  <a:cxn ang="0">
                    <a:pos x="connsiteX3" y="connsiteY3"/>
                  </a:cxn>
                </a:cxnLst>
                <a:rect l="l" t="t" r="r" b="b"/>
                <a:pathLst>
                  <a:path w="148076" h="201202">
                    <a:moveTo>
                      <a:pt x="0" y="201203"/>
                    </a:moveTo>
                    <a:lnTo>
                      <a:pt x="0" y="85404"/>
                    </a:lnTo>
                    <a:lnTo>
                      <a:pt x="148076" y="0"/>
                    </a:lnTo>
                    <a:lnTo>
                      <a:pt x="148076" y="115296"/>
                    </a:lnTo>
                    <a:close/>
                  </a:path>
                </a:pathLst>
              </a:custGeom>
              <a:solidFill>
                <a:srgbClr val="514F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2" name="Freeform: Shape 861">
                <a:extLst>
                  <a:ext uri="{FF2B5EF4-FFF2-40B4-BE49-F238E27FC236}">
                    <a16:creationId xmlns:a16="http://schemas.microsoft.com/office/drawing/2014/main" id="{2CFC4ABC-316B-4CFA-87B6-03B68200DB53}"/>
                  </a:ext>
                </a:extLst>
              </p:cNvPr>
              <p:cNvSpPr/>
              <p:nvPr/>
            </p:nvSpPr>
            <p:spPr>
              <a:xfrm>
                <a:off x="2179450" y="2608453"/>
                <a:ext cx="52498" cy="90930"/>
              </a:xfrm>
              <a:custGeom>
                <a:avLst/>
                <a:gdLst>
                  <a:gd name="connsiteX0" fmla="*/ 0 w 52498"/>
                  <a:gd name="connsiteY0" fmla="*/ 30268 h 90930"/>
                  <a:gd name="connsiteX1" fmla="*/ 52499 w 52498"/>
                  <a:gd name="connsiteY1" fmla="*/ 0 h 90930"/>
                  <a:gd name="connsiteX2" fmla="*/ 52499 w 52498"/>
                  <a:gd name="connsiteY2" fmla="*/ 60662 h 90930"/>
                  <a:gd name="connsiteX3" fmla="*/ 0 w 52498"/>
                  <a:gd name="connsiteY3" fmla="*/ 90931 h 90930"/>
                </a:gdLst>
                <a:ahLst/>
                <a:cxnLst>
                  <a:cxn ang="0">
                    <a:pos x="connsiteX0" y="connsiteY0"/>
                  </a:cxn>
                  <a:cxn ang="0">
                    <a:pos x="connsiteX1" y="connsiteY1"/>
                  </a:cxn>
                  <a:cxn ang="0">
                    <a:pos x="connsiteX2" y="connsiteY2"/>
                  </a:cxn>
                  <a:cxn ang="0">
                    <a:pos x="connsiteX3" y="connsiteY3"/>
                  </a:cxn>
                </a:cxnLst>
                <a:rect l="l" t="t" r="r" b="b"/>
                <a:pathLst>
                  <a:path w="52498" h="90930">
                    <a:moveTo>
                      <a:pt x="0" y="30268"/>
                    </a:moveTo>
                    <a:lnTo>
                      <a:pt x="52499" y="0"/>
                    </a:lnTo>
                    <a:lnTo>
                      <a:pt x="52499" y="60662"/>
                    </a:lnTo>
                    <a:lnTo>
                      <a:pt x="0" y="90931"/>
                    </a:lnTo>
                    <a:close/>
                  </a:path>
                </a:pathLst>
              </a:custGeom>
              <a:solidFill>
                <a:srgbClr val="F4EDF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3" name="Freeform: Shape 862">
                <a:extLst>
                  <a:ext uri="{FF2B5EF4-FFF2-40B4-BE49-F238E27FC236}">
                    <a16:creationId xmlns:a16="http://schemas.microsoft.com/office/drawing/2014/main" id="{938511F8-17DA-4118-B88F-A84610C0A835}"/>
                  </a:ext>
                </a:extLst>
              </p:cNvPr>
              <p:cNvSpPr/>
              <p:nvPr/>
            </p:nvSpPr>
            <p:spPr>
              <a:xfrm>
                <a:off x="2239986" y="2582455"/>
                <a:ext cx="37175" cy="70207"/>
              </a:xfrm>
              <a:custGeom>
                <a:avLst/>
                <a:gdLst>
                  <a:gd name="connsiteX0" fmla="*/ 0 w 37175"/>
                  <a:gd name="connsiteY0" fmla="*/ 21226 h 70207"/>
                  <a:gd name="connsiteX1" fmla="*/ 0 w 37175"/>
                  <a:gd name="connsiteY1" fmla="*/ 70208 h 70207"/>
                  <a:gd name="connsiteX2" fmla="*/ 37176 w 37175"/>
                  <a:gd name="connsiteY2" fmla="*/ 50615 h 70207"/>
                  <a:gd name="connsiteX3" fmla="*/ 37176 w 37175"/>
                  <a:gd name="connsiteY3" fmla="*/ 0 h 70207"/>
                </a:gdLst>
                <a:ahLst/>
                <a:cxnLst>
                  <a:cxn ang="0">
                    <a:pos x="connsiteX0" y="connsiteY0"/>
                  </a:cxn>
                  <a:cxn ang="0">
                    <a:pos x="connsiteX1" y="connsiteY1"/>
                  </a:cxn>
                  <a:cxn ang="0">
                    <a:pos x="connsiteX2" y="connsiteY2"/>
                  </a:cxn>
                  <a:cxn ang="0">
                    <a:pos x="connsiteX3" y="connsiteY3"/>
                  </a:cxn>
                </a:cxnLst>
                <a:rect l="l" t="t" r="r" b="b"/>
                <a:pathLst>
                  <a:path w="37175" h="70207">
                    <a:moveTo>
                      <a:pt x="0" y="21226"/>
                    </a:moveTo>
                    <a:lnTo>
                      <a:pt x="0" y="70208"/>
                    </a:lnTo>
                    <a:lnTo>
                      <a:pt x="37176" y="50615"/>
                    </a:lnTo>
                    <a:lnTo>
                      <a:pt x="37176" y="0"/>
                    </a:lnTo>
                    <a:close/>
                  </a:path>
                </a:pathLst>
              </a:custGeom>
              <a:solidFill>
                <a:srgbClr val="F4EDF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864" name="Graphic 4">
            <a:extLst>
              <a:ext uri="{FF2B5EF4-FFF2-40B4-BE49-F238E27FC236}">
                <a16:creationId xmlns:a16="http://schemas.microsoft.com/office/drawing/2014/main" id="{84FB7ED1-A2DF-40A1-A747-5F7CF3F14040}"/>
              </a:ext>
            </a:extLst>
          </p:cNvPr>
          <p:cNvGrpSpPr/>
          <p:nvPr/>
        </p:nvGrpSpPr>
        <p:grpSpPr>
          <a:xfrm>
            <a:off x="3268580" y="2205078"/>
            <a:ext cx="603008" cy="659755"/>
            <a:chOff x="3268580" y="2205078"/>
            <a:chExt cx="603008" cy="659755"/>
          </a:xfrm>
          <a:solidFill>
            <a:schemeClr val="accent1"/>
          </a:solidFill>
        </p:grpSpPr>
        <p:sp>
          <p:nvSpPr>
            <p:cNvPr id="865" name="Freeform: Shape 864">
              <a:extLst>
                <a:ext uri="{FF2B5EF4-FFF2-40B4-BE49-F238E27FC236}">
                  <a16:creationId xmlns:a16="http://schemas.microsoft.com/office/drawing/2014/main" id="{08D403E0-0970-4529-942A-2208EAB97CC0}"/>
                </a:ext>
              </a:extLst>
            </p:cNvPr>
            <p:cNvSpPr/>
            <p:nvPr/>
          </p:nvSpPr>
          <p:spPr>
            <a:xfrm>
              <a:off x="3268608" y="2644374"/>
              <a:ext cx="13313" cy="19215"/>
            </a:xfrm>
            <a:custGeom>
              <a:avLst/>
              <a:gdLst>
                <a:gd name="connsiteX0" fmla="*/ 0 w 13313"/>
                <a:gd name="connsiteY0" fmla="*/ 0 h 19215"/>
                <a:gd name="connsiteX1" fmla="*/ 0 w 13313"/>
                <a:gd name="connsiteY1" fmla="*/ 19216 h 19215"/>
                <a:gd name="connsiteX2" fmla="*/ 13313 w 13313"/>
                <a:gd name="connsiteY2" fmla="*/ 9168 h 19215"/>
              </a:gdLst>
              <a:ahLst/>
              <a:cxnLst>
                <a:cxn ang="0">
                  <a:pos x="connsiteX0" y="connsiteY0"/>
                </a:cxn>
                <a:cxn ang="0">
                  <a:pos x="connsiteX1" y="connsiteY1"/>
                </a:cxn>
                <a:cxn ang="0">
                  <a:pos x="connsiteX2" y="connsiteY2"/>
                </a:cxn>
              </a:cxnLst>
              <a:rect l="l" t="t" r="r" b="b"/>
              <a:pathLst>
                <a:path w="13313" h="19215">
                  <a:moveTo>
                    <a:pt x="0" y="0"/>
                  </a:moveTo>
                  <a:lnTo>
                    <a:pt x="0" y="19216"/>
                  </a:lnTo>
                  <a:lnTo>
                    <a:pt x="13313" y="9168"/>
                  </a:ln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866" name="Graphic 4">
              <a:extLst>
                <a:ext uri="{FF2B5EF4-FFF2-40B4-BE49-F238E27FC236}">
                  <a16:creationId xmlns:a16="http://schemas.microsoft.com/office/drawing/2014/main" id="{84FB7ED1-A2DF-40A1-A747-5F7CF3F14040}"/>
                </a:ext>
              </a:extLst>
            </p:cNvPr>
            <p:cNvGrpSpPr/>
            <p:nvPr/>
          </p:nvGrpSpPr>
          <p:grpSpPr>
            <a:xfrm>
              <a:off x="3268580" y="2205078"/>
              <a:ext cx="603008" cy="659755"/>
              <a:chOff x="3268580" y="2205078"/>
              <a:chExt cx="603008" cy="659755"/>
            </a:xfrm>
            <a:solidFill>
              <a:schemeClr val="accent1"/>
            </a:solidFill>
          </p:grpSpPr>
          <p:sp>
            <p:nvSpPr>
              <p:cNvPr id="867" name="Freeform: Shape 866">
                <a:extLst>
                  <a:ext uri="{FF2B5EF4-FFF2-40B4-BE49-F238E27FC236}">
                    <a16:creationId xmlns:a16="http://schemas.microsoft.com/office/drawing/2014/main" id="{EE483A1B-E55F-4381-8E66-B9DBD9739F5A}"/>
                  </a:ext>
                </a:extLst>
              </p:cNvPr>
              <p:cNvSpPr/>
              <p:nvPr/>
            </p:nvSpPr>
            <p:spPr>
              <a:xfrm>
                <a:off x="3511132" y="2205545"/>
                <a:ext cx="11303" cy="8289"/>
              </a:xfrm>
              <a:custGeom>
                <a:avLst/>
                <a:gdLst>
                  <a:gd name="connsiteX0" fmla="*/ 0 w 11303"/>
                  <a:gd name="connsiteY0" fmla="*/ 4647 h 8289"/>
                  <a:gd name="connsiteX1" fmla="*/ 8666 w 11303"/>
                  <a:gd name="connsiteY1" fmla="*/ 0 h 8289"/>
                  <a:gd name="connsiteX2" fmla="*/ 11303 w 11303"/>
                  <a:gd name="connsiteY2" fmla="*/ 3894 h 8289"/>
                  <a:gd name="connsiteX3" fmla="*/ 2135 w 11303"/>
                  <a:gd name="connsiteY3" fmla="*/ 8289 h 8289"/>
                </a:gdLst>
                <a:ahLst/>
                <a:cxnLst>
                  <a:cxn ang="0">
                    <a:pos x="connsiteX0" y="connsiteY0"/>
                  </a:cxn>
                  <a:cxn ang="0">
                    <a:pos x="connsiteX1" y="connsiteY1"/>
                  </a:cxn>
                  <a:cxn ang="0">
                    <a:pos x="connsiteX2" y="connsiteY2"/>
                  </a:cxn>
                  <a:cxn ang="0">
                    <a:pos x="connsiteX3" y="connsiteY3"/>
                  </a:cxn>
                </a:cxnLst>
                <a:rect l="l" t="t" r="r" b="b"/>
                <a:pathLst>
                  <a:path w="11303" h="8289">
                    <a:moveTo>
                      <a:pt x="0" y="4647"/>
                    </a:moveTo>
                    <a:lnTo>
                      <a:pt x="8666" y="0"/>
                    </a:lnTo>
                    <a:lnTo>
                      <a:pt x="11303" y="3894"/>
                    </a:lnTo>
                    <a:lnTo>
                      <a:pt x="2135" y="8289"/>
                    </a:ln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8" name="Freeform: Shape 867">
                <a:extLst>
                  <a:ext uri="{FF2B5EF4-FFF2-40B4-BE49-F238E27FC236}">
                    <a16:creationId xmlns:a16="http://schemas.microsoft.com/office/drawing/2014/main" id="{7015E5B0-B61D-4353-B6EB-C78F9C6165E6}"/>
                  </a:ext>
                </a:extLst>
              </p:cNvPr>
              <p:cNvSpPr/>
              <p:nvPr/>
            </p:nvSpPr>
            <p:spPr>
              <a:xfrm>
                <a:off x="3858527" y="2684062"/>
                <a:ext cx="9419" cy="11554"/>
              </a:xfrm>
              <a:custGeom>
                <a:avLst/>
                <a:gdLst>
                  <a:gd name="connsiteX0" fmla="*/ 9420 w 9419"/>
                  <a:gd name="connsiteY0" fmla="*/ 7033 h 11554"/>
                  <a:gd name="connsiteX1" fmla="*/ 1005 w 9419"/>
                  <a:gd name="connsiteY1" fmla="*/ 11555 h 11554"/>
                  <a:gd name="connsiteX2" fmla="*/ 0 w 9419"/>
                  <a:gd name="connsiteY2" fmla="*/ 4898 h 11554"/>
                  <a:gd name="connsiteX3" fmla="*/ 8666 w 9419"/>
                  <a:gd name="connsiteY3" fmla="*/ 0 h 11554"/>
                </a:gdLst>
                <a:ahLst/>
                <a:cxnLst>
                  <a:cxn ang="0">
                    <a:pos x="connsiteX0" y="connsiteY0"/>
                  </a:cxn>
                  <a:cxn ang="0">
                    <a:pos x="connsiteX1" y="connsiteY1"/>
                  </a:cxn>
                  <a:cxn ang="0">
                    <a:pos x="connsiteX2" y="connsiteY2"/>
                  </a:cxn>
                  <a:cxn ang="0">
                    <a:pos x="connsiteX3" y="connsiteY3"/>
                  </a:cxn>
                </a:cxnLst>
                <a:rect l="l" t="t" r="r" b="b"/>
                <a:pathLst>
                  <a:path w="9419" h="11554">
                    <a:moveTo>
                      <a:pt x="9420" y="7033"/>
                    </a:moveTo>
                    <a:lnTo>
                      <a:pt x="1005" y="11555"/>
                    </a:lnTo>
                    <a:lnTo>
                      <a:pt x="0" y="4898"/>
                    </a:lnTo>
                    <a:lnTo>
                      <a:pt x="8666" y="0"/>
                    </a:lnTo>
                    <a:close/>
                  </a:path>
                </a:pathLst>
              </a:custGeom>
              <a:solidFill>
                <a:srgbClr val="FEAC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9" name="Freeform: Shape 868">
                <a:extLst>
                  <a:ext uri="{FF2B5EF4-FFF2-40B4-BE49-F238E27FC236}">
                    <a16:creationId xmlns:a16="http://schemas.microsoft.com/office/drawing/2014/main" id="{63AD707E-3294-425C-B570-C30C36118FD5}"/>
                  </a:ext>
                </a:extLst>
              </p:cNvPr>
              <p:cNvSpPr/>
              <p:nvPr/>
            </p:nvSpPr>
            <p:spPr>
              <a:xfrm>
                <a:off x="3515653" y="2205078"/>
                <a:ext cx="355935" cy="486609"/>
              </a:xfrm>
              <a:custGeom>
                <a:avLst/>
                <a:gdLst>
                  <a:gd name="connsiteX0" fmla="*/ 345637 w 355935"/>
                  <a:gd name="connsiteY0" fmla="*/ 485389 h 486609"/>
                  <a:gd name="connsiteX1" fmla="*/ 10299 w 355935"/>
                  <a:gd name="connsiteY1" fmla="*/ 291722 h 486609"/>
                  <a:gd name="connsiteX2" fmla="*/ 0 w 355935"/>
                  <a:gd name="connsiteY2" fmla="*/ 272129 h 486609"/>
                  <a:gd name="connsiteX3" fmla="*/ 0 w 355935"/>
                  <a:gd name="connsiteY3" fmla="*/ 9008 h 486609"/>
                  <a:gd name="connsiteX4" fmla="*/ 10299 w 355935"/>
                  <a:gd name="connsiteY4" fmla="*/ 1221 h 486609"/>
                  <a:gd name="connsiteX5" fmla="*/ 345637 w 355935"/>
                  <a:gd name="connsiteY5" fmla="*/ 194888 h 486609"/>
                  <a:gd name="connsiteX6" fmla="*/ 355936 w 355935"/>
                  <a:gd name="connsiteY6" fmla="*/ 214481 h 486609"/>
                  <a:gd name="connsiteX7" fmla="*/ 355936 w 355935"/>
                  <a:gd name="connsiteY7" fmla="*/ 477602 h 486609"/>
                  <a:gd name="connsiteX8" fmla="*/ 345637 w 355935"/>
                  <a:gd name="connsiteY8" fmla="*/ 485389 h 48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935" h="486609">
                    <a:moveTo>
                      <a:pt x="345637" y="485389"/>
                    </a:moveTo>
                    <a:lnTo>
                      <a:pt x="10299" y="291722"/>
                    </a:lnTo>
                    <a:cubicBezTo>
                      <a:pt x="4647" y="288456"/>
                      <a:pt x="0" y="279665"/>
                      <a:pt x="0" y="272129"/>
                    </a:cubicBezTo>
                    <a:lnTo>
                      <a:pt x="0" y="9008"/>
                    </a:lnTo>
                    <a:cubicBezTo>
                      <a:pt x="0" y="1472"/>
                      <a:pt x="4647" y="-2045"/>
                      <a:pt x="10299" y="1221"/>
                    </a:cubicBezTo>
                    <a:lnTo>
                      <a:pt x="345637" y="194888"/>
                    </a:lnTo>
                    <a:cubicBezTo>
                      <a:pt x="351289" y="198154"/>
                      <a:pt x="355936" y="206945"/>
                      <a:pt x="355936" y="214481"/>
                    </a:cubicBezTo>
                    <a:lnTo>
                      <a:pt x="355936" y="477602"/>
                    </a:lnTo>
                    <a:cubicBezTo>
                      <a:pt x="355810" y="485138"/>
                      <a:pt x="351289" y="488654"/>
                      <a:pt x="345637" y="485389"/>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0" name="Freeform: Shape 869">
                <a:extLst>
                  <a:ext uri="{FF2B5EF4-FFF2-40B4-BE49-F238E27FC236}">
                    <a16:creationId xmlns:a16="http://schemas.microsoft.com/office/drawing/2014/main" id="{CDAE470C-80AE-4669-A0F0-19AB60B0B5F3}"/>
                  </a:ext>
                </a:extLst>
              </p:cNvPr>
              <p:cNvSpPr/>
              <p:nvPr/>
            </p:nvSpPr>
            <p:spPr>
              <a:xfrm>
                <a:off x="3507238" y="2209725"/>
                <a:ext cx="355935" cy="486504"/>
              </a:xfrm>
              <a:custGeom>
                <a:avLst/>
                <a:gdLst>
                  <a:gd name="connsiteX0" fmla="*/ 345637 w 355935"/>
                  <a:gd name="connsiteY0" fmla="*/ 485263 h 486504"/>
                  <a:gd name="connsiteX1" fmla="*/ 10298 w 355935"/>
                  <a:gd name="connsiteY1" fmla="*/ 291596 h 486504"/>
                  <a:gd name="connsiteX2" fmla="*/ 0 w 355935"/>
                  <a:gd name="connsiteY2" fmla="*/ 272003 h 486504"/>
                  <a:gd name="connsiteX3" fmla="*/ 0 w 355935"/>
                  <a:gd name="connsiteY3" fmla="*/ 9008 h 486504"/>
                  <a:gd name="connsiteX4" fmla="*/ 10298 w 355935"/>
                  <a:gd name="connsiteY4" fmla="*/ 1221 h 486504"/>
                  <a:gd name="connsiteX5" fmla="*/ 345637 w 355935"/>
                  <a:gd name="connsiteY5" fmla="*/ 194888 h 486504"/>
                  <a:gd name="connsiteX6" fmla="*/ 355936 w 355935"/>
                  <a:gd name="connsiteY6" fmla="*/ 214481 h 486504"/>
                  <a:gd name="connsiteX7" fmla="*/ 355936 w 355935"/>
                  <a:gd name="connsiteY7" fmla="*/ 477602 h 486504"/>
                  <a:gd name="connsiteX8" fmla="*/ 345637 w 355935"/>
                  <a:gd name="connsiteY8" fmla="*/ 485263 h 486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935" h="486504">
                    <a:moveTo>
                      <a:pt x="345637" y="485263"/>
                    </a:moveTo>
                    <a:lnTo>
                      <a:pt x="10298" y="291596"/>
                    </a:lnTo>
                    <a:cubicBezTo>
                      <a:pt x="4647" y="288331"/>
                      <a:pt x="0" y="279539"/>
                      <a:pt x="0" y="272003"/>
                    </a:cubicBezTo>
                    <a:lnTo>
                      <a:pt x="0" y="9008"/>
                    </a:lnTo>
                    <a:cubicBezTo>
                      <a:pt x="0" y="1472"/>
                      <a:pt x="4647" y="-2045"/>
                      <a:pt x="10298" y="1221"/>
                    </a:cubicBezTo>
                    <a:lnTo>
                      <a:pt x="345637" y="194888"/>
                    </a:lnTo>
                    <a:cubicBezTo>
                      <a:pt x="351289" y="198154"/>
                      <a:pt x="355936" y="206945"/>
                      <a:pt x="355936" y="214481"/>
                    </a:cubicBezTo>
                    <a:lnTo>
                      <a:pt x="355936" y="477602"/>
                    </a:lnTo>
                    <a:cubicBezTo>
                      <a:pt x="355936" y="485138"/>
                      <a:pt x="351289" y="488529"/>
                      <a:pt x="345637" y="485263"/>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1" name="Freeform: Shape 870">
                <a:extLst>
                  <a:ext uri="{FF2B5EF4-FFF2-40B4-BE49-F238E27FC236}">
                    <a16:creationId xmlns:a16="http://schemas.microsoft.com/office/drawing/2014/main" id="{13F443FC-C877-4FA3-8651-B0704944DA09}"/>
                  </a:ext>
                </a:extLst>
              </p:cNvPr>
              <p:cNvSpPr/>
              <p:nvPr/>
            </p:nvSpPr>
            <p:spPr>
              <a:xfrm>
                <a:off x="3523063" y="2237105"/>
                <a:ext cx="324285" cy="431724"/>
              </a:xfrm>
              <a:custGeom>
                <a:avLst/>
                <a:gdLst>
                  <a:gd name="connsiteX0" fmla="*/ 0 w 324285"/>
                  <a:gd name="connsiteY0" fmla="*/ 235581 h 431724"/>
                  <a:gd name="connsiteX1" fmla="*/ 0 w 324285"/>
                  <a:gd name="connsiteY1" fmla="*/ 9008 h 431724"/>
                  <a:gd name="connsiteX2" fmla="*/ 10299 w 324285"/>
                  <a:gd name="connsiteY2" fmla="*/ 1221 h 431724"/>
                  <a:gd name="connsiteX3" fmla="*/ 313987 w 324285"/>
                  <a:gd name="connsiteY3" fmla="*/ 176551 h 431724"/>
                  <a:gd name="connsiteX4" fmla="*/ 324286 w 324285"/>
                  <a:gd name="connsiteY4" fmla="*/ 196144 h 431724"/>
                  <a:gd name="connsiteX5" fmla="*/ 324286 w 324285"/>
                  <a:gd name="connsiteY5" fmla="*/ 422717 h 431724"/>
                  <a:gd name="connsiteX6" fmla="*/ 313987 w 324285"/>
                  <a:gd name="connsiteY6" fmla="*/ 430504 h 431724"/>
                  <a:gd name="connsiteX7" fmla="*/ 10299 w 324285"/>
                  <a:gd name="connsiteY7" fmla="*/ 255174 h 431724"/>
                  <a:gd name="connsiteX8" fmla="*/ 0 w 324285"/>
                  <a:gd name="connsiteY8" fmla="*/ 235581 h 431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85" h="431724">
                    <a:moveTo>
                      <a:pt x="0" y="235581"/>
                    </a:moveTo>
                    <a:lnTo>
                      <a:pt x="0" y="9008"/>
                    </a:lnTo>
                    <a:cubicBezTo>
                      <a:pt x="0" y="1472"/>
                      <a:pt x="4647" y="-2045"/>
                      <a:pt x="10299" y="1221"/>
                    </a:cubicBezTo>
                    <a:lnTo>
                      <a:pt x="313987" y="176551"/>
                    </a:lnTo>
                    <a:cubicBezTo>
                      <a:pt x="319639" y="179817"/>
                      <a:pt x="324286" y="188608"/>
                      <a:pt x="324286" y="196144"/>
                    </a:cubicBezTo>
                    <a:lnTo>
                      <a:pt x="324286" y="422717"/>
                    </a:lnTo>
                    <a:cubicBezTo>
                      <a:pt x="324286" y="430253"/>
                      <a:pt x="319639" y="433769"/>
                      <a:pt x="313987" y="430504"/>
                    </a:cubicBezTo>
                    <a:lnTo>
                      <a:pt x="10299" y="255174"/>
                    </a:lnTo>
                    <a:cubicBezTo>
                      <a:pt x="4647" y="251908"/>
                      <a:pt x="0" y="243116"/>
                      <a:pt x="0" y="235581"/>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2" name="Freeform: Shape 871">
                <a:extLst>
                  <a:ext uri="{FF2B5EF4-FFF2-40B4-BE49-F238E27FC236}">
                    <a16:creationId xmlns:a16="http://schemas.microsoft.com/office/drawing/2014/main" id="{00B224A8-26FC-429D-A208-EFA0DB43C314}"/>
                  </a:ext>
                </a:extLst>
              </p:cNvPr>
              <p:cNvSpPr/>
              <p:nvPr/>
            </p:nvSpPr>
            <p:spPr>
              <a:xfrm>
                <a:off x="3841320" y="2703529"/>
                <a:ext cx="21853" cy="19843"/>
              </a:xfrm>
              <a:custGeom>
                <a:avLst/>
                <a:gdLst>
                  <a:gd name="connsiteX0" fmla="*/ 0 w 21853"/>
                  <a:gd name="connsiteY0" fmla="*/ 0 h 19843"/>
                  <a:gd name="connsiteX1" fmla="*/ 21853 w 21853"/>
                  <a:gd name="connsiteY1" fmla="*/ 0 h 19843"/>
                  <a:gd name="connsiteX2" fmla="*/ 21853 w 21853"/>
                  <a:gd name="connsiteY2" fmla="*/ 19844 h 19843"/>
                  <a:gd name="connsiteX3" fmla="*/ 0 w 21853"/>
                  <a:gd name="connsiteY3" fmla="*/ 19844 h 19843"/>
                </a:gdLst>
                <a:ahLst/>
                <a:cxnLst>
                  <a:cxn ang="0">
                    <a:pos x="connsiteX0" y="connsiteY0"/>
                  </a:cxn>
                  <a:cxn ang="0">
                    <a:pos x="connsiteX1" y="connsiteY1"/>
                  </a:cxn>
                  <a:cxn ang="0">
                    <a:pos x="connsiteX2" y="connsiteY2"/>
                  </a:cxn>
                  <a:cxn ang="0">
                    <a:pos x="connsiteX3" y="connsiteY3"/>
                  </a:cxn>
                </a:cxnLst>
                <a:rect l="l" t="t" r="r" b="b"/>
                <a:pathLst>
                  <a:path w="21853" h="19843">
                    <a:moveTo>
                      <a:pt x="0" y="0"/>
                    </a:moveTo>
                    <a:lnTo>
                      <a:pt x="21853" y="0"/>
                    </a:lnTo>
                    <a:lnTo>
                      <a:pt x="21853" y="19844"/>
                    </a:lnTo>
                    <a:lnTo>
                      <a:pt x="0" y="19844"/>
                    </a:ln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3" name="Freeform: Shape 872">
                <a:extLst>
                  <a:ext uri="{FF2B5EF4-FFF2-40B4-BE49-F238E27FC236}">
                    <a16:creationId xmlns:a16="http://schemas.microsoft.com/office/drawing/2014/main" id="{9901D06C-3777-41B7-9157-FD8F00B5157F}"/>
                  </a:ext>
                </a:extLst>
              </p:cNvPr>
              <p:cNvSpPr/>
              <p:nvPr/>
            </p:nvSpPr>
            <p:spPr>
              <a:xfrm>
                <a:off x="3268580" y="2521584"/>
                <a:ext cx="594496" cy="343250"/>
              </a:xfrm>
              <a:custGeom>
                <a:avLst/>
                <a:gdLst>
                  <a:gd name="connsiteX0" fmla="*/ 339134 w 594496"/>
                  <a:gd name="connsiteY0" fmla="*/ 341074 h 343250"/>
                  <a:gd name="connsiteX1" fmla="*/ 3796 w 594496"/>
                  <a:gd name="connsiteY1" fmla="*/ 147406 h 343250"/>
                  <a:gd name="connsiteX2" fmla="*/ 5429 w 594496"/>
                  <a:gd name="connsiteY2" fmla="*/ 134721 h 343250"/>
                  <a:gd name="connsiteX3" fmla="*/ 233258 w 594496"/>
                  <a:gd name="connsiteY3" fmla="*/ 3098 h 343250"/>
                  <a:gd name="connsiteX4" fmla="*/ 255362 w 594496"/>
                  <a:gd name="connsiteY4" fmla="*/ 2219 h 343250"/>
                  <a:gd name="connsiteX5" fmla="*/ 590701 w 594496"/>
                  <a:gd name="connsiteY5" fmla="*/ 195886 h 343250"/>
                  <a:gd name="connsiteX6" fmla="*/ 589068 w 594496"/>
                  <a:gd name="connsiteY6" fmla="*/ 208571 h 343250"/>
                  <a:gd name="connsiteX7" fmla="*/ 361239 w 594496"/>
                  <a:gd name="connsiteY7" fmla="*/ 340194 h 343250"/>
                  <a:gd name="connsiteX8" fmla="*/ 339134 w 594496"/>
                  <a:gd name="connsiteY8" fmla="*/ 341074 h 34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4496" h="343250">
                    <a:moveTo>
                      <a:pt x="339134" y="341074"/>
                    </a:moveTo>
                    <a:lnTo>
                      <a:pt x="3796" y="147406"/>
                    </a:lnTo>
                    <a:cubicBezTo>
                      <a:pt x="-1856" y="144141"/>
                      <a:pt x="-1102" y="138489"/>
                      <a:pt x="5429" y="134721"/>
                    </a:cubicBezTo>
                    <a:lnTo>
                      <a:pt x="233258" y="3098"/>
                    </a:lnTo>
                    <a:cubicBezTo>
                      <a:pt x="239789" y="-670"/>
                      <a:pt x="249710" y="-1047"/>
                      <a:pt x="255362" y="2219"/>
                    </a:cubicBezTo>
                    <a:lnTo>
                      <a:pt x="590701" y="195886"/>
                    </a:lnTo>
                    <a:cubicBezTo>
                      <a:pt x="596352" y="199152"/>
                      <a:pt x="595599" y="204803"/>
                      <a:pt x="589068" y="208571"/>
                    </a:cubicBezTo>
                    <a:lnTo>
                      <a:pt x="361239" y="340194"/>
                    </a:lnTo>
                    <a:cubicBezTo>
                      <a:pt x="354708" y="343837"/>
                      <a:pt x="344912" y="344339"/>
                      <a:pt x="339134" y="341074"/>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4" name="Freeform: Shape 873">
                <a:extLst>
                  <a:ext uri="{FF2B5EF4-FFF2-40B4-BE49-F238E27FC236}">
                    <a16:creationId xmlns:a16="http://schemas.microsoft.com/office/drawing/2014/main" id="{D030949C-2696-488C-AEFB-13F49785E9EE}"/>
                  </a:ext>
                </a:extLst>
              </p:cNvPr>
              <p:cNvSpPr/>
              <p:nvPr/>
            </p:nvSpPr>
            <p:spPr>
              <a:xfrm>
                <a:off x="3268580" y="2502870"/>
                <a:ext cx="594496" cy="343178"/>
              </a:xfrm>
              <a:custGeom>
                <a:avLst/>
                <a:gdLst>
                  <a:gd name="connsiteX0" fmla="*/ 339134 w 594496"/>
                  <a:gd name="connsiteY0" fmla="*/ 340948 h 343178"/>
                  <a:gd name="connsiteX1" fmla="*/ 3796 w 594496"/>
                  <a:gd name="connsiteY1" fmla="*/ 147406 h 343178"/>
                  <a:gd name="connsiteX2" fmla="*/ 5429 w 594496"/>
                  <a:gd name="connsiteY2" fmla="*/ 134721 h 343178"/>
                  <a:gd name="connsiteX3" fmla="*/ 233258 w 594496"/>
                  <a:gd name="connsiteY3" fmla="*/ 3098 h 343178"/>
                  <a:gd name="connsiteX4" fmla="*/ 255362 w 594496"/>
                  <a:gd name="connsiteY4" fmla="*/ 2219 h 343178"/>
                  <a:gd name="connsiteX5" fmla="*/ 590701 w 594496"/>
                  <a:gd name="connsiteY5" fmla="*/ 195886 h 343178"/>
                  <a:gd name="connsiteX6" fmla="*/ 589068 w 594496"/>
                  <a:gd name="connsiteY6" fmla="*/ 208571 h 343178"/>
                  <a:gd name="connsiteX7" fmla="*/ 361239 w 594496"/>
                  <a:gd name="connsiteY7" fmla="*/ 340195 h 343178"/>
                  <a:gd name="connsiteX8" fmla="*/ 339134 w 594496"/>
                  <a:gd name="connsiteY8" fmla="*/ 340948 h 34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4496" h="343178">
                    <a:moveTo>
                      <a:pt x="339134" y="340948"/>
                    </a:moveTo>
                    <a:lnTo>
                      <a:pt x="3796" y="147406"/>
                    </a:lnTo>
                    <a:cubicBezTo>
                      <a:pt x="-1856" y="144141"/>
                      <a:pt x="-1102" y="138489"/>
                      <a:pt x="5429" y="134721"/>
                    </a:cubicBezTo>
                    <a:lnTo>
                      <a:pt x="233258" y="3098"/>
                    </a:lnTo>
                    <a:cubicBezTo>
                      <a:pt x="239789" y="-670"/>
                      <a:pt x="249710" y="-1047"/>
                      <a:pt x="255362" y="2219"/>
                    </a:cubicBezTo>
                    <a:lnTo>
                      <a:pt x="590701" y="195886"/>
                    </a:lnTo>
                    <a:cubicBezTo>
                      <a:pt x="596352" y="199152"/>
                      <a:pt x="595599" y="204803"/>
                      <a:pt x="589068" y="208571"/>
                    </a:cubicBezTo>
                    <a:lnTo>
                      <a:pt x="361239" y="340195"/>
                    </a:lnTo>
                    <a:cubicBezTo>
                      <a:pt x="354708" y="343837"/>
                      <a:pt x="344912" y="344214"/>
                      <a:pt x="339134" y="340948"/>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5" name="Freeform: Shape 874">
                <a:extLst>
                  <a:ext uri="{FF2B5EF4-FFF2-40B4-BE49-F238E27FC236}">
                    <a16:creationId xmlns:a16="http://schemas.microsoft.com/office/drawing/2014/main" id="{5FD9570B-CEAB-4C64-BDC0-D8E00CDC778F}"/>
                  </a:ext>
                </a:extLst>
              </p:cNvPr>
              <p:cNvSpPr/>
              <p:nvPr/>
            </p:nvSpPr>
            <p:spPr>
              <a:xfrm>
                <a:off x="3378191" y="2520280"/>
                <a:ext cx="454649" cy="262503"/>
              </a:xfrm>
              <a:custGeom>
                <a:avLst/>
                <a:gdLst>
                  <a:gd name="connsiteX0" fmla="*/ 4331 w 454649"/>
                  <a:gd name="connsiteY0" fmla="*/ 72850 h 262503"/>
                  <a:gd name="connsiteX1" fmla="*/ 126032 w 454649"/>
                  <a:gd name="connsiteY1" fmla="*/ 2517 h 262503"/>
                  <a:gd name="connsiteX2" fmla="*/ 143741 w 454649"/>
                  <a:gd name="connsiteY2" fmla="*/ 1764 h 262503"/>
                  <a:gd name="connsiteX3" fmla="*/ 451574 w 454649"/>
                  <a:gd name="connsiteY3" fmla="*/ 179480 h 262503"/>
                  <a:gd name="connsiteX4" fmla="*/ 450318 w 454649"/>
                  <a:gd name="connsiteY4" fmla="*/ 189654 h 262503"/>
                  <a:gd name="connsiteX5" fmla="*/ 328617 w 454649"/>
                  <a:gd name="connsiteY5" fmla="*/ 259987 h 262503"/>
                  <a:gd name="connsiteX6" fmla="*/ 310908 w 454649"/>
                  <a:gd name="connsiteY6" fmla="*/ 260740 h 262503"/>
                  <a:gd name="connsiteX7" fmla="*/ 3075 w 454649"/>
                  <a:gd name="connsiteY7" fmla="*/ 83024 h 262503"/>
                  <a:gd name="connsiteX8" fmla="*/ 4331 w 454649"/>
                  <a:gd name="connsiteY8" fmla="*/ 72850 h 26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4649" h="262503">
                    <a:moveTo>
                      <a:pt x="4331" y="72850"/>
                    </a:moveTo>
                    <a:lnTo>
                      <a:pt x="126032" y="2517"/>
                    </a:lnTo>
                    <a:cubicBezTo>
                      <a:pt x="131308" y="-497"/>
                      <a:pt x="139220" y="-874"/>
                      <a:pt x="143741" y="1764"/>
                    </a:cubicBezTo>
                    <a:lnTo>
                      <a:pt x="451574" y="179480"/>
                    </a:lnTo>
                    <a:cubicBezTo>
                      <a:pt x="456096" y="182118"/>
                      <a:pt x="455593" y="186639"/>
                      <a:pt x="450318" y="189654"/>
                    </a:cubicBezTo>
                    <a:lnTo>
                      <a:pt x="328617" y="259987"/>
                    </a:lnTo>
                    <a:cubicBezTo>
                      <a:pt x="323342" y="263001"/>
                      <a:pt x="315430" y="263378"/>
                      <a:pt x="310908" y="260740"/>
                    </a:cubicBezTo>
                    <a:lnTo>
                      <a:pt x="3075" y="83024"/>
                    </a:lnTo>
                    <a:cubicBezTo>
                      <a:pt x="-1446" y="80386"/>
                      <a:pt x="-944" y="75865"/>
                      <a:pt x="4331" y="72850"/>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6" name="Freeform: Shape 875">
                <a:extLst>
                  <a:ext uri="{FF2B5EF4-FFF2-40B4-BE49-F238E27FC236}">
                    <a16:creationId xmlns:a16="http://schemas.microsoft.com/office/drawing/2014/main" id="{698E55FA-850A-42DF-B490-D184D996A590}"/>
                  </a:ext>
                </a:extLst>
              </p:cNvPr>
              <p:cNvSpPr/>
              <p:nvPr/>
            </p:nvSpPr>
            <p:spPr>
              <a:xfrm>
                <a:off x="3407687" y="2671454"/>
                <a:ext cx="163590" cy="94417"/>
              </a:xfrm>
              <a:custGeom>
                <a:avLst/>
                <a:gdLst>
                  <a:gd name="connsiteX0" fmla="*/ 4476 w 163590"/>
                  <a:gd name="connsiteY0" fmla="*/ 29688 h 94417"/>
                  <a:gd name="connsiteX1" fmla="*/ 51574 w 163590"/>
                  <a:gd name="connsiteY1" fmla="*/ 2560 h 94417"/>
                  <a:gd name="connsiteX2" fmla="*/ 69785 w 163590"/>
                  <a:gd name="connsiteY2" fmla="*/ 1806 h 94417"/>
                  <a:gd name="connsiteX3" fmla="*/ 160464 w 163590"/>
                  <a:gd name="connsiteY3" fmla="*/ 54179 h 94417"/>
                  <a:gd name="connsiteX4" fmla="*/ 159209 w 163590"/>
                  <a:gd name="connsiteY4" fmla="*/ 64729 h 94417"/>
                  <a:gd name="connsiteX5" fmla="*/ 112110 w 163590"/>
                  <a:gd name="connsiteY5" fmla="*/ 91858 h 94417"/>
                  <a:gd name="connsiteX6" fmla="*/ 93899 w 163590"/>
                  <a:gd name="connsiteY6" fmla="*/ 92611 h 94417"/>
                  <a:gd name="connsiteX7" fmla="*/ 3220 w 163590"/>
                  <a:gd name="connsiteY7" fmla="*/ 40238 h 94417"/>
                  <a:gd name="connsiteX8" fmla="*/ 4476 w 163590"/>
                  <a:gd name="connsiteY8" fmla="*/ 29688 h 94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590" h="94417">
                    <a:moveTo>
                      <a:pt x="4476" y="29688"/>
                    </a:moveTo>
                    <a:lnTo>
                      <a:pt x="51574" y="2560"/>
                    </a:lnTo>
                    <a:cubicBezTo>
                      <a:pt x="56974" y="-580"/>
                      <a:pt x="65138" y="-831"/>
                      <a:pt x="69785" y="1806"/>
                    </a:cubicBezTo>
                    <a:lnTo>
                      <a:pt x="160464" y="54179"/>
                    </a:lnTo>
                    <a:cubicBezTo>
                      <a:pt x="165111" y="56817"/>
                      <a:pt x="164483" y="61589"/>
                      <a:pt x="159209" y="64729"/>
                    </a:cubicBezTo>
                    <a:lnTo>
                      <a:pt x="112110" y="91858"/>
                    </a:lnTo>
                    <a:cubicBezTo>
                      <a:pt x="106710" y="94997"/>
                      <a:pt x="98546" y="95249"/>
                      <a:pt x="93899" y="92611"/>
                    </a:cubicBezTo>
                    <a:lnTo>
                      <a:pt x="3220" y="40238"/>
                    </a:lnTo>
                    <a:cubicBezTo>
                      <a:pt x="-1553" y="37475"/>
                      <a:pt x="-925" y="32828"/>
                      <a:pt x="4476" y="29688"/>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877" name="Graphic 4">
                <a:extLst>
                  <a:ext uri="{FF2B5EF4-FFF2-40B4-BE49-F238E27FC236}">
                    <a16:creationId xmlns:a16="http://schemas.microsoft.com/office/drawing/2014/main" id="{84FB7ED1-A2DF-40A1-A747-5F7CF3F14040}"/>
                  </a:ext>
                </a:extLst>
              </p:cNvPr>
              <p:cNvGrpSpPr/>
              <p:nvPr/>
            </p:nvGrpSpPr>
            <p:grpSpPr>
              <a:xfrm>
                <a:off x="3397531" y="2526252"/>
                <a:ext cx="425012" cy="245286"/>
                <a:chOff x="3397531" y="2526252"/>
                <a:chExt cx="425012" cy="245286"/>
              </a:xfrm>
              <a:solidFill>
                <a:srgbClr val="131315"/>
              </a:solidFill>
            </p:grpSpPr>
            <p:grpSp>
              <p:nvGrpSpPr>
                <p:cNvPr id="878" name="Graphic 4">
                  <a:extLst>
                    <a:ext uri="{FF2B5EF4-FFF2-40B4-BE49-F238E27FC236}">
                      <a16:creationId xmlns:a16="http://schemas.microsoft.com/office/drawing/2014/main" id="{84FB7ED1-A2DF-40A1-A747-5F7CF3F14040}"/>
                    </a:ext>
                  </a:extLst>
                </p:cNvPr>
                <p:cNvGrpSpPr/>
                <p:nvPr/>
              </p:nvGrpSpPr>
              <p:grpSpPr>
                <a:xfrm>
                  <a:off x="3432823" y="2604120"/>
                  <a:ext cx="354428" cy="93285"/>
                  <a:chOff x="3432823" y="2604120"/>
                  <a:chExt cx="354428" cy="93285"/>
                </a:xfrm>
                <a:solidFill>
                  <a:srgbClr val="131315"/>
                </a:solidFill>
              </p:grpSpPr>
              <p:sp>
                <p:nvSpPr>
                  <p:cNvPr id="879" name="Freeform: Shape 878">
                    <a:extLst>
                      <a:ext uri="{FF2B5EF4-FFF2-40B4-BE49-F238E27FC236}">
                        <a16:creationId xmlns:a16="http://schemas.microsoft.com/office/drawing/2014/main" id="{CFC170FF-3458-4347-9C22-6342B659ED77}"/>
                      </a:ext>
                    </a:extLst>
                  </p:cNvPr>
                  <p:cNvSpPr/>
                  <p:nvPr/>
                </p:nvSpPr>
                <p:spPr>
                  <a:xfrm>
                    <a:off x="3708755" y="2648204"/>
                    <a:ext cx="43329" cy="25087"/>
                  </a:xfrm>
                  <a:custGeom>
                    <a:avLst/>
                    <a:gdLst>
                      <a:gd name="connsiteX0" fmla="*/ 22670 w 43329"/>
                      <a:gd name="connsiteY0" fmla="*/ 24051 h 25087"/>
                      <a:gd name="connsiteX1" fmla="*/ 1695 w 43329"/>
                      <a:gd name="connsiteY1" fmla="*/ 11869 h 25087"/>
                      <a:gd name="connsiteX2" fmla="*/ 1695 w 43329"/>
                      <a:gd name="connsiteY2" fmla="*/ 7096 h 25087"/>
                      <a:gd name="connsiteX3" fmla="*/ 12371 w 43329"/>
                      <a:gd name="connsiteY3" fmla="*/ 942 h 25087"/>
                      <a:gd name="connsiteX4" fmla="*/ 20660 w 43329"/>
                      <a:gd name="connsiteY4" fmla="*/ 942 h 25087"/>
                      <a:gd name="connsiteX5" fmla="*/ 41635 w 43329"/>
                      <a:gd name="connsiteY5" fmla="*/ 13125 h 25087"/>
                      <a:gd name="connsiteX6" fmla="*/ 41635 w 43329"/>
                      <a:gd name="connsiteY6" fmla="*/ 17897 h 25087"/>
                      <a:gd name="connsiteX7" fmla="*/ 30959 w 43329"/>
                      <a:gd name="connsiteY7" fmla="*/ 24051 h 25087"/>
                      <a:gd name="connsiteX8" fmla="*/ 22670 w 43329"/>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0" name="Freeform: Shape 879">
                    <a:extLst>
                      <a:ext uri="{FF2B5EF4-FFF2-40B4-BE49-F238E27FC236}">
                        <a16:creationId xmlns:a16="http://schemas.microsoft.com/office/drawing/2014/main" id="{BBA4C62F-317E-4892-869E-6758532E922A}"/>
                      </a:ext>
                    </a:extLst>
                  </p:cNvPr>
                  <p:cNvSpPr/>
                  <p:nvPr/>
                </p:nvSpPr>
                <p:spPr>
                  <a:xfrm>
                    <a:off x="3743921" y="2668551"/>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1" name="Freeform: Shape 880">
                    <a:extLst>
                      <a:ext uri="{FF2B5EF4-FFF2-40B4-BE49-F238E27FC236}">
                        <a16:creationId xmlns:a16="http://schemas.microsoft.com/office/drawing/2014/main" id="{9FD02991-F71C-416E-AEA0-E16028EC2328}"/>
                      </a:ext>
                    </a:extLst>
                  </p:cNvPr>
                  <p:cNvSpPr/>
                  <p:nvPr/>
                </p:nvSpPr>
                <p:spPr>
                  <a:xfrm>
                    <a:off x="3700591" y="2672318"/>
                    <a:ext cx="43330" cy="25087"/>
                  </a:xfrm>
                  <a:custGeom>
                    <a:avLst/>
                    <a:gdLst>
                      <a:gd name="connsiteX0" fmla="*/ 22670 w 43330"/>
                      <a:gd name="connsiteY0" fmla="*/ 24051 h 25087"/>
                      <a:gd name="connsiteX1" fmla="*/ 1696 w 43330"/>
                      <a:gd name="connsiteY1" fmla="*/ 11869 h 25087"/>
                      <a:gd name="connsiteX2" fmla="*/ 1696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433"/>
                          <a:pt x="24930"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2" name="Freeform: Shape 881">
                    <a:extLst>
                      <a:ext uri="{FF2B5EF4-FFF2-40B4-BE49-F238E27FC236}">
                        <a16:creationId xmlns:a16="http://schemas.microsoft.com/office/drawing/2014/main" id="{2F830174-FE4D-497F-918C-0022EC03CF73}"/>
                      </a:ext>
                    </a:extLst>
                  </p:cNvPr>
                  <p:cNvSpPr/>
                  <p:nvPr/>
                </p:nvSpPr>
                <p:spPr>
                  <a:xfrm>
                    <a:off x="3432823" y="2604120"/>
                    <a:ext cx="43329" cy="25087"/>
                  </a:xfrm>
                  <a:custGeom>
                    <a:avLst/>
                    <a:gdLst>
                      <a:gd name="connsiteX0" fmla="*/ 22670 w 43329"/>
                      <a:gd name="connsiteY0" fmla="*/ 24051 h 25087"/>
                      <a:gd name="connsiteX1" fmla="*/ 1695 w 43329"/>
                      <a:gd name="connsiteY1" fmla="*/ 11869 h 25087"/>
                      <a:gd name="connsiteX2" fmla="*/ 1695 w 43329"/>
                      <a:gd name="connsiteY2" fmla="*/ 7096 h 25087"/>
                      <a:gd name="connsiteX3" fmla="*/ 12371 w 43329"/>
                      <a:gd name="connsiteY3" fmla="*/ 942 h 25087"/>
                      <a:gd name="connsiteX4" fmla="*/ 20660 w 43329"/>
                      <a:gd name="connsiteY4" fmla="*/ 942 h 25087"/>
                      <a:gd name="connsiteX5" fmla="*/ 41635 w 43329"/>
                      <a:gd name="connsiteY5" fmla="*/ 13125 h 25087"/>
                      <a:gd name="connsiteX6" fmla="*/ 41635 w 43329"/>
                      <a:gd name="connsiteY6" fmla="*/ 17897 h 25087"/>
                      <a:gd name="connsiteX7" fmla="*/ 30959 w 43329"/>
                      <a:gd name="connsiteY7" fmla="*/ 24051 h 25087"/>
                      <a:gd name="connsiteX8" fmla="*/ 22670 w 43329"/>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883" name="Graphic 4">
                  <a:extLst>
                    <a:ext uri="{FF2B5EF4-FFF2-40B4-BE49-F238E27FC236}">
                      <a16:creationId xmlns:a16="http://schemas.microsoft.com/office/drawing/2014/main" id="{84FB7ED1-A2DF-40A1-A747-5F7CF3F14040}"/>
                    </a:ext>
                  </a:extLst>
                </p:cNvPr>
                <p:cNvGrpSpPr/>
                <p:nvPr/>
              </p:nvGrpSpPr>
              <p:grpSpPr>
                <a:xfrm>
                  <a:off x="3397531" y="2526252"/>
                  <a:ext cx="425012" cy="245286"/>
                  <a:chOff x="3397531" y="2526252"/>
                  <a:chExt cx="425012" cy="245286"/>
                </a:xfrm>
                <a:solidFill>
                  <a:srgbClr val="131315"/>
                </a:solidFill>
              </p:grpSpPr>
              <p:sp>
                <p:nvSpPr>
                  <p:cNvPr id="884" name="Freeform: Shape 883">
                    <a:extLst>
                      <a:ext uri="{FF2B5EF4-FFF2-40B4-BE49-F238E27FC236}">
                        <a16:creationId xmlns:a16="http://schemas.microsoft.com/office/drawing/2014/main" id="{B9109CA7-9BD7-48D9-8E7E-14E5562DE776}"/>
                      </a:ext>
                    </a:extLst>
                  </p:cNvPr>
                  <p:cNvSpPr/>
                  <p:nvPr/>
                </p:nvSpPr>
                <p:spPr>
                  <a:xfrm>
                    <a:off x="3497379" y="2526252"/>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5" name="Freeform: Shape 884">
                    <a:extLst>
                      <a:ext uri="{FF2B5EF4-FFF2-40B4-BE49-F238E27FC236}">
                        <a16:creationId xmlns:a16="http://schemas.microsoft.com/office/drawing/2014/main" id="{F2A7A1AE-E572-48BD-BB87-7ADF62E4D2E4}"/>
                      </a:ext>
                    </a:extLst>
                  </p:cNvPr>
                  <p:cNvSpPr/>
                  <p:nvPr/>
                </p:nvSpPr>
                <p:spPr>
                  <a:xfrm>
                    <a:off x="3532545" y="2546598"/>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698" y="25307"/>
                          <a:pt x="25056"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6" name="Freeform: Shape 885">
                    <a:extLst>
                      <a:ext uri="{FF2B5EF4-FFF2-40B4-BE49-F238E27FC236}">
                        <a16:creationId xmlns:a16="http://schemas.microsoft.com/office/drawing/2014/main" id="{50B17BB3-F073-4DC3-9229-D0CBC824DC93}"/>
                      </a:ext>
                    </a:extLst>
                  </p:cNvPr>
                  <p:cNvSpPr/>
                  <p:nvPr/>
                </p:nvSpPr>
                <p:spPr>
                  <a:xfrm>
                    <a:off x="3567838" y="2566944"/>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7" name="Freeform: Shape 886">
                    <a:extLst>
                      <a:ext uri="{FF2B5EF4-FFF2-40B4-BE49-F238E27FC236}">
                        <a16:creationId xmlns:a16="http://schemas.microsoft.com/office/drawing/2014/main" id="{EB7EAE59-EBFB-4E03-8F4B-AE635828555F}"/>
                      </a:ext>
                    </a:extLst>
                  </p:cNvPr>
                  <p:cNvSpPr/>
                  <p:nvPr/>
                </p:nvSpPr>
                <p:spPr>
                  <a:xfrm>
                    <a:off x="3603004" y="2587291"/>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8" name="Freeform: Shape 887">
                    <a:extLst>
                      <a:ext uri="{FF2B5EF4-FFF2-40B4-BE49-F238E27FC236}">
                        <a16:creationId xmlns:a16="http://schemas.microsoft.com/office/drawing/2014/main" id="{FFDAE1EE-B765-4E52-A1DE-2E236A2CEC7D}"/>
                      </a:ext>
                    </a:extLst>
                  </p:cNvPr>
                  <p:cNvSpPr/>
                  <p:nvPr/>
                </p:nvSpPr>
                <p:spPr>
                  <a:xfrm>
                    <a:off x="3638296" y="2607511"/>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9" name="Freeform: Shape 888">
                    <a:extLst>
                      <a:ext uri="{FF2B5EF4-FFF2-40B4-BE49-F238E27FC236}">
                        <a16:creationId xmlns:a16="http://schemas.microsoft.com/office/drawing/2014/main" id="{0AE63065-A9DD-4A97-8EFC-E4A4A4338CAA}"/>
                      </a:ext>
                    </a:extLst>
                  </p:cNvPr>
                  <p:cNvSpPr/>
                  <p:nvPr/>
                </p:nvSpPr>
                <p:spPr>
                  <a:xfrm>
                    <a:off x="3673463" y="2627858"/>
                    <a:ext cx="43330" cy="25087"/>
                  </a:xfrm>
                  <a:custGeom>
                    <a:avLst/>
                    <a:gdLst>
                      <a:gd name="connsiteX0" fmla="*/ 22670 w 43330"/>
                      <a:gd name="connsiteY0" fmla="*/ 24051 h 25087"/>
                      <a:gd name="connsiteX1" fmla="*/ 1696 w 43330"/>
                      <a:gd name="connsiteY1" fmla="*/ 11869 h 25087"/>
                      <a:gd name="connsiteX2" fmla="*/ 1696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699"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0" name="Freeform: Shape 889">
                    <a:extLst>
                      <a:ext uri="{FF2B5EF4-FFF2-40B4-BE49-F238E27FC236}">
                        <a16:creationId xmlns:a16="http://schemas.microsoft.com/office/drawing/2014/main" id="{41DB2BB2-CBBB-4FFA-A4B3-70B92EF5C027}"/>
                      </a:ext>
                    </a:extLst>
                  </p:cNvPr>
                  <p:cNvSpPr/>
                  <p:nvPr/>
                </p:nvSpPr>
                <p:spPr>
                  <a:xfrm>
                    <a:off x="3779213" y="2688897"/>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1" name="Freeform: Shape 890">
                    <a:extLst>
                      <a:ext uri="{FF2B5EF4-FFF2-40B4-BE49-F238E27FC236}">
                        <a16:creationId xmlns:a16="http://schemas.microsoft.com/office/drawing/2014/main" id="{5FEF327C-DAB9-4863-981C-75072A89DE73}"/>
                      </a:ext>
                    </a:extLst>
                  </p:cNvPr>
                  <p:cNvSpPr/>
                  <p:nvPr/>
                </p:nvSpPr>
                <p:spPr>
                  <a:xfrm>
                    <a:off x="3472385" y="2540695"/>
                    <a:ext cx="60159" cy="34664"/>
                  </a:xfrm>
                  <a:custGeom>
                    <a:avLst/>
                    <a:gdLst>
                      <a:gd name="connsiteX0" fmla="*/ 39500 w 60159"/>
                      <a:gd name="connsiteY0" fmla="*/ 33722 h 34664"/>
                      <a:gd name="connsiteX1" fmla="*/ 1695 w 60159"/>
                      <a:gd name="connsiteY1" fmla="*/ 11869 h 34664"/>
                      <a:gd name="connsiteX2" fmla="*/ 1695 w 60159"/>
                      <a:gd name="connsiteY2" fmla="*/ 7096 h 34664"/>
                      <a:gd name="connsiteX3" fmla="*/ 12371 w 60159"/>
                      <a:gd name="connsiteY3" fmla="*/ 942 h 34664"/>
                      <a:gd name="connsiteX4" fmla="*/ 20660 w 60159"/>
                      <a:gd name="connsiteY4" fmla="*/ 942 h 34664"/>
                      <a:gd name="connsiteX5" fmla="*/ 58464 w 60159"/>
                      <a:gd name="connsiteY5" fmla="*/ 22795 h 34664"/>
                      <a:gd name="connsiteX6" fmla="*/ 58464 w 60159"/>
                      <a:gd name="connsiteY6" fmla="*/ 27568 h 34664"/>
                      <a:gd name="connsiteX7" fmla="*/ 47789 w 60159"/>
                      <a:gd name="connsiteY7" fmla="*/ 33722 h 34664"/>
                      <a:gd name="connsiteX8" fmla="*/ 39500 w 60159"/>
                      <a:gd name="connsiteY8" fmla="*/ 33722 h 34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159" h="34664">
                        <a:moveTo>
                          <a:pt x="39500" y="33722"/>
                        </a:moveTo>
                        <a:lnTo>
                          <a:pt x="1695" y="11869"/>
                        </a:lnTo>
                        <a:cubicBezTo>
                          <a:pt x="-565" y="10613"/>
                          <a:pt x="-565" y="8478"/>
                          <a:pt x="1695" y="7096"/>
                        </a:cubicBezTo>
                        <a:lnTo>
                          <a:pt x="12371" y="942"/>
                        </a:lnTo>
                        <a:cubicBezTo>
                          <a:pt x="14632" y="-314"/>
                          <a:pt x="18274" y="-314"/>
                          <a:pt x="20660" y="942"/>
                        </a:cubicBezTo>
                        <a:lnTo>
                          <a:pt x="58464" y="22795"/>
                        </a:lnTo>
                        <a:cubicBezTo>
                          <a:pt x="60725" y="24051"/>
                          <a:pt x="60725" y="26187"/>
                          <a:pt x="58464" y="27568"/>
                        </a:cubicBezTo>
                        <a:lnTo>
                          <a:pt x="47789" y="33722"/>
                        </a:lnTo>
                        <a:cubicBezTo>
                          <a:pt x="45528" y="34978"/>
                          <a:pt x="41760" y="34978"/>
                          <a:pt x="39500" y="3372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2" name="Freeform: Shape 891">
                    <a:extLst>
                      <a:ext uri="{FF2B5EF4-FFF2-40B4-BE49-F238E27FC236}">
                        <a16:creationId xmlns:a16="http://schemas.microsoft.com/office/drawing/2014/main" id="{BD69EAFE-2DD3-49FF-82EB-D727EB92E7FA}"/>
                      </a:ext>
                    </a:extLst>
                  </p:cNvPr>
                  <p:cNvSpPr/>
                  <p:nvPr/>
                </p:nvSpPr>
                <p:spPr>
                  <a:xfrm>
                    <a:off x="3524507" y="2570712"/>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3" name="Freeform: Shape 892">
                    <a:extLst>
                      <a:ext uri="{FF2B5EF4-FFF2-40B4-BE49-F238E27FC236}">
                        <a16:creationId xmlns:a16="http://schemas.microsoft.com/office/drawing/2014/main" id="{FF5DD0D6-B9EC-4381-B31F-9FF96D79B557}"/>
                      </a:ext>
                    </a:extLst>
                  </p:cNvPr>
                  <p:cNvSpPr/>
                  <p:nvPr/>
                </p:nvSpPr>
                <p:spPr>
                  <a:xfrm>
                    <a:off x="3559674" y="2591059"/>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4" name="Freeform: Shape 893">
                    <a:extLst>
                      <a:ext uri="{FF2B5EF4-FFF2-40B4-BE49-F238E27FC236}">
                        <a16:creationId xmlns:a16="http://schemas.microsoft.com/office/drawing/2014/main" id="{22680FF0-7D22-4213-AFB5-B903BCC4D4CA}"/>
                      </a:ext>
                    </a:extLst>
                  </p:cNvPr>
                  <p:cNvSpPr/>
                  <p:nvPr/>
                </p:nvSpPr>
                <p:spPr>
                  <a:xfrm>
                    <a:off x="3594840" y="2611279"/>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433"/>
                          <a:pt x="25056"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5" name="Freeform: Shape 894">
                    <a:extLst>
                      <a:ext uri="{FF2B5EF4-FFF2-40B4-BE49-F238E27FC236}">
                        <a16:creationId xmlns:a16="http://schemas.microsoft.com/office/drawing/2014/main" id="{2A0C5604-6173-4141-8ACB-06F289B9E142}"/>
                      </a:ext>
                    </a:extLst>
                  </p:cNvPr>
                  <p:cNvSpPr/>
                  <p:nvPr/>
                </p:nvSpPr>
                <p:spPr>
                  <a:xfrm>
                    <a:off x="3630133" y="2631626"/>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6" name="Freeform: Shape 895">
                    <a:extLst>
                      <a:ext uri="{FF2B5EF4-FFF2-40B4-BE49-F238E27FC236}">
                        <a16:creationId xmlns:a16="http://schemas.microsoft.com/office/drawing/2014/main" id="{6CFFEFFC-E22C-4C02-B66C-9CCF9AA014F8}"/>
                      </a:ext>
                    </a:extLst>
                  </p:cNvPr>
                  <p:cNvSpPr/>
                  <p:nvPr/>
                </p:nvSpPr>
                <p:spPr>
                  <a:xfrm>
                    <a:off x="3665299" y="2651972"/>
                    <a:ext cx="43330" cy="25087"/>
                  </a:xfrm>
                  <a:custGeom>
                    <a:avLst/>
                    <a:gdLst>
                      <a:gd name="connsiteX0" fmla="*/ 22670 w 43330"/>
                      <a:gd name="connsiteY0" fmla="*/ 24051 h 25087"/>
                      <a:gd name="connsiteX1" fmla="*/ 1696 w 43330"/>
                      <a:gd name="connsiteY1" fmla="*/ 11869 h 25087"/>
                      <a:gd name="connsiteX2" fmla="*/ 1696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699" y="25433"/>
                          <a:pt x="24930"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7" name="Freeform: Shape 896">
                    <a:extLst>
                      <a:ext uri="{FF2B5EF4-FFF2-40B4-BE49-F238E27FC236}">
                        <a16:creationId xmlns:a16="http://schemas.microsoft.com/office/drawing/2014/main" id="{ACCFDD67-1141-46AD-92B7-9ADDCD2ACE49}"/>
                      </a:ext>
                    </a:extLst>
                  </p:cNvPr>
                  <p:cNvSpPr/>
                  <p:nvPr/>
                </p:nvSpPr>
                <p:spPr>
                  <a:xfrm>
                    <a:off x="3736637" y="2693293"/>
                    <a:ext cx="60913" cy="35040"/>
                  </a:xfrm>
                  <a:custGeom>
                    <a:avLst/>
                    <a:gdLst>
                      <a:gd name="connsiteX0" fmla="*/ 40253 w 60913"/>
                      <a:gd name="connsiteY0" fmla="*/ 34099 h 35040"/>
                      <a:gd name="connsiteX1" fmla="*/ 1695 w 60913"/>
                      <a:gd name="connsiteY1" fmla="*/ 11869 h 35040"/>
                      <a:gd name="connsiteX2" fmla="*/ 1695 w 60913"/>
                      <a:gd name="connsiteY2" fmla="*/ 7096 h 35040"/>
                      <a:gd name="connsiteX3" fmla="*/ 12371 w 60913"/>
                      <a:gd name="connsiteY3" fmla="*/ 942 h 35040"/>
                      <a:gd name="connsiteX4" fmla="*/ 20660 w 60913"/>
                      <a:gd name="connsiteY4" fmla="*/ 942 h 35040"/>
                      <a:gd name="connsiteX5" fmla="*/ 59218 w 60913"/>
                      <a:gd name="connsiteY5" fmla="*/ 23172 h 35040"/>
                      <a:gd name="connsiteX6" fmla="*/ 59218 w 60913"/>
                      <a:gd name="connsiteY6" fmla="*/ 27945 h 35040"/>
                      <a:gd name="connsiteX7" fmla="*/ 48542 w 60913"/>
                      <a:gd name="connsiteY7" fmla="*/ 34099 h 35040"/>
                      <a:gd name="connsiteX8" fmla="*/ 40253 w 60913"/>
                      <a:gd name="connsiteY8" fmla="*/ 34099 h 3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13" h="35040">
                        <a:moveTo>
                          <a:pt x="40253" y="34099"/>
                        </a:moveTo>
                        <a:lnTo>
                          <a:pt x="1695" y="11869"/>
                        </a:lnTo>
                        <a:cubicBezTo>
                          <a:pt x="-565" y="10613"/>
                          <a:pt x="-565" y="8478"/>
                          <a:pt x="1695" y="7096"/>
                        </a:cubicBezTo>
                        <a:lnTo>
                          <a:pt x="12371" y="942"/>
                        </a:lnTo>
                        <a:cubicBezTo>
                          <a:pt x="14632" y="-314"/>
                          <a:pt x="18274" y="-314"/>
                          <a:pt x="20660" y="942"/>
                        </a:cubicBezTo>
                        <a:lnTo>
                          <a:pt x="59218" y="23172"/>
                        </a:lnTo>
                        <a:cubicBezTo>
                          <a:pt x="61478" y="24428"/>
                          <a:pt x="61478" y="26563"/>
                          <a:pt x="59218" y="27945"/>
                        </a:cubicBezTo>
                        <a:lnTo>
                          <a:pt x="48542" y="34099"/>
                        </a:lnTo>
                        <a:cubicBezTo>
                          <a:pt x="46156" y="35355"/>
                          <a:pt x="42514" y="35355"/>
                          <a:pt x="40253" y="3409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8" name="Freeform: Shape 897">
                    <a:extLst>
                      <a:ext uri="{FF2B5EF4-FFF2-40B4-BE49-F238E27FC236}">
                        <a16:creationId xmlns:a16="http://schemas.microsoft.com/office/drawing/2014/main" id="{AAE67764-2DA5-48E8-9997-19C1AD16B28D}"/>
                      </a:ext>
                    </a:extLst>
                  </p:cNvPr>
                  <p:cNvSpPr/>
                  <p:nvPr/>
                </p:nvSpPr>
                <p:spPr>
                  <a:xfrm>
                    <a:off x="3422524" y="2569456"/>
                    <a:ext cx="60159" cy="34758"/>
                  </a:xfrm>
                  <a:custGeom>
                    <a:avLst/>
                    <a:gdLst>
                      <a:gd name="connsiteX0" fmla="*/ 39500 w 60159"/>
                      <a:gd name="connsiteY0" fmla="*/ 33722 h 34758"/>
                      <a:gd name="connsiteX1" fmla="*/ 1695 w 60159"/>
                      <a:gd name="connsiteY1" fmla="*/ 11869 h 34758"/>
                      <a:gd name="connsiteX2" fmla="*/ 1695 w 60159"/>
                      <a:gd name="connsiteY2" fmla="*/ 7096 h 34758"/>
                      <a:gd name="connsiteX3" fmla="*/ 12371 w 60159"/>
                      <a:gd name="connsiteY3" fmla="*/ 942 h 34758"/>
                      <a:gd name="connsiteX4" fmla="*/ 20660 w 60159"/>
                      <a:gd name="connsiteY4" fmla="*/ 942 h 34758"/>
                      <a:gd name="connsiteX5" fmla="*/ 58464 w 60159"/>
                      <a:gd name="connsiteY5" fmla="*/ 22795 h 34758"/>
                      <a:gd name="connsiteX6" fmla="*/ 58464 w 60159"/>
                      <a:gd name="connsiteY6" fmla="*/ 27568 h 34758"/>
                      <a:gd name="connsiteX7" fmla="*/ 47789 w 60159"/>
                      <a:gd name="connsiteY7" fmla="*/ 33722 h 34758"/>
                      <a:gd name="connsiteX8" fmla="*/ 39500 w 60159"/>
                      <a:gd name="connsiteY8" fmla="*/ 33722 h 34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159" h="34758">
                        <a:moveTo>
                          <a:pt x="39500" y="33722"/>
                        </a:moveTo>
                        <a:lnTo>
                          <a:pt x="1695" y="11869"/>
                        </a:lnTo>
                        <a:cubicBezTo>
                          <a:pt x="-565" y="10613"/>
                          <a:pt x="-565" y="8478"/>
                          <a:pt x="1695" y="7096"/>
                        </a:cubicBezTo>
                        <a:lnTo>
                          <a:pt x="12371" y="942"/>
                        </a:lnTo>
                        <a:cubicBezTo>
                          <a:pt x="14632" y="-314"/>
                          <a:pt x="18274" y="-314"/>
                          <a:pt x="20660" y="942"/>
                        </a:cubicBezTo>
                        <a:lnTo>
                          <a:pt x="58464" y="22795"/>
                        </a:lnTo>
                        <a:cubicBezTo>
                          <a:pt x="60725" y="24051"/>
                          <a:pt x="60725" y="26187"/>
                          <a:pt x="58464" y="27568"/>
                        </a:cubicBezTo>
                        <a:lnTo>
                          <a:pt x="47789" y="33722"/>
                        </a:lnTo>
                        <a:cubicBezTo>
                          <a:pt x="45403" y="35104"/>
                          <a:pt x="41760" y="35104"/>
                          <a:pt x="39500" y="3372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9" name="Freeform: Shape 898">
                    <a:extLst>
                      <a:ext uri="{FF2B5EF4-FFF2-40B4-BE49-F238E27FC236}">
                        <a16:creationId xmlns:a16="http://schemas.microsoft.com/office/drawing/2014/main" id="{0B0EB116-3303-413D-9AF0-B58E3DC2DE5D}"/>
                      </a:ext>
                    </a:extLst>
                  </p:cNvPr>
                  <p:cNvSpPr/>
                  <p:nvPr/>
                </p:nvSpPr>
                <p:spPr>
                  <a:xfrm>
                    <a:off x="3474520" y="2599473"/>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699"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0" name="Freeform: Shape 899">
                    <a:extLst>
                      <a:ext uri="{FF2B5EF4-FFF2-40B4-BE49-F238E27FC236}">
                        <a16:creationId xmlns:a16="http://schemas.microsoft.com/office/drawing/2014/main" id="{F42A4A78-19CB-459C-89AA-8A0F44BD3140}"/>
                      </a:ext>
                    </a:extLst>
                  </p:cNvPr>
                  <p:cNvSpPr/>
                  <p:nvPr/>
                </p:nvSpPr>
                <p:spPr>
                  <a:xfrm>
                    <a:off x="3509813" y="2619820"/>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1" name="Freeform: Shape 900">
                    <a:extLst>
                      <a:ext uri="{FF2B5EF4-FFF2-40B4-BE49-F238E27FC236}">
                        <a16:creationId xmlns:a16="http://schemas.microsoft.com/office/drawing/2014/main" id="{932D1B4A-E151-47C9-BD22-CBCDBF6FA450}"/>
                      </a:ext>
                    </a:extLst>
                  </p:cNvPr>
                  <p:cNvSpPr/>
                  <p:nvPr/>
                </p:nvSpPr>
                <p:spPr>
                  <a:xfrm>
                    <a:off x="3544979" y="2640166"/>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2" name="Freeform: Shape 901">
                    <a:extLst>
                      <a:ext uri="{FF2B5EF4-FFF2-40B4-BE49-F238E27FC236}">
                        <a16:creationId xmlns:a16="http://schemas.microsoft.com/office/drawing/2014/main" id="{89348943-D4E7-442A-B512-3776F195E376}"/>
                      </a:ext>
                    </a:extLst>
                  </p:cNvPr>
                  <p:cNvSpPr/>
                  <p:nvPr/>
                </p:nvSpPr>
                <p:spPr>
                  <a:xfrm>
                    <a:off x="3580271" y="2660512"/>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3" name="Freeform: Shape 902">
                    <a:extLst>
                      <a:ext uri="{FF2B5EF4-FFF2-40B4-BE49-F238E27FC236}">
                        <a16:creationId xmlns:a16="http://schemas.microsoft.com/office/drawing/2014/main" id="{33915107-25BE-47B6-81D1-342F42F452A2}"/>
                      </a:ext>
                    </a:extLst>
                  </p:cNvPr>
                  <p:cNvSpPr/>
                  <p:nvPr/>
                </p:nvSpPr>
                <p:spPr>
                  <a:xfrm>
                    <a:off x="3615438" y="2680859"/>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4" name="Freeform: Shape 903">
                    <a:extLst>
                      <a:ext uri="{FF2B5EF4-FFF2-40B4-BE49-F238E27FC236}">
                        <a16:creationId xmlns:a16="http://schemas.microsoft.com/office/drawing/2014/main" id="{88189735-30B8-4122-8FFB-8A2DBA8AEF47}"/>
                      </a:ext>
                    </a:extLst>
                  </p:cNvPr>
                  <p:cNvSpPr/>
                  <p:nvPr/>
                </p:nvSpPr>
                <p:spPr>
                  <a:xfrm>
                    <a:off x="3650605" y="2701205"/>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698" y="25307"/>
                          <a:pt x="25056"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5" name="Freeform: Shape 904">
                    <a:extLst>
                      <a:ext uri="{FF2B5EF4-FFF2-40B4-BE49-F238E27FC236}">
                        <a16:creationId xmlns:a16="http://schemas.microsoft.com/office/drawing/2014/main" id="{84B93AEF-2414-4091-9AB1-F8F413F1B89A}"/>
                      </a:ext>
                    </a:extLst>
                  </p:cNvPr>
                  <p:cNvSpPr/>
                  <p:nvPr/>
                </p:nvSpPr>
                <p:spPr>
                  <a:xfrm>
                    <a:off x="3686776" y="2722054"/>
                    <a:ext cx="60913" cy="35135"/>
                  </a:xfrm>
                  <a:custGeom>
                    <a:avLst/>
                    <a:gdLst>
                      <a:gd name="connsiteX0" fmla="*/ 40253 w 60913"/>
                      <a:gd name="connsiteY0" fmla="*/ 34099 h 35135"/>
                      <a:gd name="connsiteX1" fmla="*/ 1695 w 60913"/>
                      <a:gd name="connsiteY1" fmla="*/ 11869 h 35135"/>
                      <a:gd name="connsiteX2" fmla="*/ 1695 w 60913"/>
                      <a:gd name="connsiteY2" fmla="*/ 7096 h 35135"/>
                      <a:gd name="connsiteX3" fmla="*/ 12371 w 60913"/>
                      <a:gd name="connsiteY3" fmla="*/ 942 h 35135"/>
                      <a:gd name="connsiteX4" fmla="*/ 20660 w 60913"/>
                      <a:gd name="connsiteY4" fmla="*/ 942 h 35135"/>
                      <a:gd name="connsiteX5" fmla="*/ 59218 w 60913"/>
                      <a:gd name="connsiteY5" fmla="*/ 23172 h 35135"/>
                      <a:gd name="connsiteX6" fmla="*/ 59218 w 60913"/>
                      <a:gd name="connsiteY6" fmla="*/ 27945 h 35135"/>
                      <a:gd name="connsiteX7" fmla="*/ 48542 w 60913"/>
                      <a:gd name="connsiteY7" fmla="*/ 34099 h 35135"/>
                      <a:gd name="connsiteX8" fmla="*/ 40253 w 60913"/>
                      <a:gd name="connsiteY8" fmla="*/ 34099 h 35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13" h="35135">
                        <a:moveTo>
                          <a:pt x="40253" y="34099"/>
                        </a:moveTo>
                        <a:lnTo>
                          <a:pt x="1695" y="11869"/>
                        </a:lnTo>
                        <a:cubicBezTo>
                          <a:pt x="-565" y="10613"/>
                          <a:pt x="-565" y="8478"/>
                          <a:pt x="1695" y="7096"/>
                        </a:cubicBezTo>
                        <a:lnTo>
                          <a:pt x="12371" y="942"/>
                        </a:lnTo>
                        <a:cubicBezTo>
                          <a:pt x="14632" y="-314"/>
                          <a:pt x="18274" y="-314"/>
                          <a:pt x="20660" y="942"/>
                        </a:cubicBezTo>
                        <a:lnTo>
                          <a:pt x="59218" y="23172"/>
                        </a:lnTo>
                        <a:cubicBezTo>
                          <a:pt x="61478" y="24428"/>
                          <a:pt x="61478" y="26563"/>
                          <a:pt x="59218" y="27945"/>
                        </a:cubicBezTo>
                        <a:lnTo>
                          <a:pt x="48542" y="34099"/>
                        </a:lnTo>
                        <a:cubicBezTo>
                          <a:pt x="46156" y="35481"/>
                          <a:pt x="42514" y="35481"/>
                          <a:pt x="40253" y="3409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6" name="Freeform: Shape 905">
                    <a:extLst>
                      <a:ext uri="{FF2B5EF4-FFF2-40B4-BE49-F238E27FC236}">
                        <a16:creationId xmlns:a16="http://schemas.microsoft.com/office/drawing/2014/main" id="{933C96F5-8D8A-401B-9D93-29B00902922F}"/>
                      </a:ext>
                    </a:extLst>
                  </p:cNvPr>
                  <p:cNvSpPr/>
                  <p:nvPr/>
                </p:nvSpPr>
                <p:spPr>
                  <a:xfrm>
                    <a:off x="3447518" y="2555013"/>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7" name="Freeform: Shape 906">
                    <a:extLst>
                      <a:ext uri="{FF2B5EF4-FFF2-40B4-BE49-F238E27FC236}">
                        <a16:creationId xmlns:a16="http://schemas.microsoft.com/office/drawing/2014/main" id="{7BC150C8-D687-439A-8099-A103D6830DB5}"/>
                      </a:ext>
                    </a:extLst>
                  </p:cNvPr>
                  <p:cNvSpPr/>
                  <p:nvPr/>
                </p:nvSpPr>
                <p:spPr>
                  <a:xfrm>
                    <a:off x="3482684" y="2575359"/>
                    <a:ext cx="43329" cy="25087"/>
                  </a:xfrm>
                  <a:custGeom>
                    <a:avLst/>
                    <a:gdLst>
                      <a:gd name="connsiteX0" fmla="*/ 22670 w 43329"/>
                      <a:gd name="connsiteY0" fmla="*/ 24051 h 25087"/>
                      <a:gd name="connsiteX1" fmla="*/ 1695 w 43329"/>
                      <a:gd name="connsiteY1" fmla="*/ 11869 h 25087"/>
                      <a:gd name="connsiteX2" fmla="*/ 1695 w 43329"/>
                      <a:gd name="connsiteY2" fmla="*/ 7096 h 25087"/>
                      <a:gd name="connsiteX3" fmla="*/ 12371 w 43329"/>
                      <a:gd name="connsiteY3" fmla="*/ 942 h 25087"/>
                      <a:gd name="connsiteX4" fmla="*/ 20660 w 43329"/>
                      <a:gd name="connsiteY4" fmla="*/ 942 h 25087"/>
                      <a:gd name="connsiteX5" fmla="*/ 41635 w 43329"/>
                      <a:gd name="connsiteY5" fmla="*/ 13125 h 25087"/>
                      <a:gd name="connsiteX6" fmla="*/ 41635 w 43329"/>
                      <a:gd name="connsiteY6" fmla="*/ 17897 h 25087"/>
                      <a:gd name="connsiteX7" fmla="*/ 30959 w 43329"/>
                      <a:gd name="connsiteY7" fmla="*/ 24051 h 25087"/>
                      <a:gd name="connsiteX8" fmla="*/ 22670 w 43329"/>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698"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8" name="Freeform: Shape 907">
                    <a:extLst>
                      <a:ext uri="{FF2B5EF4-FFF2-40B4-BE49-F238E27FC236}">
                        <a16:creationId xmlns:a16="http://schemas.microsoft.com/office/drawing/2014/main" id="{A67345BB-B5D2-4267-BEA5-5E34BC63D1CD}"/>
                      </a:ext>
                    </a:extLst>
                  </p:cNvPr>
                  <p:cNvSpPr/>
                  <p:nvPr/>
                </p:nvSpPr>
                <p:spPr>
                  <a:xfrm>
                    <a:off x="3517976" y="2595706"/>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9" name="Freeform: Shape 908">
                    <a:extLst>
                      <a:ext uri="{FF2B5EF4-FFF2-40B4-BE49-F238E27FC236}">
                        <a16:creationId xmlns:a16="http://schemas.microsoft.com/office/drawing/2014/main" id="{AD3DAA46-BD22-423A-AA24-4E4B663333F7}"/>
                      </a:ext>
                    </a:extLst>
                  </p:cNvPr>
                  <p:cNvSpPr/>
                  <p:nvPr/>
                </p:nvSpPr>
                <p:spPr>
                  <a:xfrm>
                    <a:off x="3553143" y="2616052"/>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0" name="Freeform: Shape 909">
                    <a:extLst>
                      <a:ext uri="{FF2B5EF4-FFF2-40B4-BE49-F238E27FC236}">
                        <a16:creationId xmlns:a16="http://schemas.microsoft.com/office/drawing/2014/main" id="{168BBE80-47B4-431F-A7F7-2B05B7650C7D}"/>
                      </a:ext>
                    </a:extLst>
                  </p:cNvPr>
                  <p:cNvSpPr/>
                  <p:nvPr/>
                </p:nvSpPr>
                <p:spPr>
                  <a:xfrm>
                    <a:off x="3588309" y="2636398"/>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699" y="25307"/>
                          <a:pt x="25056"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1" name="Freeform: Shape 910">
                    <a:extLst>
                      <a:ext uri="{FF2B5EF4-FFF2-40B4-BE49-F238E27FC236}">
                        <a16:creationId xmlns:a16="http://schemas.microsoft.com/office/drawing/2014/main" id="{1C79E123-14C8-4598-BCE8-7BAD6AF7DD49}"/>
                      </a:ext>
                    </a:extLst>
                  </p:cNvPr>
                  <p:cNvSpPr/>
                  <p:nvPr/>
                </p:nvSpPr>
                <p:spPr>
                  <a:xfrm>
                    <a:off x="3623602" y="2656745"/>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2" name="Freeform: Shape 911">
                    <a:extLst>
                      <a:ext uri="{FF2B5EF4-FFF2-40B4-BE49-F238E27FC236}">
                        <a16:creationId xmlns:a16="http://schemas.microsoft.com/office/drawing/2014/main" id="{DDEB2DCC-12AA-42CE-937D-352D87A0D1C0}"/>
                      </a:ext>
                    </a:extLst>
                  </p:cNvPr>
                  <p:cNvSpPr/>
                  <p:nvPr/>
                </p:nvSpPr>
                <p:spPr>
                  <a:xfrm>
                    <a:off x="3658768" y="2677091"/>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3" name="Freeform: Shape 912">
                    <a:extLst>
                      <a:ext uri="{FF2B5EF4-FFF2-40B4-BE49-F238E27FC236}">
                        <a16:creationId xmlns:a16="http://schemas.microsoft.com/office/drawing/2014/main" id="{77DA549A-1FE7-45CF-A657-79498A68831F}"/>
                      </a:ext>
                    </a:extLst>
                  </p:cNvPr>
                  <p:cNvSpPr/>
                  <p:nvPr/>
                </p:nvSpPr>
                <p:spPr>
                  <a:xfrm>
                    <a:off x="3694186" y="2697689"/>
                    <a:ext cx="78371" cy="45088"/>
                  </a:xfrm>
                  <a:custGeom>
                    <a:avLst/>
                    <a:gdLst>
                      <a:gd name="connsiteX0" fmla="*/ 57711 w 78371"/>
                      <a:gd name="connsiteY0" fmla="*/ 44147 h 45088"/>
                      <a:gd name="connsiteX1" fmla="*/ 1695 w 78371"/>
                      <a:gd name="connsiteY1" fmla="*/ 11869 h 45088"/>
                      <a:gd name="connsiteX2" fmla="*/ 1695 w 78371"/>
                      <a:gd name="connsiteY2" fmla="*/ 7096 h 45088"/>
                      <a:gd name="connsiteX3" fmla="*/ 12371 w 78371"/>
                      <a:gd name="connsiteY3" fmla="*/ 942 h 45088"/>
                      <a:gd name="connsiteX4" fmla="*/ 20660 w 78371"/>
                      <a:gd name="connsiteY4" fmla="*/ 942 h 45088"/>
                      <a:gd name="connsiteX5" fmla="*/ 76676 w 78371"/>
                      <a:gd name="connsiteY5" fmla="*/ 33220 h 45088"/>
                      <a:gd name="connsiteX6" fmla="*/ 76676 w 78371"/>
                      <a:gd name="connsiteY6" fmla="*/ 37992 h 45088"/>
                      <a:gd name="connsiteX7" fmla="*/ 66000 w 78371"/>
                      <a:gd name="connsiteY7" fmla="*/ 44147 h 45088"/>
                      <a:gd name="connsiteX8" fmla="*/ 57711 w 78371"/>
                      <a:gd name="connsiteY8" fmla="*/ 44147 h 4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371" h="45088">
                        <a:moveTo>
                          <a:pt x="57711" y="44147"/>
                        </a:moveTo>
                        <a:lnTo>
                          <a:pt x="1695" y="11869"/>
                        </a:lnTo>
                        <a:cubicBezTo>
                          <a:pt x="-565" y="10613"/>
                          <a:pt x="-565" y="8478"/>
                          <a:pt x="1695" y="7096"/>
                        </a:cubicBezTo>
                        <a:lnTo>
                          <a:pt x="12371" y="942"/>
                        </a:lnTo>
                        <a:cubicBezTo>
                          <a:pt x="14632" y="-314"/>
                          <a:pt x="18274" y="-314"/>
                          <a:pt x="20660" y="942"/>
                        </a:cubicBezTo>
                        <a:lnTo>
                          <a:pt x="76676" y="33220"/>
                        </a:lnTo>
                        <a:cubicBezTo>
                          <a:pt x="78936" y="34476"/>
                          <a:pt x="78936" y="36611"/>
                          <a:pt x="76676" y="37992"/>
                        </a:cubicBezTo>
                        <a:lnTo>
                          <a:pt x="66000" y="44147"/>
                        </a:lnTo>
                        <a:cubicBezTo>
                          <a:pt x="63739" y="45403"/>
                          <a:pt x="59971" y="45403"/>
                          <a:pt x="57711" y="44147"/>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4" name="Freeform: Shape 913">
                    <a:extLst>
                      <a:ext uri="{FF2B5EF4-FFF2-40B4-BE49-F238E27FC236}">
                        <a16:creationId xmlns:a16="http://schemas.microsoft.com/office/drawing/2014/main" id="{D3076AC8-EB53-4AA5-B6DA-717FAAC2495E}"/>
                      </a:ext>
                    </a:extLst>
                  </p:cNvPr>
                  <p:cNvSpPr/>
                  <p:nvPr/>
                </p:nvSpPr>
                <p:spPr>
                  <a:xfrm>
                    <a:off x="3397531" y="2583900"/>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698"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5" name="Freeform: Shape 914">
                    <a:extLst>
                      <a:ext uri="{FF2B5EF4-FFF2-40B4-BE49-F238E27FC236}">
                        <a16:creationId xmlns:a16="http://schemas.microsoft.com/office/drawing/2014/main" id="{8FB648DE-2D2E-4144-88E7-BF02A6639964}"/>
                      </a:ext>
                    </a:extLst>
                  </p:cNvPr>
                  <p:cNvSpPr/>
                  <p:nvPr/>
                </p:nvSpPr>
                <p:spPr>
                  <a:xfrm>
                    <a:off x="3467990" y="2624592"/>
                    <a:ext cx="149080" cy="86001"/>
                  </a:xfrm>
                  <a:custGeom>
                    <a:avLst/>
                    <a:gdLst>
                      <a:gd name="connsiteX0" fmla="*/ 128421 w 149080"/>
                      <a:gd name="connsiteY0" fmla="*/ 84965 h 86001"/>
                      <a:gd name="connsiteX1" fmla="*/ 1695 w 149080"/>
                      <a:gd name="connsiteY1" fmla="*/ 11869 h 86001"/>
                      <a:gd name="connsiteX2" fmla="*/ 1695 w 149080"/>
                      <a:gd name="connsiteY2" fmla="*/ 7096 h 86001"/>
                      <a:gd name="connsiteX3" fmla="*/ 12371 w 149080"/>
                      <a:gd name="connsiteY3" fmla="*/ 942 h 86001"/>
                      <a:gd name="connsiteX4" fmla="*/ 20660 w 149080"/>
                      <a:gd name="connsiteY4" fmla="*/ 942 h 86001"/>
                      <a:gd name="connsiteX5" fmla="*/ 147386 w 149080"/>
                      <a:gd name="connsiteY5" fmla="*/ 74038 h 86001"/>
                      <a:gd name="connsiteX6" fmla="*/ 147386 w 149080"/>
                      <a:gd name="connsiteY6" fmla="*/ 78811 h 86001"/>
                      <a:gd name="connsiteX7" fmla="*/ 136710 w 149080"/>
                      <a:gd name="connsiteY7" fmla="*/ 84965 h 86001"/>
                      <a:gd name="connsiteX8" fmla="*/ 128421 w 149080"/>
                      <a:gd name="connsiteY8" fmla="*/ 84965 h 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080" h="86001">
                        <a:moveTo>
                          <a:pt x="128421" y="84965"/>
                        </a:moveTo>
                        <a:lnTo>
                          <a:pt x="1695" y="11869"/>
                        </a:lnTo>
                        <a:cubicBezTo>
                          <a:pt x="-565" y="10613"/>
                          <a:pt x="-565" y="8478"/>
                          <a:pt x="1695" y="7096"/>
                        </a:cubicBezTo>
                        <a:lnTo>
                          <a:pt x="12371" y="942"/>
                        </a:lnTo>
                        <a:cubicBezTo>
                          <a:pt x="14632" y="-314"/>
                          <a:pt x="18274" y="-314"/>
                          <a:pt x="20660" y="942"/>
                        </a:cubicBezTo>
                        <a:lnTo>
                          <a:pt x="147386" y="74038"/>
                        </a:lnTo>
                        <a:cubicBezTo>
                          <a:pt x="149646" y="75294"/>
                          <a:pt x="149646" y="77429"/>
                          <a:pt x="147386" y="78811"/>
                        </a:cubicBezTo>
                        <a:lnTo>
                          <a:pt x="136710" y="84965"/>
                        </a:lnTo>
                        <a:cubicBezTo>
                          <a:pt x="134324" y="86346"/>
                          <a:pt x="130682" y="86346"/>
                          <a:pt x="128421" y="84965"/>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6" name="Freeform: Shape 915">
                    <a:extLst>
                      <a:ext uri="{FF2B5EF4-FFF2-40B4-BE49-F238E27FC236}">
                        <a16:creationId xmlns:a16="http://schemas.microsoft.com/office/drawing/2014/main" id="{43B196C2-88BC-45A3-9D06-3B6B7ED6C47E}"/>
                      </a:ext>
                    </a:extLst>
                  </p:cNvPr>
                  <p:cNvSpPr/>
                  <p:nvPr/>
                </p:nvSpPr>
                <p:spPr>
                  <a:xfrm>
                    <a:off x="3608907" y="2705852"/>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7" name="Freeform: Shape 916">
                    <a:extLst>
                      <a:ext uri="{FF2B5EF4-FFF2-40B4-BE49-F238E27FC236}">
                        <a16:creationId xmlns:a16="http://schemas.microsoft.com/office/drawing/2014/main" id="{F3013593-252A-4B60-A3B5-0EA869CD694A}"/>
                      </a:ext>
                    </a:extLst>
                  </p:cNvPr>
                  <p:cNvSpPr/>
                  <p:nvPr/>
                </p:nvSpPr>
                <p:spPr>
                  <a:xfrm>
                    <a:off x="3644199" y="2726199"/>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8" name="Freeform: Shape 917">
                    <a:extLst>
                      <a:ext uri="{FF2B5EF4-FFF2-40B4-BE49-F238E27FC236}">
                        <a16:creationId xmlns:a16="http://schemas.microsoft.com/office/drawing/2014/main" id="{18EB29EF-61C3-4943-8109-194E0C12899A}"/>
                      </a:ext>
                    </a:extLst>
                  </p:cNvPr>
                  <p:cNvSpPr/>
                  <p:nvPr/>
                </p:nvSpPr>
                <p:spPr>
                  <a:xfrm>
                    <a:off x="3679366" y="2746545"/>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919" name="Freeform: Shape 918">
                <a:extLst>
                  <a:ext uri="{FF2B5EF4-FFF2-40B4-BE49-F238E27FC236}">
                    <a16:creationId xmlns:a16="http://schemas.microsoft.com/office/drawing/2014/main" id="{20D03049-558C-493F-A596-BE99FEE2C6F8}"/>
                  </a:ext>
                </a:extLst>
              </p:cNvPr>
              <p:cNvSpPr/>
              <p:nvPr/>
            </p:nvSpPr>
            <p:spPr>
              <a:xfrm>
                <a:off x="3788319" y="2744453"/>
                <a:ext cx="23360" cy="19381"/>
              </a:xfrm>
              <a:custGeom>
                <a:avLst/>
                <a:gdLst>
                  <a:gd name="connsiteX0" fmla="*/ 0 w 23360"/>
                  <a:gd name="connsiteY0" fmla="*/ 18357 h 19381"/>
                  <a:gd name="connsiteX1" fmla="*/ 0 w 23360"/>
                  <a:gd name="connsiteY1" fmla="*/ 14589 h 19381"/>
                  <a:gd name="connsiteX2" fmla="*/ 1131 w 23360"/>
                  <a:gd name="connsiteY2" fmla="*/ 12328 h 19381"/>
                  <a:gd name="connsiteX3" fmla="*/ 22231 w 23360"/>
                  <a:gd name="connsiteY3" fmla="*/ 145 h 19381"/>
                  <a:gd name="connsiteX4" fmla="*/ 23361 w 23360"/>
                  <a:gd name="connsiteY4" fmla="*/ 1025 h 19381"/>
                  <a:gd name="connsiteX5" fmla="*/ 23361 w 23360"/>
                  <a:gd name="connsiteY5" fmla="*/ 4792 h 19381"/>
                  <a:gd name="connsiteX6" fmla="*/ 22231 w 23360"/>
                  <a:gd name="connsiteY6" fmla="*/ 7053 h 19381"/>
                  <a:gd name="connsiteX7" fmla="*/ 1131 w 23360"/>
                  <a:gd name="connsiteY7" fmla="*/ 19236 h 19381"/>
                  <a:gd name="connsiteX8" fmla="*/ 0 w 23360"/>
                  <a:gd name="connsiteY8" fmla="*/ 18357 h 1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60" h="19381">
                    <a:moveTo>
                      <a:pt x="0" y="18357"/>
                    </a:moveTo>
                    <a:lnTo>
                      <a:pt x="0" y="14589"/>
                    </a:lnTo>
                    <a:cubicBezTo>
                      <a:pt x="0" y="13710"/>
                      <a:pt x="502" y="12705"/>
                      <a:pt x="1131" y="12328"/>
                    </a:cubicBezTo>
                    <a:lnTo>
                      <a:pt x="22231" y="145"/>
                    </a:lnTo>
                    <a:cubicBezTo>
                      <a:pt x="22858" y="-231"/>
                      <a:pt x="23361" y="145"/>
                      <a:pt x="23361" y="1025"/>
                    </a:cubicBezTo>
                    <a:lnTo>
                      <a:pt x="23361" y="4792"/>
                    </a:lnTo>
                    <a:cubicBezTo>
                      <a:pt x="23361" y="5672"/>
                      <a:pt x="22858" y="6676"/>
                      <a:pt x="22231" y="7053"/>
                    </a:cubicBezTo>
                    <a:lnTo>
                      <a:pt x="1131" y="19236"/>
                    </a:lnTo>
                    <a:cubicBezTo>
                      <a:pt x="502" y="19613"/>
                      <a:pt x="0" y="19236"/>
                      <a:pt x="0" y="18357"/>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0" name="Freeform: Shape 919">
                <a:extLst>
                  <a:ext uri="{FF2B5EF4-FFF2-40B4-BE49-F238E27FC236}">
                    <a16:creationId xmlns:a16="http://schemas.microsoft.com/office/drawing/2014/main" id="{063D8DBB-7B7A-42C3-9B6B-E26C1535F399}"/>
                  </a:ext>
                </a:extLst>
              </p:cNvPr>
              <p:cNvSpPr/>
              <p:nvPr/>
            </p:nvSpPr>
            <p:spPr>
              <a:xfrm>
                <a:off x="3757172" y="2762413"/>
                <a:ext cx="23360" cy="19381"/>
              </a:xfrm>
              <a:custGeom>
                <a:avLst/>
                <a:gdLst>
                  <a:gd name="connsiteX0" fmla="*/ 0 w 23360"/>
                  <a:gd name="connsiteY0" fmla="*/ 18357 h 19381"/>
                  <a:gd name="connsiteX1" fmla="*/ 0 w 23360"/>
                  <a:gd name="connsiteY1" fmla="*/ 14589 h 19381"/>
                  <a:gd name="connsiteX2" fmla="*/ 1130 w 23360"/>
                  <a:gd name="connsiteY2" fmla="*/ 12328 h 19381"/>
                  <a:gd name="connsiteX3" fmla="*/ 22230 w 23360"/>
                  <a:gd name="connsiteY3" fmla="*/ 145 h 19381"/>
                  <a:gd name="connsiteX4" fmla="*/ 23360 w 23360"/>
                  <a:gd name="connsiteY4" fmla="*/ 1025 h 19381"/>
                  <a:gd name="connsiteX5" fmla="*/ 23360 w 23360"/>
                  <a:gd name="connsiteY5" fmla="*/ 4792 h 19381"/>
                  <a:gd name="connsiteX6" fmla="*/ 22230 w 23360"/>
                  <a:gd name="connsiteY6" fmla="*/ 7053 h 19381"/>
                  <a:gd name="connsiteX7" fmla="*/ 1130 w 23360"/>
                  <a:gd name="connsiteY7" fmla="*/ 19236 h 19381"/>
                  <a:gd name="connsiteX8" fmla="*/ 0 w 23360"/>
                  <a:gd name="connsiteY8" fmla="*/ 18357 h 1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60" h="19381">
                    <a:moveTo>
                      <a:pt x="0" y="18357"/>
                    </a:moveTo>
                    <a:lnTo>
                      <a:pt x="0" y="14589"/>
                    </a:lnTo>
                    <a:cubicBezTo>
                      <a:pt x="0" y="13710"/>
                      <a:pt x="502" y="12705"/>
                      <a:pt x="1130" y="12328"/>
                    </a:cubicBezTo>
                    <a:lnTo>
                      <a:pt x="22230" y="145"/>
                    </a:lnTo>
                    <a:cubicBezTo>
                      <a:pt x="22858" y="-231"/>
                      <a:pt x="23360" y="145"/>
                      <a:pt x="23360" y="1025"/>
                    </a:cubicBezTo>
                    <a:lnTo>
                      <a:pt x="23360" y="4792"/>
                    </a:lnTo>
                    <a:cubicBezTo>
                      <a:pt x="23360" y="5672"/>
                      <a:pt x="22858" y="6676"/>
                      <a:pt x="22230" y="7053"/>
                    </a:cubicBezTo>
                    <a:lnTo>
                      <a:pt x="1130" y="19236"/>
                    </a:lnTo>
                    <a:cubicBezTo>
                      <a:pt x="502" y="19613"/>
                      <a:pt x="0" y="19236"/>
                      <a:pt x="0" y="18357"/>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1" name="Freeform: Shape 920">
                <a:extLst>
                  <a:ext uri="{FF2B5EF4-FFF2-40B4-BE49-F238E27FC236}">
                    <a16:creationId xmlns:a16="http://schemas.microsoft.com/office/drawing/2014/main" id="{221D011B-E6CB-495E-A300-BDB8566568E3}"/>
                  </a:ext>
                </a:extLst>
              </p:cNvPr>
              <p:cNvSpPr/>
              <p:nvPr/>
            </p:nvSpPr>
            <p:spPr>
              <a:xfrm>
                <a:off x="3374861" y="2741835"/>
                <a:ext cx="145" cy="145"/>
              </a:xfrm>
              <a:custGeom>
                <a:avLst/>
                <a:gdLst>
                  <a:gd name="connsiteX0" fmla="*/ 0 w 145"/>
                  <a:gd name="connsiteY0" fmla="*/ 0 h 145"/>
                  <a:gd name="connsiteX1" fmla="*/ 0 w 145"/>
                  <a:gd name="connsiteY1" fmla="*/ 0 h 145"/>
                  <a:gd name="connsiteX2" fmla="*/ 0 w 145"/>
                  <a:gd name="connsiteY2" fmla="*/ 0 h 145"/>
                </a:gdLst>
                <a:ahLst/>
                <a:cxnLst>
                  <a:cxn ang="0">
                    <a:pos x="connsiteX0" y="connsiteY0"/>
                  </a:cxn>
                  <a:cxn ang="0">
                    <a:pos x="connsiteX1" y="connsiteY1"/>
                  </a:cxn>
                  <a:cxn ang="0">
                    <a:pos x="connsiteX2" y="connsiteY2"/>
                  </a:cxn>
                </a:cxnLst>
                <a:rect l="l" t="t" r="r" b="b"/>
                <a:pathLst>
                  <a:path w="145" h="145">
                    <a:moveTo>
                      <a:pt x="0" y="0"/>
                    </a:moveTo>
                    <a:cubicBezTo>
                      <a:pt x="251" y="251"/>
                      <a:pt x="126" y="126"/>
                      <a:pt x="0" y="0"/>
                    </a:cubicBezTo>
                    <a:cubicBezTo>
                      <a:pt x="0" y="0"/>
                      <a:pt x="0" y="0"/>
                      <a:pt x="0" y="0"/>
                    </a:cubicBez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2" name="Freeform: Shape 921">
                <a:extLst>
                  <a:ext uri="{FF2B5EF4-FFF2-40B4-BE49-F238E27FC236}">
                    <a16:creationId xmlns:a16="http://schemas.microsoft.com/office/drawing/2014/main" id="{4980F876-B14D-424D-A18F-022903124747}"/>
                  </a:ext>
                </a:extLst>
              </p:cNvPr>
              <p:cNvSpPr/>
              <p:nvPr/>
            </p:nvSpPr>
            <p:spPr>
              <a:xfrm>
                <a:off x="3495558" y="2759293"/>
                <a:ext cx="145" cy="94"/>
              </a:xfrm>
              <a:custGeom>
                <a:avLst/>
                <a:gdLst>
                  <a:gd name="connsiteX0" fmla="*/ 0 w 145"/>
                  <a:gd name="connsiteY0" fmla="*/ 0 h 94"/>
                  <a:gd name="connsiteX1" fmla="*/ 0 w 145"/>
                  <a:gd name="connsiteY1" fmla="*/ 0 h 94"/>
                  <a:gd name="connsiteX2" fmla="*/ 0 w 145"/>
                  <a:gd name="connsiteY2" fmla="*/ 0 h 94"/>
                </a:gdLst>
                <a:ahLst/>
                <a:cxnLst>
                  <a:cxn ang="0">
                    <a:pos x="connsiteX0" y="connsiteY0"/>
                  </a:cxn>
                  <a:cxn ang="0">
                    <a:pos x="connsiteX1" y="connsiteY1"/>
                  </a:cxn>
                  <a:cxn ang="0">
                    <a:pos x="connsiteX2" y="connsiteY2"/>
                  </a:cxn>
                </a:cxnLst>
                <a:rect l="l" t="t" r="r" b="b"/>
                <a:pathLst>
                  <a:path w="145" h="94">
                    <a:moveTo>
                      <a:pt x="0" y="0"/>
                    </a:moveTo>
                    <a:cubicBezTo>
                      <a:pt x="251" y="126"/>
                      <a:pt x="126" y="126"/>
                      <a:pt x="0" y="0"/>
                    </a:cubicBezTo>
                    <a:cubicBezTo>
                      <a:pt x="0" y="0"/>
                      <a:pt x="0" y="0"/>
                      <a:pt x="0" y="0"/>
                    </a:cubicBezTo>
                    <a:close/>
                  </a:path>
                </a:pathLst>
              </a:custGeom>
              <a:solidFill>
                <a:srgbClr val="FE7E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923" name="Graphic 4">
              <a:extLst>
                <a:ext uri="{FF2B5EF4-FFF2-40B4-BE49-F238E27FC236}">
                  <a16:creationId xmlns:a16="http://schemas.microsoft.com/office/drawing/2014/main" id="{84FB7ED1-A2DF-40A1-A747-5F7CF3F14040}"/>
                </a:ext>
              </a:extLst>
            </p:cNvPr>
            <p:cNvGrpSpPr/>
            <p:nvPr/>
          </p:nvGrpSpPr>
          <p:grpSpPr>
            <a:xfrm>
              <a:off x="3555297" y="2291252"/>
              <a:ext cx="239301" cy="298612"/>
              <a:chOff x="3555297" y="2291252"/>
              <a:chExt cx="239301" cy="298612"/>
            </a:xfrm>
            <a:solidFill>
              <a:schemeClr val="accent1"/>
            </a:solidFill>
          </p:grpSpPr>
          <p:grpSp>
            <p:nvGrpSpPr>
              <p:cNvPr id="924" name="Graphic 4">
                <a:extLst>
                  <a:ext uri="{FF2B5EF4-FFF2-40B4-BE49-F238E27FC236}">
                    <a16:creationId xmlns:a16="http://schemas.microsoft.com/office/drawing/2014/main" id="{84FB7ED1-A2DF-40A1-A747-5F7CF3F14040}"/>
                  </a:ext>
                </a:extLst>
              </p:cNvPr>
              <p:cNvGrpSpPr/>
              <p:nvPr/>
            </p:nvGrpSpPr>
            <p:grpSpPr>
              <a:xfrm>
                <a:off x="3555297" y="2291252"/>
                <a:ext cx="235436" cy="298612"/>
                <a:chOff x="3555297" y="2291252"/>
                <a:chExt cx="235436" cy="298612"/>
              </a:xfrm>
              <a:solidFill>
                <a:schemeClr val="accent1"/>
              </a:solidFill>
            </p:grpSpPr>
            <p:sp>
              <p:nvSpPr>
                <p:cNvPr id="925" name="Freeform: Shape 924">
                  <a:extLst>
                    <a:ext uri="{FF2B5EF4-FFF2-40B4-BE49-F238E27FC236}">
                      <a16:creationId xmlns:a16="http://schemas.microsoft.com/office/drawing/2014/main" id="{BC5F9A11-CA45-4C7E-AF2A-4F9EBB44B1DC}"/>
                    </a:ext>
                  </a:extLst>
                </p:cNvPr>
                <p:cNvSpPr/>
                <p:nvPr/>
              </p:nvSpPr>
              <p:spPr>
                <a:xfrm>
                  <a:off x="3555297" y="2291252"/>
                  <a:ext cx="235436" cy="286328"/>
                </a:xfrm>
                <a:custGeom>
                  <a:avLst/>
                  <a:gdLst>
                    <a:gd name="connsiteX0" fmla="*/ 118103 w 235436"/>
                    <a:gd name="connsiteY0" fmla="*/ 170381 h 286328"/>
                    <a:gd name="connsiteX1" fmla="*/ 119987 w 235436"/>
                    <a:gd name="connsiteY1" fmla="*/ 178419 h 286328"/>
                    <a:gd name="connsiteX2" fmla="*/ 119987 w 235436"/>
                    <a:gd name="connsiteY2" fmla="*/ 187587 h 286328"/>
                    <a:gd name="connsiteX3" fmla="*/ 122373 w 235436"/>
                    <a:gd name="connsiteY3" fmla="*/ 197509 h 286328"/>
                    <a:gd name="connsiteX4" fmla="*/ 125388 w 235436"/>
                    <a:gd name="connsiteY4" fmla="*/ 202533 h 286328"/>
                    <a:gd name="connsiteX5" fmla="*/ 132170 w 235436"/>
                    <a:gd name="connsiteY5" fmla="*/ 202407 h 286328"/>
                    <a:gd name="connsiteX6" fmla="*/ 133677 w 235436"/>
                    <a:gd name="connsiteY6" fmla="*/ 199519 h 286328"/>
                    <a:gd name="connsiteX7" fmla="*/ 135938 w 235436"/>
                    <a:gd name="connsiteY7" fmla="*/ 197509 h 286328"/>
                    <a:gd name="connsiteX8" fmla="*/ 140334 w 235436"/>
                    <a:gd name="connsiteY8" fmla="*/ 189597 h 286328"/>
                    <a:gd name="connsiteX9" fmla="*/ 139705 w 235436"/>
                    <a:gd name="connsiteY9" fmla="*/ 185954 h 286328"/>
                    <a:gd name="connsiteX10" fmla="*/ 141464 w 235436"/>
                    <a:gd name="connsiteY10" fmla="*/ 182312 h 286328"/>
                    <a:gd name="connsiteX11" fmla="*/ 148497 w 235436"/>
                    <a:gd name="connsiteY11" fmla="*/ 176158 h 286328"/>
                    <a:gd name="connsiteX12" fmla="*/ 143725 w 235436"/>
                    <a:gd name="connsiteY12" fmla="*/ 173269 h 286328"/>
                    <a:gd name="connsiteX13" fmla="*/ 139705 w 235436"/>
                    <a:gd name="connsiteY13" fmla="*/ 165985 h 286328"/>
                    <a:gd name="connsiteX14" fmla="*/ 138952 w 235436"/>
                    <a:gd name="connsiteY14" fmla="*/ 163473 h 286328"/>
                    <a:gd name="connsiteX15" fmla="*/ 137570 w 235436"/>
                    <a:gd name="connsiteY15" fmla="*/ 158826 h 286328"/>
                    <a:gd name="connsiteX16" fmla="*/ 134179 w 235436"/>
                    <a:gd name="connsiteY16" fmla="*/ 150285 h 286328"/>
                    <a:gd name="connsiteX17" fmla="*/ 135812 w 235436"/>
                    <a:gd name="connsiteY17" fmla="*/ 152169 h 286328"/>
                    <a:gd name="connsiteX18" fmla="*/ 137822 w 235436"/>
                    <a:gd name="connsiteY18" fmla="*/ 156816 h 286328"/>
                    <a:gd name="connsiteX19" fmla="*/ 139831 w 235436"/>
                    <a:gd name="connsiteY19" fmla="*/ 161840 h 286328"/>
                    <a:gd name="connsiteX20" fmla="*/ 143850 w 235436"/>
                    <a:gd name="connsiteY20" fmla="*/ 171134 h 286328"/>
                    <a:gd name="connsiteX21" fmla="*/ 151009 w 235436"/>
                    <a:gd name="connsiteY21" fmla="*/ 171888 h 286328"/>
                    <a:gd name="connsiteX22" fmla="*/ 152265 w 235436"/>
                    <a:gd name="connsiteY22" fmla="*/ 171260 h 286328"/>
                    <a:gd name="connsiteX23" fmla="*/ 153144 w 235436"/>
                    <a:gd name="connsiteY23" fmla="*/ 171385 h 286328"/>
                    <a:gd name="connsiteX24" fmla="*/ 153521 w 235436"/>
                    <a:gd name="connsiteY24" fmla="*/ 170129 h 286328"/>
                    <a:gd name="connsiteX25" fmla="*/ 153521 w 235436"/>
                    <a:gd name="connsiteY25" fmla="*/ 167241 h 286328"/>
                    <a:gd name="connsiteX26" fmla="*/ 151637 w 235436"/>
                    <a:gd name="connsiteY26" fmla="*/ 163975 h 286328"/>
                    <a:gd name="connsiteX27" fmla="*/ 147115 w 235436"/>
                    <a:gd name="connsiteY27" fmla="*/ 161212 h 286328"/>
                    <a:gd name="connsiteX28" fmla="*/ 145859 w 235436"/>
                    <a:gd name="connsiteY28" fmla="*/ 156440 h 286328"/>
                    <a:gd name="connsiteX29" fmla="*/ 146739 w 235436"/>
                    <a:gd name="connsiteY29" fmla="*/ 156816 h 286328"/>
                    <a:gd name="connsiteX30" fmla="*/ 150758 w 235436"/>
                    <a:gd name="connsiteY30" fmla="*/ 162594 h 286328"/>
                    <a:gd name="connsiteX31" fmla="*/ 154023 w 235436"/>
                    <a:gd name="connsiteY31" fmla="*/ 165734 h 286328"/>
                    <a:gd name="connsiteX32" fmla="*/ 159550 w 235436"/>
                    <a:gd name="connsiteY32" fmla="*/ 169753 h 286328"/>
                    <a:gd name="connsiteX33" fmla="*/ 160680 w 235436"/>
                    <a:gd name="connsiteY33" fmla="*/ 171511 h 286328"/>
                    <a:gd name="connsiteX34" fmla="*/ 162313 w 235436"/>
                    <a:gd name="connsiteY34" fmla="*/ 173144 h 286328"/>
                    <a:gd name="connsiteX35" fmla="*/ 162564 w 235436"/>
                    <a:gd name="connsiteY35" fmla="*/ 175404 h 286328"/>
                    <a:gd name="connsiteX36" fmla="*/ 164071 w 235436"/>
                    <a:gd name="connsiteY36" fmla="*/ 175656 h 286328"/>
                    <a:gd name="connsiteX37" fmla="*/ 168341 w 235436"/>
                    <a:gd name="connsiteY37" fmla="*/ 190476 h 286328"/>
                    <a:gd name="connsiteX38" fmla="*/ 170476 w 235436"/>
                    <a:gd name="connsiteY38" fmla="*/ 184950 h 286328"/>
                    <a:gd name="connsiteX39" fmla="*/ 174370 w 235436"/>
                    <a:gd name="connsiteY39" fmla="*/ 182563 h 286328"/>
                    <a:gd name="connsiteX40" fmla="*/ 176881 w 235436"/>
                    <a:gd name="connsiteY40" fmla="*/ 182438 h 286328"/>
                    <a:gd name="connsiteX41" fmla="*/ 178766 w 235436"/>
                    <a:gd name="connsiteY41" fmla="*/ 185829 h 286328"/>
                    <a:gd name="connsiteX42" fmla="*/ 179142 w 235436"/>
                    <a:gd name="connsiteY42" fmla="*/ 186834 h 286328"/>
                    <a:gd name="connsiteX43" fmla="*/ 180021 w 235436"/>
                    <a:gd name="connsiteY43" fmla="*/ 189848 h 286328"/>
                    <a:gd name="connsiteX44" fmla="*/ 181905 w 235436"/>
                    <a:gd name="connsiteY44" fmla="*/ 190476 h 286328"/>
                    <a:gd name="connsiteX45" fmla="*/ 183413 w 235436"/>
                    <a:gd name="connsiteY45" fmla="*/ 198388 h 286328"/>
                    <a:gd name="connsiteX46" fmla="*/ 184794 w 235436"/>
                    <a:gd name="connsiteY46" fmla="*/ 202659 h 286328"/>
                    <a:gd name="connsiteX47" fmla="*/ 187683 w 235436"/>
                    <a:gd name="connsiteY47" fmla="*/ 208436 h 286328"/>
                    <a:gd name="connsiteX48" fmla="*/ 187306 w 235436"/>
                    <a:gd name="connsiteY48" fmla="*/ 206803 h 286328"/>
                    <a:gd name="connsiteX49" fmla="*/ 185924 w 235436"/>
                    <a:gd name="connsiteY49" fmla="*/ 203035 h 286328"/>
                    <a:gd name="connsiteX50" fmla="*/ 183789 w 235436"/>
                    <a:gd name="connsiteY50" fmla="*/ 198011 h 286328"/>
                    <a:gd name="connsiteX51" fmla="*/ 184920 w 235436"/>
                    <a:gd name="connsiteY51" fmla="*/ 196630 h 286328"/>
                    <a:gd name="connsiteX52" fmla="*/ 186301 w 235436"/>
                    <a:gd name="connsiteY52" fmla="*/ 197886 h 286328"/>
                    <a:gd name="connsiteX53" fmla="*/ 187055 w 235436"/>
                    <a:gd name="connsiteY53" fmla="*/ 199895 h 286328"/>
                    <a:gd name="connsiteX54" fmla="*/ 188939 w 235436"/>
                    <a:gd name="connsiteY54" fmla="*/ 201779 h 286328"/>
                    <a:gd name="connsiteX55" fmla="*/ 188939 w 235436"/>
                    <a:gd name="connsiteY55" fmla="*/ 194872 h 286328"/>
                    <a:gd name="connsiteX56" fmla="*/ 190195 w 235436"/>
                    <a:gd name="connsiteY56" fmla="*/ 190978 h 286328"/>
                    <a:gd name="connsiteX57" fmla="*/ 192079 w 235436"/>
                    <a:gd name="connsiteY57" fmla="*/ 192485 h 286328"/>
                    <a:gd name="connsiteX58" fmla="*/ 193586 w 235436"/>
                    <a:gd name="connsiteY58" fmla="*/ 192737 h 286328"/>
                    <a:gd name="connsiteX59" fmla="*/ 196726 w 235436"/>
                    <a:gd name="connsiteY59" fmla="*/ 192109 h 286328"/>
                    <a:gd name="connsiteX60" fmla="*/ 196977 w 235436"/>
                    <a:gd name="connsiteY60" fmla="*/ 190350 h 286328"/>
                    <a:gd name="connsiteX61" fmla="*/ 197982 w 235436"/>
                    <a:gd name="connsiteY61" fmla="*/ 188466 h 286328"/>
                    <a:gd name="connsiteX62" fmla="*/ 197856 w 235436"/>
                    <a:gd name="connsiteY62" fmla="*/ 186457 h 286328"/>
                    <a:gd name="connsiteX63" fmla="*/ 196349 w 235436"/>
                    <a:gd name="connsiteY63" fmla="*/ 181810 h 286328"/>
                    <a:gd name="connsiteX64" fmla="*/ 196097 w 235436"/>
                    <a:gd name="connsiteY64" fmla="*/ 179172 h 286328"/>
                    <a:gd name="connsiteX65" fmla="*/ 196600 w 235436"/>
                    <a:gd name="connsiteY65" fmla="*/ 178042 h 286328"/>
                    <a:gd name="connsiteX66" fmla="*/ 195344 w 235436"/>
                    <a:gd name="connsiteY66" fmla="*/ 177791 h 286328"/>
                    <a:gd name="connsiteX67" fmla="*/ 194590 w 235436"/>
                    <a:gd name="connsiteY67" fmla="*/ 176535 h 286328"/>
                    <a:gd name="connsiteX68" fmla="*/ 193711 w 235436"/>
                    <a:gd name="connsiteY68" fmla="*/ 174525 h 286328"/>
                    <a:gd name="connsiteX69" fmla="*/ 194590 w 235436"/>
                    <a:gd name="connsiteY69" fmla="*/ 174274 h 286328"/>
                    <a:gd name="connsiteX70" fmla="*/ 196474 w 235436"/>
                    <a:gd name="connsiteY70" fmla="*/ 174274 h 286328"/>
                    <a:gd name="connsiteX71" fmla="*/ 196097 w 235436"/>
                    <a:gd name="connsiteY71" fmla="*/ 174902 h 286328"/>
                    <a:gd name="connsiteX72" fmla="*/ 196851 w 235436"/>
                    <a:gd name="connsiteY72" fmla="*/ 175907 h 286328"/>
                    <a:gd name="connsiteX73" fmla="*/ 198484 w 235436"/>
                    <a:gd name="connsiteY73" fmla="*/ 176912 h 286328"/>
                    <a:gd name="connsiteX74" fmla="*/ 199112 w 235436"/>
                    <a:gd name="connsiteY74" fmla="*/ 179172 h 286328"/>
                    <a:gd name="connsiteX75" fmla="*/ 200368 w 235436"/>
                    <a:gd name="connsiteY75" fmla="*/ 180679 h 286328"/>
                    <a:gd name="connsiteX76" fmla="*/ 200745 w 235436"/>
                    <a:gd name="connsiteY76" fmla="*/ 182061 h 286328"/>
                    <a:gd name="connsiteX77" fmla="*/ 202252 w 235436"/>
                    <a:gd name="connsiteY77" fmla="*/ 184196 h 286328"/>
                    <a:gd name="connsiteX78" fmla="*/ 200368 w 235436"/>
                    <a:gd name="connsiteY78" fmla="*/ 177791 h 286328"/>
                    <a:gd name="connsiteX79" fmla="*/ 200619 w 235436"/>
                    <a:gd name="connsiteY79" fmla="*/ 177037 h 286328"/>
                    <a:gd name="connsiteX80" fmla="*/ 200870 w 235436"/>
                    <a:gd name="connsiteY80" fmla="*/ 176660 h 286328"/>
                    <a:gd name="connsiteX81" fmla="*/ 200745 w 235436"/>
                    <a:gd name="connsiteY81" fmla="*/ 176032 h 286328"/>
                    <a:gd name="connsiteX82" fmla="*/ 201372 w 235436"/>
                    <a:gd name="connsiteY82" fmla="*/ 175656 h 286328"/>
                    <a:gd name="connsiteX83" fmla="*/ 202377 w 235436"/>
                    <a:gd name="connsiteY83" fmla="*/ 173646 h 286328"/>
                    <a:gd name="connsiteX84" fmla="*/ 205140 w 235436"/>
                    <a:gd name="connsiteY84" fmla="*/ 172390 h 286328"/>
                    <a:gd name="connsiteX85" fmla="*/ 205266 w 235436"/>
                    <a:gd name="connsiteY85" fmla="*/ 162594 h 286328"/>
                    <a:gd name="connsiteX86" fmla="*/ 202377 w 235436"/>
                    <a:gd name="connsiteY86" fmla="*/ 157821 h 286328"/>
                    <a:gd name="connsiteX87" fmla="*/ 201247 w 235436"/>
                    <a:gd name="connsiteY87" fmla="*/ 152295 h 286328"/>
                    <a:gd name="connsiteX88" fmla="*/ 208029 w 235436"/>
                    <a:gd name="connsiteY88" fmla="*/ 151290 h 286328"/>
                    <a:gd name="connsiteX89" fmla="*/ 208280 w 235436"/>
                    <a:gd name="connsiteY89" fmla="*/ 151918 h 286328"/>
                    <a:gd name="connsiteX90" fmla="*/ 208783 w 235436"/>
                    <a:gd name="connsiteY90" fmla="*/ 151667 h 286328"/>
                    <a:gd name="connsiteX91" fmla="*/ 209662 w 235436"/>
                    <a:gd name="connsiteY91" fmla="*/ 151793 h 286328"/>
                    <a:gd name="connsiteX92" fmla="*/ 208908 w 235436"/>
                    <a:gd name="connsiteY92" fmla="*/ 149658 h 286328"/>
                    <a:gd name="connsiteX93" fmla="*/ 210290 w 235436"/>
                    <a:gd name="connsiteY93" fmla="*/ 147020 h 286328"/>
                    <a:gd name="connsiteX94" fmla="*/ 210666 w 235436"/>
                    <a:gd name="connsiteY94" fmla="*/ 147522 h 286328"/>
                    <a:gd name="connsiteX95" fmla="*/ 211169 w 235436"/>
                    <a:gd name="connsiteY95" fmla="*/ 148778 h 286328"/>
                    <a:gd name="connsiteX96" fmla="*/ 212299 w 235436"/>
                    <a:gd name="connsiteY96" fmla="*/ 148150 h 286328"/>
                    <a:gd name="connsiteX97" fmla="*/ 212299 w 235436"/>
                    <a:gd name="connsiteY97" fmla="*/ 147271 h 286328"/>
                    <a:gd name="connsiteX98" fmla="*/ 213178 w 235436"/>
                    <a:gd name="connsiteY98" fmla="*/ 146769 h 286328"/>
                    <a:gd name="connsiteX99" fmla="*/ 213304 w 235436"/>
                    <a:gd name="connsiteY99" fmla="*/ 149030 h 286328"/>
                    <a:gd name="connsiteX100" fmla="*/ 212802 w 235436"/>
                    <a:gd name="connsiteY100" fmla="*/ 152797 h 286328"/>
                    <a:gd name="connsiteX101" fmla="*/ 212299 w 235436"/>
                    <a:gd name="connsiteY101" fmla="*/ 157193 h 286328"/>
                    <a:gd name="connsiteX102" fmla="*/ 215314 w 235436"/>
                    <a:gd name="connsiteY102" fmla="*/ 167869 h 286328"/>
                    <a:gd name="connsiteX103" fmla="*/ 216318 w 235436"/>
                    <a:gd name="connsiteY103" fmla="*/ 167366 h 286328"/>
                    <a:gd name="connsiteX104" fmla="*/ 216444 w 235436"/>
                    <a:gd name="connsiteY104" fmla="*/ 165357 h 286328"/>
                    <a:gd name="connsiteX105" fmla="*/ 216821 w 235436"/>
                    <a:gd name="connsiteY105" fmla="*/ 162719 h 286328"/>
                    <a:gd name="connsiteX106" fmla="*/ 216444 w 235436"/>
                    <a:gd name="connsiteY106" fmla="*/ 160207 h 286328"/>
                    <a:gd name="connsiteX107" fmla="*/ 216569 w 235436"/>
                    <a:gd name="connsiteY107" fmla="*/ 159328 h 286328"/>
                    <a:gd name="connsiteX108" fmla="*/ 215942 w 235436"/>
                    <a:gd name="connsiteY108" fmla="*/ 158323 h 286328"/>
                    <a:gd name="connsiteX109" fmla="*/ 215942 w 235436"/>
                    <a:gd name="connsiteY109" fmla="*/ 157319 h 286328"/>
                    <a:gd name="connsiteX110" fmla="*/ 214309 w 235436"/>
                    <a:gd name="connsiteY110" fmla="*/ 153049 h 286328"/>
                    <a:gd name="connsiteX111" fmla="*/ 215062 w 235436"/>
                    <a:gd name="connsiteY111" fmla="*/ 152672 h 286328"/>
                    <a:gd name="connsiteX112" fmla="*/ 217825 w 235436"/>
                    <a:gd name="connsiteY112" fmla="*/ 153049 h 286328"/>
                    <a:gd name="connsiteX113" fmla="*/ 219835 w 235436"/>
                    <a:gd name="connsiteY113" fmla="*/ 148778 h 286328"/>
                    <a:gd name="connsiteX114" fmla="*/ 220840 w 235436"/>
                    <a:gd name="connsiteY114" fmla="*/ 147271 h 286328"/>
                    <a:gd name="connsiteX115" fmla="*/ 219584 w 235436"/>
                    <a:gd name="connsiteY115" fmla="*/ 146141 h 286328"/>
                    <a:gd name="connsiteX116" fmla="*/ 217198 w 235436"/>
                    <a:gd name="connsiteY116" fmla="*/ 143001 h 286328"/>
                    <a:gd name="connsiteX117" fmla="*/ 217323 w 235436"/>
                    <a:gd name="connsiteY117" fmla="*/ 142247 h 286328"/>
                    <a:gd name="connsiteX118" fmla="*/ 218579 w 235436"/>
                    <a:gd name="connsiteY118" fmla="*/ 140238 h 286328"/>
                    <a:gd name="connsiteX119" fmla="*/ 217574 w 235436"/>
                    <a:gd name="connsiteY119" fmla="*/ 138731 h 286328"/>
                    <a:gd name="connsiteX120" fmla="*/ 218956 w 235436"/>
                    <a:gd name="connsiteY120" fmla="*/ 139861 h 286328"/>
                    <a:gd name="connsiteX121" fmla="*/ 219835 w 235436"/>
                    <a:gd name="connsiteY121" fmla="*/ 139233 h 286328"/>
                    <a:gd name="connsiteX122" fmla="*/ 220965 w 235436"/>
                    <a:gd name="connsiteY122" fmla="*/ 140363 h 286328"/>
                    <a:gd name="connsiteX123" fmla="*/ 221593 w 235436"/>
                    <a:gd name="connsiteY123" fmla="*/ 139736 h 286328"/>
                    <a:gd name="connsiteX124" fmla="*/ 221216 w 235436"/>
                    <a:gd name="connsiteY124" fmla="*/ 136972 h 286328"/>
                    <a:gd name="connsiteX125" fmla="*/ 221216 w 235436"/>
                    <a:gd name="connsiteY125" fmla="*/ 136093 h 286328"/>
                    <a:gd name="connsiteX126" fmla="*/ 219458 w 235436"/>
                    <a:gd name="connsiteY126" fmla="*/ 133581 h 286328"/>
                    <a:gd name="connsiteX127" fmla="*/ 218579 w 235436"/>
                    <a:gd name="connsiteY127" fmla="*/ 133581 h 286328"/>
                    <a:gd name="connsiteX128" fmla="*/ 219081 w 235436"/>
                    <a:gd name="connsiteY128" fmla="*/ 135968 h 286328"/>
                    <a:gd name="connsiteX129" fmla="*/ 215062 w 235436"/>
                    <a:gd name="connsiteY129" fmla="*/ 131069 h 286328"/>
                    <a:gd name="connsiteX130" fmla="*/ 208783 w 235436"/>
                    <a:gd name="connsiteY130" fmla="*/ 126674 h 286328"/>
                    <a:gd name="connsiteX131" fmla="*/ 207401 w 235436"/>
                    <a:gd name="connsiteY131" fmla="*/ 127302 h 286328"/>
                    <a:gd name="connsiteX132" fmla="*/ 208657 w 235436"/>
                    <a:gd name="connsiteY132" fmla="*/ 129688 h 286328"/>
                    <a:gd name="connsiteX133" fmla="*/ 206145 w 235436"/>
                    <a:gd name="connsiteY133" fmla="*/ 126925 h 286328"/>
                    <a:gd name="connsiteX134" fmla="*/ 206648 w 235436"/>
                    <a:gd name="connsiteY134" fmla="*/ 127050 h 286328"/>
                    <a:gd name="connsiteX135" fmla="*/ 205768 w 235436"/>
                    <a:gd name="connsiteY135" fmla="*/ 125794 h 286328"/>
                    <a:gd name="connsiteX136" fmla="*/ 204010 w 235436"/>
                    <a:gd name="connsiteY136" fmla="*/ 126171 h 286328"/>
                    <a:gd name="connsiteX137" fmla="*/ 202377 w 235436"/>
                    <a:gd name="connsiteY137" fmla="*/ 126171 h 286328"/>
                    <a:gd name="connsiteX138" fmla="*/ 197228 w 235436"/>
                    <a:gd name="connsiteY138" fmla="*/ 121524 h 286328"/>
                    <a:gd name="connsiteX139" fmla="*/ 195595 w 235436"/>
                    <a:gd name="connsiteY139" fmla="*/ 120645 h 286328"/>
                    <a:gd name="connsiteX140" fmla="*/ 194339 w 235436"/>
                    <a:gd name="connsiteY140" fmla="*/ 120143 h 286328"/>
                    <a:gd name="connsiteX141" fmla="*/ 193962 w 235436"/>
                    <a:gd name="connsiteY141" fmla="*/ 119515 h 286328"/>
                    <a:gd name="connsiteX142" fmla="*/ 193711 w 235436"/>
                    <a:gd name="connsiteY142" fmla="*/ 118761 h 286328"/>
                    <a:gd name="connsiteX143" fmla="*/ 193460 w 235436"/>
                    <a:gd name="connsiteY143" fmla="*/ 118259 h 286328"/>
                    <a:gd name="connsiteX144" fmla="*/ 191325 w 235436"/>
                    <a:gd name="connsiteY144" fmla="*/ 116500 h 286328"/>
                    <a:gd name="connsiteX145" fmla="*/ 190948 w 235436"/>
                    <a:gd name="connsiteY145" fmla="*/ 118259 h 286328"/>
                    <a:gd name="connsiteX146" fmla="*/ 187055 w 235436"/>
                    <a:gd name="connsiteY146" fmla="*/ 114114 h 286328"/>
                    <a:gd name="connsiteX147" fmla="*/ 187808 w 235436"/>
                    <a:gd name="connsiteY147" fmla="*/ 115244 h 286328"/>
                    <a:gd name="connsiteX148" fmla="*/ 187432 w 235436"/>
                    <a:gd name="connsiteY148" fmla="*/ 116124 h 286328"/>
                    <a:gd name="connsiteX149" fmla="*/ 188059 w 235436"/>
                    <a:gd name="connsiteY149" fmla="*/ 117380 h 286328"/>
                    <a:gd name="connsiteX150" fmla="*/ 187432 w 235436"/>
                    <a:gd name="connsiteY150" fmla="*/ 118133 h 286328"/>
                    <a:gd name="connsiteX151" fmla="*/ 185673 w 235436"/>
                    <a:gd name="connsiteY151" fmla="*/ 117631 h 286328"/>
                    <a:gd name="connsiteX152" fmla="*/ 183915 w 235436"/>
                    <a:gd name="connsiteY152" fmla="*/ 115872 h 286328"/>
                    <a:gd name="connsiteX153" fmla="*/ 184543 w 235436"/>
                    <a:gd name="connsiteY153" fmla="*/ 119012 h 286328"/>
                    <a:gd name="connsiteX154" fmla="*/ 182659 w 235436"/>
                    <a:gd name="connsiteY154" fmla="*/ 115998 h 286328"/>
                    <a:gd name="connsiteX155" fmla="*/ 181780 w 235436"/>
                    <a:gd name="connsiteY155" fmla="*/ 115370 h 286328"/>
                    <a:gd name="connsiteX156" fmla="*/ 182031 w 235436"/>
                    <a:gd name="connsiteY156" fmla="*/ 114491 h 286328"/>
                    <a:gd name="connsiteX157" fmla="*/ 181277 w 235436"/>
                    <a:gd name="connsiteY157" fmla="*/ 113737 h 286328"/>
                    <a:gd name="connsiteX158" fmla="*/ 180900 w 235436"/>
                    <a:gd name="connsiteY158" fmla="*/ 112230 h 286328"/>
                    <a:gd name="connsiteX159" fmla="*/ 179017 w 235436"/>
                    <a:gd name="connsiteY159" fmla="*/ 110849 h 286328"/>
                    <a:gd name="connsiteX160" fmla="*/ 177635 w 235436"/>
                    <a:gd name="connsiteY160" fmla="*/ 109593 h 286328"/>
                    <a:gd name="connsiteX161" fmla="*/ 177133 w 235436"/>
                    <a:gd name="connsiteY161" fmla="*/ 111225 h 286328"/>
                    <a:gd name="connsiteX162" fmla="*/ 174244 w 235436"/>
                    <a:gd name="connsiteY162" fmla="*/ 108588 h 286328"/>
                    <a:gd name="connsiteX163" fmla="*/ 172234 w 235436"/>
                    <a:gd name="connsiteY163" fmla="*/ 108086 h 286328"/>
                    <a:gd name="connsiteX164" fmla="*/ 172234 w 235436"/>
                    <a:gd name="connsiteY164" fmla="*/ 108714 h 286328"/>
                    <a:gd name="connsiteX165" fmla="*/ 171230 w 235436"/>
                    <a:gd name="connsiteY165" fmla="*/ 107458 h 286328"/>
                    <a:gd name="connsiteX166" fmla="*/ 169597 w 235436"/>
                    <a:gd name="connsiteY166" fmla="*/ 106578 h 286328"/>
                    <a:gd name="connsiteX167" fmla="*/ 169597 w 235436"/>
                    <a:gd name="connsiteY167" fmla="*/ 108588 h 286328"/>
                    <a:gd name="connsiteX168" fmla="*/ 168592 w 235436"/>
                    <a:gd name="connsiteY168" fmla="*/ 108965 h 286328"/>
                    <a:gd name="connsiteX169" fmla="*/ 169723 w 235436"/>
                    <a:gd name="connsiteY169" fmla="*/ 102559 h 286328"/>
                    <a:gd name="connsiteX170" fmla="*/ 168969 w 235436"/>
                    <a:gd name="connsiteY170" fmla="*/ 101555 h 286328"/>
                    <a:gd name="connsiteX171" fmla="*/ 168843 w 235436"/>
                    <a:gd name="connsiteY171" fmla="*/ 100299 h 286328"/>
                    <a:gd name="connsiteX172" fmla="*/ 166834 w 235436"/>
                    <a:gd name="connsiteY172" fmla="*/ 97912 h 286328"/>
                    <a:gd name="connsiteX173" fmla="*/ 165201 w 235436"/>
                    <a:gd name="connsiteY173" fmla="*/ 97536 h 286328"/>
                    <a:gd name="connsiteX174" fmla="*/ 165453 w 235436"/>
                    <a:gd name="connsiteY174" fmla="*/ 98540 h 286328"/>
                    <a:gd name="connsiteX175" fmla="*/ 164699 w 235436"/>
                    <a:gd name="connsiteY175" fmla="*/ 96656 h 286328"/>
                    <a:gd name="connsiteX176" fmla="*/ 162941 w 235436"/>
                    <a:gd name="connsiteY176" fmla="*/ 96028 h 286328"/>
                    <a:gd name="connsiteX177" fmla="*/ 162313 w 235436"/>
                    <a:gd name="connsiteY177" fmla="*/ 94019 h 286328"/>
                    <a:gd name="connsiteX178" fmla="*/ 162689 w 235436"/>
                    <a:gd name="connsiteY178" fmla="*/ 98540 h 286328"/>
                    <a:gd name="connsiteX179" fmla="*/ 162187 w 235436"/>
                    <a:gd name="connsiteY179" fmla="*/ 98792 h 286328"/>
                    <a:gd name="connsiteX180" fmla="*/ 162061 w 235436"/>
                    <a:gd name="connsiteY180" fmla="*/ 99545 h 286328"/>
                    <a:gd name="connsiteX181" fmla="*/ 161433 w 235436"/>
                    <a:gd name="connsiteY181" fmla="*/ 98415 h 286328"/>
                    <a:gd name="connsiteX182" fmla="*/ 160303 w 235436"/>
                    <a:gd name="connsiteY182" fmla="*/ 98917 h 286328"/>
                    <a:gd name="connsiteX183" fmla="*/ 160303 w 235436"/>
                    <a:gd name="connsiteY183" fmla="*/ 98164 h 286328"/>
                    <a:gd name="connsiteX184" fmla="*/ 159047 w 235436"/>
                    <a:gd name="connsiteY184" fmla="*/ 98289 h 286328"/>
                    <a:gd name="connsiteX185" fmla="*/ 156535 w 235436"/>
                    <a:gd name="connsiteY185" fmla="*/ 99420 h 286328"/>
                    <a:gd name="connsiteX186" fmla="*/ 156410 w 235436"/>
                    <a:gd name="connsiteY186" fmla="*/ 100927 h 286328"/>
                    <a:gd name="connsiteX187" fmla="*/ 156535 w 235436"/>
                    <a:gd name="connsiteY187" fmla="*/ 101178 h 286328"/>
                    <a:gd name="connsiteX188" fmla="*/ 157917 w 235436"/>
                    <a:gd name="connsiteY188" fmla="*/ 103062 h 286328"/>
                    <a:gd name="connsiteX189" fmla="*/ 157414 w 235436"/>
                    <a:gd name="connsiteY189" fmla="*/ 103439 h 286328"/>
                    <a:gd name="connsiteX190" fmla="*/ 157665 w 235436"/>
                    <a:gd name="connsiteY190" fmla="*/ 104067 h 286328"/>
                    <a:gd name="connsiteX191" fmla="*/ 157163 w 235436"/>
                    <a:gd name="connsiteY191" fmla="*/ 103564 h 286328"/>
                    <a:gd name="connsiteX192" fmla="*/ 157414 w 235436"/>
                    <a:gd name="connsiteY192" fmla="*/ 102811 h 286328"/>
                    <a:gd name="connsiteX193" fmla="*/ 156158 w 235436"/>
                    <a:gd name="connsiteY193" fmla="*/ 105699 h 286328"/>
                    <a:gd name="connsiteX194" fmla="*/ 159550 w 235436"/>
                    <a:gd name="connsiteY194" fmla="*/ 112356 h 286328"/>
                    <a:gd name="connsiteX195" fmla="*/ 158545 w 235436"/>
                    <a:gd name="connsiteY195" fmla="*/ 111602 h 286328"/>
                    <a:gd name="connsiteX196" fmla="*/ 157917 w 235436"/>
                    <a:gd name="connsiteY196" fmla="*/ 109970 h 286328"/>
                    <a:gd name="connsiteX197" fmla="*/ 157289 w 235436"/>
                    <a:gd name="connsiteY197" fmla="*/ 109467 h 286328"/>
                    <a:gd name="connsiteX198" fmla="*/ 154777 w 235436"/>
                    <a:gd name="connsiteY198" fmla="*/ 105323 h 286328"/>
                    <a:gd name="connsiteX199" fmla="*/ 153395 w 235436"/>
                    <a:gd name="connsiteY199" fmla="*/ 104946 h 286328"/>
                    <a:gd name="connsiteX200" fmla="*/ 154023 w 235436"/>
                    <a:gd name="connsiteY200" fmla="*/ 105950 h 286328"/>
                    <a:gd name="connsiteX201" fmla="*/ 152767 w 235436"/>
                    <a:gd name="connsiteY201" fmla="*/ 105071 h 286328"/>
                    <a:gd name="connsiteX202" fmla="*/ 155028 w 235436"/>
                    <a:gd name="connsiteY202" fmla="*/ 108086 h 286328"/>
                    <a:gd name="connsiteX203" fmla="*/ 152642 w 235436"/>
                    <a:gd name="connsiteY203" fmla="*/ 105950 h 286328"/>
                    <a:gd name="connsiteX204" fmla="*/ 151511 w 235436"/>
                    <a:gd name="connsiteY204" fmla="*/ 102685 h 286328"/>
                    <a:gd name="connsiteX205" fmla="*/ 151762 w 235436"/>
                    <a:gd name="connsiteY205" fmla="*/ 104443 h 286328"/>
                    <a:gd name="connsiteX206" fmla="*/ 151511 w 235436"/>
                    <a:gd name="connsiteY206" fmla="*/ 105825 h 286328"/>
                    <a:gd name="connsiteX207" fmla="*/ 152642 w 235436"/>
                    <a:gd name="connsiteY207" fmla="*/ 108211 h 286328"/>
                    <a:gd name="connsiteX208" fmla="*/ 156158 w 235436"/>
                    <a:gd name="connsiteY208" fmla="*/ 113612 h 286328"/>
                    <a:gd name="connsiteX209" fmla="*/ 157038 w 235436"/>
                    <a:gd name="connsiteY209" fmla="*/ 115370 h 286328"/>
                    <a:gd name="connsiteX210" fmla="*/ 156033 w 235436"/>
                    <a:gd name="connsiteY210" fmla="*/ 114491 h 286328"/>
                    <a:gd name="connsiteX211" fmla="*/ 153898 w 235436"/>
                    <a:gd name="connsiteY211" fmla="*/ 112607 h 286328"/>
                    <a:gd name="connsiteX212" fmla="*/ 152391 w 235436"/>
                    <a:gd name="connsiteY212" fmla="*/ 115370 h 286328"/>
                    <a:gd name="connsiteX213" fmla="*/ 152014 w 235436"/>
                    <a:gd name="connsiteY213" fmla="*/ 114365 h 286328"/>
                    <a:gd name="connsiteX214" fmla="*/ 152265 w 235436"/>
                    <a:gd name="connsiteY214" fmla="*/ 109970 h 286328"/>
                    <a:gd name="connsiteX215" fmla="*/ 150632 w 235436"/>
                    <a:gd name="connsiteY215" fmla="*/ 104067 h 286328"/>
                    <a:gd name="connsiteX216" fmla="*/ 148874 w 235436"/>
                    <a:gd name="connsiteY216" fmla="*/ 101555 h 286328"/>
                    <a:gd name="connsiteX217" fmla="*/ 148371 w 235436"/>
                    <a:gd name="connsiteY217" fmla="*/ 101052 h 286328"/>
                    <a:gd name="connsiteX218" fmla="*/ 148120 w 235436"/>
                    <a:gd name="connsiteY218" fmla="*/ 104318 h 286328"/>
                    <a:gd name="connsiteX219" fmla="*/ 148874 w 235436"/>
                    <a:gd name="connsiteY219" fmla="*/ 108211 h 286328"/>
                    <a:gd name="connsiteX220" fmla="*/ 150507 w 235436"/>
                    <a:gd name="connsiteY220" fmla="*/ 110221 h 286328"/>
                    <a:gd name="connsiteX221" fmla="*/ 150381 w 235436"/>
                    <a:gd name="connsiteY221" fmla="*/ 111477 h 286328"/>
                    <a:gd name="connsiteX222" fmla="*/ 149251 w 235436"/>
                    <a:gd name="connsiteY222" fmla="*/ 109718 h 286328"/>
                    <a:gd name="connsiteX223" fmla="*/ 145106 w 235436"/>
                    <a:gd name="connsiteY223" fmla="*/ 105950 h 286328"/>
                    <a:gd name="connsiteX224" fmla="*/ 143599 w 235436"/>
                    <a:gd name="connsiteY224" fmla="*/ 104318 h 286328"/>
                    <a:gd name="connsiteX225" fmla="*/ 144729 w 235436"/>
                    <a:gd name="connsiteY225" fmla="*/ 108588 h 286328"/>
                    <a:gd name="connsiteX226" fmla="*/ 144729 w 235436"/>
                    <a:gd name="connsiteY226" fmla="*/ 107709 h 286328"/>
                    <a:gd name="connsiteX227" fmla="*/ 141464 w 235436"/>
                    <a:gd name="connsiteY227" fmla="*/ 106830 h 286328"/>
                    <a:gd name="connsiteX228" fmla="*/ 141338 w 235436"/>
                    <a:gd name="connsiteY228" fmla="*/ 105699 h 286328"/>
                    <a:gd name="connsiteX229" fmla="*/ 140710 w 235436"/>
                    <a:gd name="connsiteY229" fmla="*/ 106327 h 286328"/>
                    <a:gd name="connsiteX230" fmla="*/ 138826 w 235436"/>
                    <a:gd name="connsiteY230" fmla="*/ 106202 h 286328"/>
                    <a:gd name="connsiteX231" fmla="*/ 139078 w 235436"/>
                    <a:gd name="connsiteY231" fmla="*/ 106704 h 286328"/>
                    <a:gd name="connsiteX232" fmla="*/ 138449 w 235436"/>
                    <a:gd name="connsiteY232" fmla="*/ 106327 h 286328"/>
                    <a:gd name="connsiteX233" fmla="*/ 137445 w 235436"/>
                    <a:gd name="connsiteY233" fmla="*/ 106955 h 286328"/>
                    <a:gd name="connsiteX234" fmla="*/ 136942 w 235436"/>
                    <a:gd name="connsiteY234" fmla="*/ 103941 h 286328"/>
                    <a:gd name="connsiteX235" fmla="*/ 136063 w 235436"/>
                    <a:gd name="connsiteY235" fmla="*/ 105574 h 286328"/>
                    <a:gd name="connsiteX236" fmla="*/ 136566 w 235436"/>
                    <a:gd name="connsiteY236" fmla="*/ 107834 h 286328"/>
                    <a:gd name="connsiteX237" fmla="*/ 134682 w 235436"/>
                    <a:gd name="connsiteY237" fmla="*/ 106704 h 286328"/>
                    <a:gd name="connsiteX238" fmla="*/ 132421 w 235436"/>
                    <a:gd name="connsiteY238" fmla="*/ 106704 h 286328"/>
                    <a:gd name="connsiteX239" fmla="*/ 132421 w 235436"/>
                    <a:gd name="connsiteY239" fmla="*/ 107834 h 286328"/>
                    <a:gd name="connsiteX240" fmla="*/ 133300 w 235436"/>
                    <a:gd name="connsiteY240" fmla="*/ 109216 h 286328"/>
                    <a:gd name="connsiteX241" fmla="*/ 130914 w 235436"/>
                    <a:gd name="connsiteY241" fmla="*/ 105574 h 286328"/>
                    <a:gd name="connsiteX242" fmla="*/ 129155 w 235436"/>
                    <a:gd name="connsiteY242" fmla="*/ 101931 h 286328"/>
                    <a:gd name="connsiteX243" fmla="*/ 131542 w 235436"/>
                    <a:gd name="connsiteY243" fmla="*/ 104569 h 286328"/>
                    <a:gd name="connsiteX244" fmla="*/ 130788 w 235436"/>
                    <a:gd name="connsiteY244" fmla="*/ 99420 h 286328"/>
                    <a:gd name="connsiteX245" fmla="*/ 129532 w 235436"/>
                    <a:gd name="connsiteY245" fmla="*/ 98540 h 286328"/>
                    <a:gd name="connsiteX246" fmla="*/ 123127 w 235436"/>
                    <a:gd name="connsiteY246" fmla="*/ 93768 h 286328"/>
                    <a:gd name="connsiteX247" fmla="*/ 121871 w 235436"/>
                    <a:gd name="connsiteY247" fmla="*/ 93391 h 286328"/>
                    <a:gd name="connsiteX248" fmla="*/ 121369 w 235436"/>
                    <a:gd name="connsiteY248" fmla="*/ 92889 h 286328"/>
                    <a:gd name="connsiteX249" fmla="*/ 120992 w 235436"/>
                    <a:gd name="connsiteY249" fmla="*/ 92889 h 286328"/>
                    <a:gd name="connsiteX250" fmla="*/ 120489 w 235436"/>
                    <a:gd name="connsiteY250" fmla="*/ 92386 h 286328"/>
                    <a:gd name="connsiteX251" fmla="*/ 119736 w 235436"/>
                    <a:gd name="connsiteY251" fmla="*/ 93140 h 286328"/>
                    <a:gd name="connsiteX252" fmla="*/ 119233 w 235436"/>
                    <a:gd name="connsiteY252" fmla="*/ 93893 h 286328"/>
                    <a:gd name="connsiteX253" fmla="*/ 118355 w 235436"/>
                    <a:gd name="connsiteY253" fmla="*/ 95526 h 286328"/>
                    <a:gd name="connsiteX254" fmla="*/ 117726 w 235436"/>
                    <a:gd name="connsiteY254" fmla="*/ 96656 h 286328"/>
                    <a:gd name="connsiteX255" fmla="*/ 117224 w 235436"/>
                    <a:gd name="connsiteY255" fmla="*/ 96405 h 286328"/>
                    <a:gd name="connsiteX256" fmla="*/ 115591 w 235436"/>
                    <a:gd name="connsiteY256" fmla="*/ 99420 h 286328"/>
                    <a:gd name="connsiteX257" fmla="*/ 116219 w 235436"/>
                    <a:gd name="connsiteY257" fmla="*/ 100048 h 286328"/>
                    <a:gd name="connsiteX258" fmla="*/ 114712 w 235436"/>
                    <a:gd name="connsiteY258" fmla="*/ 99545 h 286328"/>
                    <a:gd name="connsiteX259" fmla="*/ 112577 w 235436"/>
                    <a:gd name="connsiteY259" fmla="*/ 103062 h 286328"/>
                    <a:gd name="connsiteX260" fmla="*/ 113330 w 235436"/>
                    <a:gd name="connsiteY260" fmla="*/ 103690 h 286328"/>
                    <a:gd name="connsiteX261" fmla="*/ 114084 w 235436"/>
                    <a:gd name="connsiteY261" fmla="*/ 106076 h 286328"/>
                    <a:gd name="connsiteX262" fmla="*/ 115842 w 235436"/>
                    <a:gd name="connsiteY262" fmla="*/ 105825 h 286328"/>
                    <a:gd name="connsiteX263" fmla="*/ 116973 w 235436"/>
                    <a:gd name="connsiteY263" fmla="*/ 108211 h 286328"/>
                    <a:gd name="connsiteX264" fmla="*/ 117978 w 235436"/>
                    <a:gd name="connsiteY264" fmla="*/ 110472 h 286328"/>
                    <a:gd name="connsiteX265" fmla="*/ 117978 w 235436"/>
                    <a:gd name="connsiteY265" fmla="*/ 111853 h 286328"/>
                    <a:gd name="connsiteX266" fmla="*/ 119736 w 235436"/>
                    <a:gd name="connsiteY266" fmla="*/ 112105 h 286328"/>
                    <a:gd name="connsiteX267" fmla="*/ 120238 w 235436"/>
                    <a:gd name="connsiteY267" fmla="*/ 109090 h 286328"/>
                    <a:gd name="connsiteX268" fmla="*/ 121243 w 235436"/>
                    <a:gd name="connsiteY268" fmla="*/ 108839 h 286328"/>
                    <a:gd name="connsiteX269" fmla="*/ 121243 w 235436"/>
                    <a:gd name="connsiteY269" fmla="*/ 107583 h 286328"/>
                    <a:gd name="connsiteX270" fmla="*/ 122625 w 235436"/>
                    <a:gd name="connsiteY270" fmla="*/ 102308 h 286328"/>
                    <a:gd name="connsiteX271" fmla="*/ 124132 w 235436"/>
                    <a:gd name="connsiteY271" fmla="*/ 101304 h 286328"/>
                    <a:gd name="connsiteX272" fmla="*/ 123629 w 235436"/>
                    <a:gd name="connsiteY272" fmla="*/ 103941 h 286328"/>
                    <a:gd name="connsiteX273" fmla="*/ 122625 w 235436"/>
                    <a:gd name="connsiteY273" fmla="*/ 103941 h 286328"/>
                    <a:gd name="connsiteX274" fmla="*/ 123001 w 235436"/>
                    <a:gd name="connsiteY274" fmla="*/ 107960 h 286328"/>
                    <a:gd name="connsiteX275" fmla="*/ 124383 w 235436"/>
                    <a:gd name="connsiteY275" fmla="*/ 109970 h 286328"/>
                    <a:gd name="connsiteX276" fmla="*/ 128025 w 235436"/>
                    <a:gd name="connsiteY276" fmla="*/ 111351 h 286328"/>
                    <a:gd name="connsiteX277" fmla="*/ 128653 w 235436"/>
                    <a:gd name="connsiteY277" fmla="*/ 112230 h 286328"/>
                    <a:gd name="connsiteX278" fmla="*/ 124885 w 235436"/>
                    <a:gd name="connsiteY278" fmla="*/ 112105 h 286328"/>
                    <a:gd name="connsiteX279" fmla="*/ 125388 w 235436"/>
                    <a:gd name="connsiteY279" fmla="*/ 113235 h 286328"/>
                    <a:gd name="connsiteX280" fmla="*/ 125011 w 235436"/>
                    <a:gd name="connsiteY280" fmla="*/ 114365 h 286328"/>
                    <a:gd name="connsiteX281" fmla="*/ 123504 w 235436"/>
                    <a:gd name="connsiteY281" fmla="*/ 113361 h 286328"/>
                    <a:gd name="connsiteX282" fmla="*/ 123253 w 235436"/>
                    <a:gd name="connsiteY282" fmla="*/ 116249 h 286328"/>
                    <a:gd name="connsiteX283" fmla="*/ 121745 w 235436"/>
                    <a:gd name="connsiteY283" fmla="*/ 115496 h 286328"/>
                    <a:gd name="connsiteX284" fmla="*/ 120113 w 235436"/>
                    <a:gd name="connsiteY284" fmla="*/ 114617 h 286328"/>
                    <a:gd name="connsiteX285" fmla="*/ 118229 w 235436"/>
                    <a:gd name="connsiteY285" fmla="*/ 113109 h 286328"/>
                    <a:gd name="connsiteX286" fmla="*/ 116470 w 235436"/>
                    <a:gd name="connsiteY286" fmla="*/ 112733 h 286328"/>
                    <a:gd name="connsiteX287" fmla="*/ 115466 w 235436"/>
                    <a:gd name="connsiteY287" fmla="*/ 110221 h 286328"/>
                    <a:gd name="connsiteX288" fmla="*/ 116596 w 235436"/>
                    <a:gd name="connsiteY288" fmla="*/ 109970 h 286328"/>
                    <a:gd name="connsiteX289" fmla="*/ 116094 w 235436"/>
                    <a:gd name="connsiteY289" fmla="*/ 109090 h 286328"/>
                    <a:gd name="connsiteX290" fmla="*/ 116345 w 235436"/>
                    <a:gd name="connsiteY290" fmla="*/ 108086 h 286328"/>
                    <a:gd name="connsiteX291" fmla="*/ 115340 w 235436"/>
                    <a:gd name="connsiteY291" fmla="*/ 108839 h 286328"/>
                    <a:gd name="connsiteX292" fmla="*/ 114963 w 235436"/>
                    <a:gd name="connsiteY292" fmla="*/ 109216 h 286328"/>
                    <a:gd name="connsiteX293" fmla="*/ 114963 w 235436"/>
                    <a:gd name="connsiteY293" fmla="*/ 112356 h 286328"/>
                    <a:gd name="connsiteX294" fmla="*/ 114335 w 235436"/>
                    <a:gd name="connsiteY294" fmla="*/ 111728 h 286328"/>
                    <a:gd name="connsiteX295" fmla="*/ 114838 w 235436"/>
                    <a:gd name="connsiteY295" fmla="*/ 112607 h 286328"/>
                    <a:gd name="connsiteX296" fmla="*/ 114461 w 235436"/>
                    <a:gd name="connsiteY296" fmla="*/ 112356 h 286328"/>
                    <a:gd name="connsiteX297" fmla="*/ 108935 w 235436"/>
                    <a:gd name="connsiteY297" fmla="*/ 113863 h 286328"/>
                    <a:gd name="connsiteX298" fmla="*/ 106800 w 235436"/>
                    <a:gd name="connsiteY298" fmla="*/ 113109 h 286328"/>
                    <a:gd name="connsiteX299" fmla="*/ 107051 w 235436"/>
                    <a:gd name="connsiteY299" fmla="*/ 113737 h 286328"/>
                    <a:gd name="connsiteX300" fmla="*/ 108432 w 235436"/>
                    <a:gd name="connsiteY300" fmla="*/ 115370 h 286328"/>
                    <a:gd name="connsiteX301" fmla="*/ 109186 w 235436"/>
                    <a:gd name="connsiteY301" fmla="*/ 116752 h 286328"/>
                    <a:gd name="connsiteX302" fmla="*/ 109186 w 235436"/>
                    <a:gd name="connsiteY302" fmla="*/ 117756 h 286328"/>
                    <a:gd name="connsiteX303" fmla="*/ 108809 w 235436"/>
                    <a:gd name="connsiteY303" fmla="*/ 119766 h 286328"/>
                    <a:gd name="connsiteX304" fmla="*/ 107679 w 235436"/>
                    <a:gd name="connsiteY304" fmla="*/ 119012 h 286328"/>
                    <a:gd name="connsiteX305" fmla="*/ 107051 w 235436"/>
                    <a:gd name="connsiteY305" fmla="*/ 118510 h 286328"/>
                    <a:gd name="connsiteX306" fmla="*/ 105795 w 235436"/>
                    <a:gd name="connsiteY306" fmla="*/ 117505 h 286328"/>
                    <a:gd name="connsiteX307" fmla="*/ 105167 w 235436"/>
                    <a:gd name="connsiteY307" fmla="*/ 117128 h 286328"/>
                    <a:gd name="connsiteX308" fmla="*/ 104539 w 235436"/>
                    <a:gd name="connsiteY308" fmla="*/ 116626 h 286328"/>
                    <a:gd name="connsiteX309" fmla="*/ 104037 w 235436"/>
                    <a:gd name="connsiteY309" fmla="*/ 116752 h 286328"/>
                    <a:gd name="connsiteX310" fmla="*/ 103409 w 235436"/>
                    <a:gd name="connsiteY310" fmla="*/ 116500 h 286328"/>
                    <a:gd name="connsiteX311" fmla="*/ 103660 w 235436"/>
                    <a:gd name="connsiteY311" fmla="*/ 117254 h 286328"/>
                    <a:gd name="connsiteX312" fmla="*/ 103660 w 235436"/>
                    <a:gd name="connsiteY312" fmla="*/ 117756 h 286328"/>
                    <a:gd name="connsiteX313" fmla="*/ 103409 w 235436"/>
                    <a:gd name="connsiteY313" fmla="*/ 120143 h 286328"/>
                    <a:gd name="connsiteX314" fmla="*/ 103409 w 235436"/>
                    <a:gd name="connsiteY314" fmla="*/ 120268 h 286328"/>
                    <a:gd name="connsiteX315" fmla="*/ 103283 w 235436"/>
                    <a:gd name="connsiteY315" fmla="*/ 120394 h 286328"/>
                    <a:gd name="connsiteX316" fmla="*/ 103157 w 235436"/>
                    <a:gd name="connsiteY316" fmla="*/ 120771 h 286328"/>
                    <a:gd name="connsiteX317" fmla="*/ 103534 w 235436"/>
                    <a:gd name="connsiteY317" fmla="*/ 121022 h 286328"/>
                    <a:gd name="connsiteX318" fmla="*/ 103409 w 235436"/>
                    <a:gd name="connsiteY318" fmla="*/ 121273 h 286328"/>
                    <a:gd name="connsiteX319" fmla="*/ 103660 w 235436"/>
                    <a:gd name="connsiteY319" fmla="*/ 122027 h 286328"/>
                    <a:gd name="connsiteX320" fmla="*/ 103534 w 235436"/>
                    <a:gd name="connsiteY320" fmla="*/ 122906 h 286328"/>
                    <a:gd name="connsiteX321" fmla="*/ 104162 w 235436"/>
                    <a:gd name="connsiteY321" fmla="*/ 123283 h 286328"/>
                    <a:gd name="connsiteX322" fmla="*/ 104916 w 235436"/>
                    <a:gd name="connsiteY322" fmla="*/ 123659 h 286328"/>
                    <a:gd name="connsiteX323" fmla="*/ 106046 w 235436"/>
                    <a:gd name="connsiteY323" fmla="*/ 125543 h 286328"/>
                    <a:gd name="connsiteX324" fmla="*/ 107176 w 235436"/>
                    <a:gd name="connsiteY324" fmla="*/ 125543 h 286328"/>
                    <a:gd name="connsiteX325" fmla="*/ 108683 w 235436"/>
                    <a:gd name="connsiteY325" fmla="*/ 126548 h 286328"/>
                    <a:gd name="connsiteX326" fmla="*/ 109563 w 235436"/>
                    <a:gd name="connsiteY326" fmla="*/ 126422 h 286328"/>
                    <a:gd name="connsiteX327" fmla="*/ 110191 w 235436"/>
                    <a:gd name="connsiteY327" fmla="*/ 125543 h 286328"/>
                    <a:gd name="connsiteX328" fmla="*/ 109939 w 235436"/>
                    <a:gd name="connsiteY328" fmla="*/ 124287 h 286328"/>
                    <a:gd name="connsiteX329" fmla="*/ 110693 w 235436"/>
                    <a:gd name="connsiteY329" fmla="*/ 123785 h 286328"/>
                    <a:gd name="connsiteX330" fmla="*/ 111070 w 235436"/>
                    <a:gd name="connsiteY330" fmla="*/ 123659 h 286328"/>
                    <a:gd name="connsiteX331" fmla="*/ 112200 w 235436"/>
                    <a:gd name="connsiteY331" fmla="*/ 122906 h 286328"/>
                    <a:gd name="connsiteX332" fmla="*/ 112703 w 235436"/>
                    <a:gd name="connsiteY332" fmla="*/ 121901 h 286328"/>
                    <a:gd name="connsiteX333" fmla="*/ 113205 w 235436"/>
                    <a:gd name="connsiteY333" fmla="*/ 122278 h 286328"/>
                    <a:gd name="connsiteX334" fmla="*/ 114838 w 235436"/>
                    <a:gd name="connsiteY334" fmla="*/ 123283 h 286328"/>
                    <a:gd name="connsiteX335" fmla="*/ 115215 w 235436"/>
                    <a:gd name="connsiteY335" fmla="*/ 123157 h 286328"/>
                    <a:gd name="connsiteX336" fmla="*/ 115842 w 235436"/>
                    <a:gd name="connsiteY336" fmla="*/ 123157 h 286328"/>
                    <a:gd name="connsiteX337" fmla="*/ 116596 w 235436"/>
                    <a:gd name="connsiteY337" fmla="*/ 123534 h 286328"/>
                    <a:gd name="connsiteX338" fmla="*/ 117978 w 235436"/>
                    <a:gd name="connsiteY338" fmla="*/ 126297 h 286328"/>
                    <a:gd name="connsiteX339" fmla="*/ 118229 w 235436"/>
                    <a:gd name="connsiteY339" fmla="*/ 126674 h 286328"/>
                    <a:gd name="connsiteX340" fmla="*/ 118982 w 235436"/>
                    <a:gd name="connsiteY340" fmla="*/ 128055 h 286328"/>
                    <a:gd name="connsiteX341" fmla="*/ 119862 w 235436"/>
                    <a:gd name="connsiteY341" fmla="*/ 128934 h 286328"/>
                    <a:gd name="connsiteX342" fmla="*/ 120866 w 235436"/>
                    <a:gd name="connsiteY342" fmla="*/ 130442 h 286328"/>
                    <a:gd name="connsiteX343" fmla="*/ 121369 w 235436"/>
                    <a:gd name="connsiteY343" fmla="*/ 131069 h 286328"/>
                    <a:gd name="connsiteX344" fmla="*/ 121620 w 235436"/>
                    <a:gd name="connsiteY344" fmla="*/ 132325 h 286328"/>
                    <a:gd name="connsiteX345" fmla="*/ 121620 w 235436"/>
                    <a:gd name="connsiteY345" fmla="*/ 133330 h 286328"/>
                    <a:gd name="connsiteX346" fmla="*/ 121871 w 235436"/>
                    <a:gd name="connsiteY346" fmla="*/ 133330 h 286328"/>
                    <a:gd name="connsiteX347" fmla="*/ 122122 w 235436"/>
                    <a:gd name="connsiteY347" fmla="*/ 132828 h 286328"/>
                    <a:gd name="connsiteX348" fmla="*/ 122122 w 235436"/>
                    <a:gd name="connsiteY348" fmla="*/ 132828 h 286328"/>
                    <a:gd name="connsiteX349" fmla="*/ 121871 w 235436"/>
                    <a:gd name="connsiteY349" fmla="*/ 131697 h 286328"/>
                    <a:gd name="connsiteX350" fmla="*/ 122122 w 235436"/>
                    <a:gd name="connsiteY350" fmla="*/ 131069 h 286328"/>
                    <a:gd name="connsiteX351" fmla="*/ 123001 w 235436"/>
                    <a:gd name="connsiteY351" fmla="*/ 132325 h 286328"/>
                    <a:gd name="connsiteX352" fmla="*/ 123127 w 235436"/>
                    <a:gd name="connsiteY352" fmla="*/ 131823 h 286328"/>
                    <a:gd name="connsiteX353" fmla="*/ 121369 w 235436"/>
                    <a:gd name="connsiteY353" fmla="*/ 129688 h 286328"/>
                    <a:gd name="connsiteX354" fmla="*/ 121369 w 235436"/>
                    <a:gd name="connsiteY354" fmla="*/ 129060 h 286328"/>
                    <a:gd name="connsiteX355" fmla="*/ 119610 w 235436"/>
                    <a:gd name="connsiteY355" fmla="*/ 126422 h 286328"/>
                    <a:gd name="connsiteX356" fmla="*/ 118731 w 235436"/>
                    <a:gd name="connsiteY356" fmla="*/ 125041 h 286328"/>
                    <a:gd name="connsiteX357" fmla="*/ 118606 w 235436"/>
                    <a:gd name="connsiteY357" fmla="*/ 124287 h 286328"/>
                    <a:gd name="connsiteX358" fmla="*/ 118606 w 235436"/>
                    <a:gd name="connsiteY358" fmla="*/ 123534 h 286328"/>
                    <a:gd name="connsiteX359" fmla="*/ 119485 w 235436"/>
                    <a:gd name="connsiteY359" fmla="*/ 123785 h 286328"/>
                    <a:gd name="connsiteX360" fmla="*/ 119736 w 235436"/>
                    <a:gd name="connsiteY360" fmla="*/ 124915 h 286328"/>
                    <a:gd name="connsiteX361" fmla="*/ 120238 w 235436"/>
                    <a:gd name="connsiteY361" fmla="*/ 124539 h 286328"/>
                    <a:gd name="connsiteX362" fmla="*/ 123253 w 235436"/>
                    <a:gd name="connsiteY362" fmla="*/ 129311 h 286328"/>
                    <a:gd name="connsiteX363" fmla="*/ 123378 w 235436"/>
                    <a:gd name="connsiteY363" fmla="*/ 129437 h 286328"/>
                    <a:gd name="connsiteX364" fmla="*/ 124132 w 235436"/>
                    <a:gd name="connsiteY364" fmla="*/ 130693 h 286328"/>
                    <a:gd name="connsiteX365" fmla="*/ 124132 w 235436"/>
                    <a:gd name="connsiteY365" fmla="*/ 132200 h 286328"/>
                    <a:gd name="connsiteX366" fmla="*/ 124760 w 235436"/>
                    <a:gd name="connsiteY366" fmla="*/ 133456 h 286328"/>
                    <a:gd name="connsiteX367" fmla="*/ 125513 w 235436"/>
                    <a:gd name="connsiteY367" fmla="*/ 134461 h 286328"/>
                    <a:gd name="connsiteX368" fmla="*/ 125890 w 235436"/>
                    <a:gd name="connsiteY368" fmla="*/ 134586 h 286328"/>
                    <a:gd name="connsiteX369" fmla="*/ 126267 w 235436"/>
                    <a:gd name="connsiteY369" fmla="*/ 134712 h 286328"/>
                    <a:gd name="connsiteX370" fmla="*/ 126016 w 235436"/>
                    <a:gd name="connsiteY370" fmla="*/ 134963 h 286328"/>
                    <a:gd name="connsiteX371" fmla="*/ 126895 w 235436"/>
                    <a:gd name="connsiteY371" fmla="*/ 134837 h 286328"/>
                    <a:gd name="connsiteX372" fmla="*/ 127020 w 235436"/>
                    <a:gd name="connsiteY372" fmla="*/ 134837 h 286328"/>
                    <a:gd name="connsiteX373" fmla="*/ 126643 w 235436"/>
                    <a:gd name="connsiteY373" fmla="*/ 133205 h 286328"/>
                    <a:gd name="connsiteX374" fmla="*/ 127146 w 235436"/>
                    <a:gd name="connsiteY374" fmla="*/ 134084 h 286328"/>
                    <a:gd name="connsiteX375" fmla="*/ 127523 w 235436"/>
                    <a:gd name="connsiteY375" fmla="*/ 134461 h 286328"/>
                    <a:gd name="connsiteX376" fmla="*/ 127523 w 235436"/>
                    <a:gd name="connsiteY376" fmla="*/ 133958 h 286328"/>
                    <a:gd name="connsiteX377" fmla="*/ 127397 w 235436"/>
                    <a:gd name="connsiteY377" fmla="*/ 133581 h 286328"/>
                    <a:gd name="connsiteX378" fmla="*/ 128402 w 235436"/>
                    <a:gd name="connsiteY378" fmla="*/ 133833 h 286328"/>
                    <a:gd name="connsiteX379" fmla="*/ 129407 w 235436"/>
                    <a:gd name="connsiteY379" fmla="*/ 134837 h 286328"/>
                    <a:gd name="connsiteX380" fmla="*/ 129281 w 235436"/>
                    <a:gd name="connsiteY380" fmla="*/ 135214 h 286328"/>
                    <a:gd name="connsiteX381" fmla="*/ 129155 w 235436"/>
                    <a:gd name="connsiteY381" fmla="*/ 135842 h 286328"/>
                    <a:gd name="connsiteX382" fmla="*/ 129407 w 235436"/>
                    <a:gd name="connsiteY382" fmla="*/ 136093 h 286328"/>
                    <a:gd name="connsiteX383" fmla="*/ 129658 w 235436"/>
                    <a:gd name="connsiteY383" fmla="*/ 136344 h 286328"/>
                    <a:gd name="connsiteX384" fmla="*/ 129658 w 235436"/>
                    <a:gd name="connsiteY384" fmla="*/ 137098 h 286328"/>
                    <a:gd name="connsiteX385" fmla="*/ 129532 w 235436"/>
                    <a:gd name="connsiteY385" fmla="*/ 137224 h 286328"/>
                    <a:gd name="connsiteX386" fmla="*/ 129281 w 235436"/>
                    <a:gd name="connsiteY386" fmla="*/ 137349 h 286328"/>
                    <a:gd name="connsiteX387" fmla="*/ 129909 w 235436"/>
                    <a:gd name="connsiteY387" fmla="*/ 138228 h 286328"/>
                    <a:gd name="connsiteX388" fmla="*/ 130160 w 235436"/>
                    <a:gd name="connsiteY388" fmla="*/ 139484 h 286328"/>
                    <a:gd name="connsiteX389" fmla="*/ 131291 w 235436"/>
                    <a:gd name="connsiteY389" fmla="*/ 140238 h 286328"/>
                    <a:gd name="connsiteX390" fmla="*/ 132421 w 235436"/>
                    <a:gd name="connsiteY390" fmla="*/ 141243 h 286328"/>
                    <a:gd name="connsiteX391" fmla="*/ 132546 w 235436"/>
                    <a:gd name="connsiteY391" fmla="*/ 140866 h 286328"/>
                    <a:gd name="connsiteX392" fmla="*/ 134807 w 235436"/>
                    <a:gd name="connsiteY392" fmla="*/ 142875 h 286328"/>
                    <a:gd name="connsiteX393" fmla="*/ 135435 w 235436"/>
                    <a:gd name="connsiteY393" fmla="*/ 142624 h 286328"/>
                    <a:gd name="connsiteX394" fmla="*/ 135938 w 235436"/>
                    <a:gd name="connsiteY394" fmla="*/ 143127 h 286328"/>
                    <a:gd name="connsiteX395" fmla="*/ 136440 w 235436"/>
                    <a:gd name="connsiteY395" fmla="*/ 143252 h 286328"/>
                    <a:gd name="connsiteX396" fmla="*/ 136314 w 235436"/>
                    <a:gd name="connsiteY396" fmla="*/ 144131 h 286328"/>
                    <a:gd name="connsiteX397" fmla="*/ 136440 w 235436"/>
                    <a:gd name="connsiteY397" fmla="*/ 145262 h 286328"/>
                    <a:gd name="connsiteX398" fmla="*/ 136314 w 235436"/>
                    <a:gd name="connsiteY398" fmla="*/ 145764 h 286328"/>
                    <a:gd name="connsiteX399" fmla="*/ 135812 w 235436"/>
                    <a:gd name="connsiteY399" fmla="*/ 147020 h 286328"/>
                    <a:gd name="connsiteX400" fmla="*/ 135435 w 235436"/>
                    <a:gd name="connsiteY400" fmla="*/ 147899 h 286328"/>
                    <a:gd name="connsiteX401" fmla="*/ 134054 w 235436"/>
                    <a:gd name="connsiteY401" fmla="*/ 147271 h 286328"/>
                    <a:gd name="connsiteX402" fmla="*/ 133551 w 235436"/>
                    <a:gd name="connsiteY402" fmla="*/ 146643 h 286328"/>
                    <a:gd name="connsiteX403" fmla="*/ 133300 w 235436"/>
                    <a:gd name="connsiteY403" fmla="*/ 146392 h 286328"/>
                    <a:gd name="connsiteX404" fmla="*/ 132798 w 235436"/>
                    <a:gd name="connsiteY404" fmla="*/ 146141 h 286328"/>
                    <a:gd name="connsiteX405" fmla="*/ 127523 w 235436"/>
                    <a:gd name="connsiteY405" fmla="*/ 141996 h 286328"/>
                    <a:gd name="connsiteX406" fmla="*/ 126016 w 235436"/>
                    <a:gd name="connsiteY406" fmla="*/ 140615 h 286328"/>
                    <a:gd name="connsiteX407" fmla="*/ 125262 w 235436"/>
                    <a:gd name="connsiteY407" fmla="*/ 140489 h 286328"/>
                    <a:gd name="connsiteX408" fmla="*/ 125011 w 235436"/>
                    <a:gd name="connsiteY408" fmla="*/ 141243 h 286328"/>
                    <a:gd name="connsiteX409" fmla="*/ 125136 w 235436"/>
                    <a:gd name="connsiteY409" fmla="*/ 142122 h 286328"/>
                    <a:gd name="connsiteX410" fmla="*/ 122750 w 235436"/>
                    <a:gd name="connsiteY410" fmla="*/ 140238 h 286328"/>
                    <a:gd name="connsiteX411" fmla="*/ 121996 w 235436"/>
                    <a:gd name="connsiteY411" fmla="*/ 139610 h 286328"/>
                    <a:gd name="connsiteX412" fmla="*/ 120992 w 235436"/>
                    <a:gd name="connsiteY412" fmla="*/ 137726 h 286328"/>
                    <a:gd name="connsiteX413" fmla="*/ 118982 w 235436"/>
                    <a:gd name="connsiteY413" fmla="*/ 136093 h 286328"/>
                    <a:gd name="connsiteX414" fmla="*/ 118103 w 235436"/>
                    <a:gd name="connsiteY414" fmla="*/ 135088 h 286328"/>
                    <a:gd name="connsiteX415" fmla="*/ 118103 w 235436"/>
                    <a:gd name="connsiteY415" fmla="*/ 133958 h 286328"/>
                    <a:gd name="connsiteX416" fmla="*/ 117475 w 235436"/>
                    <a:gd name="connsiteY416" fmla="*/ 131069 h 286328"/>
                    <a:gd name="connsiteX417" fmla="*/ 116470 w 235436"/>
                    <a:gd name="connsiteY417" fmla="*/ 130818 h 286328"/>
                    <a:gd name="connsiteX418" fmla="*/ 114586 w 235436"/>
                    <a:gd name="connsiteY418" fmla="*/ 129562 h 286328"/>
                    <a:gd name="connsiteX419" fmla="*/ 112577 w 235436"/>
                    <a:gd name="connsiteY419" fmla="*/ 128432 h 286328"/>
                    <a:gd name="connsiteX420" fmla="*/ 109060 w 235436"/>
                    <a:gd name="connsiteY420" fmla="*/ 127804 h 286328"/>
                    <a:gd name="connsiteX421" fmla="*/ 106549 w 235436"/>
                    <a:gd name="connsiteY421" fmla="*/ 125543 h 286328"/>
                    <a:gd name="connsiteX422" fmla="*/ 105167 w 235436"/>
                    <a:gd name="connsiteY422" fmla="*/ 126799 h 286328"/>
                    <a:gd name="connsiteX423" fmla="*/ 104162 w 235436"/>
                    <a:gd name="connsiteY423" fmla="*/ 126925 h 286328"/>
                    <a:gd name="connsiteX424" fmla="*/ 103660 w 235436"/>
                    <a:gd name="connsiteY424" fmla="*/ 127678 h 286328"/>
                    <a:gd name="connsiteX425" fmla="*/ 103409 w 235436"/>
                    <a:gd name="connsiteY425" fmla="*/ 128934 h 286328"/>
                    <a:gd name="connsiteX426" fmla="*/ 101399 w 235436"/>
                    <a:gd name="connsiteY426" fmla="*/ 129939 h 286328"/>
                    <a:gd name="connsiteX427" fmla="*/ 101399 w 235436"/>
                    <a:gd name="connsiteY427" fmla="*/ 129939 h 286328"/>
                    <a:gd name="connsiteX428" fmla="*/ 97631 w 235436"/>
                    <a:gd name="connsiteY428" fmla="*/ 133330 h 286328"/>
                    <a:gd name="connsiteX429" fmla="*/ 97757 w 235436"/>
                    <a:gd name="connsiteY429" fmla="*/ 134335 h 286328"/>
                    <a:gd name="connsiteX430" fmla="*/ 98259 w 235436"/>
                    <a:gd name="connsiteY430" fmla="*/ 136972 h 286328"/>
                    <a:gd name="connsiteX431" fmla="*/ 98008 w 235436"/>
                    <a:gd name="connsiteY431" fmla="*/ 138605 h 286328"/>
                    <a:gd name="connsiteX432" fmla="*/ 97506 w 235436"/>
                    <a:gd name="connsiteY432" fmla="*/ 141871 h 286328"/>
                    <a:gd name="connsiteX433" fmla="*/ 100269 w 235436"/>
                    <a:gd name="connsiteY433" fmla="*/ 147271 h 286328"/>
                    <a:gd name="connsiteX434" fmla="*/ 102780 w 235436"/>
                    <a:gd name="connsiteY434" fmla="*/ 151667 h 286328"/>
                    <a:gd name="connsiteX435" fmla="*/ 106674 w 235436"/>
                    <a:gd name="connsiteY435" fmla="*/ 155058 h 286328"/>
                    <a:gd name="connsiteX436" fmla="*/ 109186 w 235436"/>
                    <a:gd name="connsiteY436" fmla="*/ 156565 h 286328"/>
                    <a:gd name="connsiteX437" fmla="*/ 110567 w 235436"/>
                    <a:gd name="connsiteY437" fmla="*/ 156816 h 286328"/>
                    <a:gd name="connsiteX438" fmla="*/ 111823 w 235436"/>
                    <a:gd name="connsiteY438" fmla="*/ 157319 h 286328"/>
                    <a:gd name="connsiteX439" fmla="*/ 113582 w 235436"/>
                    <a:gd name="connsiteY439" fmla="*/ 159705 h 286328"/>
                    <a:gd name="connsiteX440" fmla="*/ 115717 w 235436"/>
                    <a:gd name="connsiteY440" fmla="*/ 161589 h 286328"/>
                    <a:gd name="connsiteX441" fmla="*/ 117350 w 235436"/>
                    <a:gd name="connsiteY441" fmla="*/ 164729 h 286328"/>
                    <a:gd name="connsiteX442" fmla="*/ 118103 w 235436"/>
                    <a:gd name="connsiteY442" fmla="*/ 170381 h 286328"/>
                    <a:gd name="connsiteX443" fmla="*/ 118103 w 235436"/>
                    <a:gd name="connsiteY443" fmla="*/ 170381 h 286328"/>
                    <a:gd name="connsiteX444" fmla="*/ 169723 w 235436"/>
                    <a:gd name="connsiteY444" fmla="*/ 193741 h 286328"/>
                    <a:gd name="connsiteX445" fmla="*/ 169346 w 235436"/>
                    <a:gd name="connsiteY445" fmla="*/ 190099 h 286328"/>
                    <a:gd name="connsiteX446" fmla="*/ 169723 w 235436"/>
                    <a:gd name="connsiteY446" fmla="*/ 193741 h 286328"/>
                    <a:gd name="connsiteX447" fmla="*/ 169723 w 235436"/>
                    <a:gd name="connsiteY447" fmla="*/ 193741 h 286328"/>
                    <a:gd name="connsiteX448" fmla="*/ 145859 w 235436"/>
                    <a:gd name="connsiteY448" fmla="*/ 196253 h 286328"/>
                    <a:gd name="connsiteX449" fmla="*/ 147115 w 235436"/>
                    <a:gd name="connsiteY449" fmla="*/ 198011 h 286328"/>
                    <a:gd name="connsiteX450" fmla="*/ 146613 w 235436"/>
                    <a:gd name="connsiteY450" fmla="*/ 198137 h 286328"/>
                    <a:gd name="connsiteX451" fmla="*/ 146613 w 235436"/>
                    <a:gd name="connsiteY451" fmla="*/ 200523 h 286328"/>
                    <a:gd name="connsiteX452" fmla="*/ 143725 w 235436"/>
                    <a:gd name="connsiteY452" fmla="*/ 205296 h 286328"/>
                    <a:gd name="connsiteX453" fmla="*/ 142594 w 235436"/>
                    <a:gd name="connsiteY453" fmla="*/ 198891 h 286328"/>
                    <a:gd name="connsiteX454" fmla="*/ 142343 w 235436"/>
                    <a:gd name="connsiteY454" fmla="*/ 198137 h 286328"/>
                    <a:gd name="connsiteX455" fmla="*/ 144352 w 235436"/>
                    <a:gd name="connsiteY455" fmla="*/ 197258 h 286328"/>
                    <a:gd name="connsiteX456" fmla="*/ 145357 w 235436"/>
                    <a:gd name="connsiteY456" fmla="*/ 196881 h 286328"/>
                    <a:gd name="connsiteX457" fmla="*/ 145859 w 235436"/>
                    <a:gd name="connsiteY457" fmla="*/ 196253 h 286328"/>
                    <a:gd name="connsiteX458" fmla="*/ 145859 w 235436"/>
                    <a:gd name="connsiteY458" fmla="*/ 196253 h 286328"/>
                    <a:gd name="connsiteX459" fmla="*/ 70503 w 235436"/>
                    <a:gd name="connsiteY459" fmla="*/ 133833 h 286328"/>
                    <a:gd name="connsiteX460" fmla="*/ 62339 w 235436"/>
                    <a:gd name="connsiteY460" fmla="*/ 122780 h 286328"/>
                    <a:gd name="connsiteX461" fmla="*/ 56436 w 235436"/>
                    <a:gd name="connsiteY461" fmla="*/ 118259 h 286328"/>
                    <a:gd name="connsiteX462" fmla="*/ 54552 w 235436"/>
                    <a:gd name="connsiteY462" fmla="*/ 117128 h 286328"/>
                    <a:gd name="connsiteX463" fmla="*/ 52668 w 235436"/>
                    <a:gd name="connsiteY463" fmla="*/ 116500 h 286328"/>
                    <a:gd name="connsiteX464" fmla="*/ 49779 w 235436"/>
                    <a:gd name="connsiteY464" fmla="*/ 116375 h 286328"/>
                    <a:gd name="connsiteX465" fmla="*/ 45761 w 235436"/>
                    <a:gd name="connsiteY465" fmla="*/ 108462 h 286328"/>
                    <a:gd name="connsiteX466" fmla="*/ 41867 w 235436"/>
                    <a:gd name="connsiteY466" fmla="*/ 103439 h 286328"/>
                    <a:gd name="connsiteX467" fmla="*/ 39606 w 235436"/>
                    <a:gd name="connsiteY467" fmla="*/ 100927 h 286328"/>
                    <a:gd name="connsiteX468" fmla="*/ 37848 w 235436"/>
                    <a:gd name="connsiteY468" fmla="*/ 89372 h 286328"/>
                    <a:gd name="connsiteX469" fmla="*/ 46137 w 235436"/>
                    <a:gd name="connsiteY469" fmla="*/ 94270 h 286328"/>
                    <a:gd name="connsiteX470" fmla="*/ 48523 w 235436"/>
                    <a:gd name="connsiteY470" fmla="*/ 93893 h 286328"/>
                    <a:gd name="connsiteX471" fmla="*/ 53296 w 235436"/>
                    <a:gd name="connsiteY471" fmla="*/ 92512 h 286328"/>
                    <a:gd name="connsiteX472" fmla="*/ 62465 w 235436"/>
                    <a:gd name="connsiteY472" fmla="*/ 88116 h 286328"/>
                    <a:gd name="connsiteX473" fmla="*/ 65479 w 235436"/>
                    <a:gd name="connsiteY473" fmla="*/ 89246 h 286328"/>
                    <a:gd name="connsiteX474" fmla="*/ 64097 w 235436"/>
                    <a:gd name="connsiteY474" fmla="*/ 85102 h 286328"/>
                    <a:gd name="connsiteX475" fmla="*/ 62088 w 235436"/>
                    <a:gd name="connsiteY475" fmla="*/ 82590 h 286328"/>
                    <a:gd name="connsiteX476" fmla="*/ 70880 w 235436"/>
                    <a:gd name="connsiteY476" fmla="*/ 83595 h 286328"/>
                    <a:gd name="connsiteX477" fmla="*/ 70251 w 235436"/>
                    <a:gd name="connsiteY477" fmla="*/ 81836 h 286328"/>
                    <a:gd name="connsiteX478" fmla="*/ 67865 w 235436"/>
                    <a:gd name="connsiteY478" fmla="*/ 77064 h 286328"/>
                    <a:gd name="connsiteX479" fmla="*/ 66484 w 235436"/>
                    <a:gd name="connsiteY479" fmla="*/ 71161 h 286328"/>
                    <a:gd name="connsiteX480" fmla="*/ 63469 w 235436"/>
                    <a:gd name="connsiteY480" fmla="*/ 68398 h 286328"/>
                    <a:gd name="connsiteX481" fmla="*/ 58069 w 235436"/>
                    <a:gd name="connsiteY481" fmla="*/ 64630 h 286328"/>
                    <a:gd name="connsiteX482" fmla="*/ 57566 w 235436"/>
                    <a:gd name="connsiteY482" fmla="*/ 70156 h 286328"/>
                    <a:gd name="connsiteX483" fmla="*/ 54552 w 235436"/>
                    <a:gd name="connsiteY483" fmla="*/ 73296 h 286328"/>
                    <a:gd name="connsiteX484" fmla="*/ 52543 w 235436"/>
                    <a:gd name="connsiteY484" fmla="*/ 69654 h 286328"/>
                    <a:gd name="connsiteX485" fmla="*/ 49905 w 235436"/>
                    <a:gd name="connsiteY485" fmla="*/ 65132 h 286328"/>
                    <a:gd name="connsiteX486" fmla="*/ 54678 w 235436"/>
                    <a:gd name="connsiteY486" fmla="*/ 52824 h 286328"/>
                    <a:gd name="connsiteX487" fmla="*/ 58822 w 235436"/>
                    <a:gd name="connsiteY487" fmla="*/ 53577 h 286328"/>
                    <a:gd name="connsiteX488" fmla="*/ 58069 w 235436"/>
                    <a:gd name="connsiteY488" fmla="*/ 47675 h 286328"/>
                    <a:gd name="connsiteX489" fmla="*/ 55055 w 235436"/>
                    <a:gd name="connsiteY489" fmla="*/ 48930 h 286328"/>
                    <a:gd name="connsiteX490" fmla="*/ 55306 w 235436"/>
                    <a:gd name="connsiteY490" fmla="*/ 46293 h 286328"/>
                    <a:gd name="connsiteX491" fmla="*/ 54050 w 235436"/>
                    <a:gd name="connsiteY491" fmla="*/ 47172 h 286328"/>
                    <a:gd name="connsiteX492" fmla="*/ 52292 w 235436"/>
                    <a:gd name="connsiteY492" fmla="*/ 40641 h 286328"/>
                    <a:gd name="connsiteX493" fmla="*/ 51789 w 235436"/>
                    <a:gd name="connsiteY493" fmla="*/ 45037 h 286328"/>
                    <a:gd name="connsiteX494" fmla="*/ 49905 w 235436"/>
                    <a:gd name="connsiteY494" fmla="*/ 44158 h 286328"/>
                    <a:gd name="connsiteX495" fmla="*/ 44881 w 235436"/>
                    <a:gd name="connsiteY495" fmla="*/ 39636 h 286328"/>
                    <a:gd name="connsiteX496" fmla="*/ 42746 w 235436"/>
                    <a:gd name="connsiteY496" fmla="*/ 36371 h 286328"/>
                    <a:gd name="connsiteX497" fmla="*/ 43249 w 235436"/>
                    <a:gd name="connsiteY497" fmla="*/ 37878 h 286328"/>
                    <a:gd name="connsiteX498" fmla="*/ 42118 w 235436"/>
                    <a:gd name="connsiteY498" fmla="*/ 39511 h 286328"/>
                    <a:gd name="connsiteX499" fmla="*/ 41113 w 235436"/>
                    <a:gd name="connsiteY499" fmla="*/ 36748 h 286328"/>
                    <a:gd name="connsiteX500" fmla="*/ 38727 w 235436"/>
                    <a:gd name="connsiteY500" fmla="*/ 33608 h 286328"/>
                    <a:gd name="connsiteX501" fmla="*/ 32573 w 235436"/>
                    <a:gd name="connsiteY501" fmla="*/ 21802 h 286328"/>
                    <a:gd name="connsiteX502" fmla="*/ 20642 w 235436"/>
                    <a:gd name="connsiteY502" fmla="*/ 11252 h 286328"/>
                    <a:gd name="connsiteX503" fmla="*/ 11473 w 235436"/>
                    <a:gd name="connsiteY503" fmla="*/ 1204 h 286328"/>
                    <a:gd name="connsiteX504" fmla="*/ 5570 w 235436"/>
                    <a:gd name="connsiteY504" fmla="*/ 4344 h 286328"/>
                    <a:gd name="connsiteX505" fmla="*/ 6073 w 235436"/>
                    <a:gd name="connsiteY505" fmla="*/ 6856 h 286328"/>
                    <a:gd name="connsiteX506" fmla="*/ 2933 w 235436"/>
                    <a:gd name="connsiteY506" fmla="*/ 4093 h 286328"/>
                    <a:gd name="connsiteX507" fmla="*/ 547 w 235436"/>
                    <a:gd name="connsiteY507" fmla="*/ 3214 h 286328"/>
                    <a:gd name="connsiteX508" fmla="*/ 923 w 235436"/>
                    <a:gd name="connsiteY508" fmla="*/ 4847 h 286328"/>
                    <a:gd name="connsiteX509" fmla="*/ 1677 w 235436"/>
                    <a:gd name="connsiteY509" fmla="*/ 7359 h 286328"/>
                    <a:gd name="connsiteX510" fmla="*/ 3812 w 235436"/>
                    <a:gd name="connsiteY510" fmla="*/ 9745 h 286328"/>
                    <a:gd name="connsiteX511" fmla="*/ 7454 w 235436"/>
                    <a:gd name="connsiteY511" fmla="*/ 23184 h 286328"/>
                    <a:gd name="connsiteX512" fmla="*/ 11347 w 235436"/>
                    <a:gd name="connsiteY512" fmla="*/ 25821 h 286328"/>
                    <a:gd name="connsiteX513" fmla="*/ 14111 w 235436"/>
                    <a:gd name="connsiteY513" fmla="*/ 29840 h 286328"/>
                    <a:gd name="connsiteX514" fmla="*/ 15492 w 235436"/>
                    <a:gd name="connsiteY514" fmla="*/ 36497 h 286328"/>
                    <a:gd name="connsiteX515" fmla="*/ 20014 w 235436"/>
                    <a:gd name="connsiteY515" fmla="*/ 54959 h 286328"/>
                    <a:gd name="connsiteX516" fmla="*/ 18506 w 235436"/>
                    <a:gd name="connsiteY516" fmla="*/ 55210 h 286328"/>
                    <a:gd name="connsiteX517" fmla="*/ 20014 w 235436"/>
                    <a:gd name="connsiteY517" fmla="*/ 72542 h 286328"/>
                    <a:gd name="connsiteX518" fmla="*/ 23404 w 235436"/>
                    <a:gd name="connsiteY518" fmla="*/ 77692 h 286328"/>
                    <a:gd name="connsiteX519" fmla="*/ 36466 w 235436"/>
                    <a:gd name="connsiteY519" fmla="*/ 101555 h 286328"/>
                    <a:gd name="connsiteX520" fmla="*/ 43625 w 235436"/>
                    <a:gd name="connsiteY520" fmla="*/ 111351 h 286328"/>
                    <a:gd name="connsiteX521" fmla="*/ 47896 w 235436"/>
                    <a:gd name="connsiteY521" fmla="*/ 116249 h 286328"/>
                    <a:gd name="connsiteX522" fmla="*/ 49654 w 235436"/>
                    <a:gd name="connsiteY522" fmla="*/ 122529 h 286328"/>
                    <a:gd name="connsiteX523" fmla="*/ 47896 w 235436"/>
                    <a:gd name="connsiteY523" fmla="*/ 126297 h 286328"/>
                    <a:gd name="connsiteX524" fmla="*/ 47016 w 235436"/>
                    <a:gd name="connsiteY524" fmla="*/ 128934 h 286328"/>
                    <a:gd name="connsiteX525" fmla="*/ 55934 w 235436"/>
                    <a:gd name="connsiteY525" fmla="*/ 145764 h 286328"/>
                    <a:gd name="connsiteX526" fmla="*/ 56687 w 235436"/>
                    <a:gd name="connsiteY526" fmla="*/ 170381 h 286328"/>
                    <a:gd name="connsiteX527" fmla="*/ 56938 w 235436"/>
                    <a:gd name="connsiteY527" fmla="*/ 181182 h 286328"/>
                    <a:gd name="connsiteX528" fmla="*/ 58948 w 235436"/>
                    <a:gd name="connsiteY528" fmla="*/ 185578 h 286328"/>
                    <a:gd name="connsiteX529" fmla="*/ 60329 w 235436"/>
                    <a:gd name="connsiteY529" fmla="*/ 186206 h 286328"/>
                    <a:gd name="connsiteX530" fmla="*/ 61711 w 235436"/>
                    <a:gd name="connsiteY530" fmla="*/ 179423 h 286328"/>
                    <a:gd name="connsiteX531" fmla="*/ 62841 w 235436"/>
                    <a:gd name="connsiteY531" fmla="*/ 174776 h 286328"/>
                    <a:gd name="connsiteX532" fmla="*/ 62214 w 235436"/>
                    <a:gd name="connsiteY532" fmla="*/ 173144 h 286328"/>
                    <a:gd name="connsiteX533" fmla="*/ 64223 w 235436"/>
                    <a:gd name="connsiteY533" fmla="*/ 172139 h 286328"/>
                    <a:gd name="connsiteX534" fmla="*/ 67237 w 235436"/>
                    <a:gd name="connsiteY534" fmla="*/ 169250 h 286328"/>
                    <a:gd name="connsiteX535" fmla="*/ 70126 w 235436"/>
                    <a:gd name="connsiteY535" fmla="*/ 169627 h 286328"/>
                    <a:gd name="connsiteX536" fmla="*/ 77410 w 235436"/>
                    <a:gd name="connsiteY536" fmla="*/ 163096 h 286328"/>
                    <a:gd name="connsiteX537" fmla="*/ 81053 w 235436"/>
                    <a:gd name="connsiteY537" fmla="*/ 155560 h 286328"/>
                    <a:gd name="connsiteX538" fmla="*/ 79545 w 235436"/>
                    <a:gd name="connsiteY538" fmla="*/ 146141 h 286328"/>
                    <a:gd name="connsiteX539" fmla="*/ 75778 w 235436"/>
                    <a:gd name="connsiteY539" fmla="*/ 144006 h 286328"/>
                    <a:gd name="connsiteX540" fmla="*/ 70251 w 235436"/>
                    <a:gd name="connsiteY540" fmla="*/ 138480 h 286328"/>
                    <a:gd name="connsiteX541" fmla="*/ 70503 w 235436"/>
                    <a:gd name="connsiteY541" fmla="*/ 133833 h 286328"/>
                    <a:gd name="connsiteX542" fmla="*/ 70503 w 235436"/>
                    <a:gd name="connsiteY542" fmla="*/ 133833 h 286328"/>
                    <a:gd name="connsiteX543" fmla="*/ 199489 w 235436"/>
                    <a:gd name="connsiteY543" fmla="*/ 220367 h 286328"/>
                    <a:gd name="connsiteX544" fmla="*/ 199237 w 235436"/>
                    <a:gd name="connsiteY544" fmla="*/ 219865 h 286328"/>
                    <a:gd name="connsiteX545" fmla="*/ 198107 w 235436"/>
                    <a:gd name="connsiteY545" fmla="*/ 221623 h 286328"/>
                    <a:gd name="connsiteX546" fmla="*/ 198233 w 235436"/>
                    <a:gd name="connsiteY546" fmla="*/ 220619 h 286328"/>
                    <a:gd name="connsiteX547" fmla="*/ 197982 w 235436"/>
                    <a:gd name="connsiteY547" fmla="*/ 218358 h 286328"/>
                    <a:gd name="connsiteX548" fmla="*/ 200116 w 235436"/>
                    <a:gd name="connsiteY548" fmla="*/ 217102 h 286328"/>
                    <a:gd name="connsiteX549" fmla="*/ 202252 w 235436"/>
                    <a:gd name="connsiteY549" fmla="*/ 217981 h 286328"/>
                    <a:gd name="connsiteX550" fmla="*/ 200870 w 235436"/>
                    <a:gd name="connsiteY550" fmla="*/ 218232 h 286328"/>
                    <a:gd name="connsiteX551" fmla="*/ 199237 w 235436"/>
                    <a:gd name="connsiteY551" fmla="*/ 218860 h 286328"/>
                    <a:gd name="connsiteX552" fmla="*/ 199489 w 235436"/>
                    <a:gd name="connsiteY552" fmla="*/ 218483 h 286328"/>
                    <a:gd name="connsiteX553" fmla="*/ 199740 w 235436"/>
                    <a:gd name="connsiteY553" fmla="*/ 219614 h 286328"/>
                    <a:gd name="connsiteX554" fmla="*/ 200619 w 235436"/>
                    <a:gd name="connsiteY554" fmla="*/ 222000 h 286328"/>
                    <a:gd name="connsiteX555" fmla="*/ 199489 w 235436"/>
                    <a:gd name="connsiteY555" fmla="*/ 221623 h 286328"/>
                    <a:gd name="connsiteX556" fmla="*/ 199363 w 235436"/>
                    <a:gd name="connsiteY556" fmla="*/ 221247 h 286328"/>
                    <a:gd name="connsiteX557" fmla="*/ 199489 w 235436"/>
                    <a:gd name="connsiteY557" fmla="*/ 220367 h 286328"/>
                    <a:gd name="connsiteX558" fmla="*/ 199489 w 235436"/>
                    <a:gd name="connsiteY558" fmla="*/ 220367 h 286328"/>
                    <a:gd name="connsiteX559" fmla="*/ 194088 w 235436"/>
                    <a:gd name="connsiteY559" fmla="*/ 217604 h 286328"/>
                    <a:gd name="connsiteX560" fmla="*/ 192832 w 235436"/>
                    <a:gd name="connsiteY560" fmla="*/ 215846 h 286328"/>
                    <a:gd name="connsiteX561" fmla="*/ 191450 w 235436"/>
                    <a:gd name="connsiteY561" fmla="*/ 210948 h 286328"/>
                    <a:gd name="connsiteX562" fmla="*/ 192706 w 235436"/>
                    <a:gd name="connsiteY562" fmla="*/ 210948 h 286328"/>
                    <a:gd name="connsiteX563" fmla="*/ 196223 w 235436"/>
                    <a:gd name="connsiteY563" fmla="*/ 209315 h 286328"/>
                    <a:gd name="connsiteX564" fmla="*/ 197228 w 235436"/>
                    <a:gd name="connsiteY564" fmla="*/ 210822 h 286328"/>
                    <a:gd name="connsiteX565" fmla="*/ 197479 w 235436"/>
                    <a:gd name="connsiteY565" fmla="*/ 212078 h 286328"/>
                    <a:gd name="connsiteX566" fmla="*/ 196977 w 235436"/>
                    <a:gd name="connsiteY566" fmla="*/ 211953 h 286328"/>
                    <a:gd name="connsiteX567" fmla="*/ 197102 w 235436"/>
                    <a:gd name="connsiteY567" fmla="*/ 214213 h 286328"/>
                    <a:gd name="connsiteX568" fmla="*/ 196097 w 235436"/>
                    <a:gd name="connsiteY568" fmla="*/ 217604 h 286328"/>
                    <a:gd name="connsiteX569" fmla="*/ 195218 w 235436"/>
                    <a:gd name="connsiteY569" fmla="*/ 217604 h 286328"/>
                    <a:gd name="connsiteX570" fmla="*/ 194842 w 235436"/>
                    <a:gd name="connsiteY570" fmla="*/ 218107 h 286328"/>
                    <a:gd name="connsiteX571" fmla="*/ 194088 w 235436"/>
                    <a:gd name="connsiteY571" fmla="*/ 217604 h 286328"/>
                    <a:gd name="connsiteX572" fmla="*/ 194088 w 235436"/>
                    <a:gd name="connsiteY572" fmla="*/ 217604 h 286328"/>
                    <a:gd name="connsiteX573" fmla="*/ 200870 w 235436"/>
                    <a:gd name="connsiteY573" fmla="*/ 227526 h 286328"/>
                    <a:gd name="connsiteX574" fmla="*/ 203633 w 235436"/>
                    <a:gd name="connsiteY574" fmla="*/ 227652 h 286328"/>
                    <a:gd name="connsiteX575" fmla="*/ 200870 w 235436"/>
                    <a:gd name="connsiteY575" fmla="*/ 227526 h 286328"/>
                    <a:gd name="connsiteX576" fmla="*/ 200870 w 235436"/>
                    <a:gd name="connsiteY576" fmla="*/ 227526 h 286328"/>
                    <a:gd name="connsiteX577" fmla="*/ 220086 w 235436"/>
                    <a:gd name="connsiteY577" fmla="*/ 234560 h 286328"/>
                    <a:gd name="connsiteX578" fmla="*/ 220840 w 235436"/>
                    <a:gd name="connsiteY578" fmla="*/ 234936 h 286328"/>
                    <a:gd name="connsiteX579" fmla="*/ 221845 w 235436"/>
                    <a:gd name="connsiteY579" fmla="*/ 234936 h 286328"/>
                    <a:gd name="connsiteX580" fmla="*/ 218956 w 235436"/>
                    <a:gd name="connsiteY580" fmla="*/ 234183 h 286328"/>
                    <a:gd name="connsiteX581" fmla="*/ 220086 w 235436"/>
                    <a:gd name="connsiteY581" fmla="*/ 234560 h 286328"/>
                    <a:gd name="connsiteX582" fmla="*/ 220086 w 235436"/>
                    <a:gd name="connsiteY582" fmla="*/ 234560 h 286328"/>
                    <a:gd name="connsiteX583" fmla="*/ 211295 w 235436"/>
                    <a:gd name="connsiteY583" fmla="*/ 266712 h 286328"/>
                    <a:gd name="connsiteX584" fmla="*/ 211922 w 235436"/>
                    <a:gd name="connsiteY584" fmla="*/ 271233 h 286328"/>
                    <a:gd name="connsiteX585" fmla="*/ 213681 w 235436"/>
                    <a:gd name="connsiteY585" fmla="*/ 268721 h 286328"/>
                    <a:gd name="connsiteX586" fmla="*/ 212425 w 235436"/>
                    <a:gd name="connsiteY586" fmla="*/ 268219 h 286328"/>
                    <a:gd name="connsiteX587" fmla="*/ 211295 w 235436"/>
                    <a:gd name="connsiteY587" fmla="*/ 266712 h 286328"/>
                    <a:gd name="connsiteX588" fmla="*/ 211295 w 235436"/>
                    <a:gd name="connsiteY588" fmla="*/ 266712 h 286328"/>
                    <a:gd name="connsiteX589" fmla="*/ 188059 w 235436"/>
                    <a:gd name="connsiteY589" fmla="*/ 216474 h 286328"/>
                    <a:gd name="connsiteX590" fmla="*/ 191702 w 235436"/>
                    <a:gd name="connsiteY590" fmla="*/ 218735 h 286328"/>
                    <a:gd name="connsiteX591" fmla="*/ 191827 w 235436"/>
                    <a:gd name="connsiteY591" fmla="*/ 218358 h 286328"/>
                    <a:gd name="connsiteX592" fmla="*/ 194088 w 235436"/>
                    <a:gd name="connsiteY592" fmla="*/ 220995 h 286328"/>
                    <a:gd name="connsiteX593" fmla="*/ 194339 w 235436"/>
                    <a:gd name="connsiteY593" fmla="*/ 221875 h 286328"/>
                    <a:gd name="connsiteX594" fmla="*/ 188059 w 235436"/>
                    <a:gd name="connsiteY594" fmla="*/ 216474 h 286328"/>
                    <a:gd name="connsiteX595" fmla="*/ 188059 w 235436"/>
                    <a:gd name="connsiteY595" fmla="*/ 216474 h 286328"/>
                    <a:gd name="connsiteX596" fmla="*/ 232897 w 235436"/>
                    <a:gd name="connsiteY596" fmla="*/ 276131 h 286328"/>
                    <a:gd name="connsiteX597" fmla="*/ 231767 w 235436"/>
                    <a:gd name="connsiteY597" fmla="*/ 279271 h 286328"/>
                    <a:gd name="connsiteX598" fmla="*/ 232394 w 235436"/>
                    <a:gd name="connsiteY598" fmla="*/ 280904 h 286328"/>
                    <a:gd name="connsiteX599" fmla="*/ 232018 w 235436"/>
                    <a:gd name="connsiteY599" fmla="*/ 282914 h 286328"/>
                    <a:gd name="connsiteX600" fmla="*/ 234153 w 235436"/>
                    <a:gd name="connsiteY600" fmla="*/ 281030 h 286328"/>
                    <a:gd name="connsiteX601" fmla="*/ 235409 w 235436"/>
                    <a:gd name="connsiteY601" fmla="*/ 280025 h 286328"/>
                    <a:gd name="connsiteX602" fmla="*/ 233902 w 235436"/>
                    <a:gd name="connsiteY602" fmla="*/ 278895 h 286328"/>
                    <a:gd name="connsiteX603" fmla="*/ 233274 w 235436"/>
                    <a:gd name="connsiteY603" fmla="*/ 275880 h 286328"/>
                    <a:gd name="connsiteX604" fmla="*/ 232897 w 235436"/>
                    <a:gd name="connsiteY604" fmla="*/ 276131 h 286328"/>
                    <a:gd name="connsiteX605" fmla="*/ 232897 w 235436"/>
                    <a:gd name="connsiteY605" fmla="*/ 276131 h 286328"/>
                    <a:gd name="connsiteX606" fmla="*/ 231264 w 235436"/>
                    <a:gd name="connsiteY606" fmla="*/ 282788 h 286328"/>
                    <a:gd name="connsiteX607" fmla="*/ 229631 w 235436"/>
                    <a:gd name="connsiteY607" fmla="*/ 283667 h 286328"/>
                    <a:gd name="connsiteX608" fmla="*/ 229631 w 235436"/>
                    <a:gd name="connsiteY608" fmla="*/ 284421 h 286328"/>
                    <a:gd name="connsiteX609" fmla="*/ 225361 w 235436"/>
                    <a:gd name="connsiteY609" fmla="*/ 285425 h 286328"/>
                    <a:gd name="connsiteX610" fmla="*/ 229129 w 235436"/>
                    <a:gd name="connsiteY610" fmla="*/ 281406 h 286328"/>
                    <a:gd name="connsiteX611" fmla="*/ 230636 w 235436"/>
                    <a:gd name="connsiteY611" fmla="*/ 281532 h 286328"/>
                    <a:gd name="connsiteX612" fmla="*/ 231264 w 235436"/>
                    <a:gd name="connsiteY612" fmla="*/ 282788 h 286328"/>
                    <a:gd name="connsiteX613" fmla="*/ 231264 w 235436"/>
                    <a:gd name="connsiteY613" fmla="*/ 282788 h 286328"/>
                    <a:gd name="connsiteX614" fmla="*/ 213681 w 235436"/>
                    <a:gd name="connsiteY614" fmla="*/ 228531 h 286328"/>
                    <a:gd name="connsiteX615" fmla="*/ 217072 w 235436"/>
                    <a:gd name="connsiteY615" fmla="*/ 233052 h 286328"/>
                    <a:gd name="connsiteX616" fmla="*/ 218202 w 235436"/>
                    <a:gd name="connsiteY616" fmla="*/ 234936 h 286328"/>
                    <a:gd name="connsiteX617" fmla="*/ 219458 w 235436"/>
                    <a:gd name="connsiteY617" fmla="*/ 237699 h 286328"/>
                    <a:gd name="connsiteX618" fmla="*/ 219458 w 235436"/>
                    <a:gd name="connsiteY618" fmla="*/ 238202 h 286328"/>
                    <a:gd name="connsiteX619" fmla="*/ 220463 w 235436"/>
                    <a:gd name="connsiteY619" fmla="*/ 239332 h 286328"/>
                    <a:gd name="connsiteX620" fmla="*/ 216193 w 235436"/>
                    <a:gd name="connsiteY620" fmla="*/ 234183 h 286328"/>
                    <a:gd name="connsiteX621" fmla="*/ 215439 w 235436"/>
                    <a:gd name="connsiteY621" fmla="*/ 234308 h 286328"/>
                    <a:gd name="connsiteX622" fmla="*/ 215314 w 235436"/>
                    <a:gd name="connsiteY622" fmla="*/ 235062 h 286328"/>
                    <a:gd name="connsiteX623" fmla="*/ 212802 w 235436"/>
                    <a:gd name="connsiteY623" fmla="*/ 232676 h 286328"/>
                    <a:gd name="connsiteX624" fmla="*/ 211922 w 235436"/>
                    <a:gd name="connsiteY624" fmla="*/ 230917 h 286328"/>
                    <a:gd name="connsiteX625" fmla="*/ 208657 w 235436"/>
                    <a:gd name="connsiteY625" fmla="*/ 226270 h 286328"/>
                    <a:gd name="connsiteX626" fmla="*/ 207652 w 235436"/>
                    <a:gd name="connsiteY626" fmla="*/ 225517 h 286328"/>
                    <a:gd name="connsiteX627" fmla="*/ 208531 w 235436"/>
                    <a:gd name="connsiteY627" fmla="*/ 225140 h 286328"/>
                    <a:gd name="connsiteX628" fmla="*/ 207275 w 235436"/>
                    <a:gd name="connsiteY628" fmla="*/ 224386 h 286328"/>
                    <a:gd name="connsiteX629" fmla="*/ 207024 w 235436"/>
                    <a:gd name="connsiteY629" fmla="*/ 223633 h 286328"/>
                    <a:gd name="connsiteX630" fmla="*/ 208783 w 235436"/>
                    <a:gd name="connsiteY630" fmla="*/ 224889 h 286328"/>
                    <a:gd name="connsiteX631" fmla="*/ 210290 w 235436"/>
                    <a:gd name="connsiteY631" fmla="*/ 226396 h 286328"/>
                    <a:gd name="connsiteX632" fmla="*/ 213681 w 235436"/>
                    <a:gd name="connsiteY632" fmla="*/ 228531 h 286328"/>
                    <a:gd name="connsiteX633" fmla="*/ 213681 w 235436"/>
                    <a:gd name="connsiteY633" fmla="*/ 228531 h 286328"/>
                    <a:gd name="connsiteX634" fmla="*/ 187432 w 235436"/>
                    <a:gd name="connsiteY634" fmla="*/ 215092 h 286328"/>
                    <a:gd name="connsiteX635" fmla="*/ 181780 w 235436"/>
                    <a:gd name="connsiteY635" fmla="*/ 202910 h 286328"/>
                    <a:gd name="connsiteX636" fmla="*/ 183036 w 235436"/>
                    <a:gd name="connsiteY636" fmla="*/ 203412 h 286328"/>
                    <a:gd name="connsiteX637" fmla="*/ 185547 w 235436"/>
                    <a:gd name="connsiteY637" fmla="*/ 207305 h 286328"/>
                    <a:gd name="connsiteX638" fmla="*/ 187055 w 235436"/>
                    <a:gd name="connsiteY638" fmla="*/ 209692 h 286328"/>
                    <a:gd name="connsiteX639" fmla="*/ 187557 w 235436"/>
                    <a:gd name="connsiteY639" fmla="*/ 211073 h 286328"/>
                    <a:gd name="connsiteX640" fmla="*/ 187808 w 235436"/>
                    <a:gd name="connsiteY640" fmla="*/ 212329 h 286328"/>
                    <a:gd name="connsiteX641" fmla="*/ 188436 w 235436"/>
                    <a:gd name="connsiteY641" fmla="*/ 215720 h 286328"/>
                    <a:gd name="connsiteX642" fmla="*/ 187432 w 235436"/>
                    <a:gd name="connsiteY642" fmla="*/ 215092 h 286328"/>
                    <a:gd name="connsiteX643" fmla="*/ 187432 w 235436"/>
                    <a:gd name="connsiteY643" fmla="*/ 215092 h 286328"/>
                    <a:gd name="connsiteX644" fmla="*/ 209285 w 235436"/>
                    <a:gd name="connsiteY644" fmla="*/ 236946 h 286328"/>
                    <a:gd name="connsiteX645" fmla="*/ 212048 w 235436"/>
                    <a:gd name="connsiteY645" fmla="*/ 241342 h 286328"/>
                    <a:gd name="connsiteX646" fmla="*/ 214686 w 235436"/>
                    <a:gd name="connsiteY646" fmla="*/ 237448 h 286328"/>
                    <a:gd name="connsiteX647" fmla="*/ 215690 w 235436"/>
                    <a:gd name="connsiteY647" fmla="*/ 240211 h 286328"/>
                    <a:gd name="connsiteX648" fmla="*/ 217072 w 235436"/>
                    <a:gd name="connsiteY648" fmla="*/ 246114 h 286328"/>
                    <a:gd name="connsiteX649" fmla="*/ 218705 w 235436"/>
                    <a:gd name="connsiteY649" fmla="*/ 250008 h 286328"/>
                    <a:gd name="connsiteX650" fmla="*/ 219332 w 235436"/>
                    <a:gd name="connsiteY650" fmla="*/ 251640 h 286328"/>
                    <a:gd name="connsiteX651" fmla="*/ 216318 w 235436"/>
                    <a:gd name="connsiteY651" fmla="*/ 264451 h 286328"/>
                    <a:gd name="connsiteX652" fmla="*/ 214183 w 235436"/>
                    <a:gd name="connsiteY652" fmla="*/ 265330 h 286328"/>
                    <a:gd name="connsiteX653" fmla="*/ 212676 w 235436"/>
                    <a:gd name="connsiteY653" fmla="*/ 264702 h 286328"/>
                    <a:gd name="connsiteX654" fmla="*/ 212299 w 235436"/>
                    <a:gd name="connsiteY654" fmla="*/ 264451 h 286328"/>
                    <a:gd name="connsiteX655" fmla="*/ 212048 w 235436"/>
                    <a:gd name="connsiteY655" fmla="*/ 263949 h 286328"/>
                    <a:gd name="connsiteX656" fmla="*/ 206019 w 235436"/>
                    <a:gd name="connsiteY656" fmla="*/ 252771 h 286328"/>
                    <a:gd name="connsiteX657" fmla="*/ 201498 w 235436"/>
                    <a:gd name="connsiteY657" fmla="*/ 249505 h 286328"/>
                    <a:gd name="connsiteX658" fmla="*/ 198860 w 235436"/>
                    <a:gd name="connsiteY658" fmla="*/ 248626 h 286328"/>
                    <a:gd name="connsiteX659" fmla="*/ 195470 w 235436"/>
                    <a:gd name="connsiteY659" fmla="*/ 247747 h 286328"/>
                    <a:gd name="connsiteX660" fmla="*/ 192455 w 235436"/>
                    <a:gd name="connsiteY660" fmla="*/ 245110 h 286328"/>
                    <a:gd name="connsiteX661" fmla="*/ 192832 w 235436"/>
                    <a:gd name="connsiteY661" fmla="*/ 237825 h 286328"/>
                    <a:gd name="connsiteX662" fmla="*/ 192581 w 235436"/>
                    <a:gd name="connsiteY662" fmla="*/ 235188 h 286328"/>
                    <a:gd name="connsiteX663" fmla="*/ 197228 w 235436"/>
                    <a:gd name="connsiteY663" fmla="*/ 234308 h 286328"/>
                    <a:gd name="connsiteX664" fmla="*/ 199991 w 235436"/>
                    <a:gd name="connsiteY664" fmla="*/ 232801 h 286328"/>
                    <a:gd name="connsiteX665" fmla="*/ 200368 w 235436"/>
                    <a:gd name="connsiteY665" fmla="*/ 232801 h 286328"/>
                    <a:gd name="connsiteX666" fmla="*/ 201121 w 235436"/>
                    <a:gd name="connsiteY666" fmla="*/ 233555 h 286328"/>
                    <a:gd name="connsiteX667" fmla="*/ 201247 w 235436"/>
                    <a:gd name="connsiteY667" fmla="*/ 232676 h 286328"/>
                    <a:gd name="connsiteX668" fmla="*/ 203508 w 235436"/>
                    <a:gd name="connsiteY668" fmla="*/ 233304 h 286328"/>
                    <a:gd name="connsiteX669" fmla="*/ 204261 w 235436"/>
                    <a:gd name="connsiteY669" fmla="*/ 234057 h 286328"/>
                    <a:gd name="connsiteX670" fmla="*/ 204638 w 235436"/>
                    <a:gd name="connsiteY670" fmla="*/ 233680 h 286328"/>
                    <a:gd name="connsiteX671" fmla="*/ 207150 w 235436"/>
                    <a:gd name="connsiteY671" fmla="*/ 233178 h 286328"/>
                    <a:gd name="connsiteX672" fmla="*/ 207024 w 235436"/>
                    <a:gd name="connsiteY672" fmla="*/ 232424 h 286328"/>
                    <a:gd name="connsiteX673" fmla="*/ 209788 w 235436"/>
                    <a:gd name="connsiteY673" fmla="*/ 234685 h 286328"/>
                    <a:gd name="connsiteX674" fmla="*/ 209285 w 235436"/>
                    <a:gd name="connsiteY674" fmla="*/ 236946 h 286328"/>
                    <a:gd name="connsiteX675" fmla="*/ 209285 w 235436"/>
                    <a:gd name="connsiteY675" fmla="*/ 236946 h 286328"/>
                    <a:gd name="connsiteX676" fmla="*/ 99139 w 235436"/>
                    <a:gd name="connsiteY676" fmla="*/ 61992 h 286328"/>
                    <a:gd name="connsiteX677" fmla="*/ 85072 w 235436"/>
                    <a:gd name="connsiteY677" fmla="*/ 75933 h 286328"/>
                    <a:gd name="connsiteX678" fmla="*/ 82183 w 235436"/>
                    <a:gd name="connsiteY678" fmla="*/ 79701 h 286328"/>
                    <a:gd name="connsiteX679" fmla="*/ 81555 w 235436"/>
                    <a:gd name="connsiteY679" fmla="*/ 81460 h 286328"/>
                    <a:gd name="connsiteX680" fmla="*/ 79922 w 235436"/>
                    <a:gd name="connsiteY680" fmla="*/ 78696 h 286328"/>
                    <a:gd name="connsiteX681" fmla="*/ 77787 w 235436"/>
                    <a:gd name="connsiteY681" fmla="*/ 72668 h 286328"/>
                    <a:gd name="connsiteX682" fmla="*/ 77913 w 235436"/>
                    <a:gd name="connsiteY682" fmla="*/ 60360 h 286328"/>
                    <a:gd name="connsiteX683" fmla="*/ 78164 w 235436"/>
                    <a:gd name="connsiteY683" fmla="*/ 58225 h 286328"/>
                    <a:gd name="connsiteX684" fmla="*/ 75024 w 235436"/>
                    <a:gd name="connsiteY684" fmla="*/ 47423 h 286328"/>
                    <a:gd name="connsiteX685" fmla="*/ 72387 w 235436"/>
                    <a:gd name="connsiteY685" fmla="*/ 39888 h 286328"/>
                    <a:gd name="connsiteX686" fmla="*/ 78038 w 235436"/>
                    <a:gd name="connsiteY686" fmla="*/ 40516 h 286328"/>
                    <a:gd name="connsiteX687" fmla="*/ 79043 w 235436"/>
                    <a:gd name="connsiteY687" fmla="*/ 38255 h 286328"/>
                    <a:gd name="connsiteX688" fmla="*/ 79922 w 235436"/>
                    <a:gd name="connsiteY688" fmla="*/ 39134 h 286328"/>
                    <a:gd name="connsiteX689" fmla="*/ 82183 w 235436"/>
                    <a:gd name="connsiteY689" fmla="*/ 37753 h 286328"/>
                    <a:gd name="connsiteX690" fmla="*/ 82685 w 235436"/>
                    <a:gd name="connsiteY690" fmla="*/ 38255 h 286328"/>
                    <a:gd name="connsiteX691" fmla="*/ 85825 w 235436"/>
                    <a:gd name="connsiteY691" fmla="*/ 39260 h 286328"/>
                    <a:gd name="connsiteX692" fmla="*/ 85323 w 235436"/>
                    <a:gd name="connsiteY692" fmla="*/ 41646 h 286328"/>
                    <a:gd name="connsiteX693" fmla="*/ 86704 w 235436"/>
                    <a:gd name="connsiteY693" fmla="*/ 42148 h 286328"/>
                    <a:gd name="connsiteX694" fmla="*/ 89216 w 235436"/>
                    <a:gd name="connsiteY694" fmla="*/ 41395 h 286328"/>
                    <a:gd name="connsiteX695" fmla="*/ 90221 w 235436"/>
                    <a:gd name="connsiteY695" fmla="*/ 42525 h 286328"/>
                    <a:gd name="connsiteX696" fmla="*/ 90723 w 235436"/>
                    <a:gd name="connsiteY696" fmla="*/ 40892 h 286328"/>
                    <a:gd name="connsiteX697" fmla="*/ 92482 w 235436"/>
                    <a:gd name="connsiteY697" fmla="*/ 42525 h 286328"/>
                    <a:gd name="connsiteX698" fmla="*/ 94114 w 235436"/>
                    <a:gd name="connsiteY698" fmla="*/ 42023 h 286328"/>
                    <a:gd name="connsiteX699" fmla="*/ 98385 w 235436"/>
                    <a:gd name="connsiteY699" fmla="*/ 45916 h 286328"/>
                    <a:gd name="connsiteX700" fmla="*/ 95119 w 235436"/>
                    <a:gd name="connsiteY700" fmla="*/ 45288 h 286328"/>
                    <a:gd name="connsiteX701" fmla="*/ 96501 w 235436"/>
                    <a:gd name="connsiteY701" fmla="*/ 45791 h 286328"/>
                    <a:gd name="connsiteX702" fmla="*/ 99264 w 235436"/>
                    <a:gd name="connsiteY702" fmla="*/ 48428 h 286328"/>
                    <a:gd name="connsiteX703" fmla="*/ 100646 w 235436"/>
                    <a:gd name="connsiteY703" fmla="*/ 50061 h 286328"/>
                    <a:gd name="connsiteX704" fmla="*/ 95621 w 235436"/>
                    <a:gd name="connsiteY704" fmla="*/ 48805 h 286328"/>
                    <a:gd name="connsiteX705" fmla="*/ 98636 w 235436"/>
                    <a:gd name="connsiteY705" fmla="*/ 51066 h 286328"/>
                    <a:gd name="connsiteX706" fmla="*/ 98887 w 235436"/>
                    <a:gd name="connsiteY706" fmla="*/ 52322 h 286328"/>
                    <a:gd name="connsiteX707" fmla="*/ 100394 w 235436"/>
                    <a:gd name="connsiteY707" fmla="*/ 52322 h 286328"/>
                    <a:gd name="connsiteX708" fmla="*/ 97506 w 235436"/>
                    <a:gd name="connsiteY708" fmla="*/ 54582 h 286328"/>
                    <a:gd name="connsiteX709" fmla="*/ 101022 w 235436"/>
                    <a:gd name="connsiteY709" fmla="*/ 53954 h 286328"/>
                    <a:gd name="connsiteX710" fmla="*/ 102027 w 235436"/>
                    <a:gd name="connsiteY710" fmla="*/ 54205 h 286328"/>
                    <a:gd name="connsiteX711" fmla="*/ 104664 w 235436"/>
                    <a:gd name="connsiteY711" fmla="*/ 57345 h 286328"/>
                    <a:gd name="connsiteX712" fmla="*/ 100269 w 235436"/>
                    <a:gd name="connsiteY712" fmla="*/ 57848 h 286328"/>
                    <a:gd name="connsiteX713" fmla="*/ 101148 w 235436"/>
                    <a:gd name="connsiteY713" fmla="*/ 59355 h 286328"/>
                    <a:gd name="connsiteX714" fmla="*/ 99139 w 235436"/>
                    <a:gd name="connsiteY714" fmla="*/ 61992 h 286328"/>
                    <a:gd name="connsiteX715" fmla="*/ 99139 w 235436"/>
                    <a:gd name="connsiteY715" fmla="*/ 61992 h 286328"/>
                    <a:gd name="connsiteX716" fmla="*/ 59827 w 235436"/>
                    <a:gd name="connsiteY716" fmla="*/ 28207 h 286328"/>
                    <a:gd name="connsiteX717" fmla="*/ 60958 w 235436"/>
                    <a:gd name="connsiteY717" fmla="*/ 28207 h 286328"/>
                    <a:gd name="connsiteX718" fmla="*/ 59827 w 235436"/>
                    <a:gd name="connsiteY718" fmla="*/ 28207 h 286328"/>
                    <a:gd name="connsiteX719" fmla="*/ 59827 w 235436"/>
                    <a:gd name="connsiteY719" fmla="*/ 28207 h 286328"/>
                    <a:gd name="connsiteX720" fmla="*/ 55431 w 235436"/>
                    <a:gd name="connsiteY720" fmla="*/ 28584 h 286328"/>
                    <a:gd name="connsiteX721" fmla="*/ 54803 w 235436"/>
                    <a:gd name="connsiteY721" fmla="*/ 32226 h 286328"/>
                    <a:gd name="connsiteX722" fmla="*/ 54803 w 235436"/>
                    <a:gd name="connsiteY722" fmla="*/ 30594 h 286328"/>
                    <a:gd name="connsiteX723" fmla="*/ 55431 w 235436"/>
                    <a:gd name="connsiteY723" fmla="*/ 28584 h 286328"/>
                    <a:gd name="connsiteX724" fmla="*/ 55431 w 235436"/>
                    <a:gd name="connsiteY724" fmla="*/ 28584 h 286328"/>
                    <a:gd name="connsiteX725" fmla="*/ 56938 w 235436"/>
                    <a:gd name="connsiteY725" fmla="*/ 22179 h 286328"/>
                    <a:gd name="connsiteX726" fmla="*/ 59199 w 235436"/>
                    <a:gd name="connsiteY726" fmla="*/ 24691 h 286328"/>
                    <a:gd name="connsiteX727" fmla="*/ 57692 w 235436"/>
                    <a:gd name="connsiteY727" fmla="*/ 25821 h 286328"/>
                    <a:gd name="connsiteX728" fmla="*/ 57566 w 235436"/>
                    <a:gd name="connsiteY728" fmla="*/ 22932 h 286328"/>
                    <a:gd name="connsiteX729" fmla="*/ 56938 w 235436"/>
                    <a:gd name="connsiteY729" fmla="*/ 22179 h 286328"/>
                    <a:gd name="connsiteX730" fmla="*/ 56938 w 235436"/>
                    <a:gd name="connsiteY730" fmla="*/ 22179 h 286328"/>
                    <a:gd name="connsiteX731" fmla="*/ 54426 w 235436"/>
                    <a:gd name="connsiteY731" fmla="*/ 55336 h 286328"/>
                    <a:gd name="connsiteX732" fmla="*/ 56185 w 235436"/>
                    <a:gd name="connsiteY732" fmla="*/ 54331 h 286328"/>
                    <a:gd name="connsiteX733" fmla="*/ 56813 w 235436"/>
                    <a:gd name="connsiteY733" fmla="*/ 57471 h 286328"/>
                    <a:gd name="connsiteX734" fmla="*/ 54426 w 235436"/>
                    <a:gd name="connsiteY734" fmla="*/ 55336 h 286328"/>
                    <a:gd name="connsiteX735" fmla="*/ 54426 w 235436"/>
                    <a:gd name="connsiteY735" fmla="*/ 55336 h 286328"/>
                    <a:gd name="connsiteX736" fmla="*/ 42998 w 235436"/>
                    <a:gd name="connsiteY736" fmla="*/ 17406 h 286328"/>
                    <a:gd name="connsiteX737" fmla="*/ 47770 w 235436"/>
                    <a:gd name="connsiteY737" fmla="*/ 19290 h 286328"/>
                    <a:gd name="connsiteX738" fmla="*/ 45258 w 235436"/>
                    <a:gd name="connsiteY738" fmla="*/ 19416 h 286328"/>
                    <a:gd name="connsiteX739" fmla="*/ 42998 w 235436"/>
                    <a:gd name="connsiteY739" fmla="*/ 17406 h 286328"/>
                    <a:gd name="connsiteX740" fmla="*/ 42998 w 235436"/>
                    <a:gd name="connsiteY740" fmla="*/ 17406 h 286328"/>
                    <a:gd name="connsiteX741" fmla="*/ 67740 w 235436"/>
                    <a:gd name="connsiteY741" fmla="*/ 88242 h 286328"/>
                    <a:gd name="connsiteX742" fmla="*/ 68242 w 235436"/>
                    <a:gd name="connsiteY742" fmla="*/ 87865 h 286328"/>
                    <a:gd name="connsiteX743" fmla="*/ 72512 w 235436"/>
                    <a:gd name="connsiteY743" fmla="*/ 89498 h 286328"/>
                    <a:gd name="connsiteX744" fmla="*/ 72387 w 235436"/>
                    <a:gd name="connsiteY744" fmla="*/ 92261 h 286328"/>
                    <a:gd name="connsiteX745" fmla="*/ 71508 w 235436"/>
                    <a:gd name="connsiteY745" fmla="*/ 90628 h 286328"/>
                    <a:gd name="connsiteX746" fmla="*/ 67740 w 235436"/>
                    <a:gd name="connsiteY746" fmla="*/ 88242 h 286328"/>
                    <a:gd name="connsiteX747" fmla="*/ 67740 w 235436"/>
                    <a:gd name="connsiteY747" fmla="*/ 88242 h 286328"/>
                    <a:gd name="connsiteX748" fmla="*/ 52794 w 235436"/>
                    <a:gd name="connsiteY748" fmla="*/ 33357 h 286328"/>
                    <a:gd name="connsiteX749" fmla="*/ 53548 w 235436"/>
                    <a:gd name="connsiteY749" fmla="*/ 36873 h 286328"/>
                    <a:gd name="connsiteX750" fmla="*/ 51789 w 235436"/>
                    <a:gd name="connsiteY750" fmla="*/ 37753 h 286328"/>
                    <a:gd name="connsiteX751" fmla="*/ 51035 w 235436"/>
                    <a:gd name="connsiteY751" fmla="*/ 33482 h 286328"/>
                    <a:gd name="connsiteX752" fmla="*/ 52794 w 235436"/>
                    <a:gd name="connsiteY752" fmla="*/ 33357 h 286328"/>
                    <a:gd name="connsiteX753" fmla="*/ 52794 w 235436"/>
                    <a:gd name="connsiteY753" fmla="*/ 33357 h 286328"/>
                    <a:gd name="connsiteX754" fmla="*/ 46137 w 235436"/>
                    <a:gd name="connsiteY754" fmla="*/ 20923 h 286328"/>
                    <a:gd name="connsiteX755" fmla="*/ 48649 w 235436"/>
                    <a:gd name="connsiteY755" fmla="*/ 23560 h 286328"/>
                    <a:gd name="connsiteX756" fmla="*/ 50156 w 235436"/>
                    <a:gd name="connsiteY756" fmla="*/ 23686 h 286328"/>
                    <a:gd name="connsiteX757" fmla="*/ 51287 w 235436"/>
                    <a:gd name="connsiteY757" fmla="*/ 26072 h 286328"/>
                    <a:gd name="connsiteX758" fmla="*/ 50031 w 235436"/>
                    <a:gd name="connsiteY758" fmla="*/ 27831 h 286328"/>
                    <a:gd name="connsiteX759" fmla="*/ 46891 w 235436"/>
                    <a:gd name="connsiteY759" fmla="*/ 24816 h 286328"/>
                    <a:gd name="connsiteX760" fmla="*/ 45635 w 235436"/>
                    <a:gd name="connsiteY760" fmla="*/ 23184 h 286328"/>
                    <a:gd name="connsiteX761" fmla="*/ 46137 w 235436"/>
                    <a:gd name="connsiteY761" fmla="*/ 20923 h 286328"/>
                    <a:gd name="connsiteX762" fmla="*/ 46137 w 235436"/>
                    <a:gd name="connsiteY762" fmla="*/ 20923 h 286328"/>
                    <a:gd name="connsiteX763" fmla="*/ 59702 w 235436"/>
                    <a:gd name="connsiteY763" fmla="*/ 33357 h 286328"/>
                    <a:gd name="connsiteX764" fmla="*/ 60958 w 235436"/>
                    <a:gd name="connsiteY764" fmla="*/ 35115 h 286328"/>
                    <a:gd name="connsiteX765" fmla="*/ 65353 w 235436"/>
                    <a:gd name="connsiteY765" fmla="*/ 41772 h 286328"/>
                    <a:gd name="connsiteX766" fmla="*/ 61711 w 235436"/>
                    <a:gd name="connsiteY766" fmla="*/ 39762 h 286328"/>
                    <a:gd name="connsiteX767" fmla="*/ 59702 w 235436"/>
                    <a:gd name="connsiteY767" fmla="*/ 33357 h 286328"/>
                    <a:gd name="connsiteX768" fmla="*/ 59702 w 235436"/>
                    <a:gd name="connsiteY768" fmla="*/ 33357 h 286328"/>
                    <a:gd name="connsiteX769" fmla="*/ 39104 w 235436"/>
                    <a:gd name="connsiteY769" fmla="*/ 20420 h 286328"/>
                    <a:gd name="connsiteX770" fmla="*/ 42872 w 235436"/>
                    <a:gd name="connsiteY770" fmla="*/ 23811 h 286328"/>
                    <a:gd name="connsiteX771" fmla="*/ 36215 w 235436"/>
                    <a:gd name="connsiteY771" fmla="*/ 22932 h 286328"/>
                    <a:gd name="connsiteX772" fmla="*/ 39104 w 235436"/>
                    <a:gd name="connsiteY772" fmla="*/ 20420 h 286328"/>
                    <a:gd name="connsiteX773" fmla="*/ 39104 w 235436"/>
                    <a:gd name="connsiteY773" fmla="*/ 20420 h 286328"/>
                    <a:gd name="connsiteX774" fmla="*/ 64349 w 235436"/>
                    <a:gd name="connsiteY774" fmla="*/ 25068 h 286328"/>
                    <a:gd name="connsiteX775" fmla="*/ 65730 w 235436"/>
                    <a:gd name="connsiteY775" fmla="*/ 23811 h 286328"/>
                    <a:gd name="connsiteX776" fmla="*/ 66609 w 235436"/>
                    <a:gd name="connsiteY776" fmla="*/ 27579 h 286328"/>
                    <a:gd name="connsiteX777" fmla="*/ 67488 w 235436"/>
                    <a:gd name="connsiteY777" fmla="*/ 28459 h 286328"/>
                    <a:gd name="connsiteX778" fmla="*/ 66735 w 235436"/>
                    <a:gd name="connsiteY778" fmla="*/ 30342 h 286328"/>
                    <a:gd name="connsiteX779" fmla="*/ 62590 w 235436"/>
                    <a:gd name="connsiteY779" fmla="*/ 30719 h 286328"/>
                    <a:gd name="connsiteX780" fmla="*/ 63469 w 235436"/>
                    <a:gd name="connsiteY780" fmla="*/ 25570 h 286328"/>
                    <a:gd name="connsiteX781" fmla="*/ 64349 w 235436"/>
                    <a:gd name="connsiteY781" fmla="*/ 25068 h 286328"/>
                    <a:gd name="connsiteX782" fmla="*/ 64349 w 235436"/>
                    <a:gd name="connsiteY782" fmla="*/ 25068 h 286328"/>
                    <a:gd name="connsiteX783" fmla="*/ 40235 w 235436"/>
                    <a:gd name="connsiteY783" fmla="*/ 25444 h 286328"/>
                    <a:gd name="connsiteX784" fmla="*/ 42746 w 235436"/>
                    <a:gd name="connsiteY784" fmla="*/ 25570 h 286328"/>
                    <a:gd name="connsiteX785" fmla="*/ 45133 w 235436"/>
                    <a:gd name="connsiteY785" fmla="*/ 29338 h 286328"/>
                    <a:gd name="connsiteX786" fmla="*/ 45886 w 235436"/>
                    <a:gd name="connsiteY786" fmla="*/ 32101 h 286328"/>
                    <a:gd name="connsiteX787" fmla="*/ 48147 w 235436"/>
                    <a:gd name="connsiteY787" fmla="*/ 32980 h 286328"/>
                    <a:gd name="connsiteX788" fmla="*/ 46640 w 235436"/>
                    <a:gd name="connsiteY788" fmla="*/ 37753 h 286328"/>
                    <a:gd name="connsiteX789" fmla="*/ 44379 w 235436"/>
                    <a:gd name="connsiteY789" fmla="*/ 36622 h 286328"/>
                    <a:gd name="connsiteX790" fmla="*/ 38350 w 235436"/>
                    <a:gd name="connsiteY790" fmla="*/ 30719 h 286328"/>
                    <a:gd name="connsiteX791" fmla="*/ 40988 w 235436"/>
                    <a:gd name="connsiteY791" fmla="*/ 29966 h 286328"/>
                    <a:gd name="connsiteX792" fmla="*/ 40235 w 235436"/>
                    <a:gd name="connsiteY792" fmla="*/ 25444 h 286328"/>
                    <a:gd name="connsiteX793" fmla="*/ 40235 w 235436"/>
                    <a:gd name="connsiteY793" fmla="*/ 25444 h 286328"/>
                    <a:gd name="connsiteX794" fmla="*/ 56436 w 235436"/>
                    <a:gd name="connsiteY794" fmla="*/ 42651 h 286328"/>
                    <a:gd name="connsiteX795" fmla="*/ 60706 w 235436"/>
                    <a:gd name="connsiteY795" fmla="*/ 40641 h 286328"/>
                    <a:gd name="connsiteX796" fmla="*/ 59451 w 235436"/>
                    <a:gd name="connsiteY796" fmla="*/ 45288 h 286328"/>
                    <a:gd name="connsiteX797" fmla="*/ 60204 w 235436"/>
                    <a:gd name="connsiteY797" fmla="*/ 44158 h 286328"/>
                    <a:gd name="connsiteX798" fmla="*/ 61083 w 235436"/>
                    <a:gd name="connsiteY798" fmla="*/ 43027 h 286328"/>
                    <a:gd name="connsiteX799" fmla="*/ 63092 w 235436"/>
                    <a:gd name="connsiteY799" fmla="*/ 45539 h 286328"/>
                    <a:gd name="connsiteX800" fmla="*/ 67237 w 235436"/>
                    <a:gd name="connsiteY800" fmla="*/ 51191 h 286328"/>
                    <a:gd name="connsiteX801" fmla="*/ 67488 w 235436"/>
                    <a:gd name="connsiteY801" fmla="*/ 53326 h 286328"/>
                    <a:gd name="connsiteX802" fmla="*/ 68242 w 235436"/>
                    <a:gd name="connsiteY802" fmla="*/ 53829 h 286328"/>
                    <a:gd name="connsiteX803" fmla="*/ 70754 w 235436"/>
                    <a:gd name="connsiteY803" fmla="*/ 64630 h 286328"/>
                    <a:gd name="connsiteX804" fmla="*/ 67614 w 235436"/>
                    <a:gd name="connsiteY804" fmla="*/ 61490 h 286328"/>
                    <a:gd name="connsiteX805" fmla="*/ 67865 w 235436"/>
                    <a:gd name="connsiteY805" fmla="*/ 65007 h 286328"/>
                    <a:gd name="connsiteX806" fmla="*/ 66358 w 235436"/>
                    <a:gd name="connsiteY806" fmla="*/ 66890 h 286328"/>
                    <a:gd name="connsiteX807" fmla="*/ 62339 w 235436"/>
                    <a:gd name="connsiteY807" fmla="*/ 60988 h 286328"/>
                    <a:gd name="connsiteX808" fmla="*/ 61334 w 235436"/>
                    <a:gd name="connsiteY808" fmla="*/ 59857 h 286328"/>
                    <a:gd name="connsiteX809" fmla="*/ 60581 w 235436"/>
                    <a:gd name="connsiteY809" fmla="*/ 57722 h 286328"/>
                    <a:gd name="connsiteX810" fmla="*/ 62088 w 235436"/>
                    <a:gd name="connsiteY810" fmla="*/ 59229 h 286328"/>
                    <a:gd name="connsiteX811" fmla="*/ 64349 w 235436"/>
                    <a:gd name="connsiteY811" fmla="*/ 54205 h 286328"/>
                    <a:gd name="connsiteX812" fmla="*/ 63218 w 235436"/>
                    <a:gd name="connsiteY812" fmla="*/ 53954 h 286328"/>
                    <a:gd name="connsiteX813" fmla="*/ 63218 w 235436"/>
                    <a:gd name="connsiteY813" fmla="*/ 50814 h 286328"/>
                    <a:gd name="connsiteX814" fmla="*/ 62716 w 235436"/>
                    <a:gd name="connsiteY814" fmla="*/ 49307 h 286328"/>
                    <a:gd name="connsiteX815" fmla="*/ 61460 w 235436"/>
                    <a:gd name="connsiteY815" fmla="*/ 49935 h 286328"/>
                    <a:gd name="connsiteX816" fmla="*/ 56562 w 235436"/>
                    <a:gd name="connsiteY816" fmla="*/ 44283 h 286328"/>
                    <a:gd name="connsiteX817" fmla="*/ 56436 w 235436"/>
                    <a:gd name="connsiteY817" fmla="*/ 42651 h 286328"/>
                    <a:gd name="connsiteX818" fmla="*/ 56436 w 235436"/>
                    <a:gd name="connsiteY818" fmla="*/ 42651 h 286328"/>
                    <a:gd name="connsiteX819" fmla="*/ 74522 w 235436"/>
                    <a:gd name="connsiteY819" fmla="*/ 27705 h 286328"/>
                    <a:gd name="connsiteX820" fmla="*/ 74522 w 235436"/>
                    <a:gd name="connsiteY820" fmla="*/ 27454 h 286328"/>
                    <a:gd name="connsiteX821" fmla="*/ 75778 w 235436"/>
                    <a:gd name="connsiteY821" fmla="*/ 28082 h 286328"/>
                    <a:gd name="connsiteX822" fmla="*/ 75778 w 235436"/>
                    <a:gd name="connsiteY822" fmla="*/ 28961 h 286328"/>
                    <a:gd name="connsiteX823" fmla="*/ 77536 w 235436"/>
                    <a:gd name="connsiteY823" fmla="*/ 29212 h 286328"/>
                    <a:gd name="connsiteX824" fmla="*/ 77787 w 235436"/>
                    <a:gd name="connsiteY824" fmla="*/ 30091 h 286328"/>
                    <a:gd name="connsiteX825" fmla="*/ 78666 w 235436"/>
                    <a:gd name="connsiteY825" fmla="*/ 30719 h 286328"/>
                    <a:gd name="connsiteX826" fmla="*/ 79671 w 235436"/>
                    <a:gd name="connsiteY826" fmla="*/ 31724 h 286328"/>
                    <a:gd name="connsiteX827" fmla="*/ 79922 w 235436"/>
                    <a:gd name="connsiteY827" fmla="*/ 33106 h 286328"/>
                    <a:gd name="connsiteX828" fmla="*/ 81430 w 235436"/>
                    <a:gd name="connsiteY828" fmla="*/ 34110 h 286328"/>
                    <a:gd name="connsiteX829" fmla="*/ 82183 w 235436"/>
                    <a:gd name="connsiteY829" fmla="*/ 34487 h 286328"/>
                    <a:gd name="connsiteX830" fmla="*/ 81555 w 235436"/>
                    <a:gd name="connsiteY830" fmla="*/ 37250 h 286328"/>
                    <a:gd name="connsiteX831" fmla="*/ 68744 w 235436"/>
                    <a:gd name="connsiteY831" fmla="*/ 38883 h 286328"/>
                    <a:gd name="connsiteX832" fmla="*/ 66232 w 235436"/>
                    <a:gd name="connsiteY832" fmla="*/ 39385 h 286328"/>
                    <a:gd name="connsiteX833" fmla="*/ 62716 w 235436"/>
                    <a:gd name="connsiteY833" fmla="*/ 36371 h 286328"/>
                    <a:gd name="connsiteX834" fmla="*/ 64349 w 235436"/>
                    <a:gd name="connsiteY834" fmla="*/ 35492 h 286328"/>
                    <a:gd name="connsiteX835" fmla="*/ 64725 w 235436"/>
                    <a:gd name="connsiteY835" fmla="*/ 33482 h 286328"/>
                    <a:gd name="connsiteX836" fmla="*/ 67991 w 235436"/>
                    <a:gd name="connsiteY836" fmla="*/ 34613 h 286328"/>
                    <a:gd name="connsiteX837" fmla="*/ 67488 w 235436"/>
                    <a:gd name="connsiteY837" fmla="*/ 32980 h 286328"/>
                    <a:gd name="connsiteX838" fmla="*/ 67865 w 235436"/>
                    <a:gd name="connsiteY838" fmla="*/ 30970 h 286328"/>
                    <a:gd name="connsiteX839" fmla="*/ 70000 w 235436"/>
                    <a:gd name="connsiteY839" fmla="*/ 32729 h 286328"/>
                    <a:gd name="connsiteX840" fmla="*/ 70880 w 235436"/>
                    <a:gd name="connsiteY840" fmla="*/ 30342 h 286328"/>
                    <a:gd name="connsiteX841" fmla="*/ 68117 w 235436"/>
                    <a:gd name="connsiteY841" fmla="*/ 28710 h 286328"/>
                    <a:gd name="connsiteX842" fmla="*/ 67991 w 235436"/>
                    <a:gd name="connsiteY842" fmla="*/ 26198 h 286328"/>
                    <a:gd name="connsiteX843" fmla="*/ 68117 w 235436"/>
                    <a:gd name="connsiteY843" fmla="*/ 25695 h 286328"/>
                    <a:gd name="connsiteX844" fmla="*/ 67740 w 235436"/>
                    <a:gd name="connsiteY844" fmla="*/ 25319 h 286328"/>
                    <a:gd name="connsiteX845" fmla="*/ 69121 w 235436"/>
                    <a:gd name="connsiteY845" fmla="*/ 25068 h 286328"/>
                    <a:gd name="connsiteX846" fmla="*/ 70880 w 235436"/>
                    <a:gd name="connsiteY846" fmla="*/ 25821 h 286328"/>
                    <a:gd name="connsiteX847" fmla="*/ 71508 w 235436"/>
                    <a:gd name="connsiteY847" fmla="*/ 26198 h 286328"/>
                    <a:gd name="connsiteX848" fmla="*/ 71633 w 235436"/>
                    <a:gd name="connsiteY848" fmla="*/ 25570 h 286328"/>
                    <a:gd name="connsiteX849" fmla="*/ 72889 w 235436"/>
                    <a:gd name="connsiteY849" fmla="*/ 26826 h 286328"/>
                    <a:gd name="connsiteX850" fmla="*/ 73517 w 235436"/>
                    <a:gd name="connsiteY850" fmla="*/ 26826 h 286328"/>
                    <a:gd name="connsiteX851" fmla="*/ 74020 w 235436"/>
                    <a:gd name="connsiteY851" fmla="*/ 26449 h 286328"/>
                    <a:gd name="connsiteX852" fmla="*/ 74522 w 235436"/>
                    <a:gd name="connsiteY852" fmla="*/ 27705 h 286328"/>
                    <a:gd name="connsiteX853" fmla="*/ 74522 w 235436"/>
                    <a:gd name="connsiteY853" fmla="*/ 27705 h 286328"/>
                    <a:gd name="connsiteX854" fmla="*/ 209913 w 235436"/>
                    <a:gd name="connsiteY854" fmla="*/ 186206 h 286328"/>
                    <a:gd name="connsiteX855" fmla="*/ 209536 w 235436"/>
                    <a:gd name="connsiteY855" fmla="*/ 188843 h 286328"/>
                    <a:gd name="connsiteX856" fmla="*/ 209285 w 235436"/>
                    <a:gd name="connsiteY856" fmla="*/ 188089 h 286328"/>
                    <a:gd name="connsiteX857" fmla="*/ 208657 w 235436"/>
                    <a:gd name="connsiteY857" fmla="*/ 188215 h 286328"/>
                    <a:gd name="connsiteX858" fmla="*/ 207903 w 235436"/>
                    <a:gd name="connsiteY858" fmla="*/ 188215 h 286328"/>
                    <a:gd name="connsiteX859" fmla="*/ 207275 w 235436"/>
                    <a:gd name="connsiteY859" fmla="*/ 188718 h 286328"/>
                    <a:gd name="connsiteX860" fmla="*/ 206522 w 235436"/>
                    <a:gd name="connsiteY860" fmla="*/ 187336 h 286328"/>
                    <a:gd name="connsiteX861" fmla="*/ 206019 w 235436"/>
                    <a:gd name="connsiteY861" fmla="*/ 188592 h 286328"/>
                    <a:gd name="connsiteX862" fmla="*/ 205266 w 235436"/>
                    <a:gd name="connsiteY862" fmla="*/ 188718 h 286328"/>
                    <a:gd name="connsiteX863" fmla="*/ 205768 w 235436"/>
                    <a:gd name="connsiteY863" fmla="*/ 187210 h 286328"/>
                    <a:gd name="connsiteX864" fmla="*/ 204387 w 235436"/>
                    <a:gd name="connsiteY864" fmla="*/ 187085 h 286328"/>
                    <a:gd name="connsiteX865" fmla="*/ 204387 w 235436"/>
                    <a:gd name="connsiteY865" fmla="*/ 188843 h 286328"/>
                    <a:gd name="connsiteX866" fmla="*/ 203885 w 235436"/>
                    <a:gd name="connsiteY866" fmla="*/ 189471 h 286328"/>
                    <a:gd name="connsiteX867" fmla="*/ 203382 w 235436"/>
                    <a:gd name="connsiteY867" fmla="*/ 188718 h 286328"/>
                    <a:gd name="connsiteX868" fmla="*/ 203759 w 235436"/>
                    <a:gd name="connsiteY868" fmla="*/ 186080 h 286328"/>
                    <a:gd name="connsiteX869" fmla="*/ 206648 w 235436"/>
                    <a:gd name="connsiteY869" fmla="*/ 185578 h 286328"/>
                    <a:gd name="connsiteX870" fmla="*/ 207652 w 235436"/>
                    <a:gd name="connsiteY870" fmla="*/ 185201 h 286328"/>
                    <a:gd name="connsiteX871" fmla="*/ 208280 w 235436"/>
                    <a:gd name="connsiteY871" fmla="*/ 184322 h 286328"/>
                    <a:gd name="connsiteX872" fmla="*/ 208155 w 235436"/>
                    <a:gd name="connsiteY872" fmla="*/ 181684 h 286328"/>
                    <a:gd name="connsiteX873" fmla="*/ 208657 w 235436"/>
                    <a:gd name="connsiteY873" fmla="*/ 180805 h 286328"/>
                    <a:gd name="connsiteX874" fmla="*/ 209159 w 235436"/>
                    <a:gd name="connsiteY874" fmla="*/ 180931 h 286328"/>
                    <a:gd name="connsiteX875" fmla="*/ 209913 w 235436"/>
                    <a:gd name="connsiteY875" fmla="*/ 186206 h 286328"/>
                    <a:gd name="connsiteX876" fmla="*/ 209913 w 235436"/>
                    <a:gd name="connsiteY876" fmla="*/ 186206 h 286328"/>
                    <a:gd name="connsiteX877" fmla="*/ 148371 w 235436"/>
                    <a:gd name="connsiteY877" fmla="*/ 100550 h 286328"/>
                    <a:gd name="connsiteX878" fmla="*/ 148874 w 235436"/>
                    <a:gd name="connsiteY878" fmla="*/ 100676 h 286328"/>
                    <a:gd name="connsiteX879" fmla="*/ 148371 w 235436"/>
                    <a:gd name="connsiteY879" fmla="*/ 100550 h 286328"/>
                    <a:gd name="connsiteX880" fmla="*/ 148371 w 235436"/>
                    <a:gd name="connsiteY880" fmla="*/ 100550 h 286328"/>
                    <a:gd name="connsiteX881" fmla="*/ 198233 w 235436"/>
                    <a:gd name="connsiteY881" fmla="*/ 196504 h 286328"/>
                    <a:gd name="connsiteX882" fmla="*/ 197605 w 235436"/>
                    <a:gd name="connsiteY882" fmla="*/ 194244 h 286328"/>
                    <a:gd name="connsiteX883" fmla="*/ 198233 w 235436"/>
                    <a:gd name="connsiteY883" fmla="*/ 196504 h 286328"/>
                    <a:gd name="connsiteX884" fmla="*/ 198233 w 235436"/>
                    <a:gd name="connsiteY884" fmla="*/ 196504 h 286328"/>
                    <a:gd name="connsiteX885" fmla="*/ 198233 w 235436"/>
                    <a:gd name="connsiteY885" fmla="*/ 201779 h 286328"/>
                    <a:gd name="connsiteX886" fmla="*/ 198484 w 235436"/>
                    <a:gd name="connsiteY886" fmla="*/ 199895 h 286328"/>
                    <a:gd name="connsiteX887" fmla="*/ 199363 w 235436"/>
                    <a:gd name="connsiteY887" fmla="*/ 204166 h 286328"/>
                    <a:gd name="connsiteX888" fmla="*/ 198609 w 235436"/>
                    <a:gd name="connsiteY888" fmla="*/ 204166 h 286328"/>
                    <a:gd name="connsiteX889" fmla="*/ 198107 w 235436"/>
                    <a:gd name="connsiteY889" fmla="*/ 202784 h 286328"/>
                    <a:gd name="connsiteX890" fmla="*/ 198233 w 235436"/>
                    <a:gd name="connsiteY890" fmla="*/ 201779 h 286328"/>
                    <a:gd name="connsiteX891" fmla="*/ 198233 w 235436"/>
                    <a:gd name="connsiteY891" fmla="*/ 201779 h 286328"/>
                    <a:gd name="connsiteX892" fmla="*/ 152139 w 235436"/>
                    <a:gd name="connsiteY892" fmla="*/ 84223 h 286328"/>
                    <a:gd name="connsiteX893" fmla="*/ 154400 w 235436"/>
                    <a:gd name="connsiteY893" fmla="*/ 84097 h 286328"/>
                    <a:gd name="connsiteX894" fmla="*/ 154274 w 235436"/>
                    <a:gd name="connsiteY894" fmla="*/ 83218 h 286328"/>
                    <a:gd name="connsiteX895" fmla="*/ 152139 w 235436"/>
                    <a:gd name="connsiteY895" fmla="*/ 84223 h 286328"/>
                    <a:gd name="connsiteX896" fmla="*/ 152139 w 235436"/>
                    <a:gd name="connsiteY896" fmla="*/ 84223 h 286328"/>
                    <a:gd name="connsiteX897" fmla="*/ 158545 w 235436"/>
                    <a:gd name="connsiteY897" fmla="*/ 89749 h 286328"/>
                    <a:gd name="connsiteX898" fmla="*/ 159298 w 235436"/>
                    <a:gd name="connsiteY898" fmla="*/ 89874 h 286328"/>
                    <a:gd name="connsiteX899" fmla="*/ 160680 w 235436"/>
                    <a:gd name="connsiteY899" fmla="*/ 93014 h 286328"/>
                    <a:gd name="connsiteX900" fmla="*/ 158545 w 235436"/>
                    <a:gd name="connsiteY900" fmla="*/ 89749 h 286328"/>
                    <a:gd name="connsiteX901" fmla="*/ 158545 w 235436"/>
                    <a:gd name="connsiteY901" fmla="*/ 89749 h 286328"/>
                    <a:gd name="connsiteX902" fmla="*/ 208280 w 235436"/>
                    <a:gd name="connsiteY902" fmla="*/ 177791 h 286328"/>
                    <a:gd name="connsiteX903" fmla="*/ 208155 w 235436"/>
                    <a:gd name="connsiteY903" fmla="*/ 175907 h 286328"/>
                    <a:gd name="connsiteX904" fmla="*/ 210290 w 235436"/>
                    <a:gd name="connsiteY904" fmla="*/ 177791 h 286328"/>
                    <a:gd name="connsiteX905" fmla="*/ 211043 w 235436"/>
                    <a:gd name="connsiteY905" fmla="*/ 179047 h 286328"/>
                    <a:gd name="connsiteX906" fmla="*/ 211420 w 235436"/>
                    <a:gd name="connsiteY906" fmla="*/ 179172 h 286328"/>
                    <a:gd name="connsiteX907" fmla="*/ 210415 w 235436"/>
                    <a:gd name="connsiteY907" fmla="*/ 179298 h 286328"/>
                    <a:gd name="connsiteX908" fmla="*/ 209411 w 235436"/>
                    <a:gd name="connsiteY908" fmla="*/ 179549 h 286328"/>
                    <a:gd name="connsiteX909" fmla="*/ 208280 w 235436"/>
                    <a:gd name="connsiteY909" fmla="*/ 179047 h 286328"/>
                    <a:gd name="connsiteX910" fmla="*/ 207903 w 235436"/>
                    <a:gd name="connsiteY910" fmla="*/ 179298 h 286328"/>
                    <a:gd name="connsiteX911" fmla="*/ 208280 w 235436"/>
                    <a:gd name="connsiteY911" fmla="*/ 177791 h 286328"/>
                    <a:gd name="connsiteX912" fmla="*/ 208280 w 235436"/>
                    <a:gd name="connsiteY912" fmla="*/ 177791 h 286328"/>
                    <a:gd name="connsiteX913" fmla="*/ 154651 w 235436"/>
                    <a:gd name="connsiteY913" fmla="*/ 86860 h 286328"/>
                    <a:gd name="connsiteX914" fmla="*/ 154651 w 235436"/>
                    <a:gd name="connsiteY914" fmla="*/ 86106 h 286328"/>
                    <a:gd name="connsiteX915" fmla="*/ 156158 w 235436"/>
                    <a:gd name="connsiteY915" fmla="*/ 87614 h 286328"/>
                    <a:gd name="connsiteX916" fmla="*/ 156158 w 235436"/>
                    <a:gd name="connsiteY916" fmla="*/ 86358 h 286328"/>
                    <a:gd name="connsiteX917" fmla="*/ 157665 w 235436"/>
                    <a:gd name="connsiteY917" fmla="*/ 89246 h 286328"/>
                    <a:gd name="connsiteX918" fmla="*/ 157163 w 235436"/>
                    <a:gd name="connsiteY918" fmla="*/ 90377 h 286328"/>
                    <a:gd name="connsiteX919" fmla="*/ 154651 w 235436"/>
                    <a:gd name="connsiteY919" fmla="*/ 86860 h 286328"/>
                    <a:gd name="connsiteX920" fmla="*/ 154651 w 235436"/>
                    <a:gd name="connsiteY920" fmla="*/ 86860 h 286328"/>
                    <a:gd name="connsiteX921" fmla="*/ 139454 w 235436"/>
                    <a:gd name="connsiteY921" fmla="*/ 97410 h 286328"/>
                    <a:gd name="connsiteX922" fmla="*/ 140961 w 235436"/>
                    <a:gd name="connsiteY922" fmla="*/ 98666 h 286328"/>
                    <a:gd name="connsiteX923" fmla="*/ 142343 w 235436"/>
                    <a:gd name="connsiteY923" fmla="*/ 103564 h 286328"/>
                    <a:gd name="connsiteX924" fmla="*/ 140585 w 235436"/>
                    <a:gd name="connsiteY924" fmla="*/ 101806 h 286328"/>
                    <a:gd name="connsiteX925" fmla="*/ 139078 w 235436"/>
                    <a:gd name="connsiteY925" fmla="*/ 100299 h 286328"/>
                    <a:gd name="connsiteX926" fmla="*/ 138952 w 235436"/>
                    <a:gd name="connsiteY926" fmla="*/ 99420 h 286328"/>
                    <a:gd name="connsiteX927" fmla="*/ 138952 w 235436"/>
                    <a:gd name="connsiteY927" fmla="*/ 97661 h 286328"/>
                    <a:gd name="connsiteX928" fmla="*/ 139454 w 235436"/>
                    <a:gd name="connsiteY928" fmla="*/ 97410 h 286328"/>
                    <a:gd name="connsiteX929" fmla="*/ 139454 w 235436"/>
                    <a:gd name="connsiteY929" fmla="*/ 97410 h 286328"/>
                    <a:gd name="connsiteX930" fmla="*/ 182533 w 235436"/>
                    <a:gd name="connsiteY930" fmla="*/ 104443 h 286328"/>
                    <a:gd name="connsiteX931" fmla="*/ 185171 w 235436"/>
                    <a:gd name="connsiteY931" fmla="*/ 108211 h 286328"/>
                    <a:gd name="connsiteX932" fmla="*/ 184166 w 235436"/>
                    <a:gd name="connsiteY932" fmla="*/ 108086 h 286328"/>
                    <a:gd name="connsiteX933" fmla="*/ 183538 w 235436"/>
                    <a:gd name="connsiteY933" fmla="*/ 108965 h 286328"/>
                    <a:gd name="connsiteX934" fmla="*/ 181277 w 235436"/>
                    <a:gd name="connsiteY934" fmla="*/ 103815 h 286328"/>
                    <a:gd name="connsiteX935" fmla="*/ 182533 w 235436"/>
                    <a:gd name="connsiteY935" fmla="*/ 104443 h 286328"/>
                    <a:gd name="connsiteX936" fmla="*/ 182533 w 235436"/>
                    <a:gd name="connsiteY936" fmla="*/ 104443 h 286328"/>
                    <a:gd name="connsiteX937" fmla="*/ 204261 w 235436"/>
                    <a:gd name="connsiteY937" fmla="*/ 159705 h 286328"/>
                    <a:gd name="connsiteX938" fmla="*/ 204512 w 235436"/>
                    <a:gd name="connsiteY938" fmla="*/ 159580 h 286328"/>
                    <a:gd name="connsiteX939" fmla="*/ 206522 w 235436"/>
                    <a:gd name="connsiteY939" fmla="*/ 165106 h 286328"/>
                    <a:gd name="connsiteX940" fmla="*/ 207401 w 235436"/>
                    <a:gd name="connsiteY940" fmla="*/ 168874 h 286328"/>
                    <a:gd name="connsiteX941" fmla="*/ 208657 w 235436"/>
                    <a:gd name="connsiteY941" fmla="*/ 172390 h 286328"/>
                    <a:gd name="connsiteX942" fmla="*/ 208531 w 235436"/>
                    <a:gd name="connsiteY942" fmla="*/ 173395 h 286328"/>
                    <a:gd name="connsiteX943" fmla="*/ 207903 w 235436"/>
                    <a:gd name="connsiteY943" fmla="*/ 173897 h 286328"/>
                    <a:gd name="connsiteX944" fmla="*/ 207401 w 235436"/>
                    <a:gd name="connsiteY944" fmla="*/ 172390 h 286328"/>
                    <a:gd name="connsiteX945" fmla="*/ 204387 w 235436"/>
                    <a:gd name="connsiteY945" fmla="*/ 161087 h 286328"/>
                    <a:gd name="connsiteX946" fmla="*/ 204261 w 235436"/>
                    <a:gd name="connsiteY946" fmla="*/ 159705 h 286328"/>
                    <a:gd name="connsiteX947" fmla="*/ 204261 w 235436"/>
                    <a:gd name="connsiteY947" fmla="*/ 159705 h 286328"/>
                    <a:gd name="connsiteX948" fmla="*/ 141589 w 235436"/>
                    <a:gd name="connsiteY948" fmla="*/ 91633 h 286328"/>
                    <a:gd name="connsiteX949" fmla="*/ 142594 w 235436"/>
                    <a:gd name="connsiteY949" fmla="*/ 91507 h 286328"/>
                    <a:gd name="connsiteX950" fmla="*/ 144855 w 235436"/>
                    <a:gd name="connsiteY950" fmla="*/ 90754 h 286328"/>
                    <a:gd name="connsiteX951" fmla="*/ 142343 w 235436"/>
                    <a:gd name="connsiteY951" fmla="*/ 94145 h 286328"/>
                    <a:gd name="connsiteX952" fmla="*/ 141715 w 235436"/>
                    <a:gd name="connsiteY952" fmla="*/ 96531 h 286328"/>
                    <a:gd name="connsiteX953" fmla="*/ 141087 w 235436"/>
                    <a:gd name="connsiteY953" fmla="*/ 96154 h 286328"/>
                    <a:gd name="connsiteX954" fmla="*/ 140710 w 235436"/>
                    <a:gd name="connsiteY954" fmla="*/ 97159 h 286328"/>
                    <a:gd name="connsiteX955" fmla="*/ 140082 w 235436"/>
                    <a:gd name="connsiteY955" fmla="*/ 96154 h 286328"/>
                    <a:gd name="connsiteX956" fmla="*/ 139329 w 235436"/>
                    <a:gd name="connsiteY956" fmla="*/ 95275 h 286328"/>
                    <a:gd name="connsiteX957" fmla="*/ 140208 w 235436"/>
                    <a:gd name="connsiteY957" fmla="*/ 95401 h 286328"/>
                    <a:gd name="connsiteX958" fmla="*/ 139831 w 235436"/>
                    <a:gd name="connsiteY958" fmla="*/ 94396 h 286328"/>
                    <a:gd name="connsiteX959" fmla="*/ 139831 w 235436"/>
                    <a:gd name="connsiteY959" fmla="*/ 93893 h 286328"/>
                    <a:gd name="connsiteX960" fmla="*/ 139831 w 235436"/>
                    <a:gd name="connsiteY960" fmla="*/ 93014 h 286328"/>
                    <a:gd name="connsiteX961" fmla="*/ 140334 w 235436"/>
                    <a:gd name="connsiteY961" fmla="*/ 92135 h 286328"/>
                    <a:gd name="connsiteX962" fmla="*/ 141589 w 235436"/>
                    <a:gd name="connsiteY962" fmla="*/ 91633 h 286328"/>
                    <a:gd name="connsiteX963" fmla="*/ 141589 w 235436"/>
                    <a:gd name="connsiteY963" fmla="*/ 91633 h 286328"/>
                    <a:gd name="connsiteX964" fmla="*/ 139203 w 235436"/>
                    <a:gd name="connsiteY964" fmla="*/ 140489 h 286328"/>
                    <a:gd name="connsiteX965" fmla="*/ 138575 w 235436"/>
                    <a:gd name="connsiteY965" fmla="*/ 141117 h 286328"/>
                    <a:gd name="connsiteX966" fmla="*/ 137319 w 235436"/>
                    <a:gd name="connsiteY966" fmla="*/ 140363 h 286328"/>
                    <a:gd name="connsiteX967" fmla="*/ 134556 w 235436"/>
                    <a:gd name="connsiteY967" fmla="*/ 137600 h 286328"/>
                    <a:gd name="connsiteX968" fmla="*/ 133049 w 235436"/>
                    <a:gd name="connsiteY968" fmla="*/ 136847 h 286328"/>
                    <a:gd name="connsiteX969" fmla="*/ 131919 w 235436"/>
                    <a:gd name="connsiteY969" fmla="*/ 136972 h 286328"/>
                    <a:gd name="connsiteX970" fmla="*/ 131165 w 235436"/>
                    <a:gd name="connsiteY970" fmla="*/ 136344 h 286328"/>
                    <a:gd name="connsiteX971" fmla="*/ 130411 w 235436"/>
                    <a:gd name="connsiteY971" fmla="*/ 135968 h 286328"/>
                    <a:gd name="connsiteX972" fmla="*/ 130914 w 235436"/>
                    <a:gd name="connsiteY972" fmla="*/ 136721 h 286328"/>
                    <a:gd name="connsiteX973" fmla="*/ 130411 w 235436"/>
                    <a:gd name="connsiteY973" fmla="*/ 136596 h 286328"/>
                    <a:gd name="connsiteX974" fmla="*/ 130411 w 235436"/>
                    <a:gd name="connsiteY974" fmla="*/ 136972 h 286328"/>
                    <a:gd name="connsiteX975" fmla="*/ 129281 w 235436"/>
                    <a:gd name="connsiteY975" fmla="*/ 136219 h 286328"/>
                    <a:gd name="connsiteX976" fmla="*/ 129155 w 235436"/>
                    <a:gd name="connsiteY976" fmla="*/ 135842 h 286328"/>
                    <a:gd name="connsiteX977" fmla="*/ 129783 w 235436"/>
                    <a:gd name="connsiteY977" fmla="*/ 135842 h 286328"/>
                    <a:gd name="connsiteX978" fmla="*/ 130286 w 235436"/>
                    <a:gd name="connsiteY978" fmla="*/ 136093 h 286328"/>
                    <a:gd name="connsiteX979" fmla="*/ 129909 w 235436"/>
                    <a:gd name="connsiteY979" fmla="*/ 135340 h 286328"/>
                    <a:gd name="connsiteX980" fmla="*/ 129532 w 235436"/>
                    <a:gd name="connsiteY980" fmla="*/ 134586 h 286328"/>
                    <a:gd name="connsiteX981" fmla="*/ 129281 w 235436"/>
                    <a:gd name="connsiteY981" fmla="*/ 133833 h 286328"/>
                    <a:gd name="connsiteX982" fmla="*/ 129909 w 235436"/>
                    <a:gd name="connsiteY982" fmla="*/ 133205 h 286328"/>
                    <a:gd name="connsiteX983" fmla="*/ 129909 w 235436"/>
                    <a:gd name="connsiteY983" fmla="*/ 132577 h 286328"/>
                    <a:gd name="connsiteX984" fmla="*/ 130537 w 235436"/>
                    <a:gd name="connsiteY984" fmla="*/ 131697 h 286328"/>
                    <a:gd name="connsiteX985" fmla="*/ 130537 w 235436"/>
                    <a:gd name="connsiteY985" fmla="*/ 131321 h 286328"/>
                    <a:gd name="connsiteX986" fmla="*/ 131793 w 235436"/>
                    <a:gd name="connsiteY986" fmla="*/ 130818 h 286328"/>
                    <a:gd name="connsiteX987" fmla="*/ 132295 w 235436"/>
                    <a:gd name="connsiteY987" fmla="*/ 131195 h 286328"/>
                    <a:gd name="connsiteX988" fmla="*/ 131919 w 235436"/>
                    <a:gd name="connsiteY988" fmla="*/ 131195 h 286328"/>
                    <a:gd name="connsiteX989" fmla="*/ 131919 w 235436"/>
                    <a:gd name="connsiteY989" fmla="*/ 131195 h 286328"/>
                    <a:gd name="connsiteX990" fmla="*/ 133300 w 235436"/>
                    <a:gd name="connsiteY990" fmla="*/ 132325 h 286328"/>
                    <a:gd name="connsiteX991" fmla="*/ 134305 w 235436"/>
                    <a:gd name="connsiteY991" fmla="*/ 132577 h 286328"/>
                    <a:gd name="connsiteX992" fmla="*/ 135561 w 235436"/>
                    <a:gd name="connsiteY992" fmla="*/ 132702 h 286328"/>
                    <a:gd name="connsiteX993" fmla="*/ 137068 w 235436"/>
                    <a:gd name="connsiteY993" fmla="*/ 133205 h 286328"/>
                    <a:gd name="connsiteX994" fmla="*/ 136566 w 235436"/>
                    <a:gd name="connsiteY994" fmla="*/ 133456 h 286328"/>
                    <a:gd name="connsiteX995" fmla="*/ 136566 w 235436"/>
                    <a:gd name="connsiteY995" fmla="*/ 133456 h 286328"/>
                    <a:gd name="connsiteX996" fmla="*/ 136566 w 235436"/>
                    <a:gd name="connsiteY996" fmla="*/ 133456 h 286328"/>
                    <a:gd name="connsiteX997" fmla="*/ 136189 w 235436"/>
                    <a:gd name="connsiteY997" fmla="*/ 133456 h 286328"/>
                    <a:gd name="connsiteX998" fmla="*/ 136566 w 235436"/>
                    <a:gd name="connsiteY998" fmla="*/ 134084 h 286328"/>
                    <a:gd name="connsiteX999" fmla="*/ 136189 w 235436"/>
                    <a:gd name="connsiteY999" fmla="*/ 134712 h 286328"/>
                    <a:gd name="connsiteX1000" fmla="*/ 135938 w 235436"/>
                    <a:gd name="connsiteY1000" fmla="*/ 134461 h 286328"/>
                    <a:gd name="connsiteX1001" fmla="*/ 135938 w 235436"/>
                    <a:gd name="connsiteY1001" fmla="*/ 134461 h 286328"/>
                    <a:gd name="connsiteX1002" fmla="*/ 135812 w 235436"/>
                    <a:gd name="connsiteY1002" fmla="*/ 134461 h 286328"/>
                    <a:gd name="connsiteX1003" fmla="*/ 136314 w 235436"/>
                    <a:gd name="connsiteY1003" fmla="*/ 135591 h 286328"/>
                    <a:gd name="connsiteX1004" fmla="*/ 138701 w 235436"/>
                    <a:gd name="connsiteY1004" fmla="*/ 138731 h 286328"/>
                    <a:gd name="connsiteX1005" fmla="*/ 139203 w 235436"/>
                    <a:gd name="connsiteY1005" fmla="*/ 140489 h 286328"/>
                    <a:gd name="connsiteX1006" fmla="*/ 139203 w 235436"/>
                    <a:gd name="connsiteY1006" fmla="*/ 140489 h 286328"/>
                    <a:gd name="connsiteX1007" fmla="*/ 105167 w 235436"/>
                    <a:gd name="connsiteY1007" fmla="*/ 105950 h 286328"/>
                    <a:gd name="connsiteX1008" fmla="*/ 104037 w 235436"/>
                    <a:gd name="connsiteY1008" fmla="*/ 107709 h 286328"/>
                    <a:gd name="connsiteX1009" fmla="*/ 102278 w 235436"/>
                    <a:gd name="connsiteY1009" fmla="*/ 106202 h 286328"/>
                    <a:gd name="connsiteX1010" fmla="*/ 102655 w 235436"/>
                    <a:gd name="connsiteY1010" fmla="*/ 105574 h 286328"/>
                    <a:gd name="connsiteX1011" fmla="*/ 102655 w 235436"/>
                    <a:gd name="connsiteY1011" fmla="*/ 104946 h 286328"/>
                    <a:gd name="connsiteX1012" fmla="*/ 103032 w 235436"/>
                    <a:gd name="connsiteY1012" fmla="*/ 104695 h 286328"/>
                    <a:gd name="connsiteX1013" fmla="*/ 102906 w 235436"/>
                    <a:gd name="connsiteY1013" fmla="*/ 103941 h 286328"/>
                    <a:gd name="connsiteX1014" fmla="*/ 104790 w 235436"/>
                    <a:gd name="connsiteY1014" fmla="*/ 104067 h 286328"/>
                    <a:gd name="connsiteX1015" fmla="*/ 105167 w 235436"/>
                    <a:gd name="connsiteY1015" fmla="*/ 105950 h 286328"/>
                    <a:gd name="connsiteX1016" fmla="*/ 105167 w 235436"/>
                    <a:gd name="connsiteY1016" fmla="*/ 105950 h 286328"/>
                    <a:gd name="connsiteX1017" fmla="*/ 118606 w 235436"/>
                    <a:gd name="connsiteY1017" fmla="*/ 132200 h 286328"/>
                    <a:gd name="connsiteX1018" fmla="*/ 119610 w 235436"/>
                    <a:gd name="connsiteY1018" fmla="*/ 132828 h 286328"/>
                    <a:gd name="connsiteX1019" fmla="*/ 120615 w 235436"/>
                    <a:gd name="connsiteY1019" fmla="*/ 133205 h 286328"/>
                    <a:gd name="connsiteX1020" fmla="*/ 120364 w 235436"/>
                    <a:gd name="connsiteY1020" fmla="*/ 133833 h 286328"/>
                    <a:gd name="connsiteX1021" fmla="*/ 120364 w 235436"/>
                    <a:gd name="connsiteY1021" fmla="*/ 134712 h 286328"/>
                    <a:gd name="connsiteX1022" fmla="*/ 119359 w 235436"/>
                    <a:gd name="connsiteY1022" fmla="*/ 133581 h 286328"/>
                    <a:gd name="connsiteX1023" fmla="*/ 118857 w 235436"/>
                    <a:gd name="connsiteY1023" fmla="*/ 132953 h 286328"/>
                    <a:gd name="connsiteX1024" fmla="*/ 118606 w 235436"/>
                    <a:gd name="connsiteY1024" fmla="*/ 132200 h 286328"/>
                    <a:gd name="connsiteX1025" fmla="*/ 118606 w 235436"/>
                    <a:gd name="connsiteY1025" fmla="*/ 132200 h 286328"/>
                    <a:gd name="connsiteX1026" fmla="*/ 115466 w 235436"/>
                    <a:gd name="connsiteY1026" fmla="*/ 127050 h 286328"/>
                    <a:gd name="connsiteX1027" fmla="*/ 115466 w 235436"/>
                    <a:gd name="connsiteY1027" fmla="*/ 127050 h 286328"/>
                    <a:gd name="connsiteX1028" fmla="*/ 115591 w 235436"/>
                    <a:gd name="connsiteY1028" fmla="*/ 127050 h 286328"/>
                    <a:gd name="connsiteX1029" fmla="*/ 115842 w 235436"/>
                    <a:gd name="connsiteY1029" fmla="*/ 127050 h 286328"/>
                    <a:gd name="connsiteX1030" fmla="*/ 116345 w 235436"/>
                    <a:gd name="connsiteY1030" fmla="*/ 127302 h 286328"/>
                    <a:gd name="connsiteX1031" fmla="*/ 116470 w 235436"/>
                    <a:gd name="connsiteY1031" fmla="*/ 128306 h 286328"/>
                    <a:gd name="connsiteX1032" fmla="*/ 116470 w 235436"/>
                    <a:gd name="connsiteY1032" fmla="*/ 129437 h 286328"/>
                    <a:gd name="connsiteX1033" fmla="*/ 116345 w 235436"/>
                    <a:gd name="connsiteY1033" fmla="*/ 129437 h 286328"/>
                    <a:gd name="connsiteX1034" fmla="*/ 115717 w 235436"/>
                    <a:gd name="connsiteY1034" fmla="*/ 129437 h 286328"/>
                    <a:gd name="connsiteX1035" fmla="*/ 115466 w 235436"/>
                    <a:gd name="connsiteY1035" fmla="*/ 127050 h 286328"/>
                    <a:gd name="connsiteX1036" fmla="*/ 115466 w 235436"/>
                    <a:gd name="connsiteY1036" fmla="*/ 127050 h 286328"/>
                    <a:gd name="connsiteX1037" fmla="*/ 132546 w 235436"/>
                    <a:gd name="connsiteY1037" fmla="*/ 132702 h 286328"/>
                    <a:gd name="connsiteX1038" fmla="*/ 133049 w 235436"/>
                    <a:gd name="connsiteY1038" fmla="*/ 132451 h 286328"/>
                    <a:gd name="connsiteX1039" fmla="*/ 133175 w 235436"/>
                    <a:gd name="connsiteY1039" fmla="*/ 132451 h 286328"/>
                    <a:gd name="connsiteX1040" fmla="*/ 133426 w 235436"/>
                    <a:gd name="connsiteY1040" fmla="*/ 132451 h 286328"/>
                    <a:gd name="connsiteX1041" fmla="*/ 134305 w 235436"/>
                    <a:gd name="connsiteY1041" fmla="*/ 133707 h 286328"/>
                    <a:gd name="connsiteX1042" fmla="*/ 135309 w 235436"/>
                    <a:gd name="connsiteY1042" fmla="*/ 134209 h 286328"/>
                    <a:gd name="connsiteX1043" fmla="*/ 134807 w 235436"/>
                    <a:gd name="connsiteY1043" fmla="*/ 134209 h 286328"/>
                    <a:gd name="connsiteX1044" fmla="*/ 133300 w 235436"/>
                    <a:gd name="connsiteY1044" fmla="*/ 133833 h 286328"/>
                    <a:gd name="connsiteX1045" fmla="*/ 133175 w 235436"/>
                    <a:gd name="connsiteY1045" fmla="*/ 133079 h 286328"/>
                    <a:gd name="connsiteX1046" fmla="*/ 132546 w 235436"/>
                    <a:gd name="connsiteY1046" fmla="*/ 132702 h 286328"/>
                    <a:gd name="connsiteX1047" fmla="*/ 132546 w 235436"/>
                    <a:gd name="connsiteY1047" fmla="*/ 132702 h 286328"/>
                    <a:gd name="connsiteX1048" fmla="*/ 106297 w 235436"/>
                    <a:gd name="connsiteY1048" fmla="*/ 105448 h 286328"/>
                    <a:gd name="connsiteX1049" fmla="*/ 106423 w 235436"/>
                    <a:gd name="connsiteY1049" fmla="*/ 100927 h 286328"/>
                    <a:gd name="connsiteX1050" fmla="*/ 107051 w 235436"/>
                    <a:gd name="connsiteY1050" fmla="*/ 102559 h 286328"/>
                    <a:gd name="connsiteX1051" fmla="*/ 108307 w 235436"/>
                    <a:gd name="connsiteY1051" fmla="*/ 103313 h 286328"/>
                    <a:gd name="connsiteX1052" fmla="*/ 107427 w 235436"/>
                    <a:gd name="connsiteY1052" fmla="*/ 104820 h 286328"/>
                    <a:gd name="connsiteX1053" fmla="*/ 110191 w 235436"/>
                    <a:gd name="connsiteY1053" fmla="*/ 110346 h 286328"/>
                    <a:gd name="connsiteX1054" fmla="*/ 110693 w 235436"/>
                    <a:gd name="connsiteY1054" fmla="*/ 111602 h 286328"/>
                    <a:gd name="connsiteX1055" fmla="*/ 109186 w 235436"/>
                    <a:gd name="connsiteY1055" fmla="*/ 112230 h 286328"/>
                    <a:gd name="connsiteX1056" fmla="*/ 106549 w 235436"/>
                    <a:gd name="connsiteY1056" fmla="*/ 110723 h 286328"/>
                    <a:gd name="connsiteX1057" fmla="*/ 107804 w 235436"/>
                    <a:gd name="connsiteY1057" fmla="*/ 110723 h 286328"/>
                    <a:gd name="connsiteX1058" fmla="*/ 106674 w 235436"/>
                    <a:gd name="connsiteY1058" fmla="*/ 108965 h 286328"/>
                    <a:gd name="connsiteX1059" fmla="*/ 107804 w 235436"/>
                    <a:gd name="connsiteY1059" fmla="*/ 107081 h 286328"/>
                    <a:gd name="connsiteX1060" fmla="*/ 107553 w 235436"/>
                    <a:gd name="connsiteY1060" fmla="*/ 105950 h 286328"/>
                    <a:gd name="connsiteX1061" fmla="*/ 106297 w 235436"/>
                    <a:gd name="connsiteY1061" fmla="*/ 105448 h 28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Lst>
                  <a:rect l="l" t="t" r="r" b="b"/>
                  <a:pathLst>
                    <a:path w="235436" h="286328">
                      <a:moveTo>
                        <a:pt x="118103" y="170381"/>
                      </a:moveTo>
                      <a:cubicBezTo>
                        <a:pt x="119862" y="173269"/>
                        <a:pt x="120364" y="176535"/>
                        <a:pt x="119987" y="178419"/>
                      </a:cubicBezTo>
                      <a:cubicBezTo>
                        <a:pt x="119485" y="180303"/>
                        <a:pt x="118229" y="182689"/>
                        <a:pt x="119987" y="187587"/>
                      </a:cubicBezTo>
                      <a:cubicBezTo>
                        <a:pt x="121745" y="192485"/>
                        <a:pt x="121243" y="194369"/>
                        <a:pt x="122373" y="197509"/>
                      </a:cubicBezTo>
                      <a:cubicBezTo>
                        <a:pt x="123378" y="200649"/>
                        <a:pt x="122499" y="202533"/>
                        <a:pt x="125388" y="202533"/>
                      </a:cubicBezTo>
                      <a:cubicBezTo>
                        <a:pt x="128402" y="202533"/>
                        <a:pt x="128779" y="204919"/>
                        <a:pt x="132170" y="202407"/>
                      </a:cubicBezTo>
                      <a:cubicBezTo>
                        <a:pt x="135435" y="199895"/>
                        <a:pt x="133175" y="200523"/>
                        <a:pt x="133677" y="199519"/>
                      </a:cubicBezTo>
                      <a:cubicBezTo>
                        <a:pt x="134179" y="198514"/>
                        <a:pt x="136691" y="202156"/>
                        <a:pt x="135938" y="197509"/>
                      </a:cubicBezTo>
                      <a:cubicBezTo>
                        <a:pt x="135058" y="192862"/>
                        <a:pt x="140961" y="194495"/>
                        <a:pt x="140334" y="189597"/>
                      </a:cubicBezTo>
                      <a:cubicBezTo>
                        <a:pt x="139705" y="184824"/>
                        <a:pt x="139831" y="188341"/>
                        <a:pt x="139705" y="185954"/>
                      </a:cubicBezTo>
                      <a:cubicBezTo>
                        <a:pt x="139580" y="183568"/>
                        <a:pt x="138449" y="184573"/>
                        <a:pt x="141464" y="182312"/>
                      </a:cubicBezTo>
                      <a:cubicBezTo>
                        <a:pt x="144352" y="180051"/>
                        <a:pt x="147869" y="179800"/>
                        <a:pt x="148497" y="176158"/>
                      </a:cubicBezTo>
                      <a:cubicBezTo>
                        <a:pt x="149125" y="172516"/>
                        <a:pt x="145106" y="173897"/>
                        <a:pt x="143725" y="173269"/>
                      </a:cubicBezTo>
                      <a:cubicBezTo>
                        <a:pt x="142343" y="172641"/>
                        <a:pt x="141212" y="167241"/>
                        <a:pt x="139705" y="165985"/>
                      </a:cubicBezTo>
                      <a:cubicBezTo>
                        <a:pt x="138198" y="164729"/>
                        <a:pt x="139957" y="165231"/>
                        <a:pt x="138952" y="163473"/>
                      </a:cubicBezTo>
                      <a:cubicBezTo>
                        <a:pt x="138073" y="161715"/>
                        <a:pt x="138449" y="160710"/>
                        <a:pt x="137570" y="158826"/>
                      </a:cubicBezTo>
                      <a:cubicBezTo>
                        <a:pt x="136691" y="156942"/>
                        <a:pt x="134556" y="152169"/>
                        <a:pt x="134179" y="150285"/>
                      </a:cubicBezTo>
                      <a:cubicBezTo>
                        <a:pt x="133802" y="148402"/>
                        <a:pt x="134933" y="152923"/>
                        <a:pt x="135812" y="152169"/>
                      </a:cubicBezTo>
                      <a:cubicBezTo>
                        <a:pt x="136691" y="151416"/>
                        <a:pt x="136063" y="153551"/>
                        <a:pt x="137822" y="156816"/>
                      </a:cubicBezTo>
                      <a:cubicBezTo>
                        <a:pt x="139580" y="160082"/>
                        <a:pt x="138073" y="159580"/>
                        <a:pt x="139831" y="161840"/>
                      </a:cubicBezTo>
                      <a:cubicBezTo>
                        <a:pt x="141589" y="164101"/>
                        <a:pt x="142468" y="171009"/>
                        <a:pt x="143850" y="171134"/>
                      </a:cubicBezTo>
                      <a:cubicBezTo>
                        <a:pt x="145232" y="171260"/>
                        <a:pt x="150758" y="171762"/>
                        <a:pt x="151009" y="171888"/>
                      </a:cubicBezTo>
                      <a:cubicBezTo>
                        <a:pt x="151260" y="172013"/>
                        <a:pt x="152139" y="171637"/>
                        <a:pt x="152265" y="171260"/>
                      </a:cubicBezTo>
                      <a:cubicBezTo>
                        <a:pt x="152391" y="171009"/>
                        <a:pt x="152767" y="171511"/>
                        <a:pt x="153144" y="171385"/>
                      </a:cubicBezTo>
                      <a:cubicBezTo>
                        <a:pt x="153521" y="171260"/>
                        <a:pt x="152516" y="169753"/>
                        <a:pt x="153521" y="170129"/>
                      </a:cubicBezTo>
                      <a:cubicBezTo>
                        <a:pt x="154525" y="170506"/>
                        <a:pt x="154023" y="168120"/>
                        <a:pt x="153521" y="167241"/>
                      </a:cubicBezTo>
                      <a:cubicBezTo>
                        <a:pt x="153144" y="166362"/>
                        <a:pt x="151637" y="165482"/>
                        <a:pt x="151637" y="163975"/>
                      </a:cubicBezTo>
                      <a:cubicBezTo>
                        <a:pt x="151637" y="162719"/>
                        <a:pt x="148623" y="165608"/>
                        <a:pt x="147115" y="161212"/>
                      </a:cubicBezTo>
                      <a:cubicBezTo>
                        <a:pt x="146111" y="158198"/>
                        <a:pt x="144855" y="156188"/>
                        <a:pt x="145859" y="156440"/>
                      </a:cubicBezTo>
                      <a:cubicBezTo>
                        <a:pt x="145859" y="156440"/>
                        <a:pt x="146237" y="155937"/>
                        <a:pt x="146739" y="156816"/>
                      </a:cubicBezTo>
                      <a:cubicBezTo>
                        <a:pt x="146864" y="157068"/>
                        <a:pt x="149125" y="162719"/>
                        <a:pt x="150758" y="162594"/>
                      </a:cubicBezTo>
                      <a:cubicBezTo>
                        <a:pt x="152391" y="162468"/>
                        <a:pt x="151511" y="163724"/>
                        <a:pt x="154023" y="165734"/>
                      </a:cubicBezTo>
                      <a:cubicBezTo>
                        <a:pt x="156535" y="167743"/>
                        <a:pt x="158796" y="168622"/>
                        <a:pt x="159550" y="169753"/>
                      </a:cubicBezTo>
                      <a:cubicBezTo>
                        <a:pt x="160303" y="170883"/>
                        <a:pt x="160303" y="171511"/>
                        <a:pt x="160680" y="171511"/>
                      </a:cubicBezTo>
                      <a:cubicBezTo>
                        <a:pt x="161057" y="171511"/>
                        <a:pt x="161684" y="172893"/>
                        <a:pt x="162313" y="173144"/>
                      </a:cubicBezTo>
                      <a:cubicBezTo>
                        <a:pt x="162941" y="173395"/>
                        <a:pt x="160554" y="173646"/>
                        <a:pt x="162564" y="175404"/>
                      </a:cubicBezTo>
                      <a:cubicBezTo>
                        <a:pt x="164448" y="177163"/>
                        <a:pt x="164071" y="173646"/>
                        <a:pt x="164071" y="175656"/>
                      </a:cubicBezTo>
                      <a:cubicBezTo>
                        <a:pt x="163945" y="177540"/>
                        <a:pt x="166583" y="189973"/>
                        <a:pt x="168341" y="190476"/>
                      </a:cubicBezTo>
                      <a:cubicBezTo>
                        <a:pt x="170225" y="190978"/>
                        <a:pt x="169974" y="184824"/>
                        <a:pt x="170476" y="184950"/>
                      </a:cubicBezTo>
                      <a:cubicBezTo>
                        <a:pt x="171104" y="185075"/>
                        <a:pt x="174370" y="183819"/>
                        <a:pt x="174370" y="182563"/>
                      </a:cubicBezTo>
                      <a:cubicBezTo>
                        <a:pt x="174370" y="181307"/>
                        <a:pt x="177133" y="184573"/>
                        <a:pt x="176881" y="182438"/>
                      </a:cubicBezTo>
                      <a:cubicBezTo>
                        <a:pt x="176630" y="180303"/>
                        <a:pt x="178012" y="184824"/>
                        <a:pt x="178766" y="185829"/>
                      </a:cubicBezTo>
                      <a:cubicBezTo>
                        <a:pt x="179519" y="186834"/>
                        <a:pt x="179017" y="186457"/>
                        <a:pt x="179142" y="186834"/>
                      </a:cubicBezTo>
                      <a:cubicBezTo>
                        <a:pt x="179268" y="187336"/>
                        <a:pt x="180398" y="188215"/>
                        <a:pt x="180021" y="189848"/>
                      </a:cubicBezTo>
                      <a:cubicBezTo>
                        <a:pt x="179644" y="191481"/>
                        <a:pt x="181654" y="191355"/>
                        <a:pt x="181905" y="190476"/>
                      </a:cubicBezTo>
                      <a:cubicBezTo>
                        <a:pt x="182157" y="189597"/>
                        <a:pt x="183664" y="196504"/>
                        <a:pt x="183413" y="198388"/>
                      </a:cubicBezTo>
                      <a:cubicBezTo>
                        <a:pt x="183287" y="200272"/>
                        <a:pt x="184543" y="200775"/>
                        <a:pt x="184794" y="202659"/>
                      </a:cubicBezTo>
                      <a:cubicBezTo>
                        <a:pt x="185171" y="204542"/>
                        <a:pt x="187055" y="208938"/>
                        <a:pt x="187683" y="208436"/>
                      </a:cubicBezTo>
                      <a:cubicBezTo>
                        <a:pt x="188311" y="207933"/>
                        <a:pt x="187934" y="206803"/>
                        <a:pt x="187306" y="206803"/>
                      </a:cubicBezTo>
                      <a:cubicBezTo>
                        <a:pt x="186803" y="206929"/>
                        <a:pt x="187055" y="204794"/>
                        <a:pt x="185924" y="203035"/>
                      </a:cubicBezTo>
                      <a:cubicBezTo>
                        <a:pt x="184794" y="201277"/>
                        <a:pt x="183538" y="200649"/>
                        <a:pt x="183789" y="198011"/>
                      </a:cubicBezTo>
                      <a:cubicBezTo>
                        <a:pt x="184040" y="195248"/>
                        <a:pt x="184543" y="196128"/>
                        <a:pt x="184920" y="196630"/>
                      </a:cubicBezTo>
                      <a:cubicBezTo>
                        <a:pt x="185171" y="197132"/>
                        <a:pt x="185799" y="197383"/>
                        <a:pt x="186301" y="197886"/>
                      </a:cubicBezTo>
                      <a:cubicBezTo>
                        <a:pt x="186678" y="198388"/>
                        <a:pt x="185924" y="199142"/>
                        <a:pt x="187055" y="199895"/>
                      </a:cubicBezTo>
                      <a:cubicBezTo>
                        <a:pt x="188185" y="200649"/>
                        <a:pt x="187557" y="202407"/>
                        <a:pt x="188939" y="201779"/>
                      </a:cubicBezTo>
                      <a:cubicBezTo>
                        <a:pt x="189315" y="201654"/>
                        <a:pt x="192079" y="199519"/>
                        <a:pt x="188939" y="194872"/>
                      </a:cubicBezTo>
                      <a:cubicBezTo>
                        <a:pt x="186678" y="191606"/>
                        <a:pt x="189943" y="190350"/>
                        <a:pt x="190195" y="190978"/>
                      </a:cubicBezTo>
                      <a:cubicBezTo>
                        <a:pt x="190446" y="191732"/>
                        <a:pt x="190446" y="192360"/>
                        <a:pt x="192079" y="192485"/>
                      </a:cubicBezTo>
                      <a:cubicBezTo>
                        <a:pt x="193711" y="192737"/>
                        <a:pt x="192455" y="191857"/>
                        <a:pt x="193586" y="192737"/>
                      </a:cubicBezTo>
                      <a:cubicBezTo>
                        <a:pt x="194716" y="193616"/>
                        <a:pt x="196474" y="192862"/>
                        <a:pt x="196726" y="192109"/>
                      </a:cubicBezTo>
                      <a:cubicBezTo>
                        <a:pt x="196977" y="191355"/>
                        <a:pt x="197102" y="191606"/>
                        <a:pt x="196977" y="190350"/>
                      </a:cubicBezTo>
                      <a:cubicBezTo>
                        <a:pt x="196851" y="189094"/>
                        <a:pt x="198358" y="189345"/>
                        <a:pt x="197982" y="188466"/>
                      </a:cubicBezTo>
                      <a:cubicBezTo>
                        <a:pt x="197730" y="187587"/>
                        <a:pt x="197228" y="186708"/>
                        <a:pt x="197856" y="186457"/>
                      </a:cubicBezTo>
                      <a:cubicBezTo>
                        <a:pt x="198484" y="186206"/>
                        <a:pt x="197102" y="183568"/>
                        <a:pt x="196349" y="181810"/>
                      </a:cubicBezTo>
                      <a:cubicBezTo>
                        <a:pt x="195595" y="180051"/>
                        <a:pt x="195093" y="179675"/>
                        <a:pt x="196097" y="179172"/>
                      </a:cubicBezTo>
                      <a:cubicBezTo>
                        <a:pt x="197102" y="178670"/>
                        <a:pt x="198233" y="179172"/>
                        <a:pt x="196600" y="178042"/>
                      </a:cubicBezTo>
                      <a:cubicBezTo>
                        <a:pt x="194967" y="176912"/>
                        <a:pt x="195846" y="177163"/>
                        <a:pt x="195344" y="177791"/>
                      </a:cubicBezTo>
                      <a:cubicBezTo>
                        <a:pt x="194842" y="178419"/>
                        <a:pt x="194590" y="176786"/>
                        <a:pt x="194590" y="176535"/>
                      </a:cubicBezTo>
                      <a:cubicBezTo>
                        <a:pt x="194590" y="176409"/>
                        <a:pt x="193083" y="174776"/>
                        <a:pt x="193711" y="174525"/>
                      </a:cubicBezTo>
                      <a:cubicBezTo>
                        <a:pt x="194339" y="174274"/>
                        <a:pt x="194465" y="175028"/>
                        <a:pt x="194590" y="174274"/>
                      </a:cubicBezTo>
                      <a:cubicBezTo>
                        <a:pt x="194716" y="173521"/>
                        <a:pt x="196097" y="173144"/>
                        <a:pt x="196474" y="174274"/>
                      </a:cubicBezTo>
                      <a:cubicBezTo>
                        <a:pt x="196851" y="175404"/>
                        <a:pt x="196223" y="174148"/>
                        <a:pt x="196097" y="174902"/>
                      </a:cubicBezTo>
                      <a:cubicBezTo>
                        <a:pt x="195972" y="175656"/>
                        <a:pt x="196097" y="176158"/>
                        <a:pt x="196851" y="175907"/>
                      </a:cubicBezTo>
                      <a:cubicBezTo>
                        <a:pt x="197605" y="175656"/>
                        <a:pt x="197982" y="176284"/>
                        <a:pt x="198484" y="176912"/>
                      </a:cubicBezTo>
                      <a:cubicBezTo>
                        <a:pt x="198986" y="177540"/>
                        <a:pt x="198735" y="178796"/>
                        <a:pt x="199112" y="179172"/>
                      </a:cubicBezTo>
                      <a:cubicBezTo>
                        <a:pt x="199363" y="179549"/>
                        <a:pt x="200493" y="180554"/>
                        <a:pt x="200368" y="180679"/>
                      </a:cubicBezTo>
                      <a:cubicBezTo>
                        <a:pt x="200242" y="180805"/>
                        <a:pt x="200619" y="181307"/>
                        <a:pt x="200745" y="182061"/>
                      </a:cubicBezTo>
                      <a:cubicBezTo>
                        <a:pt x="200870" y="182815"/>
                        <a:pt x="200368" y="183442"/>
                        <a:pt x="202252" y="184196"/>
                      </a:cubicBezTo>
                      <a:cubicBezTo>
                        <a:pt x="204136" y="185075"/>
                        <a:pt x="200493" y="178544"/>
                        <a:pt x="200368" y="177791"/>
                      </a:cubicBezTo>
                      <a:cubicBezTo>
                        <a:pt x="200242" y="177037"/>
                        <a:pt x="199614" y="176535"/>
                        <a:pt x="200619" y="177037"/>
                      </a:cubicBezTo>
                      <a:cubicBezTo>
                        <a:pt x="201624" y="177540"/>
                        <a:pt x="201121" y="176158"/>
                        <a:pt x="200870" y="176660"/>
                      </a:cubicBezTo>
                      <a:cubicBezTo>
                        <a:pt x="200619" y="177163"/>
                        <a:pt x="200493" y="176158"/>
                        <a:pt x="200745" y="176032"/>
                      </a:cubicBezTo>
                      <a:cubicBezTo>
                        <a:pt x="200996" y="175907"/>
                        <a:pt x="201749" y="176912"/>
                        <a:pt x="201372" y="175656"/>
                      </a:cubicBezTo>
                      <a:cubicBezTo>
                        <a:pt x="201121" y="174400"/>
                        <a:pt x="201624" y="173395"/>
                        <a:pt x="202377" y="173646"/>
                      </a:cubicBezTo>
                      <a:cubicBezTo>
                        <a:pt x="203131" y="173897"/>
                        <a:pt x="203382" y="176535"/>
                        <a:pt x="205140" y="172390"/>
                      </a:cubicBezTo>
                      <a:cubicBezTo>
                        <a:pt x="206899" y="168245"/>
                        <a:pt x="205392" y="165357"/>
                        <a:pt x="205266" y="162594"/>
                      </a:cubicBezTo>
                      <a:cubicBezTo>
                        <a:pt x="205140" y="159831"/>
                        <a:pt x="203005" y="156942"/>
                        <a:pt x="202377" y="157821"/>
                      </a:cubicBezTo>
                      <a:cubicBezTo>
                        <a:pt x="201749" y="158826"/>
                        <a:pt x="198860" y="157319"/>
                        <a:pt x="201247" y="152295"/>
                      </a:cubicBezTo>
                      <a:cubicBezTo>
                        <a:pt x="203633" y="147271"/>
                        <a:pt x="208029" y="151165"/>
                        <a:pt x="208029" y="151290"/>
                      </a:cubicBezTo>
                      <a:cubicBezTo>
                        <a:pt x="208029" y="151416"/>
                        <a:pt x="207527" y="151918"/>
                        <a:pt x="208280" y="151918"/>
                      </a:cubicBezTo>
                      <a:cubicBezTo>
                        <a:pt x="209034" y="151918"/>
                        <a:pt x="208531" y="151541"/>
                        <a:pt x="208783" y="151667"/>
                      </a:cubicBezTo>
                      <a:cubicBezTo>
                        <a:pt x="209034" y="151793"/>
                        <a:pt x="209662" y="152421"/>
                        <a:pt x="209662" y="151793"/>
                      </a:cubicBezTo>
                      <a:cubicBezTo>
                        <a:pt x="209662" y="151165"/>
                        <a:pt x="208406" y="151165"/>
                        <a:pt x="208908" y="149658"/>
                      </a:cubicBezTo>
                      <a:cubicBezTo>
                        <a:pt x="209411" y="148276"/>
                        <a:pt x="209285" y="146769"/>
                        <a:pt x="210290" y="147020"/>
                      </a:cubicBezTo>
                      <a:cubicBezTo>
                        <a:pt x="211295" y="147271"/>
                        <a:pt x="210290" y="147774"/>
                        <a:pt x="210666" y="147522"/>
                      </a:cubicBezTo>
                      <a:cubicBezTo>
                        <a:pt x="211169" y="147271"/>
                        <a:pt x="210290" y="147146"/>
                        <a:pt x="211169" y="148778"/>
                      </a:cubicBezTo>
                      <a:cubicBezTo>
                        <a:pt x="212048" y="150411"/>
                        <a:pt x="211922" y="148653"/>
                        <a:pt x="212299" y="148150"/>
                      </a:cubicBezTo>
                      <a:cubicBezTo>
                        <a:pt x="212676" y="147522"/>
                        <a:pt x="212927" y="149030"/>
                        <a:pt x="212299" y="147271"/>
                      </a:cubicBezTo>
                      <a:cubicBezTo>
                        <a:pt x="211797" y="145513"/>
                        <a:pt x="213178" y="146266"/>
                        <a:pt x="213178" y="146769"/>
                      </a:cubicBezTo>
                      <a:cubicBezTo>
                        <a:pt x="213178" y="147271"/>
                        <a:pt x="212676" y="147146"/>
                        <a:pt x="213304" y="149030"/>
                      </a:cubicBezTo>
                      <a:cubicBezTo>
                        <a:pt x="213932" y="150913"/>
                        <a:pt x="213053" y="150913"/>
                        <a:pt x="212802" y="152797"/>
                      </a:cubicBezTo>
                      <a:cubicBezTo>
                        <a:pt x="212551" y="154681"/>
                        <a:pt x="212551" y="155560"/>
                        <a:pt x="212299" y="157193"/>
                      </a:cubicBezTo>
                      <a:cubicBezTo>
                        <a:pt x="211922" y="158826"/>
                        <a:pt x="214686" y="164980"/>
                        <a:pt x="215314" y="167869"/>
                      </a:cubicBezTo>
                      <a:cubicBezTo>
                        <a:pt x="215942" y="170757"/>
                        <a:pt x="216946" y="169502"/>
                        <a:pt x="216318" y="167366"/>
                      </a:cubicBezTo>
                      <a:cubicBezTo>
                        <a:pt x="215690" y="165231"/>
                        <a:pt x="217323" y="167492"/>
                        <a:pt x="216444" y="165357"/>
                      </a:cubicBezTo>
                      <a:cubicBezTo>
                        <a:pt x="215565" y="163222"/>
                        <a:pt x="217700" y="164226"/>
                        <a:pt x="216821" y="162719"/>
                      </a:cubicBezTo>
                      <a:cubicBezTo>
                        <a:pt x="215942" y="161212"/>
                        <a:pt x="216193" y="159328"/>
                        <a:pt x="216444" y="160207"/>
                      </a:cubicBezTo>
                      <a:cubicBezTo>
                        <a:pt x="216695" y="160961"/>
                        <a:pt x="217072" y="160333"/>
                        <a:pt x="216569" y="159328"/>
                      </a:cubicBezTo>
                      <a:cubicBezTo>
                        <a:pt x="216067" y="158323"/>
                        <a:pt x="215942" y="159203"/>
                        <a:pt x="215942" y="158323"/>
                      </a:cubicBezTo>
                      <a:cubicBezTo>
                        <a:pt x="215816" y="157570"/>
                        <a:pt x="216821" y="158700"/>
                        <a:pt x="215942" y="157319"/>
                      </a:cubicBezTo>
                      <a:cubicBezTo>
                        <a:pt x="215062" y="155937"/>
                        <a:pt x="215314" y="157570"/>
                        <a:pt x="214309" y="153049"/>
                      </a:cubicBezTo>
                      <a:cubicBezTo>
                        <a:pt x="213429" y="148527"/>
                        <a:pt x="214560" y="152923"/>
                        <a:pt x="215062" y="152672"/>
                      </a:cubicBezTo>
                      <a:cubicBezTo>
                        <a:pt x="215565" y="152421"/>
                        <a:pt x="216569" y="151039"/>
                        <a:pt x="217825" y="153049"/>
                      </a:cubicBezTo>
                      <a:cubicBezTo>
                        <a:pt x="219081" y="155058"/>
                        <a:pt x="218202" y="149909"/>
                        <a:pt x="219835" y="148778"/>
                      </a:cubicBezTo>
                      <a:cubicBezTo>
                        <a:pt x="221342" y="147774"/>
                        <a:pt x="221845" y="149658"/>
                        <a:pt x="220840" y="147271"/>
                      </a:cubicBezTo>
                      <a:cubicBezTo>
                        <a:pt x="219835" y="144885"/>
                        <a:pt x="219584" y="146141"/>
                        <a:pt x="219584" y="146141"/>
                      </a:cubicBezTo>
                      <a:cubicBezTo>
                        <a:pt x="219584" y="146141"/>
                        <a:pt x="217825" y="144257"/>
                        <a:pt x="217198" y="143001"/>
                      </a:cubicBezTo>
                      <a:cubicBezTo>
                        <a:pt x="216569" y="141745"/>
                        <a:pt x="216444" y="142122"/>
                        <a:pt x="217323" y="142247"/>
                      </a:cubicBezTo>
                      <a:cubicBezTo>
                        <a:pt x="218202" y="142373"/>
                        <a:pt x="219081" y="142624"/>
                        <a:pt x="218579" y="140238"/>
                      </a:cubicBezTo>
                      <a:cubicBezTo>
                        <a:pt x="218076" y="137852"/>
                        <a:pt x="217825" y="140363"/>
                        <a:pt x="217574" y="138731"/>
                      </a:cubicBezTo>
                      <a:cubicBezTo>
                        <a:pt x="217449" y="137098"/>
                        <a:pt x="218705" y="139861"/>
                        <a:pt x="218956" y="139861"/>
                      </a:cubicBezTo>
                      <a:cubicBezTo>
                        <a:pt x="219207" y="139861"/>
                        <a:pt x="219081" y="138228"/>
                        <a:pt x="219835" y="139233"/>
                      </a:cubicBezTo>
                      <a:cubicBezTo>
                        <a:pt x="220588" y="140112"/>
                        <a:pt x="220086" y="140740"/>
                        <a:pt x="220965" y="140363"/>
                      </a:cubicBezTo>
                      <a:cubicBezTo>
                        <a:pt x="221845" y="139987"/>
                        <a:pt x="222724" y="141996"/>
                        <a:pt x="221593" y="139736"/>
                      </a:cubicBezTo>
                      <a:cubicBezTo>
                        <a:pt x="220337" y="137600"/>
                        <a:pt x="220965" y="137475"/>
                        <a:pt x="221216" y="136972"/>
                      </a:cubicBezTo>
                      <a:cubicBezTo>
                        <a:pt x="221468" y="136596"/>
                        <a:pt x="221342" y="136470"/>
                        <a:pt x="221216" y="136093"/>
                      </a:cubicBezTo>
                      <a:cubicBezTo>
                        <a:pt x="221091" y="135716"/>
                        <a:pt x="220840" y="134963"/>
                        <a:pt x="219458" y="133581"/>
                      </a:cubicBezTo>
                      <a:cubicBezTo>
                        <a:pt x="218202" y="132200"/>
                        <a:pt x="219207" y="133581"/>
                        <a:pt x="218579" y="133581"/>
                      </a:cubicBezTo>
                      <a:cubicBezTo>
                        <a:pt x="217951" y="133581"/>
                        <a:pt x="220463" y="137224"/>
                        <a:pt x="219081" y="135968"/>
                      </a:cubicBezTo>
                      <a:cubicBezTo>
                        <a:pt x="217825" y="134712"/>
                        <a:pt x="217951" y="133205"/>
                        <a:pt x="215062" y="131069"/>
                      </a:cubicBezTo>
                      <a:cubicBezTo>
                        <a:pt x="212174" y="128934"/>
                        <a:pt x="210164" y="127050"/>
                        <a:pt x="208783" y="126674"/>
                      </a:cubicBezTo>
                      <a:cubicBezTo>
                        <a:pt x="207401" y="126297"/>
                        <a:pt x="206396" y="125669"/>
                        <a:pt x="207401" y="127302"/>
                      </a:cubicBezTo>
                      <a:cubicBezTo>
                        <a:pt x="208531" y="129060"/>
                        <a:pt x="209034" y="129060"/>
                        <a:pt x="208657" y="129688"/>
                      </a:cubicBezTo>
                      <a:cubicBezTo>
                        <a:pt x="208280" y="130316"/>
                        <a:pt x="206145" y="127176"/>
                        <a:pt x="206145" y="126925"/>
                      </a:cubicBezTo>
                      <a:cubicBezTo>
                        <a:pt x="206145" y="126674"/>
                        <a:pt x="206522" y="127553"/>
                        <a:pt x="206648" y="127050"/>
                      </a:cubicBezTo>
                      <a:cubicBezTo>
                        <a:pt x="206773" y="126548"/>
                        <a:pt x="206145" y="125418"/>
                        <a:pt x="205768" y="125794"/>
                      </a:cubicBezTo>
                      <a:cubicBezTo>
                        <a:pt x="205392" y="126297"/>
                        <a:pt x="205894" y="127553"/>
                        <a:pt x="204010" y="126171"/>
                      </a:cubicBezTo>
                      <a:cubicBezTo>
                        <a:pt x="203885" y="126046"/>
                        <a:pt x="202754" y="126171"/>
                        <a:pt x="202377" y="126171"/>
                      </a:cubicBezTo>
                      <a:cubicBezTo>
                        <a:pt x="201121" y="126171"/>
                        <a:pt x="200368" y="121022"/>
                        <a:pt x="197228" y="121524"/>
                      </a:cubicBezTo>
                      <a:cubicBezTo>
                        <a:pt x="194088" y="121901"/>
                        <a:pt x="196223" y="121524"/>
                        <a:pt x="195595" y="120645"/>
                      </a:cubicBezTo>
                      <a:cubicBezTo>
                        <a:pt x="194967" y="119766"/>
                        <a:pt x="194716" y="120394"/>
                        <a:pt x="194339" y="120143"/>
                      </a:cubicBezTo>
                      <a:cubicBezTo>
                        <a:pt x="193962" y="119892"/>
                        <a:pt x="194213" y="119264"/>
                        <a:pt x="193962" y="119515"/>
                      </a:cubicBezTo>
                      <a:cubicBezTo>
                        <a:pt x="193711" y="119892"/>
                        <a:pt x="193837" y="118887"/>
                        <a:pt x="193711" y="118761"/>
                      </a:cubicBezTo>
                      <a:cubicBezTo>
                        <a:pt x="193586" y="118636"/>
                        <a:pt x="192581" y="118510"/>
                        <a:pt x="193460" y="118259"/>
                      </a:cubicBezTo>
                      <a:cubicBezTo>
                        <a:pt x="194339" y="118008"/>
                        <a:pt x="191827" y="116124"/>
                        <a:pt x="191325" y="116500"/>
                      </a:cubicBezTo>
                      <a:cubicBezTo>
                        <a:pt x="190823" y="116877"/>
                        <a:pt x="191450" y="118636"/>
                        <a:pt x="190948" y="118259"/>
                      </a:cubicBezTo>
                      <a:cubicBezTo>
                        <a:pt x="190446" y="117882"/>
                        <a:pt x="187808" y="112984"/>
                        <a:pt x="187055" y="114114"/>
                      </a:cubicBezTo>
                      <a:cubicBezTo>
                        <a:pt x="186301" y="115244"/>
                        <a:pt x="187808" y="114868"/>
                        <a:pt x="187808" y="115244"/>
                      </a:cubicBezTo>
                      <a:cubicBezTo>
                        <a:pt x="187808" y="115621"/>
                        <a:pt x="186552" y="115872"/>
                        <a:pt x="187432" y="116124"/>
                      </a:cubicBezTo>
                      <a:cubicBezTo>
                        <a:pt x="188185" y="116375"/>
                        <a:pt x="187180" y="115496"/>
                        <a:pt x="188059" y="117380"/>
                      </a:cubicBezTo>
                      <a:cubicBezTo>
                        <a:pt x="188939" y="119264"/>
                        <a:pt x="186427" y="116124"/>
                        <a:pt x="187432" y="118133"/>
                      </a:cubicBezTo>
                      <a:cubicBezTo>
                        <a:pt x="188436" y="120143"/>
                        <a:pt x="185673" y="116626"/>
                        <a:pt x="185673" y="117631"/>
                      </a:cubicBezTo>
                      <a:cubicBezTo>
                        <a:pt x="185547" y="118636"/>
                        <a:pt x="184292" y="116124"/>
                        <a:pt x="183915" y="115872"/>
                      </a:cubicBezTo>
                      <a:cubicBezTo>
                        <a:pt x="183538" y="115621"/>
                        <a:pt x="184669" y="118761"/>
                        <a:pt x="184543" y="119012"/>
                      </a:cubicBezTo>
                      <a:cubicBezTo>
                        <a:pt x="184417" y="119389"/>
                        <a:pt x="182157" y="116500"/>
                        <a:pt x="182659" y="115998"/>
                      </a:cubicBezTo>
                      <a:cubicBezTo>
                        <a:pt x="183036" y="115496"/>
                        <a:pt x="182659" y="116626"/>
                        <a:pt x="181780" y="115370"/>
                      </a:cubicBezTo>
                      <a:cubicBezTo>
                        <a:pt x="180900" y="114114"/>
                        <a:pt x="182408" y="115621"/>
                        <a:pt x="182031" y="114491"/>
                      </a:cubicBezTo>
                      <a:cubicBezTo>
                        <a:pt x="181654" y="113361"/>
                        <a:pt x="181403" y="113989"/>
                        <a:pt x="181277" y="113737"/>
                      </a:cubicBezTo>
                      <a:cubicBezTo>
                        <a:pt x="181152" y="113486"/>
                        <a:pt x="181780" y="113863"/>
                        <a:pt x="180900" y="112230"/>
                      </a:cubicBezTo>
                      <a:cubicBezTo>
                        <a:pt x="180021" y="110598"/>
                        <a:pt x="179142" y="110849"/>
                        <a:pt x="179017" y="110849"/>
                      </a:cubicBezTo>
                      <a:cubicBezTo>
                        <a:pt x="178891" y="110723"/>
                        <a:pt x="178514" y="109467"/>
                        <a:pt x="177635" y="109593"/>
                      </a:cubicBezTo>
                      <a:cubicBezTo>
                        <a:pt x="176756" y="109718"/>
                        <a:pt x="178891" y="111477"/>
                        <a:pt x="177133" y="111225"/>
                      </a:cubicBezTo>
                      <a:cubicBezTo>
                        <a:pt x="175374" y="110974"/>
                        <a:pt x="174746" y="108839"/>
                        <a:pt x="174244" y="108588"/>
                      </a:cubicBezTo>
                      <a:cubicBezTo>
                        <a:pt x="173741" y="108462"/>
                        <a:pt x="172360" y="107834"/>
                        <a:pt x="172234" y="108086"/>
                      </a:cubicBezTo>
                      <a:cubicBezTo>
                        <a:pt x="172109" y="108462"/>
                        <a:pt x="173239" y="109970"/>
                        <a:pt x="172234" y="108714"/>
                      </a:cubicBezTo>
                      <a:cubicBezTo>
                        <a:pt x="171356" y="107458"/>
                        <a:pt x="171858" y="107834"/>
                        <a:pt x="171230" y="107458"/>
                      </a:cubicBezTo>
                      <a:cubicBezTo>
                        <a:pt x="170727" y="107206"/>
                        <a:pt x="169723" y="105699"/>
                        <a:pt x="169597" y="106578"/>
                      </a:cubicBezTo>
                      <a:cubicBezTo>
                        <a:pt x="169471" y="107458"/>
                        <a:pt x="170100" y="107834"/>
                        <a:pt x="169597" y="108588"/>
                      </a:cubicBezTo>
                      <a:cubicBezTo>
                        <a:pt x="169095" y="109342"/>
                        <a:pt x="169220" y="110095"/>
                        <a:pt x="168592" y="108965"/>
                      </a:cubicBezTo>
                      <a:cubicBezTo>
                        <a:pt x="167964" y="107960"/>
                        <a:pt x="169848" y="103062"/>
                        <a:pt x="169723" y="102559"/>
                      </a:cubicBezTo>
                      <a:cubicBezTo>
                        <a:pt x="169597" y="102057"/>
                        <a:pt x="168843" y="102183"/>
                        <a:pt x="168969" y="101555"/>
                      </a:cubicBezTo>
                      <a:cubicBezTo>
                        <a:pt x="169095" y="100927"/>
                        <a:pt x="169848" y="102685"/>
                        <a:pt x="168843" y="100299"/>
                      </a:cubicBezTo>
                      <a:cubicBezTo>
                        <a:pt x="167839" y="97912"/>
                        <a:pt x="168216" y="100173"/>
                        <a:pt x="166834" y="97912"/>
                      </a:cubicBezTo>
                      <a:cubicBezTo>
                        <a:pt x="165453" y="95652"/>
                        <a:pt x="165201" y="97285"/>
                        <a:pt x="165201" y="97536"/>
                      </a:cubicBezTo>
                      <a:cubicBezTo>
                        <a:pt x="165201" y="97787"/>
                        <a:pt x="165829" y="97285"/>
                        <a:pt x="165453" y="98540"/>
                      </a:cubicBezTo>
                      <a:cubicBezTo>
                        <a:pt x="165076" y="99796"/>
                        <a:pt x="164950" y="97033"/>
                        <a:pt x="164699" y="96656"/>
                      </a:cubicBezTo>
                      <a:cubicBezTo>
                        <a:pt x="164448" y="96280"/>
                        <a:pt x="163192" y="96405"/>
                        <a:pt x="162941" y="96028"/>
                      </a:cubicBezTo>
                      <a:cubicBezTo>
                        <a:pt x="162689" y="95652"/>
                        <a:pt x="163820" y="95149"/>
                        <a:pt x="162313" y="94019"/>
                      </a:cubicBezTo>
                      <a:cubicBezTo>
                        <a:pt x="159926" y="92135"/>
                        <a:pt x="163443" y="98792"/>
                        <a:pt x="162689" y="98540"/>
                      </a:cubicBezTo>
                      <a:cubicBezTo>
                        <a:pt x="160931" y="97912"/>
                        <a:pt x="161936" y="98289"/>
                        <a:pt x="162187" y="98792"/>
                      </a:cubicBezTo>
                      <a:cubicBezTo>
                        <a:pt x="162438" y="99294"/>
                        <a:pt x="162313" y="99671"/>
                        <a:pt x="162061" y="99545"/>
                      </a:cubicBezTo>
                      <a:cubicBezTo>
                        <a:pt x="161810" y="99294"/>
                        <a:pt x="161936" y="98289"/>
                        <a:pt x="161433" y="98415"/>
                      </a:cubicBezTo>
                      <a:cubicBezTo>
                        <a:pt x="160805" y="98540"/>
                        <a:pt x="160554" y="99168"/>
                        <a:pt x="160303" y="98917"/>
                      </a:cubicBezTo>
                      <a:cubicBezTo>
                        <a:pt x="160052" y="98666"/>
                        <a:pt x="160805" y="98917"/>
                        <a:pt x="160303" y="98164"/>
                      </a:cubicBezTo>
                      <a:cubicBezTo>
                        <a:pt x="159801" y="97410"/>
                        <a:pt x="158294" y="97912"/>
                        <a:pt x="159047" y="98289"/>
                      </a:cubicBezTo>
                      <a:cubicBezTo>
                        <a:pt x="159926" y="98666"/>
                        <a:pt x="155907" y="98792"/>
                        <a:pt x="156535" y="99420"/>
                      </a:cubicBezTo>
                      <a:cubicBezTo>
                        <a:pt x="157163" y="100048"/>
                        <a:pt x="155279" y="99545"/>
                        <a:pt x="156410" y="100927"/>
                      </a:cubicBezTo>
                      <a:cubicBezTo>
                        <a:pt x="157540" y="102308"/>
                        <a:pt x="156535" y="100550"/>
                        <a:pt x="156535" y="101178"/>
                      </a:cubicBezTo>
                      <a:cubicBezTo>
                        <a:pt x="156410" y="101931"/>
                        <a:pt x="157917" y="102434"/>
                        <a:pt x="157917" y="103062"/>
                      </a:cubicBezTo>
                      <a:cubicBezTo>
                        <a:pt x="157917" y="103690"/>
                        <a:pt x="157540" y="103187"/>
                        <a:pt x="157414" y="103439"/>
                      </a:cubicBezTo>
                      <a:cubicBezTo>
                        <a:pt x="157289" y="103815"/>
                        <a:pt x="157791" y="103941"/>
                        <a:pt x="157665" y="104067"/>
                      </a:cubicBezTo>
                      <a:cubicBezTo>
                        <a:pt x="157540" y="104318"/>
                        <a:pt x="157289" y="103941"/>
                        <a:pt x="157163" y="103564"/>
                      </a:cubicBezTo>
                      <a:cubicBezTo>
                        <a:pt x="157038" y="103187"/>
                        <a:pt x="157665" y="103062"/>
                        <a:pt x="157414" y="102811"/>
                      </a:cubicBezTo>
                      <a:cubicBezTo>
                        <a:pt x="157163" y="102559"/>
                        <a:pt x="152767" y="101806"/>
                        <a:pt x="156158" y="105699"/>
                      </a:cubicBezTo>
                      <a:cubicBezTo>
                        <a:pt x="159424" y="109593"/>
                        <a:pt x="157665" y="111979"/>
                        <a:pt x="159550" y="112356"/>
                      </a:cubicBezTo>
                      <a:cubicBezTo>
                        <a:pt x="161308" y="112733"/>
                        <a:pt x="160177" y="115621"/>
                        <a:pt x="158545" y="111602"/>
                      </a:cubicBezTo>
                      <a:cubicBezTo>
                        <a:pt x="158042" y="110472"/>
                        <a:pt x="158042" y="110221"/>
                        <a:pt x="157917" y="109970"/>
                      </a:cubicBezTo>
                      <a:cubicBezTo>
                        <a:pt x="157540" y="108839"/>
                        <a:pt x="157414" y="111979"/>
                        <a:pt x="157289" y="109467"/>
                      </a:cubicBezTo>
                      <a:cubicBezTo>
                        <a:pt x="157163" y="106955"/>
                        <a:pt x="156410" y="107458"/>
                        <a:pt x="154777" y="105323"/>
                      </a:cubicBezTo>
                      <a:cubicBezTo>
                        <a:pt x="153270" y="103187"/>
                        <a:pt x="153144" y="104820"/>
                        <a:pt x="153395" y="104946"/>
                      </a:cubicBezTo>
                      <a:cubicBezTo>
                        <a:pt x="153772" y="105071"/>
                        <a:pt x="154274" y="105825"/>
                        <a:pt x="154023" y="105950"/>
                      </a:cubicBezTo>
                      <a:cubicBezTo>
                        <a:pt x="153772" y="105950"/>
                        <a:pt x="152391" y="103815"/>
                        <a:pt x="152767" y="105071"/>
                      </a:cubicBezTo>
                      <a:cubicBezTo>
                        <a:pt x="153144" y="106453"/>
                        <a:pt x="155028" y="107583"/>
                        <a:pt x="155028" y="108086"/>
                      </a:cubicBezTo>
                      <a:cubicBezTo>
                        <a:pt x="155028" y="108588"/>
                        <a:pt x="152767" y="106578"/>
                        <a:pt x="152642" y="105950"/>
                      </a:cubicBezTo>
                      <a:cubicBezTo>
                        <a:pt x="152516" y="105448"/>
                        <a:pt x="151888" y="102559"/>
                        <a:pt x="151511" y="102685"/>
                      </a:cubicBezTo>
                      <a:cubicBezTo>
                        <a:pt x="151135" y="102811"/>
                        <a:pt x="152139" y="103815"/>
                        <a:pt x="151762" y="104443"/>
                      </a:cubicBezTo>
                      <a:cubicBezTo>
                        <a:pt x="151386" y="104946"/>
                        <a:pt x="151135" y="104192"/>
                        <a:pt x="151511" y="105825"/>
                      </a:cubicBezTo>
                      <a:cubicBezTo>
                        <a:pt x="151888" y="107458"/>
                        <a:pt x="152767" y="105825"/>
                        <a:pt x="152642" y="108211"/>
                      </a:cubicBezTo>
                      <a:cubicBezTo>
                        <a:pt x="152516" y="110598"/>
                        <a:pt x="155782" y="111728"/>
                        <a:pt x="156158" y="113612"/>
                      </a:cubicBezTo>
                      <a:cubicBezTo>
                        <a:pt x="156786" y="116375"/>
                        <a:pt x="156912" y="114365"/>
                        <a:pt x="157038" y="115370"/>
                      </a:cubicBezTo>
                      <a:cubicBezTo>
                        <a:pt x="157163" y="115872"/>
                        <a:pt x="156535" y="116500"/>
                        <a:pt x="156033" y="114491"/>
                      </a:cubicBezTo>
                      <a:cubicBezTo>
                        <a:pt x="155530" y="112481"/>
                        <a:pt x="153270" y="110974"/>
                        <a:pt x="153898" y="112607"/>
                      </a:cubicBezTo>
                      <a:cubicBezTo>
                        <a:pt x="154525" y="114240"/>
                        <a:pt x="154400" y="117128"/>
                        <a:pt x="152391" y="115370"/>
                      </a:cubicBezTo>
                      <a:cubicBezTo>
                        <a:pt x="151386" y="114491"/>
                        <a:pt x="151511" y="114114"/>
                        <a:pt x="152014" y="114365"/>
                      </a:cubicBezTo>
                      <a:cubicBezTo>
                        <a:pt x="152767" y="114868"/>
                        <a:pt x="153898" y="115872"/>
                        <a:pt x="152265" y="109970"/>
                      </a:cubicBezTo>
                      <a:cubicBezTo>
                        <a:pt x="151637" y="107583"/>
                        <a:pt x="150758" y="105825"/>
                        <a:pt x="150632" y="104067"/>
                      </a:cubicBezTo>
                      <a:cubicBezTo>
                        <a:pt x="150507" y="102308"/>
                        <a:pt x="149753" y="101931"/>
                        <a:pt x="148874" y="101555"/>
                      </a:cubicBezTo>
                      <a:cubicBezTo>
                        <a:pt x="148120" y="101178"/>
                        <a:pt x="148497" y="100048"/>
                        <a:pt x="148371" y="101052"/>
                      </a:cubicBezTo>
                      <a:cubicBezTo>
                        <a:pt x="148246" y="102183"/>
                        <a:pt x="148623" y="103941"/>
                        <a:pt x="148120" y="104318"/>
                      </a:cubicBezTo>
                      <a:cubicBezTo>
                        <a:pt x="147618" y="104820"/>
                        <a:pt x="148748" y="107583"/>
                        <a:pt x="148874" y="108211"/>
                      </a:cubicBezTo>
                      <a:cubicBezTo>
                        <a:pt x="149125" y="108714"/>
                        <a:pt x="150004" y="109342"/>
                        <a:pt x="150507" y="110221"/>
                      </a:cubicBezTo>
                      <a:cubicBezTo>
                        <a:pt x="151009" y="110974"/>
                        <a:pt x="150632" y="111477"/>
                        <a:pt x="150381" y="111477"/>
                      </a:cubicBezTo>
                      <a:cubicBezTo>
                        <a:pt x="150130" y="111477"/>
                        <a:pt x="149753" y="110221"/>
                        <a:pt x="149251" y="109718"/>
                      </a:cubicBezTo>
                      <a:cubicBezTo>
                        <a:pt x="148748" y="109216"/>
                        <a:pt x="145483" y="105448"/>
                        <a:pt x="145106" y="105950"/>
                      </a:cubicBezTo>
                      <a:cubicBezTo>
                        <a:pt x="144855" y="106453"/>
                        <a:pt x="143599" y="103313"/>
                        <a:pt x="143599" y="104318"/>
                      </a:cubicBezTo>
                      <a:cubicBezTo>
                        <a:pt x="143599" y="105071"/>
                        <a:pt x="146488" y="109216"/>
                        <a:pt x="144729" y="108588"/>
                      </a:cubicBezTo>
                      <a:cubicBezTo>
                        <a:pt x="144604" y="108588"/>
                        <a:pt x="144855" y="108337"/>
                        <a:pt x="144729" y="107709"/>
                      </a:cubicBezTo>
                      <a:cubicBezTo>
                        <a:pt x="144478" y="106076"/>
                        <a:pt x="141589" y="107583"/>
                        <a:pt x="141464" y="106830"/>
                      </a:cubicBezTo>
                      <a:cubicBezTo>
                        <a:pt x="141212" y="105950"/>
                        <a:pt x="142343" y="105574"/>
                        <a:pt x="141338" y="105699"/>
                      </a:cubicBezTo>
                      <a:cubicBezTo>
                        <a:pt x="140836" y="105699"/>
                        <a:pt x="140710" y="106327"/>
                        <a:pt x="140710" y="106327"/>
                      </a:cubicBezTo>
                      <a:cubicBezTo>
                        <a:pt x="140208" y="105699"/>
                        <a:pt x="139329" y="106327"/>
                        <a:pt x="138826" y="106202"/>
                      </a:cubicBezTo>
                      <a:cubicBezTo>
                        <a:pt x="138449" y="106076"/>
                        <a:pt x="139203" y="106704"/>
                        <a:pt x="139078" y="106704"/>
                      </a:cubicBezTo>
                      <a:cubicBezTo>
                        <a:pt x="138952" y="106704"/>
                        <a:pt x="138701" y="106202"/>
                        <a:pt x="138449" y="106327"/>
                      </a:cubicBezTo>
                      <a:cubicBezTo>
                        <a:pt x="138198" y="106578"/>
                        <a:pt x="138952" y="108714"/>
                        <a:pt x="137445" y="106955"/>
                      </a:cubicBezTo>
                      <a:cubicBezTo>
                        <a:pt x="135938" y="105197"/>
                        <a:pt x="139078" y="106327"/>
                        <a:pt x="136942" y="103941"/>
                      </a:cubicBezTo>
                      <a:cubicBezTo>
                        <a:pt x="134807" y="101680"/>
                        <a:pt x="136063" y="104443"/>
                        <a:pt x="136063" y="105574"/>
                      </a:cubicBezTo>
                      <a:cubicBezTo>
                        <a:pt x="136063" y="106704"/>
                        <a:pt x="137570" y="108086"/>
                        <a:pt x="136566" y="107834"/>
                      </a:cubicBezTo>
                      <a:cubicBezTo>
                        <a:pt x="135561" y="107583"/>
                        <a:pt x="136189" y="106327"/>
                        <a:pt x="134682" y="106704"/>
                      </a:cubicBezTo>
                      <a:cubicBezTo>
                        <a:pt x="133175" y="107081"/>
                        <a:pt x="134305" y="108965"/>
                        <a:pt x="132421" y="106704"/>
                      </a:cubicBezTo>
                      <a:cubicBezTo>
                        <a:pt x="130411" y="104443"/>
                        <a:pt x="132044" y="107081"/>
                        <a:pt x="132421" y="107834"/>
                      </a:cubicBezTo>
                      <a:cubicBezTo>
                        <a:pt x="132923" y="108588"/>
                        <a:pt x="133551" y="108337"/>
                        <a:pt x="133300" y="109216"/>
                      </a:cubicBezTo>
                      <a:cubicBezTo>
                        <a:pt x="133049" y="110095"/>
                        <a:pt x="130914" y="106704"/>
                        <a:pt x="130914" y="105574"/>
                      </a:cubicBezTo>
                      <a:cubicBezTo>
                        <a:pt x="130914" y="104443"/>
                        <a:pt x="128904" y="101931"/>
                        <a:pt x="129155" y="101931"/>
                      </a:cubicBezTo>
                      <a:cubicBezTo>
                        <a:pt x="129407" y="101931"/>
                        <a:pt x="128904" y="102057"/>
                        <a:pt x="131542" y="104569"/>
                      </a:cubicBezTo>
                      <a:cubicBezTo>
                        <a:pt x="134179" y="107081"/>
                        <a:pt x="133049" y="101680"/>
                        <a:pt x="130788" y="99420"/>
                      </a:cubicBezTo>
                      <a:cubicBezTo>
                        <a:pt x="128528" y="97159"/>
                        <a:pt x="129658" y="98540"/>
                        <a:pt x="129532" y="98540"/>
                      </a:cubicBezTo>
                      <a:cubicBezTo>
                        <a:pt x="129407" y="98540"/>
                        <a:pt x="123253" y="91758"/>
                        <a:pt x="123127" y="93768"/>
                      </a:cubicBezTo>
                      <a:cubicBezTo>
                        <a:pt x="123001" y="95777"/>
                        <a:pt x="122248" y="93140"/>
                        <a:pt x="121871" y="93391"/>
                      </a:cubicBezTo>
                      <a:cubicBezTo>
                        <a:pt x="121494" y="93517"/>
                        <a:pt x="121745" y="93391"/>
                        <a:pt x="121369" y="92889"/>
                      </a:cubicBezTo>
                      <a:cubicBezTo>
                        <a:pt x="120992" y="92261"/>
                        <a:pt x="121243" y="93265"/>
                        <a:pt x="120992" y="92889"/>
                      </a:cubicBezTo>
                      <a:cubicBezTo>
                        <a:pt x="120615" y="92512"/>
                        <a:pt x="120866" y="92135"/>
                        <a:pt x="120489" y="92386"/>
                      </a:cubicBezTo>
                      <a:cubicBezTo>
                        <a:pt x="120113" y="92763"/>
                        <a:pt x="118982" y="92512"/>
                        <a:pt x="119736" y="93140"/>
                      </a:cubicBezTo>
                      <a:cubicBezTo>
                        <a:pt x="120489" y="93768"/>
                        <a:pt x="119233" y="93642"/>
                        <a:pt x="119233" y="93893"/>
                      </a:cubicBezTo>
                      <a:cubicBezTo>
                        <a:pt x="119359" y="94145"/>
                        <a:pt x="118982" y="95777"/>
                        <a:pt x="118355" y="95526"/>
                      </a:cubicBezTo>
                      <a:cubicBezTo>
                        <a:pt x="117726" y="95275"/>
                        <a:pt x="117852" y="96531"/>
                        <a:pt x="117726" y="96656"/>
                      </a:cubicBezTo>
                      <a:cubicBezTo>
                        <a:pt x="117726" y="96782"/>
                        <a:pt x="117098" y="95149"/>
                        <a:pt x="117224" y="96405"/>
                      </a:cubicBezTo>
                      <a:cubicBezTo>
                        <a:pt x="117350" y="97661"/>
                        <a:pt x="114963" y="98917"/>
                        <a:pt x="115591" y="99420"/>
                      </a:cubicBezTo>
                      <a:cubicBezTo>
                        <a:pt x="116219" y="100048"/>
                        <a:pt x="116847" y="99168"/>
                        <a:pt x="116219" y="100048"/>
                      </a:cubicBezTo>
                      <a:cubicBezTo>
                        <a:pt x="115591" y="100927"/>
                        <a:pt x="114712" y="97536"/>
                        <a:pt x="114712" y="99545"/>
                      </a:cubicBezTo>
                      <a:cubicBezTo>
                        <a:pt x="114838" y="101555"/>
                        <a:pt x="112075" y="100927"/>
                        <a:pt x="112577" y="103062"/>
                      </a:cubicBezTo>
                      <a:cubicBezTo>
                        <a:pt x="113079" y="105197"/>
                        <a:pt x="112828" y="103062"/>
                        <a:pt x="113330" y="103690"/>
                      </a:cubicBezTo>
                      <a:cubicBezTo>
                        <a:pt x="113833" y="104318"/>
                        <a:pt x="112452" y="104695"/>
                        <a:pt x="114084" y="106076"/>
                      </a:cubicBezTo>
                      <a:cubicBezTo>
                        <a:pt x="115717" y="107583"/>
                        <a:pt x="115215" y="105699"/>
                        <a:pt x="115842" y="105825"/>
                      </a:cubicBezTo>
                      <a:cubicBezTo>
                        <a:pt x="116596" y="105950"/>
                        <a:pt x="116345" y="105197"/>
                        <a:pt x="116973" y="108211"/>
                      </a:cubicBezTo>
                      <a:cubicBezTo>
                        <a:pt x="117726" y="111225"/>
                        <a:pt x="117726" y="109844"/>
                        <a:pt x="117978" y="110472"/>
                      </a:cubicBezTo>
                      <a:cubicBezTo>
                        <a:pt x="118229" y="110974"/>
                        <a:pt x="116973" y="110723"/>
                        <a:pt x="117978" y="111853"/>
                      </a:cubicBezTo>
                      <a:cubicBezTo>
                        <a:pt x="118982" y="112984"/>
                        <a:pt x="118480" y="111477"/>
                        <a:pt x="119736" y="112105"/>
                      </a:cubicBezTo>
                      <a:cubicBezTo>
                        <a:pt x="120992" y="112733"/>
                        <a:pt x="119987" y="109342"/>
                        <a:pt x="120238" y="109090"/>
                      </a:cubicBezTo>
                      <a:cubicBezTo>
                        <a:pt x="120489" y="108839"/>
                        <a:pt x="121620" y="109718"/>
                        <a:pt x="121243" y="108839"/>
                      </a:cubicBezTo>
                      <a:cubicBezTo>
                        <a:pt x="120866" y="107960"/>
                        <a:pt x="123001" y="111351"/>
                        <a:pt x="121243" y="107583"/>
                      </a:cubicBezTo>
                      <a:cubicBezTo>
                        <a:pt x="119485" y="103815"/>
                        <a:pt x="122625" y="104067"/>
                        <a:pt x="122625" y="102308"/>
                      </a:cubicBezTo>
                      <a:cubicBezTo>
                        <a:pt x="122625" y="100550"/>
                        <a:pt x="121996" y="99545"/>
                        <a:pt x="124132" y="101304"/>
                      </a:cubicBezTo>
                      <a:cubicBezTo>
                        <a:pt x="126267" y="103062"/>
                        <a:pt x="124383" y="103439"/>
                        <a:pt x="123629" y="103941"/>
                      </a:cubicBezTo>
                      <a:cubicBezTo>
                        <a:pt x="122876" y="104443"/>
                        <a:pt x="123127" y="104318"/>
                        <a:pt x="122625" y="103941"/>
                      </a:cubicBezTo>
                      <a:cubicBezTo>
                        <a:pt x="122122" y="103564"/>
                        <a:pt x="122750" y="107081"/>
                        <a:pt x="123001" y="107960"/>
                      </a:cubicBezTo>
                      <a:cubicBezTo>
                        <a:pt x="123253" y="108839"/>
                        <a:pt x="124006" y="109090"/>
                        <a:pt x="124383" y="109970"/>
                      </a:cubicBezTo>
                      <a:cubicBezTo>
                        <a:pt x="124760" y="110723"/>
                        <a:pt x="127523" y="110849"/>
                        <a:pt x="128025" y="111351"/>
                      </a:cubicBezTo>
                      <a:cubicBezTo>
                        <a:pt x="128528" y="111853"/>
                        <a:pt x="128528" y="111100"/>
                        <a:pt x="128653" y="112230"/>
                      </a:cubicBezTo>
                      <a:cubicBezTo>
                        <a:pt x="128779" y="113486"/>
                        <a:pt x="124383" y="110472"/>
                        <a:pt x="124885" y="112105"/>
                      </a:cubicBezTo>
                      <a:cubicBezTo>
                        <a:pt x="125388" y="113737"/>
                        <a:pt x="125513" y="112984"/>
                        <a:pt x="125388" y="113235"/>
                      </a:cubicBezTo>
                      <a:cubicBezTo>
                        <a:pt x="125262" y="113486"/>
                        <a:pt x="125639" y="114742"/>
                        <a:pt x="125011" y="114365"/>
                      </a:cubicBezTo>
                      <a:cubicBezTo>
                        <a:pt x="124383" y="113989"/>
                        <a:pt x="124132" y="111728"/>
                        <a:pt x="123504" y="113361"/>
                      </a:cubicBezTo>
                      <a:cubicBezTo>
                        <a:pt x="122876" y="114868"/>
                        <a:pt x="125262" y="117631"/>
                        <a:pt x="123253" y="116249"/>
                      </a:cubicBezTo>
                      <a:cubicBezTo>
                        <a:pt x="121243" y="114868"/>
                        <a:pt x="122625" y="116249"/>
                        <a:pt x="121745" y="115496"/>
                      </a:cubicBezTo>
                      <a:cubicBezTo>
                        <a:pt x="120992" y="114742"/>
                        <a:pt x="121996" y="114240"/>
                        <a:pt x="120113" y="114617"/>
                      </a:cubicBezTo>
                      <a:cubicBezTo>
                        <a:pt x="118229" y="114868"/>
                        <a:pt x="118606" y="113486"/>
                        <a:pt x="118229" y="113109"/>
                      </a:cubicBezTo>
                      <a:cubicBezTo>
                        <a:pt x="117852" y="112733"/>
                        <a:pt x="116973" y="113361"/>
                        <a:pt x="116470" y="112733"/>
                      </a:cubicBezTo>
                      <a:cubicBezTo>
                        <a:pt x="115968" y="112105"/>
                        <a:pt x="115466" y="110598"/>
                        <a:pt x="115466" y="110221"/>
                      </a:cubicBezTo>
                      <a:cubicBezTo>
                        <a:pt x="115466" y="109844"/>
                        <a:pt x="116345" y="110095"/>
                        <a:pt x="116596" y="109970"/>
                      </a:cubicBezTo>
                      <a:cubicBezTo>
                        <a:pt x="116847" y="109844"/>
                        <a:pt x="116094" y="109467"/>
                        <a:pt x="116094" y="109090"/>
                      </a:cubicBezTo>
                      <a:cubicBezTo>
                        <a:pt x="116094" y="108714"/>
                        <a:pt x="116722" y="108965"/>
                        <a:pt x="116345" y="108086"/>
                      </a:cubicBezTo>
                      <a:cubicBezTo>
                        <a:pt x="115842" y="107332"/>
                        <a:pt x="114963" y="108211"/>
                        <a:pt x="115340" y="108839"/>
                      </a:cubicBezTo>
                      <a:cubicBezTo>
                        <a:pt x="115591" y="109467"/>
                        <a:pt x="114838" y="108462"/>
                        <a:pt x="114963" y="109216"/>
                      </a:cubicBezTo>
                      <a:cubicBezTo>
                        <a:pt x="115089" y="109970"/>
                        <a:pt x="115340" y="112105"/>
                        <a:pt x="114963" y="112356"/>
                      </a:cubicBezTo>
                      <a:cubicBezTo>
                        <a:pt x="114461" y="112607"/>
                        <a:pt x="114586" y="111602"/>
                        <a:pt x="114335" y="111728"/>
                      </a:cubicBezTo>
                      <a:cubicBezTo>
                        <a:pt x="114084" y="111853"/>
                        <a:pt x="114712" y="112481"/>
                        <a:pt x="114838" y="112607"/>
                      </a:cubicBezTo>
                      <a:cubicBezTo>
                        <a:pt x="114838" y="112733"/>
                        <a:pt x="114586" y="112607"/>
                        <a:pt x="114461" y="112356"/>
                      </a:cubicBezTo>
                      <a:cubicBezTo>
                        <a:pt x="113582" y="111477"/>
                        <a:pt x="110316" y="113863"/>
                        <a:pt x="108935" y="113863"/>
                      </a:cubicBezTo>
                      <a:cubicBezTo>
                        <a:pt x="107553" y="113863"/>
                        <a:pt x="106549" y="111853"/>
                        <a:pt x="106800" y="113109"/>
                      </a:cubicBezTo>
                      <a:cubicBezTo>
                        <a:pt x="107176" y="114365"/>
                        <a:pt x="106674" y="113361"/>
                        <a:pt x="107051" y="113737"/>
                      </a:cubicBezTo>
                      <a:cubicBezTo>
                        <a:pt x="107427" y="114114"/>
                        <a:pt x="108181" y="114491"/>
                        <a:pt x="108432" y="115370"/>
                      </a:cubicBezTo>
                      <a:cubicBezTo>
                        <a:pt x="108683" y="116249"/>
                        <a:pt x="108307" y="115244"/>
                        <a:pt x="109186" y="116752"/>
                      </a:cubicBezTo>
                      <a:cubicBezTo>
                        <a:pt x="110065" y="118259"/>
                        <a:pt x="109437" y="117505"/>
                        <a:pt x="109186" y="117756"/>
                      </a:cubicBezTo>
                      <a:cubicBezTo>
                        <a:pt x="108935" y="117882"/>
                        <a:pt x="109312" y="119389"/>
                        <a:pt x="108809" y="119766"/>
                      </a:cubicBezTo>
                      <a:cubicBezTo>
                        <a:pt x="108307" y="120017"/>
                        <a:pt x="108181" y="119389"/>
                        <a:pt x="107679" y="119012"/>
                      </a:cubicBezTo>
                      <a:cubicBezTo>
                        <a:pt x="107176" y="118636"/>
                        <a:pt x="107804" y="118887"/>
                        <a:pt x="107051" y="118510"/>
                      </a:cubicBezTo>
                      <a:cubicBezTo>
                        <a:pt x="106297" y="118133"/>
                        <a:pt x="106172" y="117756"/>
                        <a:pt x="105795" y="117505"/>
                      </a:cubicBezTo>
                      <a:cubicBezTo>
                        <a:pt x="105418" y="117254"/>
                        <a:pt x="105544" y="117380"/>
                        <a:pt x="105167" y="117128"/>
                      </a:cubicBezTo>
                      <a:cubicBezTo>
                        <a:pt x="104790" y="116877"/>
                        <a:pt x="104916" y="116877"/>
                        <a:pt x="104539" y="116626"/>
                      </a:cubicBezTo>
                      <a:cubicBezTo>
                        <a:pt x="104162" y="116375"/>
                        <a:pt x="104288" y="116752"/>
                        <a:pt x="104037" y="116752"/>
                      </a:cubicBezTo>
                      <a:cubicBezTo>
                        <a:pt x="103785" y="116752"/>
                        <a:pt x="103534" y="116249"/>
                        <a:pt x="103409" y="116500"/>
                      </a:cubicBezTo>
                      <a:cubicBezTo>
                        <a:pt x="103283" y="116752"/>
                        <a:pt x="103409" y="116752"/>
                        <a:pt x="103660" y="117254"/>
                      </a:cubicBezTo>
                      <a:cubicBezTo>
                        <a:pt x="103785" y="117756"/>
                        <a:pt x="103785" y="117003"/>
                        <a:pt x="103660" y="117756"/>
                      </a:cubicBezTo>
                      <a:cubicBezTo>
                        <a:pt x="103660" y="118510"/>
                        <a:pt x="103660" y="119640"/>
                        <a:pt x="103409" y="120143"/>
                      </a:cubicBezTo>
                      <a:cubicBezTo>
                        <a:pt x="103157" y="120645"/>
                        <a:pt x="103409" y="120268"/>
                        <a:pt x="103409" y="120268"/>
                      </a:cubicBezTo>
                      <a:cubicBezTo>
                        <a:pt x="103409" y="120268"/>
                        <a:pt x="103409" y="120268"/>
                        <a:pt x="103283" y="120394"/>
                      </a:cubicBezTo>
                      <a:cubicBezTo>
                        <a:pt x="103283" y="120520"/>
                        <a:pt x="103032" y="120394"/>
                        <a:pt x="103157" y="120771"/>
                      </a:cubicBezTo>
                      <a:cubicBezTo>
                        <a:pt x="103157" y="121147"/>
                        <a:pt x="103032" y="120645"/>
                        <a:pt x="103534" y="121022"/>
                      </a:cubicBezTo>
                      <a:cubicBezTo>
                        <a:pt x="104037" y="121399"/>
                        <a:pt x="103283" y="120896"/>
                        <a:pt x="103409" y="121273"/>
                      </a:cubicBezTo>
                      <a:cubicBezTo>
                        <a:pt x="103534" y="121775"/>
                        <a:pt x="103660" y="121524"/>
                        <a:pt x="103660" y="122027"/>
                      </a:cubicBezTo>
                      <a:cubicBezTo>
                        <a:pt x="103660" y="122529"/>
                        <a:pt x="103157" y="122529"/>
                        <a:pt x="103534" y="122906"/>
                      </a:cubicBezTo>
                      <a:cubicBezTo>
                        <a:pt x="103911" y="123283"/>
                        <a:pt x="103785" y="123031"/>
                        <a:pt x="104162" y="123283"/>
                      </a:cubicBezTo>
                      <a:cubicBezTo>
                        <a:pt x="104539" y="123534"/>
                        <a:pt x="104162" y="123157"/>
                        <a:pt x="104916" y="123659"/>
                      </a:cubicBezTo>
                      <a:cubicBezTo>
                        <a:pt x="105544" y="124162"/>
                        <a:pt x="105544" y="125166"/>
                        <a:pt x="106046" y="125543"/>
                      </a:cubicBezTo>
                      <a:cubicBezTo>
                        <a:pt x="106549" y="125920"/>
                        <a:pt x="106800" y="125418"/>
                        <a:pt x="107176" y="125543"/>
                      </a:cubicBezTo>
                      <a:cubicBezTo>
                        <a:pt x="107553" y="125669"/>
                        <a:pt x="108432" y="126674"/>
                        <a:pt x="108683" y="126548"/>
                      </a:cubicBezTo>
                      <a:cubicBezTo>
                        <a:pt x="108935" y="126422"/>
                        <a:pt x="109060" y="126799"/>
                        <a:pt x="109563" y="126422"/>
                      </a:cubicBezTo>
                      <a:cubicBezTo>
                        <a:pt x="109939" y="126046"/>
                        <a:pt x="110191" y="125920"/>
                        <a:pt x="110191" y="125543"/>
                      </a:cubicBezTo>
                      <a:cubicBezTo>
                        <a:pt x="110191" y="125166"/>
                        <a:pt x="109688" y="124539"/>
                        <a:pt x="109939" y="124287"/>
                      </a:cubicBezTo>
                      <a:cubicBezTo>
                        <a:pt x="110191" y="124036"/>
                        <a:pt x="110442" y="123911"/>
                        <a:pt x="110693" y="123785"/>
                      </a:cubicBezTo>
                      <a:cubicBezTo>
                        <a:pt x="110944" y="123659"/>
                        <a:pt x="110316" y="123408"/>
                        <a:pt x="111070" y="123659"/>
                      </a:cubicBezTo>
                      <a:cubicBezTo>
                        <a:pt x="111823" y="123785"/>
                        <a:pt x="112075" y="123911"/>
                        <a:pt x="112200" y="122906"/>
                      </a:cubicBezTo>
                      <a:cubicBezTo>
                        <a:pt x="112326" y="122027"/>
                        <a:pt x="112326" y="121901"/>
                        <a:pt x="112703" y="121901"/>
                      </a:cubicBezTo>
                      <a:cubicBezTo>
                        <a:pt x="112954" y="121901"/>
                        <a:pt x="112326" y="121650"/>
                        <a:pt x="113205" y="122278"/>
                      </a:cubicBezTo>
                      <a:cubicBezTo>
                        <a:pt x="114084" y="122906"/>
                        <a:pt x="114335" y="123534"/>
                        <a:pt x="114838" y="123283"/>
                      </a:cubicBezTo>
                      <a:cubicBezTo>
                        <a:pt x="115340" y="123031"/>
                        <a:pt x="114838" y="123031"/>
                        <a:pt x="115215" y="123157"/>
                      </a:cubicBezTo>
                      <a:cubicBezTo>
                        <a:pt x="115591" y="123283"/>
                        <a:pt x="115591" y="123283"/>
                        <a:pt x="115842" y="123157"/>
                      </a:cubicBezTo>
                      <a:cubicBezTo>
                        <a:pt x="116094" y="123031"/>
                        <a:pt x="115968" y="122906"/>
                        <a:pt x="116596" y="123534"/>
                      </a:cubicBezTo>
                      <a:cubicBezTo>
                        <a:pt x="117224" y="124162"/>
                        <a:pt x="117350" y="125292"/>
                        <a:pt x="117978" y="126297"/>
                      </a:cubicBezTo>
                      <a:cubicBezTo>
                        <a:pt x="118606" y="127302"/>
                        <a:pt x="117978" y="126297"/>
                        <a:pt x="118229" y="126674"/>
                      </a:cubicBezTo>
                      <a:cubicBezTo>
                        <a:pt x="118480" y="127050"/>
                        <a:pt x="118606" y="127553"/>
                        <a:pt x="118982" y="128055"/>
                      </a:cubicBezTo>
                      <a:cubicBezTo>
                        <a:pt x="119359" y="128683"/>
                        <a:pt x="119485" y="128181"/>
                        <a:pt x="119862" y="128934"/>
                      </a:cubicBezTo>
                      <a:cubicBezTo>
                        <a:pt x="120238" y="129688"/>
                        <a:pt x="120615" y="130190"/>
                        <a:pt x="120866" y="130442"/>
                      </a:cubicBezTo>
                      <a:cubicBezTo>
                        <a:pt x="121118" y="130693"/>
                        <a:pt x="121243" y="130693"/>
                        <a:pt x="121369" y="131069"/>
                      </a:cubicBezTo>
                      <a:cubicBezTo>
                        <a:pt x="121494" y="131446"/>
                        <a:pt x="121620" y="132200"/>
                        <a:pt x="121620" y="132325"/>
                      </a:cubicBezTo>
                      <a:cubicBezTo>
                        <a:pt x="121620" y="132577"/>
                        <a:pt x="121243" y="133205"/>
                        <a:pt x="121620" y="133330"/>
                      </a:cubicBezTo>
                      <a:cubicBezTo>
                        <a:pt x="121996" y="133456"/>
                        <a:pt x="121620" y="133456"/>
                        <a:pt x="121871" y="133330"/>
                      </a:cubicBezTo>
                      <a:cubicBezTo>
                        <a:pt x="121996" y="133205"/>
                        <a:pt x="122122" y="132953"/>
                        <a:pt x="122122" y="132828"/>
                      </a:cubicBezTo>
                      <a:cubicBezTo>
                        <a:pt x="122248" y="132702"/>
                        <a:pt x="121996" y="132953"/>
                        <a:pt x="122122" y="132828"/>
                      </a:cubicBezTo>
                      <a:cubicBezTo>
                        <a:pt x="122248" y="132702"/>
                        <a:pt x="122122" y="132325"/>
                        <a:pt x="121871" y="131697"/>
                      </a:cubicBezTo>
                      <a:cubicBezTo>
                        <a:pt x="121620" y="131069"/>
                        <a:pt x="121620" y="130693"/>
                        <a:pt x="122122" y="131069"/>
                      </a:cubicBezTo>
                      <a:cubicBezTo>
                        <a:pt x="122750" y="131321"/>
                        <a:pt x="122750" y="132074"/>
                        <a:pt x="123001" y="132325"/>
                      </a:cubicBezTo>
                      <a:cubicBezTo>
                        <a:pt x="123378" y="132577"/>
                        <a:pt x="123504" y="132451"/>
                        <a:pt x="123127" y="131823"/>
                      </a:cubicBezTo>
                      <a:cubicBezTo>
                        <a:pt x="122750" y="131195"/>
                        <a:pt x="121745" y="130190"/>
                        <a:pt x="121369" y="129688"/>
                      </a:cubicBezTo>
                      <a:cubicBezTo>
                        <a:pt x="120866" y="129311"/>
                        <a:pt x="122373" y="130065"/>
                        <a:pt x="121369" y="129060"/>
                      </a:cubicBezTo>
                      <a:cubicBezTo>
                        <a:pt x="120489" y="128181"/>
                        <a:pt x="119987" y="127176"/>
                        <a:pt x="119610" y="126422"/>
                      </a:cubicBezTo>
                      <a:cubicBezTo>
                        <a:pt x="119233" y="125669"/>
                        <a:pt x="118982" y="125418"/>
                        <a:pt x="118731" y="125041"/>
                      </a:cubicBezTo>
                      <a:cubicBezTo>
                        <a:pt x="118480" y="124664"/>
                        <a:pt x="118606" y="124664"/>
                        <a:pt x="118606" y="124287"/>
                      </a:cubicBezTo>
                      <a:cubicBezTo>
                        <a:pt x="118606" y="124036"/>
                        <a:pt x="118355" y="123534"/>
                        <a:pt x="118606" y="123534"/>
                      </a:cubicBezTo>
                      <a:cubicBezTo>
                        <a:pt x="118857" y="123408"/>
                        <a:pt x="119108" y="123534"/>
                        <a:pt x="119485" y="123785"/>
                      </a:cubicBezTo>
                      <a:cubicBezTo>
                        <a:pt x="119862" y="124036"/>
                        <a:pt x="119359" y="124413"/>
                        <a:pt x="119736" y="124915"/>
                      </a:cubicBezTo>
                      <a:cubicBezTo>
                        <a:pt x="120113" y="125418"/>
                        <a:pt x="119987" y="124413"/>
                        <a:pt x="120238" y="124539"/>
                      </a:cubicBezTo>
                      <a:cubicBezTo>
                        <a:pt x="120364" y="124664"/>
                        <a:pt x="123127" y="129186"/>
                        <a:pt x="123253" y="129311"/>
                      </a:cubicBezTo>
                      <a:cubicBezTo>
                        <a:pt x="123253" y="129437"/>
                        <a:pt x="123127" y="129060"/>
                        <a:pt x="123378" y="129437"/>
                      </a:cubicBezTo>
                      <a:cubicBezTo>
                        <a:pt x="123629" y="129939"/>
                        <a:pt x="123629" y="129814"/>
                        <a:pt x="124132" y="130693"/>
                      </a:cubicBezTo>
                      <a:cubicBezTo>
                        <a:pt x="124509" y="131697"/>
                        <a:pt x="123755" y="131572"/>
                        <a:pt x="124132" y="132200"/>
                      </a:cubicBezTo>
                      <a:cubicBezTo>
                        <a:pt x="124383" y="132828"/>
                        <a:pt x="124509" y="132702"/>
                        <a:pt x="124760" y="133456"/>
                      </a:cubicBezTo>
                      <a:cubicBezTo>
                        <a:pt x="125011" y="134209"/>
                        <a:pt x="125262" y="134335"/>
                        <a:pt x="125513" y="134461"/>
                      </a:cubicBezTo>
                      <a:cubicBezTo>
                        <a:pt x="125765" y="134586"/>
                        <a:pt x="125765" y="134712"/>
                        <a:pt x="125890" y="134586"/>
                      </a:cubicBezTo>
                      <a:cubicBezTo>
                        <a:pt x="126016" y="134586"/>
                        <a:pt x="126267" y="134335"/>
                        <a:pt x="126267" y="134712"/>
                      </a:cubicBezTo>
                      <a:cubicBezTo>
                        <a:pt x="126392" y="135088"/>
                        <a:pt x="126016" y="134209"/>
                        <a:pt x="126016" y="134963"/>
                      </a:cubicBezTo>
                      <a:cubicBezTo>
                        <a:pt x="126016" y="135842"/>
                        <a:pt x="126769" y="134837"/>
                        <a:pt x="126895" y="134837"/>
                      </a:cubicBezTo>
                      <a:cubicBezTo>
                        <a:pt x="126895" y="134837"/>
                        <a:pt x="127146" y="135088"/>
                        <a:pt x="127020" y="134837"/>
                      </a:cubicBezTo>
                      <a:cubicBezTo>
                        <a:pt x="126895" y="134586"/>
                        <a:pt x="126267" y="133330"/>
                        <a:pt x="126643" y="133205"/>
                      </a:cubicBezTo>
                      <a:cubicBezTo>
                        <a:pt x="127020" y="133079"/>
                        <a:pt x="126769" y="133958"/>
                        <a:pt x="127146" y="134084"/>
                      </a:cubicBezTo>
                      <a:cubicBezTo>
                        <a:pt x="127523" y="134084"/>
                        <a:pt x="127397" y="134586"/>
                        <a:pt x="127523" y="134461"/>
                      </a:cubicBezTo>
                      <a:cubicBezTo>
                        <a:pt x="127648" y="134209"/>
                        <a:pt x="127523" y="134209"/>
                        <a:pt x="127523" y="133958"/>
                      </a:cubicBezTo>
                      <a:cubicBezTo>
                        <a:pt x="127397" y="133707"/>
                        <a:pt x="126895" y="133707"/>
                        <a:pt x="127397" y="133581"/>
                      </a:cubicBezTo>
                      <a:cubicBezTo>
                        <a:pt x="127899" y="133456"/>
                        <a:pt x="127397" y="133330"/>
                        <a:pt x="128402" y="133833"/>
                      </a:cubicBezTo>
                      <a:cubicBezTo>
                        <a:pt x="129281" y="134335"/>
                        <a:pt x="129155" y="134335"/>
                        <a:pt x="129407" y="134837"/>
                      </a:cubicBezTo>
                      <a:cubicBezTo>
                        <a:pt x="129658" y="135340"/>
                        <a:pt x="129407" y="135088"/>
                        <a:pt x="129281" y="135214"/>
                      </a:cubicBezTo>
                      <a:cubicBezTo>
                        <a:pt x="129281" y="135340"/>
                        <a:pt x="129155" y="135591"/>
                        <a:pt x="129155" y="135842"/>
                      </a:cubicBezTo>
                      <a:cubicBezTo>
                        <a:pt x="129155" y="135968"/>
                        <a:pt x="129281" y="135968"/>
                        <a:pt x="129407" y="136093"/>
                      </a:cubicBezTo>
                      <a:cubicBezTo>
                        <a:pt x="129532" y="136219"/>
                        <a:pt x="129658" y="136219"/>
                        <a:pt x="129658" y="136344"/>
                      </a:cubicBezTo>
                      <a:cubicBezTo>
                        <a:pt x="129658" y="136470"/>
                        <a:pt x="129783" y="136721"/>
                        <a:pt x="129658" y="137098"/>
                      </a:cubicBezTo>
                      <a:cubicBezTo>
                        <a:pt x="129532" y="137475"/>
                        <a:pt x="129658" y="137224"/>
                        <a:pt x="129532" y="137224"/>
                      </a:cubicBezTo>
                      <a:cubicBezTo>
                        <a:pt x="129407" y="137224"/>
                        <a:pt x="129281" y="136847"/>
                        <a:pt x="129281" y="137349"/>
                      </a:cubicBezTo>
                      <a:cubicBezTo>
                        <a:pt x="129281" y="137852"/>
                        <a:pt x="129783" y="137852"/>
                        <a:pt x="129909" y="138228"/>
                      </a:cubicBezTo>
                      <a:cubicBezTo>
                        <a:pt x="130035" y="138605"/>
                        <a:pt x="129783" y="138856"/>
                        <a:pt x="130160" y="139484"/>
                      </a:cubicBezTo>
                      <a:cubicBezTo>
                        <a:pt x="130411" y="140112"/>
                        <a:pt x="131039" y="139736"/>
                        <a:pt x="131291" y="140238"/>
                      </a:cubicBezTo>
                      <a:cubicBezTo>
                        <a:pt x="131542" y="140740"/>
                        <a:pt x="131793" y="140991"/>
                        <a:pt x="132421" y="141243"/>
                      </a:cubicBezTo>
                      <a:cubicBezTo>
                        <a:pt x="133426" y="141619"/>
                        <a:pt x="131668" y="140238"/>
                        <a:pt x="132546" y="140866"/>
                      </a:cubicBezTo>
                      <a:cubicBezTo>
                        <a:pt x="133300" y="141243"/>
                        <a:pt x="133928" y="142750"/>
                        <a:pt x="134807" y="142875"/>
                      </a:cubicBezTo>
                      <a:cubicBezTo>
                        <a:pt x="135686" y="143001"/>
                        <a:pt x="135058" y="142624"/>
                        <a:pt x="135435" y="142624"/>
                      </a:cubicBezTo>
                      <a:cubicBezTo>
                        <a:pt x="135686" y="142624"/>
                        <a:pt x="135686" y="142875"/>
                        <a:pt x="135938" y="143127"/>
                      </a:cubicBezTo>
                      <a:cubicBezTo>
                        <a:pt x="136189" y="143378"/>
                        <a:pt x="136189" y="142624"/>
                        <a:pt x="136440" y="143252"/>
                      </a:cubicBezTo>
                      <a:cubicBezTo>
                        <a:pt x="136817" y="143880"/>
                        <a:pt x="136314" y="143378"/>
                        <a:pt x="136314" y="144131"/>
                      </a:cubicBezTo>
                      <a:cubicBezTo>
                        <a:pt x="136314" y="144759"/>
                        <a:pt x="136440" y="144885"/>
                        <a:pt x="136440" y="145262"/>
                      </a:cubicBezTo>
                      <a:cubicBezTo>
                        <a:pt x="136440" y="145638"/>
                        <a:pt x="136440" y="145387"/>
                        <a:pt x="136314" y="145764"/>
                      </a:cubicBezTo>
                      <a:cubicBezTo>
                        <a:pt x="136189" y="146266"/>
                        <a:pt x="135938" y="146392"/>
                        <a:pt x="135812" y="147020"/>
                      </a:cubicBezTo>
                      <a:cubicBezTo>
                        <a:pt x="135686" y="147648"/>
                        <a:pt x="135812" y="147774"/>
                        <a:pt x="135435" y="147899"/>
                      </a:cubicBezTo>
                      <a:cubicBezTo>
                        <a:pt x="135184" y="148025"/>
                        <a:pt x="134807" y="147774"/>
                        <a:pt x="134054" y="147271"/>
                      </a:cubicBezTo>
                      <a:cubicBezTo>
                        <a:pt x="133300" y="146769"/>
                        <a:pt x="133802" y="146894"/>
                        <a:pt x="133551" y="146643"/>
                      </a:cubicBezTo>
                      <a:cubicBezTo>
                        <a:pt x="133300" y="146392"/>
                        <a:pt x="133426" y="146518"/>
                        <a:pt x="133300" y="146392"/>
                      </a:cubicBezTo>
                      <a:cubicBezTo>
                        <a:pt x="133175" y="146266"/>
                        <a:pt x="133802" y="146643"/>
                        <a:pt x="132798" y="146141"/>
                      </a:cubicBezTo>
                      <a:cubicBezTo>
                        <a:pt x="131793" y="145638"/>
                        <a:pt x="128653" y="143629"/>
                        <a:pt x="127523" y="141996"/>
                      </a:cubicBezTo>
                      <a:cubicBezTo>
                        <a:pt x="126392" y="140363"/>
                        <a:pt x="126769" y="140866"/>
                        <a:pt x="126016" y="140615"/>
                      </a:cubicBezTo>
                      <a:cubicBezTo>
                        <a:pt x="125388" y="140363"/>
                        <a:pt x="125388" y="140363"/>
                        <a:pt x="125262" y="140489"/>
                      </a:cubicBezTo>
                      <a:cubicBezTo>
                        <a:pt x="125136" y="140615"/>
                        <a:pt x="125011" y="140740"/>
                        <a:pt x="125011" y="141243"/>
                      </a:cubicBezTo>
                      <a:cubicBezTo>
                        <a:pt x="125011" y="141619"/>
                        <a:pt x="125513" y="141494"/>
                        <a:pt x="125136" y="142122"/>
                      </a:cubicBezTo>
                      <a:cubicBezTo>
                        <a:pt x="124760" y="142750"/>
                        <a:pt x="123504" y="140740"/>
                        <a:pt x="122750" y="140238"/>
                      </a:cubicBezTo>
                      <a:cubicBezTo>
                        <a:pt x="122122" y="139610"/>
                        <a:pt x="122499" y="140238"/>
                        <a:pt x="121996" y="139610"/>
                      </a:cubicBezTo>
                      <a:cubicBezTo>
                        <a:pt x="121494" y="138982"/>
                        <a:pt x="121996" y="138731"/>
                        <a:pt x="120992" y="137726"/>
                      </a:cubicBezTo>
                      <a:cubicBezTo>
                        <a:pt x="120113" y="136847"/>
                        <a:pt x="119736" y="136972"/>
                        <a:pt x="118982" y="136093"/>
                      </a:cubicBezTo>
                      <a:cubicBezTo>
                        <a:pt x="118355" y="135340"/>
                        <a:pt x="118480" y="135465"/>
                        <a:pt x="118103" y="135088"/>
                      </a:cubicBezTo>
                      <a:cubicBezTo>
                        <a:pt x="117726" y="134712"/>
                        <a:pt x="117475" y="134084"/>
                        <a:pt x="118103" y="133958"/>
                      </a:cubicBezTo>
                      <a:cubicBezTo>
                        <a:pt x="118606" y="133833"/>
                        <a:pt x="118103" y="131572"/>
                        <a:pt x="117475" y="131069"/>
                      </a:cubicBezTo>
                      <a:cubicBezTo>
                        <a:pt x="116847" y="130567"/>
                        <a:pt x="117098" y="131069"/>
                        <a:pt x="116470" y="130818"/>
                      </a:cubicBezTo>
                      <a:cubicBezTo>
                        <a:pt x="115968" y="130693"/>
                        <a:pt x="115340" y="129688"/>
                        <a:pt x="114586" y="129562"/>
                      </a:cubicBezTo>
                      <a:cubicBezTo>
                        <a:pt x="113833" y="129437"/>
                        <a:pt x="113707" y="128809"/>
                        <a:pt x="112577" y="128432"/>
                      </a:cubicBezTo>
                      <a:cubicBezTo>
                        <a:pt x="111447" y="128055"/>
                        <a:pt x="109688" y="128055"/>
                        <a:pt x="109060" y="127804"/>
                      </a:cubicBezTo>
                      <a:cubicBezTo>
                        <a:pt x="108432" y="127427"/>
                        <a:pt x="107302" y="126171"/>
                        <a:pt x="106549" y="125543"/>
                      </a:cubicBezTo>
                      <a:cubicBezTo>
                        <a:pt x="105795" y="124915"/>
                        <a:pt x="105920" y="126799"/>
                        <a:pt x="105167" y="126799"/>
                      </a:cubicBezTo>
                      <a:cubicBezTo>
                        <a:pt x="104288" y="126799"/>
                        <a:pt x="104790" y="126799"/>
                        <a:pt x="104162" y="126925"/>
                      </a:cubicBezTo>
                      <a:cubicBezTo>
                        <a:pt x="103534" y="127050"/>
                        <a:pt x="104037" y="127302"/>
                        <a:pt x="103660" y="127678"/>
                      </a:cubicBezTo>
                      <a:cubicBezTo>
                        <a:pt x="103283" y="128181"/>
                        <a:pt x="103283" y="127427"/>
                        <a:pt x="103409" y="128934"/>
                      </a:cubicBezTo>
                      <a:cubicBezTo>
                        <a:pt x="103534" y="130316"/>
                        <a:pt x="101776" y="129939"/>
                        <a:pt x="101399" y="129939"/>
                      </a:cubicBezTo>
                      <a:cubicBezTo>
                        <a:pt x="101022" y="129939"/>
                        <a:pt x="101776" y="130065"/>
                        <a:pt x="101399" y="129939"/>
                      </a:cubicBezTo>
                      <a:cubicBezTo>
                        <a:pt x="101022" y="129814"/>
                        <a:pt x="97631" y="132702"/>
                        <a:pt x="97631" y="133330"/>
                      </a:cubicBezTo>
                      <a:cubicBezTo>
                        <a:pt x="97631" y="133958"/>
                        <a:pt x="97631" y="133581"/>
                        <a:pt x="97757" y="134335"/>
                      </a:cubicBezTo>
                      <a:cubicBezTo>
                        <a:pt x="97882" y="134963"/>
                        <a:pt x="98259" y="135968"/>
                        <a:pt x="98259" y="136972"/>
                      </a:cubicBezTo>
                      <a:cubicBezTo>
                        <a:pt x="98259" y="137977"/>
                        <a:pt x="98259" y="138228"/>
                        <a:pt x="98008" y="138605"/>
                      </a:cubicBezTo>
                      <a:cubicBezTo>
                        <a:pt x="97757" y="138982"/>
                        <a:pt x="97003" y="140615"/>
                        <a:pt x="97506" y="141871"/>
                      </a:cubicBezTo>
                      <a:cubicBezTo>
                        <a:pt x="98134" y="143127"/>
                        <a:pt x="99766" y="145638"/>
                        <a:pt x="100269" y="147271"/>
                      </a:cubicBezTo>
                      <a:cubicBezTo>
                        <a:pt x="100771" y="148904"/>
                        <a:pt x="102027" y="150913"/>
                        <a:pt x="102780" y="151667"/>
                      </a:cubicBezTo>
                      <a:cubicBezTo>
                        <a:pt x="103660" y="152421"/>
                        <a:pt x="105920" y="155309"/>
                        <a:pt x="106674" y="155058"/>
                      </a:cubicBezTo>
                      <a:cubicBezTo>
                        <a:pt x="107427" y="154807"/>
                        <a:pt x="108558" y="156063"/>
                        <a:pt x="109186" y="156565"/>
                      </a:cubicBezTo>
                      <a:cubicBezTo>
                        <a:pt x="109814" y="157068"/>
                        <a:pt x="110065" y="156816"/>
                        <a:pt x="110567" y="156816"/>
                      </a:cubicBezTo>
                      <a:cubicBezTo>
                        <a:pt x="111070" y="156816"/>
                        <a:pt x="111321" y="156942"/>
                        <a:pt x="111823" y="157319"/>
                      </a:cubicBezTo>
                      <a:cubicBezTo>
                        <a:pt x="112452" y="157696"/>
                        <a:pt x="113079" y="159077"/>
                        <a:pt x="113582" y="159705"/>
                      </a:cubicBezTo>
                      <a:cubicBezTo>
                        <a:pt x="114084" y="160333"/>
                        <a:pt x="115089" y="160961"/>
                        <a:pt x="115717" y="161589"/>
                      </a:cubicBezTo>
                      <a:cubicBezTo>
                        <a:pt x="116345" y="162217"/>
                        <a:pt x="116847" y="163724"/>
                        <a:pt x="117350" y="164729"/>
                      </a:cubicBezTo>
                      <a:cubicBezTo>
                        <a:pt x="117350" y="166362"/>
                        <a:pt x="116219" y="167492"/>
                        <a:pt x="118103" y="170381"/>
                      </a:cubicBezTo>
                      <a:lnTo>
                        <a:pt x="118103" y="170381"/>
                      </a:lnTo>
                      <a:close/>
                      <a:moveTo>
                        <a:pt x="169723" y="193741"/>
                      </a:moveTo>
                      <a:cubicBezTo>
                        <a:pt x="168216" y="191983"/>
                        <a:pt x="169095" y="190350"/>
                        <a:pt x="169346" y="190099"/>
                      </a:cubicBezTo>
                      <a:cubicBezTo>
                        <a:pt x="169597" y="189722"/>
                        <a:pt x="171356" y="195374"/>
                        <a:pt x="169723" y="193741"/>
                      </a:cubicBezTo>
                      <a:lnTo>
                        <a:pt x="169723" y="193741"/>
                      </a:lnTo>
                      <a:close/>
                      <a:moveTo>
                        <a:pt x="145859" y="196253"/>
                      </a:moveTo>
                      <a:cubicBezTo>
                        <a:pt x="146864" y="196253"/>
                        <a:pt x="146739" y="196002"/>
                        <a:pt x="147115" y="198011"/>
                      </a:cubicBezTo>
                      <a:cubicBezTo>
                        <a:pt x="147492" y="200147"/>
                        <a:pt x="146739" y="197886"/>
                        <a:pt x="146613" y="198137"/>
                      </a:cubicBezTo>
                      <a:cubicBezTo>
                        <a:pt x="146488" y="198514"/>
                        <a:pt x="146739" y="199895"/>
                        <a:pt x="146613" y="200523"/>
                      </a:cubicBezTo>
                      <a:cubicBezTo>
                        <a:pt x="146488" y="201026"/>
                        <a:pt x="146362" y="206552"/>
                        <a:pt x="143725" y="205296"/>
                      </a:cubicBezTo>
                      <a:cubicBezTo>
                        <a:pt x="141087" y="204040"/>
                        <a:pt x="142971" y="200900"/>
                        <a:pt x="142594" y="198891"/>
                      </a:cubicBezTo>
                      <a:cubicBezTo>
                        <a:pt x="142092" y="196881"/>
                        <a:pt x="142343" y="199770"/>
                        <a:pt x="142343" y="198137"/>
                      </a:cubicBezTo>
                      <a:cubicBezTo>
                        <a:pt x="142343" y="196504"/>
                        <a:pt x="144101" y="197635"/>
                        <a:pt x="144352" y="197258"/>
                      </a:cubicBezTo>
                      <a:cubicBezTo>
                        <a:pt x="144478" y="196881"/>
                        <a:pt x="144855" y="196756"/>
                        <a:pt x="145357" y="196881"/>
                      </a:cubicBezTo>
                      <a:cubicBezTo>
                        <a:pt x="145734" y="196881"/>
                        <a:pt x="144855" y="196253"/>
                        <a:pt x="145859" y="196253"/>
                      </a:cubicBezTo>
                      <a:lnTo>
                        <a:pt x="145859" y="196253"/>
                      </a:lnTo>
                      <a:close/>
                      <a:moveTo>
                        <a:pt x="70503" y="133833"/>
                      </a:moveTo>
                      <a:cubicBezTo>
                        <a:pt x="67991" y="130818"/>
                        <a:pt x="61962" y="123534"/>
                        <a:pt x="62339" y="122780"/>
                      </a:cubicBezTo>
                      <a:cubicBezTo>
                        <a:pt x="62716" y="122027"/>
                        <a:pt x="56938" y="119892"/>
                        <a:pt x="56436" y="118259"/>
                      </a:cubicBezTo>
                      <a:cubicBezTo>
                        <a:pt x="55808" y="116752"/>
                        <a:pt x="54552" y="120520"/>
                        <a:pt x="54552" y="117128"/>
                      </a:cubicBezTo>
                      <a:cubicBezTo>
                        <a:pt x="54678" y="113737"/>
                        <a:pt x="53422" y="115370"/>
                        <a:pt x="52668" y="116500"/>
                      </a:cubicBezTo>
                      <a:cubicBezTo>
                        <a:pt x="51915" y="117631"/>
                        <a:pt x="51161" y="118761"/>
                        <a:pt x="49779" y="116375"/>
                      </a:cubicBezTo>
                      <a:cubicBezTo>
                        <a:pt x="48398" y="113989"/>
                        <a:pt x="44630" y="113109"/>
                        <a:pt x="45761" y="108462"/>
                      </a:cubicBezTo>
                      <a:cubicBezTo>
                        <a:pt x="46891" y="103815"/>
                        <a:pt x="41616" y="106327"/>
                        <a:pt x="41867" y="103439"/>
                      </a:cubicBezTo>
                      <a:cubicBezTo>
                        <a:pt x="42244" y="100424"/>
                        <a:pt x="44253" y="98289"/>
                        <a:pt x="39606" y="100927"/>
                      </a:cubicBezTo>
                      <a:cubicBezTo>
                        <a:pt x="34959" y="103439"/>
                        <a:pt x="34708" y="88870"/>
                        <a:pt x="37848" y="89372"/>
                      </a:cubicBezTo>
                      <a:cubicBezTo>
                        <a:pt x="40988" y="89749"/>
                        <a:pt x="43876" y="94145"/>
                        <a:pt x="46137" y="94270"/>
                      </a:cubicBezTo>
                      <a:cubicBezTo>
                        <a:pt x="48398" y="94396"/>
                        <a:pt x="48021" y="94773"/>
                        <a:pt x="48523" y="93893"/>
                      </a:cubicBezTo>
                      <a:cubicBezTo>
                        <a:pt x="49026" y="93140"/>
                        <a:pt x="54803" y="94270"/>
                        <a:pt x="53296" y="92512"/>
                      </a:cubicBezTo>
                      <a:cubicBezTo>
                        <a:pt x="51663" y="90754"/>
                        <a:pt x="62590" y="85353"/>
                        <a:pt x="62465" y="88116"/>
                      </a:cubicBezTo>
                      <a:cubicBezTo>
                        <a:pt x="62465" y="90879"/>
                        <a:pt x="68368" y="93014"/>
                        <a:pt x="65479" y="89246"/>
                      </a:cubicBezTo>
                      <a:cubicBezTo>
                        <a:pt x="62590" y="85353"/>
                        <a:pt x="63092" y="86734"/>
                        <a:pt x="64097" y="85102"/>
                      </a:cubicBezTo>
                      <a:cubicBezTo>
                        <a:pt x="65102" y="83469"/>
                        <a:pt x="57566" y="83720"/>
                        <a:pt x="62088" y="82590"/>
                      </a:cubicBezTo>
                      <a:cubicBezTo>
                        <a:pt x="66609" y="81460"/>
                        <a:pt x="70126" y="85227"/>
                        <a:pt x="70880" y="83595"/>
                      </a:cubicBezTo>
                      <a:cubicBezTo>
                        <a:pt x="71633" y="81836"/>
                        <a:pt x="71005" y="82841"/>
                        <a:pt x="70251" y="81836"/>
                      </a:cubicBezTo>
                      <a:cubicBezTo>
                        <a:pt x="69498" y="80832"/>
                        <a:pt x="66861" y="77566"/>
                        <a:pt x="67865" y="77064"/>
                      </a:cubicBezTo>
                      <a:cubicBezTo>
                        <a:pt x="68870" y="76561"/>
                        <a:pt x="67488" y="69779"/>
                        <a:pt x="66484" y="71161"/>
                      </a:cubicBezTo>
                      <a:cubicBezTo>
                        <a:pt x="65479" y="72668"/>
                        <a:pt x="62716" y="70533"/>
                        <a:pt x="63469" y="68398"/>
                      </a:cubicBezTo>
                      <a:cubicBezTo>
                        <a:pt x="64223" y="66263"/>
                        <a:pt x="57441" y="60736"/>
                        <a:pt x="58069" y="64630"/>
                      </a:cubicBezTo>
                      <a:cubicBezTo>
                        <a:pt x="58697" y="68523"/>
                        <a:pt x="57064" y="68021"/>
                        <a:pt x="57566" y="70156"/>
                      </a:cubicBezTo>
                      <a:cubicBezTo>
                        <a:pt x="58069" y="72291"/>
                        <a:pt x="54426" y="69151"/>
                        <a:pt x="54552" y="73296"/>
                      </a:cubicBezTo>
                      <a:cubicBezTo>
                        <a:pt x="54678" y="77315"/>
                        <a:pt x="52417" y="72166"/>
                        <a:pt x="52543" y="69654"/>
                      </a:cubicBezTo>
                      <a:cubicBezTo>
                        <a:pt x="52668" y="67142"/>
                        <a:pt x="55934" y="72793"/>
                        <a:pt x="49905" y="65132"/>
                      </a:cubicBezTo>
                      <a:cubicBezTo>
                        <a:pt x="43876" y="57471"/>
                        <a:pt x="51287" y="54457"/>
                        <a:pt x="54678" y="52824"/>
                      </a:cubicBezTo>
                      <a:cubicBezTo>
                        <a:pt x="58069" y="51191"/>
                        <a:pt x="56813" y="53703"/>
                        <a:pt x="58822" y="53577"/>
                      </a:cubicBezTo>
                      <a:cubicBezTo>
                        <a:pt x="60832" y="53452"/>
                        <a:pt x="59325" y="48930"/>
                        <a:pt x="58069" y="47675"/>
                      </a:cubicBezTo>
                      <a:cubicBezTo>
                        <a:pt x="56813" y="46293"/>
                        <a:pt x="54929" y="51066"/>
                        <a:pt x="55055" y="48930"/>
                      </a:cubicBezTo>
                      <a:cubicBezTo>
                        <a:pt x="55055" y="46795"/>
                        <a:pt x="56311" y="47047"/>
                        <a:pt x="55306" y="46293"/>
                      </a:cubicBezTo>
                      <a:cubicBezTo>
                        <a:pt x="54175" y="45539"/>
                        <a:pt x="54803" y="48428"/>
                        <a:pt x="54050" y="47172"/>
                      </a:cubicBezTo>
                      <a:cubicBezTo>
                        <a:pt x="53296" y="45916"/>
                        <a:pt x="55180" y="38004"/>
                        <a:pt x="52292" y="40641"/>
                      </a:cubicBezTo>
                      <a:cubicBezTo>
                        <a:pt x="49403" y="43404"/>
                        <a:pt x="54929" y="43655"/>
                        <a:pt x="51789" y="45037"/>
                      </a:cubicBezTo>
                      <a:cubicBezTo>
                        <a:pt x="48649" y="46419"/>
                        <a:pt x="51035" y="45539"/>
                        <a:pt x="49905" y="44158"/>
                      </a:cubicBezTo>
                      <a:cubicBezTo>
                        <a:pt x="48901" y="42776"/>
                        <a:pt x="46263" y="41897"/>
                        <a:pt x="44881" y="39636"/>
                      </a:cubicBezTo>
                      <a:cubicBezTo>
                        <a:pt x="43500" y="37376"/>
                        <a:pt x="45133" y="36748"/>
                        <a:pt x="42746" y="36371"/>
                      </a:cubicBezTo>
                      <a:cubicBezTo>
                        <a:pt x="40360" y="36120"/>
                        <a:pt x="44128" y="37501"/>
                        <a:pt x="43249" y="37878"/>
                      </a:cubicBezTo>
                      <a:cubicBezTo>
                        <a:pt x="42369" y="38381"/>
                        <a:pt x="42244" y="38255"/>
                        <a:pt x="42118" y="39511"/>
                      </a:cubicBezTo>
                      <a:cubicBezTo>
                        <a:pt x="41993" y="40892"/>
                        <a:pt x="41113" y="36748"/>
                        <a:pt x="41113" y="36748"/>
                      </a:cubicBezTo>
                      <a:cubicBezTo>
                        <a:pt x="41113" y="36748"/>
                        <a:pt x="36341" y="32352"/>
                        <a:pt x="38727" y="33608"/>
                      </a:cubicBezTo>
                      <a:cubicBezTo>
                        <a:pt x="38978" y="33733"/>
                        <a:pt x="33829" y="23309"/>
                        <a:pt x="32573" y="21802"/>
                      </a:cubicBezTo>
                      <a:cubicBezTo>
                        <a:pt x="27675" y="16401"/>
                        <a:pt x="30438" y="26323"/>
                        <a:pt x="20642" y="11252"/>
                      </a:cubicBezTo>
                      <a:cubicBezTo>
                        <a:pt x="10720" y="-3945"/>
                        <a:pt x="14111" y="3340"/>
                        <a:pt x="11473" y="1204"/>
                      </a:cubicBezTo>
                      <a:cubicBezTo>
                        <a:pt x="8836" y="-931"/>
                        <a:pt x="3561" y="-428"/>
                        <a:pt x="5570" y="4344"/>
                      </a:cubicBezTo>
                      <a:cubicBezTo>
                        <a:pt x="7580" y="8991"/>
                        <a:pt x="7328" y="7484"/>
                        <a:pt x="6073" y="6856"/>
                      </a:cubicBezTo>
                      <a:cubicBezTo>
                        <a:pt x="4817" y="6228"/>
                        <a:pt x="3184" y="2963"/>
                        <a:pt x="2933" y="4093"/>
                      </a:cubicBezTo>
                      <a:cubicBezTo>
                        <a:pt x="2681" y="5224"/>
                        <a:pt x="923" y="2586"/>
                        <a:pt x="547" y="3214"/>
                      </a:cubicBezTo>
                      <a:cubicBezTo>
                        <a:pt x="170" y="3842"/>
                        <a:pt x="3058" y="6103"/>
                        <a:pt x="923" y="4847"/>
                      </a:cubicBezTo>
                      <a:cubicBezTo>
                        <a:pt x="-1212" y="3591"/>
                        <a:pt x="923" y="6479"/>
                        <a:pt x="1677" y="7359"/>
                      </a:cubicBezTo>
                      <a:cubicBezTo>
                        <a:pt x="3184" y="8991"/>
                        <a:pt x="6701" y="6228"/>
                        <a:pt x="3812" y="9745"/>
                      </a:cubicBezTo>
                      <a:cubicBezTo>
                        <a:pt x="-1966" y="16653"/>
                        <a:pt x="6073" y="23058"/>
                        <a:pt x="7454" y="23184"/>
                      </a:cubicBezTo>
                      <a:cubicBezTo>
                        <a:pt x="8836" y="23309"/>
                        <a:pt x="10091" y="22430"/>
                        <a:pt x="11347" y="25821"/>
                      </a:cubicBezTo>
                      <a:cubicBezTo>
                        <a:pt x="12604" y="29087"/>
                        <a:pt x="13860" y="27956"/>
                        <a:pt x="14111" y="29840"/>
                      </a:cubicBezTo>
                      <a:cubicBezTo>
                        <a:pt x="14362" y="31850"/>
                        <a:pt x="15869" y="34864"/>
                        <a:pt x="15492" y="36497"/>
                      </a:cubicBezTo>
                      <a:cubicBezTo>
                        <a:pt x="15116" y="38129"/>
                        <a:pt x="22400" y="58350"/>
                        <a:pt x="20014" y="54959"/>
                      </a:cubicBezTo>
                      <a:cubicBezTo>
                        <a:pt x="17753" y="51568"/>
                        <a:pt x="19009" y="54080"/>
                        <a:pt x="18506" y="55210"/>
                      </a:cubicBezTo>
                      <a:cubicBezTo>
                        <a:pt x="18004" y="56466"/>
                        <a:pt x="15116" y="65760"/>
                        <a:pt x="20014" y="72542"/>
                      </a:cubicBezTo>
                      <a:cubicBezTo>
                        <a:pt x="24786" y="79324"/>
                        <a:pt x="20642" y="71161"/>
                        <a:pt x="23404" y="77692"/>
                      </a:cubicBezTo>
                      <a:cubicBezTo>
                        <a:pt x="26168" y="84223"/>
                        <a:pt x="31443" y="98666"/>
                        <a:pt x="36466" y="101555"/>
                      </a:cubicBezTo>
                      <a:cubicBezTo>
                        <a:pt x="41490" y="104443"/>
                        <a:pt x="43751" y="110346"/>
                        <a:pt x="43625" y="111351"/>
                      </a:cubicBezTo>
                      <a:cubicBezTo>
                        <a:pt x="43500" y="112356"/>
                        <a:pt x="48021" y="118887"/>
                        <a:pt x="47896" y="116249"/>
                      </a:cubicBezTo>
                      <a:cubicBezTo>
                        <a:pt x="47770" y="113612"/>
                        <a:pt x="52292" y="122529"/>
                        <a:pt x="49654" y="122529"/>
                      </a:cubicBezTo>
                      <a:cubicBezTo>
                        <a:pt x="47142" y="122529"/>
                        <a:pt x="47645" y="126674"/>
                        <a:pt x="47896" y="126297"/>
                      </a:cubicBezTo>
                      <a:cubicBezTo>
                        <a:pt x="48021" y="125920"/>
                        <a:pt x="46765" y="127930"/>
                        <a:pt x="47016" y="128934"/>
                      </a:cubicBezTo>
                      <a:cubicBezTo>
                        <a:pt x="47268" y="129939"/>
                        <a:pt x="52794" y="141243"/>
                        <a:pt x="55934" y="145764"/>
                      </a:cubicBezTo>
                      <a:cubicBezTo>
                        <a:pt x="59074" y="150160"/>
                        <a:pt x="53799" y="165106"/>
                        <a:pt x="56687" y="170381"/>
                      </a:cubicBezTo>
                      <a:cubicBezTo>
                        <a:pt x="59451" y="175656"/>
                        <a:pt x="57315" y="180177"/>
                        <a:pt x="56938" y="181182"/>
                      </a:cubicBezTo>
                      <a:cubicBezTo>
                        <a:pt x="56687" y="182187"/>
                        <a:pt x="59199" y="185452"/>
                        <a:pt x="58948" y="185578"/>
                      </a:cubicBezTo>
                      <a:cubicBezTo>
                        <a:pt x="58822" y="185703"/>
                        <a:pt x="59576" y="188466"/>
                        <a:pt x="60329" y="186206"/>
                      </a:cubicBezTo>
                      <a:cubicBezTo>
                        <a:pt x="60958" y="184573"/>
                        <a:pt x="63721" y="182689"/>
                        <a:pt x="61711" y="179423"/>
                      </a:cubicBezTo>
                      <a:cubicBezTo>
                        <a:pt x="59827" y="176409"/>
                        <a:pt x="64223" y="175028"/>
                        <a:pt x="62841" y="174776"/>
                      </a:cubicBezTo>
                      <a:cubicBezTo>
                        <a:pt x="61460" y="174525"/>
                        <a:pt x="62214" y="173521"/>
                        <a:pt x="62214" y="173144"/>
                      </a:cubicBezTo>
                      <a:cubicBezTo>
                        <a:pt x="62088" y="172893"/>
                        <a:pt x="64349" y="173395"/>
                        <a:pt x="64223" y="172139"/>
                      </a:cubicBezTo>
                      <a:cubicBezTo>
                        <a:pt x="64097" y="170883"/>
                        <a:pt x="69875" y="173018"/>
                        <a:pt x="67237" y="169250"/>
                      </a:cubicBezTo>
                      <a:cubicBezTo>
                        <a:pt x="64600" y="165482"/>
                        <a:pt x="68744" y="170632"/>
                        <a:pt x="70126" y="169627"/>
                      </a:cubicBezTo>
                      <a:cubicBezTo>
                        <a:pt x="71508" y="168622"/>
                        <a:pt x="74271" y="160584"/>
                        <a:pt x="77410" y="163096"/>
                      </a:cubicBezTo>
                      <a:cubicBezTo>
                        <a:pt x="80676" y="165482"/>
                        <a:pt x="79545" y="157696"/>
                        <a:pt x="81053" y="155560"/>
                      </a:cubicBezTo>
                      <a:cubicBezTo>
                        <a:pt x="82560" y="153425"/>
                        <a:pt x="82308" y="149281"/>
                        <a:pt x="79545" y="146141"/>
                      </a:cubicBezTo>
                      <a:cubicBezTo>
                        <a:pt x="76657" y="143001"/>
                        <a:pt x="76280" y="144885"/>
                        <a:pt x="75778" y="144006"/>
                      </a:cubicBezTo>
                      <a:cubicBezTo>
                        <a:pt x="75275" y="143127"/>
                        <a:pt x="70251" y="138480"/>
                        <a:pt x="70251" y="138480"/>
                      </a:cubicBezTo>
                      <a:cubicBezTo>
                        <a:pt x="70377" y="138228"/>
                        <a:pt x="73015" y="136721"/>
                        <a:pt x="70503" y="133833"/>
                      </a:cubicBezTo>
                      <a:lnTo>
                        <a:pt x="70503" y="133833"/>
                      </a:lnTo>
                      <a:close/>
                      <a:moveTo>
                        <a:pt x="199489" y="220367"/>
                      </a:moveTo>
                      <a:cubicBezTo>
                        <a:pt x="199740" y="220493"/>
                        <a:pt x="199614" y="220116"/>
                        <a:pt x="199237" y="219865"/>
                      </a:cubicBezTo>
                      <a:cubicBezTo>
                        <a:pt x="198860" y="219488"/>
                        <a:pt x="198609" y="223005"/>
                        <a:pt x="198107" y="221623"/>
                      </a:cubicBezTo>
                      <a:cubicBezTo>
                        <a:pt x="197605" y="220242"/>
                        <a:pt x="198107" y="221498"/>
                        <a:pt x="198233" y="220619"/>
                      </a:cubicBezTo>
                      <a:cubicBezTo>
                        <a:pt x="198358" y="219739"/>
                        <a:pt x="197605" y="221121"/>
                        <a:pt x="197982" y="218358"/>
                      </a:cubicBezTo>
                      <a:cubicBezTo>
                        <a:pt x="198358" y="215595"/>
                        <a:pt x="198233" y="215720"/>
                        <a:pt x="200116" y="217102"/>
                      </a:cubicBezTo>
                      <a:cubicBezTo>
                        <a:pt x="202000" y="218609"/>
                        <a:pt x="201624" y="217102"/>
                        <a:pt x="202252" y="217981"/>
                      </a:cubicBezTo>
                      <a:cubicBezTo>
                        <a:pt x="202880" y="218735"/>
                        <a:pt x="202629" y="219865"/>
                        <a:pt x="200870" y="218232"/>
                      </a:cubicBezTo>
                      <a:cubicBezTo>
                        <a:pt x="199112" y="216600"/>
                        <a:pt x="198609" y="218483"/>
                        <a:pt x="199237" y="218860"/>
                      </a:cubicBezTo>
                      <a:cubicBezTo>
                        <a:pt x="199865" y="219111"/>
                        <a:pt x="198484" y="217981"/>
                        <a:pt x="199489" y="218483"/>
                      </a:cubicBezTo>
                      <a:cubicBezTo>
                        <a:pt x="200368" y="218860"/>
                        <a:pt x="200745" y="219614"/>
                        <a:pt x="199740" y="219614"/>
                      </a:cubicBezTo>
                      <a:cubicBezTo>
                        <a:pt x="198735" y="219614"/>
                        <a:pt x="200493" y="221875"/>
                        <a:pt x="200619" y="222000"/>
                      </a:cubicBezTo>
                      <a:cubicBezTo>
                        <a:pt x="200745" y="222126"/>
                        <a:pt x="199740" y="222251"/>
                        <a:pt x="199489" y="221623"/>
                      </a:cubicBezTo>
                      <a:cubicBezTo>
                        <a:pt x="199237" y="220995"/>
                        <a:pt x="199363" y="221498"/>
                        <a:pt x="199363" y="221247"/>
                      </a:cubicBezTo>
                      <a:cubicBezTo>
                        <a:pt x="199363" y="220870"/>
                        <a:pt x="199363" y="220116"/>
                        <a:pt x="199489" y="220367"/>
                      </a:cubicBezTo>
                      <a:lnTo>
                        <a:pt x="199489" y="220367"/>
                      </a:lnTo>
                      <a:close/>
                      <a:moveTo>
                        <a:pt x="194088" y="217604"/>
                      </a:moveTo>
                      <a:cubicBezTo>
                        <a:pt x="193460" y="217227"/>
                        <a:pt x="193962" y="217102"/>
                        <a:pt x="192832" y="215846"/>
                      </a:cubicBezTo>
                      <a:cubicBezTo>
                        <a:pt x="191702" y="214590"/>
                        <a:pt x="190446" y="209817"/>
                        <a:pt x="191450" y="210948"/>
                      </a:cubicBezTo>
                      <a:cubicBezTo>
                        <a:pt x="192455" y="212078"/>
                        <a:pt x="192204" y="211199"/>
                        <a:pt x="192706" y="210948"/>
                      </a:cubicBezTo>
                      <a:cubicBezTo>
                        <a:pt x="193083" y="210571"/>
                        <a:pt x="195721" y="210194"/>
                        <a:pt x="196223" y="209315"/>
                      </a:cubicBezTo>
                      <a:cubicBezTo>
                        <a:pt x="196726" y="208436"/>
                        <a:pt x="196474" y="209943"/>
                        <a:pt x="197228" y="210822"/>
                      </a:cubicBezTo>
                      <a:cubicBezTo>
                        <a:pt x="198107" y="211701"/>
                        <a:pt x="197353" y="211450"/>
                        <a:pt x="197479" y="212078"/>
                      </a:cubicBezTo>
                      <a:cubicBezTo>
                        <a:pt x="197605" y="212706"/>
                        <a:pt x="196977" y="211953"/>
                        <a:pt x="196977" y="211953"/>
                      </a:cubicBezTo>
                      <a:cubicBezTo>
                        <a:pt x="196851" y="211953"/>
                        <a:pt x="196600" y="212832"/>
                        <a:pt x="197102" y="214213"/>
                      </a:cubicBezTo>
                      <a:cubicBezTo>
                        <a:pt x="197605" y="215595"/>
                        <a:pt x="196726" y="215720"/>
                        <a:pt x="196097" y="217604"/>
                      </a:cubicBezTo>
                      <a:cubicBezTo>
                        <a:pt x="195470" y="219488"/>
                        <a:pt x="195470" y="217479"/>
                        <a:pt x="195218" y="217604"/>
                      </a:cubicBezTo>
                      <a:cubicBezTo>
                        <a:pt x="195093" y="217730"/>
                        <a:pt x="195470" y="219739"/>
                        <a:pt x="194842" y="218107"/>
                      </a:cubicBezTo>
                      <a:cubicBezTo>
                        <a:pt x="194088" y="216474"/>
                        <a:pt x="194716" y="217981"/>
                        <a:pt x="194088" y="217604"/>
                      </a:cubicBezTo>
                      <a:lnTo>
                        <a:pt x="194088" y="217604"/>
                      </a:lnTo>
                      <a:close/>
                      <a:moveTo>
                        <a:pt x="200870" y="227526"/>
                      </a:moveTo>
                      <a:cubicBezTo>
                        <a:pt x="200493" y="226270"/>
                        <a:pt x="203633" y="227526"/>
                        <a:pt x="203633" y="227652"/>
                      </a:cubicBezTo>
                      <a:cubicBezTo>
                        <a:pt x="203633" y="227777"/>
                        <a:pt x="201121" y="228782"/>
                        <a:pt x="200870" y="227526"/>
                      </a:cubicBezTo>
                      <a:lnTo>
                        <a:pt x="200870" y="227526"/>
                      </a:lnTo>
                      <a:close/>
                      <a:moveTo>
                        <a:pt x="220086" y="234560"/>
                      </a:moveTo>
                      <a:cubicBezTo>
                        <a:pt x="220463" y="234560"/>
                        <a:pt x="220463" y="235062"/>
                        <a:pt x="220840" y="234936"/>
                      </a:cubicBezTo>
                      <a:cubicBezTo>
                        <a:pt x="221216" y="234811"/>
                        <a:pt x="221342" y="233304"/>
                        <a:pt x="221845" y="234936"/>
                      </a:cubicBezTo>
                      <a:cubicBezTo>
                        <a:pt x="222347" y="236569"/>
                        <a:pt x="218579" y="234936"/>
                        <a:pt x="218956" y="234183"/>
                      </a:cubicBezTo>
                      <a:cubicBezTo>
                        <a:pt x="219081" y="233429"/>
                        <a:pt x="219709" y="234685"/>
                        <a:pt x="220086" y="234560"/>
                      </a:cubicBezTo>
                      <a:lnTo>
                        <a:pt x="220086" y="234560"/>
                      </a:lnTo>
                      <a:close/>
                      <a:moveTo>
                        <a:pt x="211295" y="266712"/>
                      </a:moveTo>
                      <a:cubicBezTo>
                        <a:pt x="211295" y="266963"/>
                        <a:pt x="211295" y="271610"/>
                        <a:pt x="211922" y="271233"/>
                      </a:cubicBezTo>
                      <a:cubicBezTo>
                        <a:pt x="212551" y="270857"/>
                        <a:pt x="214183" y="269726"/>
                        <a:pt x="213681" y="268721"/>
                      </a:cubicBezTo>
                      <a:cubicBezTo>
                        <a:pt x="213178" y="267591"/>
                        <a:pt x="212676" y="268470"/>
                        <a:pt x="212425" y="268219"/>
                      </a:cubicBezTo>
                      <a:cubicBezTo>
                        <a:pt x="212174" y="267968"/>
                        <a:pt x="211420" y="266461"/>
                        <a:pt x="211295" y="266712"/>
                      </a:cubicBezTo>
                      <a:lnTo>
                        <a:pt x="211295" y="266712"/>
                      </a:lnTo>
                      <a:close/>
                      <a:moveTo>
                        <a:pt x="188059" y="216474"/>
                      </a:moveTo>
                      <a:cubicBezTo>
                        <a:pt x="188185" y="215344"/>
                        <a:pt x="190948" y="218232"/>
                        <a:pt x="191702" y="218735"/>
                      </a:cubicBezTo>
                      <a:cubicBezTo>
                        <a:pt x="192455" y="219111"/>
                        <a:pt x="190823" y="217479"/>
                        <a:pt x="191827" y="218358"/>
                      </a:cubicBezTo>
                      <a:cubicBezTo>
                        <a:pt x="192957" y="219237"/>
                        <a:pt x="191953" y="219111"/>
                        <a:pt x="194088" y="220995"/>
                      </a:cubicBezTo>
                      <a:cubicBezTo>
                        <a:pt x="196223" y="222879"/>
                        <a:pt x="194465" y="221749"/>
                        <a:pt x="194339" y="221875"/>
                      </a:cubicBezTo>
                      <a:cubicBezTo>
                        <a:pt x="194339" y="222000"/>
                        <a:pt x="188059" y="217604"/>
                        <a:pt x="188059" y="216474"/>
                      </a:cubicBezTo>
                      <a:lnTo>
                        <a:pt x="188059" y="216474"/>
                      </a:lnTo>
                      <a:close/>
                      <a:moveTo>
                        <a:pt x="232897" y="276131"/>
                      </a:moveTo>
                      <a:cubicBezTo>
                        <a:pt x="233776" y="280402"/>
                        <a:pt x="232269" y="278643"/>
                        <a:pt x="231767" y="279271"/>
                      </a:cubicBezTo>
                      <a:cubicBezTo>
                        <a:pt x="231264" y="279899"/>
                        <a:pt x="232394" y="280402"/>
                        <a:pt x="232394" y="280904"/>
                      </a:cubicBezTo>
                      <a:cubicBezTo>
                        <a:pt x="232520" y="281406"/>
                        <a:pt x="231013" y="282537"/>
                        <a:pt x="232018" y="282914"/>
                      </a:cubicBezTo>
                      <a:cubicBezTo>
                        <a:pt x="233148" y="283290"/>
                        <a:pt x="233776" y="280904"/>
                        <a:pt x="234153" y="281030"/>
                      </a:cubicBezTo>
                      <a:cubicBezTo>
                        <a:pt x="234530" y="281155"/>
                        <a:pt x="235158" y="280778"/>
                        <a:pt x="235409" y="280025"/>
                      </a:cubicBezTo>
                      <a:cubicBezTo>
                        <a:pt x="235660" y="279146"/>
                        <a:pt x="234153" y="279522"/>
                        <a:pt x="233902" y="278895"/>
                      </a:cubicBezTo>
                      <a:cubicBezTo>
                        <a:pt x="233650" y="278267"/>
                        <a:pt x="233148" y="276634"/>
                        <a:pt x="233274" y="275880"/>
                      </a:cubicBezTo>
                      <a:cubicBezTo>
                        <a:pt x="233650" y="275252"/>
                        <a:pt x="232018" y="271987"/>
                        <a:pt x="232897" y="276131"/>
                      </a:cubicBezTo>
                      <a:lnTo>
                        <a:pt x="232897" y="276131"/>
                      </a:lnTo>
                      <a:close/>
                      <a:moveTo>
                        <a:pt x="231264" y="282788"/>
                      </a:moveTo>
                      <a:cubicBezTo>
                        <a:pt x="230636" y="284044"/>
                        <a:pt x="230134" y="283165"/>
                        <a:pt x="229631" y="283667"/>
                      </a:cubicBezTo>
                      <a:cubicBezTo>
                        <a:pt x="229129" y="284170"/>
                        <a:pt x="230636" y="284797"/>
                        <a:pt x="229631" y="284421"/>
                      </a:cubicBezTo>
                      <a:cubicBezTo>
                        <a:pt x="228627" y="284044"/>
                        <a:pt x="226994" y="288063"/>
                        <a:pt x="225361" y="285425"/>
                      </a:cubicBezTo>
                      <a:cubicBezTo>
                        <a:pt x="223854" y="282788"/>
                        <a:pt x="227371" y="283290"/>
                        <a:pt x="229129" y="281406"/>
                      </a:cubicBezTo>
                      <a:cubicBezTo>
                        <a:pt x="230887" y="279522"/>
                        <a:pt x="230259" y="281155"/>
                        <a:pt x="230636" y="281532"/>
                      </a:cubicBezTo>
                      <a:cubicBezTo>
                        <a:pt x="231138" y="281783"/>
                        <a:pt x="231892" y="281532"/>
                        <a:pt x="231264" y="282788"/>
                      </a:cubicBezTo>
                      <a:lnTo>
                        <a:pt x="231264" y="282788"/>
                      </a:lnTo>
                      <a:close/>
                      <a:moveTo>
                        <a:pt x="213681" y="228531"/>
                      </a:moveTo>
                      <a:cubicBezTo>
                        <a:pt x="214937" y="229787"/>
                        <a:pt x="216821" y="232173"/>
                        <a:pt x="217072" y="233052"/>
                      </a:cubicBezTo>
                      <a:cubicBezTo>
                        <a:pt x="217323" y="233932"/>
                        <a:pt x="219207" y="235062"/>
                        <a:pt x="218202" y="234936"/>
                      </a:cubicBezTo>
                      <a:cubicBezTo>
                        <a:pt x="217323" y="234811"/>
                        <a:pt x="219081" y="237448"/>
                        <a:pt x="219458" y="237699"/>
                      </a:cubicBezTo>
                      <a:cubicBezTo>
                        <a:pt x="219709" y="237951"/>
                        <a:pt x="219207" y="237825"/>
                        <a:pt x="219458" y="238202"/>
                      </a:cubicBezTo>
                      <a:cubicBezTo>
                        <a:pt x="219709" y="238453"/>
                        <a:pt x="220840" y="238704"/>
                        <a:pt x="220463" y="239332"/>
                      </a:cubicBezTo>
                      <a:cubicBezTo>
                        <a:pt x="220086" y="240086"/>
                        <a:pt x="217198" y="235564"/>
                        <a:pt x="216193" y="234183"/>
                      </a:cubicBezTo>
                      <a:cubicBezTo>
                        <a:pt x="215188" y="232801"/>
                        <a:pt x="215816" y="234308"/>
                        <a:pt x="215439" y="234308"/>
                      </a:cubicBezTo>
                      <a:cubicBezTo>
                        <a:pt x="214937" y="234308"/>
                        <a:pt x="215816" y="234434"/>
                        <a:pt x="215314" y="235062"/>
                      </a:cubicBezTo>
                      <a:cubicBezTo>
                        <a:pt x="214811" y="235690"/>
                        <a:pt x="214434" y="233555"/>
                        <a:pt x="212802" y="232676"/>
                      </a:cubicBezTo>
                      <a:cubicBezTo>
                        <a:pt x="211295" y="231797"/>
                        <a:pt x="212425" y="232424"/>
                        <a:pt x="211922" y="230917"/>
                      </a:cubicBezTo>
                      <a:cubicBezTo>
                        <a:pt x="211420" y="229410"/>
                        <a:pt x="209159" y="226647"/>
                        <a:pt x="208657" y="226270"/>
                      </a:cubicBezTo>
                      <a:cubicBezTo>
                        <a:pt x="208155" y="225894"/>
                        <a:pt x="208531" y="227401"/>
                        <a:pt x="207652" y="225517"/>
                      </a:cubicBezTo>
                      <a:cubicBezTo>
                        <a:pt x="206773" y="223507"/>
                        <a:pt x="209285" y="226521"/>
                        <a:pt x="208531" y="225140"/>
                      </a:cubicBezTo>
                      <a:cubicBezTo>
                        <a:pt x="207903" y="223633"/>
                        <a:pt x="207527" y="224763"/>
                        <a:pt x="207275" y="224386"/>
                      </a:cubicBezTo>
                      <a:cubicBezTo>
                        <a:pt x="207024" y="224010"/>
                        <a:pt x="207903" y="225014"/>
                        <a:pt x="207024" y="223633"/>
                      </a:cubicBezTo>
                      <a:cubicBezTo>
                        <a:pt x="206271" y="222251"/>
                        <a:pt x="208908" y="224010"/>
                        <a:pt x="208783" y="224889"/>
                      </a:cubicBezTo>
                      <a:cubicBezTo>
                        <a:pt x="208657" y="225768"/>
                        <a:pt x="209034" y="226898"/>
                        <a:pt x="210290" y="226396"/>
                      </a:cubicBezTo>
                      <a:cubicBezTo>
                        <a:pt x="211420" y="225768"/>
                        <a:pt x="212425" y="227275"/>
                        <a:pt x="213681" y="228531"/>
                      </a:cubicBezTo>
                      <a:lnTo>
                        <a:pt x="213681" y="228531"/>
                      </a:lnTo>
                      <a:close/>
                      <a:moveTo>
                        <a:pt x="187432" y="215092"/>
                      </a:moveTo>
                      <a:cubicBezTo>
                        <a:pt x="185799" y="212832"/>
                        <a:pt x="183789" y="205547"/>
                        <a:pt x="181780" y="202910"/>
                      </a:cubicBezTo>
                      <a:cubicBezTo>
                        <a:pt x="179770" y="200398"/>
                        <a:pt x="182157" y="201403"/>
                        <a:pt x="183036" y="203412"/>
                      </a:cubicBezTo>
                      <a:cubicBezTo>
                        <a:pt x="184040" y="205422"/>
                        <a:pt x="185547" y="206678"/>
                        <a:pt x="185547" y="207305"/>
                      </a:cubicBezTo>
                      <a:cubicBezTo>
                        <a:pt x="185547" y="207933"/>
                        <a:pt x="187055" y="209315"/>
                        <a:pt x="187055" y="209692"/>
                      </a:cubicBezTo>
                      <a:cubicBezTo>
                        <a:pt x="187055" y="210069"/>
                        <a:pt x="187306" y="210445"/>
                        <a:pt x="187557" y="211073"/>
                      </a:cubicBezTo>
                      <a:cubicBezTo>
                        <a:pt x="187808" y="211701"/>
                        <a:pt x="186929" y="211199"/>
                        <a:pt x="187808" y="212329"/>
                      </a:cubicBezTo>
                      <a:cubicBezTo>
                        <a:pt x="188687" y="213460"/>
                        <a:pt x="188813" y="215720"/>
                        <a:pt x="188436" y="215720"/>
                      </a:cubicBezTo>
                      <a:cubicBezTo>
                        <a:pt x="188059" y="215595"/>
                        <a:pt x="188939" y="217353"/>
                        <a:pt x="187432" y="215092"/>
                      </a:cubicBezTo>
                      <a:lnTo>
                        <a:pt x="187432" y="215092"/>
                      </a:lnTo>
                      <a:close/>
                      <a:moveTo>
                        <a:pt x="209285" y="236946"/>
                      </a:moveTo>
                      <a:cubicBezTo>
                        <a:pt x="209411" y="237448"/>
                        <a:pt x="210918" y="239835"/>
                        <a:pt x="212048" y="241342"/>
                      </a:cubicBezTo>
                      <a:cubicBezTo>
                        <a:pt x="213178" y="242723"/>
                        <a:pt x="213932" y="234685"/>
                        <a:pt x="214686" y="237448"/>
                      </a:cubicBezTo>
                      <a:cubicBezTo>
                        <a:pt x="215439" y="240211"/>
                        <a:pt x="214560" y="239332"/>
                        <a:pt x="215690" y="240211"/>
                      </a:cubicBezTo>
                      <a:cubicBezTo>
                        <a:pt x="216821" y="241091"/>
                        <a:pt x="215942" y="244733"/>
                        <a:pt x="217072" y="246114"/>
                      </a:cubicBezTo>
                      <a:cubicBezTo>
                        <a:pt x="218202" y="247496"/>
                        <a:pt x="218076" y="249505"/>
                        <a:pt x="218705" y="250008"/>
                      </a:cubicBezTo>
                      <a:cubicBezTo>
                        <a:pt x="219332" y="250510"/>
                        <a:pt x="216946" y="245738"/>
                        <a:pt x="219332" y="251640"/>
                      </a:cubicBezTo>
                      <a:cubicBezTo>
                        <a:pt x="221719" y="257543"/>
                        <a:pt x="217323" y="260055"/>
                        <a:pt x="216318" y="264451"/>
                      </a:cubicBezTo>
                      <a:cubicBezTo>
                        <a:pt x="215439" y="268847"/>
                        <a:pt x="214937" y="265079"/>
                        <a:pt x="214183" y="265330"/>
                      </a:cubicBezTo>
                      <a:cubicBezTo>
                        <a:pt x="213429" y="265581"/>
                        <a:pt x="212425" y="265707"/>
                        <a:pt x="212676" y="264702"/>
                      </a:cubicBezTo>
                      <a:cubicBezTo>
                        <a:pt x="212927" y="263698"/>
                        <a:pt x="212425" y="264702"/>
                        <a:pt x="212299" y="264451"/>
                      </a:cubicBezTo>
                      <a:cubicBezTo>
                        <a:pt x="212174" y="264200"/>
                        <a:pt x="211546" y="264074"/>
                        <a:pt x="212048" y="263949"/>
                      </a:cubicBezTo>
                      <a:cubicBezTo>
                        <a:pt x="212551" y="263949"/>
                        <a:pt x="207527" y="253776"/>
                        <a:pt x="206019" y="252771"/>
                      </a:cubicBezTo>
                      <a:cubicBezTo>
                        <a:pt x="204512" y="251766"/>
                        <a:pt x="202252" y="249757"/>
                        <a:pt x="201498" y="249505"/>
                      </a:cubicBezTo>
                      <a:cubicBezTo>
                        <a:pt x="200745" y="249254"/>
                        <a:pt x="199865" y="247873"/>
                        <a:pt x="198860" y="248626"/>
                      </a:cubicBezTo>
                      <a:cubicBezTo>
                        <a:pt x="197982" y="249380"/>
                        <a:pt x="196977" y="247370"/>
                        <a:pt x="195470" y="247747"/>
                      </a:cubicBezTo>
                      <a:cubicBezTo>
                        <a:pt x="193962" y="248124"/>
                        <a:pt x="191702" y="245235"/>
                        <a:pt x="192455" y="245110"/>
                      </a:cubicBezTo>
                      <a:cubicBezTo>
                        <a:pt x="193209" y="244984"/>
                        <a:pt x="192455" y="238327"/>
                        <a:pt x="192832" y="237825"/>
                      </a:cubicBezTo>
                      <a:cubicBezTo>
                        <a:pt x="193083" y="237448"/>
                        <a:pt x="191953" y="236318"/>
                        <a:pt x="192581" y="235188"/>
                      </a:cubicBezTo>
                      <a:cubicBezTo>
                        <a:pt x="193209" y="234057"/>
                        <a:pt x="194967" y="233178"/>
                        <a:pt x="197228" y="234308"/>
                      </a:cubicBezTo>
                      <a:cubicBezTo>
                        <a:pt x="199489" y="235313"/>
                        <a:pt x="199614" y="231671"/>
                        <a:pt x="199991" y="232801"/>
                      </a:cubicBezTo>
                      <a:cubicBezTo>
                        <a:pt x="200368" y="233932"/>
                        <a:pt x="200242" y="233304"/>
                        <a:pt x="200368" y="232801"/>
                      </a:cubicBezTo>
                      <a:cubicBezTo>
                        <a:pt x="200493" y="232299"/>
                        <a:pt x="200870" y="233429"/>
                        <a:pt x="201121" y="233555"/>
                      </a:cubicBezTo>
                      <a:cubicBezTo>
                        <a:pt x="201372" y="233555"/>
                        <a:pt x="200745" y="232550"/>
                        <a:pt x="201247" y="232676"/>
                      </a:cubicBezTo>
                      <a:cubicBezTo>
                        <a:pt x="201749" y="232801"/>
                        <a:pt x="203005" y="231922"/>
                        <a:pt x="203508" y="233304"/>
                      </a:cubicBezTo>
                      <a:cubicBezTo>
                        <a:pt x="204136" y="234685"/>
                        <a:pt x="204136" y="233932"/>
                        <a:pt x="204261" y="234057"/>
                      </a:cubicBezTo>
                      <a:cubicBezTo>
                        <a:pt x="204387" y="234183"/>
                        <a:pt x="204512" y="234936"/>
                        <a:pt x="204638" y="233680"/>
                      </a:cubicBezTo>
                      <a:cubicBezTo>
                        <a:pt x="204763" y="232424"/>
                        <a:pt x="206899" y="233555"/>
                        <a:pt x="207150" y="233178"/>
                      </a:cubicBezTo>
                      <a:cubicBezTo>
                        <a:pt x="207401" y="232801"/>
                        <a:pt x="205015" y="230289"/>
                        <a:pt x="207024" y="232424"/>
                      </a:cubicBezTo>
                      <a:cubicBezTo>
                        <a:pt x="209034" y="234560"/>
                        <a:pt x="209034" y="234560"/>
                        <a:pt x="209788" y="234685"/>
                      </a:cubicBezTo>
                      <a:cubicBezTo>
                        <a:pt x="210792" y="234685"/>
                        <a:pt x="209285" y="236318"/>
                        <a:pt x="209285" y="236946"/>
                      </a:cubicBezTo>
                      <a:lnTo>
                        <a:pt x="209285" y="236946"/>
                      </a:lnTo>
                      <a:close/>
                      <a:moveTo>
                        <a:pt x="99139" y="61992"/>
                      </a:moveTo>
                      <a:cubicBezTo>
                        <a:pt x="97254" y="61364"/>
                        <a:pt x="89719" y="79324"/>
                        <a:pt x="85072" y="75933"/>
                      </a:cubicBezTo>
                      <a:cubicBezTo>
                        <a:pt x="80299" y="72542"/>
                        <a:pt x="82937" y="79199"/>
                        <a:pt x="82183" y="79701"/>
                      </a:cubicBezTo>
                      <a:cubicBezTo>
                        <a:pt x="81430" y="80329"/>
                        <a:pt x="81932" y="81083"/>
                        <a:pt x="81555" y="81460"/>
                      </a:cubicBezTo>
                      <a:cubicBezTo>
                        <a:pt x="81178" y="81962"/>
                        <a:pt x="81178" y="77943"/>
                        <a:pt x="79922" y="78696"/>
                      </a:cubicBezTo>
                      <a:cubicBezTo>
                        <a:pt x="78541" y="79450"/>
                        <a:pt x="78918" y="73673"/>
                        <a:pt x="77787" y="72668"/>
                      </a:cubicBezTo>
                      <a:cubicBezTo>
                        <a:pt x="76657" y="71663"/>
                        <a:pt x="78666" y="60736"/>
                        <a:pt x="77913" y="60360"/>
                      </a:cubicBezTo>
                      <a:cubicBezTo>
                        <a:pt x="77159" y="59983"/>
                        <a:pt x="78164" y="58225"/>
                        <a:pt x="78164" y="58225"/>
                      </a:cubicBezTo>
                      <a:cubicBezTo>
                        <a:pt x="78792" y="53954"/>
                        <a:pt x="75024" y="47423"/>
                        <a:pt x="75024" y="47423"/>
                      </a:cubicBezTo>
                      <a:cubicBezTo>
                        <a:pt x="74145" y="47172"/>
                        <a:pt x="72638" y="40892"/>
                        <a:pt x="72387" y="39888"/>
                      </a:cubicBezTo>
                      <a:cubicBezTo>
                        <a:pt x="72135" y="38883"/>
                        <a:pt x="77536" y="41897"/>
                        <a:pt x="78038" y="40516"/>
                      </a:cubicBezTo>
                      <a:cubicBezTo>
                        <a:pt x="78541" y="39134"/>
                        <a:pt x="77410" y="39134"/>
                        <a:pt x="79043" y="38255"/>
                      </a:cubicBezTo>
                      <a:cubicBezTo>
                        <a:pt x="80676" y="37376"/>
                        <a:pt x="79922" y="39260"/>
                        <a:pt x="79922" y="39134"/>
                      </a:cubicBezTo>
                      <a:cubicBezTo>
                        <a:pt x="79922" y="39008"/>
                        <a:pt x="82057" y="37753"/>
                        <a:pt x="82183" y="37753"/>
                      </a:cubicBezTo>
                      <a:cubicBezTo>
                        <a:pt x="82308" y="37878"/>
                        <a:pt x="82811" y="40390"/>
                        <a:pt x="82685" y="38255"/>
                      </a:cubicBezTo>
                      <a:cubicBezTo>
                        <a:pt x="82560" y="35994"/>
                        <a:pt x="85448" y="38255"/>
                        <a:pt x="85825" y="39260"/>
                      </a:cubicBezTo>
                      <a:cubicBezTo>
                        <a:pt x="86202" y="40264"/>
                        <a:pt x="84318" y="42651"/>
                        <a:pt x="85323" y="41646"/>
                      </a:cubicBezTo>
                      <a:cubicBezTo>
                        <a:pt x="86328" y="40641"/>
                        <a:pt x="86202" y="41897"/>
                        <a:pt x="86704" y="42148"/>
                      </a:cubicBezTo>
                      <a:cubicBezTo>
                        <a:pt x="87081" y="42400"/>
                        <a:pt x="88086" y="41772"/>
                        <a:pt x="89216" y="41395"/>
                      </a:cubicBezTo>
                      <a:cubicBezTo>
                        <a:pt x="90472" y="41018"/>
                        <a:pt x="89719" y="42651"/>
                        <a:pt x="90221" y="42525"/>
                      </a:cubicBezTo>
                      <a:cubicBezTo>
                        <a:pt x="90849" y="42400"/>
                        <a:pt x="90347" y="41269"/>
                        <a:pt x="90723" y="40892"/>
                      </a:cubicBezTo>
                      <a:cubicBezTo>
                        <a:pt x="91100" y="40641"/>
                        <a:pt x="91980" y="41018"/>
                        <a:pt x="92482" y="42525"/>
                      </a:cubicBezTo>
                      <a:cubicBezTo>
                        <a:pt x="92984" y="44032"/>
                        <a:pt x="93738" y="41897"/>
                        <a:pt x="94114" y="42023"/>
                      </a:cubicBezTo>
                      <a:cubicBezTo>
                        <a:pt x="94491" y="42148"/>
                        <a:pt x="98259" y="44409"/>
                        <a:pt x="98385" y="45916"/>
                      </a:cubicBezTo>
                      <a:cubicBezTo>
                        <a:pt x="98510" y="47423"/>
                        <a:pt x="94994" y="44032"/>
                        <a:pt x="95119" y="45288"/>
                      </a:cubicBezTo>
                      <a:cubicBezTo>
                        <a:pt x="95245" y="46544"/>
                        <a:pt x="96124" y="45665"/>
                        <a:pt x="96501" y="45791"/>
                      </a:cubicBezTo>
                      <a:cubicBezTo>
                        <a:pt x="96752" y="45916"/>
                        <a:pt x="100897" y="48805"/>
                        <a:pt x="99264" y="48428"/>
                      </a:cubicBezTo>
                      <a:cubicBezTo>
                        <a:pt x="97631" y="48051"/>
                        <a:pt x="99264" y="47926"/>
                        <a:pt x="100646" y="50061"/>
                      </a:cubicBezTo>
                      <a:cubicBezTo>
                        <a:pt x="102027" y="52322"/>
                        <a:pt x="96626" y="48177"/>
                        <a:pt x="95621" y="48805"/>
                      </a:cubicBezTo>
                      <a:cubicBezTo>
                        <a:pt x="94617" y="49433"/>
                        <a:pt x="98636" y="49684"/>
                        <a:pt x="98636" y="51066"/>
                      </a:cubicBezTo>
                      <a:cubicBezTo>
                        <a:pt x="98761" y="52322"/>
                        <a:pt x="98636" y="52447"/>
                        <a:pt x="98887" y="52322"/>
                      </a:cubicBezTo>
                      <a:cubicBezTo>
                        <a:pt x="99139" y="52322"/>
                        <a:pt x="100143" y="50689"/>
                        <a:pt x="100394" y="52322"/>
                      </a:cubicBezTo>
                      <a:cubicBezTo>
                        <a:pt x="100646" y="53829"/>
                        <a:pt x="96752" y="54080"/>
                        <a:pt x="97506" y="54582"/>
                      </a:cubicBezTo>
                      <a:cubicBezTo>
                        <a:pt x="98259" y="54959"/>
                        <a:pt x="100771" y="54205"/>
                        <a:pt x="101022" y="53954"/>
                      </a:cubicBezTo>
                      <a:cubicBezTo>
                        <a:pt x="101273" y="53703"/>
                        <a:pt x="101776" y="54080"/>
                        <a:pt x="102027" y="54205"/>
                      </a:cubicBezTo>
                      <a:cubicBezTo>
                        <a:pt x="102278" y="54331"/>
                        <a:pt x="105041" y="56717"/>
                        <a:pt x="104664" y="57345"/>
                      </a:cubicBezTo>
                      <a:cubicBezTo>
                        <a:pt x="104288" y="58099"/>
                        <a:pt x="100269" y="57471"/>
                        <a:pt x="100269" y="57848"/>
                      </a:cubicBezTo>
                      <a:cubicBezTo>
                        <a:pt x="100269" y="58350"/>
                        <a:pt x="102780" y="58225"/>
                        <a:pt x="101148" y="59355"/>
                      </a:cubicBezTo>
                      <a:cubicBezTo>
                        <a:pt x="99264" y="60736"/>
                        <a:pt x="101022" y="62620"/>
                        <a:pt x="99139" y="61992"/>
                      </a:cubicBezTo>
                      <a:lnTo>
                        <a:pt x="99139" y="61992"/>
                      </a:lnTo>
                      <a:close/>
                      <a:moveTo>
                        <a:pt x="59827" y="28207"/>
                      </a:moveTo>
                      <a:cubicBezTo>
                        <a:pt x="61083" y="27705"/>
                        <a:pt x="59702" y="25193"/>
                        <a:pt x="60958" y="28207"/>
                      </a:cubicBezTo>
                      <a:cubicBezTo>
                        <a:pt x="62339" y="31096"/>
                        <a:pt x="58571" y="28584"/>
                        <a:pt x="59827" y="28207"/>
                      </a:cubicBezTo>
                      <a:lnTo>
                        <a:pt x="59827" y="28207"/>
                      </a:lnTo>
                      <a:close/>
                      <a:moveTo>
                        <a:pt x="55431" y="28584"/>
                      </a:moveTo>
                      <a:cubicBezTo>
                        <a:pt x="58194" y="28961"/>
                        <a:pt x="57315" y="34487"/>
                        <a:pt x="54803" y="32226"/>
                      </a:cubicBezTo>
                      <a:cubicBezTo>
                        <a:pt x="52292" y="29840"/>
                        <a:pt x="55431" y="31598"/>
                        <a:pt x="54803" y="30594"/>
                      </a:cubicBezTo>
                      <a:cubicBezTo>
                        <a:pt x="54301" y="29463"/>
                        <a:pt x="52668" y="28207"/>
                        <a:pt x="55431" y="28584"/>
                      </a:cubicBezTo>
                      <a:lnTo>
                        <a:pt x="55431" y="28584"/>
                      </a:lnTo>
                      <a:close/>
                      <a:moveTo>
                        <a:pt x="56938" y="22179"/>
                      </a:moveTo>
                      <a:cubicBezTo>
                        <a:pt x="57190" y="20420"/>
                        <a:pt x="59451" y="22179"/>
                        <a:pt x="59199" y="24691"/>
                      </a:cubicBezTo>
                      <a:cubicBezTo>
                        <a:pt x="58948" y="27203"/>
                        <a:pt x="59199" y="28584"/>
                        <a:pt x="57692" y="25821"/>
                      </a:cubicBezTo>
                      <a:cubicBezTo>
                        <a:pt x="56059" y="23058"/>
                        <a:pt x="57566" y="24691"/>
                        <a:pt x="57566" y="22932"/>
                      </a:cubicBezTo>
                      <a:cubicBezTo>
                        <a:pt x="57566" y="21300"/>
                        <a:pt x="56813" y="23937"/>
                        <a:pt x="56938" y="22179"/>
                      </a:cubicBezTo>
                      <a:lnTo>
                        <a:pt x="56938" y="22179"/>
                      </a:lnTo>
                      <a:close/>
                      <a:moveTo>
                        <a:pt x="54426" y="55336"/>
                      </a:moveTo>
                      <a:cubicBezTo>
                        <a:pt x="55808" y="51694"/>
                        <a:pt x="54175" y="51694"/>
                        <a:pt x="56185" y="54331"/>
                      </a:cubicBezTo>
                      <a:cubicBezTo>
                        <a:pt x="58194" y="56968"/>
                        <a:pt x="58069" y="59480"/>
                        <a:pt x="56813" y="57471"/>
                      </a:cubicBezTo>
                      <a:cubicBezTo>
                        <a:pt x="55557" y="55587"/>
                        <a:pt x="53045" y="59104"/>
                        <a:pt x="54426" y="55336"/>
                      </a:cubicBezTo>
                      <a:lnTo>
                        <a:pt x="54426" y="55336"/>
                      </a:lnTo>
                      <a:close/>
                      <a:moveTo>
                        <a:pt x="42998" y="17406"/>
                      </a:moveTo>
                      <a:cubicBezTo>
                        <a:pt x="44253" y="16904"/>
                        <a:pt x="50408" y="17281"/>
                        <a:pt x="47770" y="19290"/>
                      </a:cubicBezTo>
                      <a:cubicBezTo>
                        <a:pt x="45133" y="21174"/>
                        <a:pt x="47142" y="19039"/>
                        <a:pt x="45258" y="19416"/>
                      </a:cubicBezTo>
                      <a:cubicBezTo>
                        <a:pt x="43374" y="19918"/>
                        <a:pt x="41742" y="17909"/>
                        <a:pt x="42998" y="17406"/>
                      </a:cubicBezTo>
                      <a:lnTo>
                        <a:pt x="42998" y="17406"/>
                      </a:lnTo>
                      <a:close/>
                      <a:moveTo>
                        <a:pt x="67740" y="88242"/>
                      </a:moveTo>
                      <a:cubicBezTo>
                        <a:pt x="67363" y="86860"/>
                        <a:pt x="66609" y="88744"/>
                        <a:pt x="68242" y="87865"/>
                      </a:cubicBezTo>
                      <a:cubicBezTo>
                        <a:pt x="69749" y="86986"/>
                        <a:pt x="70754" y="88116"/>
                        <a:pt x="72512" y="89498"/>
                      </a:cubicBezTo>
                      <a:cubicBezTo>
                        <a:pt x="74145" y="90879"/>
                        <a:pt x="72638" y="91758"/>
                        <a:pt x="72387" y="92261"/>
                      </a:cubicBezTo>
                      <a:cubicBezTo>
                        <a:pt x="72135" y="92763"/>
                        <a:pt x="71508" y="90628"/>
                        <a:pt x="71508" y="90628"/>
                      </a:cubicBezTo>
                      <a:cubicBezTo>
                        <a:pt x="71508" y="90628"/>
                        <a:pt x="68117" y="89623"/>
                        <a:pt x="67740" y="88242"/>
                      </a:cubicBezTo>
                      <a:lnTo>
                        <a:pt x="67740" y="88242"/>
                      </a:lnTo>
                      <a:close/>
                      <a:moveTo>
                        <a:pt x="52794" y="33357"/>
                      </a:moveTo>
                      <a:cubicBezTo>
                        <a:pt x="54929" y="33608"/>
                        <a:pt x="53799" y="36497"/>
                        <a:pt x="53548" y="36873"/>
                      </a:cubicBezTo>
                      <a:cubicBezTo>
                        <a:pt x="53296" y="37376"/>
                        <a:pt x="53799" y="39636"/>
                        <a:pt x="51789" y="37753"/>
                      </a:cubicBezTo>
                      <a:cubicBezTo>
                        <a:pt x="49779" y="35869"/>
                        <a:pt x="49403" y="31850"/>
                        <a:pt x="51035" y="33482"/>
                      </a:cubicBezTo>
                      <a:cubicBezTo>
                        <a:pt x="52668" y="35115"/>
                        <a:pt x="50659" y="33106"/>
                        <a:pt x="52794" y="33357"/>
                      </a:cubicBezTo>
                      <a:lnTo>
                        <a:pt x="52794" y="33357"/>
                      </a:lnTo>
                      <a:close/>
                      <a:moveTo>
                        <a:pt x="46137" y="20923"/>
                      </a:moveTo>
                      <a:cubicBezTo>
                        <a:pt x="45258" y="18662"/>
                        <a:pt x="49779" y="22053"/>
                        <a:pt x="48649" y="23560"/>
                      </a:cubicBezTo>
                      <a:cubicBezTo>
                        <a:pt x="47519" y="25068"/>
                        <a:pt x="49654" y="25068"/>
                        <a:pt x="50156" y="23686"/>
                      </a:cubicBezTo>
                      <a:cubicBezTo>
                        <a:pt x="50659" y="22179"/>
                        <a:pt x="50533" y="24942"/>
                        <a:pt x="51287" y="26072"/>
                      </a:cubicBezTo>
                      <a:cubicBezTo>
                        <a:pt x="52040" y="27203"/>
                        <a:pt x="50156" y="27956"/>
                        <a:pt x="50031" y="27831"/>
                      </a:cubicBezTo>
                      <a:cubicBezTo>
                        <a:pt x="50031" y="27705"/>
                        <a:pt x="45133" y="24565"/>
                        <a:pt x="46891" y="24816"/>
                      </a:cubicBezTo>
                      <a:cubicBezTo>
                        <a:pt x="48775" y="24942"/>
                        <a:pt x="46263" y="24565"/>
                        <a:pt x="45635" y="23184"/>
                      </a:cubicBezTo>
                      <a:cubicBezTo>
                        <a:pt x="45007" y="21676"/>
                        <a:pt x="46891" y="23309"/>
                        <a:pt x="46137" y="20923"/>
                      </a:cubicBezTo>
                      <a:lnTo>
                        <a:pt x="46137" y="20923"/>
                      </a:lnTo>
                      <a:close/>
                      <a:moveTo>
                        <a:pt x="59702" y="33357"/>
                      </a:moveTo>
                      <a:cubicBezTo>
                        <a:pt x="58697" y="26826"/>
                        <a:pt x="61334" y="35241"/>
                        <a:pt x="60958" y="35115"/>
                      </a:cubicBezTo>
                      <a:cubicBezTo>
                        <a:pt x="59074" y="34864"/>
                        <a:pt x="66735" y="41520"/>
                        <a:pt x="65353" y="41772"/>
                      </a:cubicBezTo>
                      <a:cubicBezTo>
                        <a:pt x="63972" y="42023"/>
                        <a:pt x="64851" y="42525"/>
                        <a:pt x="61711" y="39762"/>
                      </a:cubicBezTo>
                      <a:cubicBezTo>
                        <a:pt x="58571" y="37125"/>
                        <a:pt x="60078" y="35743"/>
                        <a:pt x="59702" y="33357"/>
                      </a:cubicBezTo>
                      <a:lnTo>
                        <a:pt x="59702" y="33357"/>
                      </a:lnTo>
                      <a:close/>
                      <a:moveTo>
                        <a:pt x="39104" y="20420"/>
                      </a:moveTo>
                      <a:cubicBezTo>
                        <a:pt x="39481" y="17783"/>
                        <a:pt x="44002" y="23058"/>
                        <a:pt x="42872" y="23811"/>
                      </a:cubicBezTo>
                      <a:cubicBezTo>
                        <a:pt x="41616" y="24565"/>
                        <a:pt x="36341" y="25695"/>
                        <a:pt x="36215" y="22932"/>
                      </a:cubicBezTo>
                      <a:cubicBezTo>
                        <a:pt x="36215" y="20420"/>
                        <a:pt x="38727" y="23058"/>
                        <a:pt x="39104" y="20420"/>
                      </a:cubicBezTo>
                      <a:lnTo>
                        <a:pt x="39104" y="20420"/>
                      </a:lnTo>
                      <a:close/>
                      <a:moveTo>
                        <a:pt x="64349" y="25068"/>
                      </a:moveTo>
                      <a:cubicBezTo>
                        <a:pt x="65102" y="24063"/>
                        <a:pt x="64851" y="23435"/>
                        <a:pt x="65730" y="23811"/>
                      </a:cubicBezTo>
                      <a:cubicBezTo>
                        <a:pt x="66609" y="24188"/>
                        <a:pt x="66232" y="25947"/>
                        <a:pt x="66609" y="27579"/>
                      </a:cubicBezTo>
                      <a:cubicBezTo>
                        <a:pt x="66861" y="29212"/>
                        <a:pt x="66986" y="27831"/>
                        <a:pt x="67488" y="28459"/>
                      </a:cubicBezTo>
                      <a:cubicBezTo>
                        <a:pt x="67991" y="29087"/>
                        <a:pt x="65856" y="29589"/>
                        <a:pt x="66735" y="30342"/>
                      </a:cubicBezTo>
                      <a:cubicBezTo>
                        <a:pt x="67614" y="30970"/>
                        <a:pt x="64097" y="33985"/>
                        <a:pt x="62590" y="30719"/>
                      </a:cubicBezTo>
                      <a:cubicBezTo>
                        <a:pt x="61083" y="27579"/>
                        <a:pt x="62967" y="25695"/>
                        <a:pt x="63469" y="25570"/>
                      </a:cubicBezTo>
                      <a:cubicBezTo>
                        <a:pt x="63721" y="25695"/>
                        <a:pt x="63595" y="26072"/>
                        <a:pt x="64349" y="25068"/>
                      </a:cubicBezTo>
                      <a:lnTo>
                        <a:pt x="64349" y="25068"/>
                      </a:lnTo>
                      <a:close/>
                      <a:moveTo>
                        <a:pt x="40235" y="25444"/>
                      </a:moveTo>
                      <a:cubicBezTo>
                        <a:pt x="41616" y="25193"/>
                        <a:pt x="39858" y="25193"/>
                        <a:pt x="42746" y="25570"/>
                      </a:cubicBezTo>
                      <a:cubicBezTo>
                        <a:pt x="45635" y="25947"/>
                        <a:pt x="44253" y="28459"/>
                        <a:pt x="45133" y="29338"/>
                      </a:cubicBezTo>
                      <a:cubicBezTo>
                        <a:pt x="46137" y="30217"/>
                        <a:pt x="45258" y="31473"/>
                        <a:pt x="45886" y="32101"/>
                      </a:cubicBezTo>
                      <a:cubicBezTo>
                        <a:pt x="46389" y="32729"/>
                        <a:pt x="49905" y="28961"/>
                        <a:pt x="48147" y="32980"/>
                      </a:cubicBezTo>
                      <a:cubicBezTo>
                        <a:pt x="47016" y="35492"/>
                        <a:pt x="45509" y="36371"/>
                        <a:pt x="46640" y="37753"/>
                      </a:cubicBezTo>
                      <a:cubicBezTo>
                        <a:pt x="47645" y="39134"/>
                        <a:pt x="45761" y="38632"/>
                        <a:pt x="44379" y="36622"/>
                      </a:cubicBezTo>
                      <a:cubicBezTo>
                        <a:pt x="42998" y="34738"/>
                        <a:pt x="40360" y="35617"/>
                        <a:pt x="38350" y="30719"/>
                      </a:cubicBezTo>
                      <a:cubicBezTo>
                        <a:pt x="36341" y="25695"/>
                        <a:pt x="40486" y="30091"/>
                        <a:pt x="40988" y="29966"/>
                      </a:cubicBezTo>
                      <a:cubicBezTo>
                        <a:pt x="41490" y="29714"/>
                        <a:pt x="38853" y="25695"/>
                        <a:pt x="40235" y="25444"/>
                      </a:cubicBezTo>
                      <a:lnTo>
                        <a:pt x="40235" y="25444"/>
                      </a:lnTo>
                      <a:close/>
                      <a:moveTo>
                        <a:pt x="56436" y="42651"/>
                      </a:moveTo>
                      <a:cubicBezTo>
                        <a:pt x="56059" y="41395"/>
                        <a:pt x="58948" y="39260"/>
                        <a:pt x="60706" y="40641"/>
                      </a:cubicBezTo>
                      <a:cubicBezTo>
                        <a:pt x="62465" y="41897"/>
                        <a:pt x="59451" y="41897"/>
                        <a:pt x="59451" y="45288"/>
                      </a:cubicBezTo>
                      <a:cubicBezTo>
                        <a:pt x="59451" y="48554"/>
                        <a:pt x="59702" y="44283"/>
                        <a:pt x="60204" y="44158"/>
                      </a:cubicBezTo>
                      <a:cubicBezTo>
                        <a:pt x="60706" y="44032"/>
                        <a:pt x="60581" y="42902"/>
                        <a:pt x="61083" y="43027"/>
                      </a:cubicBezTo>
                      <a:cubicBezTo>
                        <a:pt x="61585" y="43279"/>
                        <a:pt x="64725" y="44158"/>
                        <a:pt x="63092" y="45539"/>
                      </a:cubicBezTo>
                      <a:cubicBezTo>
                        <a:pt x="61585" y="46921"/>
                        <a:pt x="65353" y="49935"/>
                        <a:pt x="67237" y="51191"/>
                      </a:cubicBezTo>
                      <a:cubicBezTo>
                        <a:pt x="69121" y="52447"/>
                        <a:pt x="66232" y="53075"/>
                        <a:pt x="67488" y="53326"/>
                      </a:cubicBezTo>
                      <a:cubicBezTo>
                        <a:pt x="68744" y="53452"/>
                        <a:pt x="67488" y="52949"/>
                        <a:pt x="68242" y="53829"/>
                      </a:cubicBezTo>
                      <a:cubicBezTo>
                        <a:pt x="68995" y="54582"/>
                        <a:pt x="72010" y="61992"/>
                        <a:pt x="70754" y="64630"/>
                      </a:cubicBezTo>
                      <a:cubicBezTo>
                        <a:pt x="69624" y="67267"/>
                        <a:pt x="68870" y="60611"/>
                        <a:pt x="67614" y="61490"/>
                      </a:cubicBezTo>
                      <a:cubicBezTo>
                        <a:pt x="66358" y="62369"/>
                        <a:pt x="66609" y="59355"/>
                        <a:pt x="67865" y="65007"/>
                      </a:cubicBezTo>
                      <a:cubicBezTo>
                        <a:pt x="69121" y="70658"/>
                        <a:pt x="64851" y="62244"/>
                        <a:pt x="66358" y="66890"/>
                      </a:cubicBezTo>
                      <a:cubicBezTo>
                        <a:pt x="67865" y="71412"/>
                        <a:pt x="62465" y="61113"/>
                        <a:pt x="62339" y="60988"/>
                      </a:cubicBezTo>
                      <a:cubicBezTo>
                        <a:pt x="62214" y="60862"/>
                        <a:pt x="62339" y="59983"/>
                        <a:pt x="61334" y="59857"/>
                      </a:cubicBezTo>
                      <a:cubicBezTo>
                        <a:pt x="60329" y="59732"/>
                        <a:pt x="59827" y="57722"/>
                        <a:pt x="60581" y="57722"/>
                      </a:cubicBezTo>
                      <a:cubicBezTo>
                        <a:pt x="61334" y="57722"/>
                        <a:pt x="61083" y="59606"/>
                        <a:pt x="62088" y="59229"/>
                      </a:cubicBezTo>
                      <a:cubicBezTo>
                        <a:pt x="62967" y="58852"/>
                        <a:pt x="64349" y="54708"/>
                        <a:pt x="64349" y="54205"/>
                      </a:cubicBezTo>
                      <a:cubicBezTo>
                        <a:pt x="64349" y="53577"/>
                        <a:pt x="63469" y="54708"/>
                        <a:pt x="63218" y="53954"/>
                      </a:cubicBezTo>
                      <a:cubicBezTo>
                        <a:pt x="62967" y="53075"/>
                        <a:pt x="63846" y="52070"/>
                        <a:pt x="63218" y="50814"/>
                      </a:cubicBezTo>
                      <a:cubicBezTo>
                        <a:pt x="62590" y="49558"/>
                        <a:pt x="63344" y="50061"/>
                        <a:pt x="62716" y="49307"/>
                      </a:cubicBezTo>
                      <a:cubicBezTo>
                        <a:pt x="62088" y="48554"/>
                        <a:pt x="62465" y="50940"/>
                        <a:pt x="61460" y="49935"/>
                      </a:cubicBezTo>
                      <a:cubicBezTo>
                        <a:pt x="60581" y="48805"/>
                        <a:pt x="55682" y="45539"/>
                        <a:pt x="56562" y="44283"/>
                      </a:cubicBezTo>
                      <a:cubicBezTo>
                        <a:pt x="57441" y="42776"/>
                        <a:pt x="56687" y="43907"/>
                        <a:pt x="56436" y="42651"/>
                      </a:cubicBezTo>
                      <a:lnTo>
                        <a:pt x="56436" y="42651"/>
                      </a:lnTo>
                      <a:close/>
                      <a:moveTo>
                        <a:pt x="74522" y="27705"/>
                      </a:moveTo>
                      <a:cubicBezTo>
                        <a:pt x="74773" y="27454"/>
                        <a:pt x="74647" y="27956"/>
                        <a:pt x="74522" y="27454"/>
                      </a:cubicBezTo>
                      <a:cubicBezTo>
                        <a:pt x="74396" y="26826"/>
                        <a:pt x="75652" y="27956"/>
                        <a:pt x="75778" y="28082"/>
                      </a:cubicBezTo>
                      <a:cubicBezTo>
                        <a:pt x="75903" y="28333"/>
                        <a:pt x="75527" y="28710"/>
                        <a:pt x="75778" y="28961"/>
                      </a:cubicBezTo>
                      <a:cubicBezTo>
                        <a:pt x="76029" y="29212"/>
                        <a:pt x="76531" y="27705"/>
                        <a:pt x="77536" y="29212"/>
                      </a:cubicBezTo>
                      <a:cubicBezTo>
                        <a:pt x="78541" y="30719"/>
                        <a:pt x="77034" y="29966"/>
                        <a:pt x="77787" y="30091"/>
                      </a:cubicBezTo>
                      <a:cubicBezTo>
                        <a:pt x="78541" y="30091"/>
                        <a:pt x="78038" y="30594"/>
                        <a:pt x="78666" y="30719"/>
                      </a:cubicBezTo>
                      <a:cubicBezTo>
                        <a:pt x="79294" y="30845"/>
                        <a:pt x="78164" y="30217"/>
                        <a:pt x="79671" y="31724"/>
                      </a:cubicBezTo>
                      <a:cubicBezTo>
                        <a:pt x="81178" y="33231"/>
                        <a:pt x="79294" y="32101"/>
                        <a:pt x="79922" y="33106"/>
                      </a:cubicBezTo>
                      <a:cubicBezTo>
                        <a:pt x="80550" y="34110"/>
                        <a:pt x="80927" y="33357"/>
                        <a:pt x="81430" y="34110"/>
                      </a:cubicBezTo>
                      <a:cubicBezTo>
                        <a:pt x="81932" y="34864"/>
                        <a:pt x="82057" y="33608"/>
                        <a:pt x="82183" y="34487"/>
                      </a:cubicBezTo>
                      <a:cubicBezTo>
                        <a:pt x="82308" y="35366"/>
                        <a:pt x="84193" y="38129"/>
                        <a:pt x="81555" y="37250"/>
                      </a:cubicBezTo>
                      <a:cubicBezTo>
                        <a:pt x="78918" y="36371"/>
                        <a:pt x="68870" y="36748"/>
                        <a:pt x="68744" y="38883"/>
                      </a:cubicBezTo>
                      <a:cubicBezTo>
                        <a:pt x="68619" y="41018"/>
                        <a:pt x="66861" y="41646"/>
                        <a:pt x="66232" y="39385"/>
                      </a:cubicBezTo>
                      <a:cubicBezTo>
                        <a:pt x="65605" y="36999"/>
                        <a:pt x="64725" y="38757"/>
                        <a:pt x="62716" y="36371"/>
                      </a:cubicBezTo>
                      <a:cubicBezTo>
                        <a:pt x="60706" y="33985"/>
                        <a:pt x="64097" y="36999"/>
                        <a:pt x="64349" y="35492"/>
                      </a:cubicBezTo>
                      <a:cubicBezTo>
                        <a:pt x="64600" y="33985"/>
                        <a:pt x="67614" y="37627"/>
                        <a:pt x="64725" y="33482"/>
                      </a:cubicBezTo>
                      <a:cubicBezTo>
                        <a:pt x="61837" y="29338"/>
                        <a:pt x="67488" y="34487"/>
                        <a:pt x="67991" y="34613"/>
                      </a:cubicBezTo>
                      <a:cubicBezTo>
                        <a:pt x="68493" y="34864"/>
                        <a:pt x="67112" y="33106"/>
                        <a:pt x="67488" y="32980"/>
                      </a:cubicBezTo>
                      <a:cubicBezTo>
                        <a:pt x="67865" y="32729"/>
                        <a:pt x="67865" y="33106"/>
                        <a:pt x="67865" y="30970"/>
                      </a:cubicBezTo>
                      <a:cubicBezTo>
                        <a:pt x="67991" y="28835"/>
                        <a:pt x="70126" y="33733"/>
                        <a:pt x="70000" y="32729"/>
                      </a:cubicBezTo>
                      <a:cubicBezTo>
                        <a:pt x="69749" y="31724"/>
                        <a:pt x="70377" y="30970"/>
                        <a:pt x="70880" y="30342"/>
                      </a:cubicBezTo>
                      <a:cubicBezTo>
                        <a:pt x="71382" y="29714"/>
                        <a:pt x="68995" y="29463"/>
                        <a:pt x="68117" y="28710"/>
                      </a:cubicBezTo>
                      <a:cubicBezTo>
                        <a:pt x="67237" y="27956"/>
                        <a:pt x="67740" y="26575"/>
                        <a:pt x="67991" y="26198"/>
                      </a:cubicBezTo>
                      <a:cubicBezTo>
                        <a:pt x="68242" y="25821"/>
                        <a:pt x="67488" y="25947"/>
                        <a:pt x="68117" y="25695"/>
                      </a:cubicBezTo>
                      <a:cubicBezTo>
                        <a:pt x="68744" y="25444"/>
                        <a:pt x="68117" y="25947"/>
                        <a:pt x="67740" y="25319"/>
                      </a:cubicBezTo>
                      <a:cubicBezTo>
                        <a:pt x="67363" y="24691"/>
                        <a:pt x="68619" y="24816"/>
                        <a:pt x="69121" y="25068"/>
                      </a:cubicBezTo>
                      <a:cubicBezTo>
                        <a:pt x="69624" y="25319"/>
                        <a:pt x="70880" y="26198"/>
                        <a:pt x="70880" y="25821"/>
                      </a:cubicBezTo>
                      <a:cubicBezTo>
                        <a:pt x="71005" y="25570"/>
                        <a:pt x="71256" y="26323"/>
                        <a:pt x="71508" y="26198"/>
                      </a:cubicBezTo>
                      <a:cubicBezTo>
                        <a:pt x="71633" y="26198"/>
                        <a:pt x="70880" y="25444"/>
                        <a:pt x="71633" y="25570"/>
                      </a:cubicBezTo>
                      <a:cubicBezTo>
                        <a:pt x="72261" y="25695"/>
                        <a:pt x="72135" y="26826"/>
                        <a:pt x="72889" y="26826"/>
                      </a:cubicBezTo>
                      <a:cubicBezTo>
                        <a:pt x="73642" y="26826"/>
                        <a:pt x="72889" y="26072"/>
                        <a:pt x="73517" y="26826"/>
                      </a:cubicBezTo>
                      <a:cubicBezTo>
                        <a:pt x="74020" y="27579"/>
                        <a:pt x="73642" y="26449"/>
                        <a:pt x="74020" y="26449"/>
                      </a:cubicBezTo>
                      <a:cubicBezTo>
                        <a:pt x="74271" y="26575"/>
                        <a:pt x="74271" y="27956"/>
                        <a:pt x="74522" y="27705"/>
                      </a:cubicBezTo>
                      <a:lnTo>
                        <a:pt x="74522" y="27705"/>
                      </a:lnTo>
                      <a:close/>
                      <a:moveTo>
                        <a:pt x="209913" y="186206"/>
                      </a:moveTo>
                      <a:cubicBezTo>
                        <a:pt x="210290" y="188089"/>
                        <a:pt x="210164" y="189220"/>
                        <a:pt x="209536" y="188843"/>
                      </a:cubicBezTo>
                      <a:cubicBezTo>
                        <a:pt x="208908" y="188592"/>
                        <a:pt x="209913" y="187713"/>
                        <a:pt x="209285" y="188089"/>
                      </a:cubicBezTo>
                      <a:cubicBezTo>
                        <a:pt x="208657" y="188466"/>
                        <a:pt x="208908" y="188215"/>
                        <a:pt x="208657" y="188215"/>
                      </a:cubicBezTo>
                      <a:cubicBezTo>
                        <a:pt x="208406" y="188215"/>
                        <a:pt x="208657" y="188969"/>
                        <a:pt x="207903" y="188215"/>
                      </a:cubicBezTo>
                      <a:cubicBezTo>
                        <a:pt x="207150" y="187461"/>
                        <a:pt x="207778" y="187587"/>
                        <a:pt x="207275" y="188718"/>
                      </a:cubicBezTo>
                      <a:cubicBezTo>
                        <a:pt x="206773" y="189848"/>
                        <a:pt x="207150" y="188341"/>
                        <a:pt x="206522" y="187336"/>
                      </a:cubicBezTo>
                      <a:cubicBezTo>
                        <a:pt x="205894" y="186331"/>
                        <a:pt x="206648" y="189094"/>
                        <a:pt x="206019" y="188592"/>
                      </a:cubicBezTo>
                      <a:cubicBezTo>
                        <a:pt x="205392" y="188215"/>
                        <a:pt x="206019" y="189471"/>
                        <a:pt x="205266" y="188718"/>
                      </a:cubicBezTo>
                      <a:cubicBezTo>
                        <a:pt x="204512" y="187964"/>
                        <a:pt x="206019" y="187713"/>
                        <a:pt x="205768" y="187210"/>
                      </a:cubicBezTo>
                      <a:cubicBezTo>
                        <a:pt x="205517" y="186708"/>
                        <a:pt x="205015" y="187461"/>
                        <a:pt x="204387" y="187085"/>
                      </a:cubicBezTo>
                      <a:cubicBezTo>
                        <a:pt x="203759" y="186708"/>
                        <a:pt x="204512" y="186834"/>
                        <a:pt x="204387" y="188843"/>
                      </a:cubicBezTo>
                      <a:cubicBezTo>
                        <a:pt x="204261" y="190727"/>
                        <a:pt x="204010" y="189597"/>
                        <a:pt x="203885" y="189471"/>
                      </a:cubicBezTo>
                      <a:cubicBezTo>
                        <a:pt x="203759" y="189345"/>
                        <a:pt x="203633" y="190350"/>
                        <a:pt x="203382" y="188718"/>
                      </a:cubicBezTo>
                      <a:cubicBezTo>
                        <a:pt x="203131" y="187085"/>
                        <a:pt x="202377" y="186834"/>
                        <a:pt x="203759" y="186080"/>
                      </a:cubicBezTo>
                      <a:cubicBezTo>
                        <a:pt x="205140" y="185326"/>
                        <a:pt x="206396" y="186834"/>
                        <a:pt x="206648" y="185578"/>
                      </a:cubicBezTo>
                      <a:cubicBezTo>
                        <a:pt x="206899" y="184447"/>
                        <a:pt x="207275" y="184573"/>
                        <a:pt x="207652" y="185201"/>
                      </a:cubicBezTo>
                      <a:cubicBezTo>
                        <a:pt x="208155" y="185703"/>
                        <a:pt x="207903" y="185578"/>
                        <a:pt x="208280" y="184322"/>
                      </a:cubicBezTo>
                      <a:cubicBezTo>
                        <a:pt x="208657" y="183066"/>
                        <a:pt x="208155" y="182815"/>
                        <a:pt x="208155" y="181684"/>
                      </a:cubicBezTo>
                      <a:cubicBezTo>
                        <a:pt x="208155" y="180679"/>
                        <a:pt x="208280" y="180554"/>
                        <a:pt x="208657" y="180805"/>
                      </a:cubicBezTo>
                      <a:cubicBezTo>
                        <a:pt x="209034" y="181056"/>
                        <a:pt x="207903" y="177288"/>
                        <a:pt x="209159" y="180931"/>
                      </a:cubicBezTo>
                      <a:cubicBezTo>
                        <a:pt x="210290" y="184950"/>
                        <a:pt x="209536" y="184322"/>
                        <a:pt x="209913" y="186206"/>
                      </a:cubicBezTo>
                      <a:lnTo>
                        <a:pt x="209913" y="186206"/>
                      </a:lnTo>
                      <a:close/>
                      <a:moveTo>
                        <a:pt x="148371" y="100550"/>
                      </a:moveTo>
                      <a:cubicBezTo>
                        <a:pt x="148748" y="99796"/>
                        <a:pt x="147995" y="99796"/>
                        <a:pt x="148874" y="100676"/>
                      </a:cubicBezTo>
                      <a:cubicBezTo>
                        <a:pt x="149753" y="101555"/>
                        <a:pt x="147995" y="101304"/>
                        <a:pt x="148371" y="100550"/>
                      </a:cubicBezTo>
                      <a:lnTo>
                        <a:pt x="148371" y="100550"/>
                      </a:lnTo>
                      <a:close/>
                      <a:moveTo>
                        <a:pt x="198233" y="196504"/>
                      </a:moveTo>
                      <a:cubicBezTo>
                        <a:pt x="197479" y="197132"/>
                        <a:pt x="197353" y="196630"/>
                        <a:pt x="197605" y="194244"/>
                      </a:cubicBezTo>
                      <a:cubicBezTo>
                        <a:pt x="197730" y="191857"/>
                        <a:pt x="198986" y="195876"/>
                        <a:pt x="198233" y="196504"/>
                      </a:cubicBezTo>
                      <a:lnTo>
                        <a:pt x="198233" y="196504"/>
                      </a:lnTo>
                      <a:close/>
                      <a:moveTo>
                        <a:pt x="198233" y="201779"/>
                      </a:moveTo>
                      <a:cubicBezTo>
                        <a:pt x="198233" y="201403"/>
                        <a:pt x="197102" y="199770"/>
                        <a:pt x="198484" y="199895"/>
                      </a:cubicBezTo>
                      <a:cubicBezTo>
                        <a:pt x="199740" y="200021"/>
                        <a:pt x="199112" y="203035"/>
                        <a:pt x="199363" y="204166"/>
                      </a:cubicBezTo>
                      <a:cubicBezTo>
                        <a:pt x="199740" y="205296"/>
                        <a:pt x="198609" y="205045"/>
                        <a:pt x="198609" y="204166"/>
                      </a:cubicBezTo>
                      <a:cubicBezTo>
                        <a:pt x="198609" y="203412"/>
                        <a:pt x="198484" y="204040"/>
                        <a:pt x="198107" y="202784"/>
                      </a:cubicBezTo>
                      <a:cubicBezTo>
                        <a:pt x="197856" y="201528"/>
                        <a:pt x="198358" y="202156"/>
                        <a:pt x="198233" y="201779"/>
                      </a:cubicBezTo>
                      <a:lnTo>
                        <a:pt x="198233" y="201779"/>
                      </a:lnTo>
                      <a:close/>
                      <a:moveTo>
                        <a:pt x="152139" y="84223"/>
                      </a:moveTo>
                      <a:cubicBezTo>
                        <a:pt x="152516" y="87488"/>
                        <a:pt x="155028" y="85730"/>
                        <a:pt x="154400" y="84097"/>
                      </a:cubicBezTo>
                      <a:cubicBezTo>
                        <a:pt x="153647" y="82464"/>
                        <a:pt x="154651" y="83595"/>
                        <a:pt x="154274" y="83218"/>
                      </a:cubicBezTo>
                      <a:cubicBezTo>
                        <a:pt x="153898" y="82841"/>
                        <a:pt x="151762" y="81083"/>
                        <a:pt x="152139" y="84223"/>
                      </a:cubicBezTo>
                      <a:lnTo>
                        <a:pt x="152139" y="84223"/>
                      </a:lnTo>
                      <a:close/>
                      <a:moveTo>
                        <a:pt x="158545" y="89749"/>
                      </a:moveTo>
                      <a:cubicBezTo>
                        <a:pt x="157917" y="87865"/>
                        <a:pt x="158921" y="90000"/>
                        <a:pt x="159298" y="89874"/>
                      </a:cubicBezTo>
                      <a:cubicBezTo>
                        <a:pt x="159675" y="89749"/>
                        <a:pt x="162689" y="92637"/>
                        <a:pt x="160680" y="93014"/>
                      </a:cubicBezTo>
                      <a:cubicBezTo>
                        <a:pt x="158545" y="93517"/>
                        <a:pt x="159047" y="91633"/>
                        <a:pt x="158545" y="89749"/>
                      </a:cubicBezTo>
                      <a:lnTo>
                        <a:pt x="158545" y="89749"/>
                      </a:lnTo>
                      <a:close/>
                      <a:moveTo>
                        <a:pt x="208280" y="177791"/>
                      </a:moveTo>
                      <a:cubicBezTo>
                        <a:pt x="208406" y="177665"/>
                        <a:pt x="208531" y="177665"/>
                        <a:pt x="208155" y="175907"/>
                      </a:cubicBezTo>
                      <a:cubicBezTo>
                        <a:pt x="207778" y="174023"/>
                        <a:pt x="209285" y="177163"/>
                        <a:pt x="210290" y="177791"/>
                      </a:cubicBezTo>
                      <a:cubicBezTo>
                        <a:pt x="211295" y="178419"/>
                        <a:pt x="210792" y="178293"/>
                        <a:pt x="211043" y="179047"/>
                      </a:cubicBezTo>
                      <a:cubicBezTo>
                        <a:pt x="211420" y="179800"/>
                        <a:pt x="211420" y="178419"/>
                        <a:pt x="211420" y="179172"/>
                      </a:cubicBezTo>
                      <a:cubicBezTo>
                        <a:pt x="211420" y="179926"/>
                        <a:pt x="210415" y="179423"/>
                        <a:pt x="210415" y="179298"/>
                      </a:cubicBezTo>
                      <a:cubicBezTo>
                        <a:pt x="210415" y="179172"/>
                        <a:pt x="210415" y="180931"/>
                        <a:pt x="209411" y="179549"/>
                      </a:cubicBezTo>
                      <a:cubicBezTo>
                        <a:pt x="208531" y="178167"/>
                        <a:pt x="207527" y="177916"/>
                        <a:pt x="208280" y="179047"/>
                      </a:cubicBezTo>
                      <a:cubicBezTo>
                        <a:pt x="209034" y="180177"/>
                        <a:pt x="208406" y="181307"/>
                        <a:pt x="207903" y="179298"/>
                      </a:cubicBezTo>
                      <a:cubicBezTo>
                        <a:pt x="207401" y="177288"/>
                        <a:pt x="208155" y="177916"/>
                        <a:pt x="208280" y="177791"/>
                      </a:cubicBezTo>
                      <a:lnTo>
                        <a:pt x="208280" y="177791"/>
                      </a:lnTo>
                      <a:close/>
                      <a:moveTo>
                        <a:pt x="154651" y="86860"/>
                      </a:moveTo>
                      <a:cubicBezTo>
                        <a:pt x="154274" y="85855"/>
                        <a:pt x="153898" y="86483"/>
                        <a:pt x="154651" y="86106"/>
                      </a:cubicBezTo>
                      <a:cubicBezTo>
                        <a:pt x="155405" y="85730"/>
                        <a:pt x="155405" y="86734"/>
                        <a:pt x="156158" y="87614"/>
                      </a:cubicBezTo>
                      <a:cubicBezTo>
                        <a:pt x="156912" y="88618"/>
                        <a:pt x="155782" y="86734"/>
                        <a:pt x="156158" y="86358"/>
                      </a:cubicBezTo>
                      <a:cubicBezTo>
                        <a:pt x="156535" y="85981"/>
                        <a:pt x="157791" y="88995"/>
                        <a:pt x="157665" y="89246"/>
                      </a:cubicBezTo>
                      <a:cubicBezTo>
                        <a:pt x="157414" y="89498"/>
                        <a:pt x="160052" y="92889"/>
                        <a:pt x="157163" y="90377"/>
                      </a:cubicBezTo>
                      <a:cubicBezTo>
                        <a:pt x="154274" y="87865"/>
                        <a:pt x="155028" y="87865"/>
                        <a:pt x="154651" y="86860"/>
                      </a:cubicBezTo>
                      <a:lnTo>
                        <a:pt x="154651" y="86860"/>
                      </a:lnTo>
                      <a:close/>
                      <a:moveTo>
                        <a:pt x="139454" y="97410"/>
                      </a:moveTo>
                      <a:cubicBezTo>
                        <a:pt x="139078" y="96531"/>
                        <a:pt x="140961" y="98038"/>
                        <a:pt x="140961" y="98666"/>
                      </a:cubicBezTo>
                      <a:cubicBezTo>
                        <a:pt x="141087" y="100048"/>
                        <a:pt x="143097" y="104318"/>
                        <a:pt x="142343" y="103564"/>
                      </a:cubicBezTo>
                      <a:cubicBezTo>
                        <a:pt x="141589" y="102685"/>
                        <a:pt x="140208" y="103062"/>
                        <a:pt x="140585" y="101806"/>
                      </a:cubicBezTo>
                      <a:cubicBezTo>
                        <a:pt x="140836" y="100801"/>
                        <a:pt x="139705" y="101052"/>
                        <a:pt x="139078" y="100299"/>
                      </a:cubicBezTo>
                      <a:cubicBezTo>
                        <a:pt x="138952" y="100048"/>
                        <a:pt x="138826" y="99796"/>
                        <a:pt x="138952" y="99420"/>
                      </a:cubicBezTo>
                      <a:cubicBezTo>
                        <a:pt x="138952" y="97787"/>
                        <a:pt x="139203" y="99168"/>
                        <a:pt x="138952" y="97661"/>
                      </a:cubicBezTo>
                      <a:cubicBezTo>
                        <a:pt x="138701" y="96280"/>
                        <a:pt x="139705" y="98415"/>
                        <a:pt x="139454" y="97410"/>
                      </a:cubicBezTo>
                      <a:lnTo>
                        <a:pt x="139454" y="97410"/>
                      </a:lnTo>
                      <a:close/>
                      <a:moveTo>
                        <a:pt x="182533" y="104443"/>
                      </a:moveTo>
                      <a:cubicBezTo>
                        <a:pt x="183036" y="103941"/>
                        <a:pt x="183036" y="105950"/>
                        <a:pt x="185171" y="108211"/>
                      </a:cubicBezTo>
                      <a:cubicBezTo>
                        <a:pt x="186427" y="109593"/>
                        <a:pt x="184920" y="107834"/>
                        <a:pt x="184166" y="108086"/>
                      </a:cubicBezTo>
                      <a:cubicBezTo>
                        <a:pt x="183413" y="108337"/>
                        <a:pt x="184543" y="108588"/>
                        <a:pt x="183538" y="108965"/>
                      </a:cubicBezTo>
                      <a:cubicBezTo>
                        <a:pt x="182533" y="109216"/>
                        <a:pt x="179142" y="101555"/>
                        <a:pt x="181277" y="103815"/>
                      </a:cubicBezTo>
                      <a:cubicBezTo>
                        <a:pt x="183287" y="105825"/>
                        <a:pt x="182031" y="104946"/>
                        <a:pt x="182533" y="104443"/>
                      </a:cubicBezTo>
                      <a:lnTo>
                        <a:pt x="182533" y="104443"/>
                      </a:lnTo>
                      <a:close/>
                      <a:moveTo>
                        <a:pt x="204261" y="159705"/>
                      </a:moveTo>
                      <a:cubicBezTo>
                        <a:pt x="204136" y="159454"/>
                        <a:pt x="203885" y="158323"/>
                        <a:pt x="204512" y="159580"/>
                      </a:cubicBezTo>
                      <a:cubicBezTo>
                        <a:pt x="205140" y="160835"/>
                        <a:pt x="204387" y="159831"/>
                        <a:pt x="206522" y="165106"/>
                      </a:cubicBezTo>
                      <a:cubicBezTo>
                        <a:pt x="208531" y="170381"/>
                        <a:pt x="208155" y="168748"/>
                        <a:pt x="207401" y="168874"/>
                      </a:cubicBezTo>
                      <a:cubicBezTo>
                        <a:pt x="206648" y="168999"/>
                        <a:pt x="208029" y="171385"/>
                        <a:pt x="208657" y="172390"/>
                      </a:cubicBezTo>
                      <a:cubicBezTo>
                        <a:pt x="209285" y="173395"/>
                        <a:pt x="209285" y="174023"/>
                        <a:pt x="208531" y="173395"/>
                      </a:cubicBezTo>
                      <a:cubicBezTo>
                        <a:pt x="207778" y="172893"/>
                        <a:pt x="208280" y="174148"/>
                        <a:pt x="207903" y="173897"/>
                      </a:cubicBezTo>
                      <a:cubicBezTo>
                        <a:pt x="207527" y="173646"/>
                        <a:pt x="207527" y="173646"/>
                        <a:pt x="207401" y="172390"/>
                      </a:cubicBezTo>
                      <a:cubicBezTo>
                        <a:pt x="207275" y="171134"/>
                        <a:pt x="204261" y="161840"/>
                        <a:pt x="204387" y="161087"/>
                      </a:cubicBezTo>
                      <a:cubicBezTo>
                        <a:pt x="204512" y="160459"/>
                        <a:pt x="204387" y="159956"/>
                        <a:pt x="204261" y="159705"/>
                      </a:cubicBezTo>
                      <a:lnTo>
                        <a:pt x="204261" y="159705"/>
                      </a:lnTo>
                      <a:close/>
                      <a:moveTo>
                        <a:pt x="141589" y="91633"/>
                      </a:moveTo>
                      <a:cubicBezTo>
                        <a:pt x="141966" y="91256"/>
                        <a:pt x="142092" y="91633"/>
                        <a:pt x="142594" y="91507"/>
                      </a:cubicBezTo>
                      <a:cubicBezTo>
                        <a:pt x="143097" y="91507"/>
                        <a:pt x="143976" y="88870"/>
                        <a:pt x="144855" y="90754"/>
                      </a:cubicBezTo>
                      <a:cubicBezTo>
                        <a:pt x="145734" y="92637"/>
                        <a:pt x="143599" y="92763"/>
                        <a:pt x="142343" y="94145"/>
                      </a:cubicBezTo>
                      <a:cubicBezTo>
                        <a:pt x="141087" y="95652"/>
                        <a:pt x="141841" y="96028"/>
                        <a:pt x="141715" y="96531"/>
                      </a:cubicBezTo>
                      <a:cubicBezTo>
                        <a:pt x="141464" y="97033"/>
                        <a:pt x="140710" y="95526"/>
                        <a:pt x="141087" y="96154"/>
                      </a:cubicBezTo>
                      <a:cubicBezTo>
                        <a:pt x="141464" y="96908"/>
                        <a:pt x="141464" y="97661"/>
                        <a:pt x="140710" y="97159"/>
                      </a:cubicBezTo>
                      <a:cubicBezTo>
                        <a:pt x="139957" y="96656"/>
                        <a:pt x="139580" y="96531"/>
                        <a:pt x="140082" y="96154"/>
                      </a:cubicBezTo>
                      <a:cubicBezTo>
                        <a:pt x="140585" y="95777"/>
                        <a:pt x="138826" y="96028"/>
                        <a:pt x="139329" y="95275"/>
                      </a:cubicBezTo>
                      <a:cubicBezTo>
                        <a:pt x="139831" y="94521"/>
                        <a:pt x="139957" y="95526"/>
                        <a:pt x="140208" y="95401"/>
                      </a:cubicBezTo>
                      <a:cubicBezTo>
                        <a:pt x="140459" y="95275"/>
                        <a:pt x="139329" y="94270"/>
                        <a:pt x="139831" y="94396"/>
                      </a:cubicBezTo>
                      <a:cubicBezTo>
                        <a:pt x="139957" y="94396"/>
                        <a:pt x="139831" y="94145"/>
                        <a:pt x="139831" y="93893"/>
                      </a:cubicBezTo>
                      <a:cubicBezTo>
                        <a:pt x="139454" y="92637"/>
                        <a:pt x="139705" y="93140"/>
                        <a:pt x="139831" y="93014"/>
                      </a:cubicBezTo>
                      <a:cubicBezTo>
                        <a:pt x="139957" y="92889"/>
                        <a:pt x="140082" y="92512"/>
                        <a:pt x="140334" y="92135"/>
                      </a:cubicBezTo>
                      <a:cubicBezTo>
                        <a:pt x="140585" y="91884"/>
                        <a:pt x="141338" y="92009"/>
                        <a:pt x="141589" y="91633"/>
                      </a:cubicBezTo>
                      <a:lnTo>
                        <a:pt x="141589" y="91633"/>
                      </a:lnTo>
                      <a:close/>
                      <a:moveTo>
                        <a:pt x="139203" y="140489"/>
                      </a:moveTo>
                      <a:cubicBezTo>
                        <a:pt x="139329" y="140991"/>
                        <a:pt x="138952" y="141243"/>
                        <a:pt x="138575" y="141117"/>
                      </a:cubicBezTo>
                      <a:cubicBezTo>
                        <a:pt x="138198" y="140991"/>
                        <a:pt x="138073" y="140615"/>
                        <a:pt x="137319" y="140363"/>
                      </a:cubicBezTo>
                      <a:cubicBezTo>
                        <a:pt x="136566" y="140112"/>
                        <a:pt x="135058" y="137852"/>
                        <a:pt x="134556" y="137600"/>
                      </a:cubicBezTo>
                      <a:cubicBezTo>
                        <a:pt x="134054" y="137349"/>
                        <a:pt x="133802" y="137098"/>
                        <a:pt x="133049" y="136847"/>
                      </a:cubicBezTo>
                      <a:cubicBezTo>
                        <a:pt x="132170" y="136596"/>
                        <a:pt x="132421" y="137098"/>
                        <a:pt x="131919" y="136972"/>
                      </a:cubicBezTo>
                      <a:cubicBezTo>
                        <a:pt x="131416" y="136972"/>
                        <a:pt x="131542" y="136596"/>
                        <a:pt x="131165" y="136344"/>
                      </a:cubicBezTo>
                      <a:cubicBezTo>
                        <a:pt x="130788" y="136093"/>
                        <a:pt x="130411" y="135465"/>
                        <a:pt x="130411" y="135968"/>
                      </a:cubicBezTo>
                      <a:cubicBezTo>
                        <a:pt x="130411" y="136470"/>
                        <a:pt x="130663" y="136344"/>
                        <a:pt x="130914" y="136721"/>
                      </a:cubicBezTo>
                      <a:cubicBezTo>
                        <a:pt x="131165" y="137098"/>
                        <a:pt x="130537" y="136470"/>
                        <a:pt x="130411" y="136596"/>
                      </a:cubicBezTo>
                      <a:cubicBezTo>
                        <a:pt x="130286" y="136596"/>
                        <a:pt x="130663" y="136972"/>
                        <a:pt x="130411" y="136972"/>
                      </a:cubicBezTo>
                      <a:cubicBezTo>
                        <a:pt x="130160" y="136847"/>
                        <a:pt x="129658" y="136470"/>
                        <a:pt x="129281" y="136219"/>
                      </a:cubicBezTo>
                      <a:cubicBezTo>
                        <a:pt x="128904" y="135968"/>
                        <a:pt x="128779" y="135842"/>
                        <a:pt x="129155" y="135842"/>
                      </a:cubicBezTo>
                      <a:cubicBezTo>
                        <a:pt x="129532" y="135716"/>
                        <a:pt x="129407" y="135591"/>
                        <a:pt x="129783" y="135842"/>
                      </a:cubicBezTo>
                      <a:cubicBezTo>
                        <a:pt x="130160" y="136093"/>
                        <a:pt x="130160" y="136344"/>
                        <a:pt x="130286" y="136093"/>
                      </a:cubicBezTo>
                      <a:cubicBezTo>
                        <a:pt x="130411" y="135842"/>
                        <a:pt x="130160" y="135842"/>
                        <a:pt x="129909" y="135340"/>
                      </a:cubicBezTo>
                      <a:cubicBezTo>
                        <a:pt x="129658" y="134963"/>
                        <a:pt x="129658" y="134963"/>
                        <a:pt x="129532" y="134586"/>
                      </a:cubicBezTo>
                      <a:cubicBezTo>
                        <a:pt x="129407" y="134084"/>
                        <a:pt x="129030" y="134335"/>
                        <a:pt x="129281" y="133833"/>
                      </a:cubicBezTo>
                      <a:cubicBezTo>
                        <a:pt x="129407" y="133330"/>
                        <a:pt x="129532" y="133330"/>
                        <a:pt x="129909" y="133205"/>
                      </a:cubicBezTo>
                      <a:cubicBezTo>
                        <a:pt x="130286" y="133079"/>
                        <a:pt x="129909" y="133330"/>
                        <a:pt x="129909" y="132577"/>
                      </a:cubicBezTo>
                      <a:cubicBezTo>
                        <a:pt x="129909" y="131697"/>
                        <a:pt x="130537" y="132325"/>
                        <a:pt x="130537" y="131697"/>
                      </a:cubicBezTo>
                      <a:cubicBezTo>
                        <a:pt x="130537" y="131069"/>
                        <a:pt x="130035" y="131446"/>
                        <a:pt x="130537" y="131321"/>
                      </a:cubicBezTo>
                      <a:cubicBezTo>
                        <a:pt x="130914" y="131195"/>
                        <a:pt x="131165" y="130567"/>
                        <a:pt x="131793" y="130818"/>
                      </a:cubicBezTo>
                      <a:cubicBezTo>
                        <a:pt x="132421" y="131195"/>
                        <a:pt x="132044" y="131069"/>
                        <a:pt x="132295" y="131195"/>
                      </a:cubicBezTo>
                      <a:cubicBezTo>
                        <a:pt x="132546" y="131321"/>
                        <a:pt x="132044" y="131195"/>
                        <a:pt x="131919" y="131195"/>
                      </a:cubicBezTo>
                      <a:cubicBezTo>
                        <a:pt x="131919" y="131195"/>
                        <a:pt x="131668" y="130944"/>
                        <a:pt x="131919" y="131195"/>
                      </a:cubicBezTo>
                      <a:cubicBezTo>
                        <a:pt x="132170" y="131446"/>
                        <a:pt x="132295" y="131823"/>
                        <a:pt x="133300" y="132325"/>
                      </a:cubicBezTo>
                      <a:cubicBezTo>
                        <a:pt x="134305" y="132828"/>
                        <a:pt x="133677" y="132451"/>
                        <a:pt x="134305" y="132577"/>
                      </a:cubicBezTo>
                      <a:cubicBezTo>
                        <a:pt x="134933" y="132702"/>
                        <a:pt x="134933" y="132828"/>
                        <a:pt x="135561" y="132702"/>
                      </a:cubicBezTo>
                      <a:cubicBezTo>
                        <a:pt x="136063" y="132577"/>
                        <a:pt x="136440" y="132577"/>
                        <a:pt x="137068" y="133205"/>
                      </a:cubicBezTo>
                      <a:cubicBezTo>
                        <a:pt x="137696" y="133833"/>
                        <a:pt x="136817" y="133330"/>
                        <a:pt x="136566" y="133456"/>
                      </a:cubicBezTo>
                      <a:cubicBezTo>
                        <a:pt x="136440" y="133581"/>
                        <a:pt x="136566" y="133456"/>
                        <a:pt x="136566" y="133456"/>
                      </a:cubicBezTo>
                      <a:cubicBezTo>
                        <a:pt x="136566" y="133456"/>
                        <a:pt x="136566" y="133456"/>
                        <a:pt x="136566" y="133456"/>
                      </a:cubicBezTo>
                      <a:cubicBezTo>
                        <a:pt x="136566" y="133456"/>
                        <a:pt x="136189" y="133079"/>
                        <a:pt x="136189" y="133456"/>
                      </a:cubicBezTo>
                      <a:cubicBezTo>
                        <a:pt x="136314" y="133833"/>
                        <a:pt x="136691" y="133707"/>
                        <a:pt x="136566" y="134084"/>
                      </a:cubicBezTo>
                      <a:cubicBezTo>
                        <a:pt x="136440" y="134461"/>
                        <a:pt x="136189" y="134335"/>
                        <a:pt x="136189" y="134712"/>
                      </a:cubicBezTo>
                      <a:cubicBezTo>
                        <a:pt x="136189" y="134963"/>
                        <a:pt x="135938" y="134586"/>
                        <a:pt x="135938" y="134461"/>
                      </a:cubicBezTo>
                      <a:cubicBezTo>
                        <a:pt x="135938" y="134461"/>
                        <a:pt x="135938" y="134461"/>
                        <a:pt x="135938" y="134461"/>
                      </a:cubicBezTo>
                      <a:cubicBezTo>
                        <a:pt x="135938" y="134461"/>
                        <a:pt x="135812" y="134209"/>
                        <a:pt x="135812" y="134461"/>
                      </a:cubicBezTo>
                      <a:cubicBezTo>
                        <a:pt x="135812" y="134712"/>
                        <a:pt x="135435" y="134461"/>
                        <a:pt x="136314" y="135591"/>
                      </a:cubicBezTo>
                      <a:cubicBezTo>
                        <a:pt x="137319" y="136721"/>
                        <a:pt x="137445" y="137224"/>
                        <a:pt x="138701" y="138731"/>
                      </a:cubicBezTo>
                      <a:cubicBezTo>
                        <a:pt x="139705" y="140363"/>
                        <a:pt x="139078" y="139861"/>
                        <a:pt x="139203" y="140489"/>
                      </a:cubicBezTo>
                      <a:lnTo>
                        <a:pt x="139203" y="140489"/>
                      </a:lnTo>
                      <a:close/>
                      <a:moveTo>
                        <a:pt x="105167" y="105950"/>
                      </a:moveTo>
                      <a:cubicBezTo>
                        <a:pt x="105418" y="107583"/>
                        <a:pt x="105293" y="107709"/>
                        <a:pt x="104037" y="107709"/>
                      </a:cubicBezTo>
                      <a:cubicBezTo>
                        <a:pt x="102906" y="107709"/>
                        <a:pt x="102027" y="106076"/>
                        <a:pt x="102278" y="106202"/>
                      </a:cubicBezTo>
                      <a:cubicBezTo>
                        <a:pt x="102529" y="106327"/>
                        <a:pt x="102529" y="105825"/>
                        <a:pt x="102655" y="105574"/>
                      </a:cubicBezTo>
                      <a:cubicBezTo>
                        <a:pt x="102780" y="105323"/>
                        <a:pt x="102655" y="105071"/>
                        <a:pt x="102655" y="104946"/>
                      </a:cubicBezTo>
                      <a:cubicBezTo>
                        <a:pt x="102655" y="104820"/>
                        <a:pt x="103032" y="104820"/>
                        <a:pt x="103032" y="104695"/>
                      </a:cubicBezTo>
                      <a:cubicBezTo>
                        <a:pt x="103032" y="104569"/>
                        <a:pt x="102153" y="103815"/>
                        <a:pt x="102906" y="103941"/>
                      </a:cubicBezTo>
                      <a:cubicBezTo>
                        <a:pt x="103660" y="104067"/>
                        <a:pt x="101901" y="101806"/>
                        <a:pt x="104790" y="104067"/>
                      </a:cubicBezTo>
                      <a:cubicBezTo>
                        <a:pt x="107553" y="106327"/>
                        <a:pt x="105041" y="104318"/>
                        <a:pt x="105167" y="105950"/>
                      </a:cubicBezTo>
                      <a:lnTo>
                        <a:pt x="105167" y="105950"/>
                      </a:lnTo>
                      <a:close/>
                      <a:moveTo>
                        <a:pt x="118606" y="132200"/>
                      </a:moveTo>
                      <a:cubicBezTo>
                        <a:pt x="118857" y="131949"/>
                        <a:pt x="119233" y="132577"/>
                        <a:pt x="119610" y="132828"/>
                      </a:cubicBezTo>
                      <a:cubicBezTo>
                        <a:pt x="119987" y="133079"/>
                        <a:pt x="120364" y="132702"/>
                        <a:pt x="120615" y="133205"/>
                      </a:cubicBezTo>
                      <a:cubicBezTo>
                        <a:pt x="120866" y="133707"/>
                        <a:pt x="120489" y="133456"/>
                        <a:pt x="120364" y="133833"/>
                      </a:cubicBezTo>
                      <a:cubicBezTo>
                        <a:pt x="120364" y="134209"/>
                        <a:pt x="120740" y="134586"/>
                        <a:pt x="120364" y="134712"/>
                      </a:cubicBezTo>
                      <a:cubicBezTo>
                        <a:pt x="119987" y="134837"/>
                        <a:pt x="119610" y="133833"/>
                        <a:pt x="119359" y="133581"/>
                      </a:cubicBezTo>
                      <a:cubicBezTo>
                        <a:pt x="119108" y="133330"/>
                        <a:pt x="119108" y="133205"/>
                        <a:pt x="118857" y="132953"/>
                      </a:cubicBezTo>
                      <a:cubicBezTo>
                        <a:pt x="118731" y="132451"/>
                        <a:pt x="118355" y="132451"/>
                        <a:pt x="118606" y="132200"/>
                      </a:cubicBezTo>
                      <a:lnTo>
                        <a:pt x="118606" y="132200"/>
                      </a:lnTo>
                      <a:close/>
                      <a:moveTo>
                        <a:pt x="115466" y="127050"/>
                      </a:moveTo>
                      <a:cubicBezTo>
                        <a:pt x="115215" y="126171"/>
                        <a:pt x="115466" y="127050"/>
                        <a:pt x="115466" y="127050"/>
                      </a:cubicBezTo>
                      <a:cubicBezTo>
                        <a:pt x="115591" y="127050"/>
                        <a:pt x="115591" y="127050"/>
                        <a:pt x="115591" y="127050"/>
                      </a:cubicBezTo>
                      <a:cubicBezTo>
                        <a:pt x="115591" y="127050"/>
                        <a:pt x="115717" y="127050"/>
                        <a:pt x="115842" y="127050"/>
                      </a:cubicBezTo>
                      <a:cubicBezTo>
                        <a:pt x="115968" y="127050"/>
                        <a:pt x="116094" y="126799"/>
                        <a:pt x="116345" y="127302"/>
                      </a:cubicBezTo>
                      <a:cubicBezTo>
                        <a:pt x="116596" y="127678"/>
                        <a:pt x="116470" y="127930"/>
                        <a:pt x="116470" y="128306"/>
                      </a:cubicBezTo>
                      <a:cubicBezTo>
                        <a:pt x="116470" y="128683"/>
                        <a:pt x="116470" y="129186"/>
                        <a:pt x="116470" y="129437"/>
                      </a:cubicBezTo>
                      <a:cubicBezTo>
                        <a:pt x="116470" y="129688"/>
                        <a:pt x="116722" y="129437"/>
                        <a:pt x="116345" y="129437"/>
                      </a:cubicBezTo>
                      <a:cubicBezTo>
                        <a:pt x="115968" y="129437"/>
                        <a:pt x="116345" y="130065"/>
                        <a:pt x="115717" y="129437"/>
                      </a:cubicBezTo>
                      <a:cubicBezTo>
                        <a:pt x="115340" y="128683"/>
                        <a:pt x="115591" y="128055"/>
                        <a:pt x="115466" y="127050"/>
                      </a:cubicBezTo>
                      <a:lnTo>
                        <a:pt x="115466" y="127050"/>
                      </a:lnTo>
                      <a:close/>
                      <a:moveTo>
                        <a:pt x="132546" y="132702"/>
                      </a:moveTo>
                      <a:cubicBezTo>
                        <a:pt x="132546" y="132451"/>
                        <a:pt x="132798" y="132577"/>
                        <a:pt x="133049" y="132451"/>
                      </a:cubicBezTo>
                      <a:cubicBezTo>
                        <a:pt x="133300" y="132325"/>
                        <a:pt x="133049" y="132451"/>
                        <a:pt x="133175" y="132451"/>
                      </a:cubicBezTo>
                      <a:cubicBezTo>
                        <a:pt x="133300" y="132451"/>
                        <a:pt x="133175" y="132325"/>
                        <a:pt x="133426" y="132451"/>
                      </a:cubicBezTo>
                      <a:cubicBezTo>
                        <a:pt x="133677" y="132702"/>
                        <a:pt x="133928" y="133456"/>
                        <a:pt x="134305" y="133707"/>
                      </a:cubicBezTo>
                      <a:cubicBezTo>
                        <a:pt x="134682" y="133958"/>
                        <a:pt x="135309" y="133707"/>
                        <a:pt x="135309" y="134209"/>
                      </a:cubicBezTo>
                      <a:cubicBezTo>
                        <a:pt x="135435" y="134712"/>
                        <a:pt x="135309" y="134461"/>
                        <a:pt x="134807" y="134209"/>
                      </a:cubicBezTo>
                      <a:cubicBezTo>
                        <a:pt x="134305" y="133958"/>
                        <a:pt x="133677" y="134586"/>
                        <a:pt x="133300" y="133833"/>
                      </a:cubicBezTo>
                      <a:cubicBezTo>
                        <a:pt x="132798" y="133205"/>
                        <a:pt x="133426" y="133330"/>
                        <a:pt x="133175" y="133079"/>
                      </a:cubicBezTo>
                      <a:cubicBezTo>
                        <a:pt x="132923" y="132828"/>
                        <a:pt x="132546" y="133079"/>
                        <a:pt x="132546" y="132702"/>
                      </a:cubicBezTo>
                      <a:lnTo>
                        <a:pt x="132546" y="132702"/>
                      </a:lnTo>
                      <a:close/>
                      <a:moveTo>
                        <a:pt x="106297" y="105448"/>
                      </a:moveTo>
                      <a:cubicBezTo>
                        <a:pt x="106172" y="105071"/>
                        <a:pt x="104916" y="100424"/>
                        <a:pt x="106423" y="100927"/>
                      </a:cubicBezTo>
                      <a:cubicBezTo>
                        <a:pt x="107930" y="101429"/>
                        <a:pt x="106674" y="102057"/>
                        <a:pt x="107051" y="102559"/>
                      </a:cubicBezTo>
                      <a:cubicBezTo>
                        <a:pt x="107427" y="102936"/>
                        <a:pt x="108056" y="102811"/>
                        <a:pt x="108307" y="103313"/>
                      </a:cubicBezTo>
                      <a:cubicBezTo>
                        <a:pt x="108558" y="103815"/>
                        <a:pt x="106549" y="104318"/>
                        <a:pt x="107427" y="104820"/>
                      </a:cubicBezTo>
                      <a:cubicBezTo>
                        <a:pt x="108307" y="105197"/>
                        <a:pt x="109688" y="110095"/>
                        <a:pt x="110191" y="110346"/>
                      </a:cubicBezTo>
                      <a:cubicBezTo>
                        <a:pt x="110693" y="110598"/>
                        <a:pt x="111698" y="110849"/>
                        <a:pt x="110693" y="111602"/>
                      </a:cubicBezTo>
                      <a:cubicBezTo>
                        <a:pt x="109814" y="112356"/>
                        <a:pt x="112703" y="113235"/>
                        <a:pt x="109186" y="112230"/>
                      </a:cubicBezTo>
                      <a:cubicBezTo>
                        <a:pt x="105544" y="111225"/>
                        <a:pt x="106046" y="111100"/>
                        <a:pt x="106549" y="110723"/>
                      </a:cubicBezTo>
                      <a:cubicBezTo>
                        <a:pt x="106925" y="110346"/>
                        <a:pt x="106674" y="110598"/>
                        <a:pt x="107804" y="110723"/>
                      </a:cubicBezTo>
                      <a:cubicBezTo>
                        <a:pt x="108935" y="110849"/>
                        <a:pt x="105669" y="108965"/>
                        <a:pt x="106674" y="108965"/>
                      </a:cubicBezTo>
                      <a:cubicBezTo>
                        <a:pt x="107679" y="108965"/>
                        <a:pt x="108056" y="107458"/>
                        <a:pt x="107804" y="107081"/>
                      </a:cubicBezTo>
                      <a:cubicBezTo>
                        <a:pt x="107553" y="106704"/>
                        <a:pt x="107804" y="106202"/>
                        <a:pt x="107553" y="105950"/>
                      </a:cubicBezTo>
                      <a:cubicBezTo>
                        <a:pt x="107176" y="105825"/>
                        <a:pt x="106423" y="105825"/>
                        <a:pt x="106297" y="105448"/>
                      </a:cubicBezTo>
                      <a:close/>
                    </a:path>
                  </a:pathLst>
                </a:custGeom>
                <a:solidFill>
                  <a:srgbClr val="75B6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6" name="Freeform: Shape 925">
                  <a:extLst>
                    <a:ext uri="{FF2B5EF4-FFF2-40B4-BE49-F238E27FC236}">
                      <a16:creationId xmlns:a16="http://schemas.microsoft.com/office/drawing/2014/main" id="{803D1551-4F01-4270-A179-A541BCACA31D}"/>
                    </a:ext>
                  </a:extLst>
                </p:cNvPr>
                <p:cNvSpPr/>
                <p:nvPr/>
              </p:nvSpPr>
              <p:spPr>
                <a:xfrm>
                  <a:off x="3595153" y="2467133"/>
                  <a:ext cx="16203" cy="33811"/>
                </a:xfrm>
                <a:custGeom>
                  <a:avLst/>
                  <a:gdLst>
                    <a:gd name="connsiteX0" fmla="*/ 8040 w 16203"/>
                    <a:gd name="connsiteY0" fmla="*/ 33811 h 33811"/>
                    <a:gd name="connsiteX1" fmla="*/ 16203 w 16203"/>
                    <a:gd name="connsiteY1" fmla="*/ 15474 h 33811"/>
                    <a:gd name="connsiteX2" fmla="*/ 8165 w 16203"/>
                    <a:gd name="connsiteY2" fmla="*/ 1156 h 33811"/>
                    <a:gd name="connsiteX3" fmla="*/ 2 w 16203"/>
                    <a:gd name="connsiteY3" fmla="*/ 5803 h 33811"/>
                    <a:gd name="connsiteX4" fmla="*/ 8040 w 16203"/>
                    <a:gd name="connsiteY4" fmla="*/ 33811 h 33811"/>
                    <a:gd name="connsiteX5" fmla="*/ 8165 w 16203"/>
                    <a:gd name="connsiteY5" fmla="*/ 5929 h 33811"/>
                    <a:gd name="connsiteX6" fmla="*/ 12185 w 16203"/>
                    <a:gd name="connsiteY6" fmla="*/ 13088 h 33811"/>
                    <a:gd name="connsiteX7" fmla="*/ 8165 w 16203"/>
                    <a:gd name="connsiteY7" fmla="*/ 15349 h 33811"/>
                    <a:gd name="connsiteX8" fmla="*/ 4146 w 16203"/>
                    <a:gd name="connsiteY8" fmla="*/ 8190 h 33811"/>
                    <a:gd name="connsiteX9" fmla="*/ 8165 w 16203"/>
                    <a:gd name="connsiteY9" fmla="*/ 5929 h 33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03" h="33811">
                      <a:moveTo>
                        <a:pt x="8040" y="33811"/>
                      </a:moveTo>
                      <a:cubicBezTo>
                        <a:pt x="9924" y="30043"/>
                        <a:pt x="16203" y="19117"/>
                        <a:pt x="16203" y="15474"/>
                      </a:cubicBezTo>
                      <a:cubicBezTo>
                        <a:pt x="16203" y="10199"/>
                        <a:pt x="12561" y="3794"/>
                        <a:pt x="8165" y="1156"/>
                      </a:cubicBezTo>
                      <a:cubicBezTo>
                        <a:pt x="3644" y="-1481"/>
                        <a:pt x="2" y="528"/>
                        <a:pt x="2" y="5803"/>
                      </a:cubicBezTo>
                      <a:cubicBezTo>
                        <a:pt x="-124" y="9571"/>
                        <a:pt x="6156" y="27908"/>
                        <a:pt x="8040" y="33811"/>
                      </a:cubicBezTo>
                      <a:close/>
                      <a:moveTo>
                        <a:pt x="8165" y="5929"/>
                      </a:moveTo>
                      <a:cubicBezTo>
                        <a:pt x="10426" y="7311"/>
                        <a:pt x="12185" y="10450"/>
                        <a:pt x="12185" y="13088"/>
                      </a:cubicBezTo>
                      <a:cubicBezTo>
                        <a:pt x="12185" y="15725"/>
                        <a:pt x="10300" y="16730"/>
                        <a:pt x="8165" y="15349"/>
                      </a:cubicBezTo>
                      <a:cubicBezTo>
                        <a:pt x="5905" y="13967"/>
                        <a:pt x="4146" y="10827"/>
                        <a:pt x="4146" y="8190"/>
                      </a:cubicBezTo>
                      <a:cubicBezTo>
                        <a:pt x="4021" y="5678"/>
                        <a:pt x="5905" y="4673"/>
                        <a:pt x="8165" y="5929"/>
                      </a:cubicBez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7" name="Freeform: Shape 926">
                  <a:extLst>
                    <a:ext uri="{FF2B5EF4-FFF2-40B4-BE49-F238E27FC236}">
                      <a16:creationId xmlns:a16="http://schemas.microsoft.com/office/drawing/2014/main" id="{03F1DD38-85E1-4F63-B5A0-72D449A5C43E}"/>
                    </a:ext>
                  </a:extLst>
                </p:cNvPr>
                <p:cNvSpPr/>
                <p:nvPr/>
              </p:nvSpPr>
              <p:spPr>
                <a:xfrm>
                  <a:off x="3655691" y="2505466"/>
                  <a:ext cx="34036" cy="36548"/>
                </a:xfrm>
                <a:custGeom>
                  <a:avLst/>
                  <a:gdLst>
                    <a:gd name="connsiteX0" fmla="*/ 32027 w 34036"/>
                    <a:gd name="connsiteY0" fmla="*/ 28133 h 36548"/>
                    <a:gd name="connsiteX1" fmla="*/ 24114 w 34036"/>
                    <a:gd name="connsiteY1" fmla="*/ 23361 h 36548"/>
                    <a:gd name="connsiteX2" fmla="*/ 12183 w 34036"/>
                    <a:gd name="connsiteY2" fmla="*/ 628 h 36548"/>
                    <a:gd name="connsiteX3" fmla="*/ 11178 w 34036"/>
                    <a:gd name="connsiteY3" fmla="*/ 0 h 36548"/>
                    <a:gd name="connsiteX4" fmla="*/ 15072 w 34036"/>
                    <a:gd name="connsiteY4" fmla="*/ 17960 h 36548"/>
                    <a:gd name="connsiteX5" fmla="*/ 4019 w 34036"/>
                    <a:gd name="connsiteY5" fmla="*/ 11429 h 36548"/>
                    <a:gd name="connsiteX6" fmla="*/ 0 w 34036"/>
                    <a:gd name="connsiteY6" fmla="*/ 3014 h 36548"/>
                    <a:gd name="connsiteX7" fmla="*/ 0 w 34036"/>
                    <a:gd name="connsiteY7" fmla="*/ 11429 h 36548"/>
                    <a:gd name="connsiteX8" fmla="*/ 0 w 34036"/>
                    <a:gd name="connsiteY8" fmla="*/ 19844 h 36548"/>
                    <a:gd name="connsiteX9" fmla="*/ 4019 w 34036"/>
                    <a:gd name="connsiteY9" fmla="*/ 16202 h 36548"/>
                    <a:gd name="connsiteX10" fmla="*/ 15072 w 34036"/>
                    <a:gd name="connsiteY10" fmla="*/ 22733 h 36548"/>
                    <a:gd name="connsiteX11" fmla="*/ 11052 w 34036"/>
                    <a:gd name="connsiteY11" fmla="*/ 35920 h 36548"/>
                    <a:gd name="connsiteX12" fmla="*/ 12057 w 34036"/>
                    <a:gd name="connsiteY12" fmla="*/ 36548 h 36548"/>
                    <a:gd name="connsiteX13" fmla="*/ 24114 w 34036"/>
                    <a:gd name="connsiteY13" fmla="*/ 28008 h 36548"/>
                    <a:gd name="connsiteX14" fmla="*/ 32027 w 34036"/>
                    <a:gd name="connsiteY14" fmla="*/ 32655 h 36548"/>
                    <a:gd name="connsiteX15" fmla="*/ 34036 w 34036"/>
                    <a:gd name="connsiteY15" fmla="*/ 31399 h 36548"/>
                    <a:gd name="connsiteX16" fmla="*/ 32027 w 34036"/>
                    <a:gd name="connsiteY16" fmla="*/ 28133 h 3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036" h="36548">
                      <a:moveTo>
                        <a:pt x="32027" y="28133"/>
                      </a:moveTo>
                      <a:lnTo>
                        <a:pt x="24114" y="23361"/>
                      </a:lnTo>
                      <a:lnTo>
                        <a:pt x="12183" y="628"/>
                      </a:lnTo>
                      <a:lnTo>
                        <a:pt x="11178" y="0"/>
                      </a:lnTo>
                      <a:lnTo>
                        <a:pt x="15072" y="17960"/>
                      </a:lnTo>
                      <a:lnTo>
                        <a:pt x="4019" y="11429"/>
                      </a:lnTo>
                      <a:lnTo>
                        <a:pt x="0" y="3014"/>
                      </a:lnTo>
                      <a:lnTo>
                        <a:pt x="0" y="11429"/>
                      </a:lnTo>
                      <a:lnTo>
                        <a:pt x="0" y="19844"/>
                      </a:lnTo>
                      <a:lnTo>
                        <a:pt x="4019" y="16202"/>
                      </a:lnTo>
                      <a:lnTo>
                        <a:pt x="15072" y="22733"/>
                      </a:lnTo>
                      <a:lnTo>
                        <a:pt x="11052" y="35920"/>
                      </a:lnTo>
                      <a:lnTo>
                        <a:pt x="12057" y="36548"/>
                      </a:lnTo>
                      <a:lnTo>
                        <a:pt x="24114" y="28008"/>
                      </a:lnTo>
                      <a:lnTo>
                        <a:pt x="32027" y="32655"/>
                      </a:lnTo>
                      <a:cubicBezTo>
                        <a:pt x="33157" y="33283"/>
                        <a:pt x="34036" y="32780"/>
                        <a:pt x="34036" y="31399"/>
                      </a:cubicBezTo>
                      <a:cubicBezTo>
                        <a:pt x="33911" y="30394"/>
                        <a:pt x="33031" y="28761"/>
                        <a:pt x="32027" y="28133"/>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8" name="Freeform: Shape 927">
                  <a:extLst>
                    <a:ext uri="{FF2B5EF4-FFF2-40B4-BE49-F238E27FC236}">
                      <a16:creationId xmlns:a16="http://schemas.microsoft.com/office/drawing/2014/main" id="{38E226D8-1F8E-4068-B069-E4FDFA871D6B}"/>
                    </a:ext>
                  </a:extLst>
                </p:cNvPr>
                <p:cNvSpPr/>
                <p:nvPr/>
              </p:nvSpPr>
              <p:spPr>
                <a:xfrm>
                  <a:off x="3614622" y="2345332"/>
                  <a:ext cx="34664" cy="36924"/>
                </a:xfrm>
                <a:custGeom>
                  <a:avLst/>
                  <a:gdLst>
                    <a:gd name="connsiteX0" fmla="*/ 1884 w 34664"/>
                    <a:gd name="connsiteY0" fmla="*/ 7536 h 36924"/>
                    <a:gd name="connsiteX1" fmla="*/ 10173 w 34664"/>
                    <a:gd name="connsiteY1" fmla="*/ 12811 h 36924"/>
                    <a:gd name="connsiteX2" fmla="*/ 22482 w 34664"/>
                    <a:gd name="connsiteY2" fmla="*/ 36297 h 36924"/>
                    <a:gd name="connsiteX3" fmla="*/ 23486 w 34664"/>
                    <a:gd name="connsiteY3" fmla="*/ 36925 h 36924"/>
                    <a:gd name="connsiteX4" fmla="*/ 19467 w 34664"/>
                    <a:gd name="connsiteY4" fmla="*/ 18588 h 36924"/>
                    <a:gd name="connsiteX5" fmla="*/ 30645 w 34664"/>
                    <a:gd name="connsiteY5" fmla="*/ 25747 h 36924"/>
                    <a:gd name="connsiteX6" fmla="*/ 34664 w 34664"/>
                    <a:gd name="connsiteY6" fmla="*/ 34287 h 36924"/>
                    <a:gd name="connsiteX7" fmla="*/ 34664 w 34664"/>
                    <a:gd name="connsiteY7" fmla="*/ 25872 h 36924"/>
                    <a:gd name="connsiteX8" fmla="*/ 34664 w 34664"/>
                    <a:gd name="connsiteY8" fmla="*/ 17458 h 36924"/>
                    <a:gd name="connsiteX9" fmla="*/ 30645 w 34664"/>
                    <a:gd name="connsiteY9" fmla="*/ 20849 h 36924"/>
                    <a:gd name="connsiteX10" fmla="*/ 19467 w 34664"/>
                    <a:gd name="connsiteY10" fmla="*/ 13690 h 36924"/>
                    <a:gd name="connsiteX11" fmla="*/ 23612 w 34664"/>
                    <a:gd name="connsiteY11" fmla="*/ 628 h 36924"/>
                    <a:gd name="connsiteX12" fmla="*/ 22607 w 34664"/>
                    <a:gd name="connsiteY12" fmla="*/ 0 h 36924"/>
                    <a:gd name="connsiteX13" fmla="*/ 10299 w 34664"/>
                    <a:gd name="connsiteY13" fmla="*/ 7787 h 36924"/>
                    <a:gd name="connsiteX14" fmla="*/ 2010 w 34664"/>
                    <a:gd name="connsiteY14" fmla="*/ 2512 h 36924"/>
                    <a:gd name="connsiteX15" fmla="*/ 0 w 34664"/>
                    <a:gd name="connsiteY15" fmla="*/ 3642 h 36924"/>
                    <a:gd name="connsiteX16" fmla="*/ 1884 w 34664"/>
                    <a:gd name="connsiteY16" fmla="*/ 7536 h 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664" h="36924">
                      <a:moveTo>
                        <a:pt x="1884" y="7536"/>
                      </a:moveTo>
                      <a:lnTo>
                        <a:pt x="10173" y="12811"/>
                      </a:lnTo>
                      <a:lnTo>
                        <a:pt x="22482" y="36297"/>
                      </a:lnTo>
                      <a:lnTo>
                        <a:pt x="23486" y="36925"/>
                      </a:lnTo>
                      <a:lnTo>
                        <a:pt x="19467" y="18588"/>
                      </a:lnTo>
                      <a:lnTo>
                        <a:pt x="30645" y="25747"/>
                      </a:lnTo>
                      <a:lnTo>
                        <a:pt x="34664" y="34287"/>
                      </a:lnTo>
                      <a:lnTo>
                        <a:pt x="34664" y="25872"/>
                      </a:lnTo>
                      <a:lnTo>
                        <a:pt x="34664" y="17458"/>
                      </a:lnTo>
                      <a:lnTo>
                        <a:pt x="30645" y="20849"/>
                      </a:lnTo>
                      <a:lnTo>
                        <a:pt x="19467" y="13690"/>
                      </a:lnTo>
                      <a:lnTo>
                        <a:pt x="23612" y="628"/>
                      </a:lnTo>
                      <a:lnTo>
                        <a:pt x="22607" y="0"/>
                      </a:lnTo>
                      <a:lnTo>
                        <a:pt x="10299" y="7787"/>
                      </a:lnTo>
                      <a:lnTo>
                        <a:pt x="2010" y="2512"/>
                      </a:lnTo>
                      <a:cubicBezTo>
                        <a:pt x="879" y="1758"/>
                        <a:pt x="0" y="2261"/>
                        <a:pt x="0" y="3642"/>
                      </a:cubicBezTo>
                      <a:cubicBezTo>
                        <a:pt x="0" y="5024"/>
                        <a:pt x="754" y="6782"/>
                        <a:pt x="1884" y="7536"/>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929" name="Graphic 4">
                  <a:extLst>
                    <a:ext uri="{FF2B5EF4-FFF2-40B4-BE49-F238E27FC236}">
                      <a16:creationId xmlns:a16="http://schemas.microsoft.com/office/drawing/2014/main" id="{84FB7ED1-A2DF-40A1-A747-5F7CF3F14040}"/>
                    </a:ext>
                  </a:extLst>
                </p:cNvPr>
                <p:cNvGrpSpPr/>
                <p:nvPr/>
              </p:nvGrpSpPr>
              <p:grpSpPr>
                <a:xfrm>
                  <a:off x="3717484" y="2537618"/>
                  <a:ext cx="37050" cy="52247"/>
                  <a:chOff x="3717484" y="2537618"/>
                  <a:chExt cx="37050" cy="52247"/>
                </a:xfrm>
                <a:solidFill>
                  <a:schemeClr val="accent1"/>
                </a:solidFill>
              </p:grpSpPr>
              <p:sp>
                <p:nvSpPr>
                  <p:cNvPr id="930" name="Freeform: Shape 929">
                    <a:extLst>
                      <a:ext uri="{FF2B5EF4-FFF2-40B4-BE49-F238E27FC236}">
                        <a16:creationId xmlns:a16="http://schemas.microsoft.com/office/drawing/2014/main" id="{38D1B9D2-1BBC-4956-B664-4871E775062A}"/>
                      </a:ext>
                    </a:extLst>
                  </p:cNvPr>
                  <p:cNvSpPr/>
                  <p:nvPr/>
                </p:nvSpPr>
                <p:spPr>
                  <a:xfrm>
                    <a:off x="3717609" y="2537618"/>
                    <a:ext cx="9544" cy="15950"/>
                  </a:xfrm>
                  <a:custGeom>
                    <a:avLst/>
                    <a:gdLst>
                      <a:gd name="connsiteX0" fmla="*/ 9545 w 9544"/>
                      <a:gd name="connsiteY0" fmla="*/ 15951 h 15950"/>
                      <a:gd name="connsiteX1" fmla="*/ 0 w 9544"/>
                      <a:gd name="connsiteY1" fmla="*/ 10299 h 15950"/>
                      <a:gd name="connsiteX2" fmla="*/ 0 w 9544"/>
                      <a:gd name="connsiteY2" fmla="*/ 0 h 15950"/>
                      <a:gd name="connsiteX3" fmla="*/ 9545 w 9544"/>
                      <a:gd name="connsiteY3" fmla="*/ 5652 h 15950"/>
                    </a:gdLst>
                    <a:ahLst/>
                    <a:cxnLst>
                      <a:cxn ang="0">
                        <a:pos x="connsiteX0" y="connsiteY0"/>
                      </a:cxn>
                      <a:cxn ang="0">
                        <a:pos x="connsiteX1" y="connsiteY1"/>
                      </a:cxn>
                      <a:cxn ang="0">
                        <a:pos x="connsiteX2" y="connsiteY2"/>
                      </a:cxn>
                      <a:cxn ang="0">
                        <a:pos x="connsiteX3" y="connsiteY3"/>
                      </a:cxn>
                    </a:cxnLst>
                    <a:rect l="l" t="t" r="r" b="b"/>
                    <a:pathLst>
                      <a:path w="9544" h="15950">
                        <a:moveTo>
                          <a:pt x="9545" y="15951"/>
                        </a:moveTo>
                        <a:lnTo>
                          <a:pt x="0" y="10299"/>
                        </a:lnTo>
                        <a:lnTo>
                          <a:pt x="0" y="0"/>
                        </a:lnTo>
                        <a:lnTo>
                          <a:pt x="9545" y="5652"/>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1" name="Freeform: Shape 930">
                    <a:extLst>
                      <a:ext uri="{FF2B5EF4-FFF2-40B4-BE49-F238E27FC236}">
                        <a16:creationId xmlns:a16="http://schemas.microsoft.com/office/drawing/2014/main" id="{54DEF9D8-8870-49F1-A10F-773B38A6890D}"/>
                      </a:ext>
                    </a:extLst>
                  </p:cNvPr>
                  <p:cNvSpPr/>
                  <p:nvPr/>
                </p:nvSpPr>
                <p:spPr>
                  <a:xfrm>
                    <a:off x="3726903" y="2543144"/>
                    <a:ext cx="9419" cy="15824"/>
                  </a:xfrm>
                  <a:custGeom>
                    <a:avLst/>
                    <a:gdLst>
                      <a:gd name="connsiteX0" fmla="*/ 9420 w 9419"/>
                      <a:gd name="connsiteY0" fmla="*/ 15825 h 15824"/>
                      <a:gd name="connsiteX1" fmla="*/ 0 w 9419"/>
                      <a:gd name="connsiteY1" fmla="*/ 10299 h 15824"/>
                      <a:gd name="connsiteX2" fmla="*/ 0 w 9419"/>
                      <a:gd name="connsiteY2" fmla="*/ 0 h 15824"/>
                      <a:gd name="connsiteX3" fmla="*/ 9420 w 9419"/>
                      <a:gd name="connsiteY3" fmla="*/ 5652 h 15824"/>
                    </a:gdLst>
                    <a:ahLst/>
                    <a:cxnLst>
                      <a:cxn ang="0">
                        <a:pos x="connsiteX0" y="connsiteY0"/>
                      </a:cxn>
                      <a:cxn ang="0">
                        <a:pos x="connsiteX1" y="connsiteY1"/>
                      </a:cxn>
                      <a:cxn ang="0">
                        <a:pos x="connsiteX2" y="connsiteY2"/>
                      </a:cxn>
                      <a:cxn ang="0">
                        <a:pos x="connsiteX3" y="connsiteY3"/>
                      </a:cxn>
                    </a:cxnLst>
                    <a:rect l="l" t="t" r="r" b="b"/>
                    <a:pathLst>
                      <a:path w="9419" h="15824">
                        <a:moveTo>
                          <a:pt x="9420" y="15825"/>
                        </a:moveTo>
                        <a:lnTo>
                          <a:pt x="0" y="10299"/>
                        </a:lnTo>
                        <a:lnTo>
                          <a:pt x="0" y="0"/>
                        </a:lnTo>
                        <a:lnTo>
                          <a:pt x="9420" y="5652"/>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2" name="Freeform: Shape 931">
                    <a:extLst>
                      <a:ext uri="{FF2B5EF4-FFF2-40B4-BE49-F238E27FC236}">
                        <a16:creationId xmlns:a16="http://schemas.microsoft.com/office/drawing/2014/main" id="{6510BB56-F8F5-4AC9-B200-EDF9FB6239CF}"/>
                      </a:ext>
                    </a:extLst>
                  </p:cNvPr>
                  <p:cNvSpPr/>
                  <p:nvPr/>
                </p:nvSpPr>
                <p:spPr>
                  <a:xfrm>
                    <a:off x="3736072" y="2548670"/>
                    <a:ext cx="9419" cy="15824"/>
                  </a:xfrm>
                  <a:custGeom>
                    <a:avLst/>
                    <a:gdLst>
                      <a:gd name="connsiteX0" fmla="*/ 9294 w 9419"/>
                      <a:gd name="connsiteY0" fmla="*/ 15825 h 15824"/>
                      <a:gd name="connsiteX1" fmla="*/ 0 w 9419"/>
                      <a:gd name="connsiteY1" fmla="*/ 10173 h 15824"/>
                      <a:gd name="connsiteX2" fmla="*/ 0 w 9419"/>
                      <a:gd name="connsiteY2" fmla="*/ 0 h 15824"/>
                      <a:gd name="connsiteX3" fmla="*/ 9420 w 9419"/>
                      <a:gd name="connsiteY3" fmla="*/ 5652 h 15824"/>
                    </a:gdLst>
                    <a:ahLst/>
                    <a:cxnLst>
                      <a:cxn ang="0">
                        <a:pos x="connsiteX0" y="connsiteY0"/>
                      </a:cxn>
                      <a:cxn ang="0">
                        <a:pos x="connsiteX1" y="connsiteY1"/>
                      </a:cxn>
                      <a:cxn ang="0">
                        <a:pos x="connsiteX2" y="connsiteY2"/>
                      </a:cxn>
                      <a:cxn ang="0">
                        <a:pos x="connsiteX3" y="connsiteY3"/>
                      </a:cxn>
                    </a:cxnLst>
                    <a:rect l="l" t="t" r="r" b="b"/>
                    <a:pathLst>
                      <a:path w="9419" h="15824">
                        <a:moveTo>
                          <a:pt x="9294" y="15825"/>
                        </a:moveTo>
                        <a:lnTo>
                          <a:pt x="0" y="10173"/>
                        </a:lnTo>
                        <a:lnTo>
                          <a:pt x="0" y="0"/>
                        </a:lnTo>
                        <a:lnTo>
                          <a:pt x="9420" y="5652"/>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3" name="Freeform: Shape 932">
                    <a:extLst>
                      <a:ext uri="{FF2B5EF4-FFF2-40B4-BE49-F238E27FC236}">
                        <a16:creationId xmlns:a16="http://schemas.microsoft.com/office/drawing/2014/main" id="{873FECCC-CC2F-4808-918A-5B0387B9A748}"/>
                      </a:ext>
                    </a:extLst>
                  </p:cNvPr>
                  <p:cNvSpPr/>
                  <p:nvPr/>
                </p:nvSpPr>
                <p:spPr>
                  <a:xfrm>
                    <a:off x="3745240" y="2554196"/>
                    <a:ext cx="9293" cy="15699"/>
                  </a:xfrm>
                  <a:custGeom>
                    <a:avLst/>
                    <a:gdLst>
                      <a:gd name="connsiteX0" fmla="*/ 9294 w 9293"/>
                      <a:gd name="connsiteY0" fmla="*/ 15699 h 15699"/>
                      <a:gd name="connsiteX1" fmla="*/ 0 w 9293"/>
                      <a:gd name="connsiteY1" fmla="*/ 10173 h 15699"/>
                      <a:gd name="connsiteX2" fmla="*/ 0 w 9293"/>
                      <a:gd name="connsiteY2" fmla="*/ 0 h 15699"/>
                      <a:gd name="connsiteX3" fmla="*/ 9294 w 9293"/>
                      <a:gd name="connsiteY3" fmla="*/ 5526 h 15699"/>
                    </a:gdLst>
                    <a:ahLst/>
                    <a:cxnLst>
                      <a:cxn ang="0">
                        <a:pos x="connsiteX0" y="connsiteY0"/>
                      </a:cxn>
                      <a:cxn ang="0">
                        <a:pos x="connsiteX1" y="connsiteY1"/>
                      </a:cxn>
                      <a:cxn ang="0">
                        <a:pos x="connsiteX2" y="connsiteY2"/>
                      </a:cxn>
                      <a:cxn ang="0">
                        <a:pos x="connsiteX3" y="connsiteY3"/>
                      </a:cxn>
                    </a:cxnLst>
                    <a:rect l="l" t="t" r="r" b="b"/>
                    <a:pathLst>
                      <a:path w="9293" h="15699">
                        <a:moveTo>
                          <a:pt x="9294" y="15699"/>
                        </a:moveTo>
                        <a:lnTo>
                          <a:pt x="0" y="10173"/>
                        </a:lnTo>
                        <a:lnTo>
                          <a:pt x="0" y="0"/>
                        </a:lnTo>
                        <a:lnTo>
                          <a:pt x="9294" y="5526"/>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4" name="Freeform: Shape 933">
                    <a:extLst>
                      <a:ext uri="{FF2B5EF4-FFF2-40B4-BE49-F238E27FC236}">
                        <a16:creationId xmlns:a16="http://schemas.microsoft.com/office/drawing/2014/main" id="{468464B0-C2E9-4CD9-9629-FFEDE88C07C1}"/>
                      </a:ext>
                    </a:extLst>
                  </p:cNvPr>
                  <p:cNvSpPr/>
                  <p:nvPr/>
                </p:nvSpPr>
                <p:spPr>
                  <a:xfrm>
                    <a:off x="3717609" y="2557839"/>
                    <a:ext cx="9419" cy="15824"/>
                  </a:xfrm>
                  <a:custGeom>
                    <a:avLst/>
                    <a:gdLst>
                      <a:gd name="connsiteX0" fmla="*/ 9420 w 9419"/>
                      <a:gd name="connsiteY0" fmla="*/ 15825 h 15824"/>
                      <a:gd name="connsiteX1" fmla="*/ 0 w 9419"/>
                      <a:gd name="connsiteY1" fmla="*/ 10299 h 15824"/>
                      <a:gd name="connsiteX2" fmla="*/ 0 w 9419"/>
                      <a:gd name="connsiteY2" fmla="*/ 0 h 15824"/>
                      <a:gd name="connsiteX3" fmla="*/ 9420 w 9419"/>
                      <a:gd name="connsiteY3" fmla="*/ 5652 h 15824"/>
                    </a:gdLst>
                    <a:ahLst/>
                    <a:cxnLst>
                      <a:cxn ang="0">
                        <a:pos x="connsiteX0" y="connsiteY0"/>
                      </a:cxn>
                      <a:cxn ang="0">
                        <a:pos x="connsiteX1" y="connsiteY1"/>
                      </a:cxn>
                      <a:cxn ang="0">
                        <a:pos x="connsiteX2" y="connsiteY2"/>
                      </a:cxn>
                      <a:cxn ang="0">
                        <a:pos x="connsiteX3" y="connsiteY3"/>
                      </a:cxn>
                    </a:cxnLst>
                    <a:rect l="l" t="t" r="r" b="b"/>
                    <a:pathLst>
                      <a:path w="9419" h="15824">
                        <a:moveTo>
                          <a:pt x="9420" y="15825"/>
                        </a:moveTo>
                        <a:lnTo>
                          <a:pt x="0" y="10299"/>
                        </a:lnTo>
                        <a:lnTo>
                          <a:pt x="0" y="0"/>
                        </a:lnTo>
                        <a:lnTo>
                          <a:pt x="9420" y="5652"/>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5" name="Freeform: Shape 934">
                    <a:extLst>
                      <a:ext uri="{FF2B5EF4-FFF2-40B4-BE49-F238E27FC236}">
                        <a16:creationId xmlns:a16="http://schemas.microsoft.com/office/drawing/2014/main" id="{2A79559C-DEBE-4377-86C3-6A5D442E8004}"/>
                      </a:ext>
                    </a:extLst>
                  </p:cNvPr>
                  <p:cNvSpPr/>
                  <p:nvPr/>
                </p:nvSpPr>
                <p:spPr>
                  <a:xfrm>
                    <a:off x="3726778" y="2563365"/>
                    <a:ext cx="9545" cy="15699"/>
                  </a:xfrm>
                  <a:custGeom>
                    <a:avLst/>
                    <a:gdLst>
                      <a:gd name="connsiteX0" fmla="*/ 9420 w 9545"/>
                      <a:gd name="connsiteY0" fmla="*/ 15699 h 15699"/>
                      <a:gd name="connsiteX1" fmla="*/ 0 w 9545"/>
                      <a:gd name="connsiteY1" fmla="*/ 10173 h 15699"/>
                      <a:gd name="connsiteX2" fmla="*/ 126 w 9545"/>
                      <a:gd name="connsiteY2" fmla="*/ 0 h 15699"/>
                      <a:gd name="connsiteX3" fmla="*/ 9545 w 9545"/>
                      <a:gd name="connsiteY3" fmla="*/ 5526 h 15699"/>
                    </a:gdLst>
                    <a:ahLst/>
                    <a:cxnLst>
                      <a:cxn ang="0">
                        <a:pos x="connsiteX0" y="connsiteY0"/>
                      </a:cxn>
                      <a:cxn ang="0">
                        <a:pos x="connsiteX1" y="connsiteY1"/>
                      </a:cxn>
                      <a:cxn ang="0">
                        <a:pos x="connsiteX2" y="connsiteY2"/>
                      </a:cxn>
                      <a:cxn ang="0">
                        <a:pos x="connsiteX3" y="connsiteY3"/>
                      </a:cxn>
                    </a:cxnLst>
                    <a:rect l="l" t="t" r="r" b="b"/>
                    <a:pathLst>
                      <a:path w="9545" h="15699">
                        <a:moveTo>
                          <a:pt x="9420" y="15699"/>
                        </a:moveTo>
                        <a:lnTo>
                          <a:pt x="0" y="10173"/>
                        </a:lnTo>
                        <a:lnTo>
                          <a:pt x="126" y="0"/>
                        </a:lnTo>
                        <a:lnTo>
                          <a:pt x="9545" y="5526"/>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6" name="Freeform: Shape 935">
                    <a:extLst>
                      <a:ext uri="{FF2B5EF4-FFF2-40B4-BE49-F238E27FC236}">
                        <a16:creationId xmlns:a16="http://schemas.microsoft.com/office/drawing/2014/main" id="{7EA51521-0D6E-4B63-9AF4-022B3D9596C0}"/>
                      </a:ext>
                    </a:extLst>
                  </p:cNvPr>
                  <p:cNvSpPr/>
                  <p:nvPr/>
                </p:nvSpPr>
                <p:spPr>
                  <a:xfrm>
                    <a:off x="3736072" y="2568765"/>
                    <a:ext cx="9293" cy="15699"/>
                  </a:xfrm>
                  <a:custGeom>
                    <a:avLst/>
                    <a:gdLst>
                      <a:gd name="connsiteX0" fmla="*/ 9294 w 9293"/>
                      <a:gd name="connsiteY0" fmla="*/ 15699 h 15699"/>
                      <a:gd name="connsiteX1" fmla="*/ 0 w 9293"/>
                      <a:gd name="connsiteY1" fmla="*/ 10173 h 15699"/>
                      <a:gd name="connsiteX2" fmla="*/ 0 w 9293"/>
                      <a:gd name="connsiteY2" fmla="*/ 0 h 15699"/>
                      <a:gd name="connsiteX3" fmla="*/ 9294 w 9293"/>
                      <a:gd name="connsiteY3" fmla="*/ 5526 h 15699"/>
                    </a:gdLst>
                    <a:ahLst/>
                    <a:cxnLst>
                      <a:cxn ang="0">
                        <a:pos x="connsiteX0" y="connsiteY0"/>
                      </a:cxn>
                      <a:cxn ang="0">
                        <a:pos x="connsiteX1" y="connsiteY1"/>
                      </a:cxn>
                      <a:cxn ang="0">
                        <a:pos x="connsiteX2" y="connsiteY2"/>
                      </a:cxn>
                      <a:cxn ang="0">
                        <a:pos x="connsiteX3" y="connsiteY3"/>
                      </a:cxn>
                    </a:cxnLst>
                    <a:rect l="l" t="t" r="r" b="b"/>
                    <a:pathLst>
                      <a:path w="9293" h="15699">
                        <a:moveTo>
                          <a:pt x="9294" y="15699"/>
                        </a:moveTo>
                        <a:lnTo>
                          <a:pt x="0" y="10173"/>
                        </a:lnTo>
                        <a:lnTo>
                          <a:pt x="0" y="0"/>
                        </a:lnTo>
                        <a:lnTo>
                          <a:pt x="9294" y="5526"/>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7" name="Freeform: Shape 936">
                    <a:extLst>
                      <a:ext uri="{FF2B5EF4-FFF2-40B4-BE49-F238E27FC236}">
                        <a16:creationId xmlns:a16="http://schemas.microsoft.com/office/drawing/2014/main" id="{F21FB0FC-DAC8-489F-9F1F-5A56B46326AA}"/>
                      </a:ext>
                    </a:extLst>
                  </p:cNvPr>
                  <p:cNvSpPr/>
                  <p:nvPr/>
                </p:nvSpPr>
                <p:spPr>
                  <a:xfrm>
                    <a:off x="3745114" y="2574166"/>
                    <a:ext cx="9294" cy="15699"/>
                  </a:xfrm>
                  <a:custGeom>
                    <a:avLst/>
                    <a:gdLst>
                      <a:gd name="connsiteX0" fmla="*/ 9294 w 9294"/>
                      <a:gd name="connsiteY0" fmla="*/ 15699 h 15699"/>
                      <a:gd name="connsiteX1" fmla="*/ 0 w 9294"/>
                      <a:gd name="connsiteY1" fmla="*/ 10173 h 15699"/>
                      <a:gd name="connsiteX2" fmla="*/ 0 w 9294"/>
                      <a:gd name="connsiteY2" fmla="*/ 0 h 15699"/>
                      <a:gd name="connsiteX3" fmla="*/ 9294 w 9294"/>
                      <a:gd name="connsiteY3" fmla="*/ 5526 h 15699"/>
                    </a:gdLst>
                    <a:ahLst/>
                    <a:cxnLst>
                      <a:cxn ang="0">
                        <a:pos x="connsiteX0" y="connsiteY0"/>
                      </a:cxn>
                      <a:cxn ang="0">
                        <a:pos x="connsiteX1" y="connsiteY1"/>
                      </a:cxn>
                      <a:cxn ang="0">
                        <a:pos x="connsiteX2" y="connsiteY2"/>
                      </a:cxn>
                      <a:cxn ang="0">
                        <a:pos x="connsiteX3" y="connsiteY3"/>
                      </a:cxn>
                    </a:cxnLst>
                    <a:rect l="l" t="t" r="r" b="b"/>
                    <a:pathLst>
                      <a:path w="9294" h="15699">
                        <a:moveTo>
                          <a:pt x="9294" y="15699"/>
                        </a:moveTo>
                        <a:lnTo>
                          <a:pt x="0" y="10173"/>
                        </a:lnTo>
                        <a:lnTo>
                          <a:pt x="0" y="0"/>
                        </a:lnTo>
                        <a:lnTo>
                          <a:pt x="9294" y="5526"/>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8" name="Freeform: Shape 937">
                    <a:extLst>
                      <a:ext uri="{FF2B5EF4-FFF2-40B4-BE49-F238E27FC236}">
                        <a16:creationId xmlns:a16="http://schemas.microsoft.com/office/drawing/2014/main" id="{1CC97E88-62F3-48FA-B7A1-7483FBFCCBF4}"/>
                      </a:ext>
                    </a:extLst>
                  </p:cNvPr>
                  <p:cNvSpPr/>
                  <p:nvPr/>
                </p:nvSpPr>
                <p:spPr>
                  <a:xfrm>
                    <a:off x="3745114" y="2563993"/>
                    <a:ext cx="9419" cy="15699"/>
                  </a:xfrm>
                  <a:custGeom>
                    <a:avLst/>
                    <a:gdLst>
                      <a:gd name="connsiteX0" fmla="*/ 9294 w 9419"/>
                      <a:gd name="connsiteY0" fmla="*/ 15699 h 15699"/>
                      <a:gd name="connsiteX1" fmla="*/ 0 w 9419"/>
                      <a:gd name="connsiteY1" fmla="*/ 10173 h 15699"/>
                      <a:gd name="connsiteX2" fmla="*/ 126 w 9419"/>
                      <a:gd name="connsiteY2" fmla="*/ 0 h 15699"/>
                      <a:gd name="connsiteX3" fmla="*/ 9420 w 9419"/>
                      <a:gd name="connsiteY3" fmla="*/ 5526 h 15699"/>
                    </a:gdLst>
                    <a:ahLst/>
                    <a:cxnLst>
                      <a:cxn ang="0">
                        <a:pos x="connsiteX0" y="connsiteY0"/>
                      </a:cxn>
                      <a:cxn ang="0">
                        <a:pos x="connsiteX1" y="connsiteY1"/>
                      </a:cxn>
                      <a:cxn ang="0">
                        <a:pos x="connsiteX2" y="connsiteY2"/>
                      </a:cxn>
                      <a:cxn ang="0">
                        <a:pos x="connsiteX3" y="connsiteY3"/>
                      </a:cxn>
                    </a:cxnLst>
                    <a:rect l="l" t="t" r="r" b="b"/>
                    <a:pathLst>
                      <a:path w="9419" h="15699">
                        <a:moveTo>
                          <a:pt x="9294" y="15699"/>
                        </a:moveTo>
                        <a:lnTo>
                          <a:pt x="0" y="10173"/>
                        </a:lnTo>
                        <a:lnTo>
                          <a:pt x="126" y="0"/>
                        </a:lnTo>
                        <a:lnTo>
                          <a:pt x="9420" y="5526"/>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9" name="Freeform: Shape 938">
                    <a:extLst>
                      <a:ext uri="{FF2B5EF4-FFF2-40B4-BE49-F238E27FC236}">
                        <a16:creationId xmlns:a16="http://schemas.microsoft.com/office/drawing/2014/main" id="{9210DCF3-FDF1-4AD5-AD41-EB395798D8BB}"/>
                      </a:ext>
                    </a:extLst>
                  </p:cNvPr>
                  <p:cNvSpPr/>
                  <p:nvPr/>
                </p:nvSpPr>
                <p:spPr>
                  <a:xfrm>
                    <a:off x="3717484" y="2547414"/>
                    <a:ext cx="9545" cy="15950"/>
                  </a:xfrm>
                  <a:custGeom>
                    <a:avLst/>
                    <a:gdLst>
                      <a:gd name="connsiteX0" fmla="*/ 9420 w 9545"/>
                      <a:gd name="connsiteY0" fmla="*/ 15951 h 15950"/>
                      <a:gd name="connsiteX1" fmla="*/ 0 w 9545"/>
                      <a:gd name="connsiteY1" fmla="*/ 10299 h 15950"/>
                      <a:gd name="connsiteX2" fmla="*/ 0 w 9545"/>
                      <a:gd name="connsiteY2" fmla="*/ 0 h 15950"/>
                      <a:gd name="connsiteX3" fmla="*/ 9545 w 9545"/>
                      <a:gd name="connsiteY3" fmla="*/ 5652 h 15950"/>
                    </a:gdLst>
                    <a:ahLst/>
                    <a:cxnLst>
                      <a:cxn ang="0">
                        <a:pos x="connsiteX0" y="connsiteY0"/>
                      </a:cxn>
                      <a:cxn ang="0">
                        <a:pos x="connsiteX1" y="connsiteY1"/>
                      </a:cxn>
                      <a:cxn ang="0">
                        <a:pos x="connsiteX2" y="connsiteY2"/>
                      </a:cxn>
                      <a:cxn ang="0">
                        <a:pos x="connsiteX3" y="connsiteY3"/>
                      </a:cxn>
                    </a:cxnLst>
                    <a:rect l="l" t="t" r="r" b="b"/>
                    <a:pathLst>
                      <a:path w="9545" h="15950">
                        <a:moveTo>
                          <a:pt x="9420" y="15951"/>
                        </a:moveTo>
                        <a:lnTo>
                          <a:pt x="0" y="10299"/>
                        </a:lnTo>
                        <a:lnTo>
                          <a:pt x="0" y="0"/>
                        </a:lnTo>
                        <a:lnTo>
                          <a:pt x="9545" y="5652"/>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0" name="Freeform: Shape 939">
                    <a:extLst>
                      <a:ext uri="{FF2B5EF4-FFF2-40B4-BE49-F238E27FC236}">
                        <a16:creationId xmlns:a16="http://schemas.microsoft.com/office/drawing/2014/main" id="{98E2EEEF-003F-4000-8C12-FB5253EF69C5}"/>
                      </a:ext>
                    </a:extLst>
                  </p:cNvPr>
                  <p:cNvSpPr/>
                  <p:nvPr/>
                </p:nvSpPr>
                <p:spPr>
                  <a:xfrm>
                    <a:off x="3726778" y="2552941"/>
                    <a:ext cx="9419" cy="15824"/>
                  </a:xfrm>
                  <a:custGeom>
                    <a:avLst/>
                    <a:gdLst>
                      <a:gd name="connsiteX0" fmla="*/ 9420 w 9419"/>
                      <a:gd name="connsiteY0" fmla="*/ 15825 h 15824"/>
                      <a:gd name="connsiteX1" fmla="*/ 0 w 9419"/>
                      <a:gd name="connsiteY1" fmla="*/ 10299 h 15824"/>
                      <a:gd name="connsiteX2" fmla="*/ 0 w 9419"/>
                      <a:gd name="connsiteY2" fmla="*/ 0 h 15824"/>
                      <a:gd name="connsiteX3" fmla="*/ 9420 w 9419"/>
                      <a:gd name="connsiteY3" fmla="*/ 5652 h 15824"/>
                    </a:gdLst>
                    <a:ahLst/>
                    <a:cxnLst>
                      <a:cxn ang="0">
                        <a:pos x="connsiteX0" y="connsiteY0"/>
                      </a:cxn>
                      <a:cxn ang="0">
                        <a:pos x="connsiteX1" y="connsiteY1"/>
                      </a:cxn>
                      <a:cxn ang="0">
                        <a:pos x="connsiteX2" y="connsiteY2"/>
                      </a:cxn>
                      <a:cxn ang="0">
                        <a:pos x="connsiteX3" y="connsiteY3"/>
                      </a:cxn>
                    </a:cxnLst>
                    <a:rect l="l" t="t" r="r" b="b"/>
                    <a:pathLst>
                      <a:path w="9419" h="15824">
                        <a:moveTo>
                          <a:pt x="9420" y="15825"/>
                        </a:moveTo>
                        <a:lnTo>
                          <a:pt x="0" y="10299"/>
                        </a:lnTo>
                        <a:lnTo>
                          <a:pt x="0" y="0"/>
                        </a:lnTo>
                        <a:lnTo>
                          <a:pt x="9420" y="5652"/>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1" name="Freeform: Shape 940">
                    <a:extLst>
                      <a:ext uri="{FF2B5EF4-FFF2-40B4-BE49-F238E27FC236}">
                        <a16:creationId xmlns:a16="http://schemas.microsoft.com/office/drawing/2014/main" id="{79A33CB6-C4E8-499B-962D-68865B2D7044}"/>
                      </a:ext>
                    </a:extLst>
                  </p:cNvPr>
                  <p:cNvSpPr/>
                  <p:nvPr/>
                </p:nvSpPr>
                <p:spPr>
                  <a:xfrm>
                    <a:off x="3735946" y="2558467"/>
                    <a:ext cx="9293" cy="15699"/>
                  </a:xfrm>
                  <a:custGeom>
                    <a:avLst/>
                    <a:gdLst>
                      <a:gd name="connsiteX0" fmla="*/ 9294 w 9293"/>
                      <a:gd name="connsiteY0" fmla="*/ 15699 h 15699"/>
                      <a:gd name="connsiteX1" fmla="*/ 0 w 9293"/>
                      <a:gd name="connsiteY1" fmla="*/ 10173 h 15699"/>
                      <a:gd name="connsiteX2" fmla="*/ 0 w 9293"/>
                      <a:gd name="connsiteY2" fmla="*/ 0 h 15699"/>
                      <a:gd name="connsiteX3" fmla="*/ 9294 w 9293"/>
                      <a:gd name="connsiteY3" fmla="*/ 5526 h 15699"/>
                    </a:gdLst>
                    <a:ahLst/>
                    <a:cxnLst>
                      <a:cxn ang="0">
                        <a:pos x="connsiteX0" y="connsiteY0"/>
                      </a:cxn>
                      <a:cxn ang="0">
                        <a:pos x="connsiteX1" y="connsiteY1"/>
                      </a:cxn>
                      <a:cxn ang="0">
                        <a:pos x="connsiteX2" y="connsiteY2"/>
                      </a:cxn>
                      <a:cxn ang="0">
                        <a:pos x="connsiteX3" y="connsiteY3"/>
                      </a:cxn>
                    </a:cxnLst>
                    <a:rect l="l" t="t" r="r" b="b"/>
                    <a:pathLst>
                      <a:path w="9293" h="15699">
                        <a:moveTo>
                          <a:pt x="9294" y="15699"/>
                        </a:moveTo>
                        <a:lnTo>
                          <a:pt x="0" y="10173"/>
                        </a:lnTo>
                        <a:lnTo>
                          <a:pt x="0" y="0"/>
                        </a:lnTo>
                        <a:lnTo>
                          <a:pt x="9294" y="5526"/>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942" name="Freeform: Shape 941">
                <a:extLst>
                  <a:ext uri="{FF2B5EF4-FFF2-40B4-BE49-F238E27FC236}">
                    <a16:creationId xmlns:a16="http://schemas.microsoft.com/office/drawing/2014/main" id="{57C39F87-1E0B-4E2D-B018-7C067EEC4CF3}"/>
                  </a:ext>
                </a:extLst>
              </p:cNvPr>
              <p:cNvSpPr/>
              <p:nvPr/>
            </p:nvSpPr>
            <p:spPr>
              <a:xfrm>
                <a:off x="3719619" y="2391335"/>
                <a:ext cx="74980" cy="91284"/>
              </a:xfrm>
              <a:custGeom>
                <a:avLst/>
                <a:gdLst>
                  <a:gd name="connsiteX0" fmla="*/ 69956 w 74980"/>
                  <a:gd name="connsiteY0" fmla="*/ 90519 h 91284"/>
                  <a:gd name="connsiteX1" fmla="*/ 5275 w 74980"/>
                  <a:gd name="connsiteY1" fmla="*/ 49450 h 91284"/>
                  <a:gd name="connsiteX2" fmla="*/ 0 w 74980"/>
                  <a:gd name="connsiteY2" fmla="*/ 39653 h 91284"/>
                  <a:gd name="connsiteX3" fmla="*/ 126 w 74980"/>
                  <a:gd name="connsiteY3" fmla="*/ 3859 h 91284"/>
                  <a:gd name="connsiteX4" fmla="*/ 5401 w 74980"/>
                  <a:gd name="connsiteY4" fmla="*/ 845 h 91284"/>
                  <a:gd name="connsiteX5" fmla="*/ 69956 w 74980"/>
                  <a:gd name="connsiteY5" fmla="*/ 43044 h 91284"/>
                  <a:gd name="connsiteX6" fmla="*/ 74980 w 74980"/>
                  <a:gd name="connsiteY6" fmla="*/ 52590 h 91284"/>
                  <a:gd name="connsiteX7" fmla="*/ 74980 w 74980"/>
                  <a:gd name="connsiteY7" fmla="*/ 87505 h 91284"/>
                  <a:gd name="connsiteX8" fmla="*/ 69956 w 74980"/>
                  <a:gd name="connsiteY8" fmla="*/ 90519 h 91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80" h="91284">
                    <a:moveTo>
                      <a:pt x="69956" y="90519"/>
                    </a:moveTo>
                    <a:lnTo>
                      <a:pt x="5275" y="49450"/>
                    </a:lnTo>
                    <a:cubicBezTo>
                      <a:pt x="2386" y="47566"/>
                      <a:pt x="0" y="43170"/>
                      <a:pt x="0" y="39653"/>
                    </a:cubicBezTo>
                    <a:lnTo>
                      <a:pt x="126" y="3859"/>
                    </a:lnTo>
                    <a:cubicBezTo>
                      <a:pt x="126" y="342"/>
                      <a:pt x="2512" y="-1039"/>
                      <a:pt x="5401" y="845"/>
                    </a:cubicBezTo>
                    <a:lnTo>
                      <a:pt x="69956" y="43044"/>
                    </a:lnTo>
                    <a:cubicBezTo>
                      <a:pt x="72720" y="44803"/>
                      <a:pt x="74980" y="49073"/>
                      <a:pt x="74980" y="52590"/>
                    </a:cubicBezTo>
                    <a:lnTo>
                      <a:pt x="74980" y="87505"/>
                    </a:lnTo>
                    <a:cubicBezTo>
                      <a:pt x="74980" y="90896"/>
                      <a:pt x="72720" y="92278"/>
                      <a:pt x="69956" y="90519"/>
                    </a:cubicBezTo>
                    <a:close/>
                  </a:path>
                </a:pathLst>
              </a:custGeom>
              <a:solidFill>
                <a:srgbClr val="C6A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3" name="Freeform: Shape 942">
                <a:extLst>
                  <a:ext uri="{FF2B5EF4-FFF2-40B4-BE49-F238E27FC236}">
                    <a16:creationId xmlns:a16="http://schemas.microsoft.com/office/drawing/2014/main" id="{5D2772F4-F8D2-454B-B74B-DBD82643500E}"/>
                  </a:ext>
                </a:extLst>
              </p:cNvPr>
              <p:cNvSpPr/>
              <p:nvPr/>
            </p:nvSpPr>
            <p:spPr>
              <a:xfrm>
                <a:off x="3719619" y="2397957"/>
                <a:ext cx="74980" cy="78119"/>
              </a:xfrm>
              <a:custGeom>
                <a:avLst/>
                <a:gdLst>
                  <a:gd name="connsiteX0" fmla="*/ 74980 w 74980"/>
                  <a:gd name="connsiteY0" fmla="*/ 78120 h 78119"/>
                  <a:gd name="connsiteX1" fmla="*/ 0 w 74980"/>
                  <a:gd name="connsiteY1" fmla="*/ 30268 h 78119"/>
                  <a:gd name="connsiteX2" fmla="*/ 126 w 74980"/>
                  <a:gd name="connsiteY2" fmla="*/ 0 h 78119"/>
                  <a:gd name="connsiteX3" fmla="*/ 74980 w 74980"/>
                  <a:gd name="connsiteY3" fmla="*/ 48605 h 78119"/>
                </a:gdLst>
                <a:ahLst/>
                <a:cxnLst>
                  <a:cxn ang="0">
                    <a:pos x="connsiteX0" y="connsiteY0"/>
                  </a:cxn>
                  <a:cxn ang="0">
                    <a:pos x="connsiteX1" y="connsiteY1"/>
                  </a:cxn>
                  <a:cxn ang="0">
                    <a:pos x="connsiteX2" y="connsiteY2"/>
                  </a:cxn>
                  <a:cxn ang="0">
                    <a:pos x="connsiteX3" y="connsiteY3"/>
                  </a:cxn>
                </a:cxnLst>
                <a:rect l="l" t="t" r="r" b="b"/>
                <a:pathLst>
                  <a:path w="74980" h="78119">
                    <a:moveTo>
                      <a:pt x="74980" y="78120"/>
                    </a:moveTo>
                    <a:lnTo>
                      <a:pt x="0" y="30268"/>
                    </a:lnTo>
                    <a:lnTo>
                      <a:pt x="126" y="0"/>
                    </a:lnTo>
                    <a:lnTo>
                      <a:pt x="74980" y="48605"/>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944" name="Graphic 4">
            <a:extLst>
              <a:ext uri="{FF2B5EF4-FFF2-40B4-BE49-F238E27FC236}">
                <a16:creationId xmlns:a16="http://schemas.microsoft.com/office/drawing/2014/main" id="{84FB7ED1-A2DF-40A1-A747-5F7CF3F14040}"/>
              </a:ext>
            </a:extLst>
          </p:cNvPr>
          <p:cNvGrpSpPr/>
          <p:nvPr/>
        </p:nvGrpSpPr>
        <p:grpSpPr>
          <a:xfrm>
            <a:off x="2870096" y="1155699"/>
            <a:ext cx="1054870" cy="818036"/>
            <a:chOff x="2870096" y="1155699"/>
            <a:chExt cx="1054870" cy="818036"/>
          </a:xfrm>
          <a:solidFill>
            <a:schemeClr val="accent1"/>
          </a:solidFill>
        </p:grpSpPr>
        <p:grpSp>
          <p:nvGrpSpPr>
            <p:cNvPr id="945" name="Graphic 4">
              <a:extLst>
                <a:ext uri="{FF2B5EF4-FFF2-40B4-BE49-F238E27FC236}">
                  <a16:creationId xmlns:a16="http://schemas.microsoft.com/office/drawing/2014/main" id="{84FB7ED1-A2DF-40A1-A747-5F7CF3F14040}"/>
                </a:ext>
              </a:extLst>
            </p:cNvPr>
            <p:cNvGrpSpPr/>
            <p:nvPr/>
          </p:nvGrpSpPr>
          <p:grpSpPr>
            <a:xfrm>
              <a:off x="2870096" y="1155699"/>
              <a:ext cx="780194" cy="704335"/>
              <a:chOff x="2870096" y="1155699"/>
              <a:chExt cx="780194" cy="704335"/>
            </a:xfrm>
            <a:solidFill>
              <a:schemeClr val="accent1"/>
            </a:solidFill>
          </p:grpSpPr>
          <p:sp>
            <p:nvSpPr>
              <p:cNvPr id="946" name="Freeform: Shape 945">
                <a:extLst>
                  <a:ext uri="{FF2B5EF4-FFF2-40B4-BE49-F238E27FC236}">
                    <a16:creationId xmlns:a16="http://schemas.microsoft.com/office/drawing/2014/main" id="{C527E7D7-7578-44C1-8E10-E6E86CD3450E}"/>
                  </a:ext>
                </a:extLst>
              </p:cNvPr>
              <p:cNvSpPr/>
              <p:nvPr/>
            </p:nvSpPr>
            <p:spPr>
              <a:xfrm>
                <a:off x="3294857" y="1668376"/>
                <a:ext cx="256213" cy="148076"/>
              </a:xfrm>
              <a:custGeom>
                <a:avLst/>
                <a:gdLst>
                  <a:gd name="connsiteX0" fmla="*/ 226447 w 256213"/>
                  <a:gd name="connsiteY0" fmla="*/ 0 h 148076"/>
                  <a:gd name="connsiteX1" fmla="*/ 0 w 256213"/>
                  <a:gd name="connsiteY1" fmla="*/ 130870 h 148076"/>
                  <a:gd name="connsiteX2" fmla="*/ 29766 w 256213"/>
                  <a:gd name="connsiteY2" fmla="*/ 148076 h 148076"/>
                  <a:gd name="connsiteX3" fmla="*/ 256213 w 256213"/>
                  <a:gd name="connsiteY3" fmla="*/ 17332 h 148076"/>
                </a:gdLst>
                <a:ahLst/>
                <a:cxnLst>
                  <a:cxn ang="0">
                    <a:pos x="connsiteX0" y="connsiteY0"/>
                  </a:cxn>
                  <a:cxn ang="0">
                    <a:pos x="connsiteX1" y="connsiteY1"/>
                  </a:cxn>
                  <a:cxn ang="0">
                    <a:pos x="connsiteX2" y="connsiteY2"/>
                  </a:cxn>
                  <a:cxn ang="0">
                    <a:pos x="connsiteX3" y="connsiteY3"/>
                  </a:cxn>
                </a:cxnLst>
                <a:rect l="l" t="t" r="r" b="b"/>
                <a:pathLst>
                  <a:path w="256213" h="148076">
                    <a:moveTo>
                      <a:pt x="226447" y="0"/>
                    </a:moveTo>
                    <a:lnTo>
                      <a:pt x="0" y="130870"/>
                    </a:lnTo>
                    <a:lnTo>
                      <a:pt x="29766" y="148076"/>
                    </a:lnTo>
                    <a:lnTo>
                      <a:pt x="256213" y="17332"/>
                    </a:lnTo>
                    <a:close/>
                  </a:path>
                </a:pathLst>
              </a:custGeom>
              <a:solidFill>
                <a:srgbClr val="6F6F7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7" name="Freeform: Shape 946">
                <a:extLst>
                  <a:ext uri="{FF2B5EF4-FFF2-40B4-BE49-F238E27FC236}">
                    <a16:creationId xmlns:a16="http://schemas.microsoft.com/office/drawing/2014/main" id="{9AFA941E-5A5D-4263-BE75-202C78F56B68}"/>
                  </a:ext>
                </a:extLst>
              </p:cNvPr>
              <p:cNvSpPr/>
              <p:nvPr/>
            </p:nvSpPr>
            <p:spPr>
              <a:xfrm>
                <a:off x="3487896" y="1677042"/>
                <a:ext cx="18462" cy="45088"/>
              </a:xfrm>
              <a:custGeom>
                <a:avLst/>
                <a:gdLst>
                  <a:gd name="connsiteX0" fmla="*/ 18462 w 18462"/>
                  <a:gd name="connsiteY0" fmla="*/ 0 h 45088"/>
                  <a:gd name="connsiteX1" fmla="*/ 0 w 18462"/>
                  <a:gd name="connsiteY1" fmla="*/ 10676 h 45088"/>
                  <a:gd name="connsiteX2" fmla="*/ 0 w 18462"/>
                  <a:gd name="connsiteY2" fmla="*/ 45089 h 45088"/>
                  <a:gd name="connsiteX3" fmla="*/ 18462 w 18462"/>
                  <a:gd name="connsiteY3" fmla="*/ 34539 h 45088"/>
                </a:gdLst>
                <a:ahLst/>
                <a:cxnLst>
                  <a:cxn ang="0">
                    <a:pos x="connsiteX0" y="connsiteY0"/>
                  </a:cxn>
                  <a:cxn ang="0">
                    <a:pos x="connsiteX1" y="connsiteY1"/>
                  </a:cxn>
                  <a:cxn ang="0">
                    <a:pos x="connsiteX2" y="connsiteY2"/>
                  </a:cxn>
                  <a:cxn ang="0">
                    <a:pos x="connsiteX3" y="connsiteY3"/>
                  </a:cxn>
                </a:cxnLst>
                <a:rect l="l" t="t" r="r" b="b"/>
                <a:pathLst>
                  <a:path w="18462" h="45088">
                    <a:moveTo>
                      <a:pt x="18462" y="0"/>
                    </a:moveTo>
                    <a:lnTo>
                      <a:pt x="0" y="10676"/>
                    </a:lnTo>
                    <a:lnTo>
                      <a:pt x="0" y="45089"/>
                    </a:lnTo>
                    <a:lnTo>
                      <a:pt x="18462" y="34539"/>
                    </a:lnTo>
                    <a:close/>
                  </a:path>
                </a:pathLst>
              </a:custGeom>
              <a:solidFill>
                <a:srgbClr val="FDE14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8" name="Freeform: Shape 947">
                <a:extLst>
                  <a:ext uri="{FF2B5EF4-FFF2-40B4-BE49-F238E27FC236}">
                    <a16:creationId xmlns:a16="http://schemas.microsoft.com/office/drawing/2014/main" id="{054746B6-283B-4776-8C59-069463882EA0}"/>
                  </a:ext>
                </a:extLst>
              </p:cNvPr>
              <p:cNvSpPr/>
              <p:nvPr/>
            </p:nvSpPr>
            <p:spPr>
              <a:xfrm>
                <a:off x="3440422" y="1704548"/>
                <a:ext cx="18462" cy="44962"/>
              </a:xfrm>
              <a:custGeom>
                <a:avLst/>
                <a:gdLst>
                  <a:gd name="connsiteX0" fmla="*/ 18337 w 18462"/>
                  <a:gd name="connsiteY0" fmla="*/ 0 h 44962"/>
                  <a:gd name="connsiteX1" fmla="*/ 0 w 18462"/>
                  <a:gd name="connsiteY1" fmla="*/ 10550 h 44962"/>
                  <a:gd name="connsiteX2" fmla="*/ 0 w 18462"/>
                  <a:gd name="connsiteY2" fmla="*/ 44963 h 44962"/>
                  <a:gd name="connsiteX3" fmla="*/ 18462 w 18462"/>
                  <a:gd name="connsiteY3" fmla="*/ 34413 h 44962"/>
                </a:gdLst>
                <a:ahLst/>
                <a:cxnLst>
                  <a:cxn ang="0">
                    <a:pos x="connsiteX0" y="connsiteY0"/>
                  </a:cxn>
                  <a:cxn ang="0">
                    <a:pos x="connsiteX1" y="connsiteY1"/>
                  </a:cxn>
                  <a:cxn ang="0">
                    <a:pos x="connsiteX2" y="connsiteY2"/>
                  </a:cxn>
                  <a:cxn ang="0">
                    <a:pos x="connsiteX3" y="connsiteY3"/>
                  </a:cxn>
                </a:cxnLst>
                <a:rect l="l" t="t" r="r" b="b"/>
                <a:pathLst>
                  <a:path w="18462" h="44962">
                    <a:moveTo>
                      <a:pt x="18337" y="0"/>
                    </a:moveTo>
                    <a:lnTo>
                      <a:pt x="0" y="10550"/>
                    </a:lnTo>
                    <a:lnTo>
                      <a:pt x="0" y="44963"/>
                    </a:lnTo>
                    <a:lnTo>
                      <a:pt x="18462" y="34413"/>
                    </a:lnTo>
                    <a:close/>
                  </a:path>
                </a:pathLst>
              </a:custGeom>
              <a:solidFill>
                <a:srgbClr val="FDE14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9" name="Freeform: Shape 948">
                <a:extLst>
                  <a:ext uri="{FF2B5EF4-FFF2-40B4-BE49-F238E27FC236}">
                    <a16:creationId xmlns:a16="http://schemas.microsoft.com/office/drawing/2014/main" id="{B00C9541-D9BD-4AC3-981C-A2E7BA8BF1C4}"/>
                  </a:ext>
                </a:extLst>
              </p:cNvPr>
              <p:cNvSpPr/>
              <p:nvPr/>
            </p:nvSpPr>
            <p:spPr>
              <a:xfrm>
                <a:off x="3392947" y="1731927"/>
                <a:ext cx="18462" cy="45088"/>
              </a:xfrm>
              <a:custGeom>
                <a:avLst/>
                <a:gdLst>
                  <a:gd name="connsiteX0" fmla="*/ 18462 w 18462"/>
                  <a:gd name="connsiteY0" fmla="*/ 0 h 45088"/>
                  <a:gd name="connsiteX1" fmla="*/ 0 w 18462"/>
                  <a:gd name="connsiteY1" fmla="*/ 10550 h 45088"/>
                  <a:gd name="connsiteX2" fmla="*/ 0 w 18462"/>
                  <a:gd name="connsiteY2" fmla="*/ 45089 h 45088"/>
                  <a:gd name="connsiteX3" fmla="*/ 18462 w 18462"/>
                  <a:gd name="connsiteY3" fmla="*/ 34413 h 45088"/>
                </a:gdLst>
                <a:ahLst/>
                <a:cxnLst>
                  <a:cxn ang="0">
                    <a:pos x="connsiteX0" y="connsiteY0"/>
                  </a:cxn>
                  <a:cxn ang="0">
                    <a:pos x="connsiteX1" y="connsiteY1"/>
                  </a:cxn>
                  <a:cxn ang="0">
                    <a:pos x="connsiteX2" y="connsiteY2"/>
                  </a:cxn>
                  <a:cxn ang="0">
                    <a:pos x="connsiteX3" y="connsiteY3"/>
                  </a:cxn>
                </a:cxnLst>
                <a:rect l="l" t="t" r="r" b="b"/>
                <a:pathLst>
                  <a:path w="18462" h="45088">
                    <a:moveTo>
                      <a:pt x="18462" y="0"/>
                    </a:moveTo>
                    <a:lnTo>
                      <a:pt x="0" y="10550"/>
                    </a:lnTo>
                    <a:lnTo>
                      <a:pt x="0" y="45089"/>
                    </a:lnTo>
                    <a:lnTo>
                      <a:pt x="18462" y="34413"/>
                    </a:lnTo>
                    <a:close/>
                  </a:path>
                </a:pathLst>
              </a:custGeom>
              <a:solidFill>
                <a:srgbClr val="FDE14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0" name="Freeform: Shape 949">
                <a:extLst>
                  <a:ext uri="{FF2B5EF4-FFF2-40B4-BE49-F238E27FC236}">
                    <a16:creationId xmlns:a16="http://schemas.microsoft.com/office/drawing/2014/main" id="{A757209A-C82C-48A6-BBEF-96E91290B7CC}"/>
                  </a:ext>
                </a:extLst>
              </p:cNvPr>
              <p:cNvSpPr/>
              <p:nvPr/>
            </p:nvSpPr>
            <p:spPr>
              <a:xfrm>
                <a:off x="3258058" y="1155699"/>
                <a:ext cx="392232" cy="475250"/>
              </a:xfrm>
              <a:custGeom>
                <a:avLst/>
                <a:gdLst>
                  <a:gd name="connsiteX0" fmla="*/ 392233 w 392232"/>
                  <a:gd name="connsiteY0" fmla="*/ 475251 h 475250"/>
                  <a:gd name="connsiteX1" fmla="*/ 199194 w 392232"/>
                  <a:gd name="connsiteY1" fmla="*/ 363848 h 475250"/>
                  <a:gd name="connsiteX2" fmla="*/ 6154 w 392232"/>
                  <a:gd name="connsiteY2" fmla="*/ 252446 h 475250"/>
                  <a:gd name="connsiteX3" fmla="*/ 6154 w 392232"/>
                  <a:gd name="connsiteY3" fmla="*/ 126223 h 475250"/>
                  <a:gd name="connsiteX4" fmla="*/ 0 w 392232"/>
                  <a:gd name="connsiteY4" fmla="*/ 3517 h 475250"/>
                  <a:gd name="connsiteX5" fmla="*/ 6154 w 392232"/>
                  <a:gd name="connsiteY5" fmla="*/ 0 h 475250"/>
                  <a:gd name="connsiteX6" fmla="*/ 199194 w 392232"/>
                  <a:gd name="connsiteY6" fmla="*/ 58276 h 475250"/>
                  <a:gd name="connsiteX7" fmla="*/ 392233 w 392232"/>
                  <a:gd name="connsiteY7" fmla="*/ 222931 h 475250"/>
                  <a:gd name="connsiteX8" fmla="*/ 392233 w 392232"/>
                  <a:gd name="connsiteY8" fmla="*/ 349154 h 47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2232" h="475250">
                    <a:moveTo>
                      <a:pt x="392233" y="475251"/>
                    </a:moveTo>
                    <a:lnTo>
                      <a:pt x="199194" y="363848"/>
                    </a:lnTo>
                    <a:lnTo>
                      <a:pt x="6154" y="252446"/>
                    </a:lnTo>
                    <a:lnTo>
                      <a:pt x="6154" y="126223"/>
                    </a:lnTo>
                    <a:lnTo>
                      <a:pt x="0" y="3517"/>
                    </a:lnTo>
                    <a:lnTo>
                      <a:pt x="6154" y="0"/>
                    </a:lnTo>
                    <a:lnTo>
                      <a:pt x="199194" y="58276"/>
                    </a:lnTo>
                    <a:lnTo>
                      <a:pt x="392233" y="222931"/>
                    </a:lnTo>
                    <a:lnTo>
                      <a:pt x="392233" y="349154"/>
                    </a:lnTo>
                    <a:close/>
                  </a:path>
                </a:pathLst>
              </a:custGeom>
              <a:solidFill>
                <a:srgbClr val="F4F4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1" name="Freeform: Shape 950">
                <a:extLst>
                  <a:ext uri="{FF2B5EF4-FFF2-40B4-BE49-F238E27FC236}">
                    <a16:creationId xmlns:a16="http://schemas.microsoft.com/office/drawing/2014/main" id="{A2E99C1E-779F-452D-BC00-1AC9B4362226}"/>
                  </a:ext>
                </a:extLst>
              </p:cNvPr>
              <p:cNvSpPr/>
              <p:nvPr/>
            </p:nvSpPr>
            <p:spPr>
              <a:xfrm>
                <a:off x="3258058" y="1159215"/>
                <a:ext cx="385952" cy="475376"/>
              </a:xfrm>
              <a:custGeom>
                <a:avLst/>
                <a:gdLst>
                  <a:gd name="connsiteX0" fmla="*/ 385953 w 385952"/>
                  <a:gd name="connsiteY0" fmla="*/ 475376 h 475376"/>
                  <a:gd name="connsiteX1" fmla="*/ 192914 w 385952"/>
                  <a:gd name="connsiteY1" fmla="*/ 363848 h 475376"/>
                  <a:gd name="connsiteX2" fmla="*/ 0 w 385952"/>
                  <a:gd name="connsiteY2" fmla="*/ 252446 h 475376"/>
                  <a:gd name="connsiteX3" fmla="*/ 0 w 385952"/>
                  <a:gd name="connsiteY3" fmla="*/ 126223 h 475376"/>
                  <a:gd name="connsiteX4" fmla="*/ 0 w 385952"/>
                  <a:gd name="connsiteY4" fmla="*/ 0 h 475376"/>
                  <a:gd name="connsiteX5" fmla="*/ 192914 w 385952"/>
                  <a:gd name="connsiteY5" fmla="*/ 58276 h 475376"/>
                  <a:gd name="connsiteX6" fmla="*/ 385953 w 385952"/>
                  <a:gd name="connsiteY6" fmla="*/ 222931 h 475376"/>
                  <a:gd name="connsiteX7" fmla="*/ 385953 w 385952"/>
                  <a:gd name="connsiteY7" fmla="*/ 349154 h 47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5952" h="475376">
                    <a:moveTo>
                      <a:pt x="385953" y="475376"/>
                    </a:moveTo>
                    <a:lnTo>
                      <a:pt x="192914" y="363848"/>
                    </a:lnTo>
                    <a:lnTo>
                      <a:pt x="0" y="252446"/>
                    </a:lnTo>
                    <a:lnTo>
                      <a:pt x="0" y="126223"/>
                    </a:lnTo>
                    <a:lnTo>
                      <a:pt x="0" y="0"/>
                    </a:lnTo>
                    <a:lnTo>
                      <a:pt x="192914" y="58276"/>
                    </a:lnTo>
                    <a:lnTo>
                      <a:pt x="385953" y="222931"/>
                    </a:lnTo>
                    <a:lnTo>
                      <a:pt x="385953" y="349154"/>
                    </a:lnTo>
                    <a:close/>
                  </a:path>
                </a:pathLst>
              </a:custGeom>
              <a:solidFill>
                <a:srgbClr val="CCCCC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2" name="Freeform: Shape 951">
                <a:extLst>
                  <a:ext uri="{FF2B5EF4-FFF2-40B4-BE49-F238E27FC236}">
                    <a16:creationId xmlns:a16="http://schemas.microsoft.com/office/drawing/2014/main" id="{53C933AD-4264-4559-9E6E-97AC96AE3EAB}"/>
                  </a:ext>
                </a:extLst>
              </p:cNvPr>
              <p:cNvSpPr/>
              <p:nvPr/>
            </p:nvSpPr>
            <p:spPr>
              <a:xfrm>
                <a:off x="3256174" y="1399227"/>
                <a:ext cx="394116" cy="460807"/>
              </a:xfrm>
              <a:custGeom>
                <a:avLst/>
                <a:gdLst>
                  <a:gd name="connsiteX0" fmla="*/ 394117 w 394116"/>
                  <a:gd name="connsiteY0" fmla="*/ 0 h 460807"/>
                  <a:gd name="connsiteX1" fmla="*/ 394117 w 394116"/>
                  <a:gd name="connsiteY1" fmla="*/ 233230 h 460807"/>
                  <a:gd name="connsiteX2" fmla="*/ 305070 w 394116"/>
                  <a:gd name="connsiteY2" fmla="*/ 284598 h 460807"/>
                  <a:gd name="connsiteX3" fmla="*/ 298664 w 394116"/>
                  <a:gd name="connsiteY3" fmla="*/ 288366 h 460807"/>
                  <a:gd name="connsiteX4" fmla="*/ 265256 w 394116"/>
                  <a:gd name="connsiteY4" fmla="*/ 269024 h 460807"/>
                  <a:gd name="connsiteX5" fmla="*/ 265131 w 394116"/>
                  <a:gd name="connsiteY5" fmla="*/ 268898 h 460807"/>
                  <a:gd name="connsiteX6" fmla="*/ 115171 w 394116"/>
                  <a:gd name="connsiteY6" fmla="*/ 355559 h 460807"/>
                  <a:gd name="connsiteX7" fmla="*/ 115171 w 394116"/>
                  <a:gd name="connsiteY7" fmla="*/ 394242 h 460807"/>
                  <a:gd name="connsiteX8" fmla="*/ 108765 w 394116"/>
                  <a:gd name="connsiteY8" fmla="*/ 398010 h 460807"/>
                  <a:gd name="connsiteX9" fmla="*/ 6154 w 394116"/>
                  <a:gd name="connsiteY9" fmla="*/ 457165 h 460807"/>
                  <a:gd name="connsiteX10" fmla="*/ 6154 w 394116"/>
                  <a:gd name="connsiteY10" fmla="*/ 457291 h 460807"/>
                  <a:gd name="connsiteX11" fmla="*/ 0 w 394116"/>
                  <a:gd name="connsiteY11" fmla="*/ 460807 h 460807"/>
                  <a:gd name="connsiteX12" fmla="*/ 0 w 394116"/>
                  <a:gd name="connsiteY12" fmla="*/ 227452 h 460807"/>
                  <a:gd name="connsiteX13" fmla="*/ 4145 w 394116"/>
                  <a:gd name="connsiteY13" fmla="*/ 225066 h 460807"/>
                  <a:gd name="connsiteX14" fmla="*/ 6154 w 394116"/>
                  <a:gd name="connsiteY14" fmla="*/ 223936 h 460807"/>
                  <a:gd name="connsiteX15" fmla="*/ 10299 w 394116"/>
                  <a:gd name="connsiteY15" fmla="*/ 221549 h 460807"/>
                  <a:gd name="connsiteX16" fmla="*/ 11806 w 394116"/>
                  <a:gd name="connsiteY16" fmla="*/ 220796 h 460807"/>
                  <a:gd name="connsiteX17" fmla="*/ 42325 w 394116"/>
                  <a:gd name="connsiteY17" fmla="*/ 203087 h 460807"/>
                  <a:gd name="connsiteX18" fmla="*/ 43707 w 394116"/>
                  <a:gd name="connsiteY18" fmla="*/ 202208 h 460807"/>
                  <a:gd name="connsiteX19" fmla="*/ 44837 w 394116"/>
                  <a:gd name="connsiteY19" fmla="*/ 201705 h 460807"/>
                  <a:gd name="connsiteX20" fmla="*/ 46219 w 394116"/>
                  <a:gd name="connsiteY20" fmla="*/ 200826 h 460807"/>
                  <a:gd name="connsiteX21" fmla="*/ 76739 w 394116"/>
                  <a:gd name="connsiteY21" fmla="*/ 183117 h 460807"/>
                  <a:gd name="connsiteX22" fmla="*/ 78246 w 394116"/>
                  <a:gd name="connsiteY22" fmla="*/ 182364 h 460807"/>
                  <a:gd name="connsiteX23" fmla="*/ 79250 w 394116"/>
                  <a:gd name="connsiteY23" fmla="*/ 181736 h 460807"/>
                  <a:gd name="connsiteX24" fmla="*/ 80632 w 394116"/>
                  <a:gd name="connsiteY24" fmla="*/ 180857 h 460807"/>
                  <a:gd name="connsiteX25" fmla="*/ 111277 w 394116"/>
                  <a:gd name="connsiteY25" fmla="*/ 163273 h 460807"/>
                  <a:gd name="connsiteX26" fmla="*/ 112659 w 394116"/>
                  <a:gd name="connsiteY26" fmla="*/ 162394 h 460807"/>
                  <a:gd name="connsiteX27" fmla="*/ 113789 w 394116"/>
                  <a:gd name="connsiteY27" fmla="*/ 161892 h 460807"/>
                  <a:gd name="connsiteX28" fmla="*/ 115171 w 394116"/>
                  <a:gd name="connsiteY28" fmla="*/ 161013 h 460807"/>
                  <a:gd name="connsiteX29" fmla="*/ 145816 w 394116"/>
                  <a:gd name="connsiteY29" fmla="*/ 143304 h 460807"/>
                  <a:gd name="connsiteX30" fmla="*/ 147197 w 394116"/>
                  <a:gd name="connsiteY30" fmla="*/ 142550 h 460807"/>
                  <a:gd name="connsiteX31" fmla="*/ 148202 w 394116"/>
                  <a:gd name="connsiteY31" fmla="*/ 141922 h 460807"/>
                  <a:gd name="connsiteX32" fmla="*/ 149709 w 394116"/>
                  <a:gd name="connsiteY32" fmla="*/ 141043 h 460807"/>
                  <a:gd name="connsiteX33" fmla="*/ 180229 w 394116"/>
                  <a:gd name="connsiteY33" fmla="*/ 123460 h 460807"/>
                  <a:gd name="connsiteX34" fmla="*/ 181736 w 394116"/>
                  <a:gd name="connsiteY34" fmla="*/ 122581 h 460807"/>
                  <a:gd name="connsiteX35" fmla="*/ 182741 w 394116"/>
                  <a:gd name="connsiteY35" fmla="*/ 121953 h 460807"/>
                  <a:gd name="connsiteX36" fmla="*/ 184122 w 394116"/>
                  <a:gd name="connsiteY36" fmla="*/ 121199 h 460807"/>
                  <a:gd name="connsiteX37" fmla="*/ 187262 w 394116"/>
                  <a:gd name="connsiteY37" fmla="*/ 119441 h 460807"/>
                  <a:gd name="connsiteX38" fmla="*/ 193291 w 394116"/>
                  <a:gd name="connsiteY38" fmla="*/ 115924 h 460807"/>
                  <a:gd name="connsiteX39" fmla="*/ 214767 w 394116"/>
                  <a:gd name="connsiteY39" fmla="*/ 103490 h 460807"/>
                  <a:gd name="connsiteX40" fmla="*/ 216149 w 394116"/>
                  <a:gd name="connsiteY40" fmla="*/ 102737 h 460807"/>
                  <a:gd name="connsiteX41" fmla="*/ 217279 w 394116"/>
                  <a:gd name="connsiteY41" fmla="*/ 102109 h 460807"/>
                  <a:gd name="connsiteX42" fmla="*/ 218661 w 394116"/>
                  <a:gd name="connsiteY42" fmla="*/ 101229 h 460807"/>
                  <a:gd name="connsiteX43" fmla="*/ 249306 w 394116"/>
                  <a:gd name="connsiteY43" fmla="*/ 83646 h 460807"/>
                  <a:gd name="connsiteX44" fmla="*/ 250688 w 394116"/>
                  <a:gd name="connsiteY44" fmla="*/ 82767 h 460807"/>
                  <a:gd name="connsiteX45" fmla="*/ 251692 w 394116"/>
                  <a:gd name="connsiteY45" fmla="*/ 82139 h 460807"/>
                  <a:gd name="connsiteX46" fmla="*/ 253199 w 394116"/>
                  <a:gd name="connsiteY46" fmla="*/ 81385 h 460807"/>
                  <a:gd name="connsiteX47" fmla="*/ 283719 w 394116"/>
                  <a:gd name="connsiteY47" fmla="*/ 63677 h 460807"/>
                  <a:gd name="connsiteX48" fmla="*/ 285100 w 394116"/>
                  <a:gd name="connsiteY48" fmla="*/ 62923 h 460807"/>
                  <a:gd name="connsiteX49" fmla="*/ 286231 w 394116"/>
                  <a:gd name="connsiteY49" fmla="*/ 62295 h 460807"/>
                  <a:gd name="connsiteX50" fmla="*/ 287612 w 394116"/>
                  <a:gd name="connsiteY50" fmla="*/ 61416 h 460807"/>
                  <a:gd name="connsiteX51" fmla="*/ 318257 w 394116"/>
                  <a:gd name="connsiteY51" fmla="*/ 43833 h 460807"/>
                  <a:gd name="connsiteX52" fmla="*/ 319639 w 394116"/>
                  <a:gd name="connsiteY52" fmla="*/ 42953 h 460807"/>
                  <a:gd name="connsiteX53" fmla="*/ 320769 w 394116"/>
                  <a:gd name="connsiteY53" fmla="*/ 42325 h 460807"/>
                  <a:gd name="connsiteX54" fmla="*/ 322151 w 394116"/>
                  <a:gd name="connsiteY54" fmla="*/ 41572 h 460807"/>
                  <a:gd name="connsiteX55" fmla="*/ 352670 w 394116"/>
                  <a:gd name="connsiteY55" fmla="*/ 23863 h 460807"/>
                  <a:gd name="connsiteX56" fmla="*/ 354178 w 394116"/>
                  <a:gd name="connsiteY56" fmla="*/ 22984 h 460807"/>
                  <a:gd name="connsiteX57" fmla="*/ 355182 w 394116"/>
                  <a:gd name="connsiteY57" fmla="*/ 22481 h 460807"/>
                  <a:gd name="connsiteX58" fmla="*/ 356689 w 394116"/>
                  <a:gd name="connsiteY58" fmla="*/ 21602 h 460807"/>
                  <a:gd name="connsiteX59" fmla="*/ 387209 w 394116"/>
                  <a:gd name="connsiteY59" fmla="*/ 4019 h 460807"/>
                  <a:gd name="connsiteX60" fmla="*/ 387837 w 394116"/>
                  <a:gd name="connsiteY60" fmla="*/ 3517 h 460807"/>
                  <a:gd name="connsiteX61" fmla="*/ 388590 w 394116"/>
                  <a:gd name="connsiteY61" fmla="*/ 3140 h 460807"/>
                  <a:gd name="connsiteX62" fmla="*/ 389721 w 394116"/>
                  <a:gd name="connsiteY62" fmla="*/ 2512 h 460807"/>
                  <a:gd name="connsiteX63" fmla="*/ 389721 w 394116"/>
                  <a:gd name="connsiteY63" fmla="*/ 2512 h 460807"/>
                  <a:gd name="connsiteX64" fmla="*/ 389846 w 394116"/>
                  <a:gd name="connsiteY64" fmla="*/ 2386 h 46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94116" h="460807">
                    <a:moveTo>
                      <a:pt x="394117" y="0"/>
                    </a:moveTo>
                    <a:lnTo>
                      <a:pt x="394117" y="233230"/>
                    </a:lnTo>
                    <a:lnTo>
                      <a:pt x="305070" y="284598"/>
                    </a:lnTo>
                    <a:lnTo>
                      <a:pt x="298664" y="288366"/>
                    </a:lnTo>
                    <a:lnTo>
                      <a:pt x="265256" y="269024"/>
                    </a:lnTo>
                    <a:lnTo>
                      <a:pt x="265131" y="268898"/>
                    </a:lnTo>
                    <a:lnTo>
                      <a:pt x="115171" y="355559"/>
                    </a:lnTo>
                    <a:lnTo>
                      <a:pt x="115171" y="394242"/>
                    </a:lnTo>
                    <a:lnTo>
                      <a:pt x="108765" y="398010"/>
                    </a:lnTo>
                    <a:lnTo>
                      <a:pt x="6154" y="457165"/>
                    </a:lnTo>
                    <a:lnTo>
                      <a:pt x="6154" y="457291"/>
                    </a:lnTo>
                    <a:lnTo>
                      <a:pt x="0" y="460807"/>
                    </a:lnTo>
                    <a:lnTo>
                      <a:pt x="0" y="227452"/>
                    </a:lnTo>
                    <a:lnTo>
                      <a:pt x="4145" y="225066"/>
                    </a:lnTo>
                    <a:lnTo>
                      <a:pt x="6154" y="223936"/>
                    </a:lnTo>
                    <a:lnTo>
                      <a:pt x="10299" y="221549"/>
                    </a:lnTo>
                    <a:lnTo>
                      <a:pt x="11806" y="220796"/>
                    </a:lnTo>
                    <a:lnTo>
                      <a:pt x="42325" y="203087"/>
                    </a:lnTo>
                    <a:lnTo>
                      <a:pt x="43707" y="202208"/>
                    </a:lnTo>
                    <a:lnTo>
                      <a:pt x="44837" y="201705"/>
                    </a:lnTo>
                    <a:lnTo>
                      <a:pt x="46219" y="200826"/>
                    </a:lnTo>
                    <a:lnTo>
                      <a:pt x="76739" y="183117"/>
                    </a:lnTo>
                    <a:lnTo>
                      <a:pt x="78246" y="182364"/>
                    </a:lnTo>
                    <a:lnTo>
                      <a:pt x="79250" y="181736"/>
                    </a:lnTo>
                    <a:lnTo>
                      <a:pt x="80632" y="180857"/>
                    </a:lnTo>
                    <a:lnTo>
                      <a:pt x="111277" y="163273"/>
                    </a:lnTo>
                    <a:lnTo>
                      <a:pt x="112659" y="162394"/>
                    </a:lnTo>
                    <a:lnTo>
                      <a:pt x="113789" y="161892"/>
                    </a:lnTo>
                    <a:lnTo>
                      <a:pt x="115171" y="161013"/>
                    </a:lnTo>
                    <a:lnTo>
                      <a:pt x="145816" y="143304"/>
                    </a:lnTo>
                    <a:lnTo>
                      <a:pt x="147197" y="142550"/>
                    </a:lnTo>
                    <a:lnTo>
                      <a:pt x="148202" y="141922"/>
                    </a:lnTo>
                    <a:lnTo>
                      <a:pt x="149709" y="141043"/>
                    </a:lnTo>
                    <a:lnTo>
                      <a:pt x="180229" y="123460"/>
                    </a:lnTo>
                    <a:lnTo>
                      <a:pt x="181736" y="122581"/>
                    </a:lnTo>
                    <a:lnTo>
                      <a:pt x="182741" y="121953"/>
                    </a:lnTo>
                    <a:lnTo>
                      <a:pt x="184122" y="121199"/>
                    </a:lnTo>
                    <a:lnTo>
                      <a:pt x="187262" y="119441"/>
                    </a:lnTo>
                    <a:lnTo>
                      <a:pt x="193291" y="115924"/>
                    </a:lnTo>
                    <a:lnTo>
                      <a:pt x="214767" y="103490"/>
                    </a:lnTo>
                    <a:lnTo>
                      <a:pt x="216149" y="102737"/>
                    </a:lnTo>
                    <a:lnTo>
                      <a:pt x="217279" y="102109"/>
                    </a:lnTo>
                    <a:lnTo>
                      <a:pt x="218661" y="101229"/>
                    </a:lnTo>
                    <a:lnTo>
                      <a:pt x="249306" y="83646"/>
                    </a:lnTo>
                    <a:lnTo>
                      <a:pt x="250688" y="82767"/>
                    </a:lnTo>
                    <a:lnTo>
                      <a:pt x="251692" y="82139"/>
                    </a:lnTo>
                    <a:lnTo>
                      <a:pt x="253199" y="81385"/>
                    </a:lnTo>
                    <a:lnTo>
                      <a:pt x="283719" y="63677"/>
                    </a:lnTo>
                    <a:lnTo>
                      <a:pt x="285100" y="62923"/>
                    </a:lnTo>
                    <a:lnTo>
                      <a:pt x="286231" y="62295"/>
                    </a:lnTo>
                    <a:lnTo>
                      <a:pt x="287612" y="61416"/>
                    </a:lnTo>
                    <a:lnTo>
                      <a:pt x="318257" y="43833"/>
                    </a:lnTo>
                    <a:lnTo>
                      <a:pt x="319639" y="42953"/>
                    </a:lnTo>
                    <a:lnTo>
                      <a:pt x="320769" y="42325"/>
                    </a:lnTo>
                    <a:lnTo>
                      <a:pt x="322151" y="41572"/>
                    </a:lnTo>
                    <a:lnTo>
                      <a:pt x="352670" y="23863"/>
                    </a:lnTo>
                    <a:lnTo>
                      <a:pt x="354178" y="22984"/>
                    </a:lnTo>
                    <a:lnTo>
                      <a:pt x="355182" y="22481"/>
                    </a:lnTo>
                    <a:lnTo>
                      <a:pt x="356689" y="21602"/>
                    </a:lnTo>
                    <a:lnTo>
                      <a:pt x="387209" y="4019"/>
                    </a:lnTo>
                    <a:lnTo>
                      <a:pt x="387837" y="3517"/>
                    </a:lnTo>
                    <a:lnTo>
                      <a:pt x="388590" y="3140"/>
                    </a:lnTo>
                    <a:lnTo>
                      <a:pt x="389721" y="2512"/>
                    </a:lnTo>
                    <a:lnTo>
                      <a:pt x="389721" y="2512"/>
                    </a:lnTo>
                    <a:lnTo>
                      <a:pt x="389846" y="2386"/>
                    </a:lnTo>
                    <a:close/>
                  </a:path>
                </a:pathLst>
              </a:custGeom>
              <a:solidFill>
                <a:srgbClr val="F4F4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3" name="Freeform: Shape 952">
                <a:extLst>
                  <a:ext uri="{FF2B5EF4-FFF2-40B4-BE49-F238E27FC236}">
                    <a16:creationId xmlns:a16="http://schemas.microsoft.com/office/drawing/2014/main" id="{DE698709-4220-4DEB-AB62-D70A5A7B500C}"/>
                  </a:ext>
                </a:extLst>
              </p:cNvPr>
              <p:cNvSpPr/>
              <p:nvPr/>
            </p:nvSpPr>
            <p:spPr>
              <a:xfrm>
                <a:off x="3063135" y="1246504"/>
                <a:ext cx="587155" cy="385827"/>
              </a:xfrm>
              <a:custGeom>
                <a:avLst/>
                <a:gdLst>
                  <a:gd name="connsiteX0" fmla="*/ 393112 w 587155"/>
                  <a:gd name="connsiteY0" fmla="*/ 0 h 385827"/>
                  <a:gd name="connsiteX1" fmla="*/ 0 w 587155"/>
                  <a:gd name="connsiteY1" fmla="*/ 228708 h 385827"/>
                  <a:gd name="connsiteX2" fmla="*/ 207734 w 587155"/>
                  <a:gd name="connsiteY2" fmla="*/ 385827 h 385827"/>
                  <a:gd name="connsiteX3" fmla="*/ 587156 w 587155"/>
                  <a:gd name="connsiteY3" fmla="*/ 166790 h 385827"/>
                  <a:gd name="connsiteX4" fmla="*/ 587156 w 587155"/>
                  <a:gd name="connsiteY4" fmla="*/ 158752 h 385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155" h="385827">
                    <a:moveTo>
                      <a:pt x="393112" y="0"/>
                    </a:moveTo>
                    <a:lnTo>
                      <a:pt x="0" y="228708"/>
                    </a:lnTo>
                    <a:lnTo>
                      <a:pt x="207734" y="385827"/>
                    </a:lnTo>
                    <a:lnTo>
                      <a:pt x="587156" y="166790"/>
                    </a:lnTo>
                    <a:lnTo>
                      <a:pt x="587156" y="158752"/>
                    </a:lnTo>
                    <a:close/>
                  </a:path>
                </a:pathLst>
              </a:custGeom>
              <a:solidFill>
                <a:srgbClr val="527C8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4" name="Freeform: Shape 953">
                <a:extLst>
                  <a:ext uri="{FF2B5EF4-FFF2-40B4-BE49-F238E27FC236}">
                    <a16:creationId xmlns:a16="http://schemas.microsoft.com/office/drawing/2014/main" id="{77AF552C-1150-4CCE-82E4-C89E366BEECD}"/>
                  </a:ext>
                </a:extLst>
              </p:cNvPr>
              <p:cNvSpPr/>
              <p:nvPr/>
            </p:nvSpPr>
            <p:spPr>
              <a:xfrm>
                <a:off x="3070922" y="1234446"/>
                <a:ext cx="579368" cy="389846"/>
              </a:xfrm>
              <a:custGeom>
                <a:avLst/>
                <a:gdLst>
                  <a:gd name="connsiteX0" fmla="*/ 579369 w 579368"/>
                  <a:gd name="connsiteY0" fmla="*/ 170809 h 389846"/>
                  <a:gd name="connsiteX1" fmla="*/ 578113 w 579368"/>
                  <a:gd name="connsiteY1" fmla="*/ 171437 h 389846"/>
                  <a:gd name="connsiteX2" fmla="*/ 578113 w 579368"/>
                  <a:gd name="connsiteY2" fmla="*/ 171437 h 389846"/>
                  <a:gd name="connsiteX3" fmla="*/ 576606 w 579368"/>
                  <a:gd name="connsiteY3" fmla="*/ 172316 h 389846"/>
                  <a:gd name="connsiteX4" fmla="*/ 544830 w 579368"/>
                  <a:gd name="connsiteY4" fmla="*/ 190653 h 389846"/>
                  <a:gd name="connsiteX5" fmla="*/ 544830 w 579368"/>
                  <a:gd name="connsiteY5" fmla="*/ 190653 h 389846"/>
                  <a:gd name="connsiteX6" fmla="*/ 543574 w 579368"/>
                  <a:gd name="connsiteY6" fmla="*/ 191406 h 389846"/>
                  <a:gd name="connsiteX7" fmla="*/ 543574 w 579368"/>
                  <a:gd name="connsiteY7" fmla="*/ 191406 h 389846"/>
                  <a:gd name="connsiteX8" fmla="*/ 543449 w 579368"/>
                  <a:gd name="connsiteY8" fmla="*/ 191532 h 389846"/>
                  <a:gd name="connsiteX9" fmla="*/ 542193 w 579368"/>
                  <a:gd name="connsiteY9" fmla="*/ 192160 h 389846"/>
                  <a:gd name="connsiteX10" fmla="*/ 510417 w 579368"/>
                  <a:gd name="connsiteY10" fmla="*/ 210622 h 389846"/>
                  <a:gd name="connsiteX11" fmla="*/ 509161 w 579368"/>
                  <a:gd name="connsiteY11" fmla="*/ 211250 h 389846"/>
                  <a:gd name="connsiteX12" fmla="*/ 509036 w 579368"/>
                  <a:gd name="connsiteY12" fmla="*/ 211250 h 389846"/>
                  <a:gd name="connsiteX13" fmla="*/ 509036 w 579368"/>
                  <a:gd name="connsiteY13" fmla="*/ 211376 h 389846"/>
                  <a:gd name="connsiteX14" fmla="*/ 507654 w 579368"/>
                  <a:gd name="connsiteY14" fmla="*/ 212130 h 389846"/>
                  <a:gd name="connsiteX15" fmla="*/ 475879 w 579368"/>
                  <a:gd name="connsiteY15" fmla="*/ 230466 h 389846"/>
                  <a:gd name="connsiteX16" fmla="*/ 475879 w 579368"/>
                  <a:gd name="connsiteY16" fmla="*/ 230466 h 389846"/>
                  <a:gd name="connsiteX17" fmla="*/ 474623 w 579368"/>
                  <a:gd name="connsiteY17" fmla="*/ 231220 h 389846"/>
                  <a:gd name="connsiteX18" fmla="*/ 474623 w 579368"/>
                  <a:gd name="connsiteY18" fmla="*/ 231220 h 389846"/>
                  <a:gd name="connsiteX19" fmla="*/ 473241 w 579368"/>
                  <a:gd name="connsiteY19" fmla="*/ 231974 h 389846"/>
                  <a:gd name="connsiteX20" fmla="*/ 441340 w 579368"/>
                  <a:gd name="connsiteY20" fmla="*/ 250436 h 389846"/>
                  <a:gd name="connsiteX21" fmla="*/ 441340 w 579368"/>
                  <a:gd name="connsiteY21" fmla="*/ 250436 h 389846"/>
                  <a:gd name="connsiteX22" fmla="*/ 440084 w 579368"/>
                  <a:gd name="connsiteY22" fmla="*/ 251064 h 389846"/>
                  <a:gd name="connsiteX23" fmla="*/ 440084 w 579368"/>
                  <a:gd name="connsiteY23" fmla="*/ 251190 h 389846"/>
                  <a:gd name="connsiteX24" fmla="*/ 438703 w 579368"/>
                  <a:gd name="connsiteY24" fmla="*/ 251943 h 389846"/>
                  <a:gd name="connsiteX25" fmla="*/ 406927 w 579368"/>
                  <a:gd name="connsiteY25" fmla="*/ 270280 h 389846"/>
                  <a:gd name="connsiteX26" fmla="*/ 405671 w 579368"/>
                  <a:gd name="connsiteY26" fmla="*/ 271034 h 389846"/>
                  <a:gd name="connsiteX27" fmla="*/ 405546 w 579368"/>
                  <a:gd name="connsiteY27" fmla="*/ 271034 h 389846"/>
                  <a:gd name="connsiteX28" fmla="*/ 405546 w 579368"/>
                  <a:gd name="connsiteY28" fmla="*/ 271159 h 389846"/>
                  <a:gd name="connsiteX29" fmla="*/ 404290 w 579368"/>
                  <a:gd name="connsiteY29" fmla="*/ 271787 h 389846"/>
                  <a:gd name="connsiteX30" fmla="*/ 372389 w 579368"/>
                  <a:gd name="connsiteY30" fmla="*/ 290250 h 389846"/>
                  <a:gd name="connsiteX31" fmla="*/ 372389 w 579368"/>
                  <a:gd name="connsiteY31" fmla="*/ 290250 h 389846"/>
                  <a:gd name="connsiteX32" fmla="*/ 371133 w 579368"/>
                  <a:gd name="connsiteY32" fmla="*/ 291003 h 389846"/>
                  <a:gd name="connsiteX33" fmla="*/ 371133 w 579368"/>
                  <a:gd name="connsiteY33" fmla="*/ 291003 h 389846"/>
                  <a:gd name="connsiteX34" fmla="*/ 369751 w 579368"/>
                  <a:gd name="connsiteY34" fmla="*/ 291757 h 389846"/>
                  <a:gd name="connsiteX35" fmla="*/ 337976 w 579368"/>
                  <a:gd name="connsiteY35" fmla="*/ 310094 h 389846"/>
                  <a:gd name="connsiteX36" fmla="*/ 337976 w 579368"/>
                  <a:gd name="connsiteY36" fmla="*/ 310094 h 389846"/>
                  <a:gd name="connsiteX37" fmla="*/ 336594 w 579368"/>
                  <a:gd name="connsiteY37" fmla="*/ 310847 h 389846"/>
                  <a:gd name="connsiteX38" fmla="*/ 336594 w 579368"/>
                  <a:gd name="connsiteY38" fmla="*/ 310847 h 389846"/>
                  <a:gd name="connsiteX39" fmla="*/ 335213 w 579368"/>
                  <a:gd name="connsiteY39" fmla="*/ 311726 h 389846"/>
                  <a:gd name="connsiteX40" fmla="*/ 303563 w 579368"/>
                  <a:gd name="connsiteY40" fmla="*/ 329938 h 389846"/>
                  <a:gd name="connsiteX41" fmla="*/ 303437 w 579368"/>
                  <a:gd name="connsiteY41" fmla="*/ 330063 h 389846"/>
                  <a:gd name="connsiteX42" fmla="*/ 302181 w 579368"/>
                  <a:gd name="connsiteY42" fmla="*/ 330817 h 389846"/>
                  <a:gd name="connsiteX43" fmla="*/ 302181 w 579368"/>
                  <a:gd name="connsiteY43" fmla="*/ 330817 h 389846"/>
                  <a:gd name="connsiteX44" fmla="*/ 300800 w 579368"/>
                  <a:gd name="connsiteY44" fmla="*/ 331570 h 389846"/>
                  <a:gd name="connsiteX45" fmla="*/ 268899 w 579368"/>
                  <a:gd name="connsiteY45" fmla="*/ 349907 h 389846"/>
                  <a:gd name="connsiteX46" fmla="*/ 267643 w 579368"/>
                  <a:gd name="connsiteY46" fmla="*/ 350661 h 389846"/>
                  <a:gd name="connsiteX47" fmla="*/ 267643 w 579368"/>
                  <a:gd name="connsiteY47" fmla="*/ 350661 h 389846"/>
                  <a:gd name="connsiteX48" fmla="*/ 266261 w 579368"/>
                  <a:gd name="connsiteY48" fmla="*/ 351540 h 389846"/>
                  <a:gd name="connsiteX49" fmla="*/ 234486 w 579368"/>
                  <a:gd name="connsiteY49" fmla="*/ 369877 h 389846"/>
                  <a:gd name="connsiteX50" fmla="*/ 234486 w 579368"/>
                  <a:gd name="connsiteY50" fmla="*/ 369877 h 389846"/>
                  <a:gd name="connsiteX51" fmla="*/ 233230 w 579368"/>
                  <a:gd name="connsiteY51" fmla="*/ 370630 h 389846"/>
                  <a:gd name="connsiteX52" fmla="*/ 231723 w 579368"/>
                  <a:gd name="connsiteY52" fmla="*/ 371384 h 389846"/>
                  <a:gd name="connsiteX53" fmla="*/ 199947 w 579368"/>
                  <a:gd name="connsiteY53" fmla="*/ 389721 h 389846"/>
                  <a:gd name="connsiteX54" fmla="*/ 199947 w 579368"/>
                  <a:gd name="connsiteY54" fmla="*/ 389846 h 389846"/>
                  <a:gd name="connsiteX55" fmla="*/ 197435 w 579368"/>
                  <a:gd name="connsiteY55" fmla="*/ 387962 h 389846"/>
                  <a:gd name="connsiteX56" fmla="*/ 197310 w 579368"/>
                  <a:gd name="connsiteY56" fmla="*/ 387837 h 389846"/>
                  <a:gd name="connsiteX57" fmla="*/ 251 w 579368"/>
                  <a:gd name="connsiteY57" fmla="*/ 219791 h 389846"/>
                  <a:gd name="connsiteX58" fmla="*/ 0 w 579368"/>
                  <a:gd name="connsiteY58" fmla="*/ 219665 h 389846"/>
                  <a:gd name="connsiteX59" fmla="*/ 754 w 579368"/>
                  <a:gd name="connsiteY59" fmla="*/ 219163 h 389846"/>
                  <a:gd name="connsiteX60" fmla="*/ 1382 w 579368"/>
                  <a:gd name="connsiteY60" fmla="*/ 218786 h 389846"/>
                  <a:gd name="connsiteX61" fmla="*/ 33785 w 579368"/>
                  <a:gd name="connsiteY61" fmla="*/ 199947 h 389846"/>
                  <a:gd name="connsiteX62" fmla="*/ 33785 w 579368"/>
                  <a:gd name="connsiteY62" fmla="*/ 199947 h 389846"/>
                  <a:gd name="connsiteX63" fmla="*/ 34288 w 579368"/>
                  <a:gd name="connsiteY63" fmla="*/ 199696 h 389846"/>
                  <a:gd name="connsiteX64" fmla="*/ 35041 w 579368"/>
                  <a:gd name="connsiteY64" fmla="*/ 199193 h 389846"/>
                  <a:gd name="connsiteX65" fmla="*/ 35669 w 579368"/>
                  <a:gd name="connsiteY65" fmla="*/ 198817 h 389846"/>
                  <a:gd name="connsiteX66" fmla="*/ 67947 w 579368"/>
                  <a:gd name="connsiteY66" fmla="*/ 180103 h 389846"/>
                  <a:gd name="connsiteX67" fmla="*/ 68575 w 579368"/>
                  <a:gd name="connsiteY67" fmla="*/ 179726 h 389846"/>
                  <a:gd name="connsiteX68" fmla="*/ 69203 w 579368"/>
                  <a:gd name="connsiteY68" fmla="*/ 179349 h 389846"/>
                  <a:gd name="connsiteX69" fmla="*/ 69329 w 579368"/>
                  <a:gd name="connsiteY69" fmla="*/ 179349 h 389846"/>
                  <a:gd name="connsiteX70" fmla="*/ 69956 w 579368"/>
                  <a:gd name="connsiteY70" fmla="*/ 178847 h 389846"/>
                  <a:gd name="connsiteX71" fmla="*/ 102234 w 579368"/>
                  <a:gd name="connsiteY71" fmla="*/ 160133 h 389846"/>
                  <a:gd name="connsiteX72" fmla="*/ 102862 w 579368"/>
                  <a:gd name="connsiteY72" fmla="*/ 159757 h 389846"/>
                  <a:gd name="connsiteX73" fmla="*/ 103490 w 579368"/>
                  <a:gd name="connsiteY73" fmla="*/ 159380 h 389846"/>
                  <a:gd name="connsiteX74" fmla="*/ 103616 w 579368"/>
                  <a:gd name="connsiteY74" fmla="*/ 159380 h 389846"/>
                  <a:gd name="connsiteX75" fmla="*/ 104244 w 579368"/>
                  <a:gd name="connsiteY75" fmla="*/ 158877 h 389846"/>
                  <a:gd name="connsiteX76" fmla="*/ 136522 w 579368"/>
                  <a:gd name="connsiteY76" fmla="*/ 140164 h 389846"/>
                  <a:gd name="connsiteX77" fmla="*/ 137150 w 579368"/>
                  <a:gd name="connsiteY77" fmla="*/ 139787 h 389846"/>
                  <a:gd name="connsiteX78" fmla="*/ 137150 w 579368"/>
                  <a:gd name="connsiteY78" fmla="*/ 139787 h 389846"/>
                  <a:gd name="connsiteX79" fmla="*/ 137778 w 579368"/>
                  <a:gd name="connsiteY79" fmla="*/ 139410 h 389846"/>
                  <a:gd name="connsiteX80" fmla="*/ 137778 w 579368"/>
                  <a:gd name="connsiteY80" fmla="*/ 139410 h 389846"/>
                  <a:gd name="connsiteX81" fmla="*/ 138531 w 579368"/>
                  <a:gd name="connsiteY81" fmla="*/ 138908 h 389846"/>
                  <a:gd name="connsiteX82" fmla="*/ 170683 w 579368"/>
                  <a:gd name="connsiteY82" fmla="*/ 120320 h 389846"/>
                  <a:gd name="connsiteX83" fmla="*/ 170683 w 579368"/>
                  <a:gd name="connsiteY83" fmla="*/ 120320 h 389846"/>
                  <a:gd name="connsiteX84" fmla="*/ 171563 w 579368"/>
                  <a:gd name="connsiteY84" fmla="*/ 119817 h 389846"/>
                  <a:gd name="connsiteX85" fmla="*/ 171939 w 579368"/>
                  <a:gd name="connsiteY85" fmla="*/ 119566 h 389846"/>
                  <a:gd name="connsiteX86" fmla="*/ 172944 w 579368"/>
                  <a:gd name="connsiteY86" fmla="*/ 118938 h 389846"/>
                  <a:gd name="connsiteX87" fmla="*/ 204971 w 579368"/>
                  <a:gd name="connsiteY87" fmla="*/ 100350 h 389846"/>
                  <a:gd name="connsiteX88" fmla="*/ 205724 w 579368"/>
                  <a:gd name="connsiteY88" fmla="*/ 99848 h 389846"/>
                  <a:gd name="connsiteX89" fmla="*/ 206227 w 579368"/>
                  <a:gd name="connsiteY89" fmla="*/ 99597 h 389846"/>
                  <a:gd name="connsiteX90" fmla="*/ 207231 w 579368"/>
                  <a:gd name="connsiteY90" fmla="*/ 99094 h 389846"/>
                  <a:gd name="connsiteX91" fmla="*/ 239258 w 579368"/>
                  <a:gd name="connsiteY91" fmla="*/ 80381 h 389846"/>
                  <a:gd name="connsiteX92" fmla="*/ 240137 w 579368"/>
                  <a:gd name="connsiteY92" fmla="*/ 79878 h 389846"/>
                  <a:gd name="connsiteX93" fmla="*/ 240514 w 579368"/>
                  <a:gd name="connsiteY93" fmla="*/ 79627 h 389846"/>
                  <a:gd name="connsiteX94" fmla="*/ 240514 w 579368"/>
                  <a:gd name="connsiteY94" fmla="*/ 79627 h 389846"/>
                  <a:gd name="connsiteX95" fmla="*/ 241519 w 579368"/>
                  <a:gd name="connsiteY95" fmla="*/ 79125 h 389846"/>
                  <a:gd name="connsiteX96" fmla="*/ 273420 w 579368"/>
                  <a:gd name="connsiteY96" fmla="*/ 60537 h 389846"/>
                  <a:gd name="connsiteX97" fmla="*/ 273420 w 579368"/>
                  <a:gd name="connsiteY97" fmla="*/ 60537 h 389846"/>
                  <a:gd name="connsiteX98" fmla="*/ 274425 w 579368"/>
                  <a:gd name="connsiteY98" fmla="*/ 59909 h 389846"/>
                  <a:gd name="connsiteX99" fmla="*/ 274676 w 579368"/>
                  <a:gd name="connsiteY99" fmla="*/ 59783 h 389846"/>
                  <a:gd name="connsiteX100" fmla="*/ 275806 w 579368"/>
                  <a:gd name="connsiteY100" fmla="*/ 59155 h 389846"/>
                  <a:gd name="connsiteX101" fmla="*/ 307707 w 579368"/>
                  <a:gd name="connsiteY101" fmla="*/ 40567 h 389846"/>
                  <a:gd name="connsiteX102" fmla="*/ 308712 w 579368"/>
                  <a:gd name="connsiteY102" fmla="*/ 39939 h 389846"/>
                  <a:gd name="connsiteX103" fmla="*/ 308963 w 579368"/>
                  <a:gd name="connsiteY103" fmla="*/ 39814 h 389846"/>
                  <a:gd name="connsiteX104" fmla="*/ 308963 w 579368"/>
                  <a:gd name="connsiteY104" fmla="*/ 39814 h 389846"/>
                  <a:gd name="connsiteX105" fmla="*/ 310094 w 579368"/>
                  <a:gd name="connsiteY105" fmla="*/ 39186 h 389846"/>
                  <a:gd name="connsiteX106" fmla="*/ 341869 w 579368"/>
                  <a:gd name="connsiteY106" fmla="*/ 20598 h 389846"/>
                  <a:gd name="connsiteX107" fmla="*/ 341995 w 579368"/>
                  <a:gd name="connsiteY107" fmla="*/ 20598 h 389846"/>
                  <a:gd name="connsiteX108" fmla="*/ 342999 w 579368"/>
                  <a:gd name="connsiteY108" fmla="*/ 19970 h 389846"/>
                  <a:gd name="connsiteX109" fmla="*/ 343251 w 579368"/>
                  <a:gd name="connsiteY109" fmla="*/ 19844 h 389846"/>
                  <a:gd name="connsiteX110" fmla="*/ 344381 w 579368"/>
                  <a:gd name="connsiteY110" fmla="*/ 19216 h 389846"/>
                  <a:gd name="connsiteX111" fmla="*/ 376157 w 579368"/>
                  <a:gd name="connsiteY111" fmla="*/ 754 h 389846"/>
                  <a:gd name="connsiteX112" fmla="*/ 377287 w 579368"/>
                  <a:gd name="connsiteY112" fmla="*/ 0 h 389846"/>
                  <a:gd name="connsiteX113" fmla="*/ 377413 w 579368"/>
                  <a:gd name="connsiteY113" fmla="*/ 0 h 389846"/>
                  <a:gd name="connsiteX114" fmla="*/ 377538 w 579368"/>
                  <a:gd name="connsiteY114" fmla="*/ 0 h 389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79368" h="389846">
                    <a:moveTo>
                      <a:pt x="579369" y="170809"/>
                    </a:moveTo>
                    <a:lnTo>
                      <a:pt x="578113" y="171437"/>
                    </a:lnTo>
                    <a:lnTo>
                      <a:pt x="578113" y="171437"/>
                    </a:lnTo>
                    <a:lnTo>
                      <a:pt x="576606" y="172316"/>
                    </a:lnTo>
                    <a:lnTo>
                      <a:pt x="544830" y="190653"/>
                    </a:lnTo>
                    <a:lnTo>
                      <a:pt x="544830" y="190653"/>
                    </a:lnTo>
                    <a:lnTo>
                      <a:pt x="543574" y="191406"/>
                    </a:lnTo>
                    <a:lnTo>
                      <a:pt x="543574" y="191406"/>
                    </a:lnTo>
                    <a:lnTo>
                      <a:pt x="543449" y="191532"/>
                    </a:lnTo>
                    <a:lnTo>
                      <a:pt x="542193" y="192160"/>
                    </a:lnTo>
                    <a:lnTo>
                      <a:pt x="510417" y="210622"/>
                    </a:lnTo>
                    <a:lnTo>
                      <a:pt x="509161" y="211250"/>
                    </a:lnTo>
                    <a:lnTo>
                      <a:pt x="509036" y="211250"/>
                    </a:lnTo>
                    <a:lnTo>
                      <a:pt x="509036" y="211376"/>
                    </a:lnTo>
                    <a:lnTo>
                      <a:pt x="507654" y="212130"/>
                    </a:lnTo>
                    <a:lnTo>
                      <a:pt x="475879" y="230466"/>
                    </a:lnTo>
                    <a:lnTo>
                      <a:pt x="475879" y="230466"/>
                    </a:lnTo>
                    <a:lnTo>
                      <a:pt x="474623" y="231220"/>
                    </a:lnTo>
                    <a:lnTo>
                      <a:pt x="474623" y="231220"/>
                    </a:lnTo>
                    <a:lnTo>
                      <a:pt x="473241" y="231974"/>
                    </a:lnTo>
                    <a:lnTo>
                      <a:pt x="441340" y="250436"/>
                    </a:lnTo>
                    <a:lnTo>
                      <a:pt x="441340" y="250436"/>
                    </a:lnTo>
                    <a:lnTo>
                      <a:pt x="440084" y="251064"/>
                    </a:lnTo>
                    <a:lnTo>
                      <a:pt x="440084" y="251190"/>
                    </a:lnTo>
                    <a:lnTo>
                      <a:pt x="438703" y="251943"/>
                    </a:lnTo>
                    <a:lnTo>
                      <a:pt x="406927" y="270280"/>
                    </a:lnTo>
                    <a:lnTo>
                      <a:pt x="405671" y="271034"/>
                    </a:lnTo>
                    <a:lnTo>
                      <a:pt x="405546" y="271034"/>
                    </a:lnTo>
                    <a:lnTo>
                      <a:pt x="405546" y="271159"/>
                    </a:lnTo>
                    <a:lnTo>
                      <a:pt x="404290" y="271787"/>
                    </a:lnTo>
                    <a:lnTo>
                      <a:pt x="372389" y="290250"/>
                    </a:lnTo>
                    <a:lnTo>
                      <a:pt x="372389" y="290250"/>
                    </a:lnTo>
                    <a:lnTo>
                      <a:pt x="371133" y="291003"/>
                    </a:lnTo>
                    <a:lnTo>
                      <a:pt x="371133" y="291003"/>
                    </a:lnTo>
                    <a:lnTo>
                      <a:pt x="369751" y="291757"/>
                    </a:lnTo>
                    <a:lnTo>
                      <a:pt x="337976" y="310094"/>
                    </a:lnTo>
                    <a:lnTo>
                      <a:pt x="337976" y="310094"/>
                    </a:lnTo>
                    <a:lnTo>
                      <a:pt x="336594" y="310847"/>
                    </a:lnTo>
                    <a:lnTo>
                      <a:pt x="336594" y="310847"/>
                    </a:lnTo>
                    <a:lnTo>
                      <a:pt x="335213" y="311726"/>
                    </a:lnTo>
                    <a:lnTo>
                      <a:pt x="303563" y="329938"/>
                    </a:lnTo>
                    <a:lnTo>
                      <a:pt x="303437" y="330063"/>
                    </a:lnTo>
                    <a:lnTo>
                      <a:pt x="302181" y="330817"/>
                    </a:lnTo>
                    <a:lnTo>
                      <a:pt x="302181" y="330817"/>
                    </a:lnTo>
                    <a:lnTo>
                      <a:pt x="300800" y="331570"/>
                    </a:lnTo>
                    <a:lnTo>
                      <a:pt x="268899" y="349907"/>
                    </a:lnTo>
                    <a:lnTo>
                      <a:pt x="267643" y="350661"/>
                    </a:lnTo>
                    <a:lnTo>
                      <a:pt x="267643" y="350661"/>
                    </a:lnTo>
                    <a:lnTo>
                      <a:pt x="266261" y="351540"/>
                    </a:lnTo>
                    <a:lnTo>
                      <a:pt x="234486" y="369877"/>
                    </a:lnTo>
                    <a:lnTo>
                      <a:pt x="234486" y="369877"/>
                    </a:lnTo>
                    <a:lnTo>
                      <a:pt x="233230" y="370630"/>
                    </a:lnTo>
                    <a:lnTo>
                      <a:pt x="231723" y="371384"/>
                    </a:lnTo>
                    <a:lnTo>
                      <a:pt x="199947" y="389721"/>
                    </a:lnTo>
                    <a:lnTo>
                      <a:pt x="199947" y="389846"/>
                    </a:lnTo>
                    <a:lnTo>
                      <a:pt x="197435" y="387962"/>
                    </a:lnTo>
                    <a:lnTo>
                      <a:pt x="197310" y="387837"/>
                    </a:lnTo>
                    <a:lnTo>
                      <a:pt x="251" y="219791"/>
                    </a:lnTo>
                    <a:lnTo>
                      <a:pt x="0" y="219665"/>
                    </a:lnTo>
                    <a:lnTo>
                      <a:pt x="754" y="219163"/>
                    </a:lnTo>
                    <a:lnTo>
                      <a:pt x="1382" y="218786"/>
                    </a:lnTo>
                    <a:lnTo>
                      <a:pt x="33785" y="199947"/>
                    </a:lnTo>
                    <a:lnTo>
                      <a:pt x="33785" y="199947"/>
                    </a:lnTo>
                    <a:lnTo>
                      <a:pt x="34288" y="199696"/>
                    </a:lnTo>
                    <a:lnTo>
                      <a:pt x="35041" y="199193"/>
                    </a:lnTo>
                    <a:lnTo>
                      <a:pt x="35669" y="198817"/>
                    </a:lnTo>
                    <a:lnTo>
                      <a:pt x="67947" y="180103"/>
                    </a:lnTo>
                    <a:lnTo>
                      <a:pt x="68575" y="179726"/>
                    </a:lnTo>
                    <a:lnTo>
                      <a:pt x="69203" y="179349"/>
                    </a:lnTo>
                    <a:lnTo>
                      <a:pt x="69329" y="179349"/>
                    </a:lnTo>
                    <a:lnTo>
                      <a:pt x="69956" y="178847"/>
                    </a:lnTo>
                    <a:lnTo>
                      <a:pt x="102234" y="160133"/>
                    </a:lnTo>
                    <a:lnTo>
                      <a:pt x="102862" y="159757"/>
                    </a:lnTo>
                    <a:lnTo>
                      <a:pt x="103490" y="159380"/>
                    </a:lnTo>
                    <a:lnTo>
                      <a:pt x="103616" y="159380"/>
                    </a:lnTo>
                    <a:lnTo>
                      <a:pt x="104244" y="158877"/>
                    </a:lnTo>
                    <a:lnTo>
                      <a:pt x="136522" y="140164"/>
                    </a:lnTo>
                    <a:lnTo>
                      <a:pt x="137150" y="139787"/>
                    </a:lnTo>
                    <a:lnTo>
                      <a:pt x="137150" y="139787"/>
                    </a:lnTo>
                    <a:lnTo>
                      <a:pt x="137778" y="139410"/>
                    </a:lnTo>
                    <a:lnTo>
                      <a:pt x="137778" y="139410"/>
                    </a:lnTo>
                    <a:lnTo>
                      <a:pt x="138531" y="138908"/>
                    </a:lnTo>
                    <a:lnTo>
                      <a:pt x="170683" y="120320"/>
                    </a:lnTo>
                    <a:lnTo>
                      <a:pt x="170683" y="120320"/>
                    </a:lnTo>
                    <a:lnTo>
                      <a:pt x="171563" y="119817"/>
                    </a:lnTo>
                    <a:lnTo>
                      <a:pt x="171939" y="119566"/>
                    </a:lnTo>
                    <a:lnTo>
                      <a:pt x="172944" y="118938"/>
                    </a:lnTo>
                    <a:lnTo>
                      <a:pt x="204971" y="100350"/>
                    </a:lnTo>
                    <a:lnTo>
                      <a:pt x="205724" y="99848"/>
                    </a:lnTo>
                    <a:lnTo>
                      <a:pt x="206227" y="99597"/>
                    </a:lnTo>
                    <a:lnTo>
                      <a:pt x="207231" y="99094"/>
                    </a:lnTo>
                    <a:lnTo>
                      <a:pt x="239258" y="80381"/>
                    </a:lnTo>
                    <a:lnTo>
                      <a:pt x="240137" y="79878"/>
                    </a:lnTo>
                    <a:lnTo>
                      <a:pt x="240514" y="79627"/>
                    </a:lnTo>
                    <a:lnTo>
                      <a:pt x="240514" y="79627"/>
                    </a:lnTo>
                    <a:lnTo>
                      <a:pt x="241519" y="79125"/>
                    </a:lnTo>
                    <a:lnTo>
                      <a:pt x="273420" y="60537"/>
                    </a:lnTo>
                    <a:lnTo>
                      <a:pt x="273420" y="60537"/>
                    </a:lnTo>
                    <a:lnTo>
                      <a:pt x="274425" y="59909"/>
                    </a:lnTo>
                    <a:lnTo>
                      <a:pt x="274676" y="59783"/>
                    </a:lnTo>
                    <a:lnTo>
                      <a:pt x="275806" y="59155"/>
                    </a:lnTo>
                    <a:lnTo>
                      <a:pt x="307707" y="40567"/>
                    </a:lnTo>
                    <a:lnTo>
                      <a:pt x="308712" y="39939"/>
                    </a:lnTo>
                    <a:lnTo>
                      <a:pt x="308963" y="39814"/>
                    </a:lnTo>
                    <a:lnTo>
                      <a:pt x="308963" y="39814"/>
                    </a:lnTo>
                    <a:lnTo>
                      <a:pt x="310094" y="39186"/>
                    </a:lnTo>
                    <a:lnTo>
                      <a:pt x="341869" y="20598"/>
                    </a:lnTo>
                    <a:lnTo>
                      <a:pt x="341995" y="20598"/>
                    </a:lnTo>
                    <a:lnTo>
                      <a:pt x="342999" y="19970"/>
                    </a:lnTo>
                    <a:lnTo>
                      <a:pt x="343251" y="19844"/>
                    </a:lnTo>
                    <a:lnTo>
                      <a:pt x="344381" y="19216"/>
                    </a:lnTo>
                    <a:lnTo>
                      <a:pt x="376157" y="754"/>
                    </a:lnTo>
                    <a:lnTo>
                      <a:pt x="377287" y="0"/>
                    </a:lnTo>
                    <a:lnTo>
                      <a:pt x="377413" y="0"/>
                    </a:lnTo>
                    <a:lnTo>
                      <a:pt x="377538" y="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5" name="Freeform: Shape 954">
                <a:extLst>
                  <a:ext uri="{FF2B5EF4-FFF2-40B4-BE49-F238E27FC236}">
                    <a16:creationId xmlns:a16="http://schemas.microsoft.com/office/drawing/2014/main" id="{16BF2A0C-29A6-4D6B-B131-502C39BE10FE}"/>
                  </a:ext>
                </a:extLst>
              </p:cNvPr>
              <p:cNvSpPr/>
              <p:nvPr/>
            </p:nvSpPr>
            <p:spPr>
              <a:xfrm>
                <a:off x="2874868" y="1177050"/>
                <a:ext cx="573465" cy="286104"/>
              </a:xfrm>
              <a:custGeom>
                <a:avLst/>
                <a:gdLst>
                  <a:gd name="connsiteX0" fmla="*/ 573466 w 573465"/>
                  <a:gd name="connsiteY0" fmla="*/ 57397 h 286104"/>
                  <a:gd name="connsiteX1" fmla="*/ 571959 w 573465"/>
                  <a:gd name="connsiteY1" fmla="*/ 58276 h 286104"/>
                  <a:gd name="connsiteX2" fmla="*/ 539304 w 573465"/>
                  <a:gd name="connsiteY2" fmla="*/ 77241 h 286104"/>
                  <a:gd name="connsiteX3" fmla="*/ 537671 w 573465"/>
                  <a:gd name="connsiteY3" fmla="*/ 78246 h 286104"/>
                  <a:gd name="connsiteX4" fmla="*/ 505017 w 573465"/>
                  <a:gd name="connsiteY4" fmla="*/ 97210 h 286104"/>
                  <a:gd name="connsiteX5" fmla="*/ 503259 w 573465"/>
                  <a:gd name="connsiteY5" fmla="*/ 98215 h 286104"/>
                  <a:gd name="connsiteX6" fmla="*/ 470729 w 573465"/>
                  <a:gd name="connsiteY6" fmla="*/ 117180 h 286104"/>
                  <a:gd name="connsiteX7" fmla="*/ 468971 w 573465"/>
                  <a:gd name="connsiteY7" fmla="*/ 118185 h 286104"/>
                  <a:gd name="connsiteX8" fmla="*/ 468971 w 573465"/>
                  <a:gd name="connsiteY8" fmla="*/ 118185 h 286104"/>
                  <a:gd name="connsiteX9" fmla="*/ 436442 w 573465"/>
                  <a:gd name="connsiteY9" fmla="*/ 137150 h 286104"/>
                  <a:gd name="connsiteX10" fmla="*/ 434683 w 573465"/>
                  <a:gd name="connsiteY10" fmla="*/ 138154 h 286104"/>
                  <a:gd name="connsiteX11" fmla="*/ 402154 w 573465"/>
                  <a:gd name="connsiteY11" fmla="*/ 157119 h 286104"/>
                  <a:gd name="connsiteX12" fmla="*/ 400396 w 573465"/>
                  <a:gd name="connsiteY12" fmla="*/ 158124 h 286104"/>
                  <a:gd name="connsiteX13" fmla="*/ 367867 w 573465"/>
                  <a:gd name="connsiteY13" fmla="*/ 176963 h 286104"/>
                  <a:gd name="connsiteX14" fmla="*/ 366109 w 573465"/>
                  <a:gd name="connsiteY14" fmla="*/ 178093 h 286104"/>
                  <a:gd name="connsiteX15" fmla="*/ 333580 w 573465"/>
                  <a:gd name="connsiteY15" fmla="*/ 196933 h 286104"/>
                  <a:gd name="connsiteX16" fmla="*/ 331821 w 573465"/>
                  <a:gd name="connsiteY16" fmla="*/ 198063 h 286104"/>
                  <a:gd name="connsiteX17" fmla="*/ 299292 w 573465"/>
                  <a:gd name="connsiteY17" fmla="*/ 216902 h 286104"/>
                  <a:gd name="connsiteX18" fmla="*/ 297534 w 573465"/>
                  <a:gd name="connsiteY18" fmla="*/ 218033 h 286104"/>
                  <a:gd name="connsiteX19" fmla="*/ 265005 w 573465"/>
                  <a:gd name="connsiteY19" fmla="*/ 236872 h 286104"/>
                  <a:gd name="connsiteX20" fmla="*/ 263121 w 573465"/>
                  <a:gd name="connsiteY20" fmla="*/ 238002 h 286104"/>
                  <a:gd name="connsiteX21" fmla="*/ 230843 w 573465"/>
                  <a:gd name="connsiteY21" fmla="*/ 256841 h 286104"/>
                  <a:gd name="connsiteX22" fmla="*/ 230718 w 573465"/>
                  <a:gd name="connsiteY22" fmla="*/ 256841 h 286104"/>
                  <a:gd name="connsiteX23" fmla="*/ 228834 w 573465"/>
                  <a:gd name="connsiteY23" fmla="*/ 257972 h 286104"/>
                  <a:gd name="connsiteX24" fmla="*/ 196556 w 573465"/>
                  <a:gd name="connsiteY24" fmla="*/ 276811 h 286104"/>
                  <a:gd name="connsiteX25" fmla="*/ 194546 w 573465"/>
                  <a:gd name="connsiteY25" fmla="*/ 277941 h 286104"/>
                  <a:gd name="connsiteX26" fmla="*/ 180354 w 573465"/>
                  <a:gd name="connsiteY26" fmla="*/ 286105 h 286104"/>
                  <a:gd name="connsiteX27" fmla="*/ 0 w 573465"/>
                  <a:gd name="connsiteY27" fmla="*/ 220168 h 286104"/>
                  <a:gd name="connsiteX28" fmla="*/ 2763 w 573465"/>
                  <a:gd name="connsiteY28" fmla="*/ 218535 h 286104"/>
                  <a:gd name="connsiteX29" fmla="*/ 6028 w 573465"/>
                  <a:gd name="connsiteY29" fmla="*/ 216777 h 286104"/>
                  <a:gd name="connsiteX30" fmla="*/ 37301 w 573465"/>
                  <a:gd name="connsiteY30" fmla="*/ 198817 h 286104"/>
                  <a:gd name="connsiteX31" fmla="*/ 40441 w 573465"/>
                  <a:gd name="connsiteY31" fmla="*/ 196933 h 286104"/>
                  <a:gd name="connsiteX32" fmla="*/ 71715 w 573465"/>
                  <a:gd name="connsiteY32" fmla="*/ 178973 h 286104"/>
                  <a:gd name="connsiteX33" fmla="*/ 74854 w 573465"/>
                  <a:gd name="connsiteY33" fmla="*/ 177089 h 286104"/>
                  <a:gd name="connsiteX34" fmla="*/ 106128 w 573465"/>
                  <a:gd name="connsiteY34" fmla="*/ 159129 h 286104"/>
                  <a:gd name="connsiteX35" fmla="*/ 109267 w 573465"/>
                  <a:gd name="connsiteY35" fmla="*/ 157370 h 286104"/>
                  <a:gd name="connsiteX36" fmla="*/ 140415 w 573465"/>
                  <a:gd name="connsiteY36" fmla="*/ 139410 h 286104"/>
                  <a:gd name="connsiteX37" fmla="*/ 140540 w 573465"/>
                  <a:gd name="connsiteY37" fmla="*/ 139410 h 286104"/>
                  <a:gd name="connsiteX38" fmla="*/ 143680 w 573465"/>
                  <a:gd name="connsiteY38" fmla="*/ 137526 h 286104"/>
                  <a:gd name="connsiteX39" fmla="*/ 174953 w 573465"/>
                  <a:gd name="connsiteY39" fmla="*/ 119566 h 286104"/>
                  <a:gd name="connsiteX40" fmla="*/ 178093 w 573465"/>
                  <a:gd name="connsiteY40" fmla="*/ 117682 h 286104"/>
                  <a:gd name="connsiteX41" fmla="*/ 209367 w 573465"/>
                  <a:gd name="connsiteY41" fmla="*/ 99722 h 286104"/>
                  <a:gd name="connsiteX42" fmla="*/ 212506 w 573465"/>
                  <a:gd name="connsiteY42" fmla="*/ 97838 h 286104"/>
                  <a:gd name="connsiteX43" fmla="*/ 243779 w 573465"/>
                  <a:gd name="connsiteY43" fmla="*/ 79878 h 286104"/>
                  <a:gd name="connsiteX44" fmla="*/ 246919 w 573465"/>
                  <a:gd name="connsiteY44" fmla="*/ 78120 h 286104"/>
                  <a:gd name="connsiteX45" fmla="*/ 278067 w 573465"/>
                  <a:gd name="connsiteY45" fmla="*/ 60160 h 286104"/>
                  <a:gd name="connsiteX46" fmla="*/ 281332 w 573465"/>
                  <a:gd name="connsiteY46" fmla="*/ 58276 h 286104"/>
                  <a:gd name="connsiteX47" fmla="*/ 281332 w 573465"/>
                  <a:gd name="connsiteY47" fmla="*/ 58276 h 286104"/>
                  <a:gd name="connsiteX48" fmla="*/ 312480 w 573465"/>
                  <a:gd name="connsiteY48" fmla="*/ 40316 h 286104"/>
                  <a:gd name="connsiteX49" fmla="*/ 315745 w 573465"/>
                  <a:gd name="connsiteY49" fmla="*/ 38432 h 286104"/>
                  <a:gd name="connsiteX50" fmla="*/ 346893 w 573465"/>
                  <a:gd name="connsiteY50" fmla="*/ 20472 h 286104"/>
                  <a:gd name="connsiteX51" fmla="*/ 350158 w 573465"/>
                  <a:gd name="connsiteY51" fmla="*/ 18714 h 286104"/>
                  <a:gd name="connsiteX52" fmla="*/ 381306 w 573465"/>
                  <a:gd name="connsiteY52" fmla="*/ 754 h 286104"/>
                  <a:gd name="connsiteX53" fmla="*/ 382687 w 573465"/>
                  <a:gd name="connsiteY53" fmla="*/ 0 h 28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73465" h="286104">
                    <a:moveTo>
                      <a:pt x="573466" y="57397"/>
                    </a:moveTo>
                    <a:lnTo>
                      <a:pt x="571959" y="58276"/>
                    </a:lnTo>
                    <a:lnTo>
                      <a:pt x="539304" y="77241"/>
                    </a:lnTo>
                    <a:lnTo>
                      <a:pt x="537671" y="78246"/>
                    </a:lnTo>
                    <a:lnTo>
                      <a:pt x="505017" y="97210"/>
                    </a:lnTo>
                    <a:lnTo>
                      <a:pt x="503259" y="98215"/>
                    </a:lnTo>
                    <a:lnTo>
                      <a:pt x="470729" y="117180"/>
                    </a:lnTo>
                    <a:lnTo>
                      <a:pt x="468971" y="118185"/>
                    </a:lnTo>
                    <a:lnTo>
                      <a:pt x="468971" y="118185"/>
                    </a:lnTo>
                    <a:lnTo>
                      <a:pt x="436442" y="137150"/>
                    </a:lnTo>
                    <a:lnTo>
                      <a:pt x="434683" y="138154"/>
                    </a:lnTo>
                    <a:lnTo>
                      <a:pt x="402154" y="157119"/>
                    </a:lnTo>
                    <a:lnTo>
                      <a:pt x="400396" y="158124"/>
                    </a:lnTo>
                    <a:lnTo>
                      <a:pt x="367867" y="176963"/>
                    </a:lnTo>
                    <a:lnTo>
                      <a:pt x="366109" y="178093"/>
                    </a:lnTo>
                    <a:lnTo>
                      <a:pt x="333580" y="196933"/>
                    </a:lnTo>
                    <a:lnTo>
                      <a:pt x="331821" y="198063"/>
                    </a:lnTo>
                    <a:lnTo>
                      <a:pt x="299292" y="216902"/>
                    </a:lnTo>
                    <a:lnTo>
                      <a:pt x="297534" y="218033"/>
                    </a:lnTo>
                    <a:lnTo>
                      <a:pt x="265005" y="236872"/>
                    </a:lnTo>
                    <a:lnTo>
                      <a:pt x="263121" y="238002"/>
                    </a:lnTo>
                    <a:lnTo>
                      <a:pt x="230843" y="256841"/>
                    </a:lnTo>
                    <a:lnTo>
                      <a:pt x="230718" y="256841"/>
                    </a:lnTo>
                    <a:lnTo>
                      <a:pt x="228834" y="257972"/>
                    </a:lnTo>
                    <a:lnTo>
                      <a:pt x="196556" y="276811"/>
                    </a:lnTo>
                    <a:lnTo>
                      <a:pt x="194546" y="277941"/>
                    </a:lnTo>
                    <a:lnTo>
                      <a:pt x="180354" y="286105"/>
                    </a:lnTo>
                    <a:lnTo>
                      <a:pt x="0" y="220168"/>
                    </a:lnTo>
                    <a:lnTo>
                      <a:pt x="2763" y="218535"/>
                    </a:lnTo>
                    <a:lnTo>
                      <a:pt x="6028" y="216777"/>
                    </a:lnTo>
                    <a:lnTo>
                      <a:pt x="37301" y="198817"/>
                    </a:lnTo>
                    <a:lnTo>
                      <a:pt x="40441" y="196933"/>
                    </a:lnTo>
                    <a:lnTo>
                      <a:pt x="71715" y="178973"/>
                    </a:lnTo>
                    <a:lnTo>
                      <a:pt x="74854" y="177089"/>
                    </a:lnTo>
                    <a:lnTo>
                      <a:pt x="106128" y="159129"/>
                    </a:lnTo>
                    <a:lnTo>
                      <a:pt x="109267" y="157370"/>
                    </a:lnTo>
                    <a:lnTo>
                      <a:pt x="140415" y="139410"/>
                    </a:lnTo>
                    <a:lnTo>
                      <a:pt x="140540" y="139410"/>
                    </a:lnTo>
                    <a:lnTo>
                      <a:pt x="143680" y="137526"/>
                    </a:lnTo>
                    <a:lnTo>
                      <a:pt x="174953" y="119566"/>
                    </a:lnTo>
                    <a:lnTo>
                      <a:pt x="178093" y="117682"/>
                    </a:lnTo>
                    <a:lnTo>
                      <a:pt x="209367" y="99722"/>
                    </a:lnTo>
                    <a:lnTo>
                      <a:pt x="212506" y="97838"/>
                    </a:lnTo>
                    <a:lnTo>
                      <a:pt x="243779" y="79878"/>
                    </a:lnTo>
                    <a:lnTo>
                      <a:pt x="246919" y="78120"/>
                    </a:lnTo>
                    <a:lnTo>
                      <a:pt x="278067" y="60160"/>
                    </a:lnTo>
                    <a:lnTo>
                      <a:pt x="281332" y="58276"/>
                    </a:lnTo>
                    <a:lnTo>
                      <a:pt x="281332" y="58276"/>
                    </a:lnTo>
                    <a:lnTo>
                      <a:pt x="312480" y="40316"/>
                    </a:lnTo>
                    <a:lnTo>
                      <a:pt x="315745" y="38432"/>
                    </a:lnTo>
                    <a:lnTo>
                      <a:pt x="346893" y="20472"/>
                    </a:lnTo>
                    <a:lnTo>
                      <a:pt x="350158" y="18714"/>
                    </a:lnTo>
                    <a:lnTo>
                      <a:pt x="381306" y="754"/>
                    </a:lnTo>
                    <a:lnTo>
                      <a:pt x="382687" y="0"/>
                    </a:lnTo>
                    <a:close/>
                  </a:path>
                </a:pathLst>
              </a:custGeom>
              <a:solidFill>
                <a:srgbClr val="32589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6" name="Freeform: Shape 955">
                <a:extLst>
                  <a:ext uri="{FF2B5EF4-FFF2-40B4-BE49-F238E27FC236}">
                    <a16:creationId xmlns:a16="http://schemas.microsoft.com/office/drawing/2014/main" id="{A4BEEE40-7305-4D15-961D-2FD4BEA826FA}"/>
                  </a:ext>
                </a:extLst>
              </p:cNvPr>
              <p:cNvSpPr/>
              <p:nvPr/>
            </p:nvSpPr>
            <p:spPr>
              <a:xfrm>
                <a:off x="3446199" y="1234195"/>
                <a:ext cx="203589" cy="172567"/>
              </a:xfrm>
              <a:custGeom>
                <a:avLst/>
                <a:gdLst>
                  <a:gd name="connsiteX0" fmla="*/ 203589 w 203589"/>
                  <a:gd name="connsiteY0" fmla="*/ 170809 h 172567"/>
                  <a:gd name="connsiteX1" fmla="*/ 202836 w 203589"/>
                  <a:gd name="connsiteY1" fmla="*/ 171688 h 172567"/>
                  <a:gd name="connsiteX2" fmla="*/ 202836 w 203589"/>
                  <a:gd name="connsiteY2" fmla="*/ 171688 h 172567"/>
                  <a:gd name="connsiteX3" fmla="*/ 201328 w 203589"/>
                  <a:gd name="connsiteY3" fmla="*/ 172567 h 172567"/>
                  <a:gd name="connsiteX4" fmla="*/ 0 w 203589"/>
                  <a:gd name="connsiteY4" fmla="*/ 2135 h 172567"/>
                  <a:gd name="connsiteX5" fmla="*/ 879 w 203589"/>
                  <a:gd name="connsiteY5" fmla="*/ 1005 h 172567"/>
                  <a:gd name="connsiteX6" fmla="*/ 1633 w 203589"/>
                  <a:gd name="connsiteY6" fmla="*/ 0 h 172567"/>
                  <a:gd name="connsiteX7" fmla="*/ 2010 w 203589"/>
                  <a:gd name="connsiteY7" fmla="*/ 251 h 172567"/>
                  <a:gd name="connsiteX8" fmla="*/ 2010 w 203589"/>
                  <a:gd name="connsiteY8" fmla="*/ 377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3589" h="172567">
                    <a:moveTo>
                      <a:pt x="203589" y="170809"/>
                    </a:moveTo>
                    <a:lnTo>
                      <a:pt x="202836" y="171688"/>
                    </a:lnTo>
                    <a:lnTo>
                      <a:pt x="202836" y="171688"/>
                    </a:lnTo>
                    <a:lnTo>
                      <a:pt x="201328" y="172567"/>
                    </a:lnTo>
                    <a:lnTo>
                      <a:pt x="0" y="2135"/>
                    </a:lnTo>
                    <a:lnTo>
                      <a:pt x="879" y="1005"/>
                    </a:lnTo>
                    <a:lnTo>
                      <a:pt x="1633" y="0"/>
                    </a:lnTo>
                    <a:lnTo>
                      <a:pt x="2010" y="251"/>
                    </a:lnTo>
                    <a:lnTo>
                      <a:pt x="2010"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7" name="Freeform: Shape 956">
                <a:extLst>
                  <a:ext uri="{FF2B5EF4-FFF2-40B4-BE49-F238E27FC236}">
                    <a16:creationId xmlns:a16="http://schemas.microsoft.com/office/drawing/2014/main" id="{D7B7288E-C0AA-49E0-B422-A6AF11F2A760}"/>
                  </a:ext>
                </a:extLst>
              </p:cNvPr>
              <p:cNvSpPr/>
              <p:nvPr/>
            </p:nvSpPr>
            <p:spPr>
              <a:xfrm>
                <a:off x="3411911" y="1254165"/>
                <a:ext cx="203338" cy="172441"/>
              </a:xfrm>
              <a:custGeom>
                <a:avLst/>
                <a:gdLst>
                  <a:gd name="connsiteX0" fmla="*/ 203338 w 203338"/>
                  <a:gd name="connsiteY0" fmla="*/ 170809 h 172441"/>
                  <a:gd name="connsiteX1" fmla="*/ 202584 w 203338"/>
                  <a:gd name="connsiteY1" fmla="*/ 171688 h 172441"/>
                  <a:gd name="connsiteX2" fmla="*/ 202584 w 203338"/>
                  <a:gd name="connsiteY2" fmla="*/ 171688 h 172441"/>
                  <a:gd name="connsiteX3" fmla="*/ 202459 w 203338"/>
                  <a:gd name="connsiteY3" fmla="*/ 171814 h 172441"/>
                  <a:gd name="connsiteX4" fmla="*/ 201203 w 203338"/>
                  <a:gd name="connsiteY4" fmla="*/ 172442 h 172441"/>
                  <a:gd name="connsiteX5" fmla="*/ 0 w 203338"/>
                  <a:gd name="connsiteY5" fmla="*/ 2135 h 172441"/>
                  <a:gd name="connsiteX6" fmla="*/ 879 w 203338"/>
                  <a:gd name="connsiteY6" fmla="*/ 879 h 172441"/>
                  <a:gd name="connsiteX7" fmla="*/ 1005 w 203338"/>
                  <a:gd name="connsiteY7" fmla="*/ 879 h 172441"/>
                  <a:gd name="connsiteX8" fmla="*/ 1633 w 203338"/>
                  <a:gd name="connsiteY8" fmla="*/ 0 h 172441"/>
                  <a:gd name="connsiteX9" fmla="*/ 2010 w 203338"/>
                  <a:gd name="connsiteY9" fmla="*/ 251 h 172441"/>
                  <a:gd name="connsiteX10" fmla="*/ 2135 w 203338"/>
                  <a:gd name="connsiteY10" fmla="*/ 377 h 172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338" h="172441">
                    <a:moveTo>
                      <a:pt x="203338" y="170809"/>
                    </a:moveTo>
                    <a:lnTo>
                      <a:pt x="202584" y="171688"/>
                    </a:lnTo>
                    <a:lnTo>
                      <a:pt x="202584" y="171688"/>
                    </a:lnTo>
                    <a:lnTo>
                      <a:pt x="202459" y="171814"/>
                    </a:lnTo>
                    <a:lnTo>
                      <a:pt x="201203" y="172442"/>
                    </a:lnTo>
                    <a:lnTo>
                      <a:pt x="0" y="2135"/>
                    </a:lnTo>
                    <a:lnTo>
                      <a:pt x="879" y="879"/>
                    </a:lnTo>
                    <a:lnTo>
                      <a:pt x="1005" y="879"/>
                    </a:lnTo>
                    <a:lnTo>
                      <a:pt x="1633" y="0"/>
                    </a:lnTo>
                    <a:lnTo>
                      <a:pt x="2010" y="251"/>
                    </a:lnTo>
                    <a:lnTo>
                      <a:pt x="2135"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8" name="Freeform: Shape 957">
                <a:extLst>
                  <a:ext uri="{FF2B5EF4-FFF2-40B4-BE49-F238E27FC236}">
                    <a16:creationId xmlns:a16="http://schemas.microsoft.com/office/drawing/2014/main" id="{EC8B6728-3C0D-4EC4-A8C3-D335B275FA83}"/>
                  </a:ext>
                </a:extLst>
              </p:cNvPr>
              <p:cNvSpPr/>
              <p:nvPr/>
            </p:nvSpPr>
            <p:spPr>
              <a:xfrm>
                <a:off x="3377624" y="1274134"/>
                <a:ext cx="203086" cy="172441"/>
              </a:xfrm>
              <a:custGeom>
                <a:avLst/>
                <a:gdLst>
                  <a:gd name="connsiteX0" fmla="*/ 203087 w 203086"/>
                  <a:gd name="connsiteY0" fmla="*/ 170683 h 172441"/>
                  <a:gd name="connsiteX1" fmla="*/ 202459 w 203086"/>
                  <a:gd name="connsiteY1" fmla="*/ 171562 h 172441"/>
                  <a:gd name="connsiteX2" fmla="*/ 202333 w 203086"/>
                  <a:gd name="connsiteY2" fmla="*/ 171562 h 172441"/>
                  <a:gd name="connsiteX3" fmla="*/ 202333 w 203086"/>
                  <a:gd name="connsiteY3" fmla="*/ 171688 h 172441"/>
                  <a:gd name="connsiteX4" fmla="*/ 200952 w 203086"/>
                  <a:gd name="connsiteY4" fmla="*/ 172442 h 172441"/>
                  <a:gd name="connsiteX5" fmla="*/ 0 w 203086"/>
                  <a:gd name="connsiteY5" fmla="*/ 2135 h 172441"/>
                  <a:gd name="connsiteX6" fmla="*/ 1005 w 203086"/>
                  <a:gd name="connsiteY6" fmla="*/ 879 h 172441"/>
                  <a:gd name="connsiteX7" fmla="*/ 1633 w 203086"/>
                  <a:gd name="connsiteY7" fmla="*/ 0 h 172441"/>
                  <a:gd name="connsiteX8" fmla="*/ 2010 w 203086"/>
                  <a:gd name="connsiteY8" fmla="*/ 251 h 172441"/>
                  <a:gd name="connsiteX9" fmla="*/ 2010 w 203086"/>
                  <a:gd name="connsiteY9" fmla="*/ 377 h 172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086" h="172441">
                    <a:moveTo>
                      <a:pt x="203087" y="170683"/>
                    </a:moveTo>
                    <a:lnTo>
                      <a:pt x="202459" y="171562"/>
                    </a:lnTo>
                    <a:lnTo>
                      <a:pt x="202333" y="171562"/>
                    </a:lnTo>
                    <a:lnTo>
                      <a:pt x="202333" y="171688"/>
                    </a:lnTo>
                    <a:lnTo>
                      <a:pt x="200952" y="172442"/>
                    </a:lnTo>
                    <a:lnTo>
                      <a:pt x="0" y="2135"/>
                    </a:lnTo>
                    <a:lnTo>
                      <a:pt x="1005" y="879"/>
                    </a:lnTo>
                    <a:lnTo>
                      <a:pt x="1633" y="0"/>
                    </a:lnTo>
                    <a:lnTo>
                      <a:pt x="2010" y="251"/>
                    </a:lnTo>
                    <a:lnTo>
                      <a:pt x="2010"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9" name="Freeform: Shape 958">
                <a:extLst>
                  <a:ext uri="{FF2B5EF4-FFF2-40B4-BE49-F238E27FC236}">
                    <a16:creationId xmlns:a16="http://schemas.microsoft.com/office/drawing/2014/main" id="{CF6F5178-DD8F-440F-8027-52EAEFDBE8BF}"/>
                  </a:ext>
                </a:extLst>
              </p:cNvPr>
              <p:cNvSpPr/>
              <p:nvPr/>
            </p:nvSpPr>
            <p:spPr>
              <a:xfrm>
                <a:off x="3343337" y="1294104"/>
                <a:ext cx="202961" cy="172316"/>
              </a:xfrm>
              <a:custGeom>
                <a:avLst/>
                <a:gdLst>
                  <a:gd name="connsiteX0" fmla="*/ 202961 w 202961"/>
                  <a:gd name="connsiteY0" fmla="*/ 170683 h 172316"/>
                  <a:gd name="connsiteX1" fmla="*/ 202208 w 202961"/>
                  <a:gd name="connsiteY1" fmla="*/ 171562 h 172316"/>
                  <a:gd name="connsiteX2" fmla="*/ 202208 w 202961"/>
                  <a:gd name="connsiteY2" fmla="*/ 171562 h 172316"/>
                  <a:gd name="connsiteX3" fmla="*/ 200826 w 202961"/>
                  <a:gd name="connsiteY3" fmla="*/ 172316 h 172316"/>
                  <a:gd name="connsiteX4" fmla="*/ 0 w 202961"/>
                  <a:gd name="connsiteY4" fmla="*/ 2135 h 172316"/>
                  <a:gd name="connsiteX5" fmla="*/ 1005 w 202961"/>
                  <a:gd name="connsiteY5" fmla="*/ 879 h 172316"/>
                  <a:gd name="connsiteX6" fmla="*/ 1005 w 202961"/>
                  <a:gd name="connsiteY6" fmla="*/ 879 h 172316"/>
                  <a:gd name="connsiteX7" fmla="*/ 1759 w 202961"/>
                  <a:gd name="connsiteY7" fmla="*/ 0 h 172316"/>
                  <a:gd name="connsiteX8" fmla="*/ 2010 w 202961"/>
                  <a:gd name="connsiteY8" fmla="*/ 251 h 172316"/>
                  <a:gd name="connsiteX9" fmla="*/ 2010 w 202961"/>
                  <a:gd name="connsiteY9" fmla="*/ 377 h 17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961" h="172316">
                    <a:moveTo>
                      <a:pt x="202961" y="170683"/>
                    </a:moveTo>
                    <a:lnTo>
                      <a:pt x="202208" y="171562"/>
                    </a:lnTo>
                    <a:lnTo>
                      <a:pt x="202208" y="171562"/>
                    </a:lnTo>
                    <a:lnTo>
                      <a:pt x="200826" y="172316"/>
                    </a:lnTo>
                    <a:lnTo>
                      <a:pt x="0" y="2135"/>
                    </a:lnTo>
                    <a:lnTo>
                      <a:pt x="1005" y="879"/>
                    </a:lnTo>
                    <a:lnTo>
                      <a:pt x="1005" y="879"/>
                    </a:lnTo>
                    <a:lnTo>
                      <a:pt x="1759" y="0"/>
                    </a:lnTo>
                    <a:lnTo>
                      <a:pt x="2010" y="251"/>
                    </a:lnTo>
                    <a:lnTo>
                      <a:pt x="2010"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0" name="Freeform: Shape 959">
                <a:extLst>
                  <a:ext uri="{FF2B5EF4-FFF2-40B4-BE49-F238E27FC236}">
                    <a16:creationId xmlns:a16="http://schemas.microsoft.com/office/drawing/2014/main" id="{E36B7D9C-DF18-4148-B6ED-404EFF0A03F0}"/>
                  </a:ext>
                </a:extLst>
              </p:cNvPr>
              <p:cNvSpPr/>
              <p:nvPr/>
            </p:nvSpPr>
            <p:spPr>
              <a:xfrm>
                <a:off x="3309050" y="1314074"/>
                <a:ext cx="202709" cy="172316"/>
              </a:xfrm>
              <a:custGeom>
                <a:avLst/>
                <a:gdLst>
                  <a:gd name="connsiteX0" fmla="*/ 202710 w 202709"/>
                  <a:gd name="connsiteY0" fmla="*/ 170683 h 172316"/>
                  <a:gd name="connsiteX1" fmla="*/ 201956 w 202709"/>
                  <a:gd name="connsiteY1" fmla="*/ 171437 h 172316"/>
                  <a:gd name="connsiteX2" fmla="*/ 201956 w 202709"/>
                  <a:gd name="connsiteY2" fmla="*/ 171562 h 172316"/>
                  <a:gd name="connsiteX3" fmla="*/ 200575 w 202709"/>
                  <a:gd name="connsiteY3" fmla="*/ 172316 h 172316"/>
                  <a:gd name="connsiteX4" fmla="*/ 0 w 202709"/>
                  <a:gd name="connsiteY4" fmla="*/ 2135 h 172316"/>
                  <a:gd name="connsiteX5" fmla="*/ 1130 w 202709"/>
                  <a:gd name="connsiteY5" fmla="*/ 754 h 172316"/>
                  <a:gd name="connsiteX6" fmla="*/ 1758 w 202709"/>
                  <a:gd name="connsiteY6" fmla="*/ 0 h 172316"/>
                  <a:gd name="connsiteX7" fmla="*/ 2009 w 202709"/>
                  <a:gd name="connsiteY7" fmla="*/ 251 h 172316"/>
                  <a:gd name="connsiteX8" fmla="*/ 2135 w 202709"/>
                  <a:gd name="connsiteY8" fmla="*/ 377 h 17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09" h="172316">
                    <a:moveTo>
                      <a:pt x="202710" y="170683"/>
                    </a:moveTo>
                    <a:lnTo>
                      <a:pt x="201956" y="171437"/>
                    </a:lnTo>
                    <a:lnTo>
                      <a:pt x="201956" y="171562"/>
                    </a:lnTo>
                    <a:lnTo>
                      <a:pt x="200575" y="172316"/>
                    </a:lnTo>
                    <a:lnTo>
                      <a:pt x="0" y="2135"/>
                    </a:lnTo>
                    <a:lnTo>
                      <a:pt x="1130" y="754"/>
                    </a:lnTo>
                    <a:lnTo>
                      <a:pt x="1758" y="0"/>
                    </a:lnTo>
                    <a:lnTo>
                      <a:pt x="2009" y="251"/>
                    </a:lnTo>
                    <a:lnTo>
                      <a:pt x="2135"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1" name="Freeform: Shape 960">
                <a:extLst>
                  <a:ext uri="{FF2B5EF4-FFF2-40B4-BE49-F238E27FC236}">
                    <a16:creationId xmlns:a16="http://schemas.microsoft.com/office/drawing/2014/main" id="{FA0E14BA-1B5B-4A5E-93D8-04137E43F269}"/>
                  </a:ext>
                </a:extLst>
              </p:cNvPr>
              <p:cNvSpPr/>
              <p:nvPr/>
            </p:nvSpPr>
            <p:spPr>
              <a:xfrm>
                <a:off x="3274762" y="1334043"/>
                <a:ext cx="202458" cy="172190"/>
              </a:xfrm>
              <a:custGeom>
                <a:avLst/>
                <a:gdLst>
                  <a:gd name="connsiteX0" fmla="*/ 202459 w 202458"/>
                  <a:gd name="connsiteY0" fmla="*/ 170558 h 172190"/>
                  <a:gd name="connsiteX1" fmla="*/ 201831 w 202458"/>
                  <a:gd name="connsiteY1" fmla="*/ 171437 h 172190"/>
                  <a:gd name="connsiteX2" fmla="*/ 201705 w 202458"/>
                  <a:gd name="connsiteY2" fmla="*/ 171437 h 172190"/>
                  <a:gd name="connsiteX3" fmla="*/ 201705 w 202458"/>
                  <a:gd name="connsiteY3" fmla="*/ 171562 h 172190"/>
                  <a:gd name="connsiteX4" fmla="*/ 200449 w 202458"/>
                  <a:gd name="connsiteY4" fmla="*/ 172190 h 172190"/>
                  <a:gd name="connsiteX5" fmla="*/ 0 w 202458"/>
                  <a:gd name="connsiteY5" fmla="*/ 2135 h 172190"/>
                  <a:gd name="connsiteX6" fmla="*/ 1130 w 202458"/>
                  <a:gd name="connsiteY6" fmla="*/ 754 h 172190"/>
                  <a:gd name="connsiteX7" fmla="*/ 1758 w 202458"/>
                  <a:gd name="connsiteY7" fmla="*/ 0 h 172190"/>
                  <a:gd name="connsiteX8" fmla="*/ 1884 w 202458"/>
                  <a:gd name="connsiteY8" fmla="*/ 251 h 172190"/>
                  <a:gd name="connsiteX9" fmla="*/ 2010 w 202458"/>
                  <a:gd name="connsiteY9" fmla="*/ 377 h 17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458" h="172190">
                    <a:moveTo>
                      <a:pt x="202459" y="170558"/>
                    </a:moveTo>
                    <a:lnTo>
                      <a:pt x="201831" y="171437"/>
                    </a:lnTo>
                    <a:lnTo>
                      <a:pt x="201705" y="171437"/>
                    </a:lnTo>
                    <a:lnTo>
                      <a:pt x="201705" y="171562"/>
                    </a:lnTo>
                    <a:lnTo>
                      <a:pt x="200449" y="172190"/>
                    </a:lnTo>
                    <a:lnTo>
                      <a:pt x="0" y="2135"/>
                    </a:lnTo>
                    <a:lnTo>
                      <a:pt x="1130" y="754"/>
                    </a:lnTo>
                    <a:lnTo>
                      <a:pt x="1758" y="0"/>
                    </a:lnTo>
                    <a:lnTo>
                      <a:pt x="1884" y="251"/>
                    </a:lnTo>
                    <a:lnTo>
                      <a:pt x="2010"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2" name="Freeform: Shape 961">
                <a:extLst>
                  <a:ext uri="{FF2B5EF4-FFF2-40B4-BE49-F238E27FC236}">
                    <a16:creationId xmlns:a16="http://schemas.microsoft.com/office/drawing/2014/main" id="{DACE6812-5E20-4E2C-98DD-A2377C2CBDB6}"/>
                  </a:ext>
                </a:extLst>
              </p:cNvPr>
              <p:cNvSpPr/>
              <p:nvPr/>
            </p:nvSpPr>
            <p:spPr>
              <a:xfrm>
                <a:off x="3240475" y="1354013"/>
                <a:ext cx="202333" cy="172190"/>
              </a:xfrm>
              <a:custGeom>
                <a:avLst/>
                <a:gdLst>
                  <a:gd name="connsiteX0" fmla="*/ 202333 w 202333"/>
                  <a:gd name="connsiteY0" fmla="*/ 170432 h 172190"/>
                  <a:gd name="connsiteX1" fmla="*/ 201580 w 202333"/>
                  <a:gd name="connsiteY1" fmla="*/ 171437 h 172190"/>
                  <a:gd name="connsiteX2" fmla="*/ 201580 w 202333"/>
                  <a:gd name="connsiteY2" fmla="*/ 171437 h 172190"/>
                  <a:gd name="connsiteX3" fmla="*/ 200198 w 202333"/>
                  <a:gd name="connsiteY3" fmla="*/ 172190 h 172190"/>
                  <a:gd name="connsiteX4" fmla="*/ 0 w 202333"/>
                  <a:gd name="connsiteY4" fmla="*/ 2135 h 172190"/>
                  <a:gd name="connsiteX5" fmla="*/ 1130 w 202333"/>
                  <a:gd name="connsiteY5" fmla="*/ 754 h 172190"/>
                  <a:gd name="connsiteX6" fmla="*/ 1130 w 202333"/>
                  <a:gd name="connsiteY6" fmla="*/ 754 h 172190"/>
                  <a:gd name="connsiteX7" fmla="*/ 1759 w 202333"/>
                  <a:gd name="connsiteY7" fmla="*/ 0 h 172190"/>
                  <a:gd name="connsiteX8" fmla="*/ 2010 w 202333"/>
                  <a:gd name="connsiteY8" fmla="*/ 251 h 172190"/>
                  <a:gd name="connsiteX9" fmla="*/ 2135 w 202333"/>
                  <a:gd name="connsiteY9" fmla="*/ 377 h 17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333" h="172190">
                    <a:moveTo>
                      <a:pt x="202333" y="170432"/>
                    </a:moveTo>
                    <a:lnTo>
                      <a:pt x="201580" y="171437"/>
                    </a:lnTo>
                    <a:lnTo>
                      <a:pt x="201580" y="171437"/>
                    </a:lnTo>
                    <a:lnTo>
                      <a:pt x="200198" y="172190"/>
                    </a:lnTo>
                    <a:lnTo>
                      <a:pt x="0" y="2135"/>
                    </a:lnTo>
                    <a:lnTo>
                      <a:pt x="1130" y="754"/>
                    </a:lnTo>
                    <a:lnTo>
                      <a:pt x="1130" y="754"/>
                    </a:lnTo>
                    <a:lnTo>
                      <a:pt x="1759" y="0"/>
                    </a:lnTo>
                    <a:lnTo>
                      <a:pt x="2010" y="251"/>
                    </a:lnTo>
                    <a:lnTo>
                      <a:pt x="2135"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3" name="Freeform: Shape 962">
                <a:extLst>
                  <a:ext uri="{FF2B5EF4-FFF2-40B4-BE49-F238E27FC236}">
                    <a16:creationId xmlns:a16="http://schemas.microsoft.com/office/drawing/2014/main" id="{7C0D6297-4D7B-4F2C-B2BF-EDA771D44388}"/>
                  </a:ext>
                </a:extLst>
              </p:cNvPr>
              <p:cNvSpPr/>
              <p:nvPr/>
            </p:nvSpPr>
            <p:spPr>
              <a:xfrm>
                <a:off x="3206187" y="1374108"/>
                <a:ext cx="202081" cy="172064"/>
              </a:xfrm>
              <a:custGeom>
                <a:avLst/>
                <a:gdLst>
                  <a:gd name="connsiteX0" fmla="*/ 202082 w 202081"/>
                  <a:gd name="connsiteY0" fmla="*/ 170307 h 172064"/>
                  <a:gd name="connsiteX1" fmla="*/ 201328 w 202081"/>
                  <a:gd name="connsiteY1" fmla="*/ 171186 h 172064"/>
                  <a:gd name="connsiteX2" fmla="*/ 201328 w 202081"/>
                  <a:gd name="connsiteY2" fmla="*/ 171186 h 172064"/>
                  <a:gd name="connsiteX3" fmla="*/ 199947 w 202081"/>
                  <a:gd name="connsiteY3" fmla="*/ 172065 h 172064"/>
                  <a:gd name="connsiteX4" fmla="*/ 0 w 202081"/>
                  <a:gd name="connsiteY4" fmla="*/ 2010 h 172064"/>
                  <a:gd name="connsiteX5" fmla="*/ 1256 w 202081"/>
                  <a:gd name="connsiteY5" fmla="*/ 502 h 172064"/>
                  <a:gd name="connsiteX6" fmla="*/ 1758 w 202081"/>
                  <a:gd name="connsiteY6" fmla="*/ 0 h 172064"/>
                  <a:gd name="connsiteX7" fmla="*/ 1884 w 202081"/>
                  <a:gd name="connsiteY7" fmla="*/ 126 h 172064"/>
                  <a:gd name="connsiteX8" fmla="*/ 1884 w 202081"/>
                  <a:gd name="connsiteY8" fmla="*/ 126 h 172064"/>
                  <a:gd name="connsiteX9" fmla="*/ 2135 w 202081"/>
                  <a:gd name="connsiteY9" fmla="*/ 251 h 17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081" h="172064">
                    <a:moveTo>
                      <a:pt x="202082" y="170307"/>
                    </a:moveTo>
                    <a:lnTo>
                      <a:pt x="201328" y="171186"/>
                    </a:lnTo>
                    <a:lnTo>
                      <a:pt x="201328" y="171186"/>
                    </a:lnTo>
                    <a:lnTo>
                      <a:pt x="199947" y="172065"/>
                    </a:lnTo>
                    <a:lnTo>
                      <a:pt x="0" y="2010"/>
                    </a:lnTo>
                    <a:lnTo>
                      <a:pt x="1256" y="502"/>
                    </a:lnTo>
                    <a:lnTo>
                      <a:pt x="1758" y="0"/>
                    </a:lnTo>
                    <a:lnTo>
                      <a:pt x="1884" y="126"/>
                    </a:lnTo>
                    <a:lnTo>
                      <a:pt x="1884" y="126"/>
                    </a:lnTo>
                    <a:lnTo>
                      <a:pt x="2135" y="251"/>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4" name="Freeform: Shape 963">
                <a:extLst>
                  <a:ext uri="{FF2B5EF4-FFF2-40B4-BE49-F238E27FC236}">
                    <a16:creationId xmlns:a16="http://schemas.microsoft.com/office/drawing/2014/main" id="{4F2ED21A-8479-4472-A360-F30264A921D5}"/>
                  </a:ext>
                </a:extLst>
              </p:cNvPr>
              <p:cNvSpPr/>
              <p:nvPr/>
            </p:nvSpPr>
            <p:spPr>
              <a:xfrm>
                <a:off x="3171900" y="1393952"/>
                <a:ext cx="201956" cy="172064"/>
              </a:xfrm>
              <a:custGeom>
                <a:avLst/>
                <a:gdLst>
                  <a:gd name="connsiteX0" fmla="*/ 201956 w 201956"/>
                  <a:gd name="connsiteY0" fmla="*/ 170432 h 172064"/>
                  <a:gd name="connsiteX1" fmla="*/ 201203 w 201956"/>
                  <a:gd name="connsiteY1" fmla="*/ 171311 h 172064"/>
                  <a:gd name="connsiteX2" fmla="*/ 201203 w 201956"/>
                  <a:gd name="connsiteY2" fmla="*/ 171311 h 172064"/>
                  <a:gd name="connsiteX3" fmla="*/ 199821 w 201956"/>
                  <a:gd name="connsiteY3" fmla="*/ 172065 h 172064"/>
                  <a:gd name="connsiteX4" fmla="*/ 0 w 201956"/>
                  <a:gd name="connsiteY4" fmla="*/ 2135 h 172064"/>
                  <a:gd name="connsiteX5" fmla="*/ 1256 w 201956"/>
                  <a:gd name="connsiteY5" fmla="*/ 628 h 172064"/>
                  <a:gd name="connsiteX6" fmla="*/ 1758 w 201956"/>
                  <a:gd name="connsiteY6" fmla="*/ 0 h 172064"/>
                  <a:gd name="connsiteX7" fmla="*/ 1884 w 201956"/>
                  <a:gd name="connsiteY7" fmla="*/ 251 h 172064"/>
                  <a:gd name="connsiteX8" fmla="*/ 2135 w 201956"/>
                  <a:gd name="connsiteY8" fmla="*/ 377 h 17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956" h="172064">
                    <a:moveTo>
                      <a:pt x="201956" y="170432"/>
                    </a:moveTo>
                    <a:lnTo>
                      <a:pt x="201203" y="171311"/>
                    </a:lnTo>
                    <a:lnTo>
                      <a:pt x="201203" y="171311"/>
                    </a:lnTo>
                    <a:lnTo>
                      <a:pt x="199821" y="172065"/>
                    </a:lnTo>
                    <a:lnTo>
                      <a:pt x="0" y="2135"/>
                    </a:lnTo>
                    <a:lnTo>
                      <a:pt x="1256" y="628"/>
                    </a:lnTo>
                    <a:lnTo>
                      <a:pt x="1758" y="0"/>
                    </a:lnTo>
                    <a:lnTo>
                      <a:pt x="1884" y="251"/>
                    </a:lnTo>
                    <a:lnTo>
                      <a:pt x="2135"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5" name="Freeform: Shape 964">
                <a:extLst>
                  <a:ext uri="{FF2B5EF4-FFF2-40B4-BE49-F238E27FC236}">
                    <a16:creationId xmlns:a16="http://schemas.microsoft.com/office/drawing/2014/main" id="{EBB28595-EEB6-48EB-A415-FDE4BBB53D1B}"/>
                  </a:ext>
                </a:extLst>
              </p:cNvPr>
              <p:cNvSpPr/>
              <p:nvPr/>
            </p:nvSpPr>
            <p:spPr>
              <a:xfrm>
                <a:off x="3137612" y="1414047"/>
                <a:ext cx="201705" cy="171939"/>
              </a:xfrm>
              <a:custGeom>
                <a:avLst/>
                <a:gdLst>
                  <a:gd name="connsiteX0" fmla="*/ 201705 w 201705"/>
                  <a:gd name="connsiteY0" fmla="*/ 170181 h 171939"/>
                  <a:gd name="connsiteX1" fmla="*/ 200952 w 201705"/>
                  <a:gd name="connsiteY1" fmla="*/ 171060 h 171939"/>
                  <a:gd name="connsiteX2" fmla="*/ 200952 w 201705"/>
                  <a:gd name="connsiteY2" fmla="*/ 171060 h 171939"/>
                  <a:gd name="connsiteX3" fmla="*/ 199570 w 201705"/>
                  <a:gd name="connsiteY3" fmla="*/ 171939 h 171939"/>
                  <a:gd name="connsiteX4" fmla="*/ 0 w 201705"/>
                  <a:gd name="connsiteY4" fmla="*/ 2010 h 171939"/>
                  <a:gd name="connsiteX5" fmla="*/ 1256 w 201705"/>
                  <a:gd name="connsiteY5" fmla="*/ 502 h 171939"/>
                  <a:gd name="connsiteX6" fmla="*/ 1759 w 201705"/>
                  <a:gd name="connsiteY6" fmla="*/ 0 h 171939"/>
                  <a:gd name="connsiteX7" fmla="*/ 1884 w 201705"/>
                  <a:gd name="connsiteY7" fmla="*/ 126 h 171939"/>
                  <a:gd name="connsiteX8" fmla="*/ 2135 w 201705"/>
                  <a:gd name="connsiteY8" fmla="*/ 251 h 17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705" h="171939">
                    <a:moveTo>
                      <a:pt x="201705" y="170181"/>
                    </a:moveTo>
                    <a:lnTo>
                      <a:pt x="200952" y="171060"/>
                    </a:lnTo>
                    <a:lnTo>
                      <a:pt x="200952" y="171060"/>
                    </a:lnTo>
                    <a:lnTo>
                      <a:pt x="199570" y="171939"/>
                    </a:lnTo>
                    <a:lnTo>
                      <a:pt x="0" y="2010"/>
                    </a:lnTo>
                    <a:lnTo>
                      <a:pt x="1256" y="502"/>
                    </a:lnTo>
                    <a:lnTo>
                      <a:pt x="1759" y="0"/>
                    </a:lnTo>
                    <a:lnTo>
                      <a:pt x="1884" y="126"/>
                    </a:lnTo>
                    <a:lnTo>
                      <a:pt x="2135" y="251"/>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6" name="Freeform: Shape 965">
                <a:extLst>
                  <a:ext uri="{FF2B5EF4-FFF2-40B4-BE49-F238E27FC236}">
                    <a16:creationId xmlns:a16="http://schemas.microsoft.com/office/drawing/2014/main" id="{65CEE528-7A0B-47E5-A660-64CD926A6E03}"/>
                  </a:ext>
                </a:extLst>
              </p:cNvPr>
              <p:cNvSpPr/>
              <p:nvPr/>
            </p:nvSpPr>
            <p:spPr>
              <a:xfrm>
                <a:off x="3103325" y="1434017"/>
                <a:ext cx="201453" cy="171813"/>
              </a:xfrm>
              <a:custGeom>
                <a:avLst/>
                <a:gdLst>
                  <a:gd name="connsiteX0" fmla="*/ 201454 w 201453"/>
                  <a:gd name="connsiteY0" fmla="*/ 170181 h 171813"/>
                  <a:gd name="connsiteX1" fmla="*/ 200826 w 201453"/>
                  <a:gd name="connsiteY1" fmla="*/ 171060 h 171813"/>
                  <a:gd name="connsiteX2" fmla="*/ 199319 w 201453"/>
                  <a:gd name="connsiteY2" fmla="*/ 171814 h 171813"/>
                  <a:gd name="connsiteX3" fmla="*/ 0 w 201453"/>
                  <a:gd name="connsiteY3" fmla="*/ 2010 h 171813"/>
                  <a:gd name="connsiteX4" fmla="*/ 1382 w 201453"/>
                  <a:gd name="connsiteY4" fmla="*/ 377 h 171813"/>
                  <a:gd name="connsiteX5" fmla="*/ 1382 w 201453"/>
                  <a:gd name="connsiteY5" fmla="*/ 377 h 171813"/>
                  <a:gd name="connsiteX6" fmla="*/ 1758 w 201453"/>
                  <a:gd name="connsiteY6" fmla="*/ 0 h 171813"/>
                  <a:gd name="connsiteX7" fmla="*/ 1884 w 201453"/>
                  <a:gd name="connsiteY7" fmla="*/ 126 h 171813"/>
                  <a:gd name="connsiteX8" fmla="*/ 2135 w 201453"/>
                  <a:gd name="connsiteY8" fmla="*/ 251 h 17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453" h="171813">
                    <a:moveTo>
                      <a:pt x="201454" y="170181"/>
                    </a:moveTo>
                    <a:lnTo>
                      <a:pt x="200826" y="171060"/>
                    </a:lnTo>
                    <a:lnTo>
                      <a:pt x="199319" y="171814"/>
                    </a:lnTo>
                    <a:lnTo>
                      <a:pt x="0" y="2010"/>
                    </a:lnTo>
                    <a:lnTo>
                      <a:pt x="1382" y="377"/>
                    </a:lnTo>
                    <a:lnTo>
                      <a:pt x="1382" y="377"/>
                    </a:lnTo>
                    <a:lnTo>
                      <a:pt x="1758" y="0"/>
                    </a:lnTo>
                    <a:lnTo>
                      <a:pt x="1884" y="126"/>
                    </a:lnTo>
                    <a:lnTo>
                      <a:pt x="2135" y="251"/>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7" name="Freeform: Shape 966">
                <a:extLst>
                  <a:ext uri="{FF2B5EF4-FFF2-40B4-BE49-F238E27FC236}">
                    <a16:creationId xmlns:a16="http://schemas.microsoft.com/office/drawing/2014/main" id="{3E485A82-8920-47DF-83F4-B81E4B2CD976}"/>
                  </a:ext>
                </a:extLst>
              </p:cNvPr>
              <p:cNvSpPr/>
              <p:nvPr/>
            </p:nvSpPr>
            <p:spPr>
              <a:xfrm>
                <a:off x="3070419" y="1453986"/>
                <a:ext cx="502" cy="376"/>
              </a:xfrm>
              <a:custGeom>
                <a:avLst/>
                <a:gdLst>
                  <a:gd name="connsiteX0" fmla="*/ 502 w 502"/>
                  <a:gd name="connsiteY0" fmla="*/ 126 h 376"/>
                  <a:gd name="connsiteX1" fmla="*/ 0 w 502"/>
                  <a:gd name="connsiteY1" fmla="*/ 377 h 376"/>
                  <a:gd name="connsiteX2" fmla="*/ 377 w 502"/>
                  <a:gd name="connsiteY2" fmla="*/ 0 h 376"/>
                </a:gdLst>
                <a:ahLst/>
                <a:cxnLst>
                  <a:cxn ang="0">
                    <a:pos x="connsiteX0" y="connsiteY0"/>
                  </a:cxn>
                  <a:cxn ang="0">
                    <a:pos x="connsiteX1" y="connsiteY1"/>
                  </a:cxn>
                  <a:cxn ang="0">
                    <a:pos x="connsiteX2" y="connsiteY2"/>
                  </a:cxn>
                </a:cxnLst>
                <a:rect l="l" t="t" r="r" b="b"/>
                <a:pathLst>
                  <a:path w="502" h="376">
                    <a:moveTo>
                      <a:pt x="502" y="126"/>
                    </a:moveTo>
                    <a:lnTo>
                      <a:pt x="0" y="377"/>
                    </a:lnTo>
                    <a:lnTo>
                      <a:pt x="377" y="0"/>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8" name="Freeform: Shape 967">
                <a:extLst>
                  <a:ext uri="{FF2B5EF4-FFF2-40B4-BE49-F238E27FC236}">
                    <a16:creationId xmlns:a16="http://schemas.microsoft.com/office/drawing/2014/main" id="{71692943-B4F9-40C3-ACBA-8EA1B2386451}"/>
                  </a:ext>
                </a:extLst>
              </p:cNvPr>
              <p:cNvSpPr/>
              <p:nvPr/>
            </p:nvSpPr>
            <p:spPr>
              <a:xfrm>
                <a:off x="3447455" y="1234446"/>
                <a:ext cx="202835" cy="171436"/>
              </a:xfrm>
              <a:custGeom>
                <a:avLst/>
                <a:gdLst>
                  <a:gd name="connsiteX0" fmla="*/ 202836 w 202835"/>
                  <a:gd name="connsiteY0" fmla="*/ 170809 h 171436"/>
                  <a:gd name="connsiteX1" fmla="*/ 201580 w 202835"/>
                  <a:gd name="connsiteY1" fmla="*/ 171437 h 171436"/>
                  <a:gd name="connsiteX2" fmla="*/ 0 w 202835"/>
                  <a:gd name="connsiteY2" fmla="*/ 1005 h 171436"/>
                  <a:gd name="connsiteX3" fmla="*/ 754 w 202835"/>
                  <a:gd name="connsiteY3" fmla="*/ 126 h 171436"/>
                  <a:gd name="connsiteX4" fmla="*/ 879 w 202835"/>
                  <a:gd name="connsiteY4" fmla="*/ 0 h 171436"/>
                  <a:gd name="connsiteX5" fmla="*/ 1005 w 202835"/>
                  <a:gd name="connsiteY5" fmla="*/ 0 h 171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35" h="171436">
                    <a:moveTo>
                      <a:pt x="202836" y="170809"/>
                    </a:moveTo>
                    <a:lnTo>
                      <a:pt x="201580" y="171437"/>
                    </a:lnTo>
                    <a:lnTo>
                      <a:pt x="0" y="1005"/>
                    </a:lnTo>
                    <a:lnTo>
                      <a:pt x="754" y="126"/>
                    </a:lnTo>
                    <a:lnTo>
                      <a:pt x="879" y="0"/>
                    </a:lnTo>
                    <a:lnTo>
                      <a:pt x="1005" y="0"/>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9" name="Freeform: Shape 968">
                <a:extLst>
                  <a:ext uri="{FF2B5EF4-FFF2-40B4-BE49-F238E27FC236}">
                    <a16:creationId xmlns:a16="http://schemas.microsoft.com/office/drawing/2014/main" id="{FD49E781-894D-4AF6-848A-8ED919CFC8C8}"/>
                  </a:ext>
                </a:extLst>
              </p:cNvPr>
              <p:cNvSpPr/>
              <p:nvPr/>
            </p:nvSpPr>
            <p:spPr>
              <a:xfrm>
                <a:off x="3413293" y="1253411"/>
                <a:ext cx="203338" cy="172441"/>
              </a:xfrm>
              <a:custGeom>
                <a:avLst/>
                <a:gdLst>
                  <a:gd name="connsiteX0" fmla="*/ 203338 w 203338"/>
                  <a:gd name="connsiteY0" fmla="*/ 170683 h 172441"/>
                  <a:gd name="connsiteX1" fmla="*/ 202459 w 203338"/>
                  <a:gd name="connsiteY1" fmla="*/ 171688 h 172441"/>
                  <a:gd name="connsiteX2" fmla="*/ 202459 w 203338"/>
                  <a:gd name="connsiteY2" fmla="*/ 171688 h 172441"/>
                  <a:gd name="connsiteX3" fmla="*/ 201203 w 203338"/>
                  <a:gd name="connsiteY3" fmla="*/ 172442 h 172441"/>
                  <a:gd name="connsiteX4" fmla="*/ 201203 w 203338"/>
                  <a:gd name="connsiteY4" fmla="*/ 172442 h 172441"/>
                  <a:gd name="connsiteX5" fmla="*/ 201203 w 203338"/>
                  <a:gd name="connsiteY5" fmla="*/ 172442 h 172441"/>
                  <a:gd name="connsiteX6" fmla="*/ 0 w 203338"/>
                  <a:gd name="connsiteY6" fmla="*/ 2010 h 172441"/>
                  <a:gd name="connsiteX7" fmla="*/ 754 w 203338"/>
                  <a:gd name="connsiteY7" fmla="*/ 1130 h 172441"/>
                  <a:gd name="connsiteX8" fmla="*/ 879 w 203338"/>
                  <a:gd name="connsiteY8" fmla="*/ 879 h 172441"/>
                  <a:gd name="connsiteX9" fmla="*/ 879 w 203338"/>
                  <a:gd name="connsiteY9" fmla="*/ 879 h 172441"/>
                  <a:gd name="connsiteX10" fmla="*/ 1633 w 203338"/>
                  <a:gd name="connsiteY10" fmla="*/ 0 h 172441"/>
                  <a:gd name="connsiteX11" fmla="*/ 2010 w 203338"/>
                  <a:gd name="connsiteY11" fmla="*/ 251 h 172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3338" h="172441">
                    <a:moveTo>
                      <a:pt x="203338" y="170683"/>
                    </a:moveTo>
                    <a:lnTo>
                      <a:pt x="202459" y="171688"/>
                    </a:lnTo>
                    <a:lnTo>
                      <a:pt x="202459" y="171688"/>
                    </a:lnTo>
                    <a:lnTo>
                      <a:pt x="201203" y="172442"/>
                    </a:lnTo>
                    <a:lnTo>
                      <a:pt x="201203" y="172442"/>
                    </a:lnTo>
                    <a:lnTo>
                      <a:pt x="201203" y="172442"/>
                    </a:lnTo>
                    <a:lnTo>
                      <a:pt x="0" y="2010"/>
                    </a:lnTo>
                    <a:lnTo>
                      <a:pt x="754" y="1130"/>
                    </a:lnTo>
                    <a:lnTo>
                      <a:pt x="879" y="879"/>
                    </a:lnTo>
                    <a:lnTo>
                      <a:pt x="879" y="879"/>
                    </a:lnTo>
                    <a:lnTo>
                      <a:pt x="1633" y="0"/>
                    </a:lnTo>
                    <a:lnTo>
                      <a:pt x="2010" y="251"/>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0" name="Freeform: Shape 969">
                <a:extLst>
                  <a:ext uri="{FF2B5EF4-FFF2-40B4-BE49-F238E27FC236}">
                    <a16:creationId xmlns:a16="http://schemas.microsoft.com/office/drawing/2014/main" id="{87BF8240-7C46-413D-8C48-F7E2F3A2E792}"/>
                  </a:ext>
                </a:extLst>
              </p:cNvPr>
              <p:cNvSpPr/>
              <p:nvPr/>
            </p:nvSpPr>
            <p:spPr>
              <a:xfrm>
                <a:off x="3379006" y="1273255"/>
                <a:ext cx="203086" cy="172441"/>
              </a:xfrm>
              <a:custGeom>
                <a:avLst/>
                <a:gdLst>
                  <a:gd name="connsiteX0" fmla="*/ 203087 w 203086"/>
                  <a:gd name="connsiteY0" fmla="*/ 170683 h 172441"/>
                  <a:gd name="connsiteX1" fmla="*/ 202333 w 203086"/>
                  <a:gd name="connsiteY1" fmla="*/ 171814 h 172441"/>
                  <a:gd name="connsiteX2" fmla="*/ 201077 w 203086"/>
                  <a:gd name="connsiteY2" fmla="*/ 172442 h 172441"/>
                  <a:gd name="connsiteX3" fmla="*/ 200952 w 203086"/>
                  <a:gd name="connsiteY3" fmla="*/ 172442 h 172441"/>
                  <a:gd name="connsiteX4" fmla="*/ 0 w 203086"/>
                  <a:gd name="connsiteY4" fmla="*/ 2135 h 172441"/>
                  <a:gd name="connsiteX5" fmla="*/ 628 w 203086"/>
                  <a:gd name="connsiteY5" fmla="*/ 1256 h 172441"/>
                  <a:gd name="connsiteX6" fmla="*/ 879 w 203086"/>
                  <a:gd name="connsiteY6" fmla="*/ 1005 h 172441"/>
                  <a:gd name="connsiteX7" fmla="*/ 879 w 203086"/>
                  <a:gd name="connsiteY7" fmla="*/ 1005 h 172441"/>
                  <a:gd name="connsiteX8" fmla="*/ 1633 w 203086"/>
                  <a:gd name="connsiteY8" fmla="*/ 0 h 172441"/>
                  <a:gd name="connsiteX9" fmla="*/ 2010 w 203086"/>
                  <a:gd name="connsiteY9" fmla="*/ 377 h 172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086" h="172441">
                    <a:moveTo>
                      <a:pt x="203087" y="170683"/>
                    </a:moveTo>
                    <a:lnTo>
                      <a:pt x="202333" y="171814"/>
                    </a:lnTo>
                    <a:lnTo>
                      <a:pt x="201077" y="172442"/>
                    </a:lnTo>
                    <a:lnTo>
                      <a:pt x="200952" y="172442"/>
                    </a:lnTo>
                    <a:lnTo>
                      <a:pt x="0" y="2135"/>
                    </a:lnTo>
                    <a:lnTo>
                      <a:pt x="628" y="1256"/>
                    </a:lnTo>
                    <a:lnTo>
                      <a:pt x="879" y="1005"/>
                    </a:lnTo>
                    <a:lnTo>
                      <a:pt x="879" y="1005"/>
                    </a:lnTo>
                    <a:lnTo>
                      <a:pt x="1633" y="0"/>
                    </a:lnTo>
                    <a:lnTo>
                      <a:pt x="2010" y="377"/>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1" name="Freeform: Shape 970">
                <a:extLst>
                  <a:ext uri="{FF2B5EF4-FFF2-40B4-BE49-F238E27FC236}">
                    <a16:creationId xmlns:a16="http://schemas.microsoft.com/office/drawing/2014/main" id="{9DCA539A-57DA-4408-85A5-C31B891D9386}"/>
                  </a:ext>
                </a:extLst>
              </p:cNvPr>
              <p:cNvSpPr/>
              <p:nvPr/>
            </p:nvSpPr>
            <p:spPr>
              <a:xfrm>
                <a:off x="3344593" y="1293350"/>
                <a:ext cx="203086" cy="172316"/>
              </a:xfrm>
              <a:custGeom>
                <a:avLst/>
                <a:gdLst>
                  <a:gd name="connsiteX0" fmla="*/ 203087 w 203086"/>
                  <a:gd name="connsiteY0" fmla="*/ 170558 h 172316"/>
                  <a:gd name="connsiteX1" fmla="*/ 202208 w 203086"/>
                  <a:gd name="connsiteY1" fmla="*/ 171562 h 172316"/>
                  <a:gd name="connsiteX2" fmla="*/ 202208 w 203086"/>
                  <a:gd name="connsiteY2" fmla="*/ 171562 h 172316"/>
                  <a:gd name="connsiteX3" fmla="*/ 200952 w 203086"/>
                  <a:gd name="connsiteY3" fmla="*/ 172316 h 172316"/>
                  <a:gd name="connsiteX4" fmla="*/ 0 w 203086"/>
                  <a:gd name="connsiteY4" fmla="*/ 2010 h 172316"/>
                  <a:gd name="connsiteX5" fmla="*/ 754 w 203086"/>
                  <a:gd name="connsiteY5" fmla="*/ 1130 h 172316"/>
                  <a:gd name="connsiteX6" fmla="*/ 1005 w 203086"/>
                  <a:gd name="connsiteY6" fmla="*/ 879 h 172316"/>
                  <a:gd name="connsiteX7" fmla="*/ 1758 w 203086"/>
                  <a:gd name="connsiteY7" fmla="*/ 0 h 172316"/>
                  <a:gd name="connsiteX8" fmla="*/ 2135 w 203086"/>
                  <a:gd name="connsiteY8" fmla="*/ 251 h 17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3086" h="172316">
                    <a:moveTo>
                      <a:pt x="203087" y="170558"/>
                    </a:moveTo>
                    <a:lnTo>
                      <a:pt x="202208" y="171562"/>
                    </a:lnTo>
                    <a:lnTo>
                      <a:pt x="202208" y="171562"/>
                    </a:lnTo>
                    <a:lnTo>
                      <a:pt x="200952" y="172316"/>
                    </a:lnTo>
                    <a:lnTo>
                      <a:pt x="0" y="2010"/>
                    </a:lnTo>
                    <a:lnTo>
                      <a:pt x="754" y="1130"/>
                    </a:lnTo>
                    <a:lnTo>
                      <a:pt x="1005" y="879"/>
                    </a:lnTo>
                    <a:lnTo>
                      <a:pt x="1758" y="0"/>
                    </a:lnTo>
                    <a:lnTo>
                      <a:pt x="2135" y="251"/>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2" name="Freeform: Shape 971">
                <a:extLst>
                  <a:ext uri="{FF2B5EF4-FFF2-40B4-BE49-F238E27FC236}">
                    <a16:creationId xmlns:a16="http://schemas.microsoft.com/office/drawing/2014/main" id="{955C3915-6ABE-4060-BCF6-1CC231C3687B}"/>
                  </a:ext>
                </a:extLst>
              </p:cNvPr>
              <p:cNvSpPr/>
              <p:nvPr/>
            </p:nvSpPr>
            <p:spPr>
              <a:xfrm>
                <a:off x="3310431" y="1313194"/>
                <a:ext cx="202710" cy="172316"/>
              </a:xfrm>
              <a:custGeom>
                <a:avLst/>
                <a:gdLst>
                  <a:gd name="connsiteX0" fmla="*/ 202710 w 202710"/>
                  <a:gd name="connsiteY0" fmla="*/ 170683 h 172316"/>
                  <a:gd name="connsiteX1" fmla="*/ 201831 w 202710"/>
                  <a:gd name="connsiteY1" fmla="*/ 171688 h 172316"/>
                  <a:gd name="connsiteX2" fmla="*/ 201831 w 202710"/>
                  <a:gd name="connsiteY2" fmla="*/ 171688 h 172316"/>
                  <a:gd name="connsiteX3" fmla="*/ 200575 w 202710"/>
                  <a:gd name="connsiteY3" fmla="*/ 172316 h 172316"/>
                  <a:gd name="connsiteX4" fmla="*/ 0 w 202710"/>
                  <a:gd name="connsiteY4" fmla="*/ 2135 h 172316"/>
                  <a:gd name="connsiteX5" fmla="*/ 754 w 202710"/>
                  <a:gd name="connsiteY5" fmla="*/ 1256 h 172316"/>
                  <a:gd name="connsiteX6" fmla="*/ 1005 w 202710"/>
                  <a:gd name="connsiteY6" fmla="*/ 879 h 172316"/>
                  <a:gd name="connsiteX7" fmla="*/ 1005 w 202710"/>
                  <a:gd name="connsiteY7" fmla="*/ 879 h 172316"/>
                  <a:gd name="connsiteX8" fmla="*/ 1759 w 202710"/>
                  <a:gd name="connsiteY8" fmla="*/ 0 h 172316"/>
                  <a:gd name="connsiteX9" fmla="*/ 2010 w 202710"/>
                  <a:gd name="connsiteY9" fmla="*/ 377 h 17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10" h="172316">
                    <a:moveTo>
                      <a:pt x="202710" y="170683"/>
                    </a:moveTo>
                    <a:lnTo>
                      <a:pt x="201831" y="171688"/>
                    </a:lnTo>
                    <a:lnTo>
                      <a:pt x="201831" y="171688"/>
                    </a:lnTo>
                    <a:lnTo>
                      <a:pt x="200575" y="172316"/>
                    </a:lnTo>
                    <a:lnTo>
                      <a:pt x="0" y="2135"/>
                    </a:lnTo>
                    <a:lnTo>
                      <a:pt x="754" y="1256"/>
                    </a:lnTo>
                    <a:lnTo>
                      <a:pt x="1005" y="879"/>
                    </a:lnTo>
                    <a:lnTo>
                      <a:pt x="1005" y="879"/>
                    </a:lnTo>
                    <a:lnTo>
                      <a:pt x="1759" y="0"/>
                    </a:lnTo>
                    <a:lnTo>
                      <a:pt x="2010" y="377"/>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3" name="Freeform: Shape 972">
                <a:extLst>
                  <a:ext uri="{FF2B5EF4-FFF2-40B4-BE49-F238E27FC236}">
                    <a16:creationId xmlns:a16="http://schemas.microsoft.com/office/drawing/2014/main" id="{B1110E87-1963-4D75-B4DD-BC2C5ABF9829}"/>
                  </a:ext>
                </a:extLst>
              </p:cNvPr>
              <p:cNvSpPr/>
              <p:nvPr/>
            </p:nvSpPr>
            <p:spPr>
              <a:xfrm>
                <a:off x="3276143" y="1333290"/>
                <a:ext cx="202584" cy="172190"/>
              </a:xfrm>
              <a:custGeom>
                <a:avLst/>
                <a:gdLst>
                  <a:gd name="connsiteX0" fmla="*/ 202584 w 202584"/>
                  <a:gd name="connsiteY0" fmla="*/ 170432 h 172190"/>
                  <a:gd name="connsiteX1" fmla="*/ 201705 w 202584"/>
                  <a:gd name="connsiteY1" fmla="*/ 171437 h 172190"/>
                  <a:gd name="connsiteX2" fmla="*/ 200450 w 202584"/>
                  <a:gd name="connsiteY2" fmla="*/ 172190 h 172190"/>
                  <a:gd name="connsiteX3" fmla="*/ 200324 w 202584"/>
                  <a:gd name="connsiteY3" fmla="*/ 172190 h 172190"/>
                  <a:gd name="connsiteX4" fmla="*/ 0 w 202584"/>
                  <a:gd name="connsiteY4" fmla="*/ 2010 h 172190"/>
                  <a:gd name="connsiteX5" fmla="*/ 628 w 202584"/>
                  <a:gd name="connsiteY5" fmla="*/ 1130 h 172190"/>
                  <a:gd name="connsiteX6" fmla="*/ 1005 w 202584"/>
                  <a:gd name="connsiteY6" fmla="*/ 754 h 172190"/>
                  <a:gd name="connsiteX7" fmla="*/ 1759 w 202584"/>
                  <a:gd name="connsiteY7" fmla="*/ 0 h 172190"/>
                  <a:gd name="connsiteX8" fmla="*/ 2010 w 202584"/>
                  <a:gd name="connsiteY8" fmla="*/ 251 h 17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584" h="172190">
                    <a:moveTo>
                      <a:pt x="202584" y="170432"/>
                    </a:moveTo>
                    <a:lnTo>
                      <a:pt x="201705" y="171437"/>
                    </a:lnTo>
                    <a:lnTo>
                      <a:pt x="200450" y="172190"/>
                    </a:lnTo>
                    <a:lnTo>
                      <a:pt x="200324" y="172190"/>
                    </a:lnTo>
                    <a:lnTo>
                      <a:pt x="0" y="2010"/>
                    </a:lnTo>
                    <a:lnTo>
                      <a:pt x="628" y="1130"/>
                    </a:lnTo>
                    <a:lnTo>
                      <a:pt x="1005" y="754"/>
                    </a:lnTo>
                    <a:lnTo>
                      <a:pt x="1759" y="0"/>
                    </a:lnTo>
                    <a:lnTo>
                      <a:pt x="2010" y="251"/>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4" name="Freeform: Shape 973">
                <a:extLst>
                  <a:ext uri="{FF2B5EF4-FFF2-40B4-BE49-F238E27FC236}">
                    <a16:creationId xmlns:a16="http://schemas.microsoft.com/office/drawing/2014/main" id="{52BDE864-E249-4BCD-B51A-ED38545CBAF8}"/>
                  </a:ext>
                </a:extLst>
              </p:cNvPr>
              <p:cNvSpPr/>
              <p:nvPr/>
            </p:nvSpPr>
            <p:spPr>
              <a:xfrm>
                <a:off x="3241856" y="1353259"/>
                <a:ext cx="202333" cy="172190"/>
              </a:xfrm>
              <a:custGeom>
                <a:avLst/>
                <a:gdLst>
                  <a:gd name="connsiteX0" fmla="*/ 202333 w 202333"/>
                  <a:gd name="connsiteY0" fmla="*/ 170432 h 172190"/>
                  <a:gd name="connsiteX1" fmla="*/ 201454 w 202333"/>
                  <a:gd name="connsiteY1" fmla="*/ 171437 h 172190"/>
                  <a:gd name="connsiteX2" fmla="*/ 201454 w 202333"/>
                  <a:gd name="connsiteY2" fmla="*/ 171437 h 172190"/>
                  <a:gd name="connsiteX3" fmla="*/ 200198 w 202333"/>
                  <a:gd name="connsiteY3" fmla="*/ 172190 h 172190"/>
                  <a:gd name="connsiteX4" fmla="*/ 0 w 202333"/>
                  <a:gd name="connsiteY4" fmla="*/ 2010 h 172190"/>
                  <a:gd name="connsiteX5" fmla="*/ 754 w 202333"/>
                  <a:gd name="connsiteY5" fmla="*/ 1130 h 172190"/>
                  <a:gd name="connsiteX6" fmla="*/ 1005 w 202333"/>
                  <a:gd name="connsiteY6" fmla="*/ 754 h 172190"/>
                  <a:gd name="connsiteX7" fmla="*/ 1633 w 202333"/>
                  <a:gd name="connsiteY7" fmla="*/ 0 h 172190"/>
                  <a:gd name="connsiteX8" fmla="*/ 2010 w 202333"/>
                  <a:gd name="connsiteY8" fmla="*/ 126 h 17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333" h="172190">
                    <a:moveTo>
                      <a:pt x="202333" y="170432"/>
                    </a:moveTo>
                    <a:lnTo>
                      <a:pt x="201454" y="171437"/>
                    </a:lnTo>
                    <a:lnTo>
                      <a:pt x="201454" y="171437"/>
                    </a:lnTo>
                    <a:lnTo>
                      <a:pt x="200198" y="172190"/>
                    </a:lnTo>
                    <a:lnTo>
                      <a:pt x="0" y="2010"/>
                    </a:lnTo>
                    <a:lnTo>
                      <a:pt x="754" y="1130"/>
                    </a:lnTo>
                    <a:lnTo>
                      <a:pt x="1005" y="754"/>
                    </a:lnTo>
                    <a:lnTo>
                      <a:pt x="1633" y="0"/>
                    </a:lnTo>
                    <a:lnTo>
                      <a:pt x="2010"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5" name="Freeform: Shape 974">
                <a:extLst>
                  <a:ext uri="{FF2B5EF4-FFF2-40B4-BE49-F238E27FC236}">
                    <a16:creationId xmlns:a16="http://schemas.microsoft.com/office/drawing/2014/main" id="{5827AC3B-0962-4EF2-A9CA-3400FB8ED845}"/>
                  </a:ext>
                </a:extLst>
              </p:cNvPr>
              <p:cNvSpPr/>
              <p:nvPr/>
            </p:nvSpPr>
            <p:spPr>
              <a:xfrm>
                <a:off x="3207569" y="1373229"/>
                <a:ext cx="202081" cy="172064"/>
              </a:xfrm>
              <a:custGeom>
                <a:avLst/>
                <a:gdLst>
                  <a:gd name="connsiteX0" fmla="*/ 202082 w 202081"/>
                  <a:gd name="connsiteY0" fmla="*/ 170307 h 172064"/>
                  <a:gd name="connsiteX1" fmla="*/ 201328 w 202081"/>
                  <a:gd name="connsiteY1" fmla="*/ 171311 h 172064"/>
                  <a:gd name="connsiteX2" fmla="*/ 201328 w 202081"/>
                  <a:gd name="connsiteY2" fmla="*/ 171311 h 172064"/>
                  <a:gd name="connsiteX3" fmla="*/ 199947 w 202081"/>
                  <a:gd name="connsiteY3" fmla="*/ 172065 h 172064"/>
                  <a:gd name="connsiteX4" fmla="*/ 0 w 202081"/>
                  <a:gd name="connsiteY4" fmla="*/ 2010 h 172064"/>
                  <a:gd name="connsiteX5" fmla="*/ 754 w 202081"/>
                  <a:gd name="connsiteY5" fmla="*/ 1130 h 172064"/>
                  <a:gd name="connsiteX6" fmla="*/ 1130 w 202081"/>
                  <a:gd name="connsiteY6" fmla="*/ 628 h 172064"/>
                  <a:gd name="connsiteX7" fmla="*/ 1130 w 202081"/>
                  <a:gd name="connsiteY7" fmla="*/ 628 h 172064"/>
                  <a:gd name="connsiteX8" fmla="*/ 1759 w 202081"/>
                  <a:gd name="connsiteY8" fmla="*/ 0 h 172064"/>
                  <a:gd name="connsiteX9" fmla="*/ 1884 w 202081"/>
                  <a:gd name="connsiteY9" fmla="*/ 126 h 17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081" h="172064">
                    <a:moveTo>
                      <a:pt x="202082" y="170307"/>
                    </a:moveTo>
                    <a:lnTo>
                      <a:pt x="201328" y="171311"/>
                    </a:lnTo>
                    <a:lnTo>
                      <a:pt x="201328" y="171311"/>
                    </a:lnTo>
                    <a:lnTo>
                      <a:pt x="199947" y="172065"/>
                    </a:lnTo>
                    <a:lnTo>
                      <a:pt x="0" y="2010"/>
                    </a:lnTo>
                    <a:lnTo>
                      <a:pt x="754" y="1130"/>
                    </a:lnTo>
                    <a:lnTo>
                      <a:pt x="1130" y="628"/>
                    </a:lnTo>
                    <a:lnTo>
                      <a:pt x="1130" y="628"/>
                    </a:lnTo>
                    <a:lnTo>
                      <a:pt x="1759" y="0"/>
                    </a:lnTo>
                    <a:lnTo>
                      <a:pt x="1884"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6" name="Freeform: Shape 975">
                <a:extLst>
                  <a:ext uri="{FF2B5EF4-FFF2-40B4-BE49-F238E27FC236}">
                    <a16:creationId xmlns:a16="http://schemas.microsoft.com/office/drawing/2014/main" id="{1241493F-516D-4F66-8559-1D94F1742DAB}"/>
                  </a:ext>
                </a:extLst>
              </p:cNvPr>
              <p:cNvSpPr/>
              <p:nvPr/>
            </p:nvSpPr>
            <p:spPr>
              <a:xfrm>
                <a:off x="3173281" y="1393198"/>
                <a:ext cx="201956" cy="172064"/>
              </a:xfrm>
              <a:custGeom>
                <a:avLst/>
                <a:gdLst>
                  <a:gd name="connsiteX0" fmla="*/ 201957 w 201956"/>
                  <a:gd name="connsiteY0" fmla="*/ 170307 h 172064"/>
                  <a:gd name="connsiteX1" fmla="*/ 201203 w 201956"/>
                  <a:gd name="connsiteY1" fmla="*/ 171186 h 172064"/>
                  <a:gd name="connsiteX2" fmla="*/ 201077 w 201956"/>
                  <a:gd name="connsiteY2" fmla="*/ 171311 h 172064"/>
                  <a:gd name="connsiteX3" fmla="*/ 199821 w 201956"/>
                  <a:gd name="connsiteY3" fmla="*/ 172065 h 172064"/>
                  <a:gd name="connsiteX4" fmla="*/ 199821 w 201956"/>
                  <a:gd name="connsiteY4" fmla="*/ 172065 h 172064"/>
                  <a:gd name="connsiteX5" fmla="*/ 0 w 201956"/>
                  <a:gd name="connsiteY5" fmla="*/ 2010 h 172064"/>
                  <a:gd name="connsiteX6" fmla="*/ 754 w 201956"/>
                  <a:gd name="connsiteY6" fmla="*/ 1130 h 172064"/>
                  <a:gd name="connsiteX7" fmla="*/ 1131 w 201956"/>
                  <a:gd name="connsiteY7" fmla="*/ 628 h 172064"/>
                  <a:gd name="connsiteX8" fmla="*/ 1256 w 201956"/>
                  <a:gd name="connsiteY8" fmla="*/ 628 h 172064"/>
                  <a:gd name="connsiteX9" fmla="*/ 1759 w 201956"/>
                  <a:gd name="connsiteY9" fmla="*/ 0 h 172064"/>
                  <a:gd name="connsiteX10" fmla="*/ 1884 w 201956"/>
                  <a:gd name="connsiteY10" fmla="*/ 126 h 17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1956" h="172064">
                    <a:moveTo>
                      <a:pt x="201957" y="170307"/>
                    </a:moveTo>
                    <a:lnTo>
                      <a:pt x="201203" y="171186"/>
                    </a:lnTo>
                    <a:lnTo>
                      <a:pt x="201077" y="171311"/>
                    </a:lnTo>
                    <a:lnTo>
                      <a:pt x="199821" y="172065"/>
                    </a:lnTo>
                    <a:lnTo>
                      <a:pt x="199821" y="172065"/>
                    </a:lnTo>
                    <a:lnTo>
                      <a:pt x="0" y="2010"/>
                    </a:lnTo>
                    <a:lnTo>
                      <a:pt x="754" y="1130"/>
                    </a:lnTo>
                    <a:lnTo>
                      <a:pt x="1131" y="628"/>
                    </a:lnTo>
                    <a:lnTo>
                      <a:pt x="1256" y="628"/>
                    </a:lnTo>
                    <a:lnTo>
                      <a:pt x="1759" y="0"/>
                    </a:lnTo>
                    <a:lnTo>
                      <a:pt x="1884"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7" name="Freeform: Shape 976">
                <a:extLst>
                  <a:ext uri="{FF2B5EF4-FFF2-40B4-BE49-F238E27FC236}">
                    <a16:creationId xmlns:a16="http://schemas.microsoft.com/office/drawing/2014/main" id="{B3CAEF43-8A9D-45F9-A50D-6EAD5D75258B}"/>
                  </a:ext>
                </a:extLst>
              </p:cNvPr>
              <p:cNvSpPr/>
              <p:nvPr/>
            </p:nvSpPr>
            <p:spPr>
              <a:xfrm>
                <a:off x="3138994" y="1413168"/>
                <a:ext cx="201705" cy="171939"/>
              </a:xfrm>
              <a:custGeom>
                <a:avLst/>
                <a:gdLst>
                  <a:gd name="connsiteX0" fmla="*/ 201705 w 201705"/>
                  <a:gd name="connsiteY0" fmla="*/ 170181 h 171939"/>
                  <a:gd name="connsiteX1" fmla="*/ 200826 w 201705"/>
                  <a:gd name="connsiteY1" fmla="*/ 171186 h 171939"/>
                  <a:gd name="connsiteX2" fmla="*/ 199570 w 201705"/>
                  <a:gd name="connsiteY2" fmla="*/ 171939 h 171939"/>
                  <a:gd name="connsiteX3" fmla="*/ 199570 w 201705"/>
                  <a:gd name="connsiteY3" fmla="*/ 171939 h 171939"/>
                  <a:gd name="connsiteX4" fmla="*/ 0 w 201705"/>
                  <a:gd name="connsiteY4" fmla="*/ 2010 h 171939"/>
                  <a:gd name="connsiteX5" fmla="*/ 754 w 201705"/>
                  <a:gd name="connsiteY5" fmla="*/ 1130 h 171939"/>
                  <a:gd name="connsiteX6" fmla="*/ 1130 w 201705"/>
                  <a:gd name="connsiteY6" fmla="*/ 628 h 171939"/>
                  <a:gd name="connsiteX7" fmla="*/ 1256 w 201705"/>
                  <a:gd name="connsiteY7" fmla="*/ 628 h 171939"/>
                  <a:gd name="connsiteX8" fmla="*/ 1758 w 201705"/>
                  <a:gd name="connsiteY8" fmla="*/ 0 h 171939"/>
                  <a:gd name="connsiteX9" fmla="*/ 1884 w 201705"/>
                  <a:gd name="connsiteY9" fmla="*/ 126 h 17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705" h="171939">
                    <a:moveTo>
                      <a:pt x="201705" y="170181"/>
                    </a:moveTo>
                    <a:lnTo>
                      <a:pt x="200826" y="171186"/>
                    </a:lnTo>
                    <a:lnTo>
                      <a:pt x="199570" y="171939"/>
                    </a:lnTo>
                    <a:lnTo>
                      <a:pt x="199570" y="171939"/>
                    </a:lnTo>
                    <a:lnTo>
                      <a:pt x="0" y="2010"/>
                    </a:lnTo>
                    <a:lnTo>
                      <a:pt x="754" y="1130"/>
                    </a:lnTo>
                    <a:lnTo>
                      <a:pt x="1130" y="628"/>
                    </a:lnTo>
                    <a:lnTo>
                      <a:pt x="1256" y="628"/>
                    </a:lnTo>
                    <a:lnTo>
                      <a:pt x="1758" y="0"/>
                    </a:lnTo>
                    <a:lnTo>
                      <a:pt x="1884"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8" name="Freeform: Shape 977">
                <a:extLst>
                  <a:ext uri="{FF2B5EF4-FFF2-40B4-BE49-F238E27FC236}">
                    <a16:creationId xmlns:a16="http://schemas.microsoft.com/office/drawing/2014/main" id="{4360128E-F66A-490B-98D1-53F258853542}"/>
                  </a:ext>
                </a:extLst>
              </p:cNvPr>
              <p:cNvSpPr/>
              <p:nvPr/>
            </p:nvSpPr>
            <p:spPr>
              <a:xfrm>
                <a:off x="3104707" y="1433137"/>
                <a:ext cx="201454" cy="171939"/>
              </a:xfrm>
              <a:custGeom>
                <a:avLst/>
                <a:gdLst>
                  <a:gd name="connsiteX0" fmla="*/ 201454 w 201454"/>
                  <a:gd name="connsiteY0" fmla="*/ 170181 h 171939"/>
                  <a:gd name="connsiteX1" fmla="*/ 200701 w 201454"/>
                  <a:gd name="connsiteY1" fmla="*/ 171186 h 171939"/>
                  <a:gd name="connsiteX2" fmla="*/ 200701 w 201454"/>
                  <a:gd name="connsiteY2" fmla="*/ 171186 h 171939"/>
                  <a:gd name="connsiteX3" fmla="*/ 199445 w 201454"/>
                  <a:gd name="connsiteY3" fmla="*/ 171939 h 171939"/>
                  <a:gd name="connsiteX4" fmla="*/ 0 w 201454"/>
                  <a:gd name="connsiteY4" fmla="*/ 2010 h 171939"/>
                  <a:gd name="connsiteX5" fmla="*/ 754 w 201454"/>
                  <a:gd name="connsiteY5" fmla="*/ 1130 h 171939"/>
                  <a:gd name="connsiteX6" fmla="*/ 1256 w 201454"/>
                  <a:gd name="connsiteY6" fmla="*/ 502 h 171939"/>
                  <a:gd name="connsiteX7" fmla="*/ 1758 w 201454"/>
                  <a:gd name="connsiteY7" fmla="*/ 0 h 171939"/>
                  <a:gd name="connsiteX8" fmla="*/ 1884 w 201454"/>
                  <a:gd name="connsiteY8" fmla="*/ 126 h 17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454" h="171939">
                    <a:moveTo>
                      <a:pt x="201454" y="170181"/>
                    </a:moveTo>
                    <a:lnTo>
                      <a:pt x="200701" y="171186"/>
                    </a:lnTo>
                    <a:lnTo>
                      <a:pt x="200701" y="171186"/>
                    </a:lnTo>
                    <a:lnTo>
                      <a:pt x="199445" y="171939"/>
                    </a:lnTo>
                    <a:lnTo>
                      <a:pt x="0" y="2010"/>
                    </a:lnTo>
                    <a:lnTo>
                      <a:pt x="754" y="1130"/>
                    </a:lnTo>
                    <a:lnTo>
                      <a:pt x="1256" y="502"/>
                    </a:lnTo>
                    <a:lnTo>
                      <a:pt x="1758" y="0"/>
                    </a:lnTo>
                    <a:lnTo>
                      <a:pt x="1884"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9" name="Freeform: Shape 978">
                <a:extLst>
                  <a:ext uri="{FF2B5EF4-FFF2-40B4-BE49-F238E27FC236}">
                    <a16:creationId xmlns:a16="http://schemas.microsoft.com/office/drawing/2014/main" id="{00A498B4-5B0F-4425-ADA6-A6A7A1BBC895}"/>
                  </a:ext>
                </a:extLst>
              </p:cNvPr>
              <p:cNvSpPr/>
              <p:nvPr/>
            </p:nvSpPr>
            <p:spPr>
              <a:xfrm>
                <a:off x="3071173" y="1453107"/>
                <a:ext cx="200575" cy="171185"/>
              </a:xfrm>
              <a:custGeom>
                <a:avLst/>
                <a:gdLst>
                  <a:gd name="connsiteX0" fmla="*/ 200575 w 200575"/>
                  <a:gd name="connsiteY0" fmla="*/ 170055 h 171185"/>
                  <a:gd name="connsiteX1" fmla="*/ 199696 w 200575"/>
                  <a:gd name="connsiteY1" fmla="*/ 171060 h 171185"/>
                  <a:gd name="connsiteX2" fmla="*/ 199696 w 200575"/>
                  <a:gd name="connsiteY2" fmla="*/ 171186 h 171185"/>
                  <a:gd name="connsiteX3" fmla="*/ 197184 w 200575"/>
                  <a:gd name="connsiteY3" fmla="*/ 169302 h 171185"/>
                  <a:gd name="connsiteX4" fmla="*/ 197058 w 200575"/>
                  <a:gd name="connsiteY4" fmla="*/ 169176 h 171185"/>
                  <a:gd name="connsiteX5" fmla="*/ 0 w 200575"/>
                  <a:gd name="connsiteY5" fmla="*/ 1130 h 171185"/>
                  <a:gd name="connsiteX6" fmla="*/ 502 w 200575"/>
                  <a:gd name="connsiteY6" fmla="*/ 502 h 171185"/>
                  <a:gd name="connsiteX7" fmla="*/ 1005 w 200575"/>
                  <a:gd name="connsiteY7" fmla="*/ 0 h 171185"/>
                  <a:gd name="connsiteX8" fmla="*/ 1130 w 200575"/>
                  <a:gd name="connsiteY8" fmla="*/ 126 h 17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575" h="171185">
                    <a:moveTo>
                      <a:pt x="200575" y="170055"/>
                    </a:moveTo>
                    <a:lnTo>
                      <a:pt x="199696" y="171060"/>
                    </a:lnTo>
                    <a:lnTo>
                      <a:pt x="199696" y="171186"/>
                    </a:lnTo>
                    <a:lnTo>
                      <a:pt x="197184" y="169302"/>
                    </a:lnTo>
                    <a:lnTo>
                      <a:pt x="197058" y="169176"/>
                    </a:lnTo>
                    <a:lnTo>
                      <a:pt x="0" y="1130"/>
                    </a:lnTo>
                    <a:lnTo>
                      <a:pt x="502" y="502"/>
                    </a:lnTo>
                    <a:lnTo>
                      <a:pt x="1005" y="0"/>
                    </a:lnTo>
                    <a:lnTo>
                      <a:pt x="1130"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0" name="Freeform: Shape 979">
                <a:extLst>
                  <a:ext uri="{FF2B5EF4-FFF2-40B4-BE49-F238E27FC236}">
                    <a16:creationId xmlns:a16="http://schemas.microsoft.com/office/drawing/2014/main" id="{7B5E7C15-298C-4B42-9CF7-6DBB2C69946F}"/>
                  </a:ext>
                </a:extLst>
              </p:cNvPr>
              <p:cNvSpPr/>
              <p:nvPr/>
            </p:nvSpPr>
            <p:spPr>
              <a:xfrm>
                <a:off x="3256174" y="1177050"/>
                <a:ext cx="192160" cy="58652"/>
              </a:xfrm>
              <a:custGeom>
                <a:avLst/>
                <a:gdLst>
                  <a:gd name="connsiteX0" fmla="*/ 192160 w 192160"/>
                  <a:gd name="connsiteY0" fmla="*/ 57397 h 58652"/>
                  <a:gd name="connsiteX1" fmla="*/ 191784 w 192160"/>
                  <a:gd name="connsiteY1" fmla="*/ 58653 h 58652"/>
                  <a:gd name="connsiteX2" fmla="*/ 190653 w 192160"/>
                  <a:gd name="connsiteY2" fmla="*/ 58276 h 58652"/>
                  <a:gd name="connsiteX3" fmla="*/ 0 w 192160"/>
                  <a:gd name="connsiteY3" fmla="*/ 754 h 58652"/>
                  <a:gd name="connsiteX4" fmla="*/ 1382 w 192160"/>
                  <a:gd name="connsiteY4" fmla="*/ 0 h 58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160" h="58652">
                    <a:moveTo>
                      <a:pt x="192160" y="57397"/>
                    </a:moveTo>
                    <a:lnTo>
                      <a:pt x="191784" y="58653"/>
                    </a:lnTo>
                    <a:lnTo>
                      <a:pt x="190653" y="58276"/>
                    </a:lnTo>
                    <a:lnTo>
                      <a:pt x="0" y="754"/>
                    </a:lnTo>
                    <a:lnTo>
                      <a:pt x="1382"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1" name="Freeform: Shape 980">
                <a:extLst>
                  <a:ext uri="{FF2B5EF4-FFF2-40B4-BE49-F238E27FC236}">
                    <a16:creationId xmlns:a16="http://schemas.microsoft.com/office/drawing/2014/main" id="{88BD0B3C-FB67-45F0-9934-4656A42F4F09}"/>
                  </a:ext>
                </a:extLst>
              </p:cNvPr>
              <p:cNvSpPr/>
              <p:nvPr/>
            </p:nvSpPr>
            <p:spPr>
              <a:xfrm>
                <a:off x="3221761" y="1195763"/>
                <a:ext cx="192788" cy="59908"/>
              </a:xfrm>
              <a:custGeom>
                <a:avLst/>
                <a:gdLst>
                  <a:gd name="connsiteX0" fmla="*/ 192788 w 192788"/>
                  <a:gd name="connsiteY0" fmla="*/ 57271 h 59908"/>
                  <a:gd name="connsiteX1" fmla="*/ 192411 w 192788"/>
                  <a:gd name="connsiteY1" fmla="*/ 58527 h 59908"/>
                  <a:gd name="connsiteX2" fmla="*/ 191909 w 192788"/>
                  <a:gd name="connsiteY2" fmla="*/ 59909 h 59908"/>
                  <a:gd name="connsiteX3" fmla="*/ 190779 w 192788"/>
                  <a:gd name="connsiteY3" fmla="*/ 59532 h 59908"/>
                  <a:gd name="connsiteX4" fmla="*/ 0 w 192788"/>
                  <a:gd name="connsiteY4" fmla="*/ 1758 h 59908"/>
                  <a:gd name="connsiteX5" fmla="*/ 3266 w 192788"/>
                  <a:gd name="connsiteY5" fmla="*/ 0 h 59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788" h="59908">
                    <a:moveTo>
                      <a:pt x="192788" y="57271"/>
                    </a:moveTo>
                    <a:lnTo>
                      <a:pt x="192411" y="58527"/>
                    </a:lnTo>
                    <a:lnTo>
                      <a:pt x="191909" y="59909"/>
                    </a:lnTo>
                    <a:lnTo>
                      <a:pt x="190779" y="59532"/>
                    </a:lnTo>
                    <a:lnTo>
                      <a:pt x="0" y="1758"/>
                    </a:lnTo>
                    <a:lnTo>
                      <a:pt x="3266"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2" name="Freeform: Shape 981">
                <a:extLst>
                  <a:ext uri="{FF2B5EF4-FFF2-40B4-BE49-F238E27FC236}">
                    <a16:creationId xmlns:a16="http://schemas.microsoft.com/office/drawing/2014/main" id="{BFF3907C-B84F-4229-84C5-6951ED5C8726}"/>
                  </a:ext>
                </a:extLst>
              </p:cNvPr>
              <p:cNvSpPr/>
              <p:nvPr/>
            </p:nvSpPr>
            <p:spPr>
              <a:xfrm>
                <a:off x="3187348" y="1215482"/>
                <a:ext cx="192913" cy="60159"/>
              </a:xfrm>
              <a:custGeom>
                <a:avLst/>
                <a:gdLst>
                  <a:gd name="connsiteX0" fmla="*/ 192913 w 192913"/>
                  <a:gd name="connsiteY0" fmla="*/ 57522 h 60159"/>
                  <a:gd name="connsiteX1" fmla="*/ 192537 w 192913"/>
                  <a:gd name="connsiteY1" fmla="*/ 58778 h 60159"/>
                  <a:gd name="connsiteX2" fmla="*/ 192160 w 192913"/>
                  <a:gd name="connsiteY2" fmla="*/ 60160 h 60159"/>
                  <a:gd name="connsiteX3" fmla="*/ 190779 w 192913"/>
                  <a:gd name="connsiteY3" fmla="*/ 59783 h 60159"/>
                  <a:gd name="connsiteX4" fmla="*/ 0 w 192913"/>
                  <a:gd name="connsiteY4" fmla="*/ 1884 h 60159"/>
                  <a:gd name="connsiteX5" fmla="*/ 3265 w 192913"/>
                  <a:gd name="connsiteY5" fmla="*/ 0 h 6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913" h="60159">
                    <a:moveTo>
                      <a:pt x="192913" y="57522"/>
                    </a:moveTo>
                    <a:lnTo>
                      <a:pt x="192537" y="58778"/>
                    </a:lnTo>
                    <a:lnTo>
                      <a:pt x="192160" y="60160"/>
                    </a:lnTo>
                    <a:lnTo>
                      <a:pt x="190779" y="59783"/>
                    </a:lnTo>
                    <a:lnTo>
                      <a:pt x="0" y="1884"/>
                    </a:lnTo>
                    <a:lnTo>
                      <a:pt x="3265"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3" name="Freeform: Shape 982">
                <a:extLst>
                  <a:ext uri="{FF2B5EF4-FFF2-40B4-BE49-F238E27FC236}">
                    <a16:creationId xmlns:a16="http://schemas.microsoft.com/office/drawing/2014/main" id="{D1C34C6A-6F82-4094-90F1-A8EC81485863}"/>
                  </a:ext>
                </a:extLst>
              </p:cNvPr>
              <p:cNvSpPr/>
              <p:nvPr/>
            </p:nvSpPr>
            <p:spPr>
              <a:xfrm>
                <a:off x="3152935" y="1235326"/>
                <a:ext cx="193039" cy="60285"/>
              </a:xfrm>
              <a:custGeom>
                <a:avLst/>
                <a:gdLst>
                  <a:gd name="connsiteX0" fmla="*/ 193039 w 193039"/>
                  <a:gd name="connsiteY0" fmla="*/ 57648 h 60285"/>
                  <a:gd name="connsiteX1" fmla="*/ 192662 w 193039"/>
                  <a:gd name="connsiteY1" fmla="*/ 58904 h 60285"/>
                  <a:gd name="connsiteX2" fmla="*/ 192160 w 193039"/>
                  <a:gd name="connsiteY2" fmla="*/ 60286 h 60285"/>
                  <a:gd name="connsiteX3" fmla="*/ 190904 w 193039"/>
                  <a:gd name="connsiteY3" fmla="*/ 59909 h 60285"/>
                  <a:gd name="connsiteX4" fmla="*/ 190904 w 193039"/>
                  <a:gd name="connsiteY4" fmla="*/ 59909 h 60285"/>
                  <a:gd name="connsiteX5" fmla="*/ 0 w 193039"/>
                  <a:gd name="connsiteY5" fmla="*/ 1884 h 60285"/>
                  <a:gd name="connsiteX6" fmla="*/ 3266 w 193039"/>
                  <a:gd name="connsiteY6" fmla="*/ 0 h 60285"/>
                  <a:gd name="connsiteX7" fmla="*/ 3266 w 193039"/>
                  <a:gd name="connsiteY7" fmla="*/ 0 h 6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039" h="60285">
                    <a:moveTo>
                      <a:pt x="193039" y="57648"/>
                    </a:moveTo>
                    <a:lnTo>
                      <a:pt x="192662" y="58904"/>
                    </a:lnTo>
                    <a:lnTo>
                      <a:pt x="192160" y="60286"/>
                    </a:lnTo>
                    <a:lnTo>
                      <a:pt x="190904" y="59909"/>
                    </a:lnTo>
                    <a:lnTo>
                      <a:pt x="190904" y="59909"/>
                    </a:lnTo>
                    <a:lnTo>
                      <a:pt x="0" y="1884"/>
                    </a:lnTo>
                    <a:lnTo>
                      <a:pt x="3266" y="0"/>
                    </a:lnTo>
                    <a:lnTo>
                      <a:pt x="3266"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4" name="Freeform: Shape 983">
                <a:extLst>
                  <a:ext uri="{FF2B5EF4-FFF2-40B4-BE49-F238E27FC236}">
                    <a16:creationId xmlns:a16="http://schemas.microsoft.com/office/drawing/2014/main" id="{86F6D4CD-9B03-432F-B95E-5530297AE721}"/>
                  </a:ext>
                </a:extLst>
              </p:cNvPr>
              <p:cNvSpPr/>
              <p:nvPr/>
            </p:nvSpPr>
            <p:spPr>
              <a:xfrm>
                <a:off x="3118648" y="1255170"/>
                <a:ext cx="193039" cy="60411"/>
              </a:xfrm>
              <a:custGeom>
                <a:avLst/>
                <a:gdLst>
                  <a:gd name="connsiteX0" fmla="*/ 193039 w 193039"/>
                  <a:gd name="connsiteY0" fmla="*/ 57774 h 60411"/>
                  <a:gd name="connsiteX1" fmla="*/ 192663 w 193039"/>
                  <a:gd name="connsiteY1" fmla="*/ 59030 h 60411"/>
                  <a:gd name="connsiteX2" fmla="*/ 192286 w 193039"/>
                  <a:gd name="connsiteY2" fmla="*/ 60411 h 60411"/>
                  <a:gd name="connsiteX3" fmla="*/ 190904 w 193039"/>
                  <a:gd name="connsiteY3" fmla="*/ 60034 h 60411"/>
                  <a:gd name="connsiteX4" fmla="*/ 0 w 193039"/>
                  <a:gd name="connsiteY4" fmla="*/ 1758 h 60411"/>
                  <a:gd name="connsiteX5" fmla="*/ 3140 w 193039"/>
                  <a:gd name="connsiteY5" fmla="*/ 0 h 60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039" h="60411">
                    <a:moveTo>
                      <a:pt x="193039" y="57774"/>
                    </a:moveTo>
                    <a:lnTo>
                      <a:pt x="192663" y="59030"/>
                    </a:lnTo>
                    <a:lnTo>
                      <a:pt x="192286" y="60411"/>
                    </a:lnTo>
                    <a:lnTo>
                      <a:pt x="190904" y="60034"/>
                    </a:lnTo>
                    <a:lnTo>
                      <a:pt x="0" y="1758"/>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5" name="Freeform: Shape 984">
                <a:extLst>
                  <a:ext uri="{FF2B5EF4-FFF2-40B4-BE49-F238E27FC236}">
                    <a16:creationId xmlns:a16="http://schemas.microsoft.com/office/drawing/2014/main" id="{AD8F46F0-1A06-44CD-BD9D-09752F987557}"/>
                  </a:ext>
                </a:extLst>
              </p:cNvPr>
              <p:cNvSpPr/>
              <p:nvPr/>
            </p:nvSpPr>
            <p:spPr>
              <a:xfrm>
                <a:off x="3084235" y="1274888"/>
                <a:ext cx="193164" cy="60662"/>
              </a:xfrm>
              <a:custGeom>
                <a:avLst/>
                <a:gdLst>
                  <a:gd name="connsiteX0" fmla="*/ 193165 w 193164"/>
                  <a:gd name="connsiteY0" fmla="*/ 58025 h 60662"/>
                  <a:gd name="connsiteX1" fmla="*/ 192788 w 193164"/>
                  <a:gd name="connsiteY1" fmla="*/ 59281 h 60662"/>
                  <a:gd name="connsiteX2" fmla="*/ 192411 w 193164"/>
                  <a:gd name="connsiteY2" fmla="*/ 60662 h 60662"/>
                  <a:gd name="connsiteX3" fmla="*/ 191030 w 193164"/>
                  <a:gd name="connsiteY3" fmla="*/ 60286 h 60662"/>
                  <a:gd name="connsiteX4" fmla="*/ 0 w 193164"/>
                  <a:gd name="connsiteY4" fmla="*/ 1884 h 60662"/>
                  <a:gd name="connsiteX5" fmla="*/ 3140 w 193164"/>
                  <a:gd name="connsiteY5" fmla="*/ 0 h 6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164" h="60662">
                    <a:moveTo>
                      <a:pt x="193165" y="58025"/>
                    </a:moveTo>
                    <a:lnTo>
                      <a:pt x="192788" y="59281"/>
                    </a:lnTo>
                    <a:lnTo>
                      <a:pt x="192411" y="60662"/>
                    </a:lnTo>
                    <a:lnTo>
                      <a:pt x="191030" y="60286"/>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6" name="Freeform: Shape 985">
                <a:extLst>
                  <a:ext uri="{FF2B5EF4-FFF2-40B4-BE49-F238E27FC236}">
                    <a16:creationId xmlns:a16="http://schemas.microsoft.com/office/drawing/2014/main" id="{0B1E8872-BBC2-4FE2-ADE2-936BC2BA6EA1}"/>
                  </a:ext>
                </a:extLst>
              </p:cNvPr>
              <p:cNvSpPr/>
              <p:nvPr/>
            </p:nvSpPr>
            <p:spPr>
              <a:xfrm>
                <a:off x="3049822" y="1294732"/>
                <a:ext cx="193290" cy="60787"/>
              </a:xfrm>
              <a:custGeom>
                <a:avLst/>
                <a:gdLst>
                  <a:gd name="connsiteX0" fmla="*/ 193291 w 193290"/>
                  <a:gd name="connsiteY0" fmla="*/ 58276 h 60787"/>
                  <a:gd name="connsiteX1" fmla="*/ 192913 w 193290"/>
                  <a:gd name="connsiteY1" fmla="*/ 59281 h 60787"/>
                  <a:gd name="connsiteX2" fmla="*/ 192411 w 193290"/>
                  <a:gd name="connsiteY2" fmla="*/ 60788 h 60787"/>
                  <a:gd name="connsiteX3" fmla="*/ 191155 w 193290"/>
                  <a:gd name="connsiteY3" fmla="*/ 60411 h 60787"/>
                  <a:gd name="connsiteX4" fmla="*/ 0 w 193290"/>
                  <a:gd name="connsiteY4" fmla="*/ 1884 h 60787"/>
                  <a:gd name="connsiteX5" fmla="*/ 3140 w 193290"/>
                  <a:gd name="connsiteY5" fmla="*/ 0 h 60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290" h="60787">
                    <a:moveTo>
                      <a:pt x="193291" y="58276"/>
                    </a:moveTo>
                    <a:lnTo>
                      <a:pt x="192913" y="59281"/>
                    </a:lnTo>
                    <a:lnTo>
                      <a:pt x="192411" y="60788"/>
                    </a:lnTo>
                    <a:lnTo>
                      <a:pt x="191155" y="60411"/>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7" name="Freeform: Shape 986">
                <a:extLst>
                  <a:ext uri="{FF2B5EF4-FFF2-40B4-BE49-F238E27FC236}">
                    <a16:creationId xmlns:a16="http://schemas.microsoft.com/office/drawing/2014/main" id="{BBCF7DF3-3519-42A3-B572-409977193B52}"/>
                  </a:ext>
                </a:extLst>
              </p:cNvPr>
              <p:cNvSpPr/>
              <p:nvPr/>
            </p:nvSpPr>
            <p:spPr>
              <a:xfrm>
                <a:off x="3015409" y="1314576"/>
                <a:ext cx="193416" cy="60913"/>
              </a:xfrm>
              <a:custGeom>
                <a:avLst/>
                <a:gdLst>
                  <a:gd name="connsiteX0" fmla="*/ 193416 w 193416"/>
                  <a:gd name="connsiteY0" fmla="*/ 58402 h 60913"/>
                  <a:gd name="connsiteX1" fmla="*/ 193039 w 193416"/>
                  <a:gd name="connsiteY1" fmla="*/ 59406 h 60913"/>
                  <a:gd name="connsiteX2" fmla="*/ 192663 w 193416"/>
                  <a:gd name="connsiteY2" fmla="*/ 60913 h 60913"/>
                  <a:gd name="connsiteX3" fmla="*/ 191281 w 193416"/>
                  <a:gd name="connsiteY3" fmla="*/ 60537 h 60913"/>
                  <a:gd name="connsiteX4" fmla="*/ 0 w 193416"/>
                  <a:gd name="connsiteY4" fmla="*/ 1884 h 60913"/>
                  <a:gd name="connsiteX5" fmla="*/ 3140 w 193416"/>
                  <a:gd name="connsiteY5" fmla="*/ 0 h 6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416" h="60913">
                    <a:moveTo>
                      <a:pt x="193416" y="58402"/>
                    </a:moveTo>
                    <a:lnTo>
                      <a:pt x="193039" y="59406"/>
                    </a:lnTo>
                    <a:lnTo>
                      <a:pt x="192663" y="60913"/>
                    </a:lnTo>
                    <a:lnTo>
                      <a:pt x="191281" y="60537"/>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8" name="Freeform: Shape 987">
                <a:extLst>
                  <a:ext uri="{FF2B5EF4-FFF2-40B4-BE49-F238E27FC236}">
                    <a16:creationId xmlns:a16="http://schemas.microsoft.com/office/drawing/2014/main" id="{34C98D46-C37F-4287-878D-E4B3AE422B5F}"/>
                  </a:ext>
                </a:extLst>
              </p:cNvPr>
              <p:cNvSpPr/>
              <p:nvPr/>
            </p:nvSpPr>
            <p:spPr>
              <a:xfrm>
                <a:off x="2980996" y="1334420"/>
                <a:ext cx="193541" cy="61039"/>
              </a:xfrm>
              <a:custGeom>
                <a:avLst/>
                <a:gdLst>
                  <a:gd name="connsiteX0" fmla="*/ 193541 w 193541"/>
                  <a:gd name="connsiteY0" fmla="*/ 58527 h 61039"/>
                  <a:gd name="connsiteX1" fmla="*/ 193165 w 193541"/>
                  <a:gd name="connsiteY1" fmla="*/ 59532 h 61039"/>
                  <a:gd name="connsiteX2" fmla="*/ 192788 w 193541"/>
                  <a:gd name="connsiteY2" fmla="*/ 61039 h 61039"/>
                  <a:gd name="connsiteX3" fmla="*/ 191407 w 193541"/>
                  <a:gd name="connsiteY3" fmla="*/ 60662 h 61039"/>
                  <a:gd name="connsiteX4" fmla="*/ 0 w 193541"/>
                  <a:gd name="connsiteY4" fmla="*/ 1758 h 61039"/>
                  <a:gd name="connsiteX5" fmla="*/ 3140 w 193541"/>
                  <a:gd name="connsiteY5" fmla="*/ 0 h 61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541" h="61039">
                    <a:moveTo>
                      <a:pt x="193541" y="58527"/>
                    </a:moveTo>
                    <a:lnTo>
                      <a:pt x="193165" y="59532"/>
                    </a:lnTo>
                    <a:lnTo>
                      <a:pt x="192788" y="61039"/>
                    </a:lnTo>
                    <a:lnTo>
                      <a:pt x="191407" y="60662"/>
                    </a:lnTo>
                    <a:lnTo>
                      <a:pt x="0" y="1758"/>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9" name="Freeform: Shape 988">
                <a:extLst>
                  <a:ext uri="{FF2B5EF4-FFF2-40B4-BE49-F238E27FC236}">
                    <a16:creationId xmlns:a16="http://schemas.microsoft.com/office/drawing/2014/main" id="{ACD39C8B-5CA8-4641-B831-6D5DB1231C9F}"/>
                  </a:ext>
                </a:extLst>
              </p:cNvPr>
              <p:cNvSpPr/>
              <p:nvPr/>
            </p:nvSpPr>
            <p:spPr>
              <a:xfrm>
                <a:off x="2946583" y="1354138"/>
                <a:ext cx="193667" cy="61290"/>
              </a:xfrm>
              <a:custGeom>
                <a:avLst/>
                <a:gdLst>
                  <a:gd name="connsiteX0" fmla="*/ 193667 w 193667"/>
                  <a:gd name="connsiteY0" fmla="*/ 58778 h 61290"/>
                  <a:gd name="connsiteX1" fmla="*/ 193291 w 193667"/>
                  <a:gd name="connsiteY1" fmla="*/ 59783 h 61290"/>
                  <a:gd name="connsiteX2" fmla="*/ 192788 w 193667"/>
                  <a:gd name="connsiteY2" fmla="*/ 61290 h 61290"/>
                  <a:gd name="connsiteX3" fmla="*/ 191406 w 193667"/>
                  <a:gd name="connsiteY3" fmla="*/ 60913 h 61290"/>
                  <a:gd name="connsiteX4" fmla="*/ 0 w 193667"/>
                  <a:gd name="connsiteY4" fmla="*/ 1884 h 61290"/>
                  <a:gd name="connsiteX5" fmla="*/ 3140 w 193667"/>
                  <a:gd name="connsiteY5" fmla="*/ 0 h 61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667" h="61290">
                    <a:moveTo>
                      <a:pt x="193667" y="58778"/>
                    </a:moveTo>
                    <a:lnTo>
                      <a:pt x="193291" y="59783"/>
                    </a:lnTo>
                    <a:lnTo>
                      <a:pt x="192788" y="61290"/>
                    </a:lnTo>
                    <a:lnTo>
                      <a:pt x="191406" y="60913"/>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0" name="Freeform: Shape 989">
                <a:extLst>
                  <a:ext uri="{FF2B5EF4-FFF2-40B4-BE49-F238E27FC236}">
                    <a16:creationId xmlns:a16="http://schemas.microsoft.com/office/drawing/2014/main" id="{85436570-8D7B-4A87-ADC0-D720781E5A84}"/>
                  </a:ext>
                </a:extLst>
              </p:cNvPr>
              <p:cNvSpPr/>
              <p:nvPr/>
            </p:nvSpPr>
            <p:spPr>
              <a:xfrm>
                <a:off x="2912170" y="1373982"/>
                <a:ext cx="193792" cy="61415"/>
              </a:xfrm>
              <a:custGeom>
                <a:avLst/>
                <a:gdLst>
                  <a:gd name="connsiteX0" fmla="*/ 193793 w 193792"/>
                  <a:gd name="connsiteY0" fmla="*/ 58904 h 61415"/>
                  <a:gd name="connsiteX1" fmla="*/ 193542 w 193792"/>
                  <a:gd name="connsiteY1" fmla="*/ 59909 h 61415"/>
                  <a:gd name="connsiteX2" fmla="*/ 193416 w 193792"/>
                  <a:gd name="connsiteY2" fmla="*/ 59909 h 61415"/>
                  <a:gd name="connsiteX3" fmla="*/ 193039 w 193792"/>
                  <a:gd name="connsiteY3" fmla="*/ 61416 h 61415"/>
                  <a:gd name="connsiteX4" fmla="*/ 191532 w 193792"/>
                  <a:gd name="connsiteY4" fmla="*/ 61039 h 61415"/>
                  <a:gd name="connsiteX5" fmla="*/ 0 w 193792"/>
                  <a:gd name="connsiteY5" fmla="*/ 1884 h 61415"/>
                  <a:gd name="connsiteX6" fmla="*/ 3140 w 193792"/>
                  <a:gd name="connsiteY6" fmla="*/ 0 h 61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792" h="61415">
                    <a:moveTo>
                      <a:pt x="193793" y="58904"/>
                    </a:moveTo>
                    <a:lnTo>
                      <a:pt x="193542" y="59909"/>
                    </a:lnTo>
                    <a:lnTo>
                      <a:pt x="193416" y="59909"/>
                    </a:lnTo>
                    <a:lnTo>
                      <a:pt x="193039" y="61416"/>
                    </a:lnTo>
                    <a:lnTo>
                      <a:pt x="191532" y="61039"/>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1" name="Freeform: Shape 990">
                <a:extLst>
                  <a:ext uri="{FF2B5EF4-FFF2-40B4-BE49-F238E27FC236}">
                    <a16:creationId xmlns:a16="http://schemas.microsoft.com/office/drawing/2014/main" id="{41775DDC-E909-4082-8398-3B2391BB1124}"/>
                  </a:ext>
                </a:extLst>
              </p:cNvPr>
              <p:cNvSpPr/>
              <p:nvPr/>
            </p:nvSpPr>
            <p:spPr>
              <a:xfrm>
                <a:off x="2877631" y="1393826"/>
                <a:ext cx="194044" cy="61541"/>
              </a:xfrm>
              <a:custGeom>
                <a:avLst/>
                <a:gdLst>
                  <a:gd name="connsiteX0" fmla="*/ 194044 w 194044"/>
                  <a:gd name="connsiteY0" fmla="*/ 59030 h 61541"/>
                  <a:gd name="connsiteX1" fmla="*/ 193793 w 194044"/>
                  <a:gd name="connsiteY1" fmla="*/ 60034 h 61541"/>
                  <a:gd name="connsiteX2" fmla="*/ 193290 w 194044"/>
                  <a:gd name="connsiteY2" fmla="*/ 61541 h 61541"/>
                  <a:gd name="connsiteX3" fmla="*/ 191783 w 194044"/>
                  <a:gd name="connsiteY3" fmla="*/ 61165 h 61541"/>
                  <a:gd name="connsiteX4" fmla="*/ 0 w 194044"/>
                  <a:gd name="connsiteY4" fmla="*/ 1758 h 61541"/>
                  <a:gd name="connsiteX5" fmla="*/ 3266 w 194044"/>
                  <a:gd name="connsiteY5" fmla="*/ 0 h 61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044" h="61541">
                    <a:moveTo>
                      <a:pt x="194044" y="59030"/>
                    </a:moveTo>
                    <a:lnTo>
                      <a:pt x="193793" y="60034"/>
                    </a:lnTo>
                    <a:lnTo>
                      <a:pt x="193290" y="61541"/>
                    </a:lnTo>
                    <a:lnTo>
                      <a:pt x="191783" y="61165"/>
                    </a:lnTo>
                    <a:lnTo>
                      <a:pt x="0" y="1758"/>
                    </a:lnTo>
                    <a:lnTo>
                      <a:pt x="3266"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2" name="Freeform: Shape 991">
                <a:extLst>
                  <a:ext uri="{FF2B5EF4-FFF2-40B4-BE49-F238E27FC236}">
                    <a16:creationId xmlns:a16="http://schemas.microsoft.com/office/drawing/2014/main" id="{6B2DEEAE-9FEA-4A99-A26C-2166534A2BDB}"/>
                  </a:ext>
                </a:extLst>
              </p:cNvPr>
              <p:cNvSpPr/>
              <p:nvPr/>
            </p:nvSpPr>
            <p:spPr>
              <a:xfrm>
                <a:off x="3058525" y="1232203"/>
                <a:ext cx="391422" cy="230634"/>
              </a:xfrm>
              <a:custGeom>
                <a:avLst/>
                <a:gdLst>
                  <a:gd name="connsiteX0" fmla="*/ 0 w 391422"/>
                  <a:gd name="connsiteY0" fmla="*/ 228358 h 230634"/>
                  <a:gd name="connsiteX1" fmla="*/ 390089 w 391422"/>
                  <a:gd name="connsiteY1" fmla="*/ 0 h 230634"/>
                  <a:gd name="connsiteX2" fmla="*/ 391422 w 391422"/>
                  <a:gd name="connsiteY2" fmla="*/ 2276 h 230634"/>
                  <a:gd name="connsiteX3" fmla="*/ 1332 w 391422"/>
                  <a:gd name="connsiteY3" fmla="*/ 230635 h 230634"/>
                </a:gdLst>
                <a:ahLst/>
                <a:cxnLst>
                  <a:cxn ang="0">
                    <a:pos x="connsiteX0" y="connsiteY0"/>
                  </a:cxn>
                  <a:cxn ang="0">
                    <a:pos x="connsiteX1" y="connsiteY1"/>
                  </a:cxn>
                  <a:cxn ang="0">
                    <a:pos x="connsiteX2" y="connsiteY2"/>
                  </a:cxn>
                  <a:cxn ang="0">
                    <a:pos x="connsiteX3" y="connsiteY3"/>
                  </a:cxn>
                </a:cxnLst>
                <a:rect l="l" t="t" r="r" b="b"/>
                <a:pathLst>
                  <a:path w="391422" h="230634">
                    <a:moveTo>
                      <a:pt x="0" y="228358"/>
                    </a:moveTo>
                    <a:lnTo>
                      <a:pt x="390089" y="0"/>
                    </a:lnTo>
                    <a:lnTo>
                      <a:pt x="391422" y="2276"/>
                    </a:lnTo>
                    <a:lnTo>
                      <a:pt x="1332" y="230635"/>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3" name="Freeform: Shape 992">
                <a:extLst>
                  <a:ext uri="{FF2B5EF4-FFF2-40B4-BE49-F238E27FC236}">
                    <a16:creationId xmlns:a16="http://schemas.microsoft.com/office/drawing/2014/main" id="{5F7BE3AF-1FFD-469B-9ACA-EA44CC55D53D}"/>
                  </a:ext>
                </a:extLst>
              </p:cNvPr>
              <p:cNvSpPr/>
              <p:nvPr/>
            </p:nvSpPr>
            <p:spPr>
              <a:xfrm>
                <a:off x="2870096" y="1381141"/>
                <a:ext cx="392232" cy="475376"/>
              </a:xfrm>
              <a:custGeom>
                <a:avLst/>
                <a:gdLst>
                  <a:gd name="connsiteX0" fmla="*/ 392233 w 392232"/>
                  <a:gd name="connsiteY0" fmla="*/ 475376 h 475376"/>
                  <a:gd name="connsiteX1" fmla="*/ 199193 w 392232"/>
                  <a:gd name="connsiteY1" fmla="*/ 363848 h 475376"/>
                  <a:gd name="connsiteX2" fmla="*/ 6154 w 392232"/>
                  <a:gd name="connsiteY2" fmla="*/ 252446 h 475376"/>
                  <a:gd name="connsiteX3" fmla="*/ 6154 w 392232"/>
                  <a:gd name="connsiteY3" fmla="*/ 126223 h 475376"/>
                  <a:gd name="connsiteX4" fmla="*/ 0 w 392232"/>
                  <a:gd name="connsiteY4" fmla="*/ 3517 h 475376"/>
                  <a:gd name="connsiteX5" fmla="*/ 6154 w 392232"/>
                  <a:gd name="connsiteY5" fmla="*/ 0 h 475376"/>
                  <a:gd name="connsiteX6" fmla="*/ 199193 w 392232"/>
                  <a:gd name="connsiteY6" fmla="*/ 58402 h 475376"/>
                  <a:gd name="connsiteX7" fmla="*/ 392233 w 392232"/>
                  <a:gd name="connsiteY7" fmla="*/ 222931 h 475376"/>
                  <a:gd name="connsiteX8" fmla="*/ 392233 w 392232"/>
                  <a:gd name="connsiteY8" fmla="*/ 349154 h 47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2232" h="475376">
                    <a:moveTo>
                      <a:pt x="392233" y="475376"/>
                    </a:moveTo>
                    <a:lnTo>
                      <a:pt x="199193" y="363848"/>
                    </a:lnTo>
                    <a:lnTo>
                      <a:pt x="6154" y="252446"/>
                    </a:lnTo>
                    <a:lnTo>
                      <a:pt x="6154" y="126223"/>
                    </a:lnTo>
                    <a:lnTo>
                      <a:pt x="0" y="3517"/>
                    </a:lnTo>
                    <a:lnTo>
                      <a:pt x="6154" y="0"/>
                    </a:lnTo>
                    <a:lnTo>
                      <a:pt x="199193" y="58402"/>
                    </a:lnTo>
                    <a:lnTo>
                      <a:pt x="392233" y="222931"/>
                    </a:lnTo>
                    <a:lnTo>
                      <a:pt x="392233" y="349154"/>
                    </a:lnTo>
                    <a:close/>
                  </a:path>
                </a:pathLst>
              </a:custGeom>
              <a:solidFill>
                <a:srgbClr val="F4F4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4" name="Freeform: Shape 993">
                <a:extLst>
                  <a:ext uri="{FF2B5EF4-FFF2-40B4-BE49-F238E27FC236}">
                    <a16:creationId xmlns:a16="http://schemas.microsoft.com/office/drawing/2014/main" id="{D0AC4C28-21DF-4F8A-A73B-D88F16DAB11E}"/>
                  </a:ext>
                </a:extLst>
              </p:cNvPr>
              <p:cNvSpPr/>
              <p:nvPr/>
            </p:nvSpPr>
            <p:spPr>
              <a:xfrm>
                <a:off x="2870096" y="1384658"/>
                <a:ext cx="386078" cy="475376"/>
              </a:xfrm>
              <a:custGeom>
                <a:avLst/>
                <a:gdLst>
                  <a:gd name="connsiteX0" fmla="*/ 386078 w 386078"/>
                  <a:gd name="connsiteY0" fmla="*/ 222931 h 475376"/>
                  <a:gd name="connsiteX1" fmla="*/ 386078 w 386078"/>
                  <a:gd name="connsiteY1" fmla="*/ 475376 h 475376"/>
                  <a:gd name="connsiteX2" fmla="*/ 193039 w 386078"/>
                  <a:gd name="connsiteY2" fmla="*/ 363974 h 475376"/>
                  <a:gd name="connsiteX3" fmla="*/ 0 w 386078"/>
                  <a:gd name="connsiteY3" fmla="*/ 252446 h 475376"/>
                  <a:gd name="connsiteX4" fmla="*/ 0 w 386078"/>
                  <a:gd name="connsiteY4" fmla="*/ 0 h 475376"/>
                  <a:gd name="connsiteX5" fmla="*/ 193039 w 386078"/>
                  <a:gd name="connsiteY5" fmla="*/ 58402 h 47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6078" h="475376">
                    <a:moveTo>
                      <a:pt x="386078" y="222931"/>
                    </a:moveTo>
                    <a:lnTo>
                      <a:pt x="386078" y="475376"/>
                    </a:lnTo>
                    <a:lnTo>
                      <a:pt x="193039" y="363974"/>
                    </a:lnTo>
                    <a:lnTo>
                      <a:pt x="0" y="252446"/>
                    </a:lnTo>
                    <a:lnTo>
                      <a:pt x="0" y="0"/>
                    </a:lnTo>
                    <a:lnTo>
                      <a:pt x="193039" y="58402"/>
                    </a:lnTo>
                    <a:close/>
                  </a:path>
                </a:pathLst>
              </a:custGeom>
              <a:solidFill>
                <a:srgbClr val="D9D9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5" name="Freeform: Shape 994">
                <a:extLst>
                  <a:ext uri="{FF2B5EF4-FFF2-40B4-BE49-F238E27FC236}">
                    <a16:creationId xmlns:a16="http://schemas.microsoft.com/office/drawing/2014/main" id="{C95C1A64-55A7-42B7-A962-FA82884CF743}"/>
                  </a:ext>
                </a:extLst>
              </p:cNvPr>
              <p:cNvSpPr/>
              <p:nvPr/>
            </p:nvSpPr>
            <p:spPr>
              <a:xfrm>
                <a:off x="3256174" y="1501210"/>
                <a:ext cx="394116" cy="303939"/>
              </a:xfrm>
              <a:custGeom>
                <a:avLst/>
                <a:gdLst>
                  <a:gd name="connsiteX0" fmla="*/ 394117 w 394116"/>
                  <a:gd name="connsiteY0" fmla="*/ 0 h 303939"/>
                  <a:gd name="connsiteX1" fmla="*/ 394117 w 394116"/>
                  <a:gd name="connsiteY1" fmla="*/ 76487 h 303939"/>
                  <a:gd name="connsiteX2" fmla="*/ 0 w 394116"/>
                  <a:gd name="connsiteY2" fmla="*/ 303939 h 303939"/>
                  <a:gd name="connsiteX3" fmla="*/ 0 w 394116"/>
                  <a:gd name="connsiteY3" fmla="*/ 227578 h 303939"/>
                </a:gdLst>
                <a:ahLst/>
                <a:cxnLst>
                  <a:cxn ang="0">
                    <a:pos x="connsiteX0" y="connsiteY0"/>
                  </a:cxn>
                  <a:cxn ang="0">
                    <a:pos x="connsiteX1" y="connsiteY1"/>
                  </a:cxn>
                  <a:cxn ang="0">
                    <a:pos x="connsiteX2" y="connsiteY2"/>
                  </a:cxn>
                  <a:cxn ang="0">
                    <a:pos x="connsiteX3" y="connsiteY3"/>
                  </a:cxn>
                </a:cxnLst>
                <a:rect l="l" t="t" r="r" b="b"/>
                <a:pathLst>
                  <a:path w="394116" h="303939">
                    <a:moveTo>
                      <a:pt x="394117" y="0"/>
                    </a:moveTo>
                    <a:lnTo>
                      <a:pt x="394117" y="76487"/>
                    </a:lnTo>
                    <a:lnTo>
                      <a:pt x="0" y="303939"/>
                    </a:lnTo>
                    <a:lnTo>
                      <a:pt x="0" y="227578"/>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6" name="Freeform: Shape 995">
                <a:extLst>
                  <a:ext uri="{FF2B5EF4-FFF2-40B4-BE49-F238E27FC236}">
                    <a16:creationId xmlns:a16="http://schemas.microsoft.com/office/drawing/2014/main" id="{D4EACDF3-77A3-411A-92B7-7C4EC419676B}"/>
                  </a:ext>
                </a:extLst>
              </p:cNvPr>
              <p:cNvSpPr/>
              <p:nvPr/>
            </p:nvSpPr>
            <p:spPr>
              <a:xfrm>
                <a:off x="2870096" y="1505857"/>
                <a:ext cx="386078" cy="299292"/>
              </a:xfrm>
              <a:custGeom>
                <a:avLst/>
                <a:gdLst>
                  <a:gd name="connsiteX0" fmla="*/ 386078 w 386078"/>
                  <a:gd name="connsiteY0" fmla="*/ 222931 h 299292"/>
                  <a:gd name="connsiteX1" fmla="*/ 386078 w 386078"/>
                  <a:gd name="connsiteY1" fmla="*/ 299292 h 299292"/>
                  <a:gd name="connsiteX2" fmla="*/ 0 w 386078"/>
                  <a:gd name="connsiteY2" fmla="*/ 76487 h 299292"/>
                  <a:gd name="connsiteX3" fmla="*/ 0 w 386078"/>
                  <a:gd name="connsiteY3" fmla="*/ 0 h 299292"/>
                </a:gdLst>
                <a:ahLst/>
                <a:cxnLst>
                  <a:cxn ang="0">
                    <a:pos x="connsiteX0" y="connsiteY0"/>
                  </a:cxn>
                  <a:cxn ang="0">
                    <a:pos x="connsiteX1" y="connsiteY1"/>
                  </a:cxn>
                  <a:cxn ang="0">
                    <a:pos x="connsiteX2" y="connsiteY2"/>
                  </a:cxn>
                  <a:cxn ang="0">
                    <a:pos x="connsiteX3" y="connsiteY3"/>
                  </a:cxn>
                </a:cxnLst>
                <a:rect l="l" t="t" r="r" b="b"/>
                <a:pathLst>
                  <a:path w="386078" h="299292">
                    <a:moveTo>
                      <a:pt x="386078" y="222931"/>
                    </a:moveTo>
                    <a:lnTo>
                      <a:pt x="386078" y="299292"/>
                    </a:lnTo>
                    <a:lnTo>
                      <a:pt x="0" y="76487"/>
                    </a:lnTo>
                    <a:lnTo>
                      <a:pt x="0" y="0"/>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7" name="Freeform: Shape 996">
                <a:extLst>
                  <a:ext uri="{FF2B5EF4-FFF2-40B4-BE49-F238E27FC236}">
                    <a16:creationId xmlns:a16="http://schemas.microsoft.com/office/drawing/2014/main" id="{8822880F-DABD-4258-B480-8A82300B7B3D}"/>
                  </a:ext>
                </a:extLst>
              </p:cNvPr>
              <p:cNvSpPr/>
              <p:nvPr/>
            </p:nvSpPr>
            <p:spPr>
              <a:xfrm>
                <a:off x="3364939" y="1522686"/>
                <a:ext cx="196304" cy="274675"/>
              </a:xfrm>
              <a:custGeom>
                <a:avLst/>
                <a:gdLst>
                  <a:gd name="connsiteX0" fmla="*/ 196305 w 196304"/>
                  <a:gd name="connsiteY0" fmla="*/ 0 h 274675"/>
                  <a:gd name="connsiteX1" fmla="*/ 196305 w 196304"/>
                  <a:gd name="connsiteY1" fmla="*/ 161389 h 274675"/>
                  <a:gd name="connsiteX2" fmla="*/ 190151 w 196304"/>
                  <a:gd name="connsiteY2" fmla="*/ 164906 h 274675"/>
                  <a:gd name="connsiteX3" fmla="*/ 189899 w 196304"/>
                  <a:gd name="connsiteY3" fmla="*/ 165032 h 274675"/>
                  <a:gd name="connsiteX4" fmla="*/ 189899 w 196304"/>
                  <a:gd name="connsiteY4" fmla="*/ 164906 h 274675"/>
                  <a:gd name="connsiteX5" fmla="*/ 156491 w 196304"/>
                  <a:gd name="connsiteY5" fmla="*/ 145564 h 274675"/>
                  <a:gd name="connsiteX6" fmla="*/ 156366 w 196304"/>
                  <a:gd name="connsiteY6" fmla="*/ 145439 h 274675"/>
                  <a:gd name="connsiteX7" fmla="*/ 6405 w 196304"/>
                  <a:gd name="connsiteY7" fmla="*/ 232099 h 274675"/>
                  <a:gd name="connsiteX8" fmla="*/ 6405 w 196304"/>
                  <a:gd name="connsiteY8" fmla="*/ 270908 h 274675"/>
                  <a:gd name="connsiteX9" fmla="*/ 0 w 196304"/>
                  <a:gd name="connsiteY9" fmla="*/ 274676 h 274675"/>
                  <a:gd name="connsiteX10" fmla="*/ 0 w 196304"/>
                  <a:gd name="connsiteY10" fmla="*/ 113412 h 274675"/>
                  <a:gd name="connsiteX11" fmla="*/ 140917 w 196304"/>
                  <a:gd name="connsiteY11" fmla="*/ 32027 h 274675"/>
                  <a:gd name="connsiteX12" fmla="*/ 147071 w 196304"/>
                  <a:gd name="connsiteY12" fmla="*/ 28510 h 274675"/>
                  <a:gd name="connsiteX13" fmla="*/ 156491 w 196304"/>
                  <a:gd name="connsiteY13" fmla="*/ 22984 h 2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304" h="274675">
                    <a:moveTo>
                      <a:pt x="196305" y="0"/>
                    </a:moveTo>
                    <a:lnTo>
                      <a:pt x="196305" y="161389"/>
                    </a:lnTo>
                    <a:lnTo>
                      <a:pt x="190151" y="164906"/>
                    </a:lnTo>
                    <a:lnTo>
                      <a:pt x="189899" y="165032"/>
                    </a:lnTo>
                    <a:lnTo>
                      <a:pt x="189899" y="164906"/>
                    </a:lnTo>
                    <a:lnTo>
                      <a:pt x="156491" y="145564"/>
                    </a:lnTo>
                    <a:lnTo>
                      <a:pt x="156366" y="145439"/>
                    </a:lnTo>
                    <a:lnTo>
                      <a:pt x="6405" y="232099"/>
                    </a:lnTo>
                    <a:lnTo>
                      <a:pt x="6405" y="270908"/>
                    </a:lnTo>
                    <a:lnTo>
                      <a:pt x="0" y="274676"/>
                    </a:lnTo>
                    <a:lnTo>
                      <a:pt x="0" y="113412"/>
                    </a:lnTo>
                    <a:lnTo>
                      <a:pt x="140917" y="32027"/>
                    </a:lnTo>
                    <a:lnTo>
                      <a:pt x="147071" y="28510"/>
                    </a:lnTo>
                    <a:lnTo>
                      <a:pt x="156491" y="22984"/>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8" name="Freeform: Shape 997">
                <a:extLst>
                  <a:ext uri="{FF2B5EF4-FFF2-40B4-BE49-F238E27FC236}">
                    <a16:creationId xmlns:a16="http://schemas.microsoft.com/office/drawing/2014/main" id="{95F3AFA8-A00A-4EC0-9119-4B9CC0162008}"/>
                  </a:ext>
                </a:extLst>
              </p:cNvPr>
              <p:cNvSpPr/>
              <p:nvPr/>
            </p:nvSpPr>
            <p:spPr>
              <a:xfrm>
                <a:off x="3371344" y="1553080"/>
                <a:ext cx="150085" cy="201705"/>
              </a:xfrm>
              <a:custGeom>
                <a:avLst/>
                <a:gdLst>
                  <a:gd name="connsiteX0" fmla="*/ 150086 w 150085"/>
                  <a:gd name="connsiteY0" fmla="*/ 0 h 201705"/>
                  <a:gd name="connsiteX1" fmla="*/ 150086 w 150085"/>
                  <a:gd name="connsiteY1" fmla="*/ 115170 h 201705"/>
                  <a:gd name="connsiteX2" fmla="*/ 149960 w 150085"/>
                  <a:gd name="connsiteY2" fmla="*/ 115045 h 201705"/>
                  <a:gd name="connsiteX3" fmla="*/ 149709 w 150085"/>
                  <a:gd name="connsiteY3" fmla="*/ 115296 h 201705"/>
                  <a:gd name="connsiteX4" fmla="*/ 0 w 150085"/>
                  <a:gd name="connsiteY4" fmla="*/ 201705 h 201705"/>
                  <a:gd name="connsiteX5" fmla="*/ 0 w 150085"/>
                  <a:gd name="connsiteY5" fmla="*/ 86660 h 201705"/>
                  <a:gd name="connsiteX6" fmla="*/ 140917 w 150085"/>
                  <a:gd name="connsiteY6" fmla="*/ 5275 h 201705"/>
                  <a:gd name="connsiteX7" fmla="*/ 147071 w 150085"/>
                  <a:gd name="connsiteY7" fmla="*/ 1758 h 20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085" h="201705">
                    <a:moveTo>
                      <a:pt x="150086" y="0"/>
                    </a:moveTo>
                    <a:lnTo>
                      <a:pt x="150086" y="115170"/>
                    </a:lnTo>
                    <a:lnTo>
                      <a:pt x="149960" y="115045"/>
                    </a:lnTo>
                    <a:lnTo>
                      <a:pt x="149709" y="115296"/>
                    </a:lnTo>
                    <a:lnTo>
                      <a:pt x="0" y="201705"/>
                    </a:lnTo>
                    <a:lnTo>
                      <a:pt x="0" y="86660"/>
                    </a:lnTo>
                    <a:lnTo>
                      <a:pt x="140917" y="5275"/>
                    </a:lnTo>
                    <a:lnTo>
                      <a:pt x="147071" y="1758"/>
                    </a:lnTo>
                    <a:close/>
                  </a:path>
                </a:pathLst>
              </a:custGeom>
              <a:solidFill>
                <a:srgbClr val="F2EEE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9" name="Freeform: Shape 998">
                <a:extLst>
                  <a:ext uri="{FF2B5EF4-FFF2-40B4-BE49-F238E27FC236}">
                    <a16:creationId xmlns:a16="http://schemas.microsoft.com/office/drawing/2014/main" id="{FEBC5E2F-8491-4492-9734-3C5EF2FBB6D0}"/>
                  </a:ext>
                </a:extLst>
              </p:cNvPr>
              <p:cNvSpPr/>
              <p:nvPr/>
            </p:nvSpPr>
            <p:spPr>
              <a:xfrm>
                <a:off x="3370968" y="1581967"/>
                <a:ext cx="150462" cy="172818"/>
              </a:xfrm>
              <a:custGeom>
                <a:avLst/>
                <a:gdLst>
                  <a:gd name="connsiteX0" fmla="*/ 150086 w 150462"/>
                  <a:gd name="connsiteY0" fmla="*/ 0 h 172818"/>
                  <a:gd name="connsiteX1" fmla="*/ 150462 w 150462"/>
                  <a:gd name="connsiteY1" fmla="*/ 86284 h 172818"/>
                  <a:gd name="connsiteX2" fmla="*/ 150337 w 150462"/>
                  <a:gd name="connsiteY2" fmla="*/ 86158 h 172818"/>
                  <a:gd name="connsiteX3" fmla="*/ 150086 w 150462"/>
                  <a:gd name="connsiteY3" fmla="*/ 86409 h 172818"/>
                  <a:gd name="connsiteX4" fmla="*/ 377 w 150462"/>
                  <a:gd name="connsiteY4" fmla="*/ 172818 h 172818"/>
                  <a:gd name="connsiteX5" fmla="*/ 0 w 150462"/>
                  <a:gd name="connsiteY5" fmla="*/ 86786 h 172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462" h="172818">
                    <a:moveTo>
                      <a:pt x="150086" y="0"/>
                    </a:moveTo>
                    <a:lnTo>
                      <a:pt x="150462" y="86284"/>
                    </a:lnTo>
                    <a:lnTo>
                      <a:pt x="150337" y="86158"/>
                    </a:lnTo>
                    <a:lnTo>
                      <a:pt x="150086" y="86409"/>
                    </a:lnTo>
                    <a:lnTo>
                      <a:pt x="377" y="172818"/>
                    </a:lnTo>
                    <a:lnTo>
                      <a:pt x="0" y="86786"/>
                    </a:lnTo>
                    <a:close/>
                  </a:path>
                </a:pathLst>
              </a:custGeom>
              <a:solidFill>
                <a:srgbClr val="6F6F7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0" name="Freeform: Shape 999">
                <a:extLst>
                  <a:ext uri="{FF2B5EF4-FFF2-40B4-BE49-F238E27FC236}">
                    <a16:creationId xmlns:a16="http://schemas.microsoft.com/office/drawing/2014/main" id="{7BB62C17-2AFD-4D54-A424-BDBF0BC7FACE}"/>
                  </a:ext>
                </a:extLst>
              </p:cNvPr>
              <p:cNvSpPr/>
              <p:nvPr/>
            </p:nvSpPr>
            <p:spPr>
              <a:xfrm>
                <a:off x="3370968" y="1623539"/>
                <a:ext cx="150462" cy="131246"/>
              </a:xfrm>
              <a:custGeom>
                <a:avLst/>
                <a:gdLst>
                  <a:gd name="connsiteX0" fmla="*/ 150462 w 150462"/>
                  <a:gd name="connsiteY0" fmla="*/ 44712 h 131246"/>
                  <a:gd name="connsiteX1" fmla="*/ 150337 w 150462"/>
                  <a:gd name="connsiteY1" fmla="*/ 44586 h 131246"/>
                  <a:gd name="connsiteX2" fmla="*/ 150086 w 150462"/>
                  <a:gd name="connsiteY2" fmla="*/ 44837 h 131246"/>
                  <a:gd name="connsiteX3" fmla="*/ 377 w 150462"/>
                  <a:gd name="connsiteY3" fmla="*/ 131247 h 131246"/>
                  <a:gd name="connsiteX4" fmla="*/ 0 w 150462"/>
                  <a:gd name="connsiteY4" fmla="*/ 45214 h 131246"/>
                  <a:gd name="connsiteX5" fmla="*/ 78371 w 150462"/>
                  <a:gd name="connsiteY5" fmla="*/ 0 h 1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462" h="131246">
                    <a:moveTo>
                      <a:pt x="150462" y="44712"/>
                    </a:moveTo>
                    <a:lnTo>
                      <a:pt x="150337" y="44586"/>
                    </a:lnTo>
                    <a:lnTo>
                      <a:pt x="150086" y="44837"/>
                    </a:lnTo>
                    <a:lnTo>
                      <a:pt x="377" y="131247"/>
                    </a:lnTo>
                    <a:lnTo>
                      <a:pt x="0" y="45214"/>
                    </a:lnTo>
                    <a:lnTo>
                      <a:pt x="78371" y="0"/>
                    </a:lnTo>
                    <a:close/>
                  </a:path>
                </a:pathLst>
              </a:custGeom>
              <a:solidFill>
                <a:srgbClr val="A3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1" name="Freeform: Shape 1000">
                <a:extLst>
                  <a:ext uri="{FF2B5EF4-FFF2-40B4-BE49-F238E27FC236}">
                    <a16:creationId xmlns:a16="http://schemas.microsoft.com/office/drawing/2014/main" id="{C548A90C-B5AF-44F7-8D67-F5713A3213A9}"/>
                  </a:ext>
                </a:extLst>
              </p:cNvPr>
              <p:cNvSpPr/>
              <p:nvPr/>
            </p:nvSpPr>
            <p:spPr>
              <a:xfrm>
                <a:off x="3521430" y="1533739"/>
                <a:ext cx="33408" cy="153728"/>
              </a:xfrm>
              <a:custGeom>
                <a:avLst/>
                <a:gdLst>
                  <a:gd name="connsiteX0" fmla="*/ 33408 w 33408"/>
                  <a:gd name="connsiteY0" fmla="*/ 0 h 153728"/>
                  <a:gd name="connsiteX1" fmla="*/ 33408 w 33408"/>
                  <a:gd name="connsiteY1" fmla="*/ 153728 h 153728"/>
                  <a:gd name="connsiteX2" fmla="*/ 0 w 33408"/>
                  <a:gd name="connsiteY2" fmla="*/ 134512 h 153728"/>
                  <a:gd name="connsiteX3" fmla="*/ 0 w 33408"/>
                  <a:gd name="connsiteY3" fmla="*/ 19342 h 153728"/>
                </a:gdLst>
                <a:ahLst/>
                <a:cxnLst>
                  <a:cxn ang="0">
                    <a:pos x="connsiteX0" y="connsiteY0"/>
                  </a:cxn>
                  <a:cxn ang="0">
                    <a:pos x="connsiteX1" y="connsiteY1"/>
                  </a:cxn>
                  <a:cxn ang="0">
                    <a:pos x="connsiteX2" y="connsiteY2"/>
                  </a:cxn>
                  <a:cxn ang="0">
                    <a:pos x="connsiteX3" y="connsiteY3"/>
                  </a:cxn>
                </a:cxnLst>
                <a:rect l="l" t="t" r="r" b="b"/>
                <a:pathLst>
                  <a:path w="33408" h="153728">
                    <a:moveTo>
                      <a:pt x="33408" y="0"/>
                    </a:moveTo>
                    <a:lnTo>
                      <a:pt x="33408" y="153728"/>
                    </a:lnTo>
                    <a:lnTo>
                      <a:pt x="0" y="134512"/>
                    </a:lnTo>
                    <a:lnTo>
                      <a:pt x="0" y="19342"/>
                    </a:lnTo>
                    <a:close/>
                  </a:path>
                </a:pathLst>
              </a:custGeom>
              <a:solidFill>
                <a:srgbClr val="D9D9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02" name="Graphic 4">
                <a:extLst>
                  <a:ext uri="{FF2B5EF4-FFF2-40B4-BE49-F238E27FC236}">
                    <a16:creationId xmlns:a16="http://schemas.microsoft.com/office/drawing/2014/main" id="{84FB7ED1-A2DF-40A1-A747-5F7CF3F14040}"/>
                  </a:ext>
                </a:extLst>
              </p:cNvPr>
              <p:cNvGrpSpPr/>
              <p:nvPr/>
            </p:nvGrpSpPr>
            <p:grpSpPr>
              <a:xfrm>
                <a:off x="2889563" y="1460894"/>
                <a:ext cx="105499" cy="90805"/>
                <a:chOff x="2889563" y="1460894"/>
                <a:chExt cx="105499" cy="90805"/>
              </a:xfrm>
              <a:solidFill>
                <a:schemeClr val="accent1"/>
              </a:solidFill>
            </p:grpSpPr>
            <p:sp>
              <p:nvSpPr>
                <p:cNvPr id="1003" name="Freeform: Shape 1002">
                  <a:extLst>
                    <a:ext uri="{FF2B5EF4-FFF2-40B4-BE49-F238E27FC236}">
                      <a16:creationId xmlns:a16="http://schemas.microsoft.com/office/drawing/2014/main" id="{3B08B937-8077-4897-83AD-5C76FCBBAE53}"/>
                    </a:ext>
                  </a:extLst>
                </p:cNvPr>
                <p:cNvSpPr/>
                <p:nvPr/>
              </p:nvSpPr>
              <p:spPr>
                <a:xfrm>
                  <a:off x="2889563" y="1460894"/>
                  <a:ext cx="105499" cy="90805"/>
                </a:xfrm>
                <a:custGeom>
                  <a:avLst/>
                  <a:gdLst>
                    <a:gd name="connsiteX0" fmla="*/ 25119 w 105499"/>
                    <a:gd name="connsiteY0" fmla="*/ 44335 h 90805"/>
                    <a:gd name="connsiteX1" fmla="*/ 1382 w 105499"/>
                    <a:gd name="connsiteY1" fmla="*/ 30645 h 90805"/>
                    <a:gd name="connsiteX2" fmla="*/ 0 w 105499"/>
                    <a:gd name="connsiteY2" fmla="*/ 29892 h 90805"/>
                    <a:gd name="connsiteX3" fmla="*/ 0 w 105499"/>
                    <a:gd name="connsiteY3" fmla="*/ 0 h 90805"/>
                    <a:gd name="connsiteX4" fmla="*/ 25119 w 105499"/>
                    <a:gd name="connsiteY4" fmla="*/ 14569 h 90805"/>
                    <a:gd name="connsiteX5" fmla="*/ 25119 w 105499"/>
                    <a:gd name="connsiteY5" fmla="*/ 44335 h 90805"/>
                    <a:gd name="connsiteX6" fmla="*/ 51871 w 105499"/>
                    <a:gd name="connsiteY6" fmla="*/ 59783 h 90805"/>
                    <a:gd name="connsiteX7" fmla="*/ 28133 w 105499"/>
                    <a:gd name="connsiteY7" fmla="*/ 46093 h 90805"/>
                    <a:gd name="connsiteX8" fmla="*/ 26752 w 105499"/>
                    <a:gd name="connsiteY8" fmla="*/ 45340 h 90805"/>
                    <a:gd name="connsiteX9" fmla="*/ 26752 w 105499"/>
                    <a:gd name="connsiteY9" fmla="*/ 15574 h 90805"/>
                    <a:gd name="connsiteX10" fmla="*/ 51871 w 105499"/>
                    <a:gd name="connsiteY10" fmla="*/ 30017 h 90805"/>
                    <a:gd name="connsiteX11" fmla="*/ 51871 w 105499"/>
                    <a:gd name="connsiteY11" fmla="*/ 59783 h 90805"/>
                    <a:gd name="connsiteX12" fmla="*/ 78748 w 105499"/>
                    <a:gd name="connsiteY12" fmla="*/ 75357 h 90805"/>
                    <a:gd name="connsiteX13" fmla="*/ 55010 w 105499"/>
                    <a:gd name="connsiteY13" fmla="*/ 61667 h 90805"/>
                    <a:gd name="connsiteX14" fmla="*/ 53629 w 105499"/>
                    <a:gd name="connsiteY14" fmla="*/ 60913 h 90805"/>
                    <a:gd name="connsiteX15" fmla="*/ 53629 w 105499"/>
                    <a:gd name="connsiteY15" fmla="*/ 31148 h 90805"/>
                    <a:gd name="connsiteX16" fmla="*/ 78748 w 105499"/>
                    <a:gd name="connsiteY16" fmla="*/ 45591 h 90805"/>
                    <a:gd name="connsiteX17" fmla="*/ 78748 w 105499"/>
                    <a:gd name="connsiteY17" fmla="*/ 75357 h 90805"/>
                    <a:gd name="connsiteX18" fmla="*/ 105500 w 105499"/>
                    <a:gd name="connsiteY18" fmla="*/ 90805 h 90805"/>
                    <a:gd name="connsiteX19" fmla="*/ 81762 w 105499"/>
                    <a:gd name="connsiteY19" fmla="*/ 77115 h 90805"/>
                    <a:gd name="connsiteX20" fmla="*/ 80381 w 105499"/>
                    <a:gd name="connsiteY20" fmla="*/ 76362 h 90805"/>
                    <a:gd name="connsiteX21" fmla="*/ 80381 w 105499"/>
                    <a:gd name="connsiteY21" fmla="*/ 46470 h 90805"/>
                    <a:gd name="connsiteX22" fmla="*/ 105500 w 105499"/>
                    <a:gd name="connsiteY22" fmla="*/ 61039 h 90805"/>
                    <a:gd name="connsiteX23" fmla="*/ 105500 w 105499"/>
                    <a:gd name="connsiteY23" fmla="*/ 90805 h 90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5499" h="90805">
                      <a:moveTo>
                        <a:pt x="25119" y="44335"/>
                      </a:moveTo>
                      <a:lnTo>
                        <a:pt x="1382" y="30645"/>
                      </a:lnTo>
                      <a:lnTo>
                        <a:pt x="0" y="29892"/>
                      </a:lnTo>
                      <a:lnTo>
                        <a:pt x="0" y="0"/>
                      </a:lnTo>
                      <a:lnTo>
                        <a:pt x="25119" y="14569"/>
                      </a:lnTo>
                      <a:lnTo>
                        <a:pt x="25119" y="44335"/>
                      </a:lnTo>
                      <a:close/>
                      <a:moveTo>
                        <a:pt x="51871" y="59783"/>
                      </a:moveTo>
                      <a:lnTo>
                        <a:pt x="28133" y="46093"/>
                      </a:lnTo>
                      <a:lnTo>
                        <a:pt x="26752" y="45340"/>
                      </a:lnTo>
                      <a:lnTo>
                        <a:pt x="26752" y="15574"/>
                      </a:lnTo>
                      <a:lnTo>
                        <a:pt x="51871" y="30017"/>
                      </a:lnTo>
                      <a:lnTo>
                        <a:pt x="51871" y="59783"/>
                      </a:lnTo>
                      <a:close/>
                      <a:moveTo>
                        <a:pt x="78748" y="75357"/>
                      </a:moveTo>
                      <a:lnTo>
                        <a:pt x="55010" y="61667"/>
                      </a:lnTo>
                      <a:lnTo>
                        <a:pt x="53629" y="60913"/>
                      </a:lnTo>
                      <a:lnTo>
                        <a:pt x="53629" y="31148"/>
                      </a:lnTo>
                      <a:lnTo>
                        <a:pt x="78748" y="45591"/>
                      </a:lnTo>
                      <a:lnTo>
                        <a:pt x="78748" y="75357"/>
                      </a:lnTo>
                      <a:close/>
                      <a:moveTo>
                        <a:pt x="105500" y="90805"/>
                      </a:moveTo>
                      <a:lnTo>
                        <a:pt x="81762" y="77115"/>
                      </a:lnTo>
                      <a:lnTo>
                        <a:pt x="80381" y="76362"/>
                      </a:lnTo>
                      <a:lnTo>
                        <a:pt x="80381" y="46470"/>
                      </a:lnTo>
                      <a:lnTo>
                        <a:pt x="105500" y="61039"/>
                      </a:lnTo>
                      <a:lnTo>
                        <a:pt x="105500" y="90805"/>
                      </a:lnTo>
                      <a:close/>
                    </a:path>
                  </a:pathLst>
                </a:custGeom>
                <a:solidFill>
                  <a:srgbClr val="D7E3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4" name="Freeform: Shape 1003">
                  <a:extLst>
                    <a:ext uri="{FF2B5EF4-FFF2-40B4-BE49-F238E27FC236}">
                      <a16:creationId xmlns:a16="http://schemas.microsoft.com/office/drawing/2014/main" id="{65FE5002-4E86-414A-A234-38333C2F3EF2}"/>
                    </a:ext>
                  </a:extLst>
                </p:cNvPr>
                <p:cNvSpPr/>
                <p:nvPr/>
              </p:nvSpPr>
              <p:spPr>
                <a:xfrm>
                  <a:off x="2892326" y="1465792"/>
                  <a:ext cx="99973" cy="81134"/>
                </a:xfrm>
                <a:custGeom>
                  <a:avLst/>
                  <a:gdLst>
                    <a:gd name="connsiteX0" fmla="*/ 80506 w 99973"/>
                    <a:gd name="connsiteY0" fmla="*/ 69831 h 81134"/>
                    <a:gd name="connsiteX1" fmla="*/ 80506 w 99973"/>
                    <a:gd name="connsiteY1" fmla="*/ 46470 h 81134"/>
                    <a:gd name="connsiteX2" fmla="*/ 99973 w 99973"/>
                    <a:gd name="connsiteY2" fmla="*/ 57774 h 81134"/>
                    <a:gd name="connsiteX3" fmla="*/ 99973 w 99973"/>
                    <a:gd name="connsiteY3" fmla="*/ 81134 h 81134"/>
                    <a:gd name="connsiteX4" fmla="*/ 80506 w 99973"/>
                    <a:gd name="connsiteY4" fmla="*/ 69831 h 81134"/>
                    <a:gd name="connsiteX5" fmla="*/ 53629 w 99973"/>
                    <a:gd name="connsiteY5" fmla="*/ 54257 h 81134"/>
                    <a:gd name="connsiteX6" fmla="*/ 53629 w 99973"/>
                    <a:gd name="connsiteY6" fmla="*/ 30896 h 81134"/>
                    <a:gd name="connsiteX7" fmla="*/ 73096 w 99973"/>
                    <a:gd name="connsiteY7" fmla="*/ 42074 h 81134"/>
                    <a:gd name="connsiteX8" fmla="*/ 73096 w 99973"/>
                    <a:gd name="connsiteY8" fmla="*/ 65435 h 81134"/>
                    <a:gd name="connsiteX9" fmla="*/ 53629 w 99973"/>
                    <a:gd name="connsiteY9" fmla="*/ 54257 h 81134"/>
                    <a:gd name="connsiteX10" fmla="*/ 26877 w 99973"/>
                    <a:gd name="connsiteY10" fmla="*/ 38809 h 81134"/>
                    <a:gd name="connsiteX11" fmla="*/ 26877 w 99973"/>
                    <a:gd name="connsiteY11" fmla="*/ 15448 h 81134"/>
                    <a:gd name="connsiteX12" fmla="*/ 46344 w 99973"/>
                    <a:gd name="connsiteY12" fmla="*/ 26752 h 81134"/>
                    <a:gd name="connsiteX13" fmla="*/ 46344 w 99973"/>
                    <a:gd name="connsiteY13" fmla="*/ 50112 h 81134"/>
                    <a:gd name="connsiteX14" fmla="*/ 26877 w 99973"/>
                    <a:gd name="connsiteY14" fmla="*/ 38809 h 81134"/>
                    <a:gd name="connsiteX15" fmla="*/ 0 w 99973"/>
                    <a:gd name="connsiteY15" fmla="*/ 23235 h 81134"/>
                    <a:gd name="connsiteX16" fmla="*/ 0 w 99973"/>
                    <a:gd name="connsiteY16" fmla="*/ 0 h 81134"/>
                    <a:gd name="connsiteX17" fmla="*/ 19467 w 99973"/>
                    <a:gd name="connsiteY17" fmla="*/ 11304 h 81134"/>
                    <a:gd name="connsiteX18" fmla="*/ 19467 w 99973"/>
                    <a:gd name="connsiteY18" fmla="*/ 34539 h 81134"/>
                    <a:gd name="connsiteX19" fmla="*/ 0 w 99973"/>
                    <a:gd name="connsiteY19" fmla="*/ 23235 h 81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9973" h="81134">
                      <a:moveTo>
                        <a:pt x="80506" y="69831"/>
                      </a:moveTo>
                      <a:lnTo>
                        <a:pt x="80506" y="46470"/>
                      </a:lnTo>
                      <a:lnTo>
                        <a:pt x="99973" y="57774"/>
                      </a:lnTo>
                      <a:lnTo>
                        <a:pt x="99973" y="81134"/>
                      </a:lnTo>
                      <a:lnTo>
                        <a:pt x="80506" y="69831"/>
                      </a:lnTo>
                      <a:close/>
                      <a:moveTo>
                        <a:pt x="53629" y="54257"/>
                      </a:moveTo>
                      <a:lnTo>
                        <a:pt x="53629" y="30896"/>
                      </a:lnTo>
                      <a:lnTo>
                        <a:pt x="73096" y="42074"/>
                      </a:lnTo>
                      <a:lnTo>
                        <a:pt x="73096" y="65435"/>
                      </a:lnTo>
                      <a:lnTo>
                        <a:pt x="53629" y="54257"/>
                      </a:lnTo>
                      <a:close/>
                      <a:moveTo>
                        <a:pt x="26877" y="38809"/>
                      </a:moveTo>
                      <a:lnTo>
                        <a:pt x="26877" y="15448"/>
                      </a:lnTo>
                      <a:lnTo>
                        <a:pt x="46344" y="26752"/>
                      </a:lnTo>
                      <a:lnTo>
                        <a:pt x="46344" y="50112"/>
                      </a:lnTo>
                      <a:lnTo>
                        <a:pt x="26877" y="38809"/>
                      </a:lnTo>
                      <a:close/>
                      <a:moveTo>
                        <a:pt x="0" y="23235"/>
                      </a:moveTo>
                      <a:lnTo>
                        <a:pt x="0" y="0"/>
                      </a:lnTo>
                      <a:lnTo>
                        <a:pt x="19467" y="11304"/>
                      </a:lnTo>
                      <a:lnTo>
                        <a:pt x="19467" y="34539"/>
                      </a:lnTo>
                      <a:lnTo>
                        <a:pt x="0" y="23235"/>
                      </a:lnTo>
                      <a:close/>
                    </a:path>
                  </a:pathLst>
                </a:custGeom>
                <a:solidFill>
                  <a:srgbClr val="252C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05" name="Graphic 4">
                <a:extLst>
                  <a:ext uri="{FF2B5EF4-FFF2-40B4-BE49-F238E27FC236}">
                    <a16:creationId xmlns:a16="http://schemas.microsoft.com/office/drawing/2014/main" id="{84FB7ED1-A2DF-40A1-A747-5F7CF3F14040}"/>
                  </a:ext>
                </a:extLst>
              </p:cNvPr>
              <p:cNvGrpSpPr/>
              <p:nvPr/>
            </p:nvGrpSpPr>
            <p:grpSpPr>
              <a:xfrm>
                <a:off x="3086621" y="1568026"/>
                <a:ext cx="105499" cy="90679"/>
                <a:chOff x="3086621" y="1568026"/>
                <a:chExt cx="105499" cy="90679"/>
              </a:xfrm>
              <a:solidFill>
                <a:schemeClr val="accent1"/>
              </a:solidFill>
            </p:grpSpPr>
            <p:sp>
              <p:nvSpPr>
                <p:cNvPr id="1006" name="Freeform: Shape 1005">
                  <a:extLst>
                    <a:ext uri="{FF2B5EF4-FFF2-40B4-BE49-F238E27FC236}">
                      <a16:creationId xmlns:a16="http://schemas.microsoft.com/office/drawing/2014/main" id="{4C8300AA-5E99-45FE-A86F-53301ACA6960}"/>
                    </a:ext>
                  </a:extLst>
                </p:cNvPr>
                <p:cNvSpPr/>
                <p:nvPr/>
              </p:nvSpPr>
              <p:spPr>
                <a:xfrm>
                  <a:off x="3086621" y="1568026"/>
                  <a:ext cx="105499" cy="90679"/>
                </a:xfrm>
                <a:custGeom>
                  <a:avLst/>
                  <a:gdLst>
                    <a:gd name="connsiteX0" fmla="*/ 25119 w 105499"/>
                    <a:gd name="connsiteY0" fmla="*/ 44209 h 90679"/>
                    <a:gd name="connsiteX1" fmla="*/ 1382 w 105499"/>
                    <a:gd name="connsiteY1" fmla="*/ 30519 h 90679"/>
                    <a:gd name="connsiteX2" fmla="*/ 0 w 105499"/>
                    <a:gd name="connsiteY2" fmla="*/ 29766 h 90679"/>
                    <a:gd name="connsiteX3" fmla="*/ 0 w 105499"/>
                    <a:gd name="connsiteY3" fmla="*/ 0 h 90679"/>
                    <a:gd name="connsiteX4" fmla="*/ 25119 w 105499"/>
                    <a:gd name="connsiteY4" fmla="*/ 14569 h 90679"/>
                    <a:gd name="connsiteX5" fmla="*/ 25119 w 105499"/>
                    <a:gd name="connsiteY5" fmla="*/ 44209 h 90679"/>
                    <a:gd name="connsiteX6" fmla="*/ 51871 w 105499"/>
                    <a:gd name="connsiteY6" fmla="*/ 59783 h 90679"/>
                    <a:gd name="connsiteX7" fmla="*/ 28133 w 105499"/>
                    <a:gd name="connsiteY7" fmla="*/ 46093 h 90679"/>
                    <a:gd name="connsiteX8" fmla="*/ 26752 w 105499"/>
                    <a:gd name="connsiteY8" fmla="*/ 45340 h 90679"/>
                    <a:gd name="connsiteX9" fmla="*/ 26752 w 105499"/>
                    <a:gd name="connsiteY9" fmla="*/ 15574 h 90679"/>
                    <a:gd name="connsiteX10" fmla="*/ 51871 w 105499"/>
                    <a:gd name="connsiteY10" fmla="*/ 30017 h 90679"/>
                    <a:gd name="connsiteX11" fmla="*/ 51871 w 105499"/>
                    <a:gd name="connsiteY11" fmla="*/ 59783 h 90679"/>
                    <a:gd name="connsiteX12" fmla="*/ 78748 w 105499"/>
                    <a:gd name="connsiteY12" fmla="*/ 75231 h 90679"/>
                    <a:gd name="connsiteX13" fmla="*/ 55011 w 105499"/>
                    <a:gd name="connsiteY13" fmla="*/ 61541 h 90679"/>
                    <a:gd name="connsiteX14" fmla="*/ 53629 w 105499"/>
                    <a:gd name="connsiteY14" fmla="*/ 60788 h 90679"/>
                    <a:gd name="connsiteX15" fmla="*/ 53629 w 105499"/>
                    <a:gd name="connsiteY15" fmla="*/ 31022 h 90679"/>
                    <a:gd name="connsiteX16" fmla="*/ 78748 w 105499"/>
                    <a:gd name="connsiteY16" fmla="*/ 45465 h 90679"/>
                    <a:gd name="connsiteX17" fmla="*/ 78748 w 105499"/>
                    <a:gd name="connsiteY17" fmla="*/ 75231 h 90679"/>
                    <a:gd name="connsiteX18" fmla="*/ 105500 w 105499"/>
                    <a:gd name="connsiteY18" fmla="*/ 90679 h 90679"/>
                    <a:gd name="connsiteX19" fmla="*/ 81762 w 105499"/>
                    <a:gd name="connsiteY19" fmla="*/ 76990 h 90679"/>
                    <a:gd name="connsiteX20" fmla="*/ 80381 w 105499"/>
                    <a:gd name="connsiteY20" fmla="*/ 76236 h 90679"/>
                    <a:gd name="connsiteX21" fmla="*/ 80381 w 105499"/>
                    <a:gd name="connsiteY21" fmla="*/ 46470 h 90679"/>
                    <a:gd name="connsiteX22" fmla="*/ 105500 w 105499"/>
                    <a:gd name="connsiteY22" fmla="*/ 61039 h 90679"/>
                    <a:gd name="connsiteX23" fmla="*/ 105500 w 105499"/>
                    <a:gd name="connsiteY23" fmla="*/ 90679 h 9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5499" h="90679">
                      <a:moveTo>
                        <a:pt x="25119" y="44209"/>
                      </a:moveTo>
                      <a:lnTo>
                        <a:pt x="1382" y="30519"/>
                      </a:lnTo>
                      <a:lnTo>
                        <a:pt x="0" y="29766"/>
                      </a:lnTo>
                      <a:lnTo>
                        <a:pt x="0" y="0"/>
                      </a:lnTo>
                      <a:lnTo>
                        <a:pt x="25119" y="14569"/>
                      </a:lnTo>
                      <a:lnTo>
                        <a:pt x="25119" y="44209"/>
                      </a:lnTo>
                      <a:close/>
                      <a:moveTo>
                        <a:pt x="51871" y="59783"/>
                      </a:moveTo>
                      <a:lnTo>
                        <a:pt x="28133" y="46093"/>
                      </a:lnTo>
                      <a:lnTo>
                        <a:pt x="26752" y="45340"/>
                      </a:lnTo>
                      <a:lnTo>
                        <a:pt x="26752" y="15574"/>
                      </a:lnTo>
                      <a:lnTo>
                        <a:pt x="51871" y="30017"/>
                      </a:lnTo>
                      <a:lnTo>
                        <a:pt x="51871" y="59783"/>
                      </a:lnTo>
                      <a:close/>
                      <a:moveTo>
                        <a:pt x="78748" y="75231"/>
                      </a:moveTo>
                      <a:lnTo>
                        <a:pt x="55011" y="61541"/>
                      </a:lnTo>
                      <a:lnTo>
                        <a:pt x="53629" y="60788"/>
                      </a:lnTo>
                      <a:lnTo>
                        <a:pt x="53629" y="31022"/>
                      </a:lnTo>
                      <a:lnTo>
                        <a:pt x="78748" y="45465"/>
                      </a:lnTo>
                      <a:lnTo>
                        <a:pt x="78748" y="75231"/>
                      </a:lnTo>
                      <a:close/>
                      <a:moveTo>
                        <a:pt x="105500" y="90679"/>
                      </a:moveTo>
                      <a:lnTo>
                        <a:pt x="81762" y="76990"/>
                      </a:lnTo>
                      <a:lnTo>
                        <a:pt x="80381" y="76236"/>
                      </a:lnTo>
                      <a:lnTo>
                        <a:pt x="80381" y="46470"/>
                      </a:lnTo>
                      <a:lnTo>
                        <a:pt x="105500" y="61039"/>
                      </a:lnTo>
                      <a:lnTo>
                        <a:pt x="105500" y="90679"/>
                      </a:lnTo>
                      <a:close/>
                    </a:path>
                  </a:pathLst>
                </a:custGeom>
                <a:solidFill>
                  <a:srgbClr val="D7E3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7" name="Freeform: Shape 1006">
                  <a:extLst>
                    <a:ext uri="{FF2B5EF4-FFF2-40B4-BE49-F238E27FC236}">
                      <a16:creationId xmlns:a16="http://schemas.microsoft.com/office/drawing/2014/main" id="{2E3451F1-48F3-4836-9886-BA0824190BF5}"/>
                    </a:ext>
                  </a:extLst>
                </p:cNvPr>
                <p:cNvSpPr/>
                <p:nvPr/>
              </p:nvSpPr>
              <p:spPr>
                <a:xfrm>
                  <a:off x="3089384" y="1572924"/>
                  <a:ext cx="99973" cy="81008"/>
                </a:xfrm>
                <a:custGeom>
                  <a:avLst/>
                  <a:gdLst>
                    <a:gd name="connsiteX0" fmla="*/ 80506 w 99973"/>
                    <a:gd name="connsiteY0" fmla="*/ 69705 h 81008"/>
                    <a:gd name="connsiteX1" fmla="*/ 80506 w 99973"/>
                    <a:gd name="connsiteY1" fmla="*/ 46344 h 81008"/>
                    <a:gd name="connsiteX2" fmla="*/ 99973 w 99973"/>
                    <a:gd name="connsiteY2" fmla="*/ 57648 h 81008"/>
                    <a:gd name="connsiteX3" fmla="*/ 99973 w 99973"/>
                    <a:gd name="connsiteY3" fmla="*/ 81009 h 81008"/>
                    <a:gd name="connsiteX4" fmla="*/ 80506 w 99973"/>
                    <a:gd name="connsiteY4" fmla="*/ 69705 h 81008"/>
                    <a:gd name="connsiteX5" fmla="*/ 53629 w 99973"/>
                    <a:gd name="connsiteY5" fmla="*/ 54257 h 81008"/>
                    <a:gd name="connsiteX6" fmla="*/ 53629 w 99973"/>
                    <a:gd name="connsiteY6" fmla="*/ 31022 h 81008"/>
                    <a:gd name="connsiteX7" fmla="*/ 73096 w 99973"/>
                    <a:gd name="connsiteY7" fmla="*/ 42200 h 81008"/>
                    <a:gd name="connsiteX8" fmla="*/ 73096 w 99973"/>
                    <a:gd name="connsiteY8" fmla="*/ 65560 h 81008"/>
                    <a:gd name="connsiteX9" fmla="*/ 53629 w 99973"/>
                    <a:gd name="connsiteY9" fmla="*/ 54257 h 81008"/>
                    <a:gd name="connsiteX10" fmla="*/ 26877 w 99973"/>
                    <a:gd name="connsiteY10" fmla="*/ 38683 h 81008"/>
                    <a:gd name="connsiteX11" fmla="*/ 26877 w 99973"/>
                    <a:gd name="connsiteY11" fmla="*/ 15323 h 81008"/>
                    <a:gd name="connsiteX12" fmla="*/ 46345 w 99973"/>
                    <a:gd name="connsiteY12" fmla="*/ 26626 h 81008"/>
                    <a:gd name="connsiteX13" fmla="*/ 46345 w 99973"/>
                    <a:gd name="connsiteY13" fmla="*/ 49987 h 81008"/>
                    <a:gd name="connsiteX14" fmla="*/ 26877 w 99973"/>
                    <a:gd name="connsiteY14" fmla="*/ 38683 h 81008"/>
                    <a:gd name="connsiteX15" fmla="*/ 0 w 99973"/>
                    <a:gd name="connsiteY15" fmla="*/ 23235 h 81008"/>
                    <a:gd name="connsiteX16" fmla="*/ 0 w 99973"/>
                    <a:gd name="connsiteY16" fmla="*/ 0 h 81008"/>
                    <a:gd name="connsiteX17" fmla="*/ 19467 w 99973"/>
                    <a:gd name="connsiteY17" fmla="*/ 11304 h 81008"/>
                    <a:gd name="connsiteX18" fmla="*/ 19467 w 99973"/>
                    <a:gd name="connsiteY18" fmla="*/ 34539 h 81008"/>
                    <a:gd name="connsiteX19" fmla="*/ 0 w 99973"/>
                    <a:gd name="connsiteY19" fmla="*/ 23235 h 8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9973" h="81008">
                      <a:moveTo>
                        <a:pt x="80506" y="69705"/>
                      </a:moveTo>
                      <a:lnTo>
                        <a:pt x="80506" y="46344"/>
                      </a:lnTo>
                      <a:lnTo>
                        <a:pt x="99973" y="57648"/>
                      </a:lnTo>
                      <a:lnTo>
                        <a:pt x="99973" y="81009"/>
                      </a:lnTo>
                      <a:lnTo>
                        <a:pt x="80506" y="69705"/>
                      </a:lnTo>
                      <a:close/>
                      <a:moveTo>
                        <a:pt x="53629" y="54257"/>
                      </a:moveTo>
                      <a:lnTo>
                        <a:pt x="53629" y="31022"/>
                      </a:lnTo>
                      <a:lnTo>
                        <a:pt x="73096" y="42200"/>
                      </a:lnTo>
                      <a:lnTo>
                        <a:pt x="73096" y="65560"/>
                      </a:lnTo>
                      <a:lnTo>
                        <a:pt x="53629" y="54257"/>
                      </a:lnTo>
                      <a:close/>
                      <a:moveTo>
                        <a:pt x="26877" y="38683"/>
                      </a:moveTo>
                      <a:lnTo>
                        <a:pt x="26877" y="15323"/>
                      </a:lnTo>
                      <a:lnTo>
                        <a:pt x="46345" y="26626"/>
                      </a:lnTo>
                      <a:lnTo>
                        <a:pt x="46345" y="49987"/>
                      </a:lnTo>
                      <a:lnTo>
                        <a:pt x="26877" y="38683"/>
                      </a:lnTo>
                      <a:close/>
                      <a:moveTo>
                        <a:pt x="0" y="23235"/>
                      </a:moveTo>
                      <a:lnTo>
                        <a:pt x="0" y="0"/>
                      </a:lnTo>
                      <a:lnTo>
                        <a:pt x="19467" y="11304"/>
                      </a:lnTo>
                      <a:lnTo>
                        <a:pt x="19467" y="34539"/>
                      </a:lnTo>
                      <a:lnTo>
                        <a:pt x="0" y="23235"/>
                      </a:lnTo>
                      <a:close/>
                    </a:path>
                  </a:pathLst>
                </a:custGeom>
                <a:solidFill>
                  <a:srgbClr val="252C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08" name="Graphic 4">
                <a:extLst>
                  <a:ext uri="{FF2B5EF4-FFF2-40B4-BE49-F238E27FC236}">
                    <a16:creationId xmlns:a16="http://schemas.microsoft.com/office/drawing/2014/main" id="{84FB7ED1-A2DF-40A1-A747-5F7CF3F14040}"/>
                  </a:ext>
                </a:extLst>
              </p:cNvPr>
              <p:cNvGrpSpPr/>
              <p:nvPr/>
            </p:nvGrpSpPr>
            <p:grpSpPr>
              <a:xfrm>
                <a:off x="3371344" y="1564761"/>
                <a:ext cx="149708" cy="105248"/>
                <a:chOff x="3371344" y="1564761"/>
                <a:chExt cx="149708" cy="105248"/>
              </a:xfrm>
              <a:solidFill>
                <a:srgbClr val="E0DEDC"/>
              </a:solidFill>
            </p:grpSpPr>
            <p:sp>
              <p:nvSpPr>
                <p:cNvPr id="1009" name="Freeform: Shape 1008">
                  <a:extLst>
                    <a:ext uri="{FF2B5EF4-FFF2-40B4-BE49-F238E27FC236}">
                      <a16:creationId xmlns:a16="http://schemas.microsoft.com/office/drawing/2014/main" id="{C64744A6-C5CF-4E9A-BAC8-BA849FC25631}"/>
                    </a:ext>
                  </a:extLst>
                </p:cNvPr>
                <p:cNvSpPr/>
                <p:nvPr/>
              </p:nvSpPr>
              <p:spPr>
                <a:xfrm>
                  <a:off x="3371344" y="1564761"/>
                  <a:ext cx="149708" cy="87916"/>
                </a:xfrm>
                <a:custGeom>
                  <a:avLst/>
                  <a:gdLst>
                    <a:gd name="connsiteX0" fmla="*/ 149709 w 149708"/>
                    <a:gd name="connsiteY0" fmla="*/ 0 h 87916"/>
                    <a:gd name="connsiteX1" fmla="*/ 149709 w 149708"/>
                    <a:gd name="connsiteY1" fmla="*/ 1507 h 87916"/>
                    <a:gd name="connsiteX2" fmla="*/ 0 w 149708"/>
                    <a:gd name="connsiteY2" fmla="*/ 87916 h 87916"/>
                    <a:gd name="connsiteX3" fmla="*/ 0 w 149708"/>
                    <a:gd name="connsiteY3" fmla="*/ 86409 h 87916"/>
                  </a:gdLst>
                  <a:ahLst/>
                  <a:cxnLst>
                    <a:cxn ang="0">
                      <a:pos x="connsiteX0" y="connsiteY0"/>
                    </a:cxn>
                    <a:cxn ang="0">
                      <a:pos x="connsiteX1" y="connsiteY1"/>
                    </a:cxn>
                    <a:cxn ang="0">
                      <a:pos x="connsiteX2" y="connsiteY2"/>
                    </a:cxn>
                    <a:cxn ang="0">
                      <a:pos x="connsiteX3" y="connsiteY3"/>
                    </a:cxn>
                  </a:cxnLst>
                  <a:rect l="l" t="t" r="r" b="b"/>
                  <a:pathLst>
                    <a:path w="149708" h="87916">
                      <a:moveTo>
                        <a:pt x="149709" y="0"/>
                      </a:moveTo>
                      <a:lnTo>
                        <a:pt x="149709" y="1507"/>
                      </a:lnTo>
                      <a:lnTo>
                        <a:pt x="0" y="87916"/>
                      </a:lnTo>
                      <a:lnTo>
                        <a:pt x="0" y="86409"/>
                      </a:lnTo>
                      <a:close/>
                    </a:path>
                  </a:pathLst>
                </a:custGeom>
                <a:solidFill>
                  <a:srgbClr val="E0DE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0" name="Freeform: Shape 1009">
                  <a:extLst>
                    <a:ext uri="{FF2B5EF4-FFF2-40B4-BE49-F238E27FC236}">
                      <a16:creationId xmlns:a16="http://schemas.microsoft.com/office/drawing/2014/main" id="{C8DF2723-3F7F-4176-8D5B-9AEA6CB6FD80}"/>
                    </a:ext>
                  </a:extLst>
                </p:cNvPr>
                <p:cNvSpPr/>
                <p:nvPr/>
              </p:nvSpPr>
              <p:spPr>
                <a:xfrm>
                  <a:off x="3371344" y="1581967"/>
                  <a:ext cx="149708" cy="88041"/>
                </a:xfrm>
                <a:custGeom>
                  <a:avLst/>
                  <a:gdLst>
                    <a:gd name="connsiteX0" fmla="*/ 149709 w 149708"/>
                    <a:gd name="connsiteY0" fmla="*/ 0 h 88041"/>
                    <a:gd name="connsiteX1" fmla="*/ 149709 w 149708"/>
                    <a:gd name="connsiteY1" fmla="*/ 1633 h 88041"/>
                    <a:gd name="connsiteX2" fmla="*/ 0 w 149708"/>
                    <a:gd name="connsiteY2" fmla="*/ 88042 h 88041"/>
                    <a:gd name="connsiteX3" fmla="*/ 0 w 149708"/>
                    <a:gd name="connsiteY3" fmla="*/ 86535 h 88041"/>
                  </a:gdLst>
                  <a:ahLst/>
                  <a:cxnLst>
                    <a:cxn ang="0">
                      <a:pos x="connsiteX0" y="connsiteY0"/>
                    </a:cxn>
                    <a:cxn ang="0">
                      <a:pos x="connsiteX1" y="connsiteY1"/>
                    </a:cxn>
                    <a:cxn ang="0">
                      <a:pos x="connsiteX2" y="connsiteY2"/>
                    </a:cxn>
                    <a:cxn ang="0">
                      <a:pos x="connsiteX3" y="connsiteY3"/>
                    </a:cxn>
                  </a:cxnLst>
                  <a:rect l="l" t="t" r="r" b="b"/>
                  <a:pathLst>
                    <a:path w="149708" h="88041">
                      <a:moveTo>
                        <a:pt x="149709" y="0"/>
                      </a:moveTo>
                      <a:lnTo>
                        <a:pt x="149709" y="1633"/>
                      </a:lnTo>
                      <a:lnTo>
                        <a:pt x="0" y="88042"/>
                      </a:lnTo>
                      <a:lnTo>
                        <a:pt x="0" y="86535"/>
                      </a:lnTo>
                      <a:close/>
                    </a:path>
                  </a:pathLst>
                </a:custGeom>
                <a:solidFill>
                  <a:srgbClr val="E0DE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11" name="Freeform: Shape 1010">
                <a:extLst>
                  <a:ext uri="{FF2B5EF4-FFF2-40B4-BE49-F238E27FC236}">
                    <a16:creationId xmlns:a16="http://schemas.microsoft.com/office/drawing/2014/main" id="{DC566749-9AB4-4180-BC66-A78AE579DBFF}"/>
                  </a:ext>
                </a:extLst>
              </p:cNvPr>
              <p:cNvSpPr/>
              <p:nvPr/>
            </p:nvSpPr>
            <p:spPr>
              <a:xfrm>
                <a:off x="3371344" y="1533739"/>
                <a:ext cx="183493" cy="131623"/>
              </a:xfrm>
              <a:custGeom>
                <a:avLst/>
                <a:gdLst>
                  <a:gd name="connsiteX0" fmla="*/ 183494 w 183493"/>
                  <a:gd name="connsiteY0" fmla="*/ 0 h 131623"/>
                  <a:gd name="connsiteX1" fmla="*/ 150086 w 183493"/>
                  <a:gd name="connsiteY1" fmla="*/ 40693 h 131623"/>
                  <a:gd name="connsiteX2" fmla="*/ 0 w 183493"/>
                  <a:gd name="connsiteY2" fmla="*/ 131623 h 131623"/>
                  <a:gd name="connsiteX3" fmla="*/ 0 w 183493"/>
                  <a:gd name="connsiteY3" fmla="*/ 106002 h 131623"/>
                </a:gdLst>
                <a:ahLst/>
                <a:cxnLst>
                  <a:cxn ang="0">
                    <a:pos x="connsiteX0" y="connsiteY0"/>
                  </a:cxn>
                  <a:cxn ang="0">
                    <a:pos x="connsiteX1" y="connsiteY1"/>
                  </a:cxn>
                  <a:cxn ang="0">
                    <a:pos x="connsiteX2" y="connsiteY2"/>
                  </a:cxn>
                  <a:cxn ang="0">
                    <a:pos x="connsiteX3" y="connsiteY3"/>
                  </a:cxn>
                </a:cxnLst>
                <a:rect l="l" t="t" r="r" b="b"/>
                <a:pathLst>
                  <a:path w="183493" h="131623">
                    <a:moveTo>
                      <a:pt x="183494" y="0"/>
                    </a:moveTo>
                    <a:lnTo>
                      <a:pt x="150086" y="40693"/>
                    </a:lnTo>
                    <a:lnTo>
                      <a:pt x="0" y="131623"/>
                    </a:lnTo>
                    <a:lnTo>
                      <a:pt x="0" y="106002"/>
                    </a:lnTo>
                    <a:close/>
                  </a:path>
                </a:pathLst>
              </a:custGeom>
              <a:solidFill>
                <a:srgbClr val="E8EAE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12" name="Graphic 4">
              <a:extLst>
                <a:ext uri="{FF2B5EF4-FFF2-40B4-BE49-F238E27FC236}">
                  <a16:creationId xmlns:a16="http://schemas.microsoft.com/office/drawing/2014/main" id="{84FB7ED1-A2DF-40A1-A747-5F7CF3F14040}"/>
                </a:ext>
              </a:extLst>
            </p:cNvPr>
            <p:cNvGrpSpPr/>
            <p:nvPr/>
          </p:nvGrpSpPr>
          <p:grpSpPr>
            <a:xfrm>
              <a:off x="3620901" y="1662254"/>
              <a:ext cx="168296" cy="139002"/>
              <a:chOff x="3620901" y="1662254"/>
              <a:chExt cx="168296" cy="139002"/>
            </a:xfrm>
            <a:solidFill>
              <a:schemeClr val="accent1"/>
            </a:solidFill>
          </p:grpSpPr>
          <p:sp>
            <p:nvSpPr>
              <p:cNvPr id="1013" name="Freeform: Shape 1012">
                <a:extLst>
                  <a:ext uri="{FF2B5EF4-FFF2-40B4-BE49-F238E27FC236}">
                    <a16:creationId xmlns:a16="http://schemas.microsoft.com/office/drawing/2014/main" id="{E3C425AE-4A3E-40AB-B5B7-B0F20A79328B}"/>
                  </a:ext>
                </a:extLst>
              </p:cNvPr>
              <p:cNvSpPr/>
              <p:nvPr/>
            </p:nvSpPr>
            <p:spPr>
              <a:xfrm>
                <a:off x="3620901" y="1710967"/>
                <a:ext cx="167575" cy="90288"/>
              </a:xfrm>
              <a:custGeom>
                <a:avLst/>
                <a:gdLst>
                  <a:gd name="connsiteX0" fmla="*/ 150086 w 167575"/>
                  <a:gd name="connsiteY0" fmla="*/ 11918 h 90288"/>
                  <a:gd name="connsiteX1" fmla="*/ 138280 w 167575"/>
                  <a:gd name="connsiteY1" fmla="*/ 5135 h 90288"/>
                  <a:gd name="connsiteX2" fmla="*/ 125595 w 167575"/>
                  <a:gd name="connsiteY2" fmla="*/ 865 h 90288"/>
                  <a:gd name="connsiteX3" fmla="*/ 125595 w 167575"/>
                  <a:gd name="connsiteY3" fmla="*/ 865 h 90288"/>
                  <a:gd name="connsiteX4" fmla="*/ 100099 w 167575"/>
                  <a:gd name="connsiteY4" fmla="*/ 3126 h 90288"/>
                  <a:gd name="connsiteX5" fmla="*/ 87540 w 167575"/>
                  <a:gd name="connsiteY5" fmla="*/ 10410 h 90288"/>
                  <a:gd name="connsiteX6" fmla="*/ 63048 w 167575"/>
                  <a:gd name="connsiteY6" fmla="*/ 4382 h 90288"/>
                  <a:gd name="connsiteX7" fmla="*/ 52373 w 167575"/>
                  <a:gd name="connsiteY7" fmla="*/ 5261 h 90288"/>
                  <a:gd name="connsiteX8" fmla="*/ 47098 w 167575"/>
                  <a:gd name="connsiteY8" fmla="*/ 8275 h 90288"/>
                  <a:gd name="connsiteX9" fmla="*/ 45591 w 167575"/>
                  <a:gd name="connsiteY9" fmla="*/ 7396 h 90288"/>
                  <a:gd name="connsiteX10" fmla="*/ 42702 w 167575"/>
                  <a:gd name="connsiteY10" fmla="*/ 9029 h 90288"/>
                  <a:gd name="connsiteX11" fmla="*/ 44209 w 167575"/>
                  <a:gd name="connsiteY11" fmla="*/ 9908 h 90288"/>
                  <a:gd name="connsiteX12" fmla="*/ 40065 w 167575"/>
                  <a:gd name="connsiteY12" fmla="*/ 12294 h 90288"/>
                  <a:gd name="connsiteX13" fmla="*/ 37553 w 167575"/>
                  <a:gd name="connsiteY13" fmla="*/ 16313 h 90288"/>
                  <a:gd name="connsiteX14" fmla="*/ 38683 w 167575"/>
                  <a:gd name="connsiteY14" fmla="*/ 17946 h 90288"/>
                  <a:gd name="connsiteX15" fmla="*/ 49108 w 167575"/>
                  <a:gd name="connsiteY15" fmla="*/ 25231 h 90288"/>
                  <a:gd name="connsiteX16" fmla="*/ 60537 w 167575"/>
                  <a:gd name="connsiteY16" fmla="*/ 31636 h 90288"/>
                  <a:gd name="connsiteX17" fmla="*/ 56267 w 167575"/>
                  <a:gd name="connsiteY17" fmla="*/ 34148 h 90288"/>
                  <a:gd name="connsiteX18" fmla="*/ 23235 w 167575"/>
                  <a:gd name="connsiteY18" fmla="*/ 14681 h 90288"/>
                  <a:gd name="connsiteX19" fmla="*/ 16830 w 167575"/>
                  <a:gd name="connsiteY19" fmla="*/ 18323 h 90288"/>
                  <a:gd name="connsiteX20" fmla="*/ 42576 w 167575"/>
                  <a:gd name="connsiteY20" fmla="*/ 33645 h 90288"/>
                  <a:gd name="connsiteX21" fmla="*/ 0 w 167575"/>
                  <a:gd name="connsiteY21" fmla="*/ 58262 h 90288"/>
                  <a:gd name="connsiteX22" fmla="*/ 55513 w 167575"/>
                  <a:gd name="connsiteY22" fmla="*/ 90289 h 90288"/>
                  <a:gd name="connsiteX23" fmla="*/ 81386 w 167575"/>
                  <a:gd name="connsiteY23" fmla="*/ 75343 h 90288"/>
                  <a:gd name="connsiteX24" fmla="*/ 100727 w 167575"/>
                  <a:gd name="connsiteY24" fmla="*/ 76850 h 90288"/>
                  <a:gd name="connsiteX25" fmla="*/ 108765 w 167575"/>
                  <a:gd name="connsiteY25" fmla="*/ 72957 h 90288"/>
                  <a:gd name="connsiteX26" fmla="*/ 115924 w 167575"/>
                  <a:gd name="connsiteY26" fmla="*/ 65923 h 90288"/>
                  <a:gd name="connsiteX27" fmla="*/ 142550 w 167575"/>
                  <a:gd name="connsiteY27" fmla="*/ 50601 h 90288"/>
                  <a:gd name="connsiteX28" fmla="*/ 152723 w 167575"/>
                  <a:gd name="connsiteY28" fmla="*/ 47963 h 90288"/>
                  <a:gd name="connsiteX29" fmla="*/ 161515 w 167575"/>
                  <a:gd name="connsiteY29" fmla="*/ 42312 h 90288"/>
                  <a:gd name="connsiteX30" fmla="*/ 163273 w 167575"/>
                  <a:gd name="connsiteY30" fmla="*/ 21463 h 90288"/>
                  <a:gd name="connsiteX31" fmla="*/ 150086 w 167575"/>
                  <a:gd name="connsiteY31" fmla="*/ 11918 h 90288"/>
                  <a:gd name="connsiteX32" fmla="*/ 82767 w 167575"/>
                  <a:gd name="connsiteY32" fmla="*/ 18574 h 90288"/>
                  <a:gd name="connsiteX33" fmla="*/ 69956 w 167575"/>
                  <a:gd name="connsiteY33" fmla="*/ 15434 h 90288"/>
                  <a:gd name="connsiteX34" fmla="*/ 68826 w 167575"/>
                  <a:gd name="connsiteY34" fmla="*/ 14555 h 90288"/>
                  <a:gd name="connsiteX35" fmla="*/ 62672 w 167575"/>
                  <a:gd name="connsiteY35" fmla="*/ 14178 h 90288"/>
                  <a:gd name="connsiteX36" fmla="*/ 63300 w 167575"/>
                  <a:gd name="connsiteY36" fmla="*/ 17695 h 90288"/>
                  <a:gd name="connsiteX37" fmla="*/ 67695 w 167575"/>
                  <a:gd name="connsiteY37" fmla="*/ 18574 h 90288"/>
                  <a:gd name="connsiteX38" fmla="*/ 75483 w 167575"/>
                  <a:gd name="connsiteY38" fmla="*/ 22844 h 90288"/>
                  <a:gd name="connsiteX39" fmla="*/ 75483 w 167575"/>
                  <a:gd name="connsiteY39" fmla="*/ 22844 h 90288"/>
                  <a:gd name="connsiteX40" fmla="*/ 63300 w 167575"/>
                  <a:gd name="connsiteY40" fmla="*/ 29878 h 90288"/>
                  <a:gd name="connsiteX41" fmla="*/ 51494 w 167575"/>
                  <a:gd name="connsiteY41" fmla="*/ 23095 h 90288"/>
                  <a:gd name="connsiteX42" fmla="*/ 72468 w 167575"/>
                  <a:gd name="connsiteY42" fmla="*/ 10787 h 90288"/>
                  <a:gd name="connsiteX43" fmla="*/ 88544 w 167575"/>
                  <a:gd name="connsiteY43" fmla="*/ 15309 h 90288"/>
                  <a:gd name="connsiteX44" fmla="*/ 82767 w 167575"/>
                  <a:gd name="connsiteY44" fmla="*/ 18574 h 9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67575" h="90288">
                    <a:moveTo>
                      <a:pt x="150086" y="11918"/>
                    </a:moveTo>
                    <a:lnTo>
                      <a:pt x="138280" y="5135"/>
                    </a:lnTo>
                    <a:cubicBezTo>
                      <a:pt x="135265" y="3377"/>
                      <a:pt x="130870" y="1870"/>
                      <a:pt x="125595" y="865"/>
                    </a:cubicBezTo>
                    <a:lnTo>
                      <a:pt x="125595" y="865"/>
                    </a:lnTo>
                    <a:cubicBezTo>
                      <a:pt x="116678" y="-893"/>
                      <a:pt x="105249" y="112"/>
                      <a:pt x="100099" y="3126"/>
                    </a:cubicBezTo>
                    <a:lnTo>
                      <a:pt x="87540" y="10410"/>
                    </a:lnTo>
                    <a:lnTo>
                      <a:pt x="63048" y="4382"/>
                    </a:lnTo>
                    <a:cubicBezTo>
                      <a:pt x="59155" y="3252"/>
                      <a:pt x="54885" y="3754"/>
                      <a:pt x="52373" y="5261"/>
                    </a:cubicBezTo>
                    <a:lnTo>
                      <a:pt x="47098" y="8275"/>
                    </a:lnTo>
                    <a:lnTo>
                      <a:pt x="45591" y="7396"/>
                    </a:lnTo>
                    <a:lnTo>
                      <a:pt x="42702" y="9029"/>
                    </a:lnTo>
                    <a:lnTo>
                      <a:pt x="44209" y="9908"/>
                    </a:lnTo>
                    <a:lnTo>
                      <a:pt x="40065" y="12294"/>
                    </a:lnTo>
                    <a:cubicBezTo>
                      <a:pt x="38055" y="13425"/>
                      <a:pt x="37176" y="14932"/>
                      <a:pt x="37553" y="16313"/>
                    </a:cubicBezTo>
                    <a:cubicBezTo>
                      <a:pt x="37678" y="16816"/>
                      <a:pt x="38181" y="17444"/>
                      <a:pt x="38683" y="17946"/>
                    </a:cubicBezTo>
                    <a:cubicBezTo>
                      <a:pt x="41321" y="20207"/>
                      <a:pt x="44712" y="22593"/>
                      <a:pt x="49108" y="25231"/>
                    </a:cubicBezTo>
                    <a:cubicBezTo>
                      <a:pt x="53127" y="27491"/>
                      <a:pt x="56392" y="29375"/>
                      <a:pt x="60537" y="31636"/>
                    </a:cubicBezTo>
                    <a:lnTo>
                      <a:pt x="56267" y="34148"/>
                    </a:lnTo>
                    <a:lnTo>
                      <a:pt x="23235" y="14681"/>
                    </a:lnTo>
                    <a:lnTo>
                      <a:pt x="16830" y="18323"/>
                    </a:lnTo>
                    <a:lnTo>
                      <a:pt x="42576" y="33645"/>
                    </a:lnTo>
                    <a:lnTo>
                      <a:pt x="0" y="58262"/>
                    </a:lnTo>
                    <a:lnTo>
                      <a:pt x="55513" y="90289"/>
                    </a:lnTo>
                    <a:lnTo>
                      <a:pt x="81386" y="75343"/>
                    </a:lnTo>
                    <a:lnTo>
                      <a:pt x="100727" y="76850"/>
                    </a:lnTo>
                    <a:lnTo>
                      <a:pt x="108765" y="72957"/>
                    </a:lnTo>
                    <a:lnTo>
                      <a:pt x="115924" y="65923"/>
                    </a:lnTo>
                    <a:lnTo>
                      <a:pt x="142550" y="50601"/>
                    </a:lnTo>
                    <a:lnTo>
                      <a:pt x="152723" y="47963"/>
                    </a:lnTo>
                    <a:lnTo>
                      <a:pt x="161515" y="42312"/>
                    </a:lnTo>
                    <a:cubicBezTo>
                      <a:pt x="168799" y="37539"/>
                      <a:pt x="169679" y="27240"/>
                      <a:pt x="163273" y="21463"/>
                    </a:cubicBezTo>
                    <a:cubicBezTo>
                      <a:pt x="159254" y="17821"/>
                      <a:pt x="154858" y="14681"/>
                      <a:pt x="150086" y="11918"/>
                    </a:cubicBezTo>
                    <a:close/>
                    <a:moveTo>
                      <a:pt x="82767" y="18574"/>
                    </a:moveTo>
                    <a:cubicBezTo>
                      <a:pt x="80381" y="17695"/>
                      <a:pt x="73724" y="15560"/>
                      <a:pt x="69956" y="15434"/>
                    </a:cubicBezTo>
                    <a:cubicBezTo>
                      <a:pt x="69705" y="15057"/>
                      <a:pt x="69328" y="14806"/>
                      <a:pt x="68826" y="14555"/>
                    </a:cubicBezTo>
                    <a:cubicBezTo>
                      <a:pt x="66942" y="13425"/>
                      <a:pt x="64179" y="13299"/>
                      <a:pt x="62672" y="14178"/>
                    </a:cubicBezTo>
                    <a:cubicBezTo>
                      <a:pt x="61165" y="15057"/>
                      <a:pt x="61416" y="16690"/>
                      <a:pt x="63300" y="17695"/>
                    </a:cubicBezTo>
                    <a:cubicBezTo>
                      <a:pt x="64556" y="18448"/>
                      <a:pt x="66314" y="18700"/>
                      <a:pt x="67695" y="18574"/>
                    </a:cubicBezTo>
                    <a:cubicBezTo>
                      <a:pt x="68951" y="19956"/>
                      <a:pt x="75483" y="22844"/>
                      <a:pt x="75483" y="22844"/>
                    </a:cubicBezTo>
                    <a:lnTo>
                      <a:pt x="75483" y="22844"/>
                    </a:lnTo>
                    <a:lnTo>
                      <a:pt x="63300" y="29878"/>
                    </a:lnTo>
                    <a:cubicBezTo>
                      <a:pt x="59532" y="27994"/>
                      <a:pt x="51494" y="23095"/>
                      <a:pt x="51494" y="23095"/>
                    </a:cubicBezTo>
                    <a:cubicBezTo>
                      <a:pt x="48982" y="21588"/>
                      <a:pt x="67947" y="9406"/>
                      <a:pt x="72468" y="10787"/>
                    </a:cubicBezTo>
                    <a:lnTo>
                      <a:pt x="88544" y="15309"/>
                    </a:lnTo>
                    <a:lnTo>
                      <a:pt x="82767" y="18574"/>
                    </a:lnTo>
                    <a:close/>
                  </a:path>
                </a:pathLst>
              </a:custGeom>
              <a:solidFill>
                <a:srgbClr val="000000">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14" name="Graphic 4">
                <a:extLst>
                  <a:ext uri="{FF2B5EF4-FFF2-40B4-BE49-F238E27FC236}">
                    <a16:creationId xmlns:a16="http://schemas.microsoft.com/office/drawing/2014/main" id="{84FB7ED1-A2DF-40A1-A747-5F7CF3F14040}"/>
                  </a:ext>
                </a:extLst>
              </p:cNvPr>
              <p:cNvGrpSpPr/>
              <p:nvPr/>
            </p:nvGrpSpPr>
            <p:grpSpPr>
              <a:xfrm>
                <a:off x="3629944" y="1662254"/>
                <a:ext cx="159254" cy="129176"/>
                <a:chOff x="3629944" y="1662254"/>
                <a:chExt cx="159254" cy="129176"/>
              </a:xfrm>
              <a:solidFill>
                <a:schemeClr val="accent1"/>
              </a:solidFill>
            </p:grpSpPr>
            <p:grpSp>
              <p:nvGrpSpPr>
                <p:cNvPr id="1015" name="Graphic 4">
                  <a:extLst>
                    <a:ext uri="{FF2B5EF4-FFF2-40B4-BE49-F238E27FC236}">
                      <a16:creationId xmlns:a16="http://schemas.microsoft.com/office/drawing/2014/main" id="{84FB7ED1-A2DF-40A1-A747-5F7CF3F14040}"/>
                    </a:ext>
                  </a:extLst>
                </p:cNvPr>
                <p:cNvGrpSpPr/>
                <p:nvPr/>
              </p:nvGrpSpPr>
              <p:grpSpPr>
                <a:xfrm>
                  <a:off x="3676100" y="1662254"/>
                  <a:ext cx="113098" cy="129176"/>
                  <a:chOff x="3676100" y="1662254"/>
                  <a:chExt cx="113098" cy="129176"/>
                </a:xfrm>
                <a:solidFill>
                  <a:schemeClr val="accent1"/>
                </a:solidFill>
              </p:grpSpPr>
              <p:grpSp>
                <p:nvGrpSpPr>
                  <p:cNvPr id="1016" name="Graphic 4">
                    <a:extLst>
                      <a:ext uri="{FF2B5EF4-FFF2-40B4-BE49-F238E27FC236}">
                        <a16:creationId xmlns:a16="http://schemas.microsoft.com/office/drawing/2014/main" id="{84FB7ED1-A2DF-40A1-A747-5F7CF3F14040}"/>
                      </a:ext>
                    </a:extLst>
                  </p:cNvPr>
                  <p:cNvGrpSpPr/>
                  <p:nvPr/>
                </p:nvGrpSpPr>
                <p:grpSpPr>
                  <a:xfrm>
                    <a:off x="3676100" y="1737003"/>
                    <a:ext cx="33216" cy="35750"/>
                    <a:chOff x="3676100" y="1737003"/>
                    <a:chExt cx="33216" cy="35750"/>
                  </a:xfrm>
                  <a:solidFill>
                    <a:schemeClr val="accent1"/>
                  </a:solidFill>
                </p:grpSpPr>
                <p:sp>
                  <p:nvSpPr>
                    <p:cNvPr id="1017" name="Freeform: Shape 1016">
                      <a:extLst>
                        <a:ext uri="{FF2B5EF4-FFF2-40B4-BE49-F238E27FC236}">
                          <a16:creationId xmlns:a16="http://schemas.microsoft.com/office/drawing/2014/main" id="{BFFBC16C-FE13-49C3-B7D8-AD8C2F51EDC2}"/>
                        </a:ext>
                      </a:extLst>
                    </p:cNvPr>
                    <p:cNvSpPr/>
                    <p:nvPr/>
                  </p:nvSpPr>
                  <p:spPr>
                    <a:xfrm>
                      <a:off x="3676100" y="1737003"/>
                      <a:ext cx="28761" cy="32047"/>
                    </a:xfrm>
                    <a:custGeom>
                      <a:avLst/>
                      <a:gdLst>
                        <a:gd name="connsiteX0" fmla="*/ 25558 w 28761"/>
                        <a:gd name="connsiteY0" fmla="*/ 4846 h 32047"/>
                        <a:gd name="connsiteX1" fmla="*/ 25558 w 28761"/>
                        <a:gd name="connsiteY1" fmla="*/ 4846 h 32047"/>
                        <a:gd name="connsiteX2" fmla="*/ 18525 w 28761"/>
                        <a:gd name="connsiteY2" fmla="*/ 701 h 32047"/>
                        <a:gd name="connsiteX3" fmla="*/ 3203 w 28761"/>
                        <a:gd name="connsiteY3" fmla="*/ 9493 h 32047"/>
                        <a:gd name="connsiteX4" fmla="*/ 3203 w 28761"/>
                        <a:gd name="connsiteY4" fmla="*/ 27202 h 32047"/>
                        <a:gd name="connsiteX5" fmla="*/ 10236 w 28761"/>
                        <a:gd name="connsiteY5" fmla="*/ 31346 h 32047"/>
                        <a:gd name="connsiteX6" fmla="*/ 10236 w 28761"/>
                        <a:gd name="connsiteY6" fmla="*/ 31346 h 32047"/>
                        <a:gd name="connsiteX7" fmla="*/ 25558 w 28761"/>
                        <a:gd name="connsiteY7" fmla="*/ 22555 h 32047"/>
                        <a:gd name="connsiteX8" fmla="*/ 25558 w 28761"/>
                        <a:gd name="connsiteY8" fmla="*/ 4846 h 3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1" h="32047">
                          <a:moveTo>
                            <a:pt x="25558" y="4846"/>
                          </a:moveTo>
                          <a:lnTo>
                            <a:pt x="25558" y="4846"/>
                          </a:lnTo>
                          <a:cubicBezTo>
                            <a:pt x="25558" y="4846"/>
                            <a:pt x="22670" y="3213"/>
                            <a:pt x="18525" y="701"/>
                          </a:cubicBezTo>
                          <a:cubicBezTo>
                            <a:pt x="14255" y="-1685"/>
                            <a:pt x="7473" y="2208"/>
                            <a:pt x="3203" y="9493"/>
                          </a:cubicBezTo>
                          <a:cubicBezTo>
                            <a:pt x="-1068" y="16777"/>
                            <a:pt x="-1068" y="24690"/>
                            <a:pt x="3203" y="27202"/>
                          </a:cubicBezTo>
                          <a:cubicBezTo>
                            <a:pt x="7473" y="29588"/>
                            <a:pt x="10236" y="31221"/>
                            <a:pt x="10236" y="31346"/>
                          </a:cubicBezTo>
                          <a:lnTo>
                            <a:pt x="10236" y="31346"/>
                          </a:lnTo>
                          <a:cubicBezTo>
                            <a:pt x="14506" y="33733"/>
                            <a:pt x="21288" y="29839"/>
                            <a:pt x="25558" y="22555"/>
                          </a:cubicBezTo>
                          <a:cubicBezTo>
                            <a:pt x="29829" y="15145"/>
                            <a:pt x="29829" y="7232"/>
                            <a:pt x="25558" y="4846"/>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8" name="Freeform: Shape 1017">
                      <a:extLst>
                        <a:ext uri="{FF2B5EF4-FFF2-40B4-BE49-F238E27FC236}">
                          <a16:creationId xmlns:a16="http://schemas.microsoft.com/office/drawing/2014/main" id="{96B48AAB-57CB-4CDE-AD33-34838D7A85C1}"/>
                        </a:ext>
                      </a:extLst>
                    </p:cNvPr>
                    <p:cNvSpPr/>
                    <p:nvPr/>
                  </p:nvSpPr>
                  <p:spPr>
                    <a:xfrm>
                      <a:off x="3678767" y="1737423"/>
                      <a:ext cx="30549" cy="35330"/>
                    </a:xfrm>
                    <a:custGeom>
                      <a:avLst/>
                      <a:gdLst>
                        <a:gd name="connsiteX0" fmla="*/ 22936 w 30549"/>
                        <a:gd name="connsiteY0" fmla="*/ 4396 h 35330"/>
                        <a:gd name="connsiteX1" fmla="*/ 22888 w 30549"/>
                        <a:gd name="connsiteY1" fmla="*/ 22061 h 35330"/>
                        <a:gd name="connsiteX2" fmla="*/ 7613 w 30549"/>
                        <a:gd name="connsiteY2" fmla="*/ 30935 h 35330"/>
                        <a:gd name="connsiteX3" fmla="*/ 7661 w 30549"/>
                        <a:gd name="connsiteY3" fmla="*/ 13269 h 35330"/>
                        <a:gd name="connsiteX4" fmla="*/ 22936 w 30549"/>
                        <a:gd name="connsiteY4" fmla="*/ 4396 h 35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49" h="35330">
                          <a:moveTo>
                            <a:pt x="22936" y="4396"/>
                          </a:moveTo>
                          <a:cubicBezTo>
                            <a:pt x="27141" y="6824"/>
                            <a:pt x="27120" y="14733"/>
                            <a:pt x="22888" y="22061"/>
                          </a:cubicBezTo>
                          <a:cubicBezTo>
                            <a:pt x="18657" y="29390"/>
                            <a:pt x="11818" y="33362"/>
                            <a:pt x="7613" y="30935"/>
                          </a:cubicBezTo>
                          <a:cubicBezTo>
                            <a:pt x="3409" y="28507"/>
                            <a:pt x="3430" y="20598"/>
                            <a:pt x="7661" y="13269"/>
                          </a:cubicBezTo>
                          <a:cubicBezTo>
                            <a:pt x="11892" y="5941"/>
                            <a:pt x="18731" y="1968"/>
                            <a:pt x="22936" y="4396"/>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9" name="Freeform: Shape 1018">
                      <a:extLst>
                        <a:ext uri="{FF2B5EF4-FFF2-40B4-BE49-F238E27FC236}">
                          <a16:creationId xmlns:a16="http://schemas.microsoft.com/office/drawing/2014/main" id="{3B61A504-C9F8-4DDB-930B-A04BD2B0B0DC}"/>
                        </a:ext>
                      </a:extLst>
                    </p:cNvPr>
                    <p:cNvSpPr/>
                    <p:nvPr/>
                  </p:nvSpPr>
                  <p:spPr>
                    <a:xfrm>
                      <a:off x="3688063" y="1747393"/>
                      <a:ext cx="11994" cy="15412"/>
                    </a:xfrm>
                    <a:custGeom>
                      <a:avLst/>
                      <a:gdLst>
                        <a:gd name="connsiteX0" fmla="*/ 10205 w 11994"/>
                        <a:gd name="connsiteY0" fmla="*/ 10155 h 15412"/>
                        <a:gd name="connsiteX1" fmla="*/ 1790 w 11994"/>
                        <a:gd name="connsiteY1" fmla="*/ 15054 h 15412"/>
                        <a:gd name="connsiteX2" fmla="*/ 1790 w 11994"/>
                        <a:gd name="connsiteY2" fmla="*/ 5257 h 15412"/>
                        <a:gd name="connsiteX3" fmla="*/ 10205 w 11994"/>
                        <a:gd name="connsiteY3" fmla="*/ 359 h 15412"/>
                        <a:gd name="connsiteX4" fmla="*/ 10205 w 11994"/>
                        <a:gd name="connsiteY4" fmla="*/ 10155 h 1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94" h="15412">
                          <a:moveTo>
                            <a:pt x="10205" y="10155"/>
                          </a:moveTo>
                          <a:cubicBezTo>
                            <a:pt x="7818" y="14175"/>
                            <a:pt x="4051" y="16310"/>
                            <a:pt x="1790" y="15054"/>
                          </a:cubicBezTo>
                          <a:cubicBezTo>
                            <a:pt x="-597" y="13672"/>
                            <a:pt x="-597" y="9402"/>
                            <a:pt x="1790" y="5257"/>
                          </a:cubicBezTo>
                          <a:cubicBezTo>
                            <a:pt x="4176" y="1238"/>
                            <a:pt x="7944" y="-897"/>
                            <a:pt x="10205" y="359"/>
                          </a:cubicBezTo>
                          <a:cubicBezTo>
                            <a:pt x="12591" y="1741"/>
                            <a:pt x="12591" y="6011"/>
                            <a:pt x="10205" y="10155"/>
                          </a:cubicBezTo>
                          <a:close/>
                        </a:path>
                      </a:pathLst>
                    </a:custGeom>
                    <a:solidFill>
                      <a:srgbClr val="0807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0" name="Freeform: Shape 1019">
                      <a:extLst>
                        <a:ext uri="{FF2B5EF4-FFF2-40B4-BE49-F238E27FC236}">
                          <a16:creationId xmlns:a16="http://schemas.microsoft.com/office/drawing/2014/main" id="{5DF0A4DB-22F7-4DF7-AF41-E6DEEE317AD9}"/>
                        </a:ext>
                      </a:extLst>
                    </p:cNvPr>
                    <p:cNvSpPr/>
                    <p:nvPr/>
                  </p:nvSpPr>
                  <p:spPr>
                    <a:xfrm>
                      <a:off x="3688132" y="1747351"/>
                      <a:ext cx="10725" cy="14828"/>
                    </a:xfrm>
                    <a:custGeom>
                      <a:avLst/>
                      <a:gdLst>
                        <a:gd name="connsiteX0" fmla="*/ 9005 w 10725"/>
                        <a:gd name="connsiteY0" fmla="*/ 9570 h 14828"/>
                        <a:gd name="connsiteX1" fmla="*/ 9507 w 10725"/>
                        <a:gd name="connsiteY1" fmla="*/ 150 h 14828"/>
                        <a:gd name="connsiteX2" fmla="*/ 1721 w 10725"/>
                        <a:gd name="connsiteY2" fmla="*/ 5300 h 14828"/>
                        <a:gd name="connsiteX3" fmla="*/ 1218 w 10725"/>
                        <a:gd name="connsiteY3" fmla="*/ 14719 h 14828"/>
                        <a:gd name="connsiteX4" fmla="*/ 9005 w 10725"/>
                        <a:gd name="connsiteY4" fmla="*/ 9570 h 1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25" h="14828">
                          <a:moveTo>
                            <a:pt x="9005" y="9570"/>
                          </a:moveTo>
                          <a:cubicBezTo>
                            <a:pt x="11140" y="5802"/>
                            <a:pt x="11266" y="1909"/>
                            <a:pt x="9507" y="150"/>
                          </a:cubicBezTo>
                          <a:cubicBezTo>
                            <a:pt x="7121" y="-603"/>
                            <a:pt x="3856" y="1532"/>
                            <a:pt x="1721" y="5300"/>
                          </a:cubicBezTo>
                          <a:cubicBezTo>
                            <a:pt x="-414" y="9068"/>
                            <a:pt x="-540" y="12961"/>
                            <a:pt x="1218" y="14719"/>
                          </a:cubicBezTo>
                          <a:cubicBezTo>
                            <a:pt x="3604" y="15347"/>
                            <a:pt x="6870" y="13212"/>
                            <a:pt x="9005" y="9570"/>
                          </a:cubicBezTo>
                          <a:close/>
                        </a:path>
                      </a:pathLst>
                    </a:custGeom>
                    <a:solidFill>
                      <a:srgbClr val="3435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21" name="Graphic 4">
                      <a:extLst>
                        <a:ext uri="{FF2B5EF4-FFF2-40B4-BE49-F238E27FC236}">
                          <a16:creationId xmlns:a16="http://schemas.microsoft.com/office/drawing/2014/main" id="{84FB7ED1-A2DF-40A1-A747-5F7CF3F14040}"/>
                        </a:ext>
                      </a:extLst>
                    </p:cNvPr>
                    <p:cNvGrpSpPr/>
                    <p:nvPr/>
                  </p:nvGrpSpPr>
                  <p:grpSpPr>
                    <a:xfrm>
                      <a:off x="3692428" y="1757892"/>
                      <a:ext cx="1412" cy="1462"/>
                      <a:chOff x="3692428" y="1757892"/>
                      <a:chExt cx="1412" cy="1462"/>
                    </a:xfrm>
                    <a:solidFill>
                      <a:schemeClr val="accent1"/>
                    </a:solidFill>
                  </p:grpSpPr>
                  <p:sp>
                    <p:nvSpPr>
                      <p:cNvPr id="1022" name="Freeform: Shape 1021">
                        <a:extLst>
                          <a:ext uri="{FF2B5EF4-FFF2-40B4-BE49-F238E27FC236}">
                            <a16:creationId xmlns:a16="http://schemas.microsoft.com/office/drawing/2014/main" id="{A2A90C03-76D8-43DD-9405-E9B1DCEF8763}"/>
                          </a:ext>
                        </a:extLst>
                      </p:cNvPr>
                      <p:cNvSpPr/>
                      <p:nvPr/>
                    </p:nvSpPr>
                    <p:spPr>
                      <a:xfrm>
                        <a:off x="3692428" y="1757892"/>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3" name="Freeform: Shape 1022">
                        <a:extLst>
                          <a:ext uri="{FF2B5EF4-FFF2-40B4-BE49-F238E27FC236}">
                            <a16:creationId xmlns:a16="http://schemas.microsoft.com/office/drawing/2014/main" id="{6416FC3A-5756-4742-9236-BEAC5071E588}"/>
                          </a:ext>
                        </a:extLst>
                      </p:cNvPr>
                      <p:cNvSpPr/>
                      <p:nvPr/>
                    </p:nvSpPr>
                    <p:spPr>
                      <a:xfrm>
                        <a:off x="3692804" y="1758130"/>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40" y="1303"/>
                              <a:pt x="188" y="1177"/>
                            </a:cubicBezTo>
                            <a:cubicBezTo>
                              <a:pt x="-63" y="1052"/>
                              <a:pt x="-63" y="675"/>
                              <a:pt x="188" y="424"/>
                            </a:cubicBezTo>
                            <a:cubicBezTo>
                              <a:pt x="440" y="47"/>
                              <a:pt x="691" y="-79"/>
                              <a:pt x="942" y="47"/>
                            </a:cubicBezTo>
                            <a:cubicBezTo>
                              <a:pt x="1068" y="173"/>
                              <a:pt x="1068"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24" name="Graphic 4">
                      <a:extLst>
                        <a:ext uri="{FF2B5EF4-FFF2-40B4-BE49-F238E27FC236}">
                          <a16:creationId xmlns:a16="http://schemas.microsoft.com/office/drawing/2014/main" id="{84FB7ED1-A2DF-40A1-A747-5F7CF3F14040}"/>
                        </a:ext>
                      </a:extLst>
                    </p:cNvPr>
                    <p:cNvGrpSpPr/>
                    <p:nvPr/>
                  </p:nvGrpSpPr>
                  <p:grpSpPr>
                    <a:xfrm>
                      <a:off x="3694939" y="1755255"/>
                      <a:ext cx="1413" cy="1462"/>
                      <a:chOff x="3694939" y="1755255"/>
                      <a:chExt cx="1413" cy="1462"/>
                    </a:xfrm>
                    <a:solidFill>
                      <a:schemeClr val="accent1"/>
                    </a:solidFill>
                  </p:grpSpPr>
                  <p:sp>
                    <p:nvSpPr>
                      <p:cNvPr id="1025" name="Freeform: Shape 1024">
                        <a:extLst>
                          <a:ext uri="{FF2B5EF4-FFF2-40B4-BE49-F238E27FC236}">
                            <a16:creationId xmlns:a16="http://schemas.microsoft.com/office/drawing/2014/main" id="{2CDF0B0F-0F6A-4445-9307-25D8248EFD42}"/>
                          </a:ext>
                        </a:extLst>
                      </p:cNvPr>
                      <p:cNvSpPr/>
                      <p:nvPr/>
                    </p:nvSpPr>
                    <p:spPr>
                      <a:xfrm>
                        <a:off x="3694939" y="1755255"/>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6" name="Freeform: Shape 1025">
                        <a:extLst>
                          <a:ext uri="{FF2B5EF4-FFF2-40B4-BE49-F238E27FC236}">
                            <a16:creationId xmlns:a16="http://schemas.microsoft.com/office/drawing/2014/main" id="{556B37F5-920D-4AD4-93B8-2BC753D6486C}"/>
                          </a:ext>
                        </a:extLst>
                      </p:cNvPr>
                      <p:cNvSpPr/>
                      <p:nvPr/>
                    </p:nvSpPr>
                    <p:spPr>
                      <a:xfrm>
                        <a:off x="3695316" y="1755492"/>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39" y="1303"/>
                              <a:pt x="188" y="1177"/>
                            </a:cubicBezTo>
                            <a:cubicBezTo>
                              <a:pt x="-63" y="1052"/>
                              <a:pt x="-63" y="675"/>
                              <a:pt x="188" y="424"/>
                            </a:cubicBezTo>
                            <a:cubicBezTo>
                              <a:pt x="439" y="47"/>
                              <a:pt x="691" y="-78"/>
                              <a:pt x="942" y="47"/>
                            </a:cubicBezTo>
                            <a:cubicBezTo>
                              <a:pt x="1068" y="173"/>
                              <a:pt x="1068"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27" name="Graphic 4">
                      <a:extLst>
                        <a:ext uri="{FF2B5EF4-FFF2-40B4-BE49-F238E27FC236}">
                          <a16:creationId xmlns:a16="http://schemas.microsoft.com/office/drawing/2014/main" id="{84FB7ED1-A2DF-40A1-A747-5F7CF3F14040}"/>
                        </a:ext>
                      </a:extLst>
                    </p:cNvPr>
                    <p:cNvGrpSpPr/>
                    <p:nvPr/>
                  </p:nvGrpSpPr>
                  <p:grpSpPr>
                    <a:xfrm>
                      <a:off x="3695944" y="1751738"/>
                      <a:ext cx="1507" cy="1462"/>
                      <a:chOff x="3695944" y="1751738"/>
                      <a:chExt cx="1507" cy="1462"/>
                    </a:xfrm>
                    <a:solidFill>
                      <a:schemeClr val="accent1"/>
                    </a:solidFill>
                  </p:grpSpPr>
                  <p:sp>
                    <p:nvSpPr>
                      <p:cNvPr id="1028" name="Freeform: Shape 1027">
                        <a:extLst>
                          <a:ext uri="{FF2B5EF4-FFF2-40B4-BE49-F238E27FC236}">
                            <a16:creationId xmlns:a16="http://schemas.microsoft.com/office/drawing/2014/main" id="{1AA70135-2EE8-4C7E-B57C-8D8CAD09741E}"/>
                          </a:ext>
                        </a:extLst>
                      </p:cNvPr>
                      <p:cNvSpPr/>
                      <p:nvPr/>
                    </p:nvSpPr>
                    <p:spPr>
                      <a:xfrm>
                        <a:off x="3695944" y="1751738"/>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9" name="Freeform: Shape 1028">
                        <a:extLst>
                          <a:ext uri="{FF2B5EF4-FFF2-40B4-BE49-F238E27FC236}">
                            <a16:creationId xmlns:a16="http://schemas.microsoft.com/office/drawing/2014/main" id="{D94D796A-A62B-4074-B02E-F0DEF9528DD1}"/>
                          </a:ext>
                        </a:extLst>
                      </p:cNvPr>
                      <p:cNvSpPr/>
                      <p:nvPr/>
                    </p:nvSpPr>
                    <p:spPr>
                      <a:xfrm>
                        <a:off x="3696321" y="1751975"/>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8" y="1177"/>
                            </a:cubicBezTo>
                            <a:cubicBezTo>
                              <a:pt x="-63" y="1052"/>
                              <a:pt x="-63" y="675"/>
                              <a:pt x="188" y="424"/>
                            </a:cubicBezTo>
                            <a:cubicBezTo>
                              <a:pt x="440" y="47"/>
                              <a:pt x="691" y="-78"/>
                              <a:pt x="942" y="47"/>
                            </a:cubicBezTo>
                            <a:cubicBezTo>
                              <a:pt x="1193" y="173"/>
                              <a:pt x="1193"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30" name="Graphic 4">
                      <a:extLst>
                        <a:ext uri="{FF2B5EF4-FFF2-40B4-BE49-F238E27FC236}">
                          <a16:creationId xmlns:a16="http://schemas.microsoft.com/office/drawing/2014/main" id="{84FB7ED1-A2DF-40A1-A747-5F7CF3F14040}"/>
                        </a:ext>
                      </a:extLst>
                    </p:cNvPr>
                    <p:cNvGrpSpPr/>
                    <p:nvPr/>
                  </p:nvGrpSpPr>
                  <p:grpSpPr>
                    <a:xfrm>
                      <a:off x="3694939" y="1749477"/>
                      <a:ext cx="1413" cy="1462"/>
                      <a:chOff x="3694939" y="1749477"/>
                      <a:chExt cx="1413" cy="1462"/>
                    </a:xfrm>
                    <a:solidFill>
                      <a:schemeClr val="accent1"/>
                    </a:solidFill>
                  </p:grpSpPr>
                  <p:sp>
                    <p:nvSpPr>
                      <p:cNvPr id="1031" name="Freeform: Shape 1030">
                        <a:extLst>
                          <a:ext uri="{FF2B5EF4-FFF2-40B4-BE49-F238E27FC236}">
                            <a16:creationId xmlns:a16="http://schemas.microsoft.com/office/drawing/2014/main" id="{DA6CFD89-9332-467F-A936-FC86446207B7}"/>
                          </a:ext>
                        </a:extLst>
                      </p:cNvPr>
                      <p:cNvSpPr/>
                      <p:nvPr/>
                    </p:nvSpPr>
                    <p:spPr>
                      <a:xfrm>
                        <a:off x="3694939" y="1749477"/>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159"/>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2" name="Freeform: Shape 1031">
                        <a:extLst>
                          <a:ext uri="{FF2B5EF4-FFF2-40B4-BE49-F238E27FC236}">
                            <a16:creationId xmlns:a16="http://schemas.microsoft.com/office/drawing/2014/main" id="{4B8609EE-DD2C-4BED-8BA9-D99C58C7AD87}"/>
                          </a:ext>
                        </a:extLst>
                      </p:cNvPr>
                      <p:cNvSpPr/>
                      <p:nvPr/>
                    </p:nvSpPr>
                    <p:spPr>
                      <a:xfrm>
                        <a:off x="3695316" y="1749715"/>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39" y="1303"/>
                              <a:pt x="188" y="1177"/>
                            </a:cubicBezTo>
                            <a:cubicBezTo>
                              <a:pt x="-63" y="1052"/>
                              <a:pt x="-63" y="675"/>
                              <a:pt x="188" y="424"/>
                            </a:cubicBezTo>
                            <a:cubicBezTo>
                              <a:pt x="439" y="47"/>
                              <a:pt x="691" y="-78"/>
                              <a:pt x="942" y="47"/>
                            </a:cubicBezTo>
                            <a:cubicBezTo>
                              <a:pt x="1068" y="47"/>
                              <a:pt x="1068"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33" name="Freeform: Shape 1032">
                      <a:extLst>
                        <a:ext uri="{FF2B5EF4-FFF2-40B4-BE49-F238E27FC236}">
                          <a16:creationId xmlns:a16="http://schemas.microsoft.com/office/drawing/2014/main" id="{08328710-FE4A-4EAC-BB37-35A31B15F5A9}"/>
                        </a:ext>
                      </a:extLst>
                    </p:cNvPr>
                    <p:cNvSpPr/>
                    <p:nvPr/>
                  </p:nvSpPr>
                  <p:spPr>
                    <a:xfrm>
                      <a:off x="3691486" y="1751632"/>
                      <a:ext cx="5274" cy="6935"/>
                    </a:xfrm>
                    <a:custGeom>
                      <a:avLst/>
                      <a:gdLst>
                        <a:gd name="connsiteX0" fmla="*/ 4522 w 5274"/>
                        <a:gd name="connsiteY0" fmla="*/ 4535 h 6935"/>
                        <a:gd name="connsiteX1" fmla="*/ 753 w 5274"/>
                        <a:gd name="connsiteY1" fmla="*/ 6796 h 6935"/>
                        <a:gd name="connsiteX2" fmla="*/ 753 w 5274"/>
                        <a:gd name="connsiteY2" fmla="*/ 2400 h 6935"/>
                        <a:gd name="connsiteX3" fmla="*/ 4522 w 5274"/>
                        <a:gd name="connsiteY3" fmla="*/ 139 h 6935"/>
                        <a:gd name="connsiteX4" fmla="*/ 4522 w 5274"/>
                        <a:gd name="connsiteY4" fmla="*/ 4535 h 6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935">
                          <a:moveTo>
                            <a:pt x="4522" y="4535"/>
                          </a:moveTo>
                          <a:cubicBezTo>
                            <a:pt x="3517" y="6419"/>
                            <a:pt x="1758" y="7298"/>
                            <a:pt x="753" y="6796"/>
                          </a:cubicBezTo>
                          <a:cubicBezTo>
                            <a:pt x="-251" y="6168"/>
                            <a:pt x="-251" y="4158"/>
                            <a:pt x="753" y="2400"/>
                          </a:cubicBezTo>
                          <a:cubicBezTo>
                            <a:pt x="1758" y="516"/>
                            <a:pt x="3517" y="-363"/>
                            <a:pt x="4522" y="139"/>
                          </a:cubicBezTo>
                          <a:cubicBezTo>
                            <a:pt x="5526" y="767"/>
                            <a:pt x="5526" y="2651"/>
                            <a:pt x="4522" y="4535"/>
                          </a:cubicBez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4" name="Freeform: Shape 1033">
                      <a:extLst>
                        <a:ext uri="{FF2B5EF4-FFF2-40B4-BE49-F238E27FC236}">
                          <a16:creationId xmlns:a16="http://schemas.microsoft.com/office/drawing/2014/main" id="{9AF2600C-6B64-4BB4-A345-2954788DA67A}"/>
                        </a:ext>
                      </a:extLst>
                    </p:cNvPr>
                    <p:cNvSpPr/>
                    <p:nvPr/>
                  </p:nvSpPr>
                  <p:spPr>
                    <a:xfrm>
                      <a:off x="3690230" y="1750831"/>
                      <a:ext cx="5651" cy="7471"/>
                    </a:xfrm>
                    <a:custGeom>
                      <a:avLst/>
                      <a:gdLst>
                        <a:gd name="connsiteX0" fmla="*/ 1884 w 5651"/>
                        <a:gd name="connsiteY0" fmla="*/ 3076 h 7471"/>
                        <a:gd name="connsiteX1" fmla="*/ 5652 w 5651"/>
                        <a:gd name="connsiteY1" fmla="*/ 815 h 7471"/>
                        <a:gd name="connsiteX2" fmla="*/ 4522 w 5651"/>
                        <a:gd name="connsiteY2" fmla="*/ 187 h 7471"/>
                        <a:gd name="connsiteX3" fmla="*/ 753 w 5651"/>
                        <a:gd name="connsiteY3" fmla="*/ 2448 h 7471"/>
                        <a:gd name="connsiteX4" fmla="*/ 753 w 5651"/>
                        <a:gd name="connsiteY4" fmla="*/ 6843 h 7471"/>
                        <a:gd name="connsiteX5" fmla="*/ 1884 w 5651"/>
                        <a:gd name="connsiteY5" fmla="*/ 7471 h 7471"/>
                        <a:gd name="connsiteX6" fmla="*/ 1884 w 5651"/>
                        <a:gd name="connsiteY6" fmla="*/ 3076 h 7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 h="7471">
                          <a:moveTo>
                            <a:pt x="1884" y="3076"/>
                          </a:moveTo>
                          <a:cubicBezTo>
                            <a:pt x="2889" y="1192"/>
                            <a:pt x="4647" y="312"/>
                            <a:pt x="5652" y="815"/>
                          </a:cubicBezTo>
                          <a:cubicBezTo>
                            <a:pt x="5652" y="815"/>
                            <a:pt x="4647" y="312"/>
                            <a:pt x="4522" y="187"/>
                          </a:cubicBezTo>
                          <a:cubicBezTo>
                            <a:pt x="3517" y="-441"/>
                            <a:pt x="1758" y="564"/>
                            <a:pt x="753" y="2448"/>
                          </a:cubicBezTo>
                          <a:cubicBezTo>
                            <a:pt x="-251" y="4332"/>
                            <a:pt x="-251" y="6215"/>
                            <a:pt x="753" y="6843"/>
                          </a:cubicBezTo>
                          <a:cubicBezTo>
                            <a:pt x="1005" y="6969"/>
                            <a:pt x="1884" y="7471"/>
                            <a:pt x="1884" y="7471"/>
                          </a:cubicBezTo>
                          <a:cubicBezTo>
                            <a:pt x="879" y="6969"/>
                            <a:pt x="879" y="4959"/>
                            <a:pt x="1884" y="3076"/>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35" name="Graphic 4">
                      <a:extLst>
                        <a:ext uri="{FF2B5EF4-FFF2-40B4-BE49-F238E27FC236}">
                          <a16:creationId xmlns:a16="http://schemas.microsoft.com/office/drawing/2014/main" id="{84FB7ED1-A2DF-40A1-A747-5F7CF3F14040}"/>
                        </a:ext>
                      </a:extLst>
                    </p:cNvPr>
                    <p:cNvGrpSpPr/>
                    <p:nvPr/>
                  </p:nvGrpSpPr>
                  <p:grpSpPr>
                    <a:xfrm>
                      <a:off x="3692428" y="1749728"/>
                      <a:ext cx="1412" cy="1462"/>
                      <a:chOff x="3692428" y="1749728"/>
                      <a:chExt cx="1412" cy="1462"/>
                    </a:xfrm>
                    <a:solidFill>
                      <a:schemeClr val="accent1"/>
                    </a:solidFill>
                  </p:grpSpPr>
                  <p:sp>
                    <p:nvSpPr>
                      <p:cNvPr id="1036" name="Freeform: Shape 1035">
                        <a:extLst>
                          <a:ext uri="{FF2B5EF4-FFF2-40B4-BE49-F238E27FC236}">
                            <a16:creationId xmlns:a16="http://schemas.microsoft.com/office/drawing/2014/main" id="{3752C4D0-F69F-46E5-8105-B7F08D28B590}"/>
                          </a:ext>
                        </a:extLst>
                      </p:cNvPr>
                      <p:cNvSpPr/>
                      <p:nvPr/>
                    </p:nvSpPr>
                    <p:spPr>
                      <a:xfrm>
                        <a:off x="3692428" y="1749728"/>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159"/>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7" name="Freeform: Shape 1036">
                        <a:extLst>
                          <a:ext uri="{FF2B5EF4-FFF2-40B4-BE49-F238E27FC236}">
                            <a16:creationId xmlns:a16="http://schemas.microsoft.com/office/drawing/2014/main" id="{867FA43C-42ED-474E-A55F-092228FAE765}"/>
                          </a:ext>
                        </a:extLst>
                      </p:cNvPr>
                      <p:cNvSpPr/>
                      <p:nvPr/>
                    </p:nvSpPr>
                    <p:spPr>
                      <a:xfrm>
                        <a:off x="3692804" y="1749966"/>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40" y="1303"/>
                              <a:pt x="188" y="1177"/>
                            </a:cubicBezTo>
                            <a:cubicBezTo>
                              <a:pt x="-63" y="1052"/>
                              <a:pt x="-63" y="675"/>
                              <a:pt x="188" y="424"/>
                            </a:cubicBezTo>
                            <a:cubicBezTo>
                              <a:pt x="440" y="47"/>
                              <a:pt x="691" y="-78"/>
                              <a:pt x="942" y="47"/>
                            </a:cubicBezTo>
                            <a:cubicBezTo>
                              <a:pt x="1068" y="47"/>
                              <a:pt x="1068"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38" name="Graphic 4">
                      <a:extLst>
                        <a:ext uri="{FF2B5EF4-FFF2-40B4-BE49-F238E27FC236}">
                          <a16:creationId xmlns:a16="http://schemas.microsoft.com/office/drawing/2014/main" id="{84FB7ED1-A2DF-40A1-A747-5F7CF3F14040}"/>
                        </a:ext>
                      </a:extLst>
                    </p:cNvPr>
                    <p:cNvGrpSpPr/>
                    <p:nvPr/>
                  </p:nvGrpSpPr>
                  <p:grpSpPr>
                    <a:xfrm>
                      <a:off x="3689916" y="1752366"/>
                      <a:ext cx="1412" cy="1462"/>
                      <a:chOff x="3689916" y="1752366"/>
                      <a:chExt cx="1412" cy="1462"/>
                    </a:xfrm>
                    <a:solidFill>
                      <a:schemeClr val="accent1"/>
                    </a:solidFill>
                  </p:grpSpPr>
                  <p:sp>
                    <p:nvSpPr>
                      <p:cNvPr id="1039" name="Freeform: Shape 1038">
                        <a:extLst>
                          <a:ext uri="{FF2B5EF4-FFF2-40B4-BE49-F238E27FC236}">
                            <a16:creationId xmlns:a16="http://schemas.microsoft.com/office/drawing/2014/main" id="{96D37A18-B40C-4040-9DB3-FB2DDEA409C5}"/>
                          </a:ext>
                        </a:extLst>
                      </p:cNvPr>
                      <p:cNvSpPr/>
                      <p:nvPr/>
                    </p:nvSpPr>
                    <p:spPr>
                      <a:xfrm>
                        <a:off x="3689916" y="1752366"/>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067"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0" name="Freeform: Shape 1039">
                        <a:extLst>
                          <a:ext uri="{FF2B5EF4-FFF2-40B4-BE49-F238E27FC236}">
                            <a16:creationId xmlns:a16="http://schemas.microsoft.com/office/drawing/2014/main" id="{57297F1C-A262-4367-BCA5-0BC6CF02C8BB}"/>
                          </a:ext>
                        </a:extLst>
                      </p:cNvPr>
                      <p:cNvSpPr/>
                      <p:nvPr/>
                    </p:nvSpPr>
                    <p:spPr>
                      <a:xfrm>
                        <a:off x="3690292" y="1752603"/>
                        <a:ext cx="1036" cy="1224"/>
                      </a:xfrm>
                      <a:custGeom>
                        <a:avLst/>
                        <a:gdLst>
                          <a:gd name="connsiteX0" fmla="*/ 942 w 1036"/>
                          <a:gd name="connsiteY0" fmla="*/ 801 h 1224"/>
                          <a:gd name="connsiteX1" fmla="*/ 189 w 1036"/>
                          <a:gd name="connsiteY1" fmla="*/ 1177 h 1224"/>
                          <a:gd name="connsiteX2" fmla="*/ 189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40" y="1303"/>
                              <a:pt x="189" y="1177"/>
                            </a:cubicBezTo>
                            <a:cubicBezTo>
                              <a:pt x="-63" y="1052"/>
                              <a:pt x="-63" y="675"/>
                              <a:pt x="189" y="424"/>
                            </a:cubicBezTo>
                            <a:cubicBezTo>
                              <a:pt x="440" y="47"/>
                              <a:pt x="691" y="-78"/>
                              <a:pt x="942" y="47"/>
                            </a:cubicBezTo>
                            <a:cubicBezTo>
                              <a:pt x="1067" y="47"/>
                              <a:pt x="1067"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41" name="Graphic 4">
                      <a:extLst>
                        <a:ext uri="{FF2B5EF4-FFF2-40B4-BE49-F238E27FC236}">
                          <a16:creationId xmlns:a16="http://schemas.microsoft.com/office/drawing/2014/main" id="{84FB7ED1-A2DF-40A1-A747-5F7CF3F14040}"/>
                        </a:ext>
                      </a:extLst>
                    </p:cNvPr>
                    <p:cNvGrpSpPr/>
                    <p:nvPr/>
                  </p:nvGrpSpPr>
                  <p:grpSpPr>
                    <a:xfrm>
                      <a:off x="3688785" y="1755883"/>
                      <a:ext cx="1507" cy="1462"/>
                      <a:chOff x="3688785" y="1755883"/>
                      <a:chExt cx="1507" cy="1462"/>
                    </a:xfrm>
                    <a:solidFill>
                      <a:schemeClr val="accent1"/>
                    </a:solidFill>
                  </p:grpSpPr>
                  <p:sp>
                    <p:nvSpPr>
                      <p:cNvPr id="1042" name="Freeform: Shape 1041">
                        <a:extLst>
                          <a:ext uri="{FF2B5EF4-FFF2-40B4-BE49-F238E27FC236}">
                            <a16:creationId xmlns:a16="http://schemas.microsoft.com/office/drawing/2014/main" id="{E66ABE82-5E4E-476E-90EB-609FB3F06D04}"/>
                          </a:ext>
                        </a:extLst>
                      </p:cNvPr>
                      <p:cNvSpPr/>
                      <p:nvPr/>
                    </p:nvSpPr>
                    <p:spPr>
                      <a:xfrm>
                        <a:off x="3688785" y="1755883"/>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159"/>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3" name="Freeform: Shape 1042">
                        <a:extLst>
                          <a:ext uri="{FF2B5EF4-FFF2-40B4-BE49-F238E27FC236}">
                            <a16:creationId xmlns:a16="http://schemas.microsoft.com/office/drawing/2014/main" id="{8D40F7F0-3C29-4B46-91DF-1EAEC967DD31}"/>
                          </a:ext>
                        </a:extLst>
                      </p:cNvPr>
                      <p:cNvSpPr/>
                      <p:nvPr/>
                    </p:nvSpPr>
                    <p:spPr>
                      <a:xfrm>
                        <a:off x="3689162" y="1756120"/>
                        <a:ext cx="1130" cy="1224"/>
                      </a:xfrm>
                      <a:custGeom>
                        <a:avLst/>
                        <a:gdLst>
                          <a:gd name="connsiteX0" fmla="*/ 942 w 1130"/>
                          <a:gd name="connsiteY0" fmla="*/ 801 h 1224"/>
                          <a:gd name="connsiteX1" fmla="*/ 189 w 1130"/>
                          <a:gd name="connsiteY1" fmla="*/ 1177 h 1224"/>
                          <a:gd name="connsiteX2" fmla="*/ 189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9" y="1177"/>
                            </a:cubicBezTo>
                            <a:cubicBezTo>
                              <a:pt x="-63" y="1052"/>
                              <a:pt x="-63" y="675"/>
                              <a:pt x="189" y="424"/>
                            </a:cubicBezTo>
                            <a:cubicBezTo>
                              <a:pt x="440" y="47"/>
                              <a:pt x="691" y="-79"/>
                              <a:pt x="942" y="47"/>
                            </a:cubicBezTo>
                            <a:cubicBezTo>
                              <a:pt x="1193" y="47"/>
                              <a:pt x="1193"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44" name="Graphic 4">
                      <a:extLst>
                        <a:ext uri="{FF2B5EF4-FFF2-40B4-BE49-F238E27FC236}">
                          <a16:creationId xmlns:a16="http://schemas.microsoft.com/office/drawing/2014/main" id="{84FB7ED1-A2DF-40A1-A747-5F7CF3F14040}"/>
                        </a:ext>
                      </a:extLst>
                    </p:cNvPr>
                    <p:cNvGrpSpPr/>
                    <p:nvPr/>
                  </p:nvGrpSpPr>
                  <p:grpSpPr>
                    <a:xfrm>
                      <a:off x="3689916" y="1758143"/>
                      <a:ext cx="1412" cy="1462"/>
                      <a:chOff x="3689916" y="1758143"/>
                      <a:chExt cx="1412" cy="1462"/>
                    </a:xfrm>
                    <a:solidFill>
                      <a:schemeClr val="accent1"/>
                    </a:solidFill>
                  </p:grpSpPr>
                  <p:sp>
                    <p:nvSpPr>
                      <p:cNvPr id="1045" name="Freeform: Shape 1044">
                        <a:extLst>
                          <a:ext uri="{FF2B5EF4-FFF2-40B4-BE49-F238E27FC236}">
                            <a16:creationId xmlns:a16="http://schemas.microsoft.com/office/drawing/2014/main" id="{8CCE68E6-15CB-49F6-B5E9-9F4376033431}"/>
                          </a:ext>
                        </a:extLst>
                      </p:cNvPr>
                      <p:cNvSpPr/>
                      <p:nvPr/>
                    </p:nvSpPr>
                    <p:spPr>
                      <a:xfrm>
                        <a:off x="3689916" y="1758143"/>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067"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6" name="Freeform: Shape 1045">
                        <a:extLst>
                          <a:ext uri="{FF2B5EF4-FFF2-40B4-BE49-F238E27FC236}">
                            <a16:creationId xmlns:a16="http://schemas.microsoft.com/office/drawing/2014/main" id="{9F26C866-E717-40E8-8D23-EB32D48BEE6C}"/>
                          </a:ext>
                        </a:extLst>
                      </p:cNvPr>
                      <p:cNvSpPr/>
                      <p:nvPr/>
                    </p:nvSpPr>
                    <p:spPr>
                      <a:xfrm>
                        <a:off x="3690292" y="1758381"/>
                        <a:ext cx="1036" cy="1224"/>
                      </a:xfrm>
                      <a:custGeom>
                        <a:avLst/>
                        <a:gdLst>
                          <a:gd name="connsiteX0" fmla="*/ 942 w 1036"/>
                          <a:gd name="connsiteY0" fmla="*/ 801 h 1224"/>
                          <a:gd name="connsiteX1" fmla="*/ 189 w 1036"/>
                          <a:gd name="connsiteY1" fmla="*/ 1177 h 1224"/>
                          <a:gd name="connsiteX2" fmla="*/ 189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40" y="1303"/>
                              <a:pt x="189" y="1177"/>
                            </a:cubicBezTo>
                            <a:cubicBezTo>
                              <a:pt x="-63" y="1052"/>
                              <a:pt x="-63" y="675"/>
                              <a:pt x="189" y="424"/>
                            </a:cubicBezTo>
                            <a:cubicBezTo>
                              <a:pt x="440" y="47"/>
                              <a:pt x="691" y="-79"/>
                              <a:pt x="942" y="47"/>
                            </a:cubicBezTo>
                            <a:cubicBezTo>
                              <a:pt x="1067" y="173"/>
                              <a:pt x="1067"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047" name="Freeform: Shape 1046">
                    <a:extLst>
                      <a:ext uri="{FF2B5EF4-FFF2-40B4-BE49-F238E27FC236}">
                        <a16:creationId xmlns:a16="http://schemas.microsoft.com/office/drawing/2014/main" id="{1434A6B9-9A80-4704-B906-C2056B9A55FA}"/>
                      </a:ext>
                    </a:extLst>
                  </p:cNvPr>
                  <p:cNvSpPr/>
                  <p:nvPr/>
                </p:nvSpPr>
                <p:spPr>
                  <a:xfrm>
                    <a:off x="3779904" y="1734290"/>
                    <a:ext cx="5651" cy="10071"/>
                  </a:xfrm>
                  <a:custGeom>
                    <a:avLst/>
                    <a:gdLst>
                      <a:gd name="connsiteX0" fmla="*/ 0 w 5651"/>
                      <a:gd name="connsiteY0" fmla="*/ 149 h 10071"/>
                      <a:gd name="connsiteX1" fmla="*/ 0 w 5651"/>
                      <a:gd name="connsiteY1" fmla="*/ 149 h 10071"/>
                      <a:gd name="connsiteX2" fmla="*/ 0 w 5651"/>
                      <a:gd name="connsiteY2" fmla="*/ 6806 h 10071"/>
                      <a:gd name="connsiteX3" fmla="*/ 5652 w 5651"/>
                      <a:gd name="connsiteY3" fmla="*/ 10071 h 10071"/>
                      <a:gd name="connsiteX4" fmla="*/ 5652 w 5651"/>
                      <a:gd name="connsiteY4" fmla="*/ 5676 h 10071"/>
                      <a:gd name="connsiteX5" fmla="*/ 0 w 5651"/>
                      <a:gd name="connsiteY5" fmla="*/ 149 h 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51" h="10071">
                        <a:moveTo>
                          <a:pt x="0" y="149"/>
                        </a:moveTo>
                        <a:lnTo>
                          <a:pt x="0" y="149"/>
                        </a:lnTo>
                        <a:lnTo>
                          <a:pt x="0" y="6806"/>
                        </a:lnTo>
                        <a:lnTo>
                          <a:pt x="5652" y="10071"/>
                        </a:lnTo>
                        <a:lnTo>
                          <a:pt x="5652" y="5676"/>
                        </a:lnTo>
                        <a:cubicBezTo>
                          <a:pt x="5652" y="1531"/>
                          <a:pt x="3266" y="-604"/>
                          <a:pt x="0" y="149"/>
                        </a:cubicBez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8" name="Freeform: Shape 1047">
                    <a:extLst>
                      <a:ext uri="{FF2B5EF4-FFF2-40B4-BE49-F238E27FC236}">
                        <a16:creationId xmlns:a16="http://schemas.microsoft.com/office/drawing/2014/main" id="{10E1F2C6-DFFB-4A6C-B5EC-4288FCBC70FC}"/>
                      </a:ext>
                    </a:extLst>
                  </p:cNvPr>
                  <p:cNvSpPr/>
                  <p:nvPr/>
                </p:nvSpPr>
                <p:spPr>
                  <a:xfrm>
                    <a:off x="3764079" y="1734565"/>
                    <a:ext cx="15699" cy="15699"/>
                  </a:xfrm>
                  <a:custGeom>
                    <a:avLst/>
                    <a:gdLst>
                      <a:gd name="connsiteX0" fmla="*/ 7787 w 15699"/>
                      <a:gd name="connsiteY0" fmla="*/ 4145 h 15699"/>
                      <a:gd name="connsiteX1" fmla="*/ 7787 w 15699"/>
                      <a:gd name="connsiteY1" fmla="*/ 4145 h 15699"/>
                      <a:gd name="connsiteX2" fmla="*/ 0 w 15699"/>
                      <a:gd name="connsiteY2" fmla="*/ 15699 h 15699"/>
                      <a:gd name="connsiteX3" fmla="*/ 15699 w 15699"/>
                      <a:gd name="connsiteY3" fmla="*/ 6657 h 15699"/>
                      <a:gd name="connsiteX4" fmla="*/ 15699 w 15699"/>
                      <a:gd name="connsiteY4" fmla="*/ 628 h 15699"/>
                      <a:gd name="connsiteX5" fmla="*/ 15699 w 15699"/>
                      <a:gd name="connsiteY5" fmla="*/ 0 h 15699"/>
                      <a:gd name="connsiteX6" fmla="*/ 13439 w 15699"/>
                      <a:gd name="connsiteY6" fmla="*/ 879 h 15699"/>
                      <a:gd name="connsiteX7" fmla="*/ 7787 w 15699"/>
                      <a:gd name="connsiteY7" fmla="*/ 4145 h 1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699" h="15699">
                        <a:moveTo>
                          <a:pt x="7787" y="4145"/>
                        </a:moveTo>
                        <a:lnTo>
                          <a:pt x="7787" y="4145"/>
                        </a:lnTo>
                        <a:cubicBezTo>
                          <a:pt x="4019" y="6405"/>
                          <a:pt x="754" y="11178"/>
                          <a:pt x="0" y="15699"/>
                        </a:cubicBezTo>
                        <a:lnTo>
                          <a:pt x="15699" y="6657"/>
                        </a:lnTo>
                        <a:lnTo>
                          <a:pt x="15699" y="628"/>
                        </a:lnTo>
                        <a:cubicBezTo>
                          <a:pt x="15699" y="377"/>
                          <a:pt x="15699" y="251"/>
                          <a:pt x="15699" y="0"/>
                        </a:cubicBezTo>
                        <a:cubicBezTo>
                          <a:pt x="14946" y="126"/>
                          <a:pt x="14192" y="502"/>
                          <a:pt x="13439" y="879"/>
                        </a:cubicBezTo>
                        <a:lnTo>
                          <a:pt x="7787" y="4145"/>
                        </a:lnTo>
                        <a:close/>
                      </a:path>
                    </a:pathLst>
                  </a:custGeom>
                  <a:solidFill>
                    <a:srgbClr val="B578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49" name="Graphic 4">
                    <a:extLst>
                      <a:ext uri="{FF2B5EF4-FFF2-40B4-BE49-F238E27FC236}">
                        <a16:creationId xmlns:a16="http://schemas.microsoft.com/office/drawing/2014/main" id="{84FB7ED1-A2DF-40A1-A747-5F7CF3F14040}"/>
                      </a:ext>
                    </a:extLst>
                  </p:cNvPr>
                  <p:cNvGrpSpPr/>
                  <p:nvPr/>
                </p:nvGrpSpPr>
                <p:grpSpPr>
                  <a:xfrm>
                    <a:off x="3759244" y="1733377"/>
                    <a:ext cx="27376" cy="28884"/>
                    <a:chOff x="3759244" y="1733377"/>
                    <a:chExt cx="27376" cy="28884"/>
                  </a:xfrm>
                  <a:solidFill>
                    <a:schemeClr val="accent1"/>
                  </a:solidFill>
                </p:grpSpPr>
                <p:sp>
                  <p:nvSpPr>
                    <p:cNvPr id="1050" name="Freeform: Shape 1049">
                      <a:extLst>
                        <a:ext uri="{FF2B5EF4-FFF2-40B4-BE49-F238E27FC236}">
                          <a16:creationId xmlns:a16="http://schemas.microsoft.com/office/drawing/2014/main" id="{66913F0E-D531-4482-8066-1C83BC964244}"/>
                        </a:ext>
                      </a:extLst>
                    </p:cNvPr>
                    <p:cNvSpPr/>
                    <p:nvPr/>
                  </p:nvSpPr>
                  <p:spPr>
                    <a:xfrm>
                      <a:off x="3759244" y="1733377"/>
                      <a:ext cx="21413" cy="25427"/>
                    </a:xfrm>
                    <a:custGeom>
                      <a:avLst/>
                      <a:gdLst>
                        <a:gd name="connsiteX0" fmla="*/ 9482 w 21413"/>
                        <a:gd name="connsiteY0" fmla="*/ 11612 h 25427"/>
                        <a:gd name="connsiteX1" fmla="*/ 21414 w 21413"/>
                        <a:gd name="connsiteY1" fmla="*/ 4704 h 25427"/>
                        <a:gd name="connsiteX2" fmla="*/ 14381 w 21413"/>
                        <a:gd name="connsiteY2" fmla="*/ 560 h 25427"/>
                        <a:gd name="connsiteX3" fmla="*/ 2449 w 21413"/>
                        <a:gd name="connsiteY3" fmla="*/ 7467 h 25427"/>
                        <a:gd name="connsiteX4" fmla="*/ 2449 w 21413"/>
                        <a:gd name="connsiteY4" fmla="*/ 21283 h 25427"/>
                        <a:gd name="connsiteX5" fmla="*/ 9482 w 21413"/>
                        <a:gd name="connsiteY5" fmla="*/ 25427 h 25427"/>
                        <a:gd name="connsiteX6" fmla="*/ 9482 w 21413"/>
                        <a:gd name="connsiteY6" fmla="*/ 11612 h 2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13" h="25427">
                          <a:moveTo>
                            <a:pt x="9482" y="11612"/>
                          </a:moveTo>
                          <a:cubicBezTo>
                            <a:pt x="12748" y="5835"/>
                            <a:pt x="18148" y="2820"/>
                            <a:pt x="21414" y="4704"/>
                          </a:cubicBezTo>
                          <a:cubicBezTo>
                            <a:pt x="21414" y="4704"/>
                            <a:pt x="17646" y="2569"/>
                            <a:pt x="14381" y="560"/>
                          </a:cubicBezTo>
                          <a:cubicBezTo>
                            <a:pt x="11115" y="-1324"/>
                            <a:pt x="5714" y="1690"/>
                            <a:pt x="2449" y="7467"/>
                          </a:cubicBezTo>
                          <a:cubicBezTo>
                            <a:pt x="-816" y="13245"/>
                            <a:pt x="-816" y="19399"/>
                            <a:pt x="2449" y="21283"/>
                          </a:cubicBezTo>
                          <a:cubicBezTo>
                            <a:pt x="5714" y="23167"/>
                            <a:pt x="9482" y="25302"/>
                            <a:pt x="9482" y="25427"/>
                          </a:cubicBezTo>
                          <a:cubicBezTo>
                            <a:pt x="6217" y="23543"/>
                            <a:pt x="6217" y="17264"/>
                            <a:pt x="9482" y="11612"/>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51" name="Graphic 4">
                      <a:extLst>
                        <a:ext uri="{FF2B5EF4-FFF2-40B4-BE49-F238E27FC236}">
                          <a16:creationId xmlns:a16="http://schemas.microsoft.com/office/drawing/2014/main" id="{84FB7ED1-A2DF-40A1-A747-5F7CF3F14040}"/>
                        </a:ext>
                      </a:extLst>
                    </p:cNvPr>
                    <p:cNvGrpSpPr/>
                    <p:nvPr/>
                  </p:nvGrpSpPr>
                  <p:grpSpPr>
                    <a:xfrm>
                      <a:off x="3762725" y="1734689"/>
                      <a:ext cx="23895" cy="27573"/>
                      <a:chOff x="3762725" y="1734689"/>
                      <a:chExt cx="23895" cy="27573"/>
                    </a:xfrm>
                    <a:solidFill>
                      <a:schemeClr val="accent1"/>
                    </a:solidFill>
                  </p:grpSpPr>
                  <p:sp>
                    <p:nvSpPr>
                      <p:cNvPr id="1052" name="Freeform: Shape 1051">
                        <a:extLst>
                          <a:ext uri="{FF2B5EF4-FFF2-40B4-BE49-F238E27FC236}">
                            <a16:creationId xmlns:a16="http://schemas.microsoft.com/office/drawing/2014/main" id="{F388562B-56C0-4A72-B042-B02D3213D304}"/>
                          </a:ext>
                        </a:extLst>
                      </p:cNvPr>
                      <p:cNvSpPr/>
                      <p:nvPr/>
                    </p:nvSpPr>
                    <p:spPr>
                      <a:xfrm>
                        <a:off x="3762725" y="1734689"/>
                        <a:ext cx="23895" cy="27573"/>
                      </a:xfrm>
                      <a:custGeom>
                        <a:avLst/>
                        <a:gdLst>
                          <a:gd name="connsiteX0" fmla="*/ 17914 w 23895"/>
                          <a:gd name="connsiteY0" fmla="*/ 3454 h 27573"/>
                          <a:gd name="connsiteX1" fmla="*/ 17930 w 23895"/>
                          <a:gd name="connsiteY1" fmla="*/ 17240 h 27573"/>
                          <a:gd name="connsiteX2" fmla="*/ 5982 w 23895"/>
                          <a:gd name="connsiteY2" fmla="*/ 24119 h 27573"/>
                          <a:gd name="connsiteX3" fmla="*/ 5966 w 23895"/>
                          <a:gd name="connsiteY3" fmla="*/ 10333 h 27573"/>
                          <a:gd name="connsiteX4" fmla="*/ 17914 w 23895"/>
                          <a:gd name="connsiteY4" fmla="*/ 3454 h 27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5" h="27573">
                            <a:moveTo>
                              <a:pt x="17914" y="3454"/>
                            </a:moveTo>
                            <a:cubicBezTo>
                              <a:pt x="21217" y="5361"/>
                              <a:pt x="21225" y="11534"/>
                              <a:pt x="17930" y="17240"/>
                            </a:cubicBezTo>
                            <a:cubicBezTo>
                              <a:pt x="14635" y="22947"/>
                              <a:pt x="9286" y="26027"/>
                              <a:pt x="5982" y="24119"/>
                            </a:cubicBezTo>
                            <a:cubicBezTo>
                              <a:pt x="2678" y="22212"/>
                              <a:pt x="2671" y="16039"/>
                              <a:pt x="5966" y="10333"/>
                            </a:cubicBezTo>
                            <a:cubicBezTo>
                              <a:pt x="9260" y="4626"/>
                              <a:pt x="14610" y="1546"/>
                              <a:pt x="17914" y="3454"/>
                            </a:cubicBez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3" name="Freeform: Shape 1052">
                        <a:extLst>
                          <a:ext uri="{FF2B5EF4-FFF2-40B4-BE49-F238E27FC236}">
                            <a16:creationId xmlns:a16="http://schemas.microsoft.com/office/drawing/2014/main" id="{72119067-59A6-4D37-A026-863F4E439B3C}"/>
                          </a:ext>
                        </a:extLst>
                      </p:cNvPr>
                      <p:cNvSpPr/>
                      <p:nvPr/>
                    </p:nvSpPr>
                    <p:spPr>
                      <a:xfrm>
                        <a:off x="3769480" y="1741647"/>
                        <a:ext cx="10518" cy="13465"/>
                      </a:xfrm>
                      <a:custGeom>
                        <a:avLst/>
                        <a:gdLst>
                          <a:gd name="connsiteX0" fmla="*/ 8917 w 10518"/>
                          <a:gd name="connsiteY0" fmla="*/ 8868 h 13465"/>
                          <a:gd name="connsiteX1" fmla="*/ 1507 w 10518"/>
                          <a:gd name="connsiteY1" fmla="*/ 13138 h 13465"/>
                          <a:gd name="connsiteX2" fmla="*/ 1507 w 10518"/>
                          <a:gd name="connsiteY2" fmla="*/ 4598 h 13465"/>
                          <a:gd name="connsiteX3" fmla="*/ 8917 w 10518"/>
                          <a:gd name="connsiteY3" fmla="*/ 328 h 13465"/>
                          <a:gd name="connsiteX4" fmla="*/ 8917 w 10518"/>
                          <a:gd name="connsiteY4" fmla="*/ 8868 h 13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8" h="13465">
                            <a:moveTo>
                              <a:pt x="8917" y="8868"/>
                            </a:moveTo>
                            <a:cubicBezTo>
                              <a:pt x="6908" y="12385"/>
                              <a:pt x="3516" y="14269"/>
                              <a:pt x="1507" y="13138"/>
                            </a:cubicBezTo>
                            <a:cubicBezTo>
                              <a:pt x="-502" y="12008"/>
                              <a:pt x="-502" y="8115"/>
                              <a:pt x="1507" y="4598"/>
                            </a:cubicBezTo>
                            <a:cubicBezTo>
                              <a:pt x="3516" y="1081"/>
                              <a:pt x="6908" y="-803"/>
                              <a:pt x="8917" y="328"/>
                            </a:cubicBezTo>
                            <a:cubicBezTo>
                              <a:pt x="11052" y="1584"/>
                              <a:pt x="11052" y="5351"/>
                              <a:pt x="8917" y="8868"/>
                            </a:cubicBezTo>
                            <a:close/>
                          </a:path>
                        </a:pathLst>
                      </a:custGeom>
                      <a:solidFill>
                        <a:srgbClr val="E6E0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4" name="Freeform: Shape 1053">
                        <a:extLst>
                          <a:ext uri="{FF2B5EF4-FFF2-40B4-BE49-F238E27FC236}">
                            <a16:creationId xmlns:a16="http://schemas.microsoft.com/office/drawing/2014/main" id="{3188CB48-6FFB-4E73-BB98-D1218DA52889}"/>
                          </a:ext>
                        </a:extLst>
                      </p:cNvPr>
                      <p:cNvSpPr/>
                      <p:nvPr/>
                    </p:nvSpPr>
                    <p:spPr>
                      <a:xfrm>
                        <a:off x="3769951" y="1742385"/>
                        <a:ext cx="9482" cy="12117"/>
                      </a:xfrm>
                      <a:custGeom>
                        <a:avLst/>
                        <a:gdLst>
                          <a:gd name="connsiteX0" fmla="*/ 8070 w 9482"/>
                          <a:gd name="connsiteY0" fmla="*/ 8005 h 12117"/>
                          <a:gd name="connsiteX1" fmla="*/ 1413 w 9482"/>
                          <a:gd name="connsiteY1" fmla="*/ 11773 h 12117"/>
                          <a:gd name="connsiteX2" fmla="*/ 1413 w 9482"/>
                          <a:gd name="connsiteY2" fmla="*/ 4112 h 12117"/>
                          <a:gd name="connsiteX3" fmla="*/ 8070 w 9482"/>
                          <a:gd name="connsiteY3" fmla="*/ 344 h 12117"/>
                          <a:gd name="connsiteX4" fmla="*/ 8070 w 9482"/>
                          <a:gd name="connsiteY4" fmla="*/ 8005 h 12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82" h="12117">
                            <a:moveTo>
                              <a:pt x="8070" y="8005"/>
                            </a:moveTo>
                            <a:cubicBezTo>
                              <a:pt x="6185" y="11145"/>
                              <a:pt x="3297" y="12903"/>
                              <a:pt x="1413" y="11773"/>
                            </a:cubicBezTo>
                            <a:cubicBezTo>
                              <a:pt x="-471" y="10768"/>
                              <a:pt x="-471" y="7252"/>
                              <a:pt x="1413" y="4112"/>
                            </a:cubicBezTo>
                            <a:cubicBezTo>
                              <a:pt x="3297" y="972"/>
                              <a:pt x="6185" y="-786"/>
                              <a:pt x="8070" y="344"/>
                            </a:cubicBezTo>
                            <a:cubicBezTo>
                              <a:pt x="9954" y="1349"/>
                              <a:pt x="9954" y="4740"/>
                              <a:pt x="8070" y="800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5" name="Freeform: Shape 1054">
                        <a:extLst>
                          <a:ext uri="{FF2B5EF4-FFF2-40B4-BE49-F238E27FC236}">
                            <a16:creationId xmlns:a16="http://schemas.microsoft.com/office/drawing/2014/main" id="{6BCA7D7F-FA58-4C81-959D-AD87B282EE30}"/>
                          </a:ext>
                        </a:extLst>
                      </p:cNvPr>
                      <p:cNvSpPr/>
                      <p:nvPr/>
                    </p:nvSpPr>
                    <p:spPr>
                      <a:xfrm>
                        <a:off x="3770037" y="1742476"/>
                        <a:ext cx="8430" cy="11520"/>
                      </a:xfrm>
                      <a:custGeom>
                        <a:avLst/>
                        <a:gdLst>
                          <a:gd name="connsiteX0" fmla="*/ 7104 w 8430"/>
                          <a:gd name="connsiteY0" fmla="*/ 7411 h 11520"/>
                          <a:gd name="connsiteX1" fmla="*/ 7481 w 8430"/>
                          <a:gd name="connsiteY1" fmla="*/ 127 h 11520"/>
                          <a:gd name="connsiteX2" fmla="*/ 1327 w 8430"/>
                          <a:gd name="connsiteY2" fmla="*/ 4146 h 11520"/>
                          <a:gd name="connsiteX3" fmla="*/ 950 w 8430"/>
                          <a:gd name="connsiteY3" fmla="*/ 11431 h 11520"/>
                          <a:gd name="connsiteX4" fmla="*/ 7104 w 8430"/>
                          <a:gd name="connsiteY4" fmla="*/ 7411 h 11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0" h="11520">
                            <a:moveTo>
                              <a:pt x="7104" y="7411"/>
                            </a:moveTo>
                            <a:cubicBezTo>
                              <a:pt x="8737" y="4523"/>
                              <a:pt x="8862" y="1383"/>
                              <a:pt x="7481" y="127"/>
                            </a:cubicBezTo>
                            <a:cubicBezTo>
                              <a:pt x="5597" y="-501"/>
                              <a:pt x="2959" y="1257"/>
                              <a:pt x="1327" y="4146"/>
                            </a:cubicBezTo>
                            <a:cubicBezTo>
                              <a:pt x="-306" y="7035"/>
                              <a:pt x="-432" y="10175"/>
                              <a:pt x="950" y="11431"/>
                            </a:cubicBezTo>
                            <a:cubicBezTo>
                              <a:pt x="2834" y="11933"/>
                              <a:pt x="5471" y="10300"/>
                              <a:pt x="7104" y="741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56" name="Graphic 4">
                        <a:extLst>
                          <a:ext uri="{FF2B5EF4-FFF2-40B4-BE49-F238E27FC236}">
                            <a16:creationId xmlns:a16="http://schemas.microsoft.com/office/drawing/2014/main" id="{84FB7ED1-A2DF-40A1-A747-5F7CF3F14040}"/>
                          </a:ext>
                        </a:extLst>
                      </p:cNvPr>
                      <p:cNvGrpSpPr/>
                      <p:nvPr/>
                    </p:nvGrpSpPr>
                    <p:grpSpPr>
                      <a:xfrm>
                        <a:off x="3773530" y="1750594"/>
                        <a:ext cx="1067" cy="1303"/>
                        <a:chOff x="3773530" y="1750594"/>
                        <a:chExt cx="1067" cy="1303"/>
                      </a:xfrm>
                      <a:solidFill>
                        <a:schemeClr val="accent1"/>
                      </a:solidFill>
                    </p:grpSpPr>
                    <p:sp>
                      <p:nvSpPr>
                        <p:cNvPr id="1057" name="Freeform: Shape 1056">
                          <a:extLst>
                            <a:ext uri="{FF2B5EF4-FFF2-40B4-BE49-F238E27FC236}">
                              <a16:creationId xmlns:a16="http://schemas.microsoft.com/office/drawing/2014/main" id="{0FD32E97-98EA-4810-9ABE-1DF66385BD80}"/>
                            </a:ext>
                          </a:extLst>
                        </p:cNvPr>
                        <p:cNvSpPr/>
                        <p:nvPr/>
                      </p:nvSpPr>
                      <p:spPr>
                        <a:xfrm>
                          <a:off x="3773530" y="1750594"/>
                          <a:ext cx="897" cy="1177"/>
                        </a:xfrm>
                        <a:custGeom>
                          <a:avLst/>
                          <a:gdLst>
                            <a:gd name="connsiteX0" fmla="*/ 597 w 897"/>
                            <a:gd name="connsiteY0" fmla="*/ 47 h 1177"/>
                            <a:gd name="connsiteX1" fmla="*/ 94 w 897"/>
                            <a:gd name="connsiteY1" fmla="*/ 424 h 1177"/>
                            <a:gd name="connsiteX2" fmla="*/ 94 w 897"/>
                            <a:gd name="connsiteY2" fmla="*/ 1052 h 1177"/>
                            <a:gd name="connsiteX3" fmla="*/ 345 w 897"/>
                            <a:gd name="connsiteY3" fmla="*/ 1177 h 1177"/>
                            <a:gd name="connsiteX4" fmla="*/ 848 w 897"/>
                            <a:gd name="connsiteY4" fmla="*/ 173 h 1177"/>
                            <a:gd name="connsiteX5" fmla="*/ 597 w 89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7" h="1177">
                              <a:moveTo>
                                <a:pt x="597" y="47"/>
                              </a:moveTo>
                              <a:cubicBezTo>
                                <a:pt x="471" y="-78"/>
                                <a:pt x="220" y="47"/>
                                <a:pt x="94" y="424"/>
                              </a:cubicBezTo>
                              <a:cubicBezTo>
                                <a:pt x="-31" y="675"/>
                                <a:pt x="-31" y="926"/>
                                <a:pt x="94" y="1052"/>
                              </a:cubicBezTo>
                              <a:cubicBezTo>
                                <a:pt x="220" y="1177"/>
                                <a:pt x="345" y="1177"/>
                                <a:pt x="345" y="1177"/>
                              </a:cubicBezTo>
                              <a:lnTo>
                                <a:pt x="848" y="173"/>
                              </a:lnTo>
                              <a:cubicBezTo>
                                <a:pt x="974" y="298"/>
                                <a:pt x="848" y="173"/>
                                <a:pt x="597"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8" name="Freeform: Shape 1057">
                          <a:extLst>
                            <a:ext uri="{FF2B5EF4-FFF2-40B4-BE49-F238E27FC236}">
                              <a16:creationId xmlns:a16="http://schemas.microsoft.com/office/drawing/2014/main" id="{4FC48DBF-05FA-40D5-98C7-EEE2EC9C96E0}"/>
                            </a:ext>
                          </a:extLst>
                        </p:cNvPr>
                        <p:cNvSpPr/>
                        <p:nvPr/>
                      </p:nvSpPr>
                      <p:spPr>
                        <a:xfrm>
                          <a:off x="3773907" y="1750892"/>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0"/>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59" name="Graphic 4">
                        <a:extLst>
                          <a:ext uri="{FF2B5EF4-FFF2-40B4-BE49-F238E27FC236}">
                            <a16:creationId xmlns:a16="http://schemas.microsoft.com/office/drawing/2014/main" id="{84FB7ED1-A2DF-40A1-A747-5F7CF3F14040}"/>
                          </a:ext>
                        </a:extLst>
                      </p:cNvPr>
                      <p:cNvGrpSpPr/>
                      <p:nvPr/>
                    </p:nvGrpSpPr>
                    <p:grpSpPr>
                      <a:xfrm>
                        <a:off x="3775540" y="1748584"/>
                        <a:ext cx="1036" cy="1177"/>
                        <a:chOff x="3775540" y="1748584"/>
                        <a:chExt cx="1036" cy="1177"/>
                      </a:xfrm>
                      <a:solidFill>
                        <a:schemeClr val="accent1"/>
                      </a:solidFill>
                    </p:grpSpPr>
                    <p:sp>
                      <p:nvSpPr>
                        <p:cNvPr id="1060" name="Freeform: Shape 1059">
                          <a:extLst>
                            <a:ext uri="{FF2B5EF4-FFF2-40B4-BE49-F238E27FC236}">
                              <a16:creationId xmlns:a16="http://schemas.microsoft.com/office/drawing/2014/main" id="{21579D46-0596-4DDC-A8E2-C3C3AA14424B}"/>
                            </a:ext>
                          </a:extLst>
                        </p:cNvPr>
                        <p:cNvSpPr/>
                        <p:nvPr/>
                      </p:nvSpPr>
                      <p:spPr>
                        <a:xfrm>
                          <a:off x="3775540" y="1748584"/>
                          <a:ext cx="847" cy="1177"/>
                        </a:xfrm>
                        <a:custGeom>
                          <a:avLst/>
                          <a:gdLst>
                            <a:gd name="connsiteX0" fmla="*/ 596 w 847"/>
                            <a:gd name="connsiteY0" fmla="*/ 47 h 1177"/>
                            <a:gd name="connsiteX1" fmla="*/ 94 w 847"/>
                            <a:gd name="connsiteY1" fmla="*/ 424 h 1177"/>
                            <a:gd name="connsiteX2" fmla="*/ 94 w 847"/>
                            <a:gd name="connsiteY2" fmla="*/ 1052 h 1177"/>
                            <a:gd name="connsiteX3" fmla="*/ 345 w 847"/>
                            <a:gd name="connsiteY3" fmla="*/ 1177 h 1177"/>
                            <a:gd name="connsiteX4" fmla="*/ 848 w 847"/>
                            <a:gd name="connsiteY4" fmla="*/ 173 h 1177"/>
                            <a:gd name="connsiteX5" fmla="*/ 596 w 84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7" h="1177">
                              <a:moveTo>
                                <a:pt x="596" y="47"/>
                              </a:moveTo>
                              <a:cubicBezTo>
                                <a:pt x="471" y="-78"/>
                                <a:pt x="220" y="47"/>
                                <a:pt x="94" y="424"/>
                              </a:cubicBezTo>
                              <a:cubicBezTo>
                                <a:pt x="-31" y="675"/>
                                <a:pt x="-31" y="926"/>
                                <a:pt x="94" y="1052"/>
                              </a:cubicBezTo>
                              <a:cubicBezTo>
                                <a:pt x="220" y="1177"/>
                                <a:pt x="345" y="1177"/>
                                <a:pt x="345" y="1177"/>
                              </a:cubicBezTo>
                              <a:lnTo>
                                <a:pt x="848" y="173"/>
                              </a:lnTo>
                              <a:cubicBezTo>
                                <a:pt x="848" y="173"/>
                                <a:pt x="722" y="47"/>
                                <a:pt x="596"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1" name="Freeform: Shape 1060">
                          <a:extLst>
                            <a:ext uri="{FF2B5EF4-FFF2-40B4-BE49-F238E27FC236}">
                              <a16:creationId xmlns:a16="http://schemas.microsoft.com/office/drawing/2014/main" id="{8C00D916-A1F1-4AF2-9A1F-675715FB10DC}"/>
                            </a:ext>
                          </a:extLst>
                        </p:cNvPr>
                        <p:cNvSpPr/>
                        <p:nvPr/>
                      </p:nvSpPr>
                      <p:spPr>
                        <a:xfrm>
                          <a:off x="3775791" y="1748757"/>
                          <a:ext cx="785" cy="1004"/>
                        </a:xfrm>
                        <a:custGeom>
                          <a:avLst/>
                          <a:gdLst>
                            <a:gd name="connsiteX0" fmla="*/ 597 w 785"/>
                            <a:gd name="connsiteY0" fmla="*/ 628 h 1004"/>
                            <a:gd name="connsiteX1" fmla="*/ 94 w 785"/>
                            <a:gd name="connsiteY1" fmla="*/ 1005 h 1004"/>
                            <a:gd name="connsiteX2" fmla="*/ 94 w 785"/>
                            <a:gd name="connsiteY2" fmla="*/ 377 h 1004"/>
                            <a:gd name="connsiteX3" fmla="*/ 597 w 785"/>
                            <a:gd name="connsiteY3" fmla="*/ 0 h 1004"/>
                            <a:gd name="connsiteX4" fmla="*/ 597 w 785"/>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 h="1004">
                              <a:moveTo>
                                <a:pt x="597" y="628"/>
                              </a:moveTo>
                              <a:cubicBezTo>
                                <a:pt x="471" y="879"/>
                                <a:pt x="220" y="1005"/>
                                <a:pt x="94" y="1005"/>
                              </a:cubicBezTo>
                              <a:cubicBezTo>
                                <a:pt x="-31" y="879"/>
                                <a:pt x="-31" y="628"/>
                                <a:pt x="94" y="377"/>
                              </a:cubicBezTo>
                              <a:cubicBezTo>
                                <a:pt x="220" y="126"/>
                                <a:pt x="471" y="0"/>
                                <a:pt x="597" y="0"/>
                              </a:cubicBezTo>
                              <a:cubicBezTo>
                                <a:pt x="848" y="126"/>
                                <a:pt x="848"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62" name="Graphic 4">
                        <a:extLst>
                          <a:ext uri="{FF2B5EF4-FFF2-40B4-BE49-F238E27FC236}">
                            <a16:creationId xmlns:a16="http://schemas.microsoft.com/office/drawing/2014/main" id="{84FB7ED1-A2DF-40A1-A747-5F7CF3F14040}"/>
                          </a:ext>
                        </a:extLst>
                      </p:cNvPr>
                      <p:cNvGrpSpPr/>
                      <p:nvPr/>
                    </p:nvGrpSpPr>
                    <p:grpSpPr>
                      <a:xfrm>
                        <a:off x="3776293" y="1745821"/>
                        <a:ext cx="1067" cy="1177"/>
                        <a:chOff x="3776293" y="1745821"/>
                        <a:chExt cx="1067" cy="1177"/>
                      </a:xfrm>
                      <a:solidFill>
                        <a:schemeClr val="accent1"/>
                      </a:solidFill>
                    </p:grpSpPr>
                    <p:sp>
                      <p:nvSpPr>
                        <p:cNvPr id="1063" name="Freeform: Shape 1062">
                          <a:extLst>
                            <a:ext uri="{FF2B5EF4-FFF2-40B4-BE49-F238E27FC236}">
                              <a16:creationId xmlns:a16="http://schemas.microsoft.com/office/drawing/2014/main" id="{6470AB0D-BD45-4F87-BC28-DBC89AA2B098}"/>
                            </a:ext>
                          </a:extLst>
                        </p:cNvPr>
                        <p:cNvSpPr/>
                        <p:nvPr/>
                      </p:nvSpPr>
                      <p:spPr>
                        <a:xfrm>
                          <a:off x="3776293" y="1745821"/>
                          <a:ext cx="897" cy="1177"/>
                        </a:xfrm>
                        <a:custGeom>
                          <a:avLst/>
                          <a:gdLst>
                            <a:gd name="connsiteX0" fmla="*/ 597 w 897"/>
                            <a:gd name="connsiteY0" fmla="*/ 47 h 1177"/>
                            <a:gd name="connsiteX1" fmla="*/ 94 w 897"/>
                            <a:gd name="connsiteY1" fmla="*/ 424 h 1177"/>
                            <a:gd name="connsiteX2" fmla="*/ 94 w 897"/>
                            <a:gd name="connsiteY2" fmla="*/ 1052 h 1177"/>
                            <a:gd name="connsiteX3" fmla="*/ 345 w 897"/>
                            <a:gd name="connsiteY3" fmla="*/ 1177 h 1177"/>
                            <a:gd name="connsiteX4" fmla="*/ 848 w 897"/>
                            <a:gd name="connsiteY4" fmla="*/ 173 h 1177"/>
                            <a:gd name="connsiteX5" fmla="*/ 597 w 89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7" h="1177">
                              <a:moveTo>
                                <a:pt x="597" y="47"/>
                              </a:moveTo>
                              <a:cubicBezTo>
                                <a:pt x="471" y="-79"/>
                                <a:pt x="220" y="47"/>
                                <a:pt x="94" y="424"/>
                              </a:cubicBezTo>
                              <a:cubicBezTo>
                                <a:pt x="-31" y="675"/>
                                <a:pt x="-31" y="926"/>
                                <a:pt x="94" y="1052"/>
                              </a:cubicBezTo>
                              <a:cubicBezTo>
                                <a:pt x="220" y="1177"/>
                                <a:pt x="345" y="1177"/>
                                <a:pt x="345" y="1177"/>
                              </a:cubicBezTo>
                              <a:lnTo>
                                <a:pt x="848" y="173"/>
                              </a:lnTo>
                              <a:cubicBezTo>
                                <a:pt x="974" y="173"/>
                                <a:pt x="848" y="173"/>
                                <a:pt x="597"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4" name="Freeform: Shape 1063">
                          <a:extLst>
                            <a:ext uri="{FF2B5EF4-FFF2-40B4-BE49-F238E27FC236}">
                              <a16:creationId xmlns:a16="http://schemas.microsoft.com/office/drawing/2014/main" id="{536E7C1B-A1D5-4FBC-AC0A-4C1C88F6F8CB}"/>
                            </a:ext>
                          </a:extLst>
                        </p:cNvPr>
                        <p:cNvSpPr/>
                        <p:nvPr/>
                      </p:nvSpPr>
                      <p:spPr>
                        <a:xfrm>
                          <a:off x="3776670" y="1745994"/>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126"/>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65" name="Graphic 4">
                        <a:extLst>
                          <a:ext uri="{FF2B5EF4-FFF2-40B4-BE49-F238E27FC236}">
                            <a16:creationId xmlns:a16="http://schemas.microsoft.com/office/drawing/2014/main" id="{84FB7ED1-A2DF-40A1-A747-5F7CF3F14040}"/>
                          </a:ext>
                        </a:extLst>
                      </p:cNvPr>
                      <p:cNvGrpSpPr/>
                      <p:nvPr/>
                    </p:nvGrpSpPr>
                    <p:grpSpPr>
                      <a:xfrm>
                        <a:off x="3775540" y="1743937"/>
                        <a:ext cx="1036" cy="1303"/>
                        <a:chOff x="3775540" y="1743937"/>
                        <a:chExt cx="1036" cy="1303"/>
                      </a:xfrm>
                      <a:solidFill>
                        <a:schemeClr val="accent1"/>
                      </a:solidFill>
                    </p:grpSpPr>
                    <p:sp>
                      <p:nvSpPr>
                        <p:cNvPr id="1066" name="Freeform: Shape 1065">
                          <a:extLst>
                            <a:ext uri="{FF2B5EF4-FFF2-40B4-BE49-F238E27FC236}">
                              <a16:creationId xmlns:a16="http://schemas.microsoft.com/office/drawing/2014/main" id="{9A3F699B-21CF-4A8D-AD32-5CC0EC6C19FE}"/>
                            </a:ext>
                          </a:extLst>
                        </p:cNvPr>
                        <p:cNvSpPr/>
                        <p:nvPr/>
                      </p:nvSpPr>
                      <p:spPr>
                        <a:xfrm>
                          <a:off x="3775540" y="1743937"/>
                          <a:ext cx="847" cy="1177"/>
                        </a:xfrm>
                        <a:custGeom>
                          <a:avLst/>
                          <a:gdLst>
                            <a:gd name="connsiteX0" fmla="*/ 596 w 847"/>
                            <a:gd name="connsiteY0" fmla="*/ 47 h 1177"/>
                            <a:gd name="connsiteX1" fmla="*/ 94 w 847"/>
                            <a:gd name="connsiteY1" fmla="*/ 424 h 1177"/>
                            <a:gd name="connsiteX2" fmla="*/ 94 w 847"/>
                            <a:gd name="connsiteY2" fmla="*/ 1052 h 1177"/>
                            <a:gd name="connsiteX3" fmla="*/ 345 w 847"/>
                            <a:gd name="connsiteY3" fmla="*/ 1177 h 1177"/>
                            <a:gd name="connsiteX4" fmla="*/ 848 w 847"/>
                            <a:gd name="connsiteY4" fmla="*/ 173 h 1177"/>
                            <a:gd name="connsiteX5" fmla="*/ 596 w 84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7" h="1177">
                              <a:moveTo>
                                <a:pt x="596" y="47"/>
                              </a:moveTo>
                              <a:cubicBezTo>
                                <a:pt x="471" y="-78"/>
                                <a:pt x="220" y="47"/>
                                <a:pt x="94" y="424"/>
                              </a:cubicBezTo>
                              <a:cubicBezTo>
                                <a:pt x="-31" y="675"/>
                                <a:pt x="-31" y="926"/>
                                <a:pt x="94" y="1052"/>
                              </a:cubicBezTo>
                              <a:cubicBezTo>
                                <a:pt x="220" y="1177"/>
                                <a:pt x="345" y="1177"/>
                                <a:pt x="345" y="1177"/>
                              </a:cubicBezTo>
                              <a:lnTo>
                                <a:pt x="848" y="173"/>
                              </a:lnTo>
                              <a:cubicBezTo>
                                <a:pt x="848" y="298"/>
                                <a:pt x="722" y="173"/>
                                <a:pt x="596"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7" name="Freeform: Shape 1066">
                          <a:extLst>
                            <a:ext uri="{FF2B5EF4-FFF2-40B4-BE49-F238E27FC236}">
                              <a16:creationId xmlns:a16="http://schemas.microsoft.com/office/drawing/2014/main" id="{63BAA84C-050E-4933-BFFF-5BC0419C7D92}"/>
                            </a:ext>
                          </a:extLst>
                        </p:cNvPr>
                        <p:cNvSpPr/>
                        <p:nvPr/>
                      </p:nvSpPr>
                      <p:spPr>
                        <a:xfrm>
                          <a:off x="3775791" y="1744236"/>
                          <a:ext cx="785" cy="1004"/>
                        </a:xfrm>
                        <a:custGeom>
                          <a:avLst/>
                          <a:gdLst>
                            <a:gd name="connsiteX0" fmla="*/ 597 w 785"/>
                            <a:gd name="connsiteY0" fmla="*/ 628 h 1004"/>
                            <a:gd name="connsiteX1" fmla="*/ 94 w 785"/>
                            <a:gd name="connsiteY1" fmla="*/ 1005 h 1004"/>
                            <a:gd name="connsiteX2" fmla="*/ 94 w 785"/>
                            <a:gd name="connsiteY2" fmla="*/ 377 h 1004"/>
                            <a:gd name="connsiteX3" fmla="*/ 597 w 785"/>
                            <a:gd name="connsiteY3" fmla="*/ 0 h 1004"/>
                            <a:gd name="connsiteX4" fmla="*/ 597 w 785"/>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 h="1004">
                              <a:moveTo>
                                <a:pt x="597" y="628"/>
                              </a:moveTo>
                              <a:cubicBezTo>
                                <a:pt x="471" y="879"/>
                                <a:pt x="220" y="1005"/>
                                <a:pt x="94" y="1005"/>
                              </a:cubicBezTo>
                              <a:cubicBezTo>
                                <a:pt x="-31" y="1005"/>
                                <a:pt x="-31" y="628"/>
                                <a:pt x="94" y="377"/>
                              </a:cubicBezTo>
                              <a:cubicBezTo>
                                <a:pt x="220" y="126"/>
                                <a:pt x="471" y="0"/>
                                <a:pt x="597" y="0"/>
                              </a:cubicBezTo>
                              <a:cubicBezTo>
                                <a:pt x="848" y="126"/>
                                <a:pt x="848"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68" name="Freeform: Shape 1067">
                        <a:extLst>
                          <a:ext uri="{FF2B5EF4-FFF2-40B4-BE49-F238E27FC236}">
                            <a16:creationId xmlns:a16="http://schemas.microsoft.com/office/drawing/2014/main" id="{26BF7724-F2C4-49BB-8D79-32B480239074}"/>
                          </a:ext>
                        </a:extLst>
                      </p:cNvPr>
                      <p:cNvSpPr/>
                      <p:nvPr/>
                    </p:nvSpPr>
                    <p:spPr>
                      <a:xfrm>
                        <a:off x="3772588" y="1745600"/>
                        <a:ext cx="4238" cy="5560"/>
                      </a:xfrm>
                      <a:custGeom>
                        <a:avLst/>
                        <a:gdLst>
                          <a:gd name="connsiteX0" fmla="*/ 3674 w 4238"/>
                          <a:gd name="connsiteY0" fmla="*/ 3659 h 5560"/>
                          <a:gd name="connsiteX1" fmla="*/ 659 w 4238"/>
                          <a:gd name="connsiteY1" fmla="*/ 5418 h 5560"/>
                          <a:gd name="connsiteX2" fmla="*/ 659 w 4238"/>
                          <a:gd name="connsiteY2" fmla="*/ 1901 h 5560"/>
                          <a:gd name="connsiteX3" fmla="*/ 3674 w 4238"/>
                          <a:gd name="connsiteY3" fmla="*/ 143 h 5560"/>
                          <a:gd name="connsiteX4" fmla="*/ 3674 w 4238"/>
                          <a:gd name="connsiteY4" fmla="*/ 3659 h 5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8" h="5560">
                            <a:moveTo>
                              <a:pt x="3674" y="3659"/>
                            </a:moveTo>
                            <a:cubicBezTo>
                              <a:pt x="2794" y="5041"/>
                              <a:pt x="1539" y="5920"/>
                              <a:pt x="659" y="5418"/>
                            </a:cubicBezTo>
                            <a:cubicBezTo>
                              <a:pt x="-220" y="4915"/>
                              <a:pt x="-220" y="3408"/>
                              <a:pt x="659" y="1901"/>
                            </a:cubicBezTo>
                            <a:cubicBezTo>
                              <a:pt x="1539" y="520"/>
                              <a:pt x="2794" y="-360"/>
                              <a:pt x="3674" y="143"/>
                            </a:cubicBezTo>
                            <a:cubicBezTo>
                              <a:pt x="4427" y="771"/>
                              <a:pt x="4427" y="2278"/>
                              <a:pt x="3674" y="3659"/>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9" name="Freeform: Shape 1068">
                        <a:extLst>
                          <a:ext uri="{FF2B5EF4-FFF2-40B4-BE49-F238E27FC236}">
                            <a16:creationId xmlns:a16="http://schemas.microsoft.com/office/drawing/2014/main" id="{327B9E02-A33E-4660-9157-69BEAA19938C}"/>
                          </a:ext>
                        </a:extLst>
                      </p:cNvPr>
                      <p:cNvSpPr/>
                      <p:nvPr/>
                    </p:nvSpPr>
                    <p:spPr>
                      <a:xfrm>
                        <a:off x="3771709" y="1745085"/>
                        <a:ext cx="4552" cy="5932"/>
                      </a:xfrm>
                      <a:custGeom>
                        <a:avLst/>
                        <a:gdLst>
                          <a:gd name="connsiteX0" fmla="*/ 1539 w 4552"/>
                          <a:gd name="connsiteY0" fmla="*/ 2416 h 5932"/>
                          <a:gd name="connsiteX1" fmla="*/ 4553 w 4552"/>
                          <a:gd name="connsiteY1" fmla="*/ 657 h 5932"/>
                          <a:gd name="connsiteX2" fmla="*/ 3674 w 4552"/>
                          <a:gd name="connsiteY2" fmla="*/ 155 h 5932"/>
                          <a:gd name="connsiteX3" fmla="*/ 659 w 4552"/>
                          <a:gd name="connsiteY3" fmla="*/ 1913 h 5932"/>
                          <a:gd name="connsiteX4" fmla="*/ 659 w 4552"/>
                          <a:gd name="connsiteY4" fmla="*/ 5430 h 5932"/>
                          <a:gd name="connsiteX5" fmla="*/ 1539 w 4552"/>
                          <a:gd name="connsiteY5" fmla="*/ 5932 h 5932"/>
                          <a:gd name="connsiteX6" fmla="*/ 1539 w 4552"/>
                          <a:gd name="connsiteY6" fmla="*/ 2416 h 5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52" h="5932">
                            <a:moveTo>
                              <a:pt x="1539" y="2416"/>
                            </a:moveTo>
                            <a:cubicBezTo>
                              <a:pt x="2418" y="1034"/>
                              <a:pt x="3674" y="155"/>
                              <a:pt x="4553" y="657"/>
                            </a:cubicBezTo>
                            <a:cubicBezTo>
                              <a:pt x="4553" y="657"/>
                              <a:pt x="3799" y="281"/>
                              <a:pt x="3674" y="155"/>
                            </a:cubicBezTo>
                            <a:cubicBezTo>
                              <a:pt x="2795" y="-347"/>
                              <a:pt x="1539" y="406"/>
                              <a:pt x="659" y="1913"/>
                            </a:cubicBezTo>
                            <a:cubicBezTo>
                              <a:pt x="-220" y="3295"/>
                              <a:pt x="-220" y="4928"/>
                              <a:pt x="659" y="5430"/>
                            </a:cubicBezTo>
                            <a:cubicBezTo>
                              <a:pt x="910" y="5556"/>
                              <a:pt x="1539" y="5932"/>
                              <a:pt x="1539" y="5932"/>
                            </a:cubicBezTo>
                            <a:cubicBezTo>
                              <a:pt x="785" y="5430"/>
                              <a:pt x="785" y="3923"/>
                              <a:pt x="1539" y="2416"/>
                            </a:cubicBezTo>
                            <a:close/>
                          </a:path>
                        </a:pathLst>
                      </a:custGeom>
                      <a:solidFill>
                        <a:srgbClr val="CF8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70" name="Graphic 4">
                        <a:extLst>
                          <a:ext uri="{FF2B5EF4-FFF2-40B4-BE49-F238E27FC236}">
                            <a16:creationId xmlns:a16="http://schemas.microsoft.com/office/drawing/2014/main" id="{84FB7ED1-A2DF-40A1-A747-5F7CF3F14040}"/>
                          </a:ext>
                        </a:extLst>
                      </p:cNvPr>
                      <p:cNvGrpSpPr/>
                      <p:nvPr/>
                    </p:nvGrpSpPr>
                    <p:grpSpPr>
                      <a:xfrm>
                        <a:off x="3773530" y="1744189"/>
                        <a:ext cx="1067" cy="1303"/>
                        <a:chOff x="3773530" y="1744189"/>
                        <a:chExt cx="1067" cy="1303"/>
                      </a:xfrm>
                      <a:solidFill>
                        <a:schemeClr val="accent1"/>
                      </a:solidFill>
                    </p:grpSpPr>
                    <p:sp>
                      <p:nvSpPr>
                        <p:cNvPr id="1071" name="Freeform: Shape 1070">
                          <a:extLst>
                            <a:ext uri="{FF2B5EF4-FFF2-40B4-BE49-F238E27FC236}">
                              <a16:creationId xmlns:a16="http://schemas.microsoft.com/office/drawing/2014/main" id="{EE7E6322-20A9-45D6-A523-5AEE3209A113}"/>
                            </a:ext>
                          </a:extLst>
                        </p:cNvPr>
                        <p:cNvSpPr/>
                        <p:nvPr/>
                      </p:nvSpPr>
                      <p:spPr>
                        <a:xfrm>
                          <a:off x="3773530" y="1744189"/>
                          <a:ext cx="897" cy="1177"/>
                        </a:xfrm>
                        <a:custGeom>
                          <a:avLst/>
                          <a:gdLst>
                            <a:gd name="connsiteX0" fmla="*/ 597 w 897"/>
                            <a:gd name="connsiteY0" fmla="*/ 47 h 1177"/>
                            <a:gd name="connsiteX1" fmla="*/ 94 w 897"/>
                            <a:gd name="connsiteY1" fmla="*/ 424 h 1177"/>
                            <a:gd name="connsiteX2" fmla="*/ 94 w 897"/>
                            <a:gd name="connsiteY2" fmla="*/ 1052 h 1177"/>
                            <a:gd name="connsiteX3" fmla="*/ 345 w 897"/>
                            <a:gd name="connsiteY3" fmla="*/ 1177 h 1177"/>
                            <a:gd name="connsiteX4" fmla="*/ 848 w 897"/>
                            <a:gd name="connsiteY4" fmla="*/ 173 h 1177"/>
                            <a:gd name="connsiteX5" fmla="*/ 597 w 89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7" h="1177">
                              <a:moveTo>
                                <a:pt x="597" y="47"/>
                              </a:moveTo>
                              <a:cubicBezTo>
                                <a:pt x="471" y="-79"/>
                                <a:pt x="220" y="47"/>
                                <a:pt x="94" y="424"/>
                              </a:cubicBezTo>
                              <a:cubicBezTo>
                                <a:pt x="-31" y="675"/>
                                <a:pt x="-31" y="926"/>
                                <a:pt x="94" y="1052"/>
                              </a:cubicBezTo>
                              <a:cubicBezTo>
                                <a:pt x="220" y="1177"/>
                                <a:pt x="345" y="1177"/>
                                <a:pt x="345" y="1177"/>
                              </a:cubicBezTo>
                              <a:lnTo>
                                <a:pt x="848" y="173"/>
                              </a:lnTo>
                              <a:cubicBezTo>
                                <a:pt x="974" y="173"/>
                                <a:pt x="848" y="173"/>
                                <a:pt x="597"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2" name="Freeform: Shape 1071">
                          <a:extLst>
                            <a:ext uri="{FF2B5EF4-FFF2-40B4-BE49-F238E27FC236}">
                              <a16:creationId xmlns:a16="http://schemas.microsoft.com/office/drawing/2014/main" id="{F5E3DAF1-166A-49DC-8129-73CB0DFA791B}"/>
                            </a:ext>
                          </a:extLst>
                        </p:cNvPr>
                        <p:cNvSpPr/>
                        <p:nvPr/>
                      </p:nvSpPr>
                      <p:spPr>
                        <a:xfrm>
                          <a:off x="3773907" y="1744487"/>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1005"/>
                                <a:pt x="-31" y="628"/>
                                <a:pt x="94" y="377"/>
                              </a:cubicBezTo>
                              <a:cubicBezTo>
                                <a:pt x="220" y="126"/>
                                <a:pt x="471" y="0"/>
                                <a:pt x="597" y="0"/>
                              </a:cubicBezTo>
                              <a:cubicBezTo>
                                <a:pt x="722" y="0"/>
                                <a:pt x="722" y="251"/>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73" name="Graphic 4">
                        <a:extLst>
                          <a:ext uri="{FF2B5EF4-FFF2-40B4-BE49-F238E27FC236}">
                            <a16:creationId xmlns:a16="http://schemas.microsoft.com/office/drawing/2014/main" id="{84FB7ED1-A2DF-40A1-A747-5F7CF3F14040}"/>
                          </a:ext>
                        </a:extLst>
                      </p:cNvPr>
                      <p:cNvGrpSpPr/>
                      <p:nvPr/>
                    </p:nvGrpSpPr>
                    <p:grpSpPr>
                      <a:xfrm>
                        <a:off x="3771646" y="1746324"/>
                        <a:ext cx="941" cy="1177"/>
                        <a:chOff x="3771646" y="1746324"/>
                        <a:chExt cx="941" cy="1177"/>
                      </a:xfrm>
                      <a:solidFill>
                        <a:schemeClr val="accent1"/>
                      </a:solidFill>
                    </p:grpSpPr>
                    <p:sp>
                      <p:nvSpPr>
                        <p:cNvPr id="1074" name="Freeform: Shape 1073">
                          <a:extLst>
                            <a:ext uri="{FF2B5EF4-FFF2-40B4-BE49-F238E27FC236}">
                              <a16:creationId xmlns:a16="http://schemas.microsoft.com/office/drawing/2014/main" id="{54EA5A4C-BC8A-4289-BF8B-74DA2A53F9FF}"/>
                            </a:ext>
                          </a:extLst>
                        </p:cNvPr>
                        <p:cNvSpPr/>
                        <p:nvPr/>
                      </p:nvSpPr>
                      <p:spPr>
                        <a:xfrm>
                          <a:off x="3771646" y="1746324"/>
                          <a:ext cx="847" cy="1177"/>
                        </a:xfrm>
                        <a:custGeom>
                          <a:avLst/>
                          <a:gdLst>
                            <a:gd name="connsiteX0" fmla="*/ 596 w 847"/>
                            <a:gd name="connsiteY0" fmla="*/ 47 h 1177"/>
                            <a:gd name="connsiteX1" fmla="*/ 94 w 847"/>
                            <a:gd name="connsiteY1" fmla="*/ 424 h 1177"/>
                            <a:gd name="connsiteX2" fmla="*/ 94 w 847"/>
                            <a:gd name="connsiteY2" fmla="*/ 1052 h 1177"/>
                            <a:gd name="connsiteX3" fmla="*/ 345 w 847"/>
                            <a:gd name="connsiteY3" fmla="*/ 1177 h 1177"/>
                            <a:gd name="connsiteX4" fmla="*/ 848 w 847"/>
                            <a:gd name="connsiteY4" fmla="*/ 173 h 1177"/>
                            <a:gd name="connsiteX5" fmla="*/ 596 w 84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7" h="1177">
                              <a:moveTo>
                                <a:pt x="596" y="47"/>
                              </a:moveTo>
                              <a:cubicBezTo>
                                <a:pt x="471" y="-78"/>
                                <a:pt x="220" y="47"/>
                                <a:pt x="94" y="424"/>
                              </a:cubicBezTo>
                              <a:cubicBezTo>
                                <a:pt x="-31" y="675"/>
                                <a:pt x="-31" y="926"/>
                                <a:pt x="94" y="1052"/>
                              </a:cubicBezTo>
                              <a:cubicBezTo>
                                <a:pt x="220" y="1177"/>
                                <a:pt x="345" y="1177"/>
                                <a:pt x="345" y="1177"/>
                              </a:cubicBezTo>
                              <a:lnTo>
                                <a:pt x="848" y="173"/>
                              </a:lnTo>
                              <a:cubicBezTo>
                                <a:pt x="848" y="173"/>
                                <a:pt x="722" y="47"/>
                                <a:pt x="596"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5" name="Freeform: Shape 1074">
                          <a:extLst>
                            <a:ext uri="{FF2B5EF4-FFF2-40B4-BE49-F238E27FC236}">
                              <a16:creationId xmlns:a16="http://schemas.microsoft.com/office/drawing/2014/main" id="{DB04CA07-2C00-41CC-B26F-5FD7B4066187}"/>
                            </a:ext>
                          </a:extLst>
                        </p:cNvPr>
                        <p:cNvSpPr/>
                        <p:nvPr/>
                      </p:nvSpPr>
                      <p:spPr>
                        <a:xfrm>
                          <a:off x="3771898" y="1746496"/>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126"/>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76" name="Graphic 4">
                        <a:extLst>
                          <a:ext uri="{FF2B5EF4-FFF2-40B4-BE49-F238E27FC236}">
                            <a16:creationId xmlns:a16="http://schemas.microsoft.com/office/drawing/2014/main" id="{84FB7ED1-A2DF-40A1-A747-5F7CF3F14040}"/>
                          </a:ext>
                        </a:extLst>
                      </p:cNvPr>
                      <p:cNvGrpSpPr/>
                      <p:nvPr/>
                    </p:nvGrpSpPr>
                    <p:grpSpPr>
                      <a:xfrm>
                        <a:off x="3770767" y="1748961"/>
                        <a:ext cx="1067" cy="1303"/>
                        <a:chOff x="3770767" y="1748961"/>
                        <a:chExt cx="1067" cy="1303"/>
                      </a:xfrm>
                      <a:solidFill>
                        <a:schemeClr val="accent1"/>
                      </a:solidFill>
                    </p:grpSpPr>
                    <p:sp>
                      <p:nvSpPr>
                        <p:cNvPr id="1077" name="Freeform: Shape 1076">
                          <a:extLst>
                            <a:ext uri="{FF2B5EF4-FFF2-40B4-BE49-F238E27FC236}">
                              <a16:creationId xmlns:a16="http://schemas.microsoft.com/office/drawing/2014/main" id="{6D9C8006-BF60-4DCC-BA5E-F662862ED926}"/>
                            </a:ext>
                          </a:extLst>
                        </p:cNvPr>
                        <p:cNvSpPr/>
                        <p:nvPr/>
                      </p:nvSpPr>
                      <p:spPr>
                        <a:xfrm>
                          <a:off x="3770767" y="1748961"/>
                          <a:ext cx="882" cy="1177"/>
                        </a:xfrm>
                        <a:custGeom>
                          <a:avLst/>
                          <a:gdLst>
                            <a:gd name="connsiteX0" fmla="*/ 597 w 882"/>
                            <a:gd name="connsiteY0" fmla="*/ 47 h 1177"/>
                            <a:gd name="connsiteX1" fmla="*/ 94 w 882"/>
                            <a:gd name="connsiteY1" fmla="*/ 424 h 1177"/>
                            <a:gd name="connsiteX2" fmla="*/ 94 w 882"/>
                            <a:gd name="connsiteY2" fmla="*/ 1052 h 1177"/>
                            <a:gd name="connsiteX3" fmla="*/ 345 w 882"/>
                            <a:gd name="connsiteY3" fmla="*/ 1177 h 1177"/>
                            <a:gd name="connsiteX4" fmla="*/ 848 w 882"/>
                            <a:gd name="connsiteY4" fmla="*/ 173 h 1177"/>
                            <a:gd name="connsiteX5" fmla="*/ 597 w 882"/>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 h="1177">
                              <a:moveTo>
                                <a:pt x="597" y="47"/>
                              </a:moveTo>
                              <a:cubicBezTo>
                                <a:pt x="471" y="-79"/>
                                <a:pt x="220" y="47"/>
                                <a:pt x="94" y="424"/>
                              </a:cubicBezTo>
                              <a:cubicBezTo>
                                <a:pt x="-31" y="675"/>
                                <a:pt x="-31" y="926"/>
                                <a:pt x="94" y="1052"/>
                              </a:cubicBezTo>
                              <a:cubicBezTo>
                                <a:pt x="220" y="1177"/>
                                <a:pt x="345" y="1177"/>
                                <a:pt x="345" y="1177"/>
                              </a:cubicBezTo>
                              <a:lnTo>
                                <a:pt x="848" y="173"/>
                              </a:lnTo>
                              <a:cubicBezTo>
                                <a:pt x="974" y="298"/>
                                <a:pt x="722" y="173"/>
                                <a:pt x="597"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8" name="Freeform: Shape 1077">
                          <a:extLst>
                            <a:ext uri="{FF2B5EF4-FFF2-40B4-BE49-F238E27FC236}">
                              <a16:creationId xmlns:a16="http://schemas.microsoft.com/office/drawing/2014/main" id="{4261F0A7-C4AC-4F76-A2B4-DDBC5B32CB29}"/>
                            </a:ext>
                          </a:extLst>
                        </p:cNvPr>
                        <p:cNvSpPr/>
                        <p:nvPr/>
                      </p:nvSpPr>
                      <p:spPr>
                        <a:xfrm>
                          <a:off x="3771144" y="1749259"/>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0"/>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79" name="Graphic 4">
                        <a:extLst>
                          <a:ext uri="{FF2B5EF4-FFF2-40B4-BE49-F238E27FC236}">
                            <a16:creationId xmlns:a16="http://schemas.microsoft.com/office/drawing/2014/main" id="{84FB7ED1-A2DF-40A1-A747-5F7CF3F14040}"/>
                          </a:ext>
                        </a:extLst>
                      </p:cNvPr>
                      <p:cNvGrpSpPr/>
                      <p:nvPr/>
                    </p:nvGrpSpPr>
                    <p:grpSpPr>
                      <a:xfrm>
                        <a:off x="3771646" y="1750845"/>
                        <a:ext cx="941" cy="1177"/>
                        <a:chOff x="3771646" y="1750845"/>
                        <a:chExt cx="941" cy="1177"/>
                      </a:xfrm>
                      <a:solidFill>
                        <a:schemeClr val="accent1"/>
                      </a:solidFill>
                    </p:grpSpPr>
                    <p:sp>
                      <p:nvSpPr>
                        <p:cNvPr id="1080" name="Freeform: Shape 1079">
                          <a:extLst>
                            <a:ext uri="{FF2B5EF4-FFF2-40B4-BE49-F238E27FC236}">
                              <a16:creationId xmlns:a16="http://schemas.microsoft.com/office/drawing/2014/main" id="{7A4D4980-C838-4DC0-B239-C905B3E0E4F9}"/>
                            </a:ext>
                          </a:extLst>
                        </p:cNvPr>
                        <p:cNvSpPr/>
                        <p:nvPr/>
                      </p:nvSpPr>
                      <p:spPr>
                        <a:xfrm>
                          <a:off x="3771646" y="1750845"/>
                          <a:ext cx="847" cy="1177"/>
                        </a:xfrm>
                        <a:custGeom>
                          <a:avLst/>
                          <a:gdLst>
                            <a:gd name="connsiteX0" fmla="*/ 596 w 847"/>
                            <a:gd name="connsiteY0" fmla="*/ 47 h 1177"/>
                            <a:gd name="connsiteX1" fmla="*/ 94 w 847"/>
                            <a:gd name="connsiteY1" fmla="*/ 424 h 1177"/>
                            <a:gd name="connsiteX2" fmla="*/ 94 w 847"/>
                            <a:gd name="connsiteY2" fmla="*/ 1052 h 1177"/>
                            <a:gd name="connsiteX3" fmla="*/ 345 w 847"/>
                            <a:gd name="connsiteY3" fmla="*/ 1177 h 1177"/>
                            <a:gd name="connsiteX4" fmla="*/ 848 w 847"/>
                            <a:gd name="connsiteY4" fmla="*/ 173 h 1177"/>
                            <a:gd name="connsiteX5" fmla="*/ 596 w 84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7" h="1177">
                              <a:moveTo>
                                <a:pt x="596" y="47"/>
                              </a:moveTo>
                              <a:cubicBezTo>
                                <a:pt x="471" y="-78"/>
                                <a:pt x="220" y="47"/>
                                <a:pt x="94" y="424"/>
                              </a:cubicBezTo>
                              <a:cubicBezTo>
                                <a:pt x="-31" y="675"/>
                                <a:pt x="-31" y="926"/>
                                <a:pt x="94" y="1052"/>
                              </a:cubicBezTo>
                              <a:cubicBezTo>
                                <a:pt x="220" y="1177"/>
                                <a:pt x="345" y="1177"/>
                                <a:pt x="345" y="1177"/>
                              </a:cubicBezTo>
                              <a:lnTo>
                                <a:pt x="848" y="173"/>
                              </a:lnTo>
                              <a:cubicBezTo>
                                <a:pt x="848" y="173"/>
                                <a:pt x="722" y="47"/>
                                <a:pt x="596"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1" name="Freeform: Shape 1080">
                          <a:extLst>
                            <a:ext uri="{FF2B5EF4-FFF2-40B4-BE49-F238E27FC236}">
                              <a16:creationId xmlns:a16="http://schemas.microsoft.com/office/drawing/2014/main" id="{3820876B-0855-4F15-9A39-B3686B48EF51}"/>
                            </a:ext>
                          </a:extLst>
                        </p:cNvPr>
                        <p:cNvSpPr/>
                        <p:nvPr/>
                      </p:nvSpPr>
                      <p:spPr>
                        <a:xfrm>
                          <a:off x="3771898" y="1751018"/>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126"/>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1082" name="Freeform: Shape 1081">
                    <a:extLst>
                      <a:ext uri="{FF2B5EF4-FFF2-40B4-BE49-F238E27FC236}">
                        <a16:creationId xmlns:a16="http://schemas.microsoft.com/office/drawing/2014/main" id="{8273FDFA-26FB-4CDA-B533-11178764D214}"/>
                      </a:ext>
                    </a:extLst>
                  </p:cNvPr>
                  <p:cNvSpPr/>
                  <p:nvPr/>
                </p:nvSpPr>
                <p:spPr>
                  <a:xfrm>
                    <a:off x="3732555" y="1695003"/>
                    <a:ext cx="39311" cy="39185"/>
                  </a:xfrm>
                  <a:custGeom>
                    <a:avLst/>
                    <a:gdLst>
                      <a:gd name="connsiteX0" fmla="*/ 39311 w 39311"/>
                      <a:gd name="connsiteY0" fmla="*/ 22733 h 39185"/>
                      <a:gd name="connsiteX1" fmla="*/ 0 w 39311"/>
                      <a:gd name="connsiteY1" fmla="*/ 0 h 39185"/>
                      <a:gd name="connsiteX2" fmla="*/ 0 w 39311"/>
                      <a:gd name="connsiteY2" fmla="*/ 16453 h 39185"/>
                      <a:gd name="connsiteX3" fmla="*/ 39311 w 39311"/>
                      <a:gd name="connsiteY3" fmla="*/ 39186 h 39185"/>
                    </a:gdLst>
                    <a:ahLst/>
                    <a:cxnLst>
                      <a:cxn ang="0">
                        <a:pos x="connsiteX0" y="connsiteY0"/>
                      </a:cxn>
                      <a:cxn ang="0">
                        <a:pos x="connsiteX1" y="connsiteY1"/>
                      </a:cxn>
                      <a:cxn ang="0">
                        <a:pos x="connsiteX2" y="connsiteY2"/>
                      </a:cxn>
                      <a:cxn ang="0">
                        <a:pos x="connsiteX3" y="connsiteY3"/>
                      </a:cxn>
                    </a:cxnLst>
                    <a:rect l="l" t="t" r="r" b="b"/>
                    <a:pathLst>
                      <a:path w="39311" h="39185">
                        <a:moveTo>
                          <a:pt x="39311" y="22733"/>
                        </a:moveTo>
                        <a:lnTo>
                          <a:pt x="0" y="0"/>
                        </a:lnTo>
                        <a:lnTo>
                          <a:pt x="0" y="16453"/>
                        </a:lnTo>
                        <a:lnTo>
                          <a:pt x="39311" y="39186"/>
                        </a:ln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3" name="Freeform: Shape 1082">
                    <a:extLst>
                      <a:ext uri="{FF2B5EF4-FFF2-40B4-BE49-F238E27FC236}">
                        <a16:creationId xmlns:a16="http://schemas.microsoft.com/office/drawing/2014/main" id="{ADD0C62D-8455-42F6-B0D8-520ABA9DC8FB}"/>
                      </a:ext>
                    </a:extLst>
                  </p:cNvPr>
                  <p:cNvSpPr/>
                  <p:nvPr/>
                </p:nvSpPr>
                <p:spPr>
                  <a:xfrm>
                    <a:off x="3732681" y="1687577"/>
                    <a:ext cx="54759" cy="30032"/>
                  </a:xfrm>
                  <a:custGeom>
                    <a:avLst/>
                    <a:gdLst>
                      <a:gd name="connsiteX0" fmla="*/ 54760 w 54759"/>
                      <a:gd name="connsiteY0" fmla="*/ 23125 h 30032"/>
                      <a:gd name="connsiteX1" fmla="*/ 15448 w 54759"/>
                      <a:gd name="connsiteY1" fmla="*/ 392 h 30032"/>
                      <a:gd name="connsiteX2" fmla="*/ 11429 w 54759"/>
                      <a:gd name="connsiteY2" fmla="*/ 769 h 30032"/>
                      <a:gd name="connsiteX3" fmla="*/ 0 w 54759"/>
                      <a:gd name="connsiteY3" fmla="*/ 7300 h 30032"/>
                      <a:gd name="connsiteX4" fmla="*/ 39311 w 54759"/>
                      <a:gd name="connsiteY4" fmla="*/ 30033 h 30032"/>
                      <a:gd name="connsiteX5" fmla="*/ 50740 w 54759"/>
                      <a:gd name="connsiteY5" fmla="*/ 23502 h 30032"/>
                      <a:gd name="connsiteX6" fmla="*/ 54760 w 54759"/>
                      <a:gd name="connsiteY6" fmla="*/ 23125 h 3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59" h="30032">
                        <a:moveTo>
                          <a:pt x="54760" y="23125"/>
                        </a:moveTo>
                        <a:cubicBezTo>
                          <a:pt x="54760" y="23125"/>
                          <a:pt x="16453" y="1020"/>
                          <a:pt x="15448" y="392"/>
                        </a:cubicBezTo>
                        <a:cubicBezTo>
                          <a:pt x="14443" y="-235"/>
                          <a:pt x="12936" y="-110"/>
                          <a:pt x="11429" y="769"/>
                        </a:cubicBezTo>
                        <a:lnTo>
                          <a:pt x="0" y="7300"/>
                        </a:lnTo>
                        <a:lnTo>
                          <a:pt x="39311" y="30033"/>
                        </a:lnTo>
                        <a:lnTo>
                          <a:pt x="50740" y="23502"/>
                        </a:lnTo>
                        <a:cubicBezTo>
                          <a:pt x="52247" y="22623"/>
                          <a:pt x="53629" y="22497"/>
                          <a:pt x="54760" y="23125"/>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4" name="Freeform: Shape 1083">
                    <a:extLst>
                      <a:ext uri="{FF2B5EF4-FFF2-40B4-BE49-F238E27FC236}">
                        <a16:creationId xmlns:a16="http://schemas.microsoft.com/office/drawing/2014/main" id="{427B3324-28F3-42A9-BA1E-4EE75B08C703}"/>
                      </a:ext>
                    </a:extLst>
                  </p:cNvPr>
                  <p:cNvSpPr/>
                  <p:nvPr/>
                </p:nvSpPr>
                <p:spPr>
                  <a:xfrm>
                    <a:off x="3703794" y="1724266"/>
                    <a:ext cx="22983" cy="27128"/>
                  </a:xfrm>
                  <a:custGeom>
                    <a:avLst/>
                    <a:gdLst>
                      <a:gd name="connsiteX0" fmla="*/ 22984 w 22983"/>
                      <a:gd name="connsiteY0" fmla="*/ 24617 h 27128"/>
                      <a:gd name="connsiteX1" fmla="*/ 20095 w 22983"/>
                      <a:gd name="connsiteY1" fmla="*/ 4898 h 27128"/>
                      <a:gd name="connsiteX2" fmla="*/ 11555 w 22983"/>
                      <a:gd name="connsiteY2" fmla="*/ 0 h 27128"/>
                      <a:gd name="connsiteX3" fmla="*/ 11555 w 22983"/>
                      <a:gd name="connsiteY3" fmla="*/ 5024 h 27128"/>
                      <a:gd name="connsiteX4" fmla="*/ 7913 w 22983"/>
                      <a:gd name="connsiteY4" fmla="*/ 11429 h 27128"/>
                      <a:gd name="connsiteX5" fmla="*/ 0 w 22983"/>
                      <a:gd name="connsiteY5" fmla="*/ 15951 h 27128"/>
                      <a:gd name="connsiteX6" fmla="*/ 879 w 22983"/>
                      <a:gd name="connsiteY6" fmla="*/ 18714 h 27128"/>
                      <a:gd name="connsiteX7" fmla="*/ 879 w 22983"/>
                      <a:gd name="connsiteY7" fmla="*/ 27128 h 27128"/>
                      <a:gd name="connsiteX8" fmla="*/ 22984 w 22983"/>
                      <a:gd name="connsiteY8" fmla="*/ 24617 h 2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83" h="27128">
                        <a:moveTo>
                          <a:pt x="22984" y="24617"/>
                        </a:moveTo>
                        <a:lnTo>
                          <a:pt x="20095" y="4898"/>
                        </a:lnTo>
                        <a:lnTo>
                          <a:pt x="11555" y="0"/>
                        </a:lnTo>
                        <a:lnTo>
                          <a:pt x="11555" y="5024"/>
                        </a:lnTo>
                        <a:cubicBezTo>
                          <a:pt x="11555" y="7410"/>
                          <a:pt x="9922" y="10173"/>
                          <a:pt x="7913" y="11429"/>
                        </a:cubicBezTo>
                        <a:lnTo>
                          <a:pt x="0" y="15951"/>
                        </a:lnTo>
                        <a:lnTo>
                          <a:pt x="879" y="18714"/>
                        </a:lnTo>
                        <a:lnTo>
                          <a:pt x="879" y="27128"/>
                        </a:lnTo>
                        <a:lnTo>
                          <a:pt x="22984" y="24617"/>
                        </a:ln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85" name="Graphic 4">
                    <a:extLst>
                      <a:ext uri="{FF2B5EF4-FFF2-40B4-BE49-F238E27FC236}">
                        <a16:creationId xmlns:a16="http://schemas.microsoft.com/office/drawing/2014/main" id="{84FB7ED1-A2DF-40A1-A747-5F7CF3F14040}"/>
                      </a:ext>
                    </a:extLst>
                  </p:cNvPr>
                  <p:cNvGrpSpPr/>
                  <p:nvPr/>
                </p:nvGrpSpPr>
                <p:grpSpPr>
                  <a:xfrm>
                    <a:off x="3682066" y="1731605"/>
                    <a:ext cx="28887" cy="24059"/>
                    <a:chOff x="3682066" y="1731605"/>
                    <a:chExt cx="28887" cy="24059"/>
                  </a:xfrm>
                  <a:solidFill>
                    <a:schemeClr val="accent1"/>
                  </a:solidFill>
                </p:grpSpPr>
                <p:sp>
                  <p:nvSpPr>
                    <p:cNvPr id="1086" name="Freeform: Shape 1085">
                      <a:extLst>
                        <a:ext uri="{FF2B5EF4-FFF2-40B4-BE49-F238E27FC236}">
                          <a16:creationId xmlns:a16="http://schemas.microsoft.com/office/drawing/2014/main" id="{6507B993-230B-46B3-9C3D-012A4CAC6C0F}"/>
                        </a:ext>
                      </a:extLst>
                    </p:cNvPr>
                    <p:cNvSpPr/>
                    <p:nvPr/>
                  </p:nvSpPr>
                  <p:spPr>
                    <a:xfrm>
                      <a:off x="3690732" y="1736755"/>
                      <a:ext cx="20220" cy="18910"/>
                    </a:xfrm>
                    <a:custGeom>
                      <a:avLst/>
                      <a:gdLst>
                        <a:gd name="connsiteX0" fmla="*/ 6405 w 20220"/>
                        <a:gd name="connsiteY0" fmla="*/ 3211 h 18910"/>
                        <a:gd name="connsiteX1" fmla="*/ 19090 w 20220"/>
                        <a:gd name="connsiteY1" fmla="*/ 10495 h 18910"/>
                        <a:gd name="connsiteX2" fmla="*/ 19090 w 20220"/>
                        <a:gd name="connsiteY2" fmla="*/ 18910 h 18910"/>
                        <a:gd name="connsiteX3" fmla="*/ 20221 w 20220"/>
                        <a:gd name="connsiteY3" fmla="*/ 18282 h 18910"/>
                        <a:gd name="connsiteX4" fmla="*/ 20221 w 20220"/>
                        <a:gd name="connsiteY4" fmla="*/ 9867 h 18910"/>
                        <a:gd name="connsiteX5" fmla="*/ 16202 w 20220"/>
                        <a:gd name="connsiteY5" fmla="*/ 950 h 18910"/>
                        <a:gd name="connsiteX6" fmla="*/ 6405 w 20220"/>
                        <a:gd name="connsiteY6" fmla="*/ 1955 h 18910"/>
                        <a:gd name="connsiteX7" fmla="*/ 0 w 20220"/>
                        <a:gd name="connsiteY7" fmla="*/ 5597 h 18910"/>
                        <a:gd name="connsiteX8" fmla="*/ 0 w 20220"/>
                        <a:gd name="connsiteY8" fmla="*/ 6978 h 18910"/>
                        <a:gd name="connsiteX9" fmla="*/ 6405 w 20220"/>
                        <a:gd name="connsiteY9" fmla="*/ 3211 h 18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20" h="18910">
                          <a:moveTo>
                            <a:pt x="6405" y="3211"/>
                          </a:moveTo>
                          <a:cubicBezTo>
                            <a:pt x="13439" y="-808"/>
                            <a:pt x="19090" y="2457"/>
                            <a:pt x="19090" y="10495"/>
                          </a:cubicBezTo>
                          <a:lnTo>
                            <a:pt x="19090" y="18910"/>
                          </a:lnTo>
                          <a:lnTo>
                            <a:pt x="20221" y="18282"/>
                          </a:lnTo>
                          <a:lnTo>
                            <a:pt x="20221" y="9867"/>
                          </a:lnTo>
                          <a:cubicBezTo>
                            <a:pt x="20221" y="5471"/>
                            <a:pt x="18714" y="2331"/>
                            <a:pt x="16202" y="950"/>
                          </a:cubicBezTo>
                          <a:cubicBezTo>
                            <a:pt x="13690" y="-557"/>
                            <a:pt x="10299" y="-306"/>
                            <a:pt x="6405" y="1955"/>
                          </a:cubicBezTo>
                          <a:lnTo>
                            <a:pt x="0" y="5597"/>
                          </a:lnTo>
                          <a:lnTo>
                            <a:pt x="0" y="6978"/>
                          </a:lnTo>
                          <a:lnTo>
                            <a:pt x="6405" y="3211"/>
                          </a:ln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7" name="Freeform: Shape 1086">
                      <a:extLst>
                        <a:ext uri="{FF2B5EF4-FFF2-40B4-BE49-F238E27FC236}">
                          <a16:creationId xmlns:a16="http://schemas.microsoft.com/office/drawing/2014/main" id="{70549A60-9EA3-4B8B-9799-72C07F33D1EA}"/>
                        </a:ext>
                      </a:extLst>
                    </p:cNvPr>
                    <p:cNvSpPr/>
                    <p:nvPr/>
                  </p:nvSpPr>
                  <p:spPr>
                    <a:xfrm>
                      <a:off x="3700654" y="1738200"/>
                      <a:ext cx="9168" cy="17464"/>
                    </a:xfrm>
                    <a:custGeom>
                      <a:avLst/>
                      <a:gdLst>
                        <a:gd name="connsiteX0" fmla="*/ 0 w 9168"/>
                        <a:gd name="connsiteY0" fmla="*/ 258 h 17464"/>
                        <a:gd name="connsiteX1" fmla="*/ 502 w 9168"/>
                        <a:gd name="connsiteY1" fmla="*/ 4026 h 17464"/>
                        <a:gd name="connsiteX2" fmla="*/ 502 w 9168"/>
                        <a:gd name="connsiteY2" fmla="*/ 12441 h 17464"/>
                        <a:gd name="connsiteX3" fmla="*/ 9168 w 9168"/>
                        <a:gd name="connsiteY3" fmla="*/ 17465 h 17464"/>
                        <a:gd name="connsiteX4" fmla="*/ 9168 w 9168"/>
                        <a:gd name="connsiteY4" fmla="*/ 9050 h 17464"/>
                        <a:gd name="connsiteX5" fmla="*/ 0 w 9168"/>
                        <a:gd name="connsiteY5" fmla="*/ 258 h 1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68" h="17464">
                          <a:moveTo>
                            <a:pt x="0" y="258"/>
                          </a:moveTo>
                          <a:cubicBezTo>
                            <a:pt x="377" y="1388"/>
                            <a:pt x="502" y="2644"/>
                            <a:pt x="502" y="4026"/>
                          </a:cubicBezTo>
                          <a:lnTo>
                            <a:pt x="502" y="12441"/>
                          </a:lnTo>
                          <a:lnTo>
                            <a:pt x="9168" y="17465"/>
                          </a:lnTo>
                          <a:lnTo>
                            <a:pt x="9168" y="9050"/>
                          </a:lnTo>
                          <a:cubicBezTo>
                            <a:pt x="9168" y="2393"/>
                            <a:pt x="5275" y="-998"/>
                            <a:pt x="0" y="258"/>
                          </a:cubicBezTo>
                          <a:close/>
                        </a:path>
                      </a:pathLst>
                    </a:custGeom>
                    <a:solidFill>
                      <a:srgbClr val="B578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8" name="Freeform: Shape 1087">
                      <a:extLst>
                        <a:ext uri="{FF2B5EF4-FFF2-40B4-BE49-F238E27FC236}">
                          <a16:creationId xmlns:a16="http://schemas.microsoft.com/office/drawing/2014/main" id="{E4BC4223-9E97-4C52-9A94-7C316C0DD90B}"/>
                        </a:ext>
                      </a:extLst>
                    </p:cNvPr>
                    <p:cNvSpPr/>
                    <p:nvPr/>
                  </p:nvSpPr>
                  <p:spPr>
                    <a:xfrm>
                      <a:off x="3682066" y="1731605"/>
                      <a:ext cx="24867" cy="10620"/>
                    </a:xfrm>
                    <a:custGeom>
                      <a:avLst/>
                      <a:gdLst>
                        <a:gd name="connsiteX0" fmla="*/ 16202 w 24867"/>
                        <a:gd name="connsiteY0" fmla="*/ 950 h 10620"/>
                        <a:gd name="connsiteX1" fmla="*/ 6405 w 24867"/>
                        <a:gd name="connsiteY1" fmla="*/ 1955 h 10620"/>
                        <a:gd name="connsiteX2" fmla="*/ 0 w 24867"/>
                        <a:gd name="connsiteY2" fmla="*/ 5597 h 10620"/>
                        <a:gd name="connsiteX3" fmla="*/ 8666 w 24867"/>
                        <a:gd name="connsiteY3" fmla="*/ 10621 h 10620"/>
                        <a:gd name="connsiteX4" fmla="*/ 15072 w 24867"/>
                        <a:gd name="connsiteY4" fmla="*/ 6978 h 10620"/>
                        <a:gd name="connsiteX5" fmla="*/ 24868 w 24867"/>
                        <a:gd name="connsiteY5" fmla="*/ 5974 h 10620"/>
                        <a:gd name="connsiteX6" fmla="*/ 16202 w 24867"/>
                        <a:gd name="connsiteY6" fmla="*/ 950 h 10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67" h="10620">
                          <a:moveTo>
                            <a:pt x="16202" y="950"/>
                          </a:moveTo>
                          <a:cubicBezTo>
                            <a:pt x="13690" y="-557"/>
                            <a:pt x="10299" y="-306"/>
                            <a:pt x="6405" y="1955"/>
                          </a:cubicBezTo>
                          <a:lnTo>
                            <a:pt x="0" y="5597"/>
                          </a:lnTo>
                          <a:lnTo>
                            <a:pt x="8666" y="10621"/>
                          </a:lnTo>
                          <a:lnTo>
                            <a:pt x="15072" y="6978"/>
                          </a:lnTo>
                          <a:cubicBezTo>
                            <a:pt x="18839" y="4718"/>
                            <a:pt x="22356" y="4592"/>
                            <a:pt x="24868" y="5974"/>
                          </a:cubicBezTo>
                          <a:cubicBezTo>
                            <a:pt x="24868" y="5974"/>
                            <a:pt x="18714" y="2457"/>
                            <a:pt x="16202" y="950"/>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9" name="Freeform: Shape 1088">
                      <a:extLst>
                        <a:ext uri="{FF2B5EF4-FFF2-40B4-BE49-F238E27FC236}">
                          <a16:creationId xmlns:a16="http://schemas.microsoft.com/office/drawing/2014/main" id="{8490F306-20EB-4763-A41B-9B1BBD36B915}"/>
                        </a:ext>
                      </a:extLst>
                    </p:cNvPr>
                    <p:cNvSpPr/>
                    <p:nvPr/>
                  </p:nvSpPr>
                  <p:spPr>
                    <a:xfrm>
                      <a:off x="3682066" y="1737202"/>
                      <a:ext cx="8666" cy="6405"/>
                    </a:xfrm>
                    <a:custGeom>
                      <a:avLst/>
                      <a:gdLst>
                        <a:gd name="connsiteX0" fmla="*/ 0 w 8666"/>
                        <a:gd name="connsiteY0" fmla="*/ 0 h 6405"/>
                        <a:gd name="connsiteX1" fmla="*/ 0 w 8666"/>
                        <a:gd name="connsiteY1" fmla="*/ 1382 h 6405"/>
                        <a:gd name="connsiteX2" fmla="*/ 8666 w 8666"/>
                        <a:gd name="connsiteY2" fmla="*/ 6405 h 6405"/>
                        <a:gd name="connsiteX3" fmla="*/ 8666 w 8666"/>
                        <a:gd name="connsiteY3" fmla="*/ 5024 h 6405"/>
                      </a:gdLst>
                      <a:ahLst/>
                      <a:cxnLst>
                        <a:cxn ang="0">
                          <a:pos x="connsiteX0" y="connsiteY0"/>
                        </a:cxn>
                        <a:cxn ang="0">
                          <a:pos x="connsiteX1" y="connsiteY1"/>
                        </a:cxn>
                        <a:cxn ang="0">
                          <a:pos x="connsiteX2" y="connsiteY2"/>
                        </a:cxn>
                        <a:cxn ang="0">
                          <a:pos x="connsiteX3" y="connsiteY3"/>
                        </a:cxn>
                      </a:cxnLst>
                      <a:rect l="l" t="t" r="r" b="b"/>
                      <a:pathLst>
                        <a:path w="8666" h="6405">
                          <a:moveTo>
                            <a:pt x="0" y="0"/>
                          </a:moveTo>
                          <a:lnTo>
                            <a:pt x="0" y="1382"/>
                          </a:lnTo>
                          <a:lnTo>
                            <a:pt x="8666" y="6405"/>
                          </a:lnTo>
                          <a:lnTo>
                            <a:pt x="8666" y="5024"/>
                          </a:ln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90" name="Freeform: Shape 1089">
                    <a:extLst>
                      <a:ext uri="{FF2B5EF4-FFF2-40B4-BE49-F238E27FC236}">
                        <a16:creationId xmlns:a16="http://schemas.microsoft.com/office/drawing/2014/main" id="{C16A10AD-B4E4-4C6F-A571-1862F4B93209}"/>
                      </a:ext>
                    </a:extLst>
                  </p:cNvPr>
                  <p:cNvSpPr/>
                  <p:nvPr/>
                </p:nvSpPr>
                <p:spPr>
                  <a:xfrm>
                    <a:off x="3712585" y="1747627"/>
                    <a:ext cx="25998" cy="27593"/>
                  </a:xfrm>
                  <a:custGeom>
                    <a:avLst/>
                    <a:gdLst>
                      <a:gd name="connsiteX0" fmla="*/ 23989 w 25998"/>
                      <a:gd name="connsiteY0" fmla="*/ 13187 h 27593"/>
                      <a:gd name="connsiteX1" fmla="*/ 20347 w 25998"/>
                      <a:gd name="connsiteY1" fmla="*/ 9796 h 27593"/>
                      <a:gd name="connsiteX2" fmla="*/ 17332 w 25998"/>
                      <a:gd name="connsiteY2" fmla="*/ 6531 h 27593"/>
                      <a:gd name="connsiteX3" fmla="*/ 15072 w 25998"/>
                      <a:gd name="connsiteY3" fmla="*/ 3642 h 27593"/>
                      <a:gd name="connsiteX4" fmla="*/ 14318 w 25998"/>
                      <a:gd name="connsiteY4" fmla="*/ 1633 h 27593"/>
                      <a:gd name="connsiteX5" fmla="*/ 6908 w 25998"/>
                      <a:gd name="connsiteY5" fmla="*/ 0 h 27593"/>
                      <a:gd name="connsiteX6" fmla="*/ 879 w 25998"/>
                      <a:gd name="connsiteY6" fmla="*/ 18965 h 27593"/>
                      <a:gd name="connsiteX7" fmla="*/ 0 w 25998"/>
                      <a:gd name="connsiteY7" fmla="*/ 23989 h 27593"/>
                      <a:gd name="connsiteX8" fmla="*/ 1507 w 25998"/>
                      <a:gd name="connsiteY8" fmla="*/ 27254 h 27593"/>
                      <a:gd name="connsiteX9" fmla="*/ 5024 w 25998"/>
                      <a:gd name="connsiteY9" fmla="*/ 26877 h 27593"/>
                      <a:gd name="connsiteX10" fmla="*/ 25998 w 25998"/>
                      <a:gd name="connsiteY10" fmla="*/ 14820 h 27593"/>
                      <a:gd name="connsiteX11" fmla="*/ 23989 w 25998"/>
                      <a:gd name="connsiteY11" fmla="*/ 13187 h 27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998" h="27593">
                        <a:moveTo>
                          <a:pt x="23989" y="13187"/>
                        </a:moveTo>
                        <a:cubicBezTo>
                          <a:pt x="22733" y="12057"/>
                          <a:pt x="21477" y="10927"/>
                          <a:pt x="20347" y="9796"/>
                        </a:cubicBezTo>
                        <a:cubicBezTo>
                          <a:pt x="19342" y="8666"/>
                          <a:pt x="18337" y="7536"/>
                          <a:pt x="17332" y="6531"/>
                        </a:cubicBezTo>
                        <a:cubicBezTo>
                          <a:pt x="16453" y="5652"/>
                          <a:pt x="15699" y="4647"/>
                          <a:pt x="15072" y="3642"/>
                        </a:cubicBezTo>
                        <a:cubicBezTo>
                          <a:pt x="14695" y="3014"/>
                          <a:pt x="14444" y="2261"/>
                          <a:pt x="14318" y="1633"/>
                        </a:cubicBezTo>
                        <a:lnTo>
                          <a:pt x="6908" y="0"/>
                        </a:lnTo>
                        <a:lnTo>
                          <a:pt x="879" y="18965"/>
                        </a:lnTo>
                        <a:cubicBezTo>
                          <a:pt x="251" y="20723"/>
                          <a:pt x="0" y="22481"/>
                          <a:pt x="0" y="23989"/>
                        </a:cubicBezTo>
                        <a:cubicBezTo>
                          <a:pt x="0" y="25621"/>
                          <a:pt x="502" y="26626"/>
                          <a:pt x="1507" y="27254"/>
                        </a:cubicBezTo>
                        <a:cubicBezTo>
                          <a:pt x="2386" y="27756"/>
                          <a:pt x="3642" y="27756"/>
                          <a:pt x="5024" y="26877"/>
                        </a:cubicBezTo>
                        <a:lnTo>
                          <a:pt x="25998" y="14820"/>
                        </a:lnTo>
                        <a:cubicBezTo>
                          <a:pt x="25245" y="14192"/>
                          <a:pt x="24617" y="13690"/>
                          <a:pt x="23989" y="13187"/>
                        </a:cubicBezTo>
                        <a:close/>
                      </a:path>
                    </a:pathLst>
                  </a:custGeom>
                  <a:solidFill>
                    <a:srgbClr val="D177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1" name="Freeform: Shape 1090">
                    <a:extLst>
                      <a:ext uri="{FF2B5EF4-FFF2-40B4-BE49-F238E27FC236}">
                        <a16:creationId xmlns:a16="http://schemas.microsoft.com/office/drawing/2014/main" id="{A2F22E53-DFDD-48A3-A411-61D06533CF9A}"/>
                      </a:ext>
                    </a:extLst>
                  </p:cNvPr>
                  <p:cNvSpPr/>
                  <p:nvPr/>
                </p:nvSpPr>
                <p:spPr>
                  <a:xfrm>
                    <a:off x="3705552" y="1711455"/>
                    <a:ext cx="66314" cy="38180"/>
                  </a:xfrm>
                  <a:custGeom>
                    <a:avLst/>
                    <a:gdLst>
                      <a:gd name="connsiteX0" fmla="*/ 27003 w 66314"/>
                      <a:gd name="connsiteY0" fmla="*/ 0 h 38180"/>
                      <a:gd name="connsiteX1" fmla="*/ 7410 w 66314"/>
                      <a:gd name="connsiteY1" fmla="*/ 11429 h 38180"/>
                      <a:gd name="connsiteX2" fmla="*/ 15951 w 66314"/>
                      <a:gd name="connsiteY2" fmla="*/ 16327 h 38180"/>
                      <a:gd name="connsiteX3" fmla="*/ 0 w 66314"/>
                      <a:gd name="connsiteY3" fmla="*/ 25496 h 38180"/>
                      <a:gd name="connsiteX4" fmla="*/ 22482 w 66314"/>
                      <a:gd name="connsiteY4" fmla="*/ 38181 h 38180"/>
                      <a:gd name="connsiteX5" fmla="*/ 38055 w 66314"/>
                      <a:gd name="connsiteY5" fmla="*/ 29138 h 38180"/>
                      <a:gd name="connsiteX6" fmla="*/ 46721 w 66314"/>
                      <a:gd name="connsiteY6" fmla="*/ 34036 h 38180"/>
                      <a:gd name="connsiteX7" fmla="*/ 66314 w 66314"/>
                      <a:gd name="connsiteY7" fmla="*/ 22733 h 38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14" h="38180">
                        <a:moveTo>
                          <a:pt x="27003" y="0"/>
                        </a:moveTo>
                        <a:lnTo>
                          <a:pt x="7410" y="11429"/>
                        </a:lnTo>
                        <a:lnTo>
                          <a:pt x="15951" y="16327"/>
                        </a:lnTo>
                        <a:lnTo>
                          <a:pt x="0" y="25496"/>
                        </a:lnTo>
                        <a:lnTo>
                          <a:pt x="22482" y="38181"/>
                        </a:lnTo>
                        <a:lnTo>
                          <a:pt x="38055" y="29138"/>
                        </a:lnTo>
                        <a:lnTo>
                          <a:pt x="46721" y="34036"/>
                        </a:lnTo>
                        <a:lnTo>
                          <a:pt x="66314" y="22733"/>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2" name="Freeform: Shape 1091">
                    <a:extLst>
                      <a:ext uri="{FF2B5EF4-FFF2-40B4-BE49-F238E27FC236}">
                        <a16:creationId xmlns:a16="http://schemas.microsoft.com/office/drawing/2014/main" id="{AAB5A37C-D2F7-4D50-BC30-1D220B5CB69C}"/>
                      </a:ext>
                    </a:extLst>
                  </p:cNvPr>
                  <p:cNvSpPr/>
                  <p:nvPr/>
                </p:nvSpPr>
                <p:spPr>
                  <a:xfrm>
                    <a:off x="3706808" y="1711832"/>
                    <a:ext cx="64430" cy="37050"/>
                  </a:xfrm>
                  <a:custGeom>
                    <a:avLst/>
                    <a:gdLst>
                      <a:gd name="connsiteX0" fmla="*/ 0 w 64430"/>
                      <a:gd name="connsiteY0" fmla="*/ 25119 h 37050"/>
                      <a:gd name="connsiteX1" fmla="*/ 15950 w 64430"/>
                      <a:gd name="connsiteY1" fmla="*/ 15951 h 37050"/>
                      <a:gd name="connsiteX2" fmla="*/ 7410 w 64430"/>
                      <a:gd name="connsiteY2" fmla="*/ 11052 h 37050"/>
                      <a:gd name="connsiteX3" fmla="*/ 26375 w 64430"/>
                      <a:gd name="connsiteY3" fmla="*/ 0 h 37050"/>
                      <a:gd name="connsiteX4" fmla="*/ 64430 w 64430"/>
                      <a:gd name="connsiteY4" fmla="*/ 21979 h 37050"/>
                      <a:gd name="connsiteX5" fmla="*/ 45465 w 64430"/>
                      <a:gd name="connsiteY5" fmla="*/ 33031 h 37050"/>
                      <a:gd name="connsiteX6" fmla="*/ 36799 w 64430"/>
                      <a:gd name="connsiteY6" fmla="*/ 28008 h 37050"/>
                      <a:gd name="connsiteX7" fmla="*/ 21226 w 64430"/>
                      <a:gd name="connsiteY7" fmla="*/ 37050 h 3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430" h="37050">
                        <a:moveTo>
                          <a:pt x="0" y="25119"/>
                        </a:moveTo>
                        <a:lnTo>
                          <a:pt x="15950" y="15951"/>
                        </a:lnTo>
                        <a:lnTo>
                          <a:pt x="7410" y="11052"/>
                        </a:lnTo>
                        <a:lnTo>
                          <a:pt x="26375" y="0"/>
                        </a:lnTo>
                        <a:lnTo>
                          <a:pt x="64430" y="21979"/>
                        </a:lnTo>
                        <a:lnTo>
                          <a:pt x="45465" y="33031"/>
                        </a:lnTo>
                        <a:lnTo>
                          <a:pt x="36799" y="28008"/>
                        </a:lnTo>
                        <a:lnTo>
                          <a:pt x="21226" y="3705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93" name="Graphic 4">
                    <a:extLst>
                      <a:ext uri="{FF2B5EF4-FFF2-40B4-BE49-F238E27FC236}">
                        <a16:creationId xmlns:a16="http://schemas.microsoft.com/office/drawing/2014/main" id="{84FB7ED1-A2DF-40A1-A747-5F7CF3F14040}"/>
                      </a:ext>
                    </a:extLst>
                  </p:cNvPr>
                  <p:cNvGrpSpPr/>
                  <p:nvPr/>
                </p:nvGrpSpPr>
                <p:grpSpPr>
                  <a:xfrm>
                    <a:off x="3698770" y="1665070"/>
                    <a:ext cx="42329" cy="71880"/>
                    <a:chOff x="3698770" y="1665070"/>
                    <a:chExt cx="42329" cy="71880"/>
                  </a:xfrm>
                  <a:solidFill>
                    <a:schemeClr val="accent1"/>
                  </a:solidFill>
                </p:grpSpPr>
                <p:sp>
                  <p:nvSpPr>
                    <p:cNvPr id="1094" name="Freeform: Shape 1093">
                      <a:extLst>
                        <a:ext uri="{FF2B5EF4-FFF2-40B4-BE49-F238E27FC236}">
                          <a16:creationId xmlns:a16="http://schemas.microsoft.com/office/drawing/2014/main" id="{D70AAFC8-1373-449E-8635-FCB87ECD00E1}"/>
                        </a:ext>
                      </a:extLst>
                    </p:cNvPr>
                    <p:cNvSpPr/>
                    <p:nvPr/>
                  </p:nvSpPr>
                  <p:spPr>
                    <a:xfrm>
                      <a:off x="3698770" y="1665070"/>
                      <a:ext cx="39562" cy="71880"/>
                    </a:xfrm>
                    <a:custGeom>
                      <a:avLst/>
                      <a:gdLst>
                        <a:gd name="connsiteX0" fmla="*/ 34413 w 39562"/>
                        <a:gd name="connsiteY0" fmla="*/ 794 h 71880"/>
                        <a:gd name="connsiteX1" fmla="*/ 18965 w 39562"/>
                        <a:gd name="connsiteY1" fmla="*/ 9712 h 71880"/>
                        <a:gd name="connsiteX2" fmla="*/ 10424 w 39562"/>
                        <a:gd name="connsiteY2" fmla="*/ 20764 h 71880"/>
                        <a:gd name="connsiteX3" fmla="*/ 4647 w 39562"/>
                        <a:gd name="connsiteY3" fmla="*/ 40608 h 71880"/>
                        <a:gd name="connsiteX4" fmla="*/ 0 w 39562"/>
                        <a:gd name="connsiteY4" fmla="*/ 70499 h 71880"/>
                        <a:gd name="connsiteX5" fmla="*/ 2386 w 39562"/>
                        <a:gd name="connsiteY5" fmla="*/ 71881 h 71880"/>
                        <a:gd name="connsiteX6" fmla="*/ 4144 w 39562"/>
                        <a:gd name="connsiteY6" fmla="*/ 56307 h 71880"/>
                        <a:gd name="connsiteX7" fmla="*/ 7033 w 39562"/>
                        <a:gd name="connsiteY7" fmla="*/ 41989 h 71880"/>
                        <a:gd name="connsiteX8" fmla="*/ 12811 w 39562"/>
                        <a:gd name="connsiteY8" fmla="*/ 22145 h 71880"/>
                        <a:gd name="connsiteX9" fmla="*/ 21351 w 39562"/>
                        <a:gd name="connsiteY9" fmla="*/ 11093 h 71880"/>
                        <a:gd name="connsiteX10" fmla="*/ 36799 w 39562"/>
                        <a:gd name="connsiteY10" fmla="*/ 2176 h 71880"/>
                        <a:gd name="connsiteX11" fmla="*/ 39562 w 39562"/>
                        <a:gd name="connsiteY11" fmla="*/ 1422 h 71880"/>
                        <a:gd name="connsiteX12" fmla="*/ 34413 w 39562"/>
                        <a:gd name="connsiteY12" fmla="*/ 794 h 7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62" h="71880">
                          <a:moveTo>
                            <a:pt x="34413" y="794"/>
                          </a:moveTo>
                          <a:lnTo>
                            <a:pt x="18965" y="9712"/>
                          </a:lnTo>
                          <a:cubicBezTo>
                            <a:pt x="15323" y="11847"/>
                            <a:pt x="12057" y="16117"/>
                            <a:pt x="10424" y="20764"/>
                          </a:cubicBezTo>
                          <a:cubicBezTo>
                            <a:pt x="8415" y="26667"/>
                            <a:pt x="6280" y="33323"/>
                            <a:pt x="4647" y="40608"/>
                          </a:cubicBezTo>
                          <a:cubicBezTo>
                            <a:pt x="1758" y="52665"/>
                            <a:pt x="502" y="62713"/>
                            <a:pt x="0" y="70499"/>
                          </a:cubicBezTo>
                          <a:lnTo>
                            <a:pt x="2386" y="71881"/>
                          </a:lnTo>
                          <a:cubicBezTo>
                            <a:pt x="2637" y="67360"/>
                            <a:pt x="3140" y="62210"/>
                            <a:pt x="4144" y="56307"/>
                          </a:cubicBezTo>
                          <a:cubicBezTo>
                            <a:pt x="4898" y="51911"/>
                            <a:pt x="5777" y="47139"/>
                            <a:pt x="7033" y="41989"/>
                          </a:cubicBezTo>
                          <a:cubicBezTo>
                            <a:pt x="8791" y="34705"/>
                            <a:pt x="10801" y="28048"/>
                            <a:pt x="12811" y="22145"/>
                          </a:cubicBezTo>
                          <a:cubicBezTo>
                            <a:pt x="14443" y="17498"/>
                            <a:pt x="17709" y="13228"/>
                            <a:pt x="21351" y="11093"/>
                          </a:cubicBezTo>
                          <a:lnTo>
                            <a:pt x="36799" y="2176"/>
                          </a:lnTo>
                          <a:cubicBezTo>
                            <a:pt x="37804" y="1548"/>
                            <a:pt x="38683" y="1297"/>
                            <a:pt x="39562" y="1422"/>
                          </a:cubicBezTo>
                          <a:cubicBezTo>
                            <a:pt x="38432" y="-210"/>
                            <a:pt x="36548" y="-462"/>
                            <a:pt x="34413" y="794"/>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5" name="Freeform: Shape 1094">
                      <a:extLst>
                        <a:ext uri="{FF2B5EF4-FFF2-40B4-BE49-F238E27FC236}">
                          <a16:creationId xmlns:a16="http://schemas.microsoft.com/office/drawing/2014/main" id="{4D5FE531-2651-4E56-BEA1-2F6D6AAAB48D}"/>
                        </a:ext>
                      </a:extLst>
                    </p:cNvPr>
                    <p:cNvSpPr/>
                    <p:nvPr/>
                  </p:nvSpPr>
                  <p:spPr>
                    <a:xfrm>
                      <a:off x="3702789" y="1666435"/>
                      <a:ext cx="38311" cy="55570"/>
                    </a:xfrm>
                    <a:custGeom>
                      <a:avLst/>
                      <a:gdLst>
                        <a:gd name="connsiteX0" fmla="*/ 32655 w 38311"/>
                        <a:gd name="connsiteY0" fmla="*/ 811 h 55570"/>
                        <a:gd name="connsiteX1" fmla="*/ 17206 w 38311"/>
                        <a:gd name="connsiteY1" fmla="*/ 9728 h 55570"/>
                        <a:gd name="connsiteX2" fmla="*/ 8666 w 38311"/>
                        <a:gd name="connsiteY2" fmla="*/ 20781 h 55570"/>
                        <a:gd name="connsiteX3" fmla="*/ 2889 w 38311"/>
                        <a:gd name="connsiteY3" fmla="*/ 40625 h 55570"/>
                        <a:gd name="connsiteX4" fmla="*/ 0 w 38311"/>
                        <a:gd name="connsiteY4" fmla="*/ 54942 h 55570"/>
                        <a:gd name="connsiteX5" fmla="*/ 2135 w 38311"/>
                        <a:gd name="connsiteY5" fmla="*/ 55570 h 55570"/>
                        <a:gd name="connsiteX6" fmla="*/ 5149 w 38311"/>
                        <a:gd name="connsiteY6" fmla="*/ 40122 h 55570"/>
                        <a:gd name="connsiteX7" fmla="*/ 10801 w 38311"/>
                        <a:gd name="connsiteY7" fmla="*/ 20781 h 55570"/>
                        <a:gd name="connsiteX8" fmla="*/ 17206 w 38311"/>
                        <a:gd name="connsiteY8" fmla="*/ 12617 h 55570"/>
                        <a:gd name="connsiteX9" fmla="*/ 32655 w 38311"/>
                        <a:gd name="connsiteY9" fmla="*/ 3700 h 55570"/>
                        <a:gd name="connsiteX10" fmla="*/ 35920 w 38311"/>
                        <a:gd name="connsiteY10" fmla="*/ 5584 h 55570"/>
                        <a:gd name="connsiteX11" fmla="*/ 35920 w 38311"/>
                        <a:gd name="connsiteY11" fmla="*/ 51551 h 55570"/>
                        <a:gd name="connsiteX12" fmla="*/ 38307 w 38311"/>
                        <a:gd name="connsiteY12" fmla="*/ 50170 h 55570"/>
                        <a:gd name="connsiteX13" fmla="*/ 38307 w 38311"/>
                        <a:gd name="connsiteY13" fmla="*/ 4202 h 55570"/>
                        <a:gd name="connsiteX14" fmla="*/ 32655 w 38311"/>
                        <a:gd name="connsiteY14" fmla="*/ 811 h 5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311" h="55570">
                          <a:moveTo>
                            <a:pt x="32655" y="811"/>
                          </a:moveTo>
                          <a:lnTo>
                            <a:pt x="17206" y="9728"/>
                          </a:lnTo>
                          <a:cubicBezTo>
                            <a:pt x="13564" y="11863"/>
                            <a:pt x="10299" y="16134"/>
                            <a:pt x="8666" y="20781"/>
                          </a:cubicBezTo>
                          <a:cubicBezTo>
                            <a:pt x="6657" y="26684"/>
                            <a:pt x="4522" y="33340"/>
                            <a:pt x="2889" y="40625"/>
                          </a:cubicBezTo>
                          <a:cubicBezTo>
                            <a:pt x="1633" y="45774"/>
                            <a:pt x="754" y="50547"/>
                            <a:pt x="0" y="54942"/>
                          </a:cubicBezTo>
                          <a:lnTo>
                            <a:pt x="2135" y="55570"/>
                          </a:lnTo>
                          <a:cubicBezTo>
                            <a:pt x="2889" y="50547"/>
                            <a:pt x="3893" y="45397"/>
                            <a:pt x="5149" y="40122"/>
                          </a:cubicBezTo>
                          <a:cubicBezTo>
                            <a:pt x="6657" y="33717"/>
                            <a:pt x="8541" y="27186"/>
                            <a:pt x="10801" y="20781"/>
                          </a:cubicBezTo>
                          <a:cubicBezTo>
                            <a:pt x="12057" y="17264"/>
                            <a:pt x="14444" y="14124"/>
                            <a:pt x="17206" y="12617"/>
                          </a:cubicBezTo>
                          <a:lnTo>
                            <a:pt x="32655" y="3700"/>
                          </a:lnTo>
                          <a:cubicBezTo>
                            <a:pt x="34539" y="2695"/>
                            <a:pt x="35920" y="3449"/>
                            <a:pt x="35920" y="5584"/>
                          </a:cubicBezTo>
                          <a:lnTo>
                            <a:pt x="35920" y="51551"/>
                          </a:lnTo>
                          <a:lnTo>
                            <a:pt x="38307" y="50170"/>
                          </a:lnTo>
                          <a:lnTo>
                            <a:pt x="38307" y="4202"/>
                          </a:lnTo>
                          <a:cubicBezTo>
                            <a:pt x="38432" y="434"/>
                            <a:pt x="35920" y="-1073"/>
                            <a:pt x="32655" y="811"/>
                          </a:cubicBezTo>
                          <a:close/>
                        </a:path>
                      </a:pathLst>
                    </a:custGeom>
                    <a:solidFill>
                      <a:srgbClr val="606E7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6" name="Freeform: Shape 1095">
                      <a:extLst>
                        <a:ext uri="{FF2B5EF4-FFF2-40B4-BE49-F238E27FC236}">
                          <a16:creationId xmlns:a16="http://schemas.microsoft.com/office/drawing/2014/main" id="{814ADDB8-5AFE-4C2C-A1B7-0956CA1C1C7C}"/>
                        </a:ext>
                      </a:extLst>
                    </p:cNvPr>
                    <p:cNvSpPr/>
                    <p:nvPr/>
                  </p:nvSpPr>
                  <p:spPr>
                    <a:xfrm>
                      <a:off x="3736323" y="1669546"/>
                      <a:ext cx="2511" cy="48314"/>
                    </a:xfrm>
                    <a:custGeom>
                      <a:avLst/>
                      <a:gdLst>
                        <a:gd name="connsiteX0" fmla="*/ 2512 w 2511"/>
                        <a:gd name="connsiteY0" fmla="*/ 2347 h 48314"/>
                        <a:gd name="connsiteX1" fmla="*/ 0 w 2511"/>
                        <a:gd name="connsiteY1" fmla="*/ 86 h 48314"/>
                        <a:gd name="connsiteX2" fmla="*/ 126 w 2511"/>
                        <a:gd name="connsiteY2" fmla="*/ 965 h 48314"/>
                        <a:gd name="connsiteX3" fmla="*/ 126 w 2511"/>
                        <a:gd name="connsiteY3" fmla="*/ 46933 h 48314"/>
                        <a:gd name="connsiteX4" fmla="*/ 2512 w 2511"/>
                        <a:gd name="connsiteY4" fmla="*/ 48314 h 48314"/>
                        <a:gd name="connsiteX5" fmla="*/ 2512 w 2511"/>
                        <a:gd name="connsiteY5" fmla="*/ 48314 h 48314"/>
                        <a:gd name="connsiteX6" fmla="*/ 2512 w 2511"/>
                        <a:gd name="connsiteY6" fmla="*/ 48314 h 48314"/>
                        <a:gd name="connsiteX7" fmla="*/ 2512 w 2511"/>
                        <a:gd name="connsiteY7" fmla="*/ 2347 h 48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1" h="48314">
                          <a:moveTo>
                            <a:pt x="2512" y="2347"/>
                          </a:moveTo>
                          <a:cubicBezTo>
                            <a:pt x="2512" y="588"/>
                            <a:pt x="1507" y="-291"/>
                            <a:pt x="0" y="86"/>
                          </a:cubicBezTo>
                          <a:cubicBezTo>
                            <a:pt x="126" y="337"/>
                            <a:pt x="126" y="714"/>
                            <a:pt x="126" y="965"/>
                          </a:cubicBezTo>
                          <a:lnTo>
                            <a:pt x="126" y="46933"/>
                          </a:lnTo>
                          <a:lnTo>
                            <a:pt x="2512" y="48314"/>
                          </a:lnTo>
                          <a:lnTo>
                            <a:pt x="2512" y="48314"/>
                          </a:lnTo>
                          <a:lnTo>
                            <a:pt x="2512" y="48314"/>
                          </a:lnTo>
                          <a:lnTo>
                            <a:pt x="2512" y="2347"/>
                          </a:ln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97" name="Freeform: Shape 1096">
                    <a:extLst>
                      <a:ext uri="{FF2B5EF4-FFF2-40B4-BE49-F238E27FC236}">
                        <a16:creationId xmlns:a16="http://schemas.microsoft.com/office/drawing/2014/main" id="{B1EBDD82-80E0-45C3-9C74-4305BFECC351}"/>
                      </a:ext>
                    </a:extLst>
                  </p:cNvPr>
                  <p:cNvSpPr/>
                  <p:nvPr/>
                </p:nvSpPr>
                <p:spPr>
                  <a:xfrm>
                    <a:off x="3689727" y="1736951"/>
                    <a:ext cx="29765" cy="37804"/>
                  </a:xfrm>
                  <a:custGeom>
                    <a:avLst/>
                    <a:gdLst>
                      <a:gd name="connsiteX0" fmla="*/ 0 w 29765"/>
                      <a:gd name="connsiteY0" fmla="*/ 21226 h 37804"/>
                      <a:gd name="connsiteX1" fmla="*/ 2009 w 29765"/>
                      <a:gd name="connsiteY1" fmla="*/ 14569 h 37804"/>
                      <a:gd name="connsiteX2" fmla="*/ 11303 w 29765"/>
                      <a:gd name="connsiteY2" fmla="*/ 0 h 37804"/>
                      <a:gd name="connsiteX3" fmla="*/ 29766 w 29765"/>
                      <a:gd name="connsiteY3" fmla="*/ 10550 h 37804"/>
                      <a:gd name="connsiteX4" fmla="*/ 23737 w 29765"/>
                      <a:gd name="connsiteY4" fmla="*/ 29515 h 37804"/>
                      <a:gd name="connsiteX5" fmla="*/ 22858 w 29765"/>
                      <a:gd name="connsiteY5" fmla="*/ 34539 h 37804"/>
                      <a:gd name="connsiteX6" fmla="*/ 24365 w 29765"/>
                      <a:gd name="connsiteY6" fmla="*/ 37804 h 37804"/>
                      <a:gd name="connsiteX7" fmla="*/ 1507 w 29765"/>
                      <a:gd name="connsiteY7" fmla="*/ 24617 h 37804"/>
                      <a:gd name="connsiteX8" fmla="*/ 0 w 29765"/>
                      <a:gd name="connsiteY8" fmla="*/ 21351 h 37804"/>
                      <a:gd name="connsiteX9" fmla="*/ 0 w 29765"/>
                      <a:gd name="connsiteY9" fmla="*/ 21226 h 3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 h="37804">
                        <a:moveTo>
                          <a:pt x="0" y="21226"/>
                        </a:moveTo>
                        <a:cubicBezTo>
                          <a:pt x="0" y="18839"/>
                          <a:pt x="754" y="16579"/>
                          <a:pt x="2009" y="14569"/>
                        </a:cubicBezTo>
                        <a:lnTo>
                          <a:pt x="11303" y="0"/>
                        </a:lnTo>
                        <a:lnTo>
                          <a:pt x="29766" y="10550"/>
                        </a:lnTo>
                        <a:lnTo>
                          <a:pt x="23737" y="29515"/>
                        </a:lnTo>
                        <a:cubicBezTo>
                          <a:pt x="23109" y="31273"/>
                          <a:pt x="22858" y="33031"/>
                          <a:pt x="22858" y="34539"/>
                        </a:cubicBezTo>
                        <a:cubicBezTo>
                          <a:pt x="22858" y="36171"/>
                          <a:pt x="23360" y="37176"/>
                          <a:pt x="24365" y="37804"/>
                        </a:cubicBezTo>
                        <a:cubicBezTo>
                          <a:pt x="24365" y="37804"/>
                          <a:pt x="2512" y="25119"/>
                          <a:pt x="1507" y="24617"/>
                        </a:cubicBezTo>
                        <a:cubicBezTo>
                          <a:pt x="628" y="24114"/>
                          <a:pt x="0" y="22984"/>
                          <a:pt x="0" y="21351"/>
                        </a:cubicBezTo>
                        <a:cubicBezTo>
                          <a:pt x="0" y="21477"/>
                          <a:pt x="0" y="21351"/>
                          <a:pt x="0" y="21226"/>
                        </a:cubicBez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8" name="Freeform: Shape 1097">
                    <a:extLst>
                      <a:ext uri="{FF2B5EF4-FFF2-40B4-BE49-F238E27FC236}">
                        <a16:creationId xmlns:a16="http://schemas.microsoft.com/office/drawing/2014/main" id="{67976400-47A5-4CE9-BE1C-7C240D6295A1}"/>
                      </a:ext>
                    </a:extLst>
                  </p:cNvPr>
                  <p:cNvSpPr/>
                  <p:nvPr/>
                </p:nvSpPr>
                <p:spPr>
                  <a:xfrm>
                    <a:off x="3727657" y="1740593"/>
                    <a:ext cx="15950" cy="15824"/>
                  </a:xfrm>
                  <a:custGeom>
                    <a:avLst/>
                    <a:gdLst>
                      <a:gd name="connsiteX0" fmla="*/ 15950 w 15950"/>
                      <a:gd name="connsiteY0" fmla="*/ 5024 h 15824"/>
                      <a:gd name="connsiteX1" fmla="*/ 15950 w 15950"/>
                      <a:gd name="connsiteY1" fmla="*/ 0 h 15824"/>
                      <a:gd name="connsiteX2" fmla="*/ 0 w 15950"/>
                      <a:gd name="connsiteY2" fmla="*/ 9168 h 15824"/>
                      <a:gd name="connsiteX3" fmla="*/ 3266 w 15950"/>
                      <a:gd name="connsiteY3" fmla="*/ 12559 h 15824"/>
                      <a:gd name="connsiteX4" fmla="*/ 4396 w 15950"/>
                      <a:gd name="connsiteY4" fmla="*/ 15825 h 15824"/>
                      <a:gd name="connsiteX5" fmla="*/ 12308 w 15950"/>
                      <a:gd name="connsiteY5" fmla="*/ 11304 h 15824"/>
                      <a:gd name="connsiteX6" fmla="*/ 15950 w 15950"/>
                      <a:gd name="connsiteY6" fmla="*/ 5024 h 1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50" h="15824">
                        <a:moveTo>
                          <a:pt x="15950" y="5024"/>
                        </a:moveTo>
                        <a:lnTo>
                          <a:pt x="15950" y="0"/>
                        </a:lnTo>
                        <a:lnTo>
                          <a:pt x="0" y="9168"/>
                        </a:lnTo>
                        <a:lnTo>
                          <a:pt x="3266" y="12559"/>
                        </a:lnTo>
                        <a:lnTo>
                          <a:pt x="4396" y="15825"/>
                        </a:lnTo>
                        <a:lnTo>
                          <a:pt x="12308" y="11304"/>
                        </a:lnTo>
                        <a:cubicBezTo>
                          <a:pt x="14318" y="10173"/>
                          <a:pt x="15950" y="7410"/>
                          <a:pt x="15950" y="5024"/>
                        </a:cubicBezTo>
                        <a:close/>
                      </a:path>
                    </a:pathLst>
                  </a:custGeom>
                  <a:solidFill>
                    <a:srgbClr val="F6B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99" name="Graphic 4">
                    <a:extLst>
                      <a:ext uri="{FF2B5EF4-FFF2-40B4-BE49-F238E27FC236}">
                        <a16:creationId xmlns:a16="http://schemas.microsoft.com/office/drawing/2014/main" id="{84FB7ED1-A2DF-40A1-A747-5F7CF3F14040}"/>
                      </a:ext>
                    </a:extLst>
                  </p:cNvPr>
                  <p:cNvGrpSpPr/>
                  <p:nvPr/>
                </p:nvGrpSpPr>
                <p:grpSpPr>
                  <a:xfrm>
                    <a:off x="3724140" y="1694908"/>
                    <a:ext cx="31524" cy="44429"/>
                    <a:chOff x="3724140" y="1694908"/>
                    <a:chExt cx="31524" cy="44429"/>
                  </a:xfrm>
                  <a:solidFill>
                    <a:schemeClr val="accent1"/>
                  </a:solidFill>
                </p:grpSpPr>
                <p:sp>
                  <p:nvSpPr>
                    <p:cNvPr id="1100" name="Freeform: Shape 1099">
                      <a:extLst>
                        <a:ext uri="{FF2B5EF4-FFF2-40B4-BE49-F238E27FC236}">
                          <a16:creationId xmlns:a16="http://schemas.microsoft.com/office/drawing/2014/main" id="{51BC3D88-333B-4E3B-A260-BC7DA9BE2C1E}"/>
                        </a:ext>
                      </a:extLst>
                    </p:cNvPr>
                    <p:cNvSpPr/>
                    <p:nvPr/>
                  </p:nvSpPr>
                  <p:spPr>
                    <a:xfrm>
                      <a:off x="3735444" y="1716479"/>
                      <a:ext cx="20220" cy="22858"/>
                    </a:xfrm>
                    <a:custGeom>
                      <a:avLst/>
                      <a:gdLst>
                        <a:gd name="connsiteX0" fmla="*/ 8289 w 20220"/>
                        <a:gd name="connsiteY0" fmla="*/ 6782 h 22858"/>
                        <a:gd name="connsiteX1" fmla="*/ 0 w 20220"/>
                        <a:gd name="connsiteY1" fmla="*/ 21100 h 22858"/>
                        <a:gd name="connsiteX2" fmla="*/ 0 w 20220"/>
                        <a:gd name="connsiteY2" fmla="*/ 22858 h 22858"/>
                        <a:gd name="connsiteX3" fmla="*/ 20221 w 20220"/>
                        <a:gd name="connsiteY3" fmla="*/ 11178 h 22858"/>
                        <a:gd name="connsiteX4" fmla="*/ 20221 w 20220"/>
                        <a:gd name="connsiteY4" fmla="*/ 0 h 22858"/>
                        <a:gd name="connsiteX5" fmla="*/ 8289 w 20220"/>
                        <a:gd name="connsiteY5" fmla="*/ 6782 h 2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20" h="22858">
                          <a:moveTo>
                            <a:pt x="8289" y="6782"/>
                          </a:moveTo>
                          <a:cubicBezTo>
                            <a:pt x="3768" y="9420"/>
                            <a:pt x="0" y="15825"/>
                            <a:pt x="0" y="21100"/>
                          </a:cubicBezTo>
                          <a:lnTo>
                            <a:pt x="0" y="22858"/>
                          </a:lnTo>
                          <a:lnTo>
                            <a:pt x="20221" y="11178"/>
                          </a:lnTo>
                          <a:lnTo>
                            <a:pt x="20221" y="0"/>
                          </a:lnTo>
                          <a:lnTo>
                            <a:pt x="8289" y="6782"/>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1" name="Freeform: Shape 1100">
                      <a:extLst>
                        <a:ext uri="{FF2B5EF4-FFF2-40B4-BE49-F238E27FC236}">
                          <a16:creationId xmlns:a16="http://schemas.microsoft.com/office/drawing/2014/main" id="{368A2DF3-F624-4777-A77C-4D4221F29BDC}"/>
                        </a:ext>
                      </a:extLst>
                    </p:cNvPr>
                    <p:cNvSpPr/>
                    <p:nvPr/>
                  </p:nvSpPr>
                  <p:spPr>
                    <a:xfrm>
                      <a:off x="3724140" y="1709823"/>
                      <a:ext cx="31524" cy="29514"/>
                    </a:xfrm>
                    <a:custGeom>
                      <a:avLst/>
                      <a:gdLst>
                        <a:gd name="connsiteX0" fmla="*/ 19593 w 31524"/>
                        <a:gd name="connsiteY0" fmla="*/ 13439 h 29514"/>
                        <a:gd name="connsiteX1" fmla="*/ 31524 w 31524"/>
                        <a:gd name="connsiteY1" fmla="*/ 6531 h 29514"/>
                        <a:gd name="connsiteX2" fmla="*/ 20221 w 31524"/>
                        <a:gd name="connsiteY2" fmla="*/ 0 h 29514"/>
                        <a:gd name="connsiteX3" fmla="*/ 8289 w 31524"/>
                        <a:gd name="connsiteY3" fmla="*/ 6908 h 29514"/>
                        <a:gd name="connsiteX4" fmla="*/ 0 w 31524"/>
                        <a:gd name="connsiteY4" fmla="*/ 21226 h 29514"/>
                        <a:gd name="connsiteX5" fmla="*/ 0 w 31524"/>
                        <a:gd name="connsiteY5" fmla="*/ 22984 h 29514"/>
                        <a:gd name="connsiteX6" fmla="*/ 11303 w 31524"/>
                        <a:gd name="connsiteY6" fmla="*/ 29515 h 29514"/>
                        <a:gd name="connsiteX7" fmla="*/ 11303 w 31524"/>
                        <a:gd name="connsiteY7" fmla="*/ 27756 h 29514"/>
                        <a:gd name="connsiteX8" fmla="*/ 19593 w 31524"/>
                        <a:gd name="connsiteY8" fmla="*/ 13439 h 2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24" h="29514">
                          <a:moveTo>
                            <a:pt x="19593" y="13439"/>
                          </a:moveTo>
                          <a:lnTo>
                            <a:pt x="31524" y="6531"/>
                          </a:lnTo>
                          <a:lnTo>
                            <a:pt x="20221" y="0"/>
                          </a:lnTo>
                          <a:lnTo>
                            <a:pt x="8289" y="6908"/>
                          </a:lnTo>
                          <a:cubicBezTo>
                            <a:pt x="3768" y="9545"/>
                            <a:pt x="0" y="15951"/>
                            <a:pt x="0" y="21226"/>
                          </a:cubicBezTo>
                          <a:lnTo>
                            <a:pt x="0" y="22984"/>
                          </a:lnTo>
                          <a:lnTo>
                            <a:pt x="11303" y="29515"/>
                          </a:lnTo>
                          <a:lnTo>
                            <a:pt x="11303" y="27756"/>
                          </a:lnTo>
                          <a:cubicBezTo>
                            <a:pt x="11303" y="22481"/>
                            <a:pt x="15072" y="16076"/>
                            <a:pt x="19593" y="13439"/>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02" name="Graphic 4">
                      <a:extLst>
                        <a:ext uri="{FF2B5EF4-FFF2-40B4-BE49-F238E27FC236}">
                          <a16:creationId xmlns:a16="http://schemas.microsoft.com/office/drawing/2014/main" id="{84FB7ED1-A2DF-40A1-A747-5F7CF3F14040}"/>
                        </a:ext>
                      </a:extLst>
                    </p:cNvPr>
                    <p:cNvGrpSpPr/>
                    <p:nvPr/>
                  </p:nvGrpSpPr>
                  <p:grpSpPr>
                    <a:xfrm>
                      <a:off x="3726527" y="1709823"/>
                      <a:ext cx="22481" cy="16504"/>
                      <a:chOff x="3726527" y="1709823"/>
                      <a:chExt cx="22481" cy="16504"/>
                    </a:xfrm>
                    <a:solidFill>
                      <a:schemeClr val="accent1"/>
                    </a:solidFill>
                  </p:grpSpPr>
                  <p:sp>
                    <p:nvSpPr>
                      <p:cNvPr id="1103" name="Freeform: Shape 1102">
                        <a:extLst>
                          <a:ext uri="{FF2B5EF4-FFF2-40B4-BE49-F238E27FC236}">
                            <a16:creationId xmlns:a16="http://schemas.microsoft.com/office/drawing/2014/main" id="{222F7C55-874B-4265-BD05-C694BC40F5D4}"/>
                          </a:ext>
                        </a:extLst>
                      </p:cNvPr>
                      <p:cNvSpPr/>
                      <p:nvPr/>
                    </p:nvSpPr>
                    <p:spPr>
                      <a:xfrm>
                        <a:off x="3735820" y="1715223"/>
                        <a:ext cx="13061" cy="11104"/>
                      </a:xfrm>
                      <a:custGeom>
                        <a:avLst/>
                        <a:gdLst>
                          <a:gd name="connsiteX0" fmla="*/ 11932 w 13061"/>
                          <a:gd name="connsiteY0" fmla="*/ 4647 h 11104"/>
                          <a:gd name="connsiteX1" fmla="*/ 1130 w 13061"/>
                          <a:gd name="connsiteY1" fmla="*/ 10927 h 11104"/>
                          <a:gd name="connsiteX2" fmla="*/ 377 w 13061"/>
                          <a:gd name="connsiteY2" fmla="*/ 11052 h 11104"/>
                          <a:gd name="connsiteX3" fmla="*/ 0 w 13061"/>
                          <a:gd name="connsiteY3" fmla="*/ 10299 h 11104"/>
                          <a:gd name="connsiteX4" fmla="*/ 0 w 13061"/>
                          <a:gd name="connsiteY4" fmla="*/ 9294 h 11104"/>
                          <a:gd name="connsiteX5" fmla="*/ 1507 w 13061"/>
                          <a:gd name="connsiteY5" fmla="*/ 6154 h 11104"/>
                          <a:gd name="connsiteX6" fmla="*/ 6908 w 13061"/>
                          <a:gd name="connsiteY6" fmla="*/ 2763 h 11104"/>
                          <a:gd name="connsiteX7" fmla="*/ 13062 w 13061"/>
                          <a:gd name="connsiteY7" fmla="*/ 0 h 11104"/>
                          <a:gd name="connsiteX8" fmla="*/ 11932 w 13061"/>
                          <a:gd name="connsiteY8" fmla="*/ 4647 h 11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061" h="11104">
                            <a:moveTo>
                              <a:pt x="11932" y="4647"/>
                            </a:moveTo>
                            <a:lnTo>
                              <a:pt x="1130" y="10927"/>
                            </a:lnTo>
                            <a:cubicBezTo>
                              <a:pt x="879" y="11052"/>
                              <a:pt x="502" y="11178"/>
                              <a:pt x="377" y="11052"/>
                            </a:cubicBezTo>
                            <a:cubicBezTo>
                              <a:pt x="126" y="10927"/>
                              <a:pt x="0" y="10676"/>
                              <a:pt x="0" y="10299"/>
                            </a:cubicBezTo>
                            <a:lnTo>
                              <a:pt x="0" y="9294"/>
                            </a:lnTo>
                            <a:cubicBezTo>
                              <a:pt x="0" y="8289"/>
                              <a:pt x="628" y="6908"/>
                              <a:pt x="1507" y="6154"/>
                            </a:cubicBezTo>
                            <a:cubicBezTo>
                              <a:pt x="3391" y="4647"/>
                              <a:pt x="5024" y="3517"/>
                              <a:pt x="6908" y="2763"/>
                            </a:cubicBezTo>
                            <a:cubicBezTo>
                              <a:pt x="8792" y="2010"/>
                              <a:pt x="11178" y="1130"/>
                              <a:pt x="13062" y="0"/>
                            </a:cubicBezTo>
                            <a:lnTo>
                              <a:pt x="11932" y="4647"/>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4" name="Freeform: Shape 1103">
                        <a:extLst>
                          <a:ext uri="{FF2B5EF4-FFF2-40B4-BE49-F238E27FC236}">
                            <a16:creationId xmlns:a16="http://schemas.microsoft.com/office/drawing/2014/main" id="{EEF58B86-D81E-43A5-9825-791CFB3CB7C4}"/>
                          </a:ext>
                        </a:extLst>
                      </p:cNvPr>
                      <p:cNvSpPr/>
                      <p:nvPr/>
                    </p:nvSpPr>
                    <p:spPr>
                      <a:xfrm>
                        <a:off x="3726527" y="1709823"/>
                        <a:ext cx="22481" cy="16452"/>
                      </a:xfrm>
                      <a:custGeom>
                        <a:avLst/>
                        <a:gdLst>
                          <a:gd name="connsiteX0" fmla="*/ 9420 w 22481"/>
                          <a:gd name="connsiteY0" fmla="*/ 15699 h 16452"/>
                          <a:gd name="connsiteX1" fmla="*/ 9420 w 22481"/>
                          <a:gd name="connsiteY1" fmla="*/ 14695 h 16452"/>
                          <a:gd name="connsiteX2" fmla="*/ 10927 w 22481"/>
                          <a:gd name="connsiteY2" fmla="*/ 11555 h 16452"/>
                          <a:gd name="connsiteX3" fmla="*/ 16327 w 22481"/>
                          <a:gd name="connsiteY3" fmla="*/ 8164 h 16452"/>
                          <a:gd name="connsiteX4" fmla="*/ 22482 w 22481"/>
                          <a:gd name="connsiteY4" fmla="*/ 5401 h 16452"/>
                          <a:gd name="connsiteX5" fmla="*/ 13062 w 22481"/>
                          <a:gd name="connsiteY5" fmla="*/ 0 h 16452"/>
                          <a:gd name="connsiteX6" fmla="*/ 6908 w 22481"/>
                          <a:gd name="connsiteY6" fmla="*/ 2763 h 16452"/>
                          <a:gd name="connsiteX7" fmla="*/ 1507 w 22481"/>
                          <a:gd name="connsiteY7" fmla="*/ 6154 h 16452"/>
                          <a:gd name="connsiteX8" fmla="*/ 0 w 22481"/>
                          <a:gd name="connsiteY8" fmla="*/ 9294 h 16452"/>
                          <a:gd name="connsiteX9" fmla="*/ 0 w 22481"/>
                          <a:gd name="connsiteY9" fmla="*/ 10299 h 16452"/>
                          <a:gd name="connsiteX10" fmla="*/ 377 w 22481"/>
                          <a:gd name="connsiteY10" fmla="*/ 11052 h 16452"/>
                          <a:gd name="connsiteX11" fmla="*/ 9796 w 22481"/>
                          <a:gd name="connsiteY11" fmla="*/ 16453 h 16452"/>
                          <a:gd name="connsiteX12" fmla="*/ 9420 w 22481"/>
                          <a:gd name="connsiteY12" fmla="*/ 15699 h 1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481" h="16452">
                            <a:moveTo>
                              <a:pt x="9420" y="15699"/>
                            </a:moveTo>
                            <a:lnTo>
                              <a:pt x="9420" y="14695"/>
                            </a:lnTo>
                            <a:cubicBezTo>
                              <a:pt x="9420" y="13690"/>
                              <a:pt x="10047" y="12308"/>
                              <a:pt x="10927" y="11555"/>
                            </a:cubicBezTo>
                            <a:cubicBezTo>
                              <a:pt x="12811" y="10048"/>
                              <a:pt x="14443" y="8917"/>
                              <a:pt x="16327" y="8164"/>
                            </a:cubicBezTo>
                            <a:cubicBezTo>
                              <a:pt x="18211" y="7410"/>
                              <a:pt x="20597" y="6531"/>
                              <a:pt x="22482" y="5401"/>
                            </a:cubicBezTo>
                            <a:lnTo>
                              <a:pt x="13062" y="0"/>
                            </a:lnTo>
                            <a:cubicBezTo>
                              <a:pt x="11178" y="1130"/>
                              <a:pt x="8791" y="2010"/>
                              <a:pt x="6908" y="2763"/>
                            </a:cubicBezTo>
                            <a:cubicBezTo>
                              <a:pt x="5024" y="3517"/>
                              <a:pt x="3391" y="4521"/>
                              <a:pt x="1507" y="6154"/>
                            </a:cubicBezTo>
                            <a:cubicBezTo>
                              <a:pt x="628" y="6908"/>
                              <a:pt x="0" y="8164"/>
                              <a:pt x="0" y="9294"/>
                            </a:cubicBezTo>
                            <a:lnTo>
                              <a:pt x="0" y="10299"/>
                            </a:lnTo>
                            <a:cubicBezTo>
                              <a:pt x="0" y="10676"/>
                              <a:pt x="126" y="10927"/>
                              <a:pt x="377" y="11052"/>
                            </a:cubicBezTo>
                            <a:cubicBezTo>
                              <a:pt x="628" y="11178"/>
                              <a:pt x="9796" y="16453"/>
                              <a:pt x="9796" y="16453"/>
                            </a:cubicBezTo>
                            <a:cubicBezTo>
                              <a:pt x="9545" y="16202"/>
                              <a:pt x="9420" y="16076"/>
                              <a:pt x="9420" y="15699"/>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05" name="Freeform: Shape 1104">
                      <a:extLst>
                        <a:ext uri="{FF2B5EF4-FFF2-40B4-BE49-F238E27FC236}">
                          <a16:creationId xmlns:a16="http://schemas.microsoft.com/office/drawing/2014/main" id="{FC84B362-F63C-4878-B8A5-6936F1317949}"/>
                        </a:ext>
                      </a:extLst>
                    </p:cNvPr>
                    <p:cNvSpPr/>
                    <p:nvPr/>
                  </p:nvSpPr>
                  <p:spPr>
                    <a:xfrm>
                      <a:off x="3727657" y="1721252"/>
                      <a:ext cx="10047" cy="6656"/>
                    </a:xfrm>
                    <a:custGeom>
                      <a:avLst/>
                      <a:gdLst>
                        <a:gd name="connsiteX0" fmla="*/ 8540 w 10047"/>
                        <a:gd name="connsiteY0" fmla="*/ 4898 h 6656"/>
                        <a:gd name="connsiteX1" fmla="*/ 0 w 10047"/>
                        <a:gd name="connsiteY1" fmla="*/ 0 h 6656"/>
                        <a:gd name="connsiteX2" fmla="*/ 0 w 10047"/>
                        <a:gd name="connsiteY2" fmla="*/ 0 h 6656"/>
                        <a:gd name="connsiteX3" fmla="*/ 628 w 10047"/>
                        <a:gd name="connsiteY3" fmla="*/ 1256 h 6656"/>
                        <a:gd name="connsiteX4" fmla="*/ 628 w 10047"/>
                        <a:gd name="connsiteY4" fmla="*/ 1256 h 6656"/>
                        <a:gd name="connsiteX5" fmla="*/ 10047 w 10047"/>
                        <a:gd name="connsiteY5" fmla="*/ 6657 h 6656"/>
                        <a:gd name="connsiteX6" fmla="*/ 9420 w 10047"/>
                        <a:gd name="connsiteY6" fmla="*/ 4898 h 6656"/>
                        <a:gd name="connsiteX7" fmla="*/ 9420 w 10047"/>
                        <a:gd name="connsiteY7" fmla="*/ 4898 h 6656"/>
                        <a:gd name="connsiteX8" fmla="*/ 8540 w 10047"/>
                        <a:gd name="connsiteY8" fmla="*/ 4898 h 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47" h="6656">
                          <a:moveTo>
                            <a:pt x="8540" y="4898"/>
                          </a:moveTo>
                          <a:cubicBezTo>
                            <a:pt x="8540" y="4898"/>
                            <a:pt x="2261" y="1256"/>
                            <a:pt x="0" y="0"/>
                          </a:cubicBezTo>
                          <a:lnTo>
                            <a:pt x="0" y="0"/>
                          </a:lnTo>
                          <a:cubicBezTo>
                            <a:pt x="0" y="628"/>
                            <a:pt x="251" y="1130"/>
                            <a:pt x="628" y="1256"/>
                          </a:cubicBezTo>
                          <a:lnTo>
                            <a:pt x="628" y="1256"/>
                          </a:lnTo>
                          <a:lnTo>
                            <a:pt x="10047" y="6657"/>
                          </a:lnTo>
                          <a:lnTo>
                            <a:pt x="9420" y="4898"/>
                          </a:lnTo>
                          <a:lnTo>
                            <a:pt x="9420" y="4898"/>
                          </a:lnTo>
                          <a:cubicBezTo>
                            <a:pt x="9043" y="5024"/>
                            <a:pt x="8792" y="5024"/>
                            <a:pt x="8540" y="4898"/>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06" name="Graphic 4">
                      <a:extLst>
                        <a:ext uri="{FF2B5EF4-FFF2-40B4-BE49-F238E27FC236}">
                          <a16:creationId xmlns:a16="http://schemas.microsoft.com/office/drawing/2014/main" id="{84FB7ED1-A2DF-40A1-A747-5F7CF3F14040}"/>
                        </a:ext>
                      </a:extLst>
                    </p:cNvPr>
                    <p:cNvGrpSpPr/>
                    <p:nvPr/>
                  </p:nvGrpSpPr>
                  <p:grpSpPr>
                    <a:xfrm>
                      <a:off x="3736323" y="1694908"/>
                      <a:ext cx="16051" cy="21822"/>
                      <a:chOff x="3736323" y="1694908"/>
                      <a:chExt cx="16051" cy="21822"/>
                    </a:xfrm>
                    <a:solidFill>
                      <a:schemeClr val="accent1"/>
                    </a:solidFill>
                  </p:grpSpPr>
                  <p:sp>
                    <p:nvSpPr>
                      <p:cNvPr id="1107" name="Freeform: Shape 1106">
                        <a:extLst>
                          <a:ext uri="{FF2B5EF4-FFF2-40B4-BE49-F238E27FC236}">
                            <a16:creationId xmlns:a16="http://schemas.microsoft.com/office/drawing/2014/main" id="{FA263E04-2FB0-459D-9419-443C6B467398}"/>
                          </a:ext>
                        </a:extLst>
                      </p:cNvPr>
                      <p:cNvSpPr/>
                      <p:nvPr/>
                    </p:nvSpPr>
                    <p:spPr>
                      <a:xfrm>
                        <a:off x="3745617" y="1700278"/>
                        <a:ext cx="6757" cy="16452"/>
                      </a:xfrm>
                      <a:custGeom>
                        <a:avLst/>
                        <a:gdLst>
                          <a:gd name="connsiteX0" fmla="*/ 5400 w 6757"/>
                          <a:gd name="connsiteY0" fmla="*/ 126 h 16452"/>
                          <a:gd name="connsiteX1" fmla="*/ 5400 w 6757"/>
                          <a:gd name="connsiteY1" fmla="*/ 126 h 16452"/>
                          <a:gd name="connsiteX2" fmla="*/ 3517 w 6757"/>
                          <a:gd name="connsiteY2" fmla="*/ 2135 h 16452"/>
                          <a:gd name="connsiteX3" fmla="*/ 2135 w 6757"/>
                          <a:gd name="connsiteY3" fmla="*/ 6029 h 16452"/>
                          <a:gd name="connsiteX4" fmla="*/ 1005 w 6757"/>
                          <a:gd name="connsiteY4" fmla="*/ 11304 h 16452"/>
                          <a:gd name="connsiteX5" fmla="*/ 502 w 6757"/>
                          <a:gd name="connsiteY5" fmla="*/ 14318 h 16452"/>
                          <a:gd name="connsiteX6" fmla="*/ 0 w 6757"/>
                          <a:gd name="connsiteY6" fmla="*/ 16453 h 16452"/>
                          <a:gd name="connsiteX7" fmla="*/ 3266 w 6757"/>
                          <a:gd name="connsiteY7" fmla="*/ 14820 h 16452"/>
                          <a:gd name="connsiteX8" fmla="*/ 6657 w 6757"/>
                          <a:gd name="connsiteY8" fmla="*/ 1884 h 16452"/>
                          <a:gd name="connsiteX9" fmla="*/ 6280 w 6757"/>
                          <a:gd name="connsiteY9" fmla="*/ 0 h 16452"/>
                          <a:gd name="connsiteX10" fmla="*/ 5400 w 6757"/>
                          <a:gd name="connsiteY10" fmla="*/ 126 h 1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57" h="16452">
                            <a:moveTo>
                              <a:pt x="5400" y="126"/>
                            </a:moveTo>
                            <a:lnTo>
                              <a:pt x="5400" y="126"/>
                            </a:lnTo>
                            <a:cubicBezTo>
                              <a:pt x="4647" y="377"/>
                              <a:pt x="3893" y="1130"/>
                              <a:pt x="3517" y="2135"/>
                            </a:cubicBezTo>
                            <a:cubicBezTo>
                              <a:pt x="3015" y="3265"/>
                              <a:pt x="2512" y="4647"/>
                              <a:pt x="2135" y="6029"/>
                            </a:cubicBezTo>
                            <a:cubicBezTo>
                              <a:pt x="1507" y="8164"/>
                              <a:pt x="1256" y="9922"/>
                              <a:pt x="1005" y="11304"/>
                            </a:cubicBezTo>
                            <a:cubicBezTo>
                              <a:pt x="879" y="12308"/>
                              <a:pt x="754" y="13313"/>
                              <a:pt x="502" y="14318"/>
                            </a:cubicBezTo>
                            <a:lnTo>
                              <a:pt x="0" y="16453"/>
                            </a:lnTo>
                            <a:cubicBezTo>
                              <a:pt x="1130" y="15951"/>
                              <a:pt x="2261" y="15448"/>
                              <a:pt x="3266" y="14820"/>
                            </a:cubicBezTo>
                            <a:lnTo>
                              <a:pt x="6657" y="1884"/>
                            </a:lnTo>
                            <a:cubicBezTo>
                              <a:pt x="6908" y="1005"/>
                              <a:pt x="6657" y="251"/>
                              <a:pt x="6280" y="0"/>
                            </a:cubicBezTo>
                            <a:cubicBezTo>
                              <a:pt x="6154" y="0"/>
                              <a:pt x="5777" y="0"/>
                              <a:pt x="5400" y="126"/>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8" name="Freeform: Shape 1107">
                        <a:extLst>
                          <a:ext uri="{FF2B5EF4-FFF2-40B4-BE49-F238E27FC236}">
                            <a16:creationId xmlns:a16="http://schemas.microsoft.com/office/drawing/2014/main" id="{81934630-EF02-487A-93BB-BE3E5586D4D2}"/>
                          </a:ext>
                        </a:extLst>
                      </p:cNvPr>
                      <p:cNvSpPr/>
                      <p:nvPr/>
                    </p:nvSpPr>
                    <p:spPr>
                      <a:xfrm>
                        <a:off x="3736323" y="1694908"/>
                        <a:ext cx="15699" cy="21822"/>
                      </a:xfrm>
                      <a:custGeom>
                        <a:avLst/>
                        <a:gdLst>
                          <a:gd name="connsiteX0" fmla="*/ 10424 w 15699"/>
                          <a:gd name="connsiteY0" fmla="*/ 16673 h 21822"/>
                          <a:gd name="connsiteX1" fmla="*/ 11555 w 15699"/>
                          <a:gd name="connsiteY1" fmla="*/ 11398 h 21822"/>
                          <a:gd name="connsiteX2" fmla="*/ 12936 w 15699"/>
                          <a:gd name="connsiteY2" fmla="*/ 7504 h 21822"/>
                          <a:gd name="connsiteX3" fmla="*/ 14820 w 15699"/>
                          <a:gd name="connsiteY3" fmla="*/ 5495 h 21822"/>
                          <a:gd name="connsiteX4" fmla="*/ 14820 w 15699"/>
                          <a:gd name="connsiteY4" fmla="*/ 5495 h 21822"/>
                          <a:gd name="connsiteX5" fmla="*/ 15699 w 15699"/>
                          <a:gd name="connsiteY5" fmla="*/ 5495 h 21822"/>
                          <a:gd name="connsiteX6" fmla="*/ 6280 w 15699"/>
                          <a:gd name="connsiteY6" fmla="*/ 94 h 21822"/>
                          <a:gd name="connsiteX7" fmla="*/ 5400 w 15699"/>
                          <a:gd name="connsiteY7" fmla="*/ 94 h 21822"/>
                          <a:gd name="connsiteX8" fmla="*/ 5400 w 15699"/>
                          <a:gd name="connsiteY8" fmla="*/ 94 h 21822"/>
                          <a:gd name="connsiteX9" fmla="*/ 3517 w 15699"/>
                          <a:gd name="connsiteY9" fmla="*/ 2104 h 21822"/>
                          <a:gd name="connsiteX10" fmla="*/ 2135 w 15699"/>
                          <a:gd name="connsiteY10" fmla="*/ 5997 h 21822"/>
                          <a:gd name="connsiteX11" fmla="*/ 1005 w 15699"/>
                          <a:gd name="connsiteY11" fmla="*/ 11272 h 21822"/>
                          <a:gd name="connsiteX12" fmla="*/ 502 w 15699"/>
                          <a:gd name="connsiteY12" fmla="*/ 14286 h 21822"/>
                          <a:gd name="connsiteX13" fmla="*/ 0 w 15699"/>
                          <a:gd name="connsiteY13" fmla="*/ 16422 h 21822"/>
                          <a:gd name="connsiteX14" fmla="*/ 9420 w 15699"/>
                          <a:gd name="connsiteY14" fmla="*/ 21822 h 21822"/>
                          <a:gd name="connsiteX15" fmla="*/ 9922 w 15699"/>
                          <a:gd name="connsiteY15" fmla="*/ 19687 h 21822"/>
                          <a:gd name="connsiteX16" fmla="*/ 10424 w 15699"/>
                          <a:gd name="connsiteY16" fmla="*/ 16673 h 2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699" h="21822">
                            <a:moveTo>
                              <a:pt x="10424" y="16673"/>
                            </a:moveTo>
                            <a:cubicBezTo>
                              <a:pt x="10550" y="15291"/>
                              <a:pt x="10927" y="13533"/>
                              <a:pt x="11555" y="11398"/>
                            </a:cubicBezTo>
                            <a:cubicBezTo>
                              <a:pt x="11931" y="9891"/>
                              <a:pt x="12434" y="8635"/>
                              <a:pt x="12936" y="7504"/>
                            </a:cubicBezTo>
                            <a:cubicBezTo>
                              <a:pt x="13313" y="6625"/>
                              <a:pt x="14067" y="5746"/>
                              <a:pt x="14820" y="5495"/>
                            </a:cubicBezTo>
                            <a:lnTo>
                              <a:pt x="14820" y="5495"/>
                            </a:lnTo>
                            <a:cubicBezTo>
                              <a:pt x="15197" y="5369"/>
                              <a:pt x="15448" y="5369"/>
                              <a:pt x="15699" y="5495"/>
                            </a:cubicBezTo>
                            <a:cubicBezTo>
                              <a:pt x="15699" y="5495"/>
                              <a:pt x="6782" y="345"/>
                              <a:pt x="6280" y="94"/>
                            </a:cubicBezTo>
                            <a:cubicBezTo>
                              <a:pt x="6029" y="-31"/>
                              <a:pt x="5777" y="-31"/>
                              <a:pt x="5400" y="94"/>
                            </a:cubicBezTo>
                            <a:lnTo>
                              <a:pt x="5400" y="94"/>
                            </a:lnTo>
                            <a:cubicBezTo>
                              <a:pt x="4647" y="345"/>
                              <a:pt x="3893" y="1099"/>
                              <a:pt x="3517" y="2104"/>
                            </a:cubicBezTo>
                            <a:cubicBezTo>
                              <a:pt x="3014" y="3234"/>
                              <a:pt x="2512" y="4616"/>
                              <a:pt x="2135" y="5997"/>
                            </a:cubicBezTo>
                            <a:cubicBezTo>
                              <a:pt x="1507" y="8132"/>
                              <a:pt x="1256" y="9891"/>
                              <a:pt x="1005" y="11272"/>
                            </a:cubicBezTo>
                            <a:cubicBezTo>
                              <a:pt x="879" y="12277"/>
                              <a:pt x="754" y="13282"/>
                              <a:pt x="502" y="14286"/>
                            </a:cubicBezTo>
                            <a:lnTo>
                              <a:pt x="0" y="16422"/>
                            </a:lnTo>
                            <a:lnTo>
                              <a:pt x="9420" y="21822"/>
                            </a:lnTo>
                            <a:lnTo>
                              <a:pt x="9922" y="19687"/>
                            </a:lnTo>
                            <a:cubicBezTo>
                              <a:pt x="10173" y="18682"/>
                              <a:pt x="10299" y="17677"/>
                              <a:pt x="10424" y="16673"/>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09" name="Freeform: Shape 1108">
                      <a:extLst>
                        <a:ext uri="{FF2B5EF4-FFF2-40B4-BE49-F238E27FC236}">
                          <a16:creationId xmlns:a16="http://schemas.microsoft.com/office/drawing/2014/main" id="{7357EC7E-159E-4F8A-B481-6B9D07A87C9F}"/>
                        </a:ext>
                      </a:extLst>
                    </p:cNvPr>
                    <p:cNvSpPr/>
                    <p:nvPr/>
                  </p:nvSpPr>
                  <p:spPr>
                    <a:xfrm>
                      <a:off x="3736951" y="1722759"/>
                      <a:ext cx="5902" cy="5149"/>
                    </a:xfrm>
                    <a:custGeom>
                      <a:avLst/>
                      <a:gdLst>
                        <a:gd name="connsiteX0" fmla="*/ 0 w 5902"/>
                        <a:gd name="connsiteY0" fmla="*/ 3391 h 5149"/>
                        <a:gd name="connsiteX1" fmla="*/ 628 w 5902"/>
                        <a:gd name="connsiteY1" fmla="*/ 5149 h 5149"/>
                        <a:gd name="connsiteX2" fmla="*/ 628 w 5902"/>
                        <a:gd name="connsiteY2" fmla="*/ 5149 h 5149"/>
                        <a:gd name="connsiteX3" fmla="*/ 5903 w 5902"/>
                        <a:gd name="connsiteY3" fmla="*/ 0 h 5149"/>
                        <a:gd name="connsiteX4" fmla="*/ 0 w 5902"/>
                        <a:gd name="connsiteY4" fmla="*/ 3391 h 5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2" h="5149">
                          <a:moveTo>
                            <a:pt x="0" y="3391"/>
                          </a:moveTo>
                          <a:cubicBezTo>
                            <a:pt x="0" y="4270"/>
                            <a:pt x="126" y="5024"/>
                            <a:pt x="628" y="5149"/>
                          </a:cubicBezTo>
                          <a:lnTo>
                            <a:pt x="628" y="5149"/>
                          </a:lnTo>
                          <a:cubicBezTo>
                            <a:pt x="2010" y="3014"/>
                            <a:pt x="3893" y="1130"/>
                            <a:pt x="5903" y="0"/>
                          </a:cubicBezTo>
                          <a:lnTo>
                            <a:pt x="0" y="3391"/>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10" name="Graphic 4">
                    <a:extLst>
                      <a:ext uri="{FF2B5EF4-FFF2-40B4-BE49-F238E27FC236}">
                        <a16:creationId xmlns:a16="http://schemas.microsoft.com/office/drawing/2014/main" id="{84FB7ED1-A2DF-40A1-A747-5F7CF3F14040}"/>
                      </a:ext>
                    </a:extLst>
                  </p:cNvPr>
                  <p:cNvGrpSpPr/>
                  <p:nvPr/>
                </p:nvGrpSpPr>
                <p:grpSpPr>
                  <a:xfrm>
                    <a:off x="3718705" y="1682843"/>
                    <a:ext cx="26353" cy="60113"/>
                    <a:chOff x="3718705" y="1682843"/>
                    <a:chExt cx="26353" cy="60113"/>
                  </a:xfrm>
                  <a:solidFill>
                    <a:schemeClr val="accent1"/>
                  </a:solidFill>
                </p:grpSpPr>
                <p:sp>
                  <p:nvSpPr>
                    <p:cNvPr id="1111" name="Freeform: Shape 1110">
                      <a:extLst>
                        <a:ext uri="{FF2B5EF4-FFF2-40B4-BE49-F238E27FC236}">
                          <a16:creationId xmlns:a16="http://schemas.microsoft.com/office/drawing/2014/main" id="{6CE1A049-91AB-4DFF-AE63-40250511865F}"/>
                        </a:ext>
                      </a:extLst>
                    </p:cNvPr>
                    <p:cNvSpPr/>
                    <p:nvPr/>
                  </p:nvSpPr>
                  <p:spPr>
                    <a:xfrm>
                      <a:off x="3721462" y="1700780"/>
                      <a:ext cx="9945" cy="9042"/>
                    </a:xfrm>
                    <a:custGeom>
                      <a:avLst/>
                      <a:gdLst>
                        <a:gd name="connsiteX0" fmla="*/ 669 w 9945"/>
                        <a:gd name="connsiteY0" fmla="*/ 5526 h 9042"/>
                        <a:gd name="connsiteX1" fmla="*/ 6321 w 9945"/>
                        <a:gd name="connsiteY1" fmla="*/ 502 h 9042"/>
                        <a:gd name="connsiteX2" fmla="*/ 8205 w 9945"/>
                        <a:gd name="connsiteY2" fmla="*/ 126 h 9042"/>
                        <a:gd name="connsiteX3" fmla="*/ 8456 w 9945"/>
                        <a:gd name="connsiteY3" fmla="*/ 126 h 9042"/>
                        <a:gd name="connsiteX4" fmla="*/ 8833 w 9945"/>
                        <a:gd name="connsiteY4" fmla="*/ 251 h 9042"/>
                        <a:gd name="connsiteX5" fmla="*/ 9461 w 9945"/>
                        <a:gd name="connsiteY5" fmla="*/ 879 h 9042"/>
                        <a:gd name="connsiteX6" fmla="*/ 9084 w 9945"/>
                        <a:gd name="connsiteY6" fmla="*/ 4145 h 9042"/>
                        <a:gd name="connsiteX7" fmla="*/ 6321 w 9945"/>
                        <a:gd name="connsiteY7" fmla="*/ 6280 h 9042"/>
                        <a:gd name="connsiteX8" fmla="*/ 5191 w 9945"/>
                        <a:gd name="connsiteY8" fmla="*/ 7159 h 9042"/>
                        <a:gd name="connsiteX9" fmla="*/ 3558 w 9945"/>
                        <a:gd name="connsiteY9" fmla="*/ 8540 h 9042"/>
                        <a:gd name="connsiteX10" fmla="*/ 1423 w 9945"/>
                        <a:gd name="connsiteY10" fmla="*/ 8917 h 9042"/>
                        <a:gd name="connsiteX11" fmla="*/ 418 w 9945"/>
                        <a:gd name="connsiteY11" fmla="*/ 8164 h 9042"/>
                        <a:gd name="connsiteX12" fmla="*/ 669 w 9945"/>
                        <a:gd name="connsiteY12" fmla="*/ 5526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45" h="9042">
                          <a:moveTo>
                            <a:pt x="669" y="5526"/>
                          </a:moveTo>
                          <a:lnTo>
                            <a:pt x="6321" y="502"/>
                          </a:lnTo>
                          <a:cubicBezTo>
                            <a:pt x="6949" y="0"/>
                            <a:pt x="7577" y="-126"/>
                            <a:pt x="8205" y="126"/>
                          </a:cubicBezTo>
                          <a:cubicBezTo>
                            <a:pt x="8331" y="126"/>
                            <a:pt x="8331" y="126"/>
                            <a:pt x="8456" y="126"/>
                          </a:cubicBezTo>
                          <a:cubicBezTo>
                            <a:pt x="8582" y="126"/>
                            <a:pt x="8707" y="251"/>
                            <a:pt x="8833" y="251"/>
                          </a:cubicBezTo>
                          <a:cubicBezTo>
                            <a:pt x="9084" y="377"/>
                            <a:pt x="9335" y="628"/>
                            <a:pt x="9461" y="879"/>
                          </a:cubicBezTo>
                          <a:cubicBezTo>
                            <a:pt x="10214" y="1884"/>
                            <a:pt x="10089" y="3265"/>
                            <a:pt x="9084" y="4145"/>
                          </a:cubicBezTo>
                          <a:lnTo>
                            <a:pt x="6321" y="6280"/>
                          </a:lnTo>
                          <a:lnTo>
                            <a:pt x="5191" y="7159"/>
                          </a:lnTo>
                          <a:lnTo>
                            <a:pt x="3558" y="8540"/>
                          </a:lnTo>
                          <a:cubicBezTo>
                            <a:pt x="2930" y="9043"/>
                            <a:pt x="2051" y="9168"/>
                            <a:pt x="1423" y="8917"/>
                          </a:cubicBezTo>
                          <a:cubicBezTo>
                            <a:pt x="1046" y="8792"/>
                            <a:pt x="669" y="8540"/>
                            <a:pt x="418" y="8164"/>
                          </a:cubicBezTo>
                          <a:cubicBezTo>
                            <a:pt x="-335" y="7159"/>
                            <a:pt x="41" y="6154"/>
                            <a:pt x="669" y="5526"/>
                          </a:cubicBez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2" name="Freeform: Shape 1111">
                      <a:extLst>
                        <a:ext uri="{FF2B5EF4-FFF2-40B4-BE49-F238E27FC236}">
                          <a16:creationId xmlns:a16="http://schemas.microsoft.com/office/drawing/2014/main" id="{C0036372-C6BE-4931-A311-B7A80EE15CDC}"/>
                        </a:ext>
                      </a:extLst>
                    </p:cNvPr>
                    <p:cNvSpPr/>
                    <p:nvPr/>
                  </p:nvSpPr>
                  <p:spPr>
                    <a:xfrm>
                      <a:off x="3719366" y="1707876"/>
                      <a:ext cx="4289" cy="4240"/>
                    </a:xfrm>
                    <a:custGeom>
                      <a:avLst/>
                      <a:gdLst>
                        <a:gd name="connsiteX0" fmla="*/ 128 w 4289"/>
                        <a:gd name="connsiteY0" fmla="*/ 2449 h 4240"/>
                        <a:gd name="connsiteX1" fmla="*/ 2639 w 4289"/>
                        <a:gd name="connsiteY1" fmla="*/ 188 h 4240"/>
                        <a:gd name="connsiteX2" fmla="*/ 3895 w 4289"/>
                        <a:gd name="connsiteY2" fmla="*/ 188 h 4240"/>
                        <a:gd name="connsiteX3" fmla="*/ 3895 w 4289"/>
                        <a:gd name="connsiteY3" fmla="*/ 188 h 4240"/>
                        <a:gd name="connsiteX4" fmla="*/ 4021 w 4289"/>
                        <a:gd name="connsiteY4" fmla="*/ 1696 h 4240"/>
                        <a:gd name="connsiteX5" fmla="*/ 2639 w 4289"/>
                        <a:gd name="connsiteY5" fmla="*/ 3203 h 4240"/>
                        <a:gd name="connsiteX6" fmla="*/ 1635 w 4289"/>
                        <a:gd name="connsiteY6" fmla="*/ 4207 h 4240"/>
                        <a:gd name="connsiteX7" fmla="*/ 128 w 4289"/>
                        <a:gd name="connsiteY7" fmla="*/ 2449 h 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89" h="4240">
                          <a:moveTo>
                            <a:pt x="128" y="2449"/>
                          </a:moveTo>
                          <a:cubicBezTo>
                            <a:pt x="881" y="1444"/>
                            <a:pt x="2011" y="565"/>
                            <a:pt x="2639" y="188"/>
                          </a:cubicBezTo>
                          <a:cubicBezTo>
                            <a:pt x="3016" y="-63"/>
                            <a:pt x="3518" y="-63"/>
                            <a:pt x="3895" y="188"/>
                          </a:cubicBezTo>
                          <a:lnTo>
                            <a:pt x="3895" y="188"/>
                          </a:lnTo>
                          <a:cubicBezTo>
                            <a:pt x="4398" y="565"/>
                            <a:pt x="4398" y="1319"/>
                            <a:pt x="4021" y="1696"/>
                          </a:cubicBezTo>
                          <a:cubicBezTo>
                            <a:pt x="3769" y="1947"/>
                            <a:pt x="2891" y="2826"/>
                            <a:pt x="2639" y="3203"/>
                          </a:cubicBezTo>
                          <a:cubicBezTo>
                            <a:pt x="2262" y="4082"/>
                            <a:pt x="2011" y="4082"/>
                            <a:pt x="1635" y="4207"/>
                          </a:cubicBezTo>
                          <a:cubicBezTo>
                            <a:pt x="1384" y="4459"/>
                            <a:pt x="-501" y="3203"/>
                            <a:pt x="128" y="2449"/>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13" name="Graphic 4">
                      <a:extLst>
                        <a:ext uri="{FF2B5EF4-FFF2-40B4-BE49-F238E27FC236}">
                          <a16:creationId xmlns:a16="http://schemas.microsoft.com/office/drawing/2014/main" id="{84FB7ED1-A2DF-40A1-A747-5F7CF3F14040}"/>
                        </a:ext>
                      </a:extLst>
                    </p:cNvPr>
                    <p:cNvGrpSpPr/>
                    <p:nvPr/>
                  </p:nvGrpSpPr>
                  <p:grpSpPr>
                    <a:xfrm>
                      <a:off x="3724967" y="1710827"/>
                      <a:ext cx="17886" cy="32128"/>
                      <a:chOff x="3724967" y="1710827"/>
                      <a:chExt cx="17886" cy="32128"/>
                    </a:xfrm>
                    <a:solidFill>
                      <a:schemeClr val="accent1"/>
                    </a:solidFill>
                  </p:grpSpPr>
                  <p:grpSp>
                    <p:nvGrpSpPr>
                      <p:cNvPr id="1114" name="Graphic 4">
                        <a:extLst>
                          <a:ext uri="{FF2B5EF4-FFF2-40B4-BE49-F238E27FC236}">
                            <a16:creationId xmlns:a16="http://schemas.microsoft.com/office/drawing/2014/main" id="{84FB7ED1-A2DF-40A1-A747-5F7CF3F14040}"/>
                          </a:ext>
                        </a:extLst>
                      </p:cNvPr>
                      <p:cNvGrpSpPr/>
                      <p:nvPr/>
                    </p:nvGrpSpPr>
                    <p:grpSpPr>
                      <a:xfrm>
                        <a:off x="3724967" y="1736700"/>
                        <a:ext cx="7346" cy="6256"/>
                        <a:chOff x="3724967" y="1736700"/>
                        <a:chExt cx="7346" cy="6256"/>
                      </a:xfrm>
                      <a:solidFill>
                        <a:schemeClr val="accent1"/>
                      </a:solidFill>
                    </p:grpSpPr>
                    <p:sp>
                      <p:nvSpPr>
                        <p:cNvPr id="1115" name="Freeform: Shape 1114">
                          <a:extLst>
                            <a:ext uri="{FF2B5EF4-FFF2-40B4-BE49-F238E27FC236}">
                              <a16:creationId xmlns:a16="http://schemas.microsoft.com/office/drawing/2014/main" id="{4C6A6E2D-A4A7-4C6A-A1BA-E3E8D298928B}"/>
                            </a:ext>
                          </a:extLst>
                        </p:cNvPr>
                        <p:cNvSpPr/>
                        <p:nvPr/>
                      </p:nvSpPr>
                      <p:spPr>
                        <a:xfrm>
                          <a:off x="3725019" y="1736700"/>
                          <a:ext cx="7158" cy="6256"/>
                        </a:xfrm>
                        <a:custGeom>
                          <a:avLst/>
                          <a:gdLst>
                            <a:gd name="connsiteX0" fmla="*/ 0 w 7158"/>
                            <a:gd name="connsiteY0" fmla="*/ 5149 h 6256"/>
                            <a:gd name="connsiteX1" fmla="*/ 0 w 7158"/>
                            <a:gd name="connsiteY1" fmla="*/ 5275 h 6256"/>
                            <a:gd name="connsiteX2" fmla="*/ 0 w 7158"/>
                            <a:gd name="connsiteY2" fmla="*/ 5275 h 6256"/>
                            <a:gd name="connsiteX3" fmla="*/ 502 w 7158"/>
                            <a:gd name="connsiteY3" fmla="*/ 5903 h 6256"/>
                            <a:gd name="connsiteX4" fmla="*/ 2888 w 7158"/>
                            <a:gd name="connsiteY4" fmla="*/ 6029 h 6256"/>
                            <a:gd name="connsiteX5" fmla="*/ 6657 w 7158"/>
                            <a:gd name="connsiteY5" fmla="*/ 4019 h 6256"/>
                            <a:gd name="connsiteX6" fmla="*/ 7159 w 7158"/>
                            <a:gd name="connsiteY6" fmla="*/ 3265 h 6256"/>
                            <a:gd name="connsiteX7" fmla="*/ 7159 w 7158"/>
                            <a:gd name="connsiteY7" fmla="*/ 3265 h 6256"/>
                            <a:gd name="connsiteX8" fmla="*/ 7033 w 7158"/>
                            <a:gd name="connsiteY8" fmla="*/ 2512 h 6256"/>
                            <a:gd name="connsiteX9" fmla="*/ 6657 w 7158"/>
                            <a:gd name="connsiteY9" fmla="*/ 1256 h 6256"/>
                            <a:gd name="connsiteX10" fmla="*/ 6657 w 7158"/>
                            <a:gd name="connsiteY10" fmla="*/ 1256 h 6256"/>
                            <a:gd name="connsiteX11" fmla="*/ 6405 w 7158"/>
                            <a:gd name="connsiteY11" fmla="*/ 628 h 6256"/>
                            <a:gd name="connsiteX12" fmla="*/ 6405 w 7158"/>
                            <a:gd name="connsiteY12" fmla="*/ 628 h 6256"/>
                            <a:gd name="connsiteX13" fmla="*/ 6028 w 7158"/>
                            <a:gd name="connsiteY13" fmla="*/ 0 h 6256"/>
                            <a:gd name="connsiteX14" fmla="*/ 3265 w 7158"/>
                            <a:gd name="connsiteY14" fmla="*/ 126 h 6256"/>
                            <a:gd name="connsiteX15" fmla="*/ 2888 w 7158"/>
                            <a:gd name="connsiteY15" fmla="*/ 754 h 6256"/>
                            <a:gd name="connsiteX16" fmla="*/ 2888 w 7158"/>
                            <a:gd name="connsiteY16" fmla="*/ 754 h 6256"/>
                            <a:gd name="connsiteX17" fmla="*/ 2763 w 7158"/>
                            <a:gd name="connsiteY17" fmla="*/ 1130 h 6256"/>
                            <a:gd name="connsiteX18" fmla="*/ 2386 w 7158"/>
                            <a:gd name="connsiteY18" fmla="*/ 1884 h 6256"/>
                            <a:gd name="connsiteX19" fmla="*/ 0 w 7158"/>
                            <a:gd name="connsiteY19" fmla="*/ 4521 h 6256"/>
                            <a:gd name="connsiteX20" fmla="*/ 0 w 7158"/>
                            <a:gd name="connsiteY20" fmla="*/ 5149 h 6256"/>
                            <a:gd name="connsiteX21" fmla="*/ 1130 w 7158"/>
                            <a:gd name="connsiteY21" fmla="*/ 3768 h 6256"/>
                            <a:gd name="connsiteX22" fmla="*/ 2637 w 7158"/>
                            <a:gd name="connsiteY22" fmla="*/ 2386 h 6256"/>
                            <a:gd name="connsiteX23" fmla="*/ 3265 w 7158"/>
                            <a:gd name="connsiteY23" fmla="*/ 1507 h 6256"/>
                            <a:gd name="connsiteX24" fmla="*/ 3517 w 7158"/>
                            <a:gd name="connsiteY24" fmla="*/ 1633 h 6256"/>
                            <a:gd name="connsiteX25" fmla="*/ 2763 w 7158"/>
                            <a:gd name="connsiteY25" fmla="*/ 2638 h 6256"/>
                            <a:gd name="connsiteX26" fmla="*/ 1256 w 7158"/>
                            <a:gd name="connsiteY26" fmla="*/ 4019 h 6256"/>
                            <a:gd name="connsiteX27" fmla="*/ 1130 w 7158"/>
                            <a:gd name="connsiteY27" fmla="*/ 4019 h 6256"/>
                            <a:gd name="connsiteX28" fmla="*/ 1005 w 7158"/>
                            <a:gd name="connsiteY28" fmla="*/ 4019 h 6256"/>
                            <a:gd name="connsiteX29" fmla="*/ 1130 w 7158"/>
                            <a:gd name="connsiteY29" fmla="*/ 3768 h 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158" h="6256">
                              <a:moveTo>
                                <a:pt x="0" y="5149"/>
                              </a:moveTo>
                              <a:lnTo>
                                <a:pt x="0" y="5275"/>
                              </a:lnTo>
                              <a:lnTo>
                                <a:pt x="0" y="5275"/>
                              </a:lnTo>
                              <a:cubicBezTo>
                                <a:pt x="0" y="5526"/>
                                <a:pt x="125" y="5652"/>
                                <a:pt x="502" y="5903"/>
                              </a:cubicBezTo>
                              <a:cubicBezTo>
                                <a:pt x="1130" y="6280"/>
                                <a:pt x="2261" y="6405"/>
                                <a:pt x="2888" y="6029"/>
                              </a:cubicBezTo>
                              <a:lnTo>
                                <a:pt x="6657" y="4019"/>
                              </a:lnTo>
                              <a:cubicBezTo>
                                <a:pt x="7033" y="3768"/>
                                <a:pt x="7159" y="3517"/>
                                <a:pt x="7159" y="3265"/>
                              </a:cubicBezTo>
                              <a:lnTo>
                                <a:pt x="7159" y="3265"/>
                              </a:lnTo>
                              <a:cubicBezTo>
                                <a:pt x="7159" y="3014"/>
                                <a:pt x="7159" y="2763"/>
                                <a:pt x="7033" y="2512"/>
                              </a:cubicBezTo>
                              <a:cubicBezTo>
                                <a:pt x="6908" y="2010"/>
                                <a:pt x="6782" y="1633"/>
                                <a:pt x="6657" y="1256"/>
                              </a:cubicBezTo>
                              <a:lnTo>
                                <a:pt x="6657" y="1256"/>
                              </a:lnTo>
                              <a:cubicBezTo>
                                <a:pt x="6531" y="1005"/>
                                <a:pt x="6531" y="879"/>
                                <a:pt x="6405" y="628"/>
                              </a:cubicBezTo>
                              <a:lnTo>
                                <a:pt x="6405" y="628"/>
                              </a:lnTo>
                              <a:cubicBezTo>
                                <a:pt x="6280" y="377"/>
                                <a:pt x="6154" y="251"/>
                                <a:pt x="6028" y="0"/>
                              </a:cubicBezTo>
                              <a:lnTo>
                                <a:pt x="3265" y="126"/>
                              </a:lnTo>
                              <a:cubicBezTo>
                                <a:pt x="3014" y="251"/>
                                <a:pt x="3014" y="502"/>
                                <a:pt x="2888" y="754"/>
                              </a:cubicBezTo>
                              <a:lnTo>
                                <a:pt x="2888" y="754"/>
                              </a:lnTo>
                              <a:cubicBezTo>
                                <a:pt x="2888" y="879"/>
                                <a:pt x="2888" y="1005"/>
                                <a:pt x="2763" y="1130"/>
                              </a:cubicBezTo>
                              <a:cubicBezTo>
                                <a:pt x="2637" y="1382"/>
                                <a:pt x="2637" y="1758"/>
                                <a:pt x="2386" y="1884"/>
                              </a:cubicBezTo>
                              <a:cubicBezTo>
                                <a:pt x="1256" y="2638"/>
                                <a:pt x="377" y="3642"/>
                                <a:pt x="0" y="4521"/>
                              </a:cubicBezTo>
                              <a:cubicBezTo>
                                <a:pt x="0" y="4773"/>
                                <a:pt x="0" y="5024"/>
                                <a:pt x="0" y="5149"/>
                              </a:cubicBezTo>
                              <a:close/>
                              <a:moveTo>
                                <a:pt x="1130" y="3768"/>
                              </a:moveTo>
                              <a:lnTo>
                                <a:pt x="2637" y="2386"/>
                              </a:lnTo>
                              <a:cubicBezTo>
                                <a:pt x="2888" y="2135"/>
                                <a:pt x="3265" y="1884"/>
                                <a:pt x="3265" y="1507"/>
                              </a:cubicBezTo>
                              <a:cubicBezTo>
                                <a:pt x="3391" y="1507"/>
                                <a:pt x="3391" y="1633"/>
                                <a:pt x="3517" y="1633"/>
                              </a:cubicBezTo>
                              <a:cubicBezTo>
                                <a:pt x="3391" y="2010"/>
                                <a:pt x="3140" y="2386"/>
                                <a:pt x="2763" y="2638"/>
                              </a:cubicBezTo>
                              <a:lnTo>
                                <a:pt x="1256" y="4019"/>
                              </a:lnTo>
                              <a:cubicBezTo>
                                <a:pt x="1256" y="4019"/>
                                <a:pt x="1256" y="4019"/>
                                <a:pt x="1130" y="4019"/>
                              </a:cubicBezTo>
                              <a:cubicBezTo>
                                <a:pt x="1130" y="4019"/>
                                <a:pt x="1005" y="4019"/>
                                <a:pt x="1005" y="4019"/>
                              </a:cubicBezTo>
                              <a:cubicBezTo>
                                <a:pt x="1005" y="3893"/>
                                <a:pt x="1130" y="3768"/>
                                <a:pt x="1130" y="3768"/>
                              </a:cubicBezTo>
                              <a:close/>
                            </a:path>
                          </a:pathLst>
                        </a:custGeom>
                        <a:solidFill>
                          <a:srgbClr val="004D6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6" name="Freeform: Shape 1115">
                          <a:extLst>
                            <a:ext uri="{FF2B5EF4-FFF2-40B4-BE49-F238E27FC236}">
                              <a16:creationId xmlns:a16="http://schemas.microsoft.com/office/drawing/2014/main" id="{70BF10D6-A304-43E4-9688-F1B31E90A181}"/>
                            </a:ext>
                          </a:extLst>
                        </p:cNvPr>
                        <p:cNvSpPr/>
                        <p:nvPr/>
                      </p:nvSpPr>
                      <p:spPr>
                        <a:xfrm>
                          <a:off x="3724967" y="1739212"/>
                          <a:ext cx="7346" cy="3744"/>
                        </a:xfrm>
                        <a:custGeom>
                          <a:avLst/>
                          <a:gdLst>
                            <a:gd name="connsiteX0" fmla="*/ 52 w 7346"/>
                            <a:gd name="connsiteY0" fmla="*/ 2763 h 3744"/>
                            <a:gd name="connsiteX1" fmla="*/ 52 w 7346"/>
                            <a:gd name="connsiteY1" fmla="*/ 2763 h 3744"/>
                            <a:gd name="connsiteX2" fmla="*/ 554 w 7346"/>
                            <a:gd name="connsiteY2" fmla="*/ 3391 h 3744"/>
                            <a:gd name="connsiteX3" fmla="*/ 2941 w 7346"/>
                            <a:gd name="connsiteY3" fmla="*/ 3517 h 3744"/>
                            <a:gd name="connsiteX4" fmla="*/ 6834 w 7346"/>
                            <a:gd name="connsiteY4" fmla="*/ 1507 h 3744"/>
                            <a:gd name="connsiteX5" fmla="*/ 7336 w 7346"/>
                            <a:gd name="connsiteY5" fmla="*/ 754 h 3744"/>
                            <a:gd name="connsiteX6" fmla="*/ 7085 w 7346"/>
                            <a:gd name="connsiteY6" fmla="*/ 0 h 3744"/>
                            <a:gd name="connsiteX7" fmla="*/ 5327 w 7346"/>
                            <a:gd name="connsiteY7" fmla="*/ 1256 h 3744"/>
                            <a:gd name="connsiteX8" fmla="*/ 2689 w 7346"/>
                            <a:gd name="connsiteY8" fmla="*/ 2889 h 3744"/>
                            <a:gd name="connsiteX9" fmla="*/ 1559 w 7346"/>
                            <a:gd name="connsiteY9" fmla="*/ 3140 h 3744"/>
                            <a:gd name="connsiteX10" fmla="*/ 429 w 7346"/>
                            <a:gd name="connsiteY10" fmla="*/ 2763 h 3744"/>
                            <a:gd name="connsiteX11" fmla="*/ 177 w 7346"/>
                            <a:gd name="connsiteY11" fmla="*/ 2010 h 3744"/>
                            <a:gd name="connsiteX12" fmla="*/ 52 w 7346"/>
                            <a:gd name="connsiteY12" fmla="*/ 2763 h 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46" h="3744">
                              <a:moveTo>
                                <a:pt x="52" y="2763"/>
                              </a:moveTo>
                              <a:cubicBezTo>
                                <a:pt x="52" y="2889"/>
                                <a:pt x="52" y="2763"/>
                                <a:pt x="52" y="2763"/>
                              </a:cubicBezTo>
                              <a:cubicBezTo>
                                <a:pt x="52" y="3014"/>
                                <a:pt x="303" y="3140"/>
                                <a:pt x="554" y="3391"/>
                              </a:cubicBezTo>
                              <a:cubicBezTo>
                                <a:pt x="1182" y="3768"/>
                                <a:pt x="2313" y="3893"/>
                                <a:pt x="2941" y="3517"/>
                              </a:cubicBezTo>
                              <a:lnTo>
                                <a:pt x="6834" y="1507"/>
                              </a:lnTo>
                              <a:cubicBezTo>
                                <a:pt x="7462" y="1130"/>
                                <a:pt x="7336" y="754"/>
                                <a:pt x="7336" y="754"/>
                              </a:cubicBezTo>
                              <a:cubicBezTo>
                                <a:pt x="7336" y="502"/>
                                <a:pt x="7211" y="126"/>
                                <a:pt x="7085" y="0"/>
                              </a:cubicBezTo>
                              <a:cubicBezTo>
                                <a:pt x="7211" y="377"/>
                                <a:pt x="5829" y="754"/>
                                <a:pt x="5327" y="1256"/>
                              </a:cubicBezTo>
                              <a:cubicBezTo>
                                <a:pt x="4573" y="1884"/>
                                <a:pt x="3569" y="2512"/>
                                <a:pt x="2689" y="2889"/>
                              </a:cubicBezTo>
                              <a:cubicBezTo>
                                <a:pt x="2313" y="3014"/>
                                <a:pt x="1936" y="3140"/>
                                <a:pt x="1559" y="3140"/>
                              </a:cubicBezTo>
                              <a:cubicBezTo>
                                <a:pt x="1182" y="3140"/>
                                <a:pt x="680" y="3014"/>
                                <a:pt x="429" y="2763"/>
                              </a:cubicBezTo>
                              <a:cubicBezTo>
                                <a:pt x="303" y="2637"/>
                                <a:pt x="52" y="2386"/>
                                <a:pt x="177" y="2010"/>
                              </a:cubicBezTo>
                              <a:cubicBezTo>
                                <a:pt x="52" y="2261"/>
                                <a:pt x="-74" y="2386"/>
                                <a:pt x="52" y="2763"/>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7" name="Freeform: Shape 1116">
                          <a:extLst>
                            <a:ext uri="{FF2B5EF4-FFF2-40B4-BE49-F238E27FC236}">
                              <a16:creationId xmlns:a16="http://schemas.microsoft.com/office/drawing/2014/main" id="{3E006CC0-9AFE-48A0-B3C0-881D8D97AE29}"/>
                            </a:ext>
                          </a:extLst>
                        </p:cNvPr>
                        <p:cNvSpPr/>
                        <p:nvPr/>
                      </p:nvSpPr>
                      <p:spPr>
                        <a:xfrm>
                          <a:off x="3726098" y="1738082"/>
                          <a:ext cx="2563" cy="2606"/>
                        </a:xfrm>
                        <a:custGeom>
                          <a:avLst/>
                          <a:gdLst>
                            <a:gd name="connsiteX0" fmla="*/ 52 w 2563"/>
                            <a:gd name="connsiteY0" fmla="*/ 2512 h 2606"/>
                            <a:gd name="connsiteX1" fmla="*/ 52 w 2563"/>
                            <a:gd name="connsiteY1" fmla="*/ 2512 h 2606"/>
                            <a:gd name="connsiteX2" fmla="*/ 303 w 2563"/>
                            <a:gd name="connsiteY2" fmla="*/ 2512 h 2606"/>
                            <a:gd name="connsiteX3" fmla="*/ 1810 w 2563"/>
                            <a:gd name="connsiteY3" fmla="*/ 1130 h 2606"/>
                            <a:gd name="connsiteX4" fmla="*/ 2564 w 2563"/>
                            <a:gd name="connsiteY4" fmla="*/ 126 h 2606"/>
                            <a:gd name="connsiteX5" fmla="*/ 2313 w 2563"/>
                            <a:gd name="connsiteY5" fmla="*/ 0 h 2606"/>
                            <a:gd name="connsiteX6" fmla="*/ 1685 w 2563"/>
                            <a:gd name="connsiteY6" fmla="*/ 879 h 2606"/>
                            <a:gd name="connsiteX7" fmla="*/ 177 w 2563"/>
                            <a:gd name="connsiteY7" fmla="*/ 2261 h 2606"/>
                            <a:gd name="connsiteX8" fmla="*/ 52 w 2563"/>
                            <a:gd name="connsiteY8" fmla="*/ 2512 h 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 h="2606">
                              <a:moveTo>
                                <a:pt x="52" y="2512"/>
                              </a:moveTo>
                              <a:cubicBezTo>
                                <a:pt x="52" y="2638"/>
                                <a:pt x="52" y="2638"/>
                                <a:pt x="52" y="2512"/>
                              </a:cubicBezTo>
                              <a:cubicBezTo>
                                <a:pt x="177" y="2512"/>
                                <a:pt x="177" y="2512"/>
                                <a:pt x="303" y="2512"/>
                              </a:cubicBezTo>
                              <a:lnTo>
                                <a:pt x="1810" y="1130"/>
                              </a:lnTo>
                              <a:cubicBezTo>
                                <a:pt x="2062" y="879"/>
                                <a:pt x="2438" y="502"/>
                                <a:pt x="2564" y="126"/>
                              </a:cubicBezTo>
                              <a:cubicBezTo>
                                <a:pt x="2438" y="126"/>
                                <a:pt x="2438" y="0"/>
                                <a:pt x="2313" y="0"/>
                              </a:cubicBezTo>
                              <a:cubicBezTo>
                                <a:pt x="2187" y="377"/>
                                <a:pt x="1936" y="628"/>
                                <a:pt x="1685" y="879"/>
                              </a:cubicBezTo>
                              <a:lnTo>
                                <a:pt x="177" y="2261"/>
                              </a:lnTo>
                              <a:cubicBezTo>
                                <a:pt x="52" y="2386"/>
                                <a:pt x="-74" y="2512"/>
                                <a:pt x="52" y="2512"/>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8" name="Freeform: Shape 1117">
                          <a:extLst>
                            <a:ext uri="{FF2B5EF4-FFF2-40B4-BE49-F238E27FC236}">
                              <a16:creationId xmlns:a16="http://schemas.microsoft.com/office/drawing/2014/main" id="{B65960AE-9314-4B4A-9E19-BC6B597D4A13}"/>
                            </a:ext>
                          </a:extLst>
                        </p:cNvPr>
                        <p:cNvSpPr/>
                        <p:nvPr/>
                      </p:nvSpPr>
                      <p:spPr>
                        <a:xfrm>
                          <a:off x="3727783" y="1738584"/>
                          <a:ext cx="878" cy="627"/>
                        </a:xfrm>
                        <a:custGeom>
                          <a:avLst/>
                          <a:gdLst>
                            <a:gd name="connsiteX0" fmla="*/ 754 w 878"/>
                            <a:gd name="connsiteY0" fmla="*/ 628 h 627"/>
                            <a:gd name="connsiteX1" fmla="*/ 754 w 878"/>
                            <a:gd name="connsiteY1" fmla="*/ 628 h 627"/>
                            <a:gd name="connsiteX2" fmla="*/ 879 w 878"/>
                            <a:gd name="connsiteY2" fmla="*/ 377 h 627"/>
                            <a:gd name="connsiteX3" fmla="*/ 251 w 878"/>
                            <a:gd name="connsiteY3" fmla="*/ 0 h 627"/>
                            <a:gd name="connsiteX4" fmla="*/ 0 w 878"/>
                            <a:gd name="connsiteY4" fmla="*/ 0 h 627"/>
                            <a:gd name="connsiteX5" fmla="*/ 0 w 878"/>
                            <a:gd name="connsiteY5" fmla="*/ 126 h 627"/>
                            <a:gd name="connsiteX6" fmla="*/ 754 w 878"/>
                            <a:gd name="connsiteY6" fmla="*/ 628 h 627"/>
                            <a:gd name="connsiteX7" fmla="*/ 754 w 878"/>
                            <a:gd name="connsiteY7" fmla="*/ 628 h 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 h="627">
                              <a:moveTo>
                                <a:pt x="754" y="628"/>
                              </a:moveTo>
                              <a:cubicBezTo>
                                <a:pt x="754" y="628"/>
                                <a:pt x="879" y="628"/>
                                <a:pt x="754" y="628"/>
                              </a:cubicBezTo>
                              <a:cubicBezTo>
                                <a:pt x="879" y="502"/>
                                <a:pt x="879" y="377"/>
                                <a:pt x="879" y="377"/>
                              </a:cubicBezTo>
                              <a:lnTo>
                                <a:pt x="251" y="0"/>
                              </a:lnTo>
                              <a:cubicBezTo>
                                <a:pt x="125" y="0"/>
                                <a:pt x="125" y="0"/>
                                <a:pt x="0" y="0"/>
                              </a:cubicBezTo>
                              <a:cubicBezTo>
                                <a:pt x="0" y="126"/>
                                <a:pt x="0" y="126"/>
                                <a:pt x="0" y="126"/>
                              </a:cubicBezTo>
                              <a:lnTo>
                                <a:pt x="754" y="628"/>
                              </a:lnTo>
                              <a:cubicBezTo>
                                <a:pt x="754" y="628"/>
                                <a:pt x="754" y="628"/>
                                <a:pt x="754" y="628"/>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9" name="Freeform: Shape 1118">
                          <a:extLst>
                            <a:ext uri="{FF2B5EF4-FFF2-40B4-BE49-F238E27FC236}">
                              <a16:creationId xmlns:a16="http://schemas.microsoft.com/office/drawing/2014/main" id="{8D9937E4-9BF0-460B-BE64-BABFC9EB3591}"/>
                            </a:ext>
                          </a:extLst>
                        </p:cNvPr>
                        <p:cNvSpPr/>
                        <p:nvPr/>
                      </p:nvSpPr>
                      <p:spPr>
                        <a:xfrm>
                          <a:off x="3727280" y="1738835"/>
                          <a:ext cx="1004" cy="753"/>
                        </a:xfrm>
                        <a:custGeom>
                          <a:avLst/>
                          <a:gdLst>
                            <a:gd name="connsiteX0" fmla="*/ 879 w 1004"/>
                            <a:gd name="connsiteY0" fmla="*/ 754 h 753"/>
                            <a:gd name="connsiteX1" fmla="*/ 879 w 1004"/>
                            <a:gd name="connsiteY1" fmla="*/ 754 h 753"/>
                            <a:gd name="connsiteX2" fmla="*/ 1005 w 1004"/>
                            <a:gd name="connsiteY2" fmla="*/ 502 h 753"/>
                            <a:gd name="connsiteX3" fmla="*/ 251 w 1004"/>
                            <a:gd name="connsiteY3" fmla="*/ 0 h 753"/>
                            <a:gd name="connsiteX4" fmla="*/ 0 w 1004"/>
                            <a:gd name="connsiteY4" fmla="*/ 0 h 753"/>
                            <a:gd name="connsiteX5" fmla="*/ 0 w 1004"/>
                            <a:gd name="connsiteY5" fmla="*/ 251 h 753"/>
                            <a:gd name="connsiteX6" fmla="*/ 879 w 1004"/>
                            <a:gd name="connsiteY6" fmla="*/ 754 h 753"/>
                            <a:gd name="connsiteX7" fmla="*/ 879 w 1004"/>
                            <a:gd name="connsiteY7"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 h="753">
                              <a:moveTo>
                                <a:pt x="879" y="754"/>
                              </a:moveTo>
                              <a:cubicBezTo>
                                <a:pt x="879" y="754"/>
                                <a:pt x="879" y="754"/>
                                <a:pt x="879" y="754"/>
                              </a:cubicBezTo>
                              <a:cubicBezTo>
                                <a:pt x="1005" y="628"/>
                                <a:pt x="1005" y="502"/>
                                <a:pt x="1005" y="502"/>
                              </a:cubicBezTo>
                              <a:lnTo>
                                <a:pt x="251" y="0"/>
                              </a:lnTo>
                              <a:cubicBezTo>
                                <a:pt x="126" y="0"/>
                                <a:pt x="126" y="0"/>
                                <a:pt x="0" y="0"/>
                              </a:cubicBezTo>
                              <a:cubicBezTo>
                                <a:pt x="0" y="126"/>
                                <a:pt x="0" y="126"/>
                                <a:pt x="0" y="251"/>
                              </a:cubicBezTo>
                              <a:lnTo>
                                <a:pt x="879" y="754"/>
                              </a:lnTo>
                              <a:cubicBezTo>
                                <a:pt x="754" y="754"/>
                                <a:pt x="754" y="754"/>
                                <a:pt x="879" y="754"/>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0" name="Freeform: Shape 1119">
                          <a:extLst>
                            <a:ext uri="{FF2B5EF4-FFF2-40B4-BE49-F238E27FC236}">
                              <a16:creationId xmlns:a16="http://schemas.microsoft.com/office/drawing/2014/main" id="{AB8C14D1-BB25-443F-9C0E-DEAB072E52D6}"/>
                            </a:ext>
                          </a:extLst>
                        </p:cNvPr>
                        <p:cNvSpPr/>
                        <p:nvPr/>
                      </p:nvSpPr>
                      <p:spPr>
                        <a:xfrm>
                          <a:off x="3726903" y="1739463"/>
                          <a:ext cx="879" cy="627"/>
                        </a:xfrm>
                        <a:custGeom>
                          <a:avLst/>
                          <a:gdLst>
                            <a:gd name="connsiteX0" fmla="*/ 754 w 879"/>
                            <a:gd name="connsiteY0" fmla="*/ 628 h 627"/>
                            <a:gd name="connsiteX1" fmla="*/ 754 w 879"/>
                            <a:gd name="connsiteY1" fmla="*/ 628 h 627"/>
                            <a:gd name="connsiteX2" fmla="*/ 879 w 879"/>
                            <a:gd name="connsiteY2" fmla="*/ 377 h 627"/>
                            <a:gd name="connsiteX3" fmla="*/ 126 w 879"/>
                            <a:gd name="connsiteY3" fmla="*/ 0 h 627"/>
                            <a:gd name="connsiteX4" fmla="*/ 0 w 879"/>
                            <a:gd name="connsiteY4" fmla="*/ 0 h 627"/>
                            <a:gd name="connsiteX5" fmla="*/ 0 w 879"/>
                            <a:gd name="connsiteY5" fmla="*/ 126 h 627"/>
                            <a:gd name="connsiteX6" fmla="*/ 754 w 879"/>
                            <a:gd name="connsiteY6" fmla="*/ 628 h 627"/>
                            <a:gd name="connsiteX7" fmla="*/ 754 w 879"/>
                            <a:gd name="connsiteY7" fmla="*/ 628 h 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 h="627">
                              <a:moveTo>
                                <a:pt x="754" y="628"/>
                              </a:moveTo>
                              <a:cubicBezTo>
                                <a:pt x="754" y="628"/>
                                <a:pt x="879" y="628"/>
                                <a:pt x="754" y="628"/>
                              </a:cubicBezTo>
                              <a:cubicBezTo>
                                <a:pt x="879" y="502"/>
                                <a:pt x="879" y="377"/>
                                <a:pt x="879" y="377"/>
                              </a:cubicBezTo>
                              <a:lnTo>
                                <a:pt x="126" y="0"/>
                              </a:lnTo>
                              <a:cubicBezTo>
                                <a:pt x="0" y="0"/>
                                <a:pt x="0" y="0"/>
                                <a:pt x="0" y="0"/>
                              </a:cubicBezTo>
                              <a:cubicBezTo>
                                <a:pt x="0" y="126"/>
                                <a:pt x="0" y="126"/>
                                <a:pt x="0" y="126"/>
                              </a:cubicBezTo>
                              <a:lnTo>
                                <a:pt x="754" y="628"/>
                              </a:lnTo>
                              <a:cubicBezTo>
                                <a:pt x="754" y="628"/>
                                <a:pt x="754" y="628"/>
                                <a:pt x="754" y="628"/>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1" name="Freeform: Shape 1120">
                          <a:extLst>
                            <a:ext uri="{FF2B5EF4-FFF2-40B4-BE49-F238E27FC236}">
                              <a16:creationId xmlns:a16="http://schemas.microsoft.com/office/drawing/2014/main" id="{90744824-A6B4-4BCA-94BA-C74916B0523A}"/>
                            </a:ext>
                          </a:extLst>
                        </p:cNvPr>
                        <p:cNvSpPr/>
                        <p:nvPr/>
                      </p:nvSpPr>
                      <p:spPr>
                        <a:xfrm>
                          <a:off x="3726275" y="1739840"/>
                          <a:ext cx="1004" cy="753"/>
                        </a:xfrm>
                        <a:custGeom>
                          <a:avLst/>
                          <a:gdLst>
                            <a:gd name="connsiteX0" fmla="*/ 879 w 1004"/>
                            <a:gd name="connsiteY0" fmla="*/ 754 h 753"/>
                            <a:gd name="connsiteX1" fmla="*/ 879 w 1004"/>
                            <a:gd name="connsiteY1" fmla="*/ 754 h 753"/>
                            <a:gd name="connsiteX2" fmla="*/ 1005 w 1004"/>
                            <a:gd name="connsiteY2" fmla="*/ 502 h 753"/>
                            <a:gd name="connsiteX3" fmla="*/ 251 w 1004"/>
                            <a:gd name="connsiteY3" fmla="*/ 0 h 753"/>
                            <a:gd name="connsiteX4" fmla="*/ 0 w 1004"/>
                            <a:gd name="connsiteY4" fmla="*/ 0 h 753"/>
                            <a:gd name="connsiteX5" fmla="*/ 0 w 1004"/>
                            <a:gd name="connsiteY5" fmla="*/ 251 h 753"/>
                            <a:gd name="connsiteX6" fmla="*/ 879 w 1004"/>
                            <a:gd name="connsiteY6" fmla="*/ 754 h 753"/>
                            <a:gd name="connsiteX7" fmla="*/ 879 w 1004"/>
                            <a:gd name="connsiteY7"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 h="753">
                              <a:moveTo>
                                <a:pt x="879" y="754"/>
                              </a:moveTo>
                              <a:cubicBezTo>
                                <a:pt x="879" y="754"/>
                                <a:pt x="1005" y="628"/>
                                <a:pt x="879" y="754"/>
                              </a:cubicBezTo>
                              <a:cubicBezTo>
                                <a:pt x="1005" y="628"/>
                                <a:pt x="1005" y="502"/>
                                <a:pt x="1005" y="502"/>
                              </a:cubicBezTo>
                              <a:lnTo>
                                <a:pt x="251" y="0"/>
                              </a:lnTo>
                              <a:cubicBezTo>
                                <a:pt x="126" y="0"/>
                                <a:pt x="126" y="0"/>
                                <a:pt x="0" y="0"/>
                              </a:cubicBezTo>
                              <a:cubicBezTo>
                                <a:pt x="0" y="0"/>
                                <a:pt x="0" y="126"/>
                                <a:pt x="0" y="251"/>
                              </a:cubicBezTo>
                              <a:lnTo>
                                <a:pt x="879" y="754"/>
                              </a:lnTo>
                              <a:cubicBezTo>
                                <a:pt x="754" y="754"/>
                                <a:pt x="879" y="754"/>
                                <a:pt x="879" y="754"/>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22" name="Freeform: Shape 1121">
                        <a:extLst>
                          <a:ext uri="{FF2B5EF4-FFF2-40B4-BE49-F238E27FC236}">
                            <a16:creationId xmlns:a16="http://schemas.microsoft.com/office/drawing/2014/main" id="{476F2BC0-F6B7-422F-9F76-0B3F6F86B854}"/>
                          </a:ext>
                        </a:extLst>
                      </p:cNvPr>
                      <p:cNvSpPr/>
                      <p:nvPr/>
                    </p:nvSpPr>
                    <p:spPr>
                      <a:xfrm>
                        <a:off x="3725762" y="1710827"/>
                        <a:ext cx="17091" cy="13941"/>
                      </a:xfrm>
                      <a:custGeom>
                        <a:avLst/>
                        <a:gdLst>
                          <a:gd name="connsiteX0" fmla="*/ 11 w 17091"/>
                          <a:gd name="connsiteY0" fmla="*/ 11932 h 13941"/>
                          <a:gd name="connsiteX1" fmla="*/ 3276 w 17091"/>
                          <a:gd name="connsiteY1" fmla="*/ 13941 h 13941"/>
                          <a:gd name="connsiteX2" fmla="*/ 5914 w 17091"/>
                          <a:gd name="connsiteY2" fmla="*/ 12434 h 13941"/>
                          <a:gd name="connsiteX3" fmla="*/ 15458 w 17091"/>
                          <a:gd name="connsiteY3" fmla="*/ 6908 h 13941"/>
                          <a:gd name="connsiteX4" fmla="*/ 16714 w 17091"/>
                          <a:gd name="connsiteY4" fmla="*/ 4773 h 13941"/>
                          <a:gd name="connsiteX5" fmla="*/ 17091 w 17091"/>
                          <a:gd name="connsiteY5" fmla="*/ 0 h 13941"/>
                          <a:gd name="connsiteX6" fmla="*/ 7044 w 17091"/>
                          <a:gd name="connsiteY6" fmla="*/ 4773 h 13941"/>
                          <a:gd name="connsiteX7" fmla="*/ 2648 w 17091"/>
                          <a:gd name="connsiteY7" fmla="*/ 7410 h 13941"/>
                          <a:gd name="connsiteX8" fmla="*/ 11 w 17091"/>
                          <a:gd name="connsiteY8" fmla="*/ 11932 h 1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91" h="13941">
                            <a:moveTo>
                              <a:pt x="11" y="11932"/>
                            </a:moveTo>
                            <a:lnTo>
                              <a:pt x="3276" y="13941"/>
                            </a:lnTo>
                            <a:lnTo>
                              <a:pt x="5914" y="12434"/>
                            </a:lnTo>
                            <a:lnTo>
                              <a:pt x="15458" y="6908"/>
                            </a:lnTo>
                            <a:cubicBezTo>
                              <a:pt x="16212" y="6405"/>
                              <a:pt x="16714" y="5652"/>
                              <a:pt x="16714" y="4773"/>
                            </a:cubicBezTo>
                            <a:lnTo>
                              <a:pt x="17091" y="0"/>
                            </a:lnTo>
                            <a:cubicBezTo>
                              <a:pt x="13951" y="1633"/>
                              <a:pt x="10184" y="3140"/>
                              <a:pt x="7044" y="4773"/>
                            </a:cubicBezTo>
                            <a:cubicBezTo>
                              <a:pt x="5411" y="5652"/>
                              <a:pt x="3904" y="6531"/>
                              <a:pt x="2648" y="7410"/>
                            </a:cubicBezTo>
                            <a:cubicBezTo>
                              <a:pt x="890" y="8792"/>
                              <a:pt x="-115" y="10299"/>
                              <a:pt x="11" y="11932"/>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3" name="Freeform: Shape 1122">
                        <a:extLst>
                          <a:ext uri="{FF2B5EF4-FFF2-40B4-BE49-F238E27FC236}">
                            <a16:creationId xmlns:a16="http://schemas.microsoft.com/office/drawing/2014/main" id="{1F064961-136D-46C3-B734-EAA4EAEF9D6A}"/>
                          </a:ext>
                        </a:extLst>
                      </p:cNvPr>
                      <p:cNvSpPr/>
                      <p:nvPr/>
                    </p:nvSpPr>
                    <p:spPr>
                      <a:xfrm>
                        <a:off x="3725766" y="1720725"/>
                        <a:ext cx="6286" cy="16926"/>
                      </a:xfrm>
                      <a:custGeom>
                        <a:avLst/>
                        <a:gdLst>
                          <a:gd name="connsiteX0" fmla="*/ 6287 w 6286"/>
                          <a:gd name="connsiteY0" fmla="*/ 16603 h 16926"/>
                          <a:gd name="connsiteX1" fmla="*/ 5910 w 6286"/>
                          <a:gd name="connsiteY1" fmla="*/ 2285 h 16926"/>
                          <a:gd name="connsiteX2" fmla="*/ 4528 w 6286"/>
                          <a:gd name="connsiteY2" fmla="*/ 778 h 16926"/>
                          <a:gd name="connsiteX3" fmla="*/ 2016 w 6286"/>
                          <a:gd name="connsiteY3" fmla="*/ 24 h 16926"/>
                          <a:gd name="connsiteX4" fmla="*/ 7 w 6286"/>
                          <a:gd name="connsiteY4" fmla="*/ 2034 h 16926"/>
                          <a:gd name="connsiteX5" fmla="*/ 1640 w 6286"/>
                          <a:gd name="connsiteY5" fmla="*/ 16603 h 16926"/>
                          <a:gd name="connsiteX6" fmla="*/ 3900 w 6286"/>
                          <a:gd name="connsiteY6" fmla="*/ 16854 h 16926"/>
                          <a:gd name="connsiteX7" fmla="*/ 6287 w 6286"/>
                          <a:gd name="connsiteY7" fmla="*/ 16603 h 1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6" h="16926">
                            <a:moveTo>
                              <a:pt x="6287" y="16603"/>
                            </a:moveTo>
                            <a:cubicBezTo>
                              <a:pt x="6287" y="12333"/>
                              <a:pt x="6161" y="2787"/>
                              <a:pt x="5910" y="2285"/>
                            </a:cubicBezTo>
                            <a:cubicBezTo>
                              <a:pt x="5658" y="1783"/>
                              <a:pt x="5156" y="1155"/>
                              <a:pt x="4528" y="778"/>
                            </a:cubicBezTo>
                            <a:cubicBezTo>
                              <a:pt x="3775" y="275"/>
                              <a:pt x="2895" y="-101"/>
                              <a:pt x="2016" y="24"/>
                            </a:cubicBezTo>
                            <a:cubicBezTo>
                              <a:pt x="1011" y="275"/>
                              <a:pt x="132" y="1029"/>
                              <a:pt x="7" y="2034"/>
                            </a:cubicBezTo>
                            <a:cubicBezTo>
                              <a:pt x="-119" y="3039"/>
                              <a:pt x="1514" y="15975"/>
                              <a:pt x="1640" y="16603"/>
                            </a:cubicBezTo>
                            <a:cubicBezTo>
                              <a:pt x="1891" y="17231"/>
                              <a:pt x="3272" y="16728"/>
                              <a:pt x="3900" y="16854"/>
                            </a:cubicBezTo>
                            <a:lnTo>
                              <a:pt x="6287" y="16603"/>
                            </a:ln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4" name="Freeform: Shape 1123">
                        <a:extLst>
                          <a:ext uri="{FF2B5EF4-FFF2-40B4-BE49-F238E27FC236}">
                            <a16:creationId xmlns:a16="http://schemas.microsoft.com/office/drawing/2014/main" id="{9DCEE3AD-7554-4851-9A7B-AD929406773D}"/>
                          </a:ext>
                        </a:extLst>
                      </p:cNvPr>
                      <p:cNvSpPr/>
                      <p:nvPr/>
                    </p:nvSpPr>
                    <p:spPr>
                      <a:xfrm>
                        <a:off x="3727374" y="1736003"/>
                        <a:ext cx="4553" cy="2556"/>
                      </a:xfrm>
                      <a:custGeom>
                        <a:avLst/>
                        <a:gdLst>
                          <a:gd name="connsiteX0" fmla="*/ 32 w 4553"/>
                          <a:gd name="connsiteY0" fmla="*/ 1325 h 2556"/>
                          <a:gd name="connsiteX1" fmla="*/ 409 w 4553"/>
                          <a:gd name="connsiteY1" fmla="*/ 1953 h 2556"/>
                          <a:gd name="connsiteX2" fmla="*/ 534 w 4553"/>
                          <a:gd name="connsiteY2" fmla="*/ 2078 h 2556"/>
                          <a:gd name="connsiteX3" fmla="*/ 786 w 4553"/>
                          <a:gd name="connsiteY3" fmla="*/ 2204 h 2556"/>
                          <a:gd name="connsiteX4" fmla="*/ 1037 w 4553"/>
                          <a:gd name="connsiteY4" fmla="*/ 2329 h 2556"/>
                          <a:gd name="connsiteX5" fmla="*/ 3800 w 4553"/>
                          <a:gd name="connsiteY5" fmla="*/ 2204 h 2556"/>
                          <a:gd name="connsiteX6" fmla="*/ 4177 w 4553"/>
                          <a:gd name="connsiteY6" fmla="*/ 1953 h 2556"/>
                          <a:gd name="connsiteX7" fmla="*/ 4553 w 4553"/>
                          <a:gd name="connsiteY7" fmla="*/ 1325 h 2556"/>
                          <a:gd name="connsiteX8" fmla="*/ 4553 w 4553"/>
                          <a:gd name="connsiteY8" fmla="*/ 1325 h 2556"/>
                          <a:gd name="connsiteX9" fmla="*/ 3925 w 4553"/>
                          <a:gd name="connsiteY9" fmla="*/ 445 h 2556"/>
                          <a:gd name="connsiteX10" fmla="*/ 660 w 4553"/>
                          <a:gd name="connsiteY10" fmla="*/ 320 h 2556"/>
                          <a:gd name="connsiteX11" fmla="*/ 32 w 4553"/>
                          <a:gd name="connsiteY11" fmla="*/ 1325 h 2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3" h="2556">
                            <a:moveTo>
                              <a:pt x="32" y="1325"/>
                            </a:moveTo>
                            <a:cubicBezTo>
                              <a:pt x="32" y="1576"/>
                              <a:pt x="283" y="1827"/>
                              <a:pt x="409" y="1953"/>
                            </a:cubicBezTo>
                            <a:cubicBezTo>
                              <a:pt x="409" y="1953"/>
                              <a:pt x="534" y="2078"/>
                              <a:pt x="534" y="2078"/>
                            </a:cubicBezTo>
                            <a:cubicBezTo>
                              <a:pt x="660" y="2078"/>
                              <a:pt x="660" y="2204"/>
                              <a:pt x="786" y="2204"/>
                            </a:cubicBezTo>
                            <a:cubicBezTo>
                              <a:pt x="911" y="2204"/>
                              <a:pt x="911" y="2329"/>
                              <a:pt x="1037" y="2329"/>
                            </a:cubicBezTo>
                            <a:cubicBezTo>
                              <a:pt x="1916" y="2706"/>
                              <a:pt x="3046" y="2581"/>
                              <a:pt x="3800" y="2204"/>
                            </a:cubicBezTo>
                            <a:cubicBezTo>
                              <a:pt x="3925" y="2078"/>
                              <a:pt x="4051" y="2078"/>
                              <a:pt x="4177" y="1953"/>
                            </a:cubicBezTo>
                            <a:cubicBezTo>
                              <a:pt x="4428" y="1701"/>
                              <a:pt x="4428" y="1576"/>
                              <a:pt x="4553" y="1325"/>
                            </a:cubicBezTo>
                            <a:lnTo>
                              <a:pt x="4553" y="1325"/>
                            </a:lnTo>
                            <a:cubicBezTo>
                              <a:pt x="4553" y="948"/>
                              <a:pt x="4302" y="697"/>
                              <a:pt x="3925" y="445"/>
                            </a:cubicBezTo>
                            <a:cubicBezTo>
                              <a:pt x="3046" y="-57"/>
                              <a:pt x="1539" y="-183"/>
                              <a:pt x="660" y="320"/>
                            </a:cubicBezTo>
                            <a:cubicBezTo>
                              <a:pt x="157" y="571"/>
                              <a:pt x="-94" y="948"/>
                              <a:pt x="32" y="1325"/>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25" name="Graphic 4">
                      <a:extLst>
                        <a:ext uri="{FF2B5EF4-FFF2-40B4-BE49-F238E27FC236}">
                          <a16:creationId xmlns:a16="http://schemas.microsoft.com/office/drawing/2014/main" id="{84FB7ED1-A2DF-40A1-A747-5F7CF3F14040}"/>
                        </a:ext>
                      </a:extLst>
                    </p:cNvPr>
                    <p:cNvGrpSpPr/>
                    <p:nvPr/>
                  </p:nvGrpSpPr>
                  <p:grpSpPr>
                    <a:xfrm>
                      <a:off x="3718705" y="1708064"/>
                      <a:ext cx="17367" cy="31375"/>
                      <a:chOff x="3718705" y="1708064"/>
                      <a:chExt cx="17367" cy="31375"/>
                    </a:xfrm>
                    <a:solidFill>
                      <a:schemeClr val="accent1"/>
                    </a:solidFill>
                  </p:grpSpPr>
                  <p:grpSp>
                    <p:nvGrpSpPr>
                      <p:cNvPr id="1126" name="Graphic 4">
                        <a:extLst>
                          <a:ext uri="{FF2B5EF4-FFF2-40B4-BE49-F238E27FC236}">
                            <a16:creationId xmlns:a16="http://schemas.microsoft.com/office/drawing/2014/main" id="{84FB7ED1-A2DF-40A1-A747-5F7CF3F14040}"/>
                          </a:ext>
                        </a:extLst>
                      </p:cNvPr>
                      <p:cNvGrpSpPr/>
                      <p:nvPr/>
                    </p:nvGrpSpPr>
                    <p:grpSpPr>
                      <a:xfrm>
                        <a:off x="3718705" y="1733058"/>
                        <a:ext cx="7329" cy="6381"/>
                        <a:chOff x="3718705" y="1733058"/>
                        <a:chExt cx="7329" cy="6381"/>
                      </a:xfrm>
                      <a:solidFill>
                        <a:schemeClr val="accent1"/>
                      </a:solidFill>
                    </p:grpSpPr>
                    <p:sp>
                      <p:nvSpPr>
                        <p:cNvPr id="1127" name="Freeform: Shape 1126">
                          <a:extLst>
                            <a:ext uri="{FF2B5EF4-FFF2-40B4-BE49-F238E27FC236}">
                              <a16:creationId xmlns:a16="http://schemas.microsoft.com/office/drawing/2014/main" id="{77277380-C20E-4D3C-B129-13F42B5B9054}"/>
                            </a:ext>
                          </a:extLst>
                        </p:cNvPr>
                        <p:cNvSpPr/>
                        <p:nvPr/>
                      </p:nvSpPr>
                      <p:spPr>
                        <a:xfrm>
                          <a:off x="3718740" y="1733058"/>
                          <a:ext cx="7158" cy="6256"/>
                        </a:xfrm>
                        <a:custGeom>
                          <a:avLst/>
                          <a:gdLst>
                            <a:gd name="connsiteX0" fmla="*/ 0 w 7158"/>
                            <a:gd name="connsiteY0" fmla="*/ 5149 h 6256"/>
                            <a:gd name="connsiteX1" fmla="*/ 0 w 7158"/>
                            <a:gd name="connsiteY1" fmla="*/ 5275 h 6256"/>
                            <a:gd name="connsiteX2" fmla="*/ 0 w 7158"/>
                            <a:gd name="connsiteY2" fmla="*/ 5275 h 6256"/>
                            <a:gd name="connsiteX3" fmla="*/ 502 w 7158"/>
                            <a:gd name="connsiteY3" fmla="*/ 5903 h 6256"/>
                            <a:gd name="connsiteX4" fmla="*/ 2888 w 7158"/>
                            <a:gd name="connsiteY4" fmla="*/ 6029 h 6256"/>
                            <a:gd name="connsiteX5" fmla="*/ 6657 w 7158"/>
                            <a:gd name="connsiteY5" fmla="*/ 4019 h 6256"/>
                            <a:gd name="connsiteX6" fmla="*/ 7159 w 7158"/>
                            <a:gd name="connsiteY6" fmla="*/ 3265 h 6256"/>
                            <a:gd name="connsiteX7" fmla="*/ 7159 w 7158"/>
                            <a:gd name="connsiteY7" fmla="*/ 3265 h 6256"/>
                            <a:gd name="connsiteX8" fmla="*/ 7033 w 7158"/>
                            <a:gd name="connsiteY8" fmla="*/ 2512 h 6256"/>
                            <a:gd name="connsiteX9" fmla="*/ 6657 w 7158"/>
                            <a:gd name="connsiteY9" fmla="*/ 1256 h 6256"/>
                            <a:gd name="connsiteX10" fmla="*/ 6657 w 7158"/>
                            <a:gd name="connsiteY10" fmla="*/ 1256 h 6256"/>
                            <a:gd name="connsiteX11" fmla="*/ 6405 w 7158"/>
                            <a:gd name="connsiteY11" fmla="*/ 628 h 6256"/>
                            <a:gd name="connsiteX12" fmla="*/ 6405 w 7158"/>
                            <a:gd name="connsiteY12" fmla="*/ 628 h 6256"/>
                            <a:gd name="connsiteX13" fmla="*/ 6028 w 7158"/>
                            <a:gd name="connsiteY13" fmla="*/ 0 h 6256"/>
                            <a:gd name="connsiteX14" fmla="*/ 3265 w 7158"/>
                            <a:gd name="connsiteY14" fmla="*/ 377 h 6256"/>
                            <a:gd name="connsiteX15" fmla="*/ 2888 w 7158"/>
                            <a:gd name="connsiteY15" fmla="*/ 1005 h 6256"/>
                            <a:gd name="connsiteX16" fmla="*/ 2888 w 7158"/>
                            <a:gd name="connsiteY16" fmla="*/ 1005 h 6256"/>
                            <a:gd name="connsiteX17" fmla="*/ 2763 w 7158"/>
                            <a:gd name="connsiteY17" fmla="*/ 1382 h 6256"/>
                            <a:gd name="connsiteX18" fmla="*/ 2386 w 7158"/>
                            <a:gd name="connsiteY18" fmla="*/ 2135 h 6256"/>
                            <a:gd name="connsiteX19" fmla="*/ 0 w 7158"/>
                            <a:gd name="connsiteY19" fmla="*/ 4773 h 6256"/>
                            <a:gd name="connsiteX20" fmla="*/ 0 w 7158"/>
                            <a:gd name="connsiteY20" fmla="*/ 5149 h 6256"/>
                            <a:gd name="connsiteX21" fmla="*/ 1130 w 7158"/>
                            <a:gd name="connsiteY21" fmla="*/ 3768 h 6256"/>
                            <a:gd name="connsiteX22" fmla="*/ 2637 w 7158"/>
                            <a:gd name="connsiteY22" fmla="*/ 2386 h 6256"/>
                            <a:gd name="connsiteX23" fmla="*/ 3265 w 7158"/>
                            <a:gd name="connsiteY23" fmla="*/ 1507 h 6256"/>
                            <a:gd name="connsiteX24" fmla="*/ 3517 w 7158"/>
                            <a:gd name="connsiteY24" fmla="*/ 1633 h 6256"/>
                            <a:gd name="connsiteX25" fmla="*/ 2763 w 7158"/>
                            <a:gd name="connsiteY25" fmla="*/ 2637 h 6256"/>
                            <a:gd name="connsiteX26" fmla="*/ 1256 w 7158"/>
                            <a:gd name="connsiteY26" fmla="*/ 4019 h 6256"/>
                            <a:gd name="connsiteX27" fmla="*/ 1130 w 7158"/>
                            <a:gd name="connsiteY27" fmla="*/ 4019 h 6256"/>
                            <a:gd name="connsiteX28" fmla="*/ 1005 w 7158"/>
                            <a:gd name="connsiteY28" fmla="*/ 4019 h 6256"/>
                            <a:gd name="connsiteX29" fmla="*/ 1130 w 7158"/>
                            <a:gd name="connsiteY29" fmla="*/ 3768 h 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158" h="6256">
                              <a:moveTo>
                                <a:pt x="0" y="5149"/>
                              </a:moveTo>
                              <a:lnTo>
                                <a:pt x="0" y="5275"/>
                              </a:lnTo>
                              <a:lnTo>
                                <a:pt x="0" y="5275"/>
                              </a:lnTo>
                              <a:cubicBezTo>
                                <a:pt x="0" y="5526"/>
                                <a:pt x="125" y="5652"/>
                                <a:pt x="502" y="5903"/>
                              </a:cubicBezTo>
                              <a:cubicBezTo>
                                <a:pt x="1130" y="6280"/>
                                <a:pt x="2261" y="6405"/>
                                <a:pt x="2888" y="6029"/>
                              </a:cubicBezTo>
                              <a:lnTo>
                                <a:pt x="6657" y="4019"/>
                              </a:lnTo>
                              <a:cubicBezTo>
                                <a:pt x="7033" y="3768"/>
                                <a:pt x="7159" y="3517"/>
                                <a:pt x="7159" y="3265"/>
                              </a:cubicBezTo>
                              <a:lnTo>
                                <a:pt x="7159" y="3265"/>
                              </a:lnTo>
                              <a:cubicBezTo>
                                <a:pt x="7159" y="3014"/>
                                <a:pt x="7159" y="2763"/>
                                <a:pt x="7033" y="2512"/>
                              </a:cubicBezTo>
                              <a:cubicBezTo>
                                <a:pt x="6908" y="2010"/>
                                <a:pt x="6782" y="1633"/>
                                <a:pt x="6657" y="1256"/>
                              </a:cubicBezTo>
                              <a:lnTo>
                                <a:pt x="6657" y="1256"/>
                              </a:lnTo>
                              <a:cubicBezTo>
                                <a:pt x="6531" y="1005"/>
                                <a:pt x="6531" y="879"/>
                                <a:pt x="6405" y="628"/>
                              </a:cubicBezTo>
                              <a:lnTo>
                                <a:pt x="6405" y="628"/>
                              </a:lnTo>
                              <a:cubicBezTo>
                                <a:pt x="6280" y="377"/>
                                <a:pt x="6154" y="251"/>
                                <a:pt x="6028" y="0"/>
                              </a:cubicBezTo>
                              <a:lnTo>
                                <a:pt x="3265" y="377"/>
                              </a:lnTo>
                              <a:cubicBezTo>
                                <a:pt x="3014" y="502"/>
                                <a:pt x="3014" y="754"/>
                                <a:pt x="2888" y="1005"/>
                              </a:cubicBezTo>
                              <a:lnTo>
                                <a:pt x="2888" y="1005"/>
                              </a:lnTo>
                              <a:cubicBezTo>
                                <a:pt x="2888" y="1130"/>
                                <a:pt x="2888" y="1256"/>
                                <a:pt x="2763" y="1382"/>
                              </a:cubicBezTo>
                              <a:cubicBezTo>
                                <a:pt x="2637" y="1633"/>
                                <a:pt x="2637" y="2010"/>
                                <a:pt x="2386" y="2135"/>
                              </a:cubicBezTo>
                              <a:cubicBezTo>
                                <a:pt x="1256" y="2889"/>
                                <a:pt x="377" y="3893"/>
                                <a:pt x="0" y="4773"/>
                              </a:cubicBezTo>
                              <a:cubicBezTo>
                                <a:pt x="0" y="4898"/>
                                <a:pt x="0" y="5024"/>
                                <a:pt x="0" y="5149"/>
                              </a:cubicBezTo>
                              <a:close/>
                              <a:moveTo>
                                <a:pt x="1130" y="3768"/>
                              </a:moveTo>
                              <a:lnTo>
                                <a:pt x="2637" y="2386"/>
                              </a:lnTo>
                              <a:cubicBezTo>
                                <a:pt x="2888" y="2135"/>
                                <a:pt x="3265" y="1884"/>
                                <a:pt x="3265" y="1507"/>
                              </a:cubicBezTo>
                              <a:cubicBezTo>
                                <a:pt x="3391" y="1507"/>
                                <a:pt x="3391" y="1633"/>
                                <a:pt x="3517" y="1633"/>
                              </a:cubicBezTo>
                              <a:cubicBezTo>
                                <a:pt x="3391" y="2010"/>
                                <a:pt x="3140" y="2386"/>
                                <a:pt x="2763" y="2637"/>
                              </a:cubicBezTo>
                              <a:lnTo>
                                <a:pt x="1256" y="4019"/>
                              </a:lnTo>
                              <a:cubicBezTo>
                                <a:pt x="1256" y="4019"/>
                                <a:pt x="1256" y="4019"/>
                                <a:pt x="1130" y="4019"/>
                              </a:cubicBezTo>
                              <a:cubicBezTo>
                                <a:pt x="1130" y="4019"/>
                                <a:pt x="1005" y="4019"/>
                                <a:pt x="1005" y="4019"/>
                              </a:cubicBezTo>
                              <a:cubicBezTo>
                                <a:pt x="1130" y="3893"/>
                                <a:pt x="1130" y="3893"/>
                                <a:pt x="1130" y="3768"/>
                              </a:cubicBezTo>
                              <a:close/>
                            </a:path>
                          </a:pathLst>
                        </a:custGeom>
                        <a:solidFill>
                          <a:srgbClr val="004D6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8" name="Freeform: Shape 1127">
                          <a:extLst>
                            <a:ext uri="{FF2B5EF4-FFF2-40B4-BE49-F238E27FC236}">
                              <a16:creationId xmlns:a16="http://schemas.microsoft.com/office/drawing/2014/main" id="{67825D6E-2305-4ED8-8E52-0A1D9E8EBE7E}"/>
                            </a:ext>
                          </a:extLst>
                        </p:cNvPr>
                        <p:cNvSpPr/>
                        <p:nvPr/>
                      </p:nvSpPr>
                      <p:spPr>
                        <a:xfrm>
                          <a:off x="3718705" y="1735695"/>
                          <a:ext cx="7329" cy="3744"/>
                        </a:xfrm>
                        <a:custGeom>
                          <a:avLst/>
                          <a:gdLst>
                            <a:gd name="connsiteX0" fmla="*/ 35 w 7329"/>
                            <a:gd name="connsiteY0" fmla="*/ 2763 h 3744"/>
                            <a:gd name="connsiteX1" fmla="*/ 35 w 7329"/>
                            <a:gd name="connsiteY1" fmla="*/ 2763 h 3744"/>
                            <a:gd name="connsiteX2" fmla="*/ 537 w 7329"/>
                            <a:gd name="connsiteY2" fmla="*/ 3391 h 3744"/>
                            <a:gd name="connsiteX3" fmla="*/ 2924 w 7329"/>
                            <a:gd name="connsiteY3" fmla="*/ 3517 h 3744"/>
                            <a:gd name="connsiteX4" fmla="*/ 6817 w 7329"/>
                            <a:gd name="connsiteY4" fmla="*/ 1507 h 3744"/>
                            <a:gd name="connsiteX5" fmla="*/ 7320 w 7329"/>
                            <a:gd name="connsiteY5" fmla="*/ 754 h 3744"/>
                            <a:gd name="connsiteX6" fmla="*/ 7069 w 7329"/>
                            <a:gd name="connsiteY6" fmla="*/ 0 h 3744"/>
                            <a:gd name="connsiteX7" fmla="*/ 5310 w 7329"/>
                            <a:gd name="connsiteY7" fmla="*/ 1256 h 3744"/>
                            <a:gd name="connsiteX8" fmla="*/ 2673 w 7329"/>
                            <a:gd name="connsiteY8" fmla="*/ 2889 h 3744"/>
                            <a:gd name="connsiteX9" fmla="*/ 1542 w 7329"/>
                            <a:gd name="connsiteY9" fmla="*/ 3140 h 3744"/>
                            <a:gd name="connsiteX10" fmla="*/ 412 w 7329"/>
                            <a:gd name="connsiteY10" fmla="*/ 2763 h 3744"/>
                            <a:gd name="connsiteX11" fmla="*/ 161 w 7329"/>
                            <a:gd name="connsiteY11" fmla="*/ 2010 h 3744"/>
                            <a:gd name="connsiteX12" fmla="*/ 35 w 7329"/>
                            <a:gd name="connsiteY12" fmla="*/ 2763 h 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29" h="3744">
                              <a:moveTo>
                                <a:pt x="35" y="2763"/>
                              </a:moveTo>
                              <a:cubicBezTo>
                                <a:pt x="35" y="2763"/>
                                <a:pt x="35" y="2763"/>
                                <a:pt x="35" y="2763"/>
                              </a:cubicBezTo>
                              <a:cubicBezTo>
                                <a:pt x="35" y="3014"/>
                                <a:pt x="161" y="3140"/>
                                <a:pt x="537" y="3391"/>
                              </a:cubicBezTo>
                              <a:cubicBezTo>
                                <a:pt x="1166" y="3768"/>
                                <a:pt x="2296" y="3893"/>
                                <a:pt x="2924" y="3517"/>
                              </a:cubicBezTo>
                              <a:lnTo>
                                <a:pt x="6817" y="1507"/>
                              </a:lnTo>
                              <a:cubicBezTo>
                                <a:pt x="7445" y="1130"/>
                                <a:pt x="7320" y="754"/>
                                <a:pt x="7320" y="754"/>
                              </a:cubicBezTo>
                              <a:cubicBezTo>
                                <a:pt x="7320" y="502"/>
                                <a:pt x="7194" y="126"/>
                                <a:pt x="7069" y="0"/>
                              </a:cubicBezTo>
                              <a:cubicBezTo>
                                <a:pt x="7194" y="377"/>
                                <a:pt x="5812" y="754"/>
                                <a:pt x="5310" y="1256"/>
                              </a:cubicBezTo>
                              <a:cubicBezTo>
                                <a:pt x="4556" y="1884"/>
                                <a:pt x="3552" y="2512"/>
                                <a:pt x="2673" y="2889"/>
                              </a:cubicBezTo>
                              <a:cubicBezTo>
                                <a:pt x="2296" y="3014"/>
                                <a:pt x="1919" y="3140"/>
                                <a:pt x="1542" y="3140"/>
                              </a:cubicBezTo>
                              <a:cubicBezTo>
                                <a:pt x="1166" y="3140"/>
                                <a:pt x="663" y="3014"/>
                                <a:pt x="412" y="2763"/>
                              </a:cubicBezTo>
                              <a:cubicBezTo>
                                <a:pt x="286" y="2637"/>
                                <a:pt x="35" y="2386"/>
                                <a:pt x="161" y="2010"/>
                              </a:cubicBezTo>
                              <a:cubicBezTo>
                                <a:pt x="161" y="2135"/>
                                <a:pt x="-90" y="2386"/>
                                <a:pt x="35" y="2763"/>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9" name="Freeform: Shape 1128">
                          <a:extLst>
                            <a:ext uri="{FF2B5EF4-FFF2-40B4-BE49-F238E27FC236}">
                              <a16:creationId xmlns:a16="http://schemas.microsoft.com/office/drawing/2014/main" id="{49B90798-2190-46E1-9374-30C7FA17C9A1}"/>
                            </a:ext>
                          </a:extLst>
                        </p:cNvPr>
                        <p:cNvSpPr/>
                        <p:nvPr/>
                      </p:nvSpPr>
                      <p:spPr>
                        <a:xfrm>
                          <a:off x="3719870" y="1734565"/>
                          <a:ext cx="2511" cy="2511"/>
                        </a:xfrm>
                        <a:custGeom>
                          <a:avLst/>
                          <a:gdLst>
                            <a:gd name="connsiteX0" fmla="*/ 0 w 2511"/>
                            <a:gd name="connsiteY0" fmla="*/ 2512 h 2511"/>
                            <a:gd name="connsiteX1" fmla="*/ 0 w 2511"/>
                            <a:gd name="connsiteY1" fmla="*/ 2512 h 2511"/>
                            <a:gd name="connsiteX2" fmla="*/ 251 w 2511"/>
                            <a:gd name="connsiteY2" fmla="*/ 2512 h 2511"/>
                            <a:gd name="connsiteX3" fmla="*/ 1758 w 2511"/>
                            <a:gd name="connsiteY3" fmla="*/ 1130 h 2511"/>
                            <a:gd name="connsiteX4" fmla="*/ 2512 w 2511"/>
                            <a:gd name="connsiteY4" fmla="*/ 126 h 2511"/>
                            <a:gd name="connsiteX5" fmla="*/ 2261 w 2511"/>
                            <a:gd name="connsiteY5" fmla="*/ 0 h 2511"/>
                            <a:gd name="connsiteX6" fmla="*/ 1633 w 2511"/>
                            <a:gd name="connsiteY6" fmla="*/ 879 h 2511"/>
                            <a:gd name="connsiteX7" fmla="*/ 125 w 2511"/>
                            <a:gd name="connsiteY7" fmla="*/ 2261 h 2511"/>
                            <a:gd name="connsiteX8" fmla="*/ 0 w 2511"/>
                            <a:gd name="connsiteY8" fmla="*/ 2512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1" h="2511">
                              <a:moveTo>
                                <a:pt x="0" y="2512"/>
                              </a:moveTo>
                              <a:cubicBezTo>
                                <a:pt x="0" y="2512"/>
                                <a:pt x="125" y="2512"/>
                                <a:pt x="0" y="2512"/>
                              </a:cubicBezTo>
                              <a:cubicBezTo>
                                <a:pt x="125" y="2512"/>
                                <a:pt x="125" y="2512"/>
                                <a:pt x="251" y="2512"/>
                              </a:cubicBezTo>
                              <a:lnTo>
                                <a:pt x="1758" y="1130"/>
                              </a:lnTo>
                              <a:cubicBezTo>
                                <a:pt x="2010" y="879"/>
                                <a:pt x="2386" y="502"/>
                                <a:pt x="2512" y="126"/>
                              </a:cubicBezTo>
                              <a:cubicBezTo>
                                <a:pt x="2386" y="126"/>
                                <a:pt x="2386" y="0"/>
                                <a:pt x="2261" y="0"/>
                              </a:cubicBezTo>
                              <a:cubicBezTo>
                                <a:pt x="2135" y="377"/>
                                <a:pt x="1884" y="628"/>
                                <a:pt x="1633" y="879"/>
                              </a:cubicBezTo>
                              <a:lnTo>
                                <a:pt x="125" y="2261"/>
                              </a:lnTo>
                              <a:cubicBezTo>
                                <a:pt x="0" y="2386"/>
                                <a:pt x="0" y="2386"/>
                                <a:pt x="0" y="2512"/>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0" name="Freeform: Shape 1129">
                          <a:extLst>
                            <a:ext uri="{FF2B5EF4-FFF2-40B4-BE49-F238E27FC236}">
                              <a16:creationId xmlns:a16="http://schemas.microsoft.com/office/drawing/2014/main" id="{0D21B1FB-B150-46EC-BD2B-E7984399EAC2}"/>
                            </a:ext>
                          </a:extLst>
                        </p:cNvPr>
                        <p:cNvSpPr/>
                        <p:nvPr/>
                      </p:nvSpPr>
                      <p:spPr>
                        <a:xfrm>
                          <a:off x="3721628" y="1734942"/>
                          <a:ext cx="753" cy="627"/>
                        </a:xfrm>
                        <a:custGeom>
                          <a:avLst/>
                          <a:gdLst>
                            <a:gd name="connsiteX0" fmla="*/ 628 w 753"/>
                            <a:gd name="connsiteY0" fmla="*/ 628 h 627"/>
                            <a:gd name="connsiteX1" fmla="*/ 628 w 753"/>
                            <a:gd name="connsiteY1" fmla="*/ 628 h 627"/>
                            <a:gd name="connsiteX2" fmla="*/ 754 w 753"/>
                            <a:gd name="connsiteY2" fmla="*/ 377 h 627"/>
                            <a:gd name="connsiteX3" fmla="*/ 126 w 753"/>
                            <a:gd name="connsiteY3" fmla="*/ 0 h 627"/>
                            <a:gd name="connsiteX4" fmla="*/ 0 w 753"/>
                            <a:gd name="connsiteY4" fmla="*/ 0 h 627"/>
                            <a:gd name="connsiteX5" fmla="*/ 0 w 753"/>
                            <a:gd name="connsiteY5" fmla="*/ 126 h 627"/>
                            <a:gd name="connsiteX6" fmla="*/ 628 w 753"/>
                            <a:gd name="connsiteY6" fmla="*/ 628 h 627"/>
                            <a:gd name="connsiteX7" fmla="*/ 628 w 753"/>
                            <a:gd name="connsiteY7" fmla="*/ 628 h 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3" h="627">
                              <a:moveTo>
                                <a:pt x="628" y="628"/>
                              </a:moveTo>
                              <a:cubicBezTo>
                                <a:pt x="628" y="628"/>
                                <a:pt x="754" y="628"/>
                                <a:pt x="628" y="628"/>
                              </a:cubicBezTo>
                              <a:cubicBezTo>
                                <a:pt x="754" y="502"/>
                                <a:pt x="754" y="377"/>
                                <a:pt x="754" y="377"/>
                              </a:cubicBezTo>
                              <a:lnTo>
                                <a:pt x="126" y="0"/>
                              </a:lnTo>
                              <a:cubicBezTo>
                                <a:pt x="0" y="0"/>
                                <a:pt x="0" y="0"/>
                                <a:pt x="0" y="0"/>
                              </a:cubicBezTo>
                              <a:cubicBezTo>
                                <a:pt x="0" y="126"/>
                                <a:pt x="0" y="126"/>
                                <a:pt x="0" y="126"/>
                              </a:cubicBezTo>
                              <a:lnTo>
                                <a:pt x="628" y="628"/>
                              </a:lnTo>
                              <a:cubicBezTo>
                                <a:pt x="628" y="628"/>
                                <a:pt x="628" y="628"/>
                                <a:pt x="628" y="628"/>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1" name="Freeform: Shape 1130">
                          <a:extLst>
                            <a:ext uri="{FF2B5EF4-FFF2-40B4-BE49-F238E27FC236}">
                              <a16:creationId xmlns:a16="http://schemas.microsoft.com/office/drawing/2014/main" id="{4E3AEEE2-6851-4EE3-88EE-08CDD79A9F24}"/>
                            </a:ext>
                          </a:extLst>
                        </p:cNvPr>
                        <p:cNvSpPr/>
                        <p:nvPr/>
                      </p:nvSpPr>
                      <p:spPr>
                        <a:xfrm>
                          <a:off x="3721000" y="1735318"/>
                          <a:ext cx="1004" cy="753"/>
                        </a:xfrm>
                        <a:custGeom>
                          <a:avLst/>
                          <a:gdLst>
                            <a:gd name="connsiteX0" fmla="*/ 879 w 1004"/>
                            <a:gd name="connsiteY0" fmla="*/ 754 h 753"/>
                            <a:gd name="connsiteX1" fmla="*/ 879 w 1004"/>
                            <a:gd name="connsiteY1" fmla="*/ 754 h 753"/>
                            <a:gd name="connsiteX2" fmla="*/ 1005 w 1004"/>
                            <a:gd name="connsiteY2" fmla="*/ 502 h 753"/>
                            <a:gd name="connsiteX3" fmla="*/ 251 w 1004"/>
                            <a:gd name="connsiteY3" fmla="*/ 0 h 753"/>
                            <a:gd name="connsiteX4" fmla="*/ 0 w 1004"/>
                            <a:gd name="connsiteY4" fmla="*/ 0 h 753"/>
                            <a:gd name="connsiteX5" fmla="*/ 0 w 1004"/>
                            <a:gd name="connsiteY5" fmla="*/ 251 h 753"/>
                            <a:gd name="connsiteX6" fmla="*/ 879 w 1004"/>
                            <a:gd name="connsiteY6" fmla="*/ 754 h 753"/>
                            <a:gd name="connsiteX7" fmla="*/ 879 w 1004"/>
                            <a:gd name="connsiteY7"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 h="753">
                              <a:moveTo>
                                <a:pt x="879" y="754"/>
                              </a:moveTo>
                              <a:cubicBezTo>
                                <a:pt x="879" y="754"/>
                                <a:pt x="1005" y="754"/>
                                <a:pt x="879" y="754"/>
                              </a:cubicBezTo>
                              <a:cubicBezTo>
                                <a:pt x="1005" y="628"/>
                                <a:pt x="1005" y="502"/>
                                <a:pt x="1005" y="502"/>
                              </a:cubicBezTo>
                              <a:lnTo>
                                <a:pt x="251" y="0"/>
                              </a:lnTo>
                              <a:cubicBezTo>
                                <a:pt x="126" y="0"/>
                                <a:pt x="126" y="0"/>
                                <a:pt x="0" y="0"/>
                              </a:cubicBezTo>
                              <a:cubicBezTo>
                                <a:pt x="0" y="126"/>
                                <a:pt x="0" y="126"/>
                                <a:pt x="0" y="251"/>
                              </a:cubicBezTo>
                              <a:lnTo>
                                <a:pt x="879" y="754"/>
                              </a:lnTo>
                              <a:cubicBezTo>
                                <a:pt x="754" y="754"/>
                                <a:pt x="879" y="754"/>
                                <a:pt x="879" y="754"/>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2" name="Freeform: Shape 1131">
                          <a:extLst>
                            <a:ext uri="{FF2B5EF4-FFF2-40B4-BE49-F238E27FC236}">
                              <a16:creationId xmlns:a16="http://schemas.microsoft.com/office/drawing/2014/main" id="{FDF9A638-E738-4CAF-A4D2-8733525F7DCF}"/>
                            </a:ext>
                          </a:extLst>
                        </p:cNvPr>
                        <p:cNvSpPr/>
                        <p:nvPr/>
                      </p:nvSpPr>
                      <p:spPr>
                        <a:xfrm>
                          <a:off x="3720624" y="1735821"/>
                          <a:ext cx="879" cy="628"/>
                        </a:xfrm>
                        <a:custGeom>
                          <a:avLst/>
                          <a:gdLst>
                            <a:gd name="connsiteX0" fmla="*/ 754 w 879"/>
                            <a:gd name="connsiteY0" fmla="*/ 628 h 628"/>
                            <a:gd name="connsiteX1" fmla="*/ 754 w 879"/>
                            <a:gd name="connsiteY1" fmla="*/ 628 h 628"/>
                            <a:gd name="connsiteX2" fmla="*/ 879 w 879"/>
                            <a:gd name="connsiteY2" fmla="*/ 377 h 628"/>
                            <a:gd name="connsiteX3" fmla="*/ 126 w 879"/>
                            <a:gd name="connsiteY3" fmla="*/ 0 h 628"/>
                            <a:gd name="connsiteX4" fmla="*/ 0 w 879"/>
                            <a:gd name="connsiteY4" fmla="*/ 0 h 628"/>
                            <a:gd name="connsiteX5" fmla="*/ 0 w 879"/>
                            <a:gd name="connsiteY5" fmla="*/ 126 h 628"/>
                            <a:gd name="connsiteX6" fmla="*/ 754 w 879"/>
                            <a:gd name="connsiteY6" fmla="*/ 628 h 628"/>
                            <a:gd name="connsiteX7" fmla="*/ 754 w 879"/>
                            <a:gd name="connsiteY7" fmla="*/ 628 h 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 h="628">
                              <a:moveTo>
                                <a:pt x="754" y="628"/>
                              </a:moveTo>
                              <a:cubicBezTo>
                                <a:pt x="754" y="628"/>
                                <a:pt x="879" y="628"/>
                                <a:pt x="754" y="628"/>
                              </a:cubicBezTo>
                              <a:cubicBezTo>
                                <a:pt x="879" y="502"/>
                                <a:pt x="879" y="377"/>
                                <a:pt x="879" y="377"/>
                              </a:cubicBezTo>
                              <a:lnTo>
                                <a:pt x="126" y="0"/>
                              </a:lnTo>
                              <a:cubicBezTo>
                                <a:pt x="0" y="0"/>
                                <a:pt x="0" y="0"/>
                                <a:pt x="0" y="0"/>
                              </a:cubicBezTo>
                              <a:cubicBezTo>
                                <a:pt x="0" y="0"/>
                                <a:pt x="0" y="126"/>
                                <a:pt x="0" y="126"/>
                              </a:cubicBezTo>
                              <a:lnTo>
                                <a:pt x="754" y="628"/>
                              </a:lnTo>
                              <a:cubicBezTo>
                                <a:pt x="754" y="628"/>
                                <a:pt x="754" y="628"/>
                                <a:pt x="754" y="628"/>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3" name="Freeform: Shape 1132">
                          <a:extLst>
                            <a:ext uri="{FF2B5EF4-FFF2-40B4-BE49-F238E27FC236}">
                              <a16:creationId xmlns:a16="http://schemas.microsoft.com/office/drawing/2014/main" id="{4EB697C6-B3BB-4E58-926D-27062EBC6204}"/>
                            </a:ext>
                          </a:extLst>
                        </p:cNvPr>
                        <p:cNvSpPr/>
                        <p:nvPr/>
                      </p:nvSpPr>
                      <p:spPr>
                        <a:xfrm>
                          <a:off x="3719995" y="1736198"/>
                          <a:ext cx="1004" cy="753"/>
                        </a:xfrm>
                        <a:custGeom>
                          <a:avLst/>
                          <a:gdLst>
                            <a:gd name="connsiteX0" fmla="*/ 879 w 1004"/>
                            <a:gd name="connsiteY0" fmla="*/ 754 h 753"/>
                            <a:gd name="connsiteX1" fmla="*/ 879 w 1004"/>
                            <a:gd name="connsiteY1" fmla="*/ 754 h 753"/>
                            <a:gd name="connsiteX2" fmla="*/ 1005 w 1004"/>
                            <a:gd name="connsiteY2" fmla="*/ 502 h 753"/>
                            <a:gd name="connsiteX3" fmla="*/ 251 w 1004"/>
                            <a:gd name="connsiteY3" fmla="*/ 0 h 753"/>
                            <a:gd name="connsiteX4" fmla="*/ 0 w 1004"/>
                            <a:gd name="connsiteY4" fmla="*/ 0 h 753"/>
                            <a:gd name="connsiteX5" fmla="*/ 0 w 1004"/>
                            <a:gd name="connsiteY5" fmla="*/ 251 h 753"/>
                            <a:gd name="connsiteX6" fmla="*/ 879 w 1004"/>
                            <a:gd name="connsiteY6" fmla="*/ 754 h 753"/>
                            <a:gd name="connsiteX7" fmla="*/ 879 w 1004"/>
                            <a:gd name="connsiteY7"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 h="753">
                              <a:moveTo>
                                <a:pt x="879" y="754"/>
                              </a:moveTo>
                              <a:cubicBezTo>
                                <a:pt x="879" y="754"/>
                                <a:pt x="1005" y="754"/>
                                <a:pt x="879" y="754"/>
                              </a:cubicBezTo>
                              <a:cubicBezTo>
                                <a:pt x="1005" y="628"/>
                                <a:pt x="1005" y="502"/>
                                <a:pt x="1005" y="502"/>
                              </a:cubicBezTo>
                              <a:lnTo>
                                <a:pt x="251" y="0"/>
                              </a:lnTo>
                              <a:cubicBezTo>
                                <a:pt x="251" y="0"/>
                                <a:pt x="126" y="0"/>
                                <a:pt x="0" y="0"/>
                              </a:cubicBezTo>
                              <a:cubicBezTo>
                                <a:pt x="0" y="0"/>
                                <a:pt x="0" y="126"/>
                                <a:pt x="0" y="251"/>
                              </a:cubicBezTo>
                              <a:lnTo>
                                <a:pt x="879" y="754"/>
                              </a:lnTo>
                              <a:cubicBezTo>
                                <a:pt x="879" y="754"/>
                                <a:pt x="879" y="754"/>
                                <a:pt x="879" y="754"/>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34" name="Freeform: Shape 1133">
                        <a:extLst>
                          <a:ext uri="{FF2B5EF4-FFF2-40B4-BE49-F238E27FC236}">
                            <a16:creationId xmlns:a16="http://schemas.microsoft.com/office/drawing/2014/main" id="{2581A258-9D88-4FA1-95FD-C76677A82B53}"/>
                          </a:ext>
                        </a:extLst>
                      </p:cNvPr>
                      <p:cNvSpPr/>
                      <p:nvPr/>
                    </p:nvSpPr>
                    <p:spPr>
                      <a:xfrm>
                        <a:off x="3719483" y="1708064"/>
                        <a:ext cx="16589" cy="13187"/>
                      </a:xfrm>
                      <a:custGeom>
                        <a:avLst/>
                        <a:gdLst>
                          <a:gd name="connsiteX0" fmla="*/ 11 w 16589"/>
                          <a:gd name="connsiteY0" fmla="*/ 11178 h 13187"/>
                          <a:gd name="connsiteX1" fmla="*/ 3276 w 16589"/>
                          <a:gd name="connsiteY1" fmla="*/ 13187 h 13187"/>
                          <a:gd name="connsiteX2" fmla="*/ 15584 w 16589"/>
                          <a:gd name="connsiteY2" fmla="*/ 6657 h 13187"/>
                          <a:gd name="connsiteX3" fmla="*/ 16589 w 16589"/>
                          <a:gd name="connsiteY3" fmla="*/ 4019 h 13187"/>
                          <a:gd name="connsiteX4" fmla="*/ 16212 w 16589"/>
                          <a:gd name="connsiteY4" fmla="*/ 0 h 13187"/>
                          <a:gd name="connsiteX5" fmla="*/ 11 w 16589"/>
                          <a:gd name="connsiteY5" fmla="*/ 11178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89" h="13187">
                            <a:moveTo>
                              <a:pt x="11" y="11178"/>
                            </a:moveTo>
                            <a:lnTo>
                              <a:pt x="3276" y="13187"/>
                            </a:lnTo>
                            <a:lnTo>
                              <a:pt x="15584" y="6657"/>
                            </a:lnTo>
                            <a:cubicBezTo>
                              <a:pt x="16338" y="6154"/>
                              <a:pt x="16589" y="4898"/>
                              <a:pt x="16589" y="4019"/>
                            </a:cubicBezTo>
                            <a:lnTo>
                              <a:pt x="16212" y="0"/>
                            </a:lnTo>
                            <a:cubicBezTo>
                              <a:pt x="9430" y="3768"/>
                              <a:pt x="-366" y="6280"/>
                              <a:pt x="11" y="11178"/>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5" name="Freeform: Shape 1134">
                        <a:extLst>
                          <a:ext uri="{FF2B5EF4-FFF2-40B4-BE49-F238E27FC236}">
                            <a16:creationId xmlns:a16="http://schemas.microsoft.com/office/drawing/2014/main" id="{319440DF-5DA8-4585-91F2-4713230E767C}"/>
                          </a:ext>
                        </a:extLst>
                      </p:cNvPr>
                      <p:cNvSpPr/>
                      <p:nvPr/>
                    </p:nvSpPr>
                    <p:spPr>
                      <a:xfrm>
                        <a:off x="3719486" y="1717083"/>
                        <a:ext cx="6286" cy="17017"/>
                      </a:xfrm>
                      <a:custGeom>
                        <a:avLst/>
                        <a:gdLst>
                          <a:gd name="connsiteX0" fmla="*/ 6287 w 6286"/>
                          <a:gd name="connsiteY0" fmla="*/ 16603 h 17017"/>
                          <a:gd name="connsiteX1" fmla="*/ 5910 w 6286"/>
                          <a:gd name="connsiteY1" fmla="*/ 2285 h 17017"/>
                          <a:gd name="connsiteX2" fmla="*/ 4528 w 6286"/>
                          <a:gd name="connsiteY2" fmla="*/ 778 h 17017"/>
                          <a:gd name="connsiteX3" fmla="*/ 2016 w 6286"/>
                          <a:gd name="connsiteY3" fmla="*/ 24 h 17017"/>
                          <a:gd name="connsiteX4" fmla="*/ 7 w 6286"/>
                          <a:gd name="connsiteY4" fmla="*/ 2034 h 17017"/>
                          <a:gd name="connsiteX5" fmla="*/ 1640 w 6286"/>
                          <a:gd name="connsiteY5" fmla="*/ 16728 h 17017"/>
                          <a:gd name="connsiteX6" fmla="*/ 3900 w 6286"/>
                          <a:gd name="connsiteY6" fmla="*/ 16980 h 17017"/>
                          <a:gd name="connsiteX7" fmla="*/ 6287 w 6286"/>
                          <a:gd name="connsiteY7" fmla="*/ 16603 h 17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6" h="17017">
                            <a:moveTo>
                              <a:pt x="6287" y="16603"/>
                            </a:moveTo>
                            <a:cubicBezTo>
                              <a:pt x="6287" y="12333"/>
                              <a:pt x="6161" y="2787"/>
                              <a:pt x="5910" y="2285"/>
                            </a:cubicBezTo>
                            <a:cubicBezTo>
                              <a:pt x="5658" y="1783"/>
                              <a:pt x="5156" y="1155"/>
                              <a:pt x="4528" y="778"/>
                            </a:cubicBezTo>
                            <a:cubicBezTo>
                              <a:pt x="3775" y="276"/>
                              <a:pt x="2895" y="-101"/>
                              <a:pt x="2016" y="24"/>
                            </a:cubicBezTo>
                            <a:cubicBezTo>
                              <a:pt x="1011" y="276"/>
                              <a:pt x="132" y="1029"/>
                              <a:pt x="7" y="2034"/>
                            </a:cubicBezTo>
                            <a:cubicBezTo>
                              <a:pt x="-119" y="3039"/>
                              <a:pt x="1514" y="16100"/>
                              <a:pt x="1640" y="16728"/>
                            </a:cubicBezTo>
                            <a:cubicBezTo>
                              <a:pt x="1891" y="17356"/>
                              <a:pt x="3272" y="16728"/>
                              <a:pt x="3900" y="16980"/>
                            </a:cubicBezTo>
                            <a:lnTo>
                              <a:pt x="6287" y="16603"/>
                            </a:ln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6" name="Freeform: Shape 1135">
                        <a:extLst>
                          <a:ext uri="{FF2B5EF4-FFF2-40B4-BE49-F238E27FC236}">
                            <a16:creationId xmlns:a16="http://schemas.microsoft.com/office/drawing/2014/main" id="{49653274-68CE-4683-9F24-D601C276F7D7}"/>
                          </a:ext>
                        </a:extLst>
                      </p:cNvPr>
                      <p:cNvSpPr/>
                      <p:nvPr/>
                    </p:nvSpPr>
                    <p:spPr>
                      <a:xfrm>
                        <a:off x="3721154" y="1732361"/>
                        <a:ext cx="4590" cy="2649"/>
                      </a:xfrm>
                      <a:custGeom>
                        <a:avLst/>
                        <a:gdLst>
                          <a:gd name="connsiteX0" fmla="*/ 726 w 4590"/>
                          <a:gd name="connsiteY0" fmla="*/ 320 h 2649"/>
                          <a:gd name="connsiteX1" fmla="*/ 600 w 4590"/>
                          <a:gd name="connsiteY1" fmla="*/ 2204 h 2649"/>
                          <a:gd name="connsiteX2" fmla="*/ 3866 w 4590"/>
                          <a:gd name="connsiteY2" fmla="*/ 2329 h 2649"/>
                          <a:gd name="connsiteX3" fmla="*/ 3991 w 4590"/>
                          <a:gd name="connsiteY3" fmla="*/ 445 h 2649"/>
                          <a:gd name="connsiteX4" fmla="*/ 726 w 4590"/>
                          <a:gd name="connsiteY4" fmla="*/ 320 h 2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0" h="2649">
                            <a:moveTo>
                              <a:pt x="726" y="320"/>
                            </a:moveTo>
                            <a:cubicBezTo>
                              <a:pt x="-154" y="822"/>
                              <a:pt x="-279" y="1701"/>
                              <a:pt x="600" y="2204"/>
                            </a:cubicBezTo>
                            <a:cubicBezTo>
                              <a:pt x="1479" y="2706"/>
                              <a:pt x="2986" y="2832"/>
                              <a:pt x="3866" y="2329"/>
                            </a:cubicBezTo>
                            <a:cubicBezTo>
                              <a:pt x="4744" y="1827"/>
                              <a:pt x="4870" y="948"/>
                              <a:pt x="3991" y="445"/>
                            </a:cubicBezTo>
                            <a:cubicBezTo>
                              <a:pt x="3112" y="-57"/>
                              <a:pt x="1605" y="-183"/>
                              <a:pt x="726" y="320"/>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7" name="Freeform: Shape 1136">
                        <a:extLst>
                          <a:ext uri="{FF2B5EF4-FFF2-40B4-BE49-F238E27FC236}">
                            <a16:creationId xmlns:a16="http://schemas.microsoft.com/office/drawing/2014/main" id="{9861DC33-E86D-48E4-81F7-055350ABD10F}"/>
                          </a:ext>
                        </a:extLst>
                      </p:cNvPr>
                      <p:cNvSpPr/>
                      <p:nvPr/>
                    </p:nvSpPr>
                    <p:spPr>
                      <a:xfrm>
                        <a:off x="3728285" y="1713465"/>
                        <a:ext cx="4395" cy="4898"/>
                      </a:xfrm>
                      <a:custGeom>
                        <a:avLst/>
                        <a:gdLst>
                          <a:gd name="connsiteX0" fmla="*/ 0 w 4395"/>
                          <a:gd name="connsiteY0" fmla="*/ 4898 h 4898"/>
                          <a:gd name="connsiteX1" fmla="*/ 4396 w 4395"/>
                          <a:gd name="connsiteY1" fmla="*/ 2261 h 4898"/>
                          <a:gd name="connsiteX2" fmla="*/ 2638 w 4395"/>
                          <a:gd name="connsiteY2" fmla="*/ 0 h 4898"/>
                          <a:gd name="connsiteX3" fmla="*/ 2386 w 4395"/>
                          <a:gd name="connsiteY3" fmla="*/ 2386 h 4898"/>
                          <a:gd name="connsiteX4" fmla="*/ 0 w 4395"/>
                          <a:gd name="connsiteY4" fmla="*/ 4898 h 4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5" h="4898">
                            <a:moveTo>
                              <a:pt x="0" y="4898"/>
                            </a:moveTo>
                            <a:cubicBezTo>
                              <a:pt x="1130" y="3893"/>
                              <a:pt x="2763" y="3014"/>
                              <a:pt x="4396" y="2261"/>
                            </a:cubicBezTo>
                            <a:cubicBezTo>
                              <a:pt x="3391" y="1758"/>
                              <a:pt x="2889" y="1256"/>
                              <a:pt x="2638" y="0"/>
                            </a:cubicBezTo>
                            <a:cubicBezTo>
                              <a:pt x="2763" y="879"/>
                              <a:pt x="2763" y="1507"/>
                              <a:pt x="2386" y="2386"/>
                            </a:cubicBezTo>
                            <a:cubicBezTo>
                              <a:pt x="2010" y="3265"/>
                              <a:pt x="377" y="3768"/>
                              <a:pt x="0" y="4898"/>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38" name="Freeform: Shape 1137">
                      <a:extLst>
                        <a:ext uri="{FF2B5EF4-FFF2-40B4-BE49-F238E27FC236}">
                          <a16:creationId xmlns:a16="http://schemas.microsoft.com/office/drawing/2014/main" id="{942A86E3-40BF-4254-9DE4-51C6125EBB96}"/>
                        </a:ext>
                      </a:extLst>
                    </p:cNvPr>
                    <p:cNvSpPr/>
                    <p:nvPr/>
                  </p:nvSpPr>
                  <p:spPr>
                    <a:xfrm>
                      <a:off x="3727099" y="1693691"/>
                      <a:ext cx="8903" cy="11540"/>
                    </a:xfrm>
                    <a:custGeom>
                      <a:avLst/>
                      <a:gdLst>
                        <a:gd name="connsiteX0" fmla="*/ 307 w 8903"/>
                        <a:gd name="connsiteY0" fmla="*/ 8094 h 11540"/>
                        <a:gd name="connsiteX1" fmla="*/ 1061 w 8903"/>
                        <a:gd name="connsiteY1" fmla="*/ 11234 h 11540"/>
                        <a:gd name="connsiteX2" fmla="*/ 1061 w 8903"/>
                        <a:gd name="connsiteY2" fmla="*/ 11234 h 11540"/>
                        <a:gd name="connsiteX3" fmla="*/ 4201 w 8903"/>
                        <a:gd name="connsiteY3" fmla="*/ 10480 h 11540"/>
                        <a:gd name="connsiteX4" fmla="*/ 8596 w 8903"/>
                        <a:gd name="connsiteY4" fmla="*/ 3447 h 11540"/>
                        <a:gd name="connsiteX5" fmla="*/ 7843 w 8903"/>
                        <a:gd name="connsiteY5" fmla="*/ 307 h 11540"/>
                        <a:gd name="connsiteX6" fmla="*/ 7843 w 8903"/>
                        <a:gd name="connsiteY6" fmla="*/ 307 h 11540"/>
                        <a:gd name="connsiteX7" fmla="*/ 4703 w 8903"/>
                        <a:gd name="connsiteY7" fmla="*/ 1061 h 11540"/>
                        <a:gd name="connsiteX8" fmla="*/ 307 w 8903"/>
                        <a:gd name="connsiteY8" fmla="*/ 8094 h 11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3" h="11540">
                          <a:moveTo>
                            <a:pt x="307" y="8094"/>
                          </a:moveTo>
                          <a:cubicBezTo>
                            <a:pt x="-321" y="9224"/>
                            <a:pt x="56" y="10606"/>
                            <a:pt x="1061" y="11234"/>
                          </a:cubicBezTo>
                          <a:lnTo>
                            <a:pt x="1061" y="11234"/>
                          </a:lnTo>
                          <a:cubicBezTo>
                            <a:pt x="2191" y="11862"/>
                            <a:pt x="3572" y="11485"/>
                            <a:pt x="4201" y="10480"/>
                          </a:cubicBezTo>
                          <a:lnTo>
                            <a:pt x="8596" y="3447"/>
                          </a:lnTo>
                          <a:cubicBezTo>
                            <a:pt x="9224" y="2317"/>
                            <a:pt x="8848" y="935"/>
                            <a:pt x="7843" y="307"/>
                          </a:cubicBezTo>
                          <a:lnTo>
                            <a:pt x="7843" y="307"/>
                          </a:lnTo>
                          <a:cubicBezTo>
                            <a:pt x="6712" y="-321"/>
                            <a:pt x="5331" y="56"/>
                            <a:pt x="4703" y="1061"/>
                          </a:cubicBezTo>
                          <a:lnTo>
                            <a:pt x="307" y="8094"/>
                          </a:ln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9" name="Freeform: Shape 1138">
                      <a:extLst>
                        <a:ext uri="{FF2B5EF4-FFF2-40B4-BE49-F238E27FC236}">
                          <a16:creationId xmlns:a16="http://schemas.microsoft.com/office/drawing/2014/main" id="{CEF07AE7-9BBE-475A-BDF6-7104CC880AB7}"/>
                        </a:ext>
                      </a:extLst>
                    </p:cNvPr>
                    <p:cNvSpPr/>
                    <p:nvPr/>
                  </p:nvSpPr>
                  <p:spPr>
                    <a:xfrm>
                      <a:off x="3731550" y="1693173"/>
                      <a:ext cx="12810" cy="23477"/>
                    </a:xfrm>
                    <a:custGeom>
                      <a:avLst/>
                      <a:gdLst>
                        <a:gd name="connsiteX0" fmla="*/ 0 w 12810"/>
                        <a:gd name="connsiteY0" fmla="*/ 17152 h 23477"/>
                        <a:gd name="connsiteX1" fmla="*/ 2135 w 12810"/>
                        <a:gd name="connsiteY1" fmla="*/ 20794 h 23477"/>
                        <a:gd name="connsiteX2" fmla="*/ 3768 w 12810"/>
                        <a:gd name="connsiteY2" fmla="*/ 21673 h 23477"/>
                        <a:gd name="connsiteX3" fmla="*/ 6029 w 12810"/>
                        <a:gd name="connsiteY3" fmla="*/ 22929 h 23477"/>
                        <a:gd name="connsiteX4" fmla="*/ 9043 w 12810"/>
                        <a:gd name="connsiteY4" fmla="*/ 23432 h 23477"/>
                        <a:gd name="connsiteX5" fmla="*/ 12434 w 12810"/>
                        <a:gd name="connsiteY5" fmla="*/ 19287 h 23477"/>
                        <a:gd name="connsiteX6" fmla="*/ 12559 w 12810"/>
                        <a:gd name="connsiteY6" fmla="*/ 14891 h 23477"/>
                        <a:gd name="connsiteX7" fmla="*/ 12559 w 12810"/>
                        <a:gd name="connsiteY7" fmla="*/ 14640 h 23477"/>
                        <a:gd name="connsiteX8" fmla="*/ 12559 w 12810"/>
                        <a:gd name="connsiteY8" fmla="*/ 14515 h 23477"/>
                        <a:gd name="connsiteX9" fmla="*/ 12811 w 12810"/>
                        <a:gd name="connsiteY9" fmla="*/ 5221 h 23477"/>
                        <a:gd name="connsiteX10" fmla="*/ 8415 w 12810"/>
                        <a:gd name="connsiteY10" fmla="*/ 825 h 23477"/>
                        <a:gd name="connsiteX11" fmla="*/ 1005 w 12810"/>
                        <a:gd name="connsiteY11" fmla="*/ 4090 h 23477"/>
                        <a:gd name="connsiteX12" fmla="*/ 879 w 12810"/>
                        <a:gd name="connsiteY12" fmla="*/ 5472 h 23477"/>
                        <a:gd name="connsiteX13" fmla="*/ 126 w 12810"/>
                        <a:gd name="connsiteY13" fmla="*/ 16022 h 23477"/>
                        <a:gd name="connsiteX14" fmla="*/ 0 w 12810"/>
                        <a:gd name="connsiteY14" fmla="*/ 17152 h 23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10" h="23477">
                          <a:moveTo>
                            <a:pt x="0" y="17152"/>
                          </a:moveTo>
                          <a:cubicBezTo>
                            <a:pt x="0" y="18659"/>
                            <a:pt x="754" y="20041"/>
                            <a:pt x="2135" y="20794"/>
                          </a:cubicBezTo>
                          <a:lnTo>
                            <a:pt x="3768" y="21673"/>
                          </a:lnTo>
                          <a:lnTo>
                            <a:pt x="6029" y="22929"/>
                          </a:lnTo>
                          <a:cubicBezTo>
                            <a:pt x="7033" y="23432"/>
                            <a:pt x="8038" y="23557"/>
                            <a:pt x="9043" y="23432"/>
                          </a:cubicBezTo>
                          <a:cubicBezTo>
                            <a:pt x="10927" y="23055"/>
                            <a:pt x="12434" y="21422"/>
                            <a:pt x="12434" y="19287"/>
                          </a:cubicBezTo>
                          <a:lnTo>
                            <a:pt x="12559" y="14891"/>
                          </a:lnTo>
                          <a:cubicBezTo>
                            <a:pt x="12559" y="14766"/>
                            <a:pt x="12559" y="14640"/>
                            <a:pt x="12559" y="14640"/>
                          </a:cubicBezTo>
                          <a:cubicBezTo>
                            <a:pt x="12559" y="14640"/>
                            <a:pt x="12559" y="14515"/>
                            <a:pt x="12559" y="14515"/>
                          </a:cubicBezTo>
                          <a:lnTo>
                            <a:pt x="12811" y="5221"/>
                          </a:lnTo>
                          <a:cubicBezTo>
                            <a:pt x="11806" y="3588"/>
                            <a:pt x="10299" y="2081"/>
                            <a:pt x="8415" y="825"/>
                          </a:cubicBezTo>
                          <a:cubicBezTo>
                            <a:pt x="5149" y="-1185"/>
                            <a:pt x="1759" y="699"/>
                            <a:pt x="1005" y="4090"/>
                          </a:cubicBezTo>
                          <a:cubicBezTo>
                            <a:pt x="879" y="4593"/>
                            <a:pt x="879" y="4969"/>
                            <a:pt x="879" y="5472"/>
                          </a:cubicBezTo>
                          <a:lnTo>
                            <a:pt x="126" y="16022"/>
                          </a:lnTo>
                          <a:lnTo>
                            <a:pt x="0" y="17152"/>
                          </a:ln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0" name="Freeform: Shape 1139">
                      <a:extLst>
                        <a:ext uri="{FF2B5EF4-FFF2-40B4-BE49-F238E27FC236}">
                          <a16:creationId xmlns:a16="http://schemas.microsoft.com/office/drawing/2014/main" id="{80569FC7-52B6-4166-B18F-D1987A0CCD1E}"/>
                        </a:ext>
                      </a:extLst>
                    </p:cNvPr>
                    <p:cNvSpPr/>
                    <p:nvPr/>
                  </p:nvSpPr>
                  <p:spPr>
                    <a:xfrm>
                      <a:off x="3735318" y="1693197"/>
                      <a:ext cx="4427" cy="2684"/>
                    </a:xfrm>
                    <a:custGeom>
                      <a:avLst/>
                      <a:gdLst>
                        <a:gd name="connsiteX0" fmla="*/ 126 w 4427"/>
                        <a:gd name="connsiteY0" fmla="*/ 1805 h 2684"/>
                        <a:gd name="connsiteX1" fmla="*/ 628 w 4427"/>
                        <a:gd name="connsiteY1" fmla="*/ 2308 h 2684"/>
                        <a:gd name="connsiteX2" fmla="*/ 3768 w 4427"/>
                        <a:gd name="connsiteY2" fmla="*/ 2308 h 2684"/>
                        <a:gd name="connsiteX3" fmla="*/ 3768 w 4427"/>
                        <a:gd name="connsiteY3" fmla="*/ 424 h 2684"/>
                        <a:gd name="connsiteX4" fmla="*/ 3140 w 4427"/>
                        <a:gd name="connsiteY4" fmla="*/ 173 h 2684"/>
                        <a:gd name="connsiteX5" fmla="*/ 2763 w 4427"/>
                        <a:gd name="connsiteY5" fmla="*/ 47 h 2684"/>
                        <a:gd name="connsiteX6" fmla="*/ 628 w 4427"/>
                        <a:gd name="connsiteY6" fmla="*/ 424 h 2684"/>
                        <a:gd name="connsiteX7" fmla="*/ 0 w 4427"/>
                        <a:gd name="connsiteY7" fmla="*/ 1052 h 2684"/>
                        <a:gd name="connsiteX8" fmla="*/ 126 w 4427"/>
                        <a:gd name="connsiteY8" fmla="*/ 1805 h 2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7" h="2684">
                          <a:moveTo>
                            <a:pt x="126" y="1805"/>
                          </a:moveTo>
                          <a:cubicBezTo>
                            <a:pt x="251" y="2057"/>
                            <a:pt x="377" y="2182"/>
                            <a:pt x="628" y="2308"/>
                          </a:cubicBezTo>
                          <a:cubicBezTo>
                            <a:pt x="1507" y="2810"/>
                            <a:pt x="2889" y="2810"/>
                            <a:pt x="3768" y="2308"/>
                          </a:cubicBezTo>
                          <a:cubicBezTo>
                            <a:pt x="4647" y="1805"/>
                            <a:pt x="4647" y="926"/>
                            <a:pt x="3768" y="424"/>
                          </a:cubicBezTo>
                          <a:cubicBezTo>
                            <a:pt x="3517" y="298"/>
                            <a:pt x="3391" y="173"/>
                            <a:pt x="3140" y="173"/>
                          </a:cubicBezTo>
                          <a:cubicBezTo>
                            <a:pt x="3015" y="173"/>
                            <a:pt x="2889" y="173"/>
                            <a:pt x="2763" y="47"/>
                          </a:cubicBezTo>
                          <a:cubicBezTo>
                            <a:pt x="2010" y="-78"/>
                            <a:pt x="1256" y="47"/>
                            <a:pt x="628" y="424"/>
                          </a:cubicBezTo>
                          <a:cubicBezTo>
                            <a:pt x="377" y="549"/>
                            <a:pt x="126" y="801"/>
                            <a:pt x="0" y="1052"/>
                          </a:cubicBezTo>
                          <a:cubicBezTo>
                            <a:pt x="0" y="1429"/>
                            <a:pt x="0" y="1554"/>
                            <a:pt x="126" y="1805"/>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1" name="Freeform: Shape 1140">
                      <a:extLst>
                        <a:ext uri="{FF2B5EF4-FFF2-40B4-BE49-F238E27FC236}">
                          <a16:creationId xmlns:a16="http://schemas.microsoft.com/office/drawing/2014/main" id="{9729FF94-4132-4554-A296-4112B9D00E77}"/>
                        </a:ext>
                      </a:extLst>
                    </p:cNvPr>
                    <p:cNvSpPr/>
                    <p:nvPr/>
                  </p:nvSpPr>
                  <p:spPr>
                    <a:xfrm>
                      <a:off x="3735318" y="1688848"/>
                      <a:ext cx="4521" cy="5777"/>
                    </a:xfrm>
                    <a:custGeom>
                      <a:avLst/>
                      <a:gdLst>
                        <a:gd name="connsiteX0" fmla="*/ 0 w 4521"/>
                        <a:gd name="connsiteY0" fmla="*/ 0 h 5777"/>
                        <a:gd name="connsiteX1" fmla="*/ 4521 w 4521"/>
                        <a:gd name="connsiteY1" fmla="*/ 0 h 5777"/>
                        <a:gd name="connsiteX2" fmla="*/ 4521 w 4521"/>
                        <a:gd name="connsiteY2" fmla="*/ 5777 h 5777"/>
                        <a:gd name="connsiteX3" fmla="*/ 0 w 4521"/>
                        <a:gd name="connsiteY3" fmla="*/ 5777 h 5777"/>
                      </a:gdLst>
                      <a:ahLst/>
                      <a:cxnLst>
                        <a:cxn ang="0">
                          <a:pos x="connsiteX0" y="connsiteY0"/>
                        </a:cxn>
                        <a:cxn ang="0">
                          <a:pos x="connsiteX1" y="connsiteY1"/>
                        </a:cxn>
                        <a:cxn ang="0">
                          <a:pos x="connsiteX2" y="connsiteY2"/>
                        </a:cxn>
                        <a:cxn ang="0">
                          <a:pos x="connsiteX3" y="connsiteY3"/>
                        </a:cxn>
                      </a:cxnLst>
                      <a:rect l="l" t="t" r="r" b="b"/>
                      <a:pathLst>
                        <a:path w="4521" h="5777">
                          <a:moveTo>
                            <a:pt x="0" y="0"/>
                          </a:moveTo>
                          <a:lnTo>
                            <a:pt x="4521" y="0"/>
                          </a:lnTo>
                          <a:lnTo>
                            <a:pt x="4521" y="5777"/>
                          </a:lnTo>
                          <a:lnTo>
                            <a:pt x="0" y="5777"/>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2" name="Freeform: Shape 1141">
                      <a:extLst>
                        <a:ext uri="{FF2B5EF4-FFF2-40B4-BE49-F238E27FC236}">
                          <a16:creationId xmlns:a16="http://schemas.microsoft.com/office/drawing/2014/main" id="{6F1E3A7C-B2E7-4B36-877F-366DAB97BCE6}"/>
                        </a:ext>
                      </a:extLst>
                    </p:cNvPr>
                    <p:cNvSpPr/>
                    <p:nvPr/>
                  </p:nvSpPr>
                  <p:spPr>
                    <a:xfrm>
                      <a:off x="3733514" y="1684797"/>
                      <a:ext cx="5571" cy="8980"/>
                    </a:xfrm>
                    <a:custGeom>
                      <a:avLst/>
                      <a:gdLst>
                        <a:gd name="connsiteX0" fmla="*/ 5572 w 5571"/>
                        <a:gd name="connsiteY0" fmla="*/ 4428 h 8980"/>
                        <a:gd name="connsiteX1" fmla="*/ 5320 w 5571"/>
                        <a:gd name="connsiteY1" fmla="*/ 6312 h 8980"/>
                        <a:gd name="connsiteX2" fmla="*/ 4441 w 5571"/>
                        <a:gd name="connsiteY2" fmla="*/ 8071 h 8980"/>
                        <a:gd name="connsiteX3" fmla="*/ 1803 w 5571"/>
                        <a:gd name="connsiteY3" fmla="*/ 8950 h 8980"/>
                        <a:gd name="connsiteX4" fmla="*/ 1176 w 5571"/>
                        <a:gd name="connsiteY4" fmla="*/ 8699 h 8980"/>
                        <a:gd name="connsiteX5" fmla="*/ 548 w 5571"/>
                        <a:gd name="connsiteY5" fmla="*/ 7568 h 8980"/>
                        <a:gd name="connsiteX6" fmla="*/ 45 w 5571"/>
                        <a:gd name="connsiteY6" fmla="*/ 2168 h 8980"/>
                        <a:gd name="connsiteX7" fmla="*/ 171 w 5571"/>
                        <a:gd name="connsiteY7" fmla="*/ 1414 h 8980"/>
                        <a:gd name="connsiteX8" fmla="*/ 1929 w 5571"/>
                        <a:gd name="connsiteY8" fmla="*/ 33 h 8980"/>
                        <a:gd name="connsiteX9" fmla="*/ 4190 w 5571"/>
                        <a:gd name="connsiteY9" fmla="*/ 535 h 8980"/>
                        <a:gd name="connsiteX10" fmla="*/ 4692 w 5571"/>
                        <a:gd name="connsiteY10" fmla="*/ 912 h 8980"/>
                        <a:gd name="connsiteX11" fmla="*/ 5069 w 5571"/>
                        <a:gd name="connsiteY11" fmla="*/ 1414 h 8980"/>
                        <a:gd name="connsiteX12" fmla="*/ 5572 w 5571"/>
                        <a:gd name="connsiteY12" fmla="*/ 4428 h 8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71" h="8980">
                          <a:moveTo>
                            <a:pt x="5572" y="4428"/>
                          </a:moveTo>
                          <a:cubicBezTo>
                            <a:pt x="5572" y="5056"/>
                            <a:pt x="5446" y="5684"/>
                            <a:pt x="5320" y="6312"/>
                          </a:cubicBezTo>
                          <a:cubicBezTo>
                            <a:pt x="5195" y="6940"/>
                            <a:pt x="4943" y="7568"/>
                            <a:pt x="4441" y="8071"/>
                          </a:cubicBezTo>
                          <a:cubicBezTo>
                            <a:pt x="3813" y="8824"/>
                            <a:pt x="2808" y="9075"/>
                            <a:pt x="1803" y="8950"/>
                          </a:cubicBezTo>
                          <a:cubicBezTo>
                            <a:pt x="1552" y="8950"/>
                            <a:pt x="1301" y="8824"/>
                            <a:pt x="1176" y="8699"/>
                          </a:cubicBezTo>
                          <a:cubicBezTo>
                            <a:pt x="799" y="8448"/>
                            <a:pt x="673" y="8071"/>
                            <a:pt x="548" y="7568"/>
                          </a:cubicBezTo>
                          <a:cubicBezTo>
                            <a:pt x="45" y="5810"/>
                            <a:pt x="-80" y="3926"/>
                            <a:pt x="45" y="2168"/>
                          </a:cubicBezTo>
                          <a:cubicBezTo>
                            <a:pt x="45" y="1917"/>
                            <a:pt x="45" y="1665"/>
                            <a:pt x="171" y="1414"/>
                          </a:cubicBezTo>
                          <a:cubicBezTo>
                            <a:pt x="422" y="661"/>
                            <a:pt x="1176" y="158"/>
                            <a:pt x="1929" y="33"/>
                          </a:cubicBezTo>
                          <a:cubicBezTo>
                            <a:pt x="2683" y="-93"/>
                            <a:pt x="3562" y="158"/>
                            <a:pt x="4190" y="535"/>
                          </a:cubicBezTo>
                          <a:cubicBezTo>
                            <a:pt x="4441" y="661"/>
                            <a:pt x="4567" y="786"/>
                            <a:pt x="4692" y="912"/>
                          </a:cubicBezTo>
                          <a:cubicBezTo>
                            <a:pt x="4818" y="1037"/>
                            <a:pt x="4943" y="1289"/>
                            <a:pt x="5069" y="1414"/>
                          </a:cubicBezTo>
                          <a:cubicBezTo>
                            <a:pt x="5572" y="1414"/>
                            <a:pt x="5572" y="3424"/>
                            <a:pt x="5572" y="4428"/>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3" name="Freeform: Shape 1142">
                      <a:extLst>
                        <a:ext uri="{FF2B5EF4-FFF2-40B4-BE49-F238E27FC236}">
                          <a16:creationId xmlns:a16="http://schemas.microsoft.com/office/drawing/2014/main" id="{B8C4F327-1358-4EED-B1D5-41E21588F639}"/>
                        </a:ext>
                      </a:extLst>
                    </p:cNvPr>
                    <p:cNvSpPr/>
                    <p:nvPr/>
                  </p:nvSpPr>
                  <p:spPr>
                    <a:xfrm>
                      <a:off x="3733514" y="1685425"/>
                      <a:ext cx="5571" cy="8980"/>
                    </a:xfrm>
                    <a:custGeom>
                      <a:avLst/>
                      <a:gdLst>
                        <a:gd name="connsiteX0" fmla="*/ 5572 w 5571"/>
                        <a:gd name="connsiteY0" fmla="*/ 4428 h 8980"/>
                        <a:gd name="connsiteX1" fmla="*/ 5320 w 5571"/>
                        <a:gd name="connsiteY1" fmla="*/ 6312 h 8980"/>
                        <a:gd name="connsiteX2" fmla="*/ 4441 w 5571"/>
                        <a:gd name="connsiteY2" fmla="*/ 8071 h 8980"/>
                        <a:gd name="connsiteX3" fmla="*/ 1803 w 5571"/>
                        <a:gd name="connsiteY3" fmla="*/ 8950 h 8980"/>
                        <a:gd name="connsiteX4" fmla="*/ 1176 w 5571"/>
                        <a:gd name="connsiteY4" fmla="*/ 8699 h 8980"/>
                        <a:gd name="connsiteX5" fmla="*/ 548 w 5571"/>
                        <a:gd name="connsiteY5" fmla="*/ 7568 h 8980"/>
                        <a:gd name="connsiteX6" fmla="*/ 45 w 5571"/>
                        <a:gd name="connsiteY6" fmla="*/ 2168 h 8980"/>
                        <a:gd name="connsiteX7" fmla="*/ 171 w 5571"/>
                        <a:gd name="connsiteY7" fmla="*/ 1414 h 8980"/>
                        <a:gd name="connsiteX8" fmla="*/ 1929 w 5571"/>
                        <a:gd name="connsiteY8" fmla="*/ 33 h 8980"/>
                        <a:gd name="connsiteX9" fmla="*/ 4190 w 5571"/>
                        <a:gd name="connsiteY9" fmla="*/ 535 h 8980"/>
                        <a:gd name="connsiteX10" fmla="*/ 4692 w 5571"/>
                        <a:gd name="connsiteY10" fmla="*/ 912 h 8980"/>
                        <a:gd name="connsiteX11" fmla="*/ 5069 w 5571"/>
                        <a:gd name="connsiteY11" fmla="*/ 1414 h 8980"/>
                        <a:gd name="connsiteX12" fmla="*/ 5572 w 5571"/>
                        <a:gd name="connsiteY12" fmla="*/ 4428 h 8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71" h="8980">
                          <a:moveTo>
                            <a:pt x="5572" y="4428"/>
                          </a:moveTo>
                          <a:cubicBezTo>
                            <a:pt x="5572" y="5056"/>
                            <a:pt x="5446" y="5684"/>
                            <a:pt x="5320" y="6312"/>
                          </a:cubicBezTo>
                          <a:cubicBezTo>
                            <a:pt x="5195" y="6940"/>
                            <a:pt x="4943" y="7568"/>
                            <a:pt x="4441" y="8071"/>
                          </a:cubicBezTo>
                          <a:cubicBezTo>
                            <a:pt x="3813" y="8824"/>
                            <a:pt x="2808" y="9076"/>
                            <a:pt x="1803" y="8950"/>
                          </a:cubicBezTo>
                          <a:cubicBezTo>
                            <a:pt x="1552" y="8950"/>
                            <a:pt x="1301" y="8824"/>
                            <a:pt x="1176" y="8699"/>
                          </a:cubicBezTo>
                          <a:cubicBezTo>
                            <a:pt x="799" y="8448"/>
                            <a:pt x="673" y="8071"/>
                            <a:pt x="548" y="7568"/>
                          </a:cubicBezTo>
                          <a:cubicBezTo>
                            <a:pt x="45" y="5810"/>
                            <a:pt x="-80" y="3926"/>
                            <a:pt x="45" y="2168"/>
                          </a:cubicBezTo>
                          <a:cubicBezTo>
                            <a:pt x="45" y="1917"/>
                            <a:pt x="45" y="1665"/>
                            <a:pt x="171" y="1414"/>
                          </a:cubicBezTo>
                          <a:cubicBezTo>
                            <a:pt x="422" y="661"/>
                            <a:pt x="1176" y="158"/>
                            <a:pt x="1929" y="33"/>
                          </a:cubicBezTo>
                          <a:cubicBezTo>
                            <a:pt x="2683" y="-93"/>
                            <a:pt x="3562" y="158"/>
                            <a:pt x="4190" y="535"/>
                          </a:cubicBezTo>
                          <a:cubicBezTo>
                            <a:pt x="4441" y="661"/>
                            <a:pt x="4567" y="786"/>
                            <a:pt x="4692" y="912"/>
                          </a:cubicBezTo>
                          <a:cubicBezTo>
                            <a:pt x="4818" y="1037"/>
                            <a:pt x="4943" y="1289"/>
                            <a:pt x="5069" y="1414"/>
                          </a:cubicBezTo>
                          <a:cubicBezTo>
                            <a:pt x="5572" y="1540"/>
                            <a:pt x="5572" y="3549"/>
                            <a:pt x="5572" y="4428"/>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4" name="Freeform: Shape 1143">
                      <a:extLst>
                        <a:ext uri="{FF2B5EF4-FFF2-40B4-BE49-F238E27FC236}">
                          <a16:creationId xmlns:a16="http://schemas.microsoft.com/office/drawing/2014/main" id="{5AC75A98-C5C3-46F1-AD4E-8CE707BFF1B3}"/>
                        </a:ext>
                      </a:extLst>
                    </p:cNvPr>
                    <p:cNvSpPr/>
                    <p:nvPr/>
                  </p:nvSpPr>
                  <p:spPr>
                    <a:xfrm>
                      <a:off x="3735349" y="1689351"/>
                      <a:ext cx="3862" cy="5682"/>
                    </a:xfrm>
                    <a:custGeom>
                      <a:avLst/>
                      <a:gdLst>
                        <a:gd name="connsiteX0" fmla="*/ 94 w 3862"/>
                        <a:gd name="connsiteY0" fmla="*/ 5652 h 5682"/>
                        <a:gd name="connsiteX1" fmla="*/ 2732 w 3862"/>
                        <a:gd name="connsiteY1" fmla="*/ 4773 h 5682"/>
                        <a:gd name="connsiteX2" fmla="*/ 3234 w 3862"/>
                        <a:gd name="connsiteY2" fmla="*/ 4019 h 5682"/>
                        <a:gd name="connsiteX3" fmla="*/ 3611 w 3862"/>
                        <a:gd name="connsiteY3" fmla="*/ 3014 h 5682"/>
                        <a:gd name="connsiteX4" fmla="*/ 3862 w 3862"/>
                        <a:gd name="connsiteY4" fmla="*/ 1130 h 5682"/>
                        <a:gd name="connsiteX5" fmla="*/ 3862 w 3862"/>
                        <a:gd name="connsiteY5" fmla="*/ 0 h 5682"/>
                        <a:gd name="connsiteX6" fmla="*/ 3862 w 3862"/>
                        <a:gd name="connsiteY6" fmla="*/ 502 h 5682"/>
                        <a:gd name="connsiteX7" fmla="*/ 3611 w 3862"/>
                        <a:gd name="connsiteY7" fmla="*/ 2386 h 5682"/>
                        <a:gd name="connsiteX8" fmla="*/ 2857 w 3862"/>
                        <a:gd name="connsiteY8" fmla="*/ 4019 h 5682"/>
                        <a:gd name="connsiteX9" fmla="*/ 2732 w 3862"/>
                        <a:gd name="connsiteY9" fmla="*/ 4145 h 5682"/>
                        <a:gd name="connsiteX10" fmla="*/ 94 w 3862"/>
                        <a:gd name="connsiteY10" fmla="*/ 5024 h 5682"/>
                        <a:gd name="connsiteX11" fmla="*/ 94 w 3862"/>
                        <a:gd name="connsiteY11" fmla="*/ 5024 h 5682"/>
                        <a:gd name="connsiteX12" fmla="*/ 94 w 3862"/>
                        <a:gd name="connsiteY12" fmla="*/ 5652 h 5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62" h="5682">
                          <a:moveTo>
                            <a:pt x="94" y="5652"/>
                          </a:moveTo>
                          <a:cubicBezTo>
                            <a:pt x="974" y="5777"/>
                            <a:pt x="1978" y="5526"/>
                            <a:pt x="2732" y="4773"/>
                          </a:cubicBezTo>
                          <a:cubicBezTo>
                            <a:pt x="2983" y="4521"/>
                            <a:pt x="3108" y="4270"/>
                            <a:pt x="3234" y="4019"/>
                          </a:cubicBezTo>
                          <a:cubicBezTo>
                            <a:pt x="3360" y="3642"/>
                            <a:pt x="3485" y="3391"/>
                            <a:pt x="3611" y="3014"/>
                          </a:cubicBezTo>
                          <a:cubicBezTo>
                            <a:pt x="3737" y="2386"/>
                            <a:pt x="3737" y="1758"/>
                            <a:pt x="3862" y="1130"/>
                          </a:cubicBezTo>
                          <a:cubicBezTo>
                            <a:pt x="3862" y="879"/>
                            <a:pt x="3862" y="377"/>
                            <a:pt x="3862" y="0"/>
                          </a:cubicBezTo>
                          <a:cubicBezTo>
                            <a:pt x="3862" y="126"/>
                            <a:pt x="3862" y="377"/>
                            <a:pt x="3862" y="502"/>
                          </a:cubicBezTo>
                          <a:cubicBezTo>
                            <a:pt x="3862" y="1130"/>
                            <a:pt x="3737" y="1758"/>
                            <a:pt x="3611" y="2386"/>
                          </a:cubicBezTo>
                          <a:cubicBezTo>
                            <a:pt x="3485" y="3014"/>
                            <a:pt x="3234" y="3517"/>
                            <a:pt x="2857" y="4019"/>
                          </a:cubicBezTo>
                          <a:cubicBezTo>
                            <a:pt x="2857" y="4019"/>
                            <a:pt x="2857" y="4145"/>
                            <a:pt x="2732" y="4145"/>
                          </a:cubicBezTo>
                          <a:cubicBezTo>
                            <a:pt x="2104" y="4898"/>
                            <a:pt x="1099" y="5149"/>
                            <a:pt x="94" y="5024"/>
                          </a:cubicBezTo>
                          <a:cubicBezTo>
                            <a:pt x="94" y="5024"/>
                            <a:pt x="94" y="5024"/>
                            <a:pt x="94" y="5024"/>
                          </a:cubicBezTo>
                          <a:cubicBezTo>
                            <a:pt x="-31" y="5275"/>
                            <a:pt x="-31" y="5401"/>
                            <a:pt x="94" y="5652"/>
                          </a:cubicBezTo>
                          <a:close/>
                        </a:path>
                      </a:pathLst>
                    </a:custGeom>
                    <a:solidFill>
                      <a:srgbClr val="1D1D1B">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5" name="Freeform: Shape 1144">
                      <a:extLst>
                        <a:ext uri="{FF2B5EF4-FFF2-40B4-BE49-F238E27FC236}">
                          <a16:creationId xmlns:a16="http://schemas.microsoft.com/office/drawing/2014/main" id="{3DE6AF6B-E7A9-471A-A15B-BE0E6A5481A5}"/>
                        </a:ext>
                      </a:extLst>
                    </p:cNvPr>
                    <p:cNvSpPr/>
                    <p:nvPr/>
                  </p:nvSpPr>
                  <p:spPr>
                    <a:xfrm>
                      <a:off x="3733340" y="1683825"/>
                      <a:ext cx="7880" cy="9042"/>
                    </a:xfrm>
                    <a:custGeom>
                      <a:avLst/>
                      <a:gdLst>
                        <a:gd name="connsiteX0" fmla="*/ 5494 w 7880"/>
                        <a:gd name="connsiteY0" fmla="*/ 5777 h 9042"/>
                        <a:gd name="connsiteX1" fmla="*/ 6123 w 7880"/>
                        <a:gd name="connsiteY1" fmla="*/ 5401 h 9042"/>
                        <a:gd name="connsiteX2" fmla="*/ 5746 w 7880"/>
                        <a:gd name="connsiteY2" fmla="*/ 8540 h 9042"/>
                        <a:gd name="connsiteX3" fmla="*/ 5872 w 7880"/>
                        <a:gd name="connsiteY3" fmla="*/ 8917 h 9042"/>
                        <a:gd name="connsiteX4" fmla="*/ 6123 w 7880"/>
                        <a:gd name="connsiteY4" fmla="*/ 9043 h 9042"/>
                        <a:gd name="connsiteX5" fmla="*/ 7127 w 7880"/>
                        <a:gd name="connsiteY5" fmla="*/ 8415 h 9042"/>
                        <a:gd name="connsiteX6" fmla="*/ 7504 w 7880"/>
                        <a:gd name="connsiteY6" fmla="*/ 7159 h 9042"/>
                        <a:gd name="connsiteX7" fmla="*/ 7755 w 7880"/>
                        <a:gd name="connsiteY7" fmla="*/ 5526 h 9042"/>
                        <a:gd name="connsiteX8" fmla="*/ 7630 w 7880"/>
                        <a:gd name="connsiteY8" fmla="*/ 2261 h 9042"/>
                        <a:gd name="connsiteX9" fmla="*/ 5997 w 7880"/>
                        <a:gd name="connsiteY9" fmla="*/ 502 h 9042"/>
                        <a:gd name="connsiteX10" fmla="*/ 3485 w 7880"/>
                        <a:gd name="connsiteY10" fmla="*/ 0 h 9042"/>
                        <a:gd name="connsiteX11" fmla="*/ 1476 w 7880"/>
                        <a:gd name="connsiteY11" fmla="*/ 502 h 9042"/>
                        <a:gd name="connsiteX12" fmla="*/ 94 w 7880"/>
                        <a:gd name="connsiteY12" fmla="*/ 2010 h 9042"/>
                        <a:gd name="connsiteX13" fmla="*/ 94 w 7880"/>
                        <a:gd name="connsiteY13" fmla="*/ 2889 h 9042"/>
                        <a:gd name="connsiteX14" fmla="*/ 1350 w 7880"/>
                        <a:gd name="connsiteY14" fmla="*/ 3893 h 9042"/>
                        <a:gd name="connsiteX15" fmla="*/ 4239 w 7880"/>
                        <a:gd name="connsiteY15" fmla="*/ 3642 h 9042"/>
                        <a:gd name="connsiteX16" fmla="*/ 4867 w 7880"/>
                        <a:gd name="connsiteY16" fmla="*/ 3391 h 9042"/>
                        <a:gd name="connsiteX17" fmla="*/ 5369 w 7880"/>
                        <a:gd name="connsiteY17" fmla="*/ 3642 h 9042"/>
                        <a:gd name="connsiteX18" fmla="*/ 5369 w 7880"/>
                        <a:gd name="connsiteY18" fmla="*/ 4019 h 9042"/>
                        <a:gd name="connsiteX19" fmla="*/ 5494 w 7880"/>
                        <a:gd name="connsiteY19" fmla="*/ 5777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80" h="9042">
                          <a:moveTo>
                            <a:pt x="5494" y="5777"/>
                          </a:moveTo>
                          <a:cubicBezTo>
                            <a:pt x="5494" y="5777"/>
                            <a:pt x="5997" y="5526"/>
                            <a:pt x="6123" y="5401"/>
                          </a:cubicBezTo>
                          <a:cubicBezTo>
                            <a:pt x="5872" y="6405"/>
                            <a:pt x="5746" y="7536"/>
                            <a:pt x="5746" y="8540"/>
                          </a:cubicBezTo>
                          <a:cubicBezTo>
                            <a:pt x="5746" y="8666"/>
                            <a:pt x="5746" y="8792"/>
                            <a:pt x="5872" y="8917"/>
                          </a:cubicBezTo>
                          <a:cubicBezTo>
                            <a:pt x="5997" y="9043"/>
                            <a:pt x="5997" y="9043"/>
                            <a:pt x="6123" y="9043"/>
                          </a:cubicBezTo>
                          <a:cubicBezTo>
                            <a:pt x="6499" y="9043"/>
                            <a:pt x="6876" y="8792"/>
                            <a:pt x="7127" y="8415"/>
                          </a:cubicBezTo>
                          <a:cubicBezTo>
                            <a:pt x="7379" y="8038"/>
                            <a:pt x="7379" y="7661"/>
                            <a:pt x="7504" y="7159"/>
                          </a:cubicBezTo>
                          <a:cubicBezTo>
                            <a:pt x="7630" y="6657"/>
                            <a:pt x="7630" y="6154"/>
                            <a:pt x="7755" y="5526"/>
                          </a:cubicBezTo>
                          <a:cubicBezTo>
                            <a:pt x="7881" y="4521"/>
                            <a:pt x="8007" y="3265"/>
                            <a:pt x="7630" y="2261"/>
                          </a:cubicBezTo>
                          <a:cubicBezTo>
                            <a:pt x="7253" y="1507"/>
                            <a:pt x="6751" y="879"/>
                            <a:pt x="5997" y="502"/>
                          </a:cubicBezTo>
                          <a:cubicBezTo>
                            <a:pt x="5243" y="126"/>
                            <a:pt x="4364" y="0"/>
                            <a:pt x="3485" y="0"/>
                          </a:cubicBezTo>
                          <a:cubicBezTo>
                            <a:pt x="2732" y="0"/>
                            <a:pt x="2104" y="126"/>
                            <a:pt x="1476" y="502"/>
                          </a:cubicBezTo>
                          <a:cubicBezTo>
                            <a:pt x="848" y="879"/>
                            <a:pt x="345" y="1382"/>
                            <a:pt x="94" y="2010"/>
                          </a:cubicBezTo>
                          <a:cubicBezTo>
                            <a:pt x="-31" y="2261"/>
                            <a:pt x="-31" y="2637"/>
                            <a:pt x="94" y="2889"/>
                          </a:cubicBezTo>
                          <a:cubicBezTo>
                            <a:pt x="220" y="3391"/>
                            <a:pt x="848" y="3768"/>
                            <a:pt x="1350" y="3893"/>
                          </a:cubicBezTo>
                          <a:cubicBezTo>
                            <a:pt x="2355" y="4145"/>
                            <a:pt x="3360" y="4019"/>
                            <a:pt x="4239" y="3642"/>
                          </a:cubicBezTo>
                          <a:cubicBezTo>
                            <a:pt x="4364" y="3517"/>
                            <a:pt x="4616" y="3517"/>
                            <a:pt x="4867" y="3391"/>
                          </a:cubicBezTo>
                          <a:cubicBezTo>
                            <a:pt x="5118" y="3391"/>
                            <a:pt x="5243" y="3391"/>
                            <a:pt x="5369" y="3642"/>
                          </a:cubicBezTo>
                          <a:cubicBezTo>
                            <a:pt x="5369" y="3768"/>
                            <a:pt x="5369" y="3893"/>
                            <a:pt x="5369" y="4019"/>
                          </a:cubicBezTo>
                          <a:cubicBezTo>
                            <a:pt x="5494" y="4521"/>
                            <a:pt x="5369" y="5777"/>
                            <a:pt x="5494" y="5777"/>
                          </a:cubicBezTo>
                          <a:close/>
                        </a:path>
                      </a:pathLst>
                    </a:custGeom>
                    <a:solidFill>
                      <a:srgbClr val="3C3C3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6" name="Freeform: Shape 1145">
                      <a:extLst>
                        <a:ext uri="{FF2B5EF4-FFF2-40B4-BE49-F238E27FC236}">
                          <a16:creationId xmlns:a16="http://schemas.microsoft.com/office/drawing/2014/main" id="{3638F23B-918F-48F7-AAB9-EAE77F5E41FA}"/>
                        </a:ext>
                      </a:extLst>
                    </p:cNvPr>
                    <p:cNvSpPr/>
                    <p:nvPr/>
                  </p:nvSpPr>
                  <p:spPr>
                    <a:xfrm>
                      <a:off x="3738653" y="1688848"/>
                      <a:ext cx="1060" cy="2689"/>
                    </a:xfrm>
                    <a:custGeom>
                      <a:avLst/>
                      <a:gdLst>
                        <a:gd name="connsiteX0" fmla="*/ 809 w 1060"/>
                        <a:gd name="connsiteY0" fmla="*/ 0 h 2689"/>
                        <a:gd name="connsiteX1" fmla="*/ 307 w 1060"/>
                        <a:gd name="connsiteY1" fmla="*/ 377 h 2689"/>
                        <a:gd name="connsiteX2" fmla="*/ 56 w 1060"/>
                        <a:gd name="connsiteY2" fmla="*/ 1256 h 2689"/>
                        <a:gd name="connsiteX3" fmla="*/ 56 w 1060"/>
                        <a:gd name="connsiteY3" fmla="*/ 2386 h 2689"/>
                        <a:gd name="connsiteX4" fmla="*/ 181 w 1060"/>
                        <a:gd name="connsiteY4" fmla="*/ 2637 h 2689"/>
                        <a:gd name="connsiteX5" fmla="*/ 558 w 1060"/>
                        <a:gd name="connsiteY5" fmla="*/ 2512 h 2689"/>
                        <a:gd name="connsiteX6" fmla="*/ 809 w 1060"/>
                        <a:gd name="connsiteY6" fmla="*/ 2135 h 2689"/>
                        <a:gd name="connsiteX7" fmla="*/ 1060 w 1060"/>
                        <a:gd name="connsiteY7" fmla="*/ 879 h 2689"/>
                        <a:gd name="connsiteX8" fmla="*/ 1060 w 1060"/>
                        <a:gd name="connsiteY8" fmla="*/ 377 h 2689"/>
                        <a:gd name="connsiteX9" fmla="*/ 809 w 1060"/>
                        <a:gd name="connsiteY9" fmla="*/ 0 h 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0" h="2689">
                          <a:moveTo>
                            <a:pt x="809" y="0"/>
                          </a:moveTo>
                          <a:cubicBezTo>
                            <a:pt x="558" y="0"/>
                            <a:pt x="307" y="126"/>
                            <a:pt x="307" y="377"/>
                          </a:cubicBezTo>
                          <a:cubicBezTo>
                            <a:pt x="181" y="628"/>
                            <a:pt x="181" y="879"/>
                            <a:pt x="56" y="1256"/>
                          </a:cubicBezTo>
                          <a:cubicBezTo>
                            <a:pt x="56" y="1633"/>
                            <a:pt x="-70" y="2010"/>
                            <a:pt x="56" y="2386"/>
                          </a:cubicBezTo>
                          <a:cubicBezTo>
                            <a:pt x="56" y="2512"/>
                            <a:pt x="181" y="2512"/>
                            <a:pt x="181" y="2637"/>
                          </a:cubicBezTo>
                          <a:cubicBezTo>
                            <a:pt x="307" y="2763"/>
                            <a:pt x="558" y="2637"/>
                            <a:pt x="558" y="2512"/>
                          </a:cubicBezTo>
                          <a:cubicBezTo>
                            <a:pt x="558" y="2386"/>
                            <a:pt x="684" y="2261"/>
                            <a:pt x="809" y="2135"/>
                          </a:cubicBezTo>
                          <a:cubicBezTo>
                            <a:pt x="935" y="1758"/>
                            <a:pt x="1060" y="1382"/>
                            <a:pt x="1060" y="879"/>
                          </a:cubicBezTo>
                          <a:cubicBezTo>
                            <a:pt x="1060" y="754"/>
                            <a:pt x="1060" y="502"/>
                            <a:pt x="1060" y="377"/>
                          </a:cubicBezTo>
                          <a:cubicBezTo>
                            <a:pt x="1060" y="126"/>
                            <a:pt x="935" y="0"/>
                            <a:pt x="809" y="0"/>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7" name="Freeform: Shape 1146">
                      <a:extLst>
                        <a:ext uri="{FF2B5EF4-FFF2-40B4-BE49-F238E27FC236}">
                          <a16:creationId xmlns:a16="http://schemas.microsoft.com/office/drawing/2014/main" id="{33E3F24D-1CFD-414A-BAE4-19DFBAAA9A91}"/>
                        </a:ext>
                      </a:extLst>
                    </p:cNvPr>
                    <p:cNvSpPr/>
                    <p:nvPr/>
                  </p:nvSpPr>
                  <p:spPr>
                    <a:xfrm>
                      <a:off x="3734062" y="1691437"/>
                      <a:ext cx="1632" cy="1687"/>
                    </a:xfrm>
                    <a:custGeom>
                      <a:avLst/>
                      <a:gdLst>
                        <a:gd name="connsiteX0" fmla="*/ 502 w 1632"/>
                        <a:gd name="connsiteY0" fmla="*/ 49 h 1687"/>
                        <a:gd name="connsiteX1" fmla="*/ 1130 w 1632"/>
                        <a:gd name="connsiteY1" fmla="*/ 426 h 1687"/>
                        <a:gd name="connsiteX2" fmla="*/ 1632 w 1632"/>
                        <a:gd name="connsiteY2" fmla="*/ 1305 h 1687"/>
                        <a:gd name="connsiteX3" fmla="*/ 1130 w 1632"/>
                        <a:gd name="connsiteY3" fmla="*/ 1556 h 1687"/>
                        <a:gd name="connsiteX4" fmla="*/ 502 w 1632"/>
                        <a:gd name="connsiteY4" fmla="*/ 1180 h 1687"/>
                        <a:gd name="connsiteX5" fmla="*/ 0 w 1632"/>
                        <a:gd name="connsiteY5" fmla="*/ 300 h 1687"/>
                        <a:gd name="connsiteX6" fmla="*/ 502 w 1632"/>
                        <a:gd name="connsiteY6" fmla="*/ 49 h 1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1687">
                          <a:moveTo>
                            <a:pt x="502" y="49"/>
                          </a:moveTo>
                          <a:lnTo>
                            <a:pt x="1130" y="426"/>
                          </a:lnTo>
                          <a:cubicBezTo>
                            <a:pt x="1381" y="552"/>
                            <a:pt x="1632" y="928"/>
                            <a:pt x="1632" y="1305"/>
                          </a:cubicBezTo>
                          <a:cubicBezTo>
                            <a:pt x="1632" y="1682"/>
                            <a:pt x="1381" y="1808"/>
                            <a:pt x="1130" y="1556"/>
                          </a:cubicBezTo>
                          <a:lnTo>
                            <a:pt x="502" y="1180"/>
                          </a:lnTo>
                          <a:cubicBezTo>
                            <a:pt x="251" y="1054"/>
                            <a:pt x="0" y="677"/>
                            <a:pt x="0" y="300"/>
                          </a:cubicBezTo>
                          <a:cubicBezTo>
                            <a:pt x="0" y="49"/>
                            <a:pt x="251" y="-76"/>
                            <a:pt x="502" y="49"/>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8" name="Freeform: Shape 1147">
                      <a:extLst>
                        <a:ext uri="{FF2B5EF4-FFF2-40B4-BE49-F238E27FC236}">
                          <a16:creationId xmlns:a16="http://schemas.microsoft.com/office/drawing/2014/main" id="{F2675505-0C2A-487A-BF8F-9813FA2A4364}"/>
                        </a:ext>
                      </a:extLst>
                    </p:cNvPr>
                    <p:cNvSpPr/>
                    <p:nvPr/>
                  </p:nvSpPr>
                  <p:spPr>
                    <a:xfrm>
                      <a:off x="3733687" y="1687341"/>
                      <a:ext cx="5544" cy="7284"/>
                    </a:xfrm>
                    <a:custGeom>
                      <a:avLst/>
                      <a:gdLst>
                        <a:gd name="connsiteX0" fmla="*/ 2385 w 5544"/>
                        <a:gd name="connsiteY0" fmla="*/ 7284 h 7284"/>
                        <a:gd name="connsiteX1" fmla="*/ 4771 w 5544"/>
                        <a:gd name="connsiteY1" fmla="*/ 5777 h 7284"/>
                        <a:gd name="connsiteX2" fmla="*/ 5399 w 5544"/>
                        <a:gd name="connsiteY2" fmla="*/ 1507 h 7284"/>
                        <a:gd name="connsiteX3" fmla="*/ 5525 w 5544"/>
                        <a:gd name="connsiteY3" fmla="*/ 1130 h 7284"/>
                        <a:gd name="connsiteX4" fmla="*/ 4771 w 5544"/>
                        <a:gd name="connsiteY4" fmla="*/ 0 h 7284"/>
                        <a:gd name="connsiteX5" fmla="*/ 4771 w 5544"/>
                        <a:gd name="connsiteY5" fmla="*/ 2135 h 7284"/>
                        <a:gd name="connsiteX6" fmla="*/ 4646 w 5544"/>
                        <a:gd name="connsiteY6" fmla="*/ 3391 h 7284"/>
                        <a:gd name="connsiteX7" fmla="*/ 4143 w 5544"/>
                        <a:gd name="connsiteY7" fmla="*/ 4521 h 7284"/>
                        <a:gd name="connsiteX8" fmla="*/ 1757 w 5544"/>
                        <a:gd name="connsiteY8" fmla="*/ 4019 h 7284"/>
                        <a:gd name="connsiteX9" fmla="*/ 124 w 5544"/>
                        <a:gd name="connsiteY9" fmla="*/ 3140 h 7284"/>
                        <a:gd name="connsiteX10" fmla="*/ 2385 w 5544"/>
                        <a:gd name="connsiteY10" fmla="*/ 7284 h 7284"/>
                        <a:gd name="connsiteX11" fmla="*/ 627 w 5544"/>
                        <a:gd name="connsiteY11" fmla="*/ 5149 h 7284"/>
                        <a:gd name="connsiteX12" fmla="*/ 376 w 5544"/>
                        <a:gd name="connsiteY12" fmla="*/ 4521 h 7284"/>
                        <a:gd name="connsiteX13" fmla="*/ 878 w 5544"/>
                        <a:gd name="connsiteY13" fmla="*/ 4270 h 7284"/>
                        <a:gd name="connsiteX14" fmla="*/ 1506 w 5544"/>
                        <a:gd name="connsiteY14" fmla="*/ 4647 h 7284"/>
                        <a:gd name="connsiteX15" fmla="*/ 2008 w 5544"/>
                        <a:gd name="connsiteY15" fmla="*/ 5526 h 7284"/>
                        <a:gd name="connsiteX16" fmla="*/ 1506 w 5544"/>
                        <a:gd name="connsiteY16" fmla="*/ 5777 h 7284"/>
                        <a:gd name="connsiteX17" fmla="*/ 1506 w 5544"/>
                        <a:gd name="connsiteY17" fmla="*/ 5777 h 7284"/>
                        <a:gd name="connsiteX18" fmla="*/ 1380 w 5544"/>
                        <a:gd name="connsiteY18" fmla="*/ 5526 h 7284"/>
                        <a:gd name="connsiteX19" fmla="*/ 1380 w 5544"/>
                        <a:gd name="connsiteY19" fmla="*/ 5401 h 7284"/>
                        <a:gd name="connsiteX20" fmla="*/ 1129 w 5544"/>
                        <a:gd name="connsiteY20" fmla="*/ 5024 h 7284"/>
                        <a:gd name="connsiteX21" fmla="*/ 878 w 5544"/>
                        <a:gd name="connsiteY21" fmla="*/ 4898 h 7284"/>
                        <a:gd name="connsiteX22" fmla="*/ 627 w 5544"/>
                        <a:gd name="connsiteY22" fmla="*/ 5024 h 7284"/>
                        <a:gd name="connsiteX23" fmla="*/ 627 w 5544"/>
                        <a:gd name="connsiteY23" fmla="*/ 5024 h 7284"/>
                        <a:gd name="connsiteX24" fmla="*/ 627 w 5544"/>
                        <a:gd name="connsiteY24" fmla="*/ 5149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544" h="7284">
                          <a:moveTo>
                            <a:pt x="2385" y="7284"/>
                          </a:moveTo>
                          <a:cubicBezTo>
                            <a:pt x="3390" y="7284"/>
                            <a:pt x="4394" y="6657"/>
                            <a:pt x="4771" y="5777"/>
                          </a:cubicBezTo>
                          <a:cubicBezTo>
                            <a:pt x="5274" y="4898"/>
                            <a:pt x="5399" y="2135"/>
                            <a:pt x="5399" y="1507"/>
                          </a:cubicBezTo>
                          <a:cubicBezTo>
                            <a:pt x="5399" y="1382"/>
                            <a:pt x="5399" y="1256"/>
                            <a:pt x="5525" y="1130"/>
                          </a:cubicBezTo>
                          <a:cubicBezTo>
                            <a:pt x="5650" y="754"/>
                            <a:pt x="5148" y="251"/>
                            <a:pt x="4771" y="0"/>
                          </a:cubicBezTo>
                          <a:cubicBezTo>
                            <a:pt x="4771" y="754"/>
                            <a:pt x="4771" y="1507"/>
                            <a:pt x="4771" y="2135"/>
                          </a:cubicBezTo>
                          <a:cubicBezTo>
                            <a:pt x="4771" y="2512"/>
                            <a:pt x="4771" y="3014"/>
                            <a:pt x="4646" y="3391"/>
                          </a:cubicBezTo>
                          <a:cubicBezTo>
                            <a:pt x="4520" y="3768"/>
                            <a:pt x="4394" y="4270"/>
                            <a:pt x="4143" y="4521"/>
                          </a:cubicBezTo>
                          <a:cubicBezTo>
                            <a:pt x="3264" y="5149"/>
                            <a:pt x="2510" y="4647"/>
                            <a:pt x="1757" y="4019"/>
                          </a:cubicBezTo>
                          <a:cubicBezTo>
                            <a:pt x="1254" y="3642"/>
                            <a:pt x="250" y="3391"/>
                            <a:pt x="124" y="3140"/>
                          </a:cubicBezTo>
                          <a:cubicBezTo>
                            <a:pt x="-127" y="3014"/>
                            <a:pt x="-253" y="7159"/>
                            <a:pt x="2385" y="7284"/>
                          </a:cubicBezTo>
                          <a:close/>
                          <a:moveTo>
                            <a:pt x="627" y="5149"/>
                          </a:moveTo>
                          <a:cubicBezTo>
                            <a:pt x="501" y="4898"/>
                            <a:pt x="376" y="4773"/>
                            <a:pt x="376" y="4521"/>
                          </a:cubicBezTo>
                          <a:cubicBezTo>
                            <a:pt x="376" y="4145"/>
                            <a:pt x="627" y="4019"/>
                            <a:pt x="878" y="4270"/>
                          </a:cubicBezTo>
                          <a:lnTo>
                            <a:pt x="1506" y="4647"/>
                          </a:lnTo>
                          <a:cubicBezTo>
                            <a:pt x="1757" y="4773"/>
                            <a:pt x="2008" y="5275"/>
                            <a:pt x="2008" y="5526"/>
                          </a:cubicBezTo>
                          <a:cubicBezTo>
                            <a:pt x="2008" y="5903"/>
                            <a:pt x="1757" y="6029"/>
                            <a:pt x="1506" y="5777"/>
                          </a:cubicBezTo>
                          <a:lnTo>
                            <a:pt x="1506" y="5777"/>
                          </a:lnTo>
                          <a:cubicBezTo>
                            <a:pt x="1380" y="5777"/>
                            <a:pt x="1380" y="5652"/>
                            <a:pt x="1380" y="5526"/>
                          </a:cubicBezTo>
                          <a:lnTo>
                            <a:pt x="1380" y="5401"/>
                          </a:lnTo>
                          <a:cubicBezTo>
                            <a:pt x="1380" y="5275"/>
                            <a:pt x="1254" y="5149"/>
                            <a:pt x="1129" y="5024"/>
                          </a:cubicBezTo>
                          <a:lnTo>
                            <a:pt x="878" y="4898"/>
                          </a:lnTo>
                          <a:cubicBezTo>
                            <a:pt x="752" y="4898"/>
                            <a:pt x="627" y="4898"/>
                            <a:pt x="627" y="5024"/>
                          </a:cubicBezTo>
                          <a:lnTo>
                            <a:pt x="627" y="5024"/>
                          </a:lnTo>
                          <a:cubicBezTo>
                            <a:pt x="752" y="5149"/>
                            <a:pt x="752" y="5275"/>
                            <a:pt x="627" y="5149"/>
                          </a:cubicBezTo>
                          <a:close/>
                        </a:path>
                      </a:pathLst>
                    </a:custGeom>
                    <a:solidFill>
                      <a:srgbClr val="3C3C3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9" name="Freeform: Shape 1148">
                      <a:extLst>
                        <a:ext uri="{FF2B5EF4-FFF2-40B4-BE49-F238E27FC236}">
                          <a16:creationId xmlns:a16="http://schemas.microsoft.com/office/drawing/2014/main" id="{8701EA9E-4FAF-4A7B-8996-52E75474ABF4}"/>
                        </a:ext>
                      </a:extLst>
                    </p:cNvPr>
                    <p:cNvSpPr/>
                    <p:nvPr/>
                  </p:nvSpPr>
                  <p:spPr>
                    <a:xfrm>
                      <a:off x="3732053" y="1699022"/>
                      <a:ext cx="10424" cy="7855"/>
                    </a:xfrm>
                    <a:custGeom>
                      <a:avLst/>
                      <a:gdLst>
                        <a:gd name="connsiteX0" fmla="*/ 0 w 10424"/>
                        <a:gd name="connsiteY0" fmla="*/ 4019 h 7855"/>
                        <a:gd name="connsiteX1" fmla="*/ 2135 w 10424"/>
                        <a:gd name="connsiteY1" fmla="*/ 5526 h 7855"/>
                        <a:gd name="connsiteX2" fmla="*/ 5903 w 10424"/>
                        <a:gd name="connsiteY2" fmla="*/ 7410 h 7855"/>
                        <a:gd name="connsiteX3" fmla="*/ 10047 w 10424"/>
                        <a:gd name="connsiteY3" fmla="*/ 7536 h 7855"/>
                        <a:gd name="connsiteX4" fmla="*/ 10424 w 10424"/>
                        <a:gd name="connsiteY4" fmla="*/ 4521 h 7855"/>
                        <a:gd name="connsiteX5" fmla="*/ 7536 w 10424"/>
                        <a:gd name="connsiteY5" fmla="*/ 4521 h 7855"/>
                        <a:gd name="connsiteX6" fmla="*/ 6154 w 10424"/>
                        <a:gd name="connsiteY6" fmla="*/ 3893 h 7855"/>
                        <a:gd name="connsiteX7" fmla="*/ 4773 w 10424"/>
                        <a:gd name="connsiteY7" fmla="*/ 3265 h 7855"/>
                        <a:gd name="connsiteX8" fmla="*/ 1758 w 10424"/>
                        <a:gd name="connsiteY8" fmla="*/ 1633 h 7855"/>
                        <a:gd name="connsiteX9" fmla="*/ 251 w 10424"/>
                        <a:gd name="connsiteY9" fmla="*/ 0 h 7855"/>
                        <a:gd name="connsiteX10" fmla="*/ 0 w 10424"/>
                        <a:gd name="connsiteY10" fmla="*/ 4019 h 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424" h="7855">
                          <a:moveTo>
                            <a:pt x="0" y="4019"/>
                          </a:moveTo>
                          <a:cubicBezTo>
                            <a:pt x="628" y="4521"/>
                            <a:pt x="1381" y="5024"/>
                            <a:pt x="2135" y="5526"/>
                          </a:cubicBezTo>
                          <a:cubicBezTo>
                            <a:pt x="3391" y="6280"/>
                            <a:pt x="4521" y="7033"/>
                            <a:pt x="5903" y="7410"/>
                          </a:cubicBezTo>
                          <a:cubicBezTo>
                            <a:pt x="7284" y="7912"/>
                            <a:pt x="8666" y="8038"/>
                            <a:pt x="10047" y="7536"/>
                          </a:cubicBezTo>
                          <a:cubicBezTo>
                            <a:pt x="10047" y="6531"/>
                            <a:pt x="10173" y="5526"/>
                            <a:pt x="10424" y="4521"/>
                          </a:cubicBezTo>
                          <a:cubicBezTo>
                            <a:pt x="9545" y="4773"/>
                            <a:pt x="8540" y="4773"/>
                            <a:pt x="7536" y="4521"/>
                          </a:cubicBezTo>
                          <a:cubicBezTo>
                            <a:pt x="7033" y="4396"/>
                            <a:pt x="6531" y="4145"/>
                            <a:pt x="6154" y="3893"/>
                          </a:cubicBezTo>
                          <a:cubicBezTo>
                            <a:pt x="5652" y="3642"/>
                            <a:pt x="5149" y="3391"/>
                            <a:pt x="4773" y="3265"/>
                          </a:cubicBezTo>
                          <a:cubicBezTo>
                            <a:pt x="3768" y="2763"/>
                            <a:pt x="2637" y="2261"/>
                            <a:pt x="1758" y="1633"/>
                          </a:cubicBezTo>
                          <a:cubicBezTo>
                            <a:pt x="1130" y="1130"/>
                            <a:pt x="628" y="628"/>
                            <a:pt x="251" y="0"/>
                          </a:cubicBezTo>
                          <a:lnTo>
                            <a:pt x="0" y="4019"/>
                          </a:ln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0" name="Freeform: Shape 1149">
                      <a:extLst>
                        <a:ext uri="{FF2B5EF4-FFF2-40B4-BE49-F238E27FC236}">
                          <a16:creationId xmlns:a16="http://schemas.microsoft.com/office/drawing/2014/main" id="{08FCD2EE-079D-4E70-802E-C71617DDEB04}"/>
                        </a:ext>
                      </a:extLst>
                    </p:cNvPr>
                    <p:cNvSpPr/>
                    <p:nvPr/>
                  </p:nvSpPr>
                  <p:spPr>
                    <a:xfrm>
                      <a:off x="3735512" y="1699901"/>
                      <a:ext cx="8597" cy="16749"/>
                    </a:xfrm>
                    <a:custGeom>
                      <a:avLst/>
                      <a:gdLst>
                        <a:gd name="connsiteX0" fmla="*/ 2067 w 8597"/>
                        <a:gd name="connsiteY0" fmla="*/ 14569 h 16749"/>
                        <a:gd name="connsiteX1" fmla="*/ 2067 w 8597"/>
                        <a:gd name="connsiteY1" fmla="*/ 16202 h 16749"/>
                        <a:gd name="connsiteX2" fmla="*/ 5081 w 8597"/>
                        <a:gd name="connsiteY2" fmla="*/ 16704 h 16749"/>
                        <a:gd name="connsiteX3" fmla="*/ 8472 w 8597"/>
                        <a:gd name="connsiteY3" fmla="*/ 12559 h 16749"/>
                        <a:gd name="connsiteX4" fmla="*/ 8598 w 8597"/>
                        <a:gd name="connsiteY4" fmla="*/ 8164 h 16749"/>
                        <a:gd name="connsiteX5" fmla="*/ 8598 w 8597"/>
                        <a:gd name="connsiteY5" fmla="*/ 7912 h 16749"/>
                        <a:gd name="connsiteX6" fmla="*/ 8598 w 8597"/>
                        <a:gd name="connsiteY6" fmla="*/ 7787 h 16749"/>
                        <a:gd name="connsiteX7" fmla="*/ 6463 w 8597"/>
                        <a:gd name="connsiteY7" fmla="*/ 4647 h 16749"/>
                        <a:gd name="connsiteX8" fmla="*/ 5835 w 8597"/>
                        <a:gd name="connsiteY8" fmla="*/ 1382 h 16749"/>
                        <a:gd name="connsiteX9" fmla="*/ 5332 w 8597"/>
                        <a:gd name="connsiteY9" fmla="*/ 0 h 16749"/>
                        <a:gd name="connsiteX10" fmla="*/ 4955 w 8597"/>
                        <a:gd name="connsiteY10" fmla="*/ 5777 h 16749"/>
                        <a:gd name="connsiteX11" fmla="*/ 4579 w 8597"/>
                        <a:gd name="connsiteY11" fmla="*/ 6782 h 16749"/>
                        <a:gd name="connsiteX12" fmla="*/ 183 w 8597"/>
                        <a:gd name="connsiteY12" fmla="*/ 10676 h 16749"/>
                        <a:gd name="connsiteX13" fmla="*/ 2067 w 8597"/>
                        <a:gd name="connsiteY13" fmla="*/ 14569 h 16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97" h="16749">
                          <a:moveTo>
                            <a:pt x="2067" y="14569"/>
                          </a:moveTo>
                          <a:lnTo>
                            <a:pt x="2067" y="16202"/>
                          </a:lnTo>
                          <a:cubicBezTo>
                            <a:pt x="3072" y="16704"/>
                            <a:pt x="4077" y="16830"/>
                            <a:pt x="5081" y="16704"/>
                          </a:cubicBezTo>
                          <a:cubicBezTo>
                            <a:pt x="6965" y="16327"/>
                            <a:pt x="8472" y="14695"/>
                            <a:pt x="8472" y="12559"/>
                          </a:cubicBezTo>
                          <a:lnTo>
                            <a:pt x="8598" y="8164"/>
                          </a:lnTo>
                          <a:cubicBezTo>
                            <a:pt x="8598" y="8038"/>
                            <a:pt x="8598" y="7912"/>
                            <a:pt x="8598" y="7912"/>
                          </a:cubicBezTo>
                          <a:cubicBezTo>
                            <a:pt x="8598" y="7912"/>
                            <a:pt x="8598" y="7787"/>
                            <a:pt x="8598" y="7787"/>
                          </a:cubicBezTo>
                          <a:cubicBezTo>
                            <a:pt x="8598" y="6782"/>
                            <a:pt x="6588" y="5652"/>
                            <a:pt x="6463" y="4647"/>
                          </a:cubicBezTo>
                          <a:cubicBezTo>
                            <a:pt x="6211" y="3517"/>
                            <a:pt x="6086" y="2512"/>
                            <a:pt x="5835" y="1382"/>
                          </a:cubicBezTo>
                          <a:cubicBezTo>
                            <a:pt x="5709" y="879"/>
                            <a:pt x="5584" y="377"/>
                            <a:pt x="5332" y="0"/>
                          </a:cubicBezTo>
                          <a:cubicBezTo>
                            <a:pt x="5207" y="2135"/>
                            <a:pt x="5081" y="3642"/>
                            <a:pt x="4955" y="5777"/>
                          </a:cubicBezTo>
                          <a:cubicBezTo>
                            <a:pt x="4955" y="6280"/>
                            <a:pt x="4830" y="6531"/>
                            <a:pt x="4579" y="6782"/>
                          </a:cubicBezTo>
                          <a:cubicBezTo>
                            <a:pt x="4328" y="7284"/>
                            <a:pt x="560" y="9545"/>
                            <a:pt x="183" y="10676"/>
                          </a:cubicBezTo>
                          <a:cubicBezTo>
                            <a:pt x="-319" y="12057"/>
                            <a:pt x="183" y="13564"/>
                            <a:pt x="2067" y="14569"/>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51" name="Graphic 4">
                      <a:extLst>
                        <a:ext uri="{FF2B5EF4-FFF2-40B4-BE49-F238E27FC236}">
                          <a16:creationId xmlns:a16="http://schemas.microsoft.com/office/drawing/2014/main" id="{84FB7ED1-A2DF-40A1-A747-5F7CF3F14040}"/>
                        </a:ext>
                      </a:extLst>
                    </p:cNvPr>
                    <p:cNvGrpSpPr/>
                    <p:nvPr/>
                  </p:nvGrpSpPr>
                  <p:grpSpPr>
                    <a:xfrm>
                      <a:off x="3727233" y="1697571"/>
                      <a:ext cx="17825" cy="20185"/>
                      <a:chOff x="3727233" y="1697571"/>
                      <a:chExt cx="17825" cy="20185"/>
                    </a:xfrm>
                    <a:solidFill>
                      <a:schemeClr val="accent1"/>
                    </a:solidFill>
                  </p:grpSpPr>
                  <p:sp>
                    <p:nvSpPr>
                      <p:cNvPr id="1152" name="Freeform: Shape 1151">
                        <a:extLst>
                          <a:ext uri="{FF2B5EF4-FFF2-40B4-BE49-F238E27FC236}">
                            <a16:creationId xmlns:a16="http://schemas.microsoft.com/office/drawing/2014/main" id="{A3C6167A-83A7-42A4-9F65-1767D5DF0EE1}"/>
                          </a:ext>
                        </a:extLst>
                      </p:cNvPr>
                      <p:cNvSpPr/>
                      <p:nvPr/>
                    </p:nvSpPr>
                    <p:spPr>
                      <a:xfrm>
                        <a:off x="3736756" y="1697571"/>
                        <a:ext cx="8301" cy="12697"/>
                      </a:xfrm>
                      <a:custGeom>
                        <a:avLst/>
                        <a:gdLst>
                          <a:gd name="connsiteX0" fmla="*/ 195 w 8301"/>
                          <a:gd name="connsiteY0" fmla="*/ 9489 h 12697"/>
                          <a:gd name="connsiteX1" fmla="*/ 1325 w 8301"/>
                          <a:gd name="connsiteY1" fmla="*/ 12503 h 12697"/>
                          <a:gd name="connsiteX2" fmla="*/ 1325 w 8301"/>
                          <a:gd name="connsiteY2" fmla="*/ 12503 h 12697"/>
                          <a:gd name="connsiteX3" fmla="*/ 4339 w 8301"/>
                          <a:gd name="connsiteY3" fmla="*/ 11373 h 12697"/>
                          <a:gd name="connsiteX4" fmla="*/ 8107 w 8301"/>
                          <a:gd name="connsiteY4" fmla="*/ 3209 h 12697"/>
                          <a:gd name="connsiteX5" fmla="*/ 6977 w 8301"/>
                          <a:gd name="connsiteY5" fmla="*/ 195 h 12697"/>
                          <a:gd name="connsiteX6" fmla="*/ 6977 w 8301"/>
                          <a:gd name="connsiteY6" fmla="*/ 195 h 12697"/>
                          <a:gd name="connsiteX7" fmla="*/ 3963 w 8301"/>
                          <a:gd name="connsiteY7" fmla="*/ 1325 h 12697"/>
                          <a:gd name="connsiteX8" fmla="*/ 195 w 8301"/>
                          <a:gd name="connsiteY8" fmla="*/ 9489 h 1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01" h="12697">
                            <a:moveTo>
                              <a:pt x="195" y="9489"/>
                            </a:moveTo>
                            <a:cubicBezTo>
                              <a:pt x="-307" y="10619"/>
                              <a:pt x="195" y="12001"/>
                              <a:pt x="1325" y="12503"/>
                            </a:cubicBezTo>
                            <a:lnTo>
                              <a:pt x="1325" y="12503"/>
                            </a:lnTo>
                            <a:cubicBezTo>
                              <a:pt x="2456" y="13005"/>
                              <a:pt x="3837" y="12503"/>
                              <a:pt x="4339" y="11373"/>
                            </a:cubicBezTo>
                            <a:lnTo>
                              <a:pt x="8107" y="3209"/>
                            </a:lnTo>
                            <a:cubicBezTo>
                              <a:pt x="8610" y="2079"/>
                              <a:pt x="8107" y="697"/>
                              <a:pt x="6977" y="195"/>
                            </a:cubicBezTo>
                            <a:lnTo>
                              <a:pt x="6977" y="195"/>
                            </a:lnTo>
                            <a:cubicBezTo>
                              <a:pt x="5847" y="-308"/>
                              <a:pt x="4465" y="195"/>
                              <a:pt x="3963" y="1325"/>
                            </a:cubicBezTo>
                            <a:lnTo>
                              <a:pt x="195" y="9489"/>
                            </a:ln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3" name="Freeform: Shape 1152">
                        <a:extLst>
                          <a:ext uri="{FF2B5EF4-FFF2-40B4-BE49-F238E27FC236}">
                            <a16:creationId xmlns:a16="http://schemas.microsoft.com/office/drawing/2014/main" id="{AD0D2620-5CA4-481E-929A-CBAFDEDA150B}"/>
                          </a:ext>
                        </a:extLst>
                      </p:cNvPr>
                      <p:cNvSpPr/>
                      <p:nvPr/>
                    </p:nvSpPr>
                    <p:spPr>
                      <a:xfrm>
                        <a:off x="3730827" y="1706095"/>
                        <a:ext cx="10479" cy="9728"/>
                      </a:xfrm>
                      <a:custGeom>
                        <a:avLst/>
                        <a:gdLst>
                          <a:gd name="connsiteX0" fmla="*/ 974 w 10479"/>
                          <a:gd name="connsiteY0" fmla="*/ 5361 h 9728"/>
                          <a:gd name="connsiteX1" fmla="*/ 1602 w 10479"/>
                          <a:gd name="connsiteY1" fmla="*/ 9380 h 9728"/>
                          <a:gd name="connsiteX2" fmla="*/ 3988 w 10479"/>
                          <a:gd name="connsiteY2" fmla="*/ 8877 h 9728"/>
                          <a:gd name="connsiteX3" fmla="*/ 9640 w 10479"/>
                          <a:gd name="connsiteY3" fmla="*/ 4105 h 9728"/>
                          <a:gd name="connsiteX4" fmla="*/ 9891 w 10479"/>
                          <a:gd name="connsiteY4" fmla="*/ 839 h 9728"/>
                          <a:gd name="connsiteX5" fmla="*/ 9891 w 10479"/>
                          <a:gd name="connsiteY5" fmla="*/ 839 h 9728"/>
                          <a:gd name="connsiteX6" fmla="*/ 6626 w 10479"/>
                          <a:gd name="connsiteY6" fmla="*/ 588 h 9728"/>
                          <a:gd name="connsiteX7" fmla="*/ 974 w 10479"/>
                          <a:gd name="connsiteY7" fmla="*/ 5361 h 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9" h="9728">
                            <a:moveTo>
                              <a:pt x="974" y="5361"/>
                            </a:moveTo>
                            <a:cubicBezTo>
                              <a:pt x="-1538" y="7119"/>
                              <a:pt x="1602" y="9380"/>
                              <a:pt x="1602" y="9380"/>
                            </a:cubicBezTo>
                            <a:cubicBezTo>
                              <a:pt x="2356" y="10008"/>
                              <a:pt x="2983" y="9756"/>
                              <a:pt x="3988" y="8877"/>
                            </a:cubicBezTo>
                            <a:lnTo>
                              <a:pt x="9640" y="4105"/>
                            </a:lnTo>
                            <a:cubicBezTo>
                              <a:pt x="10645" y="3225"/>
                              <a:pt x="10770" y="1844"/>
                              <a:pt x="9891" y="839"/>
                            </a:cubicBezTo>
                            <a:lnTo>
                              <a:pt x="9891" y="839"/>
                            </a:lnTo>
                            <a:cubicBezTo>
                              <a:pt x="9012" y="-166"/>
                              <a:pt x="7630" y="-291"/>
                              <a:pt x="6626" y="588"/>
                            </a:cubicBezTo>
                            <a:lnTo>
                              <a:pt x="974" y="5361"/>
                            </a:ln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4" name="Freeform: Shape 1153">
                        <a:extLst>
                          <a:ext uri="{FF2B5EF4-FFF2-40B4-BE49-F238E27FC236}">
                            <a16:creationId xmlns:a16="http://schemas.microsoft.com/office/drawing/2014/main" id="{BD4962B6-F648-476A-8C90-371828440B66}"/>
                          </a:ext>
                        </a:extLst>
                      </p:cNvPr>
                      <p:cNvSpPr/>
                      <p:nvPr/>
                    </p:nvSpPr>
                    <p:spPr>
                      <a:xfrm>
                        <a:off x="3727233" y="1712711"/>
                        <a:ext cx="5925" cy="5045"/>
                      </a:xfrm>
                      <a:custGeom>
                        <a:avLst/>
                        <a:gdLst>
                          <a:gd name="connsiteX0" fmla="*/ 5824 w 5925"/>
                          <a:gd name="connsiteY0" fmla="*/ 754 h 5045"/>
                          <a:gd name="connsiteX1" fmla="*/ 5448 w 5925"/>
                          <a:gd name="connsiteY1" fmla="*/ 2512 h 5045"/>
                          <a:gd name="connsiteX2" fmla="*/ 3941 w 5925"/>
                          <a:gd name="connsiteY2" fmla="*/ 3517 h 5045"/>
                          <a:gd name="connsiteX3" fmla="*/ 2810 w 5925"/>
                          <a:gd name="connsiteY3" fmla="*/ 4396 h 5045"/>
                          <a:gd name="connsiteX4" fmla="*/ 2308 w 5925"/>
                          <a:gd name="connsiteY4" fmla="*/ 4898 h 5045"/>
                          <a:gd name="connsiteX5" fmla="*/ 1805 w 5925"/>
                          <a:gd name="connsiteY5" fmla="*/ 4647 h 5045"/>
                          <a:gd name="connsiteX6" fmla="*/ 926 w 5925"/>
                          <a:gd name="connsiteY6" fmla="*/ 4647 h 5045"/>
                          <a:gd name="connsiteX7" fmla="*/ 424 w 5925"/>
                          <a:gd name="connsiteY7" fmla="*/ 4145 h 5045"/>
                          <a:gd name="connsiteX8" fmla="*/ 47 w 5925"/>
                          <a:gd name="connsiteY8" fmla="*/ 3642 h 5045"/>
                          <a:gd name="connsiteX9" fmla="*/ 2810 w 5925"/>
                          <a:gd name="connsiteY9" fmla="*/ 502 h 5045"/>
                          <a:gd name="connsiteX10" fmla="*/ 4317 w 5925"/>
                          <a:gd name="connsiteY10" fmla="*/ 0 h 5045"/>
                          <a:gd name="connsiteX11" fmla="*/ 5824 w 5925"/>
                          <a:gd name="connsiteY11" fmla="*/ 754 h 5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25" h="5045">
                            <a:moveTo>
                              <a:pt x="5824" y="754"/>
                            </a:moveTo>
                            <a:cubicBezTo>
                              <a:pt x="6076" y="1256"/>
                              <a:pt x="5824" y="2010"/>
                              <a:pt x="5448" y="2512"/>
                            </a:cubicBezTo>
                            <a:cubicBezTo>
                              <a:pt x="5071" y="3014"/>
                              <a:pt x="4443" y="3265"/>
                              <a:pt x="3941" y="3517"/>
                            </a:cubicBezTo>
                            <a:cubicBezTo>
                              <a:pt x="3438" y="3768"/>
                              <a:pt x="3313" y="3893"/>
                              <a:pt x="2810" y="4396"/>
                            </a:cubicBezTo>
                            <a:cubicBezTo>
                              <a:pt x="2559" y="4647"/>
                              <a:pt x="2559" y="4773"/>
                              <a:pt x="2308" y="4898"/>
                            </a:cubicBezTo>
                            <a:cubicBezTo>
                              <a:pt x="2057" y="5149"/>
                              <a:pt x="1554" y="5024"/>
                              <a:pt x="1805" y="4647"/>
                            </a:cubicBezTo>
                            <a:cubicBezTo>
                              <a:pt x="1177" y="5401"/>
                              <a:pt x="801" y="4898"/>
                              <a:pt x="926" y="4647"/>
                            </a:cubicBezTo>
                            <a:cubicBezTo>
                              <a:pt x="675" y="4898"/>
                              <a:pt x="173" y="4521"/>
                              <a:pt x="424" y="4145"/>
                            </a:cubicBezTo>
                            <a:cubicBezTo>
                              <a:pt x="47" y="4521"/>
                              <a:pt x="-79" y="4019"/>
                              <a:pt x="47" y="3642"/>
                            </a:cubicBezTo>
                            <a:cubicBezTo>
                              <a:pt x="675" y="2386"/>
                              <a:pt x="1554" y="1256"/>
                              <a:pt x="2810" y="502"/>
                            </a:cubicBezTo>
                            <a:cubicBezTo>
                              <a:pt x="3313" y="251"/>
                              <a:pt x="3815" y="0"/>
                              <a:pt x="4317" y="0"/>
                            </a:cubicBezTo>
                            <a:cubicBezTo>
                              <a:pt x="5071" y="0"/>
                              <a:pt x="5573" y="251"/>
                              <a:pt x="5824" y="754"/>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5" name="Freeform: Shape 1154">
                        <a:extLst>
                          <a:ext uri="{FF2B5EF4-FFF2-40B4-BE49-F238E27FC236}">
                            <a16:creationId xmlns:a16="http://schemas.microsoft.com/office/drawing/2014/main" id="{96BEDF56-9990-46A8-9281-7BB90F4A23FF}"/>
                          </a:ext>
                        </a:extLst>
                      </p:cNvPr>
                      <p:cNvSpPr/>
                      <p:nvPr/>
                    </p:nvSpPr>
                    <p:spPr>
                      <a:xfrm>
                        <a:off x="3727733" y="1712963"/>
                        <a:ext cx="3691" cy="1526"/>
                      </a:xfrm>
                      <a:custGeom>
                        <a:avLst/>
                        <a:gdLst>
                          <a:gd name="connsiteX0" fmla="*/ 426 w 3691"/>
                          <a:gd name="connsiteY0" fmla="*/ 628 h 1526"/>
                          <a:gd name="connsiteX1" fmla="*/ 49 w 3691"/>
                          <a:gd name="connsiteY1" fmla="*/ 879 h 1526"/>
                          <a:gd name="connsiteX2" fmla="*/ 300 w 3691"/>
                          <a:gd name="connsiteY2" fmla="*/ 1382 h 1526"/>
                          <a:gd name="connsiteX3" fmla="*/ 1807 w 3691"/>
                          <a:gd name="connsiteY3" fmla="*/ 1382 h 1526"/>
                          <a:gd name="connsiteX4" fmla="*/ 2687 w 3691"/>
                          <a:gd name="connsiteY4" fmla="*/ 879 h 1526"/>
                          <a:gd name="connsiteX5" fmla="*/ 3691 w 3691"/>
                          <a:gd name="connsiteY5" fmla="*/ 0 h 1526"/>
                          <a:gd name="connsiteX6" fmla="*/ 426 w 3691"/>
                          <a:gd name="connsiteY6" fmla="*/ 628 h 1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91" h="1526">
                            <a:moveTo>
                              <a:pt x="426" y="628"/>
                            </a:moveTo>
                            <a:cubicBezTo>
                              <a:pt x="300" y="628"/>
                              <a:pt x="49" y="754"/>
                              <a:pt x="49" y="879"/>
                            </a:cubicBezTo>
                            <a:cubicBezTo>
                              <a:pt x="-76" y="1005"/>
                              <a:pt x="49" y="1256"/>
                              <a:pt x="300" y="1382"/>
                            </a:cubicBezTo>
                            <a:cubicBezTo>
                              <a:pt x="677" y="1633"/>
                              <a:pt x="1431" y="1507"/>
                              <a:pt x="1807" y="1382"/>
                            </a:cubicBezTo>
                            <a:cubicBezTo>
                              <a:pt x="2184" y="1256"/>
                              <a:pt x="2310" y="1130"/>
                              <a:pt x="2687" y="879"/>
                            </a:cubicBezTo>
                            <a:cubicBezTo>
                              <a:pt x="3063" y="628"/>
                              <a:pt x="3315" y="251"/>
                              <a:pt x="3691" y="0"/>
                            </a:cubicBezTo>
                            <a:cubicBezTo>
                              <a:pt x="2436" y="251"/>
                              <a:pt x="1431" y="502"/>
                              <a:pt x="426" y="628"/>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56" name="Graphic 4">
                      <a:extLst>
                        <a:ext uri="{FF2B5EF4-FFF2-40B4-BE49-F238E27FC236}">
                          <a16:creationId xmlns:a16="http://schemas.microsoft.com/office/drawing/2014/main" id="{84FB7ED1-A2DF-40A1-A747-5F7CF3F14040}"/>
                        </a:ext>
                      </a:extLst>
                    </p:cNvPr>
                    <p:cNvGrpSpPr/>
                    <p:nvPr/>
                  </p:nvGrpSpPr>
                  <p:grpSpPr>
                    <a:xfrm>
                      <a:off x="3731079" y="1682843"/>
                      <a:ext cx="10290" cy="7740"/>
                      <a:chOff x="3731079" y="1682843"/>
                      <a:chExt cx="10290" cy="7740"/>
                    </a:xfrm>
                    <a:solidFill>
                      <a:schemeClr val="accent1"/>
                    </a:solidFill>
                  </p:grpSpPr>
                  <p:sp>
                    <p:nvSpPr>
                      <p:cNvPr id="1157" name="Freeform: Shape 1156">
                        <a:extLst>
                          <a:ext uri="{FF2B5EF4-FFF2-40B4-BE49-F238E27FC236}">
                            <a16:creationId xmlns:a16="http://schemas.microsoft.com/office/drawing/2014/main" id="{F6313ACA-E31C-4B5B-8E4B-1E38C9636CFD}"/>
                          </a:ext>
                        </a:extLst>
                      </p:cNvPr>
                      <p:cNvSpPr/>
                      <p:nvPr/>
                    </p:nvSpPr>
                    <p:spPr>
                      <a:xfrm>
                        <a:off x="3733183" y="1682843"/>
                        <a:ext cx="8186" cy="6256"/>
                      </a:xfrm>
                      <a:custGeom>
                        <a:avLst/>
                        <a:gdLst>
                          <a:gd name="connsiteX0" fmla="*/ 126 w 8186"/>
                          <a:gd name="connsiteY0" fmla="*/ 2363 h 6256"/>
                          <a:gd name="connsiteX1" fmla="*/ 0 w 8186"/>
                          <a:gd name="connsiteY1" fmla="*/ 4373 h 6256"/>
                          <a:gd name="connsiteX2" fmla="*/ 4647 w 8186"/>
                          <a:gd name="connsiteY2" fmla="*/ 6257 h 6256"/>
                          <a:gd name="connsiteX3" fmla="*/ 4647 w 8186"/>
                          <a:gd name="connsiteY3" fmla="*/ 6257 h 6256"/>
                          <a:gd name="connsiteX4" fmla="*/ 7661 w 8186"/>
                          <a:gd name="connsiteY4" fmla="*/ 4750 h 6256"/>
                          <a:gd name="connsiteX5" fmla="*/ 8164 w 8186"/>
                          <a:gd name="connsiteY5" fmla="*/ 4122 h 6256"/>
                          <a:gd name="connsiteX6" fmla="*/ 6908 w 8186"/>
                          <a:gd name="connsiteY6" fmla="*/ 856 h 6256"/>
                          <a:gd name="connsiteX7" fmla="*/ 754 w 8186"/>
                          <a:gd name="connsiteY7" fmla="*/ 1233 h 6256"/>
                          <a:gd name="connsiteX8" fmla="*/ 126 w 8186"/>
                          <a:gd name="connsiteY8" fmla="*/ 2363 h 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86" h="6256">
                            <a:moveTo>
                              <a:pt x="126" y="2363"/>
                            </a:moveTo>
                            <a:lnTo>
                              <a:pt x="0" y="4373"/>
                            </a:lnTo>
                            <a:cubicBezTo>
                              <a:pt x="1381" y="4499"/>
                              <a:pt x="2889" y="5252"/>
                              <a:pt x="4647" y="6257"/>
                            </a:cubicBezTo>
                            <a:cubicBezTo>
                              <a:pt x="4647" y="6257"/>
                              <a:pt x="4647" y="6257"/>
                              <a:pt x="4647" y="6257"/>
                            </a:cubicBezTo>
                            <a:cubicBezTo>
                              <a:pt x="5903" y="6131"/>
                              <a:pt x="6908" y="5629"/>
                              <a:pt x="7661" y="4750"/>
                            </a:cubicBezTo>
                            <a:cubicBezTo>
                              <a:pt x="7787" y="4499"/>
                              <a:pt x="8038" y="4373"/>
                              <a:pt x="8164" y="4122"/>
                            </a:cubicBezTo>
                            <a:cubicBezTo>
                              <a:pt x="8289" y="2740"/>
                              <a:pt x="7913" y="1610"/>
                              <a:pt x="6908" y="856"/>
                            </a:cubicBezTo>
                            <a:cubicBezTo>
                              <a:pt x="4647" y="-400"/>
                              <a:pt x="2637" y="-274"/>
                              <a:pt x="754" y="1233"/>
                            </a:cubicBezTo>
                            <a:cubicBezTo>
                              <a:pt x="377" y="1484"/>
                              <a:pt x="126" y="1987"/>
                              <a:pt x="126" y="2363"/>
                            </a:cubicBezTo>
                            <a:close/>
                          </a:path>
                        </a:pathLst>
                      </a:custGeom>
                      <a:solidFill>
                        <a:srgbClr val="BE16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8" name="Freeform: Shape 1157">
                        <a:extLst>
                          <a:ext uri="{FF2B5EF4-FFF2-40B4-BE49-F238E27FC236}">
                            <a16:creationId xmlns:a16="http://schemas.microsoft.com/office/drawing/2014/main" id="{C153ED37-F5F5-4F4B-8CB2-B18174D239F4}"/>
                          </a:ext>
                        </a:extLst>
                      </p:cNvPr>
                      <p:cNvSpPr/>
                      <p:nvPr/>
                    </p:nvSpPr>
                    <p:spPr>
                      <a:xfrm>
                        <a:off x="3731079" y="1687090"/>
                        <a:ext cx="7378" cy="3492"/>
                      </a:xfrm>
                      <a:custGeom>
                        <a:avLst/>
                        <a:gdLst>
                          <a:gd name="connsiteX0" fmla="*/ 94 w 7378"/>
                          <a:gd name="connsiteY0" fmla="*/ 2386 h 3492"/>
                          <a:gd name="connsiteX1" fmla="*/ 94 w 7378"/>
                          <a:gd name="connsiteY1" fmla="*/ 2386 h 3492"/>
                          <a:gd name="connsiteX2" fmla="*/ 2104 w 7378"/>
                          <a:gd name="connsiteY2" fmla="*/ 251 h 3492"/>
                          <a:gd name="connsiteX3" fmla="*/ 3108 w 7378"/>
                          <a:gd name="connsiteY3" fmla="*/ 0 h 3492"/>
                          <a:gd name="connsiteX4" fmla="*/ 7379 w 7378"/>
                          <a:gd name="connsiteY4" fmla="*/ 2010 h 3492"/>
                          <a:gd name="connsiteX5" fmla="*/ 6123 w 7378"/>
                          <a:gd name="connsiteY5" fmla="*/ 3140 h 3492"/>
                          <a:gd name="connsiteX6" fmla="*/ 4364 w 7378"/>
                          <a:gd name="connsiteY6" fmla="*/ 3265 h 3492"/>
                          <a:gd name="connsiteX7" fmla="*/ 94 w 7378"/>
                          <a:gd name="connsiteY7" fmla="*/ 2386 h 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78" h="3492">
                            <a:moveTo>
                              <a:pt x="94" y="2386"/>
                            </a:moveTo>
                            <a:cubicBezTo>
                              <a:pt x="-31" y="2386"/>
                              <a:pt x="-31" y="2261"/>
                              <a:pt x="94" y="2386"/>
                            </a:cubicBezTo>
                            <a:cubicBezTo>
                              <a:pt x="974" y="1382"/>
                              <a:pt x="1853" y="377"/>
                              <a:pt x="2104" y="251"/>
                            </a:cubicBezTo>
                            <a:cubicBezTo>
                              <a:pt x="2230" y="126"/>
                              <a:pt x="2857" y="0"/>
                              <a:pt x="3108" y="0"/>
                            </a:cubicBezTo>
                            <a:cubicBezTo>
                              <a:pt x="4490" y="0"/>
                              <a:pt x="6625" y="879"/>
                              <a:pt x="7379" y="2010"/>
                            </a:cubicBezTo>
                            <a:cubicBezTo>
                              <a:pt x="7002" y="2386"/>
                              <a:pt x="7128" y="2386"/>
                              <a:pt x="6123" y="3140"/>
                            </a:cubicBezTo>
                            <a:cubicBezTo>
                              <a:pt x="5620" y="3517"/>
                              <a:pt x="4867" y="3642"/>
                              <a:pt x="4364" y="3265"/>
                            </a:cubicBezTo>
                            <a:cubicBezTo>
                              <a:pt x="3360" y="2637"/>
                              <a:pt x="1225" y="1884"/>
                              <a:pt x="94" y="2386"/>
                            </a:cubicBezTo>
                            <a:close/>
                          </a:path>
                        </a:pathLst>
                      </a:custGeom>
                      <a:solidFill>
                        <a:srgbClr val="A8131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9" name="Freeform: Shape 1158">
                        <a:extLst>
                          <a:ext uri="{FF2B5EF4-FFF2-40B4-BE49-F238E27FC236}">
                            <a16:creationId xmlns:a16="http://schemas.microsoft.com/office/drawing/2014/main" id="{5954AD09-69E5-4F05-B84E-3C520EDDB311}"/>
                          </a:ext>
                        </a:extLst>
                      </p:cNvPr>
                      <p:cNvSpPr/>
                      <p:nvPr/>
                    </p:nvSpPr>
                    <p:spPr>
                      <a:xfrm>
                        <a:off x="3737579" y="1685709"/>
                        <a:ext cx="3139" cy="3516"/>
                      </a:xfrm>
                      <a:custGeom>
                        <a:avLst/>
                        <a:gdLst>
                          <a:gd name="connsiteX0" fmla="*/ 125 w 3139"/>
                          <a:gd name="connsiteY0" fmla="*/ 3517 h 3516"/>
                          <a:gd name="connsiteX1" fmla="*/ 3140 w 3139"/>
                          <a:gd name="connsiteY1" fmla="*/ 2010 h 3516"/>
                          <a:gd name="connsiteX2" fmla="*/ 2888 w 3139"/>
                          <a:gd name="connsiteY2" fmla="*/ 2135 h 3516"/>
                          <a:gd name="connsiteX3" fmla="*/ 1758 w 3139"/>
                          <a:gd name="connsiteY3" fmla="*/ 2637 h 3516"/>
                          <a:gd name="connsiteX4" fmla="*/ 1130 w 3139"/>
                          <a:gd name="connsiteY4" fmla="*/ 2637 h 3516"/>
                          <a:gd name="connsiteX5" fmla="*/ 879 w 3139"/>
                          <a:gd name="connsiteY5" fmla="*/ 2261 h 3516"/>
                          <a:gd name="connsiteX6" fmla="*/ 628 w 3139"/>
                          <a:gd name="connsiteY6" fmla="*/ 0 h 3516"/>
                          <a:gd name="connsiteX7" fmla="*/ 502 w 3139"/>
                          <a:gd name="connsiteY7" fmla="*/ 1633 h 3516"/>
                          <a:gd name="connsiteX8" fmla="*/ 251 w 3139"/>
                          <a:gd name="connsiteY8" fmla="*/ 2763 h 3516"/>
                          <a:gd name="connsiteX9" fmla="*/ 0 w 3139"/>
                          <a:gd name="connsiteY9" fmla="*/ 3140 h 3516"/>
                          <a:gd name="connsiteX10" fmla="*/ 125 w 3139"/>
                          <a:gd name="connsiteY10" fmla="*/ 3517 h 3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39" h="3516">
                            <a:moveTo>
                              <a:pt x="125" y="3517"/>
                            </a:moveTo>
                            <a:cubicBezTo>
                              <a:pt x="1381" y="3391"/>
                              <a:pt x="2386" y="2889"/>
                              <a:pt x="3140" y="2010"/>
                            </a:cubicBezTo>
                            <a:cubicBezTo>
                              <a:pt x="3014" y="2010"/>
                              <a:pt x="3014" y="2135"/>
                              <a:pt x="2888" y="2135"/>
                            </a:cubicBezTo>
                            <a:cubicBezTo>
                              <a:pt x="2512" y="2386"/>
                              <a:pt x="2135" y="2512"/>
                              <a:pt x="1758" y="2637"/>
                            </a:cubicBezTo>
                            <a:cubicBezTo>
                              <a:pt x="1507" y="2637"/>
                              <a:pt x="1381" y="2763"/>
                              <a:pt x="1130" y="2637"/>
                            </a:cubicBezTo>
                            <a:cubicBezTo>
                              <a:pt x="1005" y="2512"/>
                              <a:pt x="1005" y="2386"/>
                              <a:pt x="879" y="2261"/>
                            </a:cubicBezTo>
                            <a:cubicBezTo>
                              <a:pt x="628" y="1507"/>
                              <a:pt x="628" y="754"/>
                              <a:pt x="628" y="0"/>
                            </a:cubicBezTo>
                            <a:cubicBezTo>
                              <a:pt x="628" y="502"/>
                              <a:pt x="628" y="1130"/>
                              <a:pt x="502" y="1633"/>
                            </a:cubicBezTo>
                            <a:cubicBezTo>
                              <a:pt x="502" y="2010"/>
                              <a:pt x="502" y="2386"/>
                              <a:pt x="251" y="2763"/>
                            </a:cubicBezTo>
                            <a:cubicBezTo>
                              <a:pt x="125" y="2889"/>
                              <a:pt x="0" y="3014"/>
                              <a:pt x="0" y="3140"/>
                            </a:cubicBezTo>
                            <a:cubicBezTo>
                              <a:pt x="125" y="3140"/>
                              <a:pt x="125" y="3265"/>
                              <a:pt x="125" y="3517"/>
                            </a:cubicBezTo>
                            <a:close/>
                          </a:path>
                        </a:pathLst>
                      </a:custGeom>
                      <a:solidFill>
                        <a:srgbClr val="A8131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160" name="Freeform: Shape 1159">
                    <a:extLst>
                      <a:ext uri="{FF2B5EF4-FFF2-40B4-BE49-F238E27FC236}">
                        <a16:creationId xmlns:a16="http://schemas.microsoft.com/office/drawing/2014/main" id="{DB92BC4C-5F87-48D8-A62C-335B4EE574EE}"/>
                      </a:ext>
                    </a:extLst>
                  </p:cNvPr>
                  <p:cNvSpPr/>
                  <p:nvPr/>
                </p:nvSpPr>
                <p:spPr>
                  <a:xfrm>
                    <a:off x="3741472" y="1734188"/>
                    <a:ext cx="30519" cy="38431"/>
                  </a:xfrm>
                  <a:custGeom>
                    <a:avLst/>
                    <a:gdLst>
                      <a:gd name="connsiteX0" fmla="*/ 10801 w 30519"/>
                      <a:gd name="connsiteY0" fmla="*/ 11304 h 38431"/>
                      <a:gd name="connsiteX1" fmla="*/ 10801 w 30519"/>
                      <a:gd name="connsiteY1" fmla="*/ 16327 h 38431"/>
                      <a:gd name="connsiteX2" fmla="*/ 7159 w 30519"/>
                      <a:gd name="connsiteY2" fmla="*/ 22733 h 38431"/>
                      <a:gd name="connsiteX3" fmla="*/ 0 w 30519"/>
                      <a:gd name="connsiteY3" fmla="*/ 26877 h 38431"/>
                      <a:gd name="connsiteX4" fmla="*/ 251 w 30519"/>
                      <a:gd name="connsiteY4" fmla="*/ 30017 h 38431"/>
                      <a:gd name="connsiteX5" fmla="*/ 251 w 30519"/>
                      <a:gd name="connsiteY5" fmla="*/ 38432 h 38431"/>
                      <a:gd name="connsiteX6" fmla="*/ 22481 w 30519"/>
                      <a:gd name="connsiteY6" fmla="*/ 25621 h 38431"/>
                      <a:gd name="connsiteX7" fmla="*/ 22481 w 30519"/>
                      <a:gd name="connsiteY7" fmla="*/ 18337 h 38431"/>
                      <a:gd name="connsiteX8" fmla="*/ 30519 w 30519"/>
                      <a:gd name="connsiteY8" fmla="*/ 4521 h 38431"/>
                      <a:gd name="connsiteX9" fmla="*/ 30519 w 30519"/>
                      <a:gd name="connsiteY9" fmla="*/ 4521 h 38431"/>
                      <a:gd name="connsiteX10" fmla="*/ 30519 w 30519"/>
                      <a:gd name="connsiteY10" fmla="*/ 0 h 38431"/>
                      <a:gd name="connsiteX11" fmla="*/ 10801 w 30519"/>
                      <a:gd name="connsiteY11" fmla="*/ 11304 h 3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519" h="38431">
                        <a:moveTo>
                          <a:pt x="10801" y="11304"/>
                        </a:moveTo>
                        <a:lnTo>
                          <a:pt x="10801" y="16327"/>
                        </a:lnTo>
                        <a:cubicBezTo>
                          <a:pt x="10801" y="18714"/>
                          <a:pt x="9168" y="21477"/>
                          <a:pt x="7159" y="22733"/>
                        </a:cubicBezTo>
                        <a:lnTo>
                          <a:pt x="0" y="26877"/>
                        </a:lnTo>
                        <a:cubicBezTo>
                          <a:pt x="251" y="27882"/>
                          <a:pt x="251" y="28887"/>
                          <a:pt x="251" y="30017"/>
                        </a:cubicBezTo>
                        <a:lnTo>
                          <a:pt x="251" y="38432"/>
                        </a:lnTo>
                        <a:lnTo>
                          <a:pt x="22481" y="25621"/>
                        </a:lnTo>
                        <a:lnTo>
                          <a:pt x="22481" y="18337"/>
                        </a:lnTo>
                        <a:cubicBezTo>
                          <a:pt x="22481" y="13187"/>
                          <a:pt x="25998" y="7033"/>
                          <a:pt x="30519" y="4521"/>
                        </a:cubicBezTo>
                        <a:lnTo>
                          <a:pt x="30519" y="4521"/>
                        </a:lnTo>
                        <a:lnTo>
                          <a:pt x="30519" y="0"/>
                        </a:lnTo>
                        <a:lnTo>
                          <a:pt x="10801" y="11304"/>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61" name="Graphic 4">
                    <a:extLst>
                      <a:ext uri="{FF2B5EF4-FFF2-40B4-BE49-F238E27FC236}">
                        <a16:creationId xmlns:a16="http://schemas.microsoft.com/office/drawing/2014/main" id="{84FB7ED1-A2DF-40A1-A747-5F7CF3F14040}"/>
                      </a:ext>
                    </a:extLst>
                  </p:cNvPr>
                  <p:cNvGrpSpPr/>
                  <p:nvPr/>
                </p:nvGrpSpPr>
                <p:grpSpPr>
                  <a:xfrm>
                    <a:off x="3701031" y="1721377"/>
                    <a:ext cx="23988" cy="28258"/>
                    <a:chOff x="3701031" y="1721377"/>
                    <a:chExt cx="23988" cy="28258"/>
                  </a:xfrm>
                  <a:solidFill>
                    <a:schemeClr val="accent1"/>
                  </a:solidFill>
                </p:grpSpPr>
                <p:sp>
                  <p:nvSpPr>
                    <p:cNvPr id="1162" name="Freeform: Shape 1161">
                      <a:extLst>
                        <a:ext uri="{FF2B5EF4-FFF2-40B4-BE49-F238E27FC236}">
                          <a16:creationId xmlns:a16="http://schemas.microsoft.com/office/drawing/2014/main" id="{6B824FF1-4989-419B-B0A7-D07A4B206BEE}"/>
                        </a:ext>
                      </a:extLst>
                    </p:cNvPr>
                    <p:cNvSpPr/>
                    <p:nvPr/>
                  </p:nvSpPr>
                  <p:spPr>
                    <a:xfrm>
                      <a:off x="3701031" y="1721377"/>
                      <a:ext cx="23862" cy="28258"/>
                    </a:xfrm>
                    <a:custGeom>
                      <a:avLst/>
                      <a:gdLst>
                        <a:gd name="connsiteX0" fmla="*/ 23863 w 23862"/>
                        <a:gd name="connsiteY0" fmla="*/ 12811 h 28258"/>
                        <a:gd name="connsiteX1" fmla="*/ 1758 w 23862"/>
                        <a:gd name="connsiteY1" fmla="*/ 0 h 28258"/>
                        <a:gd name="connsiteX2" fmla="*/ 0 w 23862"/>
                        <a:gd name="connsiteY2" fmla="*/ 15574 h 28258"/>
                        <a:gd name="connsiteX3" fmla="*/ 22104 w 23862"/>
                        <a:gd name="connsiteY3" fmla="*/ 28259 h 28258"/>
                        <a:gd name="connsiteX4" fmla="*/ 23863 w 23862"/>
                        <a:gd name="connsiteY4" fmla="*/ 12811 h 28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62" h="28258">
                          <a:moveTo>
                            <a:pt x="23863" y="12811"/>
                          </a:moveTo>
                          <a:lnTo>
                            <a:pt x="1758" y="0"/>
                          </a:lnTo>
                          <a:cubicBezTo>
                            <a:pt x="879" y="5903"/>
                            <a:pt x="251" y="11052"/>
                            <a:pt x="0" y="15574"/>
                          </a:cubicBezTo>
                          <a:lnTo>
                            <a:pt x="22104" y="28259"/>
                          </a:lnTo>
                          <a:lnTo>
                            <a:pt x="23863" y="12811"/>
                          </a:ln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63" name="Freeform: Shape 1162">
                      <a:extLst>
                        <a:ext uri="{FF2B5EF4-FFF2-40B4-BE49-F238E27FC236}">
                          <a16:creationId xmlns:a16="http://schemas.microsoft.com/office/drawing/2014/main" id="{83A928EE-144C-4656-BD81-F06277B4EE24}"/>
                        </a:ext>
                      </a:extLst>
                    </p:cNvPr>
                    <p:cNvSpPr/>
                    <p:nvPr/>
                  </p:nvSpPr>
                  <p:spPr>
                    <a:xfrm>
                      <a:off x="3702789" y="1721377"/>
                      <a:ext cx="22230" cy="12810"/>
                    </a:xfrm>
                    <a:custGeom>
                      <a:avLst/>
                      <a:gdLst>
                        <a:gd name="connsiteX0" fmla="*/ 2261 w 22230"/>
                        <a:gd name="connsiteY0" fmla="*/ 0 h 12810"/>
                        <a:gd name="connsiteX1" fmla="*/ 0 w 22230"/>
                        <a:gd name="connsiteY1" fmla="*/ 0 h 12810"/>
                        <a:gd name="connsiteX2" fmla="*/ 22105 w 22230"/>
                        <a:gd name="connsiteY2" fmla="*/ 12811 h 12810"/>
                        <a:gd name="connsiteX3" fmla="*/ 22231 w 22230"/>
                        <a:gd name="connsiteY3" fmla="*/ 11555 h 12810"/>
                      </a:gdLst>
                      <a:ahLst/>
                      <a:cxnLst>
                        <a:cxn ang="0">
                          <a:pos x="connsiteX0" y="connsiteY0"/>
                        </a:cxn>
                        <a:cxn ang="0">
                          <a:pos x="connsiteX1" y="connsiteY1"/>
                        </a:cxn>
                        <a:cxn ang="0">
                          <a:pos x="connsiteX2" y="connsiteY2"/>
                        </a:cxn>
                        <a:cxn ang="0">
                          <a:pos x="connsiteX3" y="connsiteY3"/>
                        </a:cxn>
                      </a:cxnLst>
                      <a:rect l="l" t="t" r="r" b="b"/>
                      <a:pathLst>
                        <a:path w="22230" h="12810">
                          <a:moveTo>
                            <a:pt x="2261" y="0"/>
                          </a:moveTo>
                          <a:lnTo>
                            <a:pt x="0" y="0"/>
                          </a:lnTo>
                          <a:lnTo>
                            <a:pt x="22105" y="12811"/>
                          </a:lnTo>
                          <a:lnTo>
                            <a:pt x="22231" y="11555"/>
                          </a:ln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64" name="Graphic 4">
                    <a:extLst>
                      <a:ext uri="{FF2B5EF4-FFF2-40B4-BE49-F238E27FC236}">
                        <a16:creationId xmlns:a16="http://schemas.microsoft.com/office/drawing/2014/main" id="{84FB7ED1-A2DF-40A1-A747-5F7CF3F14040}"/>
                      </a:ext>
                    </a:extLst>
                  </p:cNvPr>
                  <p:cNvGrpSpPr/>
                  <p:nvPr/>
                </p:nvGrpSpPr>
                <p:grpSpPr>
                  <a:xfrm>
                    <a:off x="3712083" y="1710451"/>
                    <a:ext cx="21225" cy="22481"/>
                    <a:chOff x="3712083" y="1710451"/>
                    <a:chExt cx="21225" cy="22481"/>
                  </a:xfrm>
                  <a:solidFill>
                    <a:schemeClr val="accent1"/>
                  </a:solidFill>
                </p:grpSpPr>
                <p:grpSp>
                  <p:nvGrpSpPr>
                    <p:cNvPr id="1165" name="Graphic 4">
                      <a:extLst>
                        <a:ext uri="{FF2B5EF4-FFF2-40B4-BE49-F238E27FC236}">
                          <a16:creationId xmlns:a16="http://schemas.microsoft.com/office/drawing/2014/main" id="{84FB7ED1-A2DF-40A1-A747-5F7CF3F14040}"/>
                        </a:ext>
                      </a:extLst>
                    </p:cNvPr>
                    <p:cNvGrpSpPr/>
                    <p:nvPr/>
                  </p:nvGrpSpPr>
                  <p:grpSpPr>
                    <a:xfrm>
                      <a:off x="3720121" y="1717610"/>
                      <a:ext cx="6656" cy="5023"/>
                      <a:chOff x="3720121" y="1717610"/>
                      <a:chExt cx="6656" cy="5023"/>
                    </a:xfrm>
                    <a:solidFill>
                      <a:schemeClr val="accent1"/>
                    </a:solidFill>
                  </p:grpSpPr>
                  <p:sp>
                    <p:nvSpPr>
                      <p:cNvPr id="1166" name="Freeform: Shape 1165">
                        <a:extLst>
                          <a:ext uri="{FF2B5EF4-FFF2-40B4-BE49-F238E27FC236}">
                            <a16:creationId xmlns:a16="http://schemas.microsoft.com/office/drawing/2014/main" id="{A116C9F2-8999-4C6B-9861-3034B7EB92A2}"/>
                          </a:ext>
                        </a:extLst>
                      </p:cNvPr>
                      <p:cNvSpPr/>
                      <p:nvPr/>
                    </p:nvSpPr>
                    <p:spPr>
                      <a:xfrm>
                        <a:off x="3720121" y="1717610"/>
                        <a:ext cx="6656" cy="3265"/>
                      </a:xfrm>
                      <a:custGeom>
                        <a:avLst/>
                        <a:gdLst>
                          <a:gd name="connsiteX0" fmla="*/ 628 w 6656"/>
                          <a:gd name="connsiteY0" fmla="*/ 0 h 3265"/>
                          <a:gd name="connsiteX1" fmla="*/ 0 w 6656"/>
                          <a:gd name="connsiteY1" fmla="*/ 1130 h 3265"/>
                          <a:gd name="connsiteX2" fmla="*/ 2637 w 6656"/>
                          <a:gd name="connsiteY2" fmla="*/ 2763 h 3265"/>
                          <a:gd name="connsiteX3" fmla="*/ 3266 w 6656"/>
                          <a:gd name="connsiteY3" fmla="*/ 1633 h 3265"/>
                          <a:gd name="connsiteX4" fmla="*/ 6657 w 6656"/>
                          <a:gd name="connsiteY4" fmla="*/ 3265 h 3265"/>
                          <a:gd name="connsiteX5" fmla="*/ 4019 w 6656"/>
                          <a:gd name="connsiteY5" fmla="*/ 1758 h 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56" h="3265">
                            <a:moveTo>
                              <a:pt x="628" y="0"/>
                            </a:moveTo>
                            <a:lnTo>
                              <a:pt x="0" y="1130"/>
                            </a:lnTo>
                            <a:lnTo>
                              <a:pt x="2637" y="2763"/>
                            </a:lnTo>
                            <a:lnTo>
                              <a:pt x="3266" y="1633"/>
                            </a:lnTo>
                            <a:lnTo>
                              <a:pt x="6657" y="3265"/>
                            </a:lnTo>
                            <a:lnTo>
                              <a:pt x="4019" y="1758"/>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67" name="Freeform: Shape 1166">
                        <a:extLst>
                          <a:ext uri="{FF2B5EF4-FFF2-40B4-BE49-F238E27FC236}">
                            <a16:creationId xmlns:a16="http://schemas.microsoft.com/office/drawing/2014/main" id="{F21E97E6-FB5B-43F0-AE63-4A83DF32A733}"/>
                          </a:ext>
                        </a:extLst>
                      </p:cNvPr>
                      <p:cNvSpPr/>
                      <p:nvPr/>
                    </p:nvSpPr>
                    <p:spPr>
                      <a:xfrm>
                        <a:off x="3722758" y="1719242"/>
                        <a:ext cx="4019" cy="3391"/>
                      </a:xfrm>
                      <a:custGeom>
                        <a:avLst/>
                        <a:gdLst>
                          <a:gd name="connsiteX0" fmla="*/ 628 w 4019"/>
                          <a:gd name="connsiteY0" fmla="*/ 0 h 3391"/>
                          <a:gd name="connsiteX1" fmla="*/ 0 w 4019"/>
                          <a:gd name="connsiteY1" fmla="*/ 1130 h 3391"/>
                          <a:gd name="connsiteX2" fmla="*/ 3015 w 4019"/>
                          <a:gd name="connsiteY2" fmla="*/ 3391 h 3391"/>
                          <a:gd name="connsiteX3" fmla="*/ 4019 w 4019"/>
                          <a:gd name="connsiteY3" fmla="*/ 1633 h 3391"/>
                        </a:gdLst>
                        <a:ahLst/>
                        <a:cxnLst>
                          <a:cxn ang="0">
                            <a:pos x="connsiteX0" y="connsiteY0"/>
                          </a:cxn>
                          <a:cxn ang="0">
                            <a:pos x="connsiteX1" y="connsiteY1"/>
                          </a:cxn>
                          <a:cxn ang="0">
                            <a:pos x="connsiteX2" y="connsiteY2"/>
                          </a:cxn>
                          <a:cxn ang="0">
                            <a:pos x="connsiteX3" y="connsiteY3"/>
                          </a:cxn>
                        </a:cxnLst>
                        <a:rect l="l" t="t" r="r" b="b"/>
                        <a:pathLst>
                          <a:path w="4019" h="3391">
                            <a:moveTo>
                              <a:pt x="628" y="0"/>
                            </a:moveTo>
                            <a:lnTo>
                              <a:pt x="0" y="1130"/>
                            </a:lnTo>
                            <a:lnTo>
                              <a:pt x="3015" y="3391"/>
                            </a:lnTo>
                            <a:lnTo>
                              <a:pt x="4019" y="1633"/>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68" name="Freeform: Shape 1167">
                      <a:extLst>
                        <a:ext uri="{FF2B5EF4-FFF2-40B4-BE49-F238E27FC236}">
                          <a16:creationId xmlns:a16="http://schemas.microsoft.com/office/drawing/2014/main" id="{5A0D8646-6FFF-4D48-8385-18D5E94497BA}"/>
                        </a:ext>
                      </a:extLst>
                    </p:cNvPr>
                    <p:cNvSpPr/>
                    <p:nvPr/>
                  </p:nvSpPr>
                  <p:spPr>
                    <a:xfrm>
                      <a:off x="3718991" y="1720724"/>
                      <a:ext cx="7761" cy="12208"/>
                    </a:xfrm>
                    <a:custGeom>
                      <a:avLst/>
                      <a:gdLst>
                        <a:gd name="connsiteX0" fmla="*/ 6029 w 7761"/>
                        <a:gd name="connsiteY0" fmla="*/ 12208 h 12208"/>
                        <a:gd name="connsiteX1" fmla="*/ 6908 w 7761"/>
                        <a:gd name="connsiteY1" fmla="*/ 9948 h 12208"/>
                        <a:gd name="connsiteX2" fmla="*/ 5024 w 7761"/>
                        <a:gd name="connsiteY2" fmla="*/ 277 h 12208"/>
                        <a:gd name="connsiteX3" fmla="*/ 5024 w 7761"/>
                        <a:gd name="connsiteY3" fmla="*/ 277 h 12208"/>
                        <a:gd name="connsiteX4" fmla="*/ 1884 w 7761"/>
                        <a:gd name="connsiteY4" fmla="*/ 1784 h 12208"/>
                        <a:gd name="connsiteX5" fmla="*/ 0 w 7761"/>
                        <a:gd name="connsiteY5" fmla="*/ 8692 h 12208"/>
                        <a:gd name="connsiteX6" fmla="*/ 6029 w 7761"/>
                        <a:gd name="connsiteY6" fmla="*/ 12208 h 1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61" h="12208">
                          <a:moveTo>
                            <a:pt x="6029" y="12208"/>
                          </a:moveTo>
                          <a:lnTo>
                            <a:pt x="6908" y="9948"/>
                          </a:lnTo>
                          <a:cubicBezTo>
                            <a:pt x="8792" y="4547"/>
                            <a:pt x="7284" y="1658"/>
                            <a:pt x="5024" y="277"/>
                          </a:cubicBezTo>
                          <a:cubicBezTo>
                            <a:pt x="5024" y="277"/>
                            <a:pt x="5024" y="277"/>
                            <a:pt x="5024" y="277"/>
                          </a:cubicBezTo>
                          <a:cubicBezTo>
                            <a:pt x="3768" y="-477"/>
                            <a:pt x="2261" y="402"/>
                            <a:pt x="1884" y="1784"/>
                          </a:cubicBezTo>
                          <a:cubicBezTo>
                            <a:pt x="879" y="5175"/>
                            <a:pt x="0" y="8692"/>
                            <a:pt x="0" y="8692"/>
                          </a:cubicBezTo>
                          <a:lnTo>
                            <a:pt x="6029" y="12208"/>
                          </a:ln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69" name="Freeform: Shape 1168">
                      <a:extLst>
                        <a:ext uri="{FF2B5EF4-FFF2-40B4-BE49-F238E27FC236}">
                          <a16:creationId xmlns:a16="http://schemas.microsoft.com/office/drawing/2014/main" id="{76D8416D-C101-437D-B181-37FEF1AABAE8}"/>
                        </a:ext>
                      </a:extLst>
                    </p:cNvPr>
                    <p:cNvSpPr/>
                    <p:nvPr/>
                  </p:nvSpPr>
                  <p:spPr>
                    <a:xfrm>
                      <a:off x="3712083" y="1716830"/>
                      <a:ext cx="11931" cy="12710"/>
                    </a:xfrm>
                    <a:custGeom>
                      <a:avLst/>
                      <a:gdLst>
                        <a:gd name="connsiteX0" fmla="*/ 11931 w 11931"/>
                        <a:gd name="connsiteY0" fmla="*/ 4296 h 12710"/>
                        <a:gd name="connsiteX1" fmla="*/ 11931 w 11931"/>
                        <a:gd name="connsiteY1" fmla="*/ 4296 h 12710"/>
                        <a:gd name="connsiteX2" fmla="*/ 5024 w 11931"/>
                        <a:gd name="connsiteY2" fmla="*/ 277 h 12710"/>
                        <a:gd name="connsiteX3" fmla="*/ 5024 w 11931"/>
                        <a:gd name="connsiteY3" fmla="*/ 277 h 12710"/>
                        <a:gd name="connsiteX4" fmla="*/ 1884 w 11931"/>
                        <a:gd name="connsiteY4" fmla="*/ 1784 h 12710"/>
                        <a:gd name="connsiteX5" fmla="*/ 0 w 11931"/>
                        <a:gd name="connsiteY5" fmla="*/ 8692 h 12710"/>
                        <a:gd name="connsiteX6" fmla="*/ 7033 w 11931"/>
                        <a:gd name="connsiteY6" fmla="*/ 12711 h 12710"/>
                        <a:gd name="connsiteX7" fmla="*/ 8917 w 11931"/>
                        <a:gd name="connsiteY7" fmla="*/ 5803 h 12710"/>
                        <a:gd name="connsiteX8" fmla="*/ 11931 w 11931"/>
                        <a:gd name="connsiteY8" fmla="*/ 4296 h 1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31" h="12710">
                          <a:moveTo>
                            <a:pt x="11931" y="4296"/>
                          </a:moveTo>
                          <a:cubicBezTo>
                            <a:pt x="11931" y="4296"/>
                            <a:pt x="11931" y="4296"/>
                            <a:pt x="11931" y="4296"/>
                          </a:cubicBezTo>
                          <a:cubicBezTo>
                            <a:pt x="11931" y="4296"/>
                            <a:pt x="7284" y="1658"/>
                            <a:pt x="5024" y="277"/>
                          </a:cubicBezTo>
                          <a:cubicBezTo>
                            <a:pt x="5024" y="277"/>
                            <a:pt x="5024" y="277"/>
                            <a:pt x="5024" y="277"/>
                          </a:cubicBezTo>
                          <a:cubicBezTo>
                            <a:pt x="3768" y="-477"/>
                            <a:pt x="2261" y="402"/>
                            <a:pt x="1884" y="1784"/>
                          </a:cubicBezTo>
                          <a:cubicBezTo>
                            <a:pt x="879" y="5175"/>
                            <a:pt x="0" y="8692"/>
                            <a:pt x="0" y="8692"/>
                          </a:cubicBezTo>
                          <a:lnTo>
                            <a:pt x="7033" y="12711"/>
                          </a:lnTo>
                          <a:cubicBezTo>
                            <a:pt x="7033" y="12711"/>
                            <a:pt x="7912" y="9320"/>
                            <a:pt x="8917" y="5803"/>
                          </a:cubicBezTo>
                          <a:cubicBezTo>
                            <a:pt x="9168" y="4296"/>
                            <a:pt x="10675" y="3542"/>
                            <a:pt x="11931" y="4296"/>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0" name="Freeform: Shape 1169">
                      <a:extLst>
                        <a:ext uri="{FF2B5EF4-FFF2-40B4-BE49-F238E27FC236}">
                          <a16:creationId xmlns:a16="http://schemas.microsoft.com/office/drawing/2014/main" id="{F0CC8A2F-1399-449A-9F68-B8513F253D49}"/>
                        </a:ext>
                      </a:extLst>
                    </p:cNvPr>
                    <p:cNvSpPr/>
                    <p:nvPr/>
                  </p:nvSpPr>
                  <p:spPr>
                    <a:xfrm>
                      <a:off x="3722507" y="1715349"/>
                      <a:ext cx="4270" cy="4772"/>
                    </a:xfrm>
                    <a:custGeom>
                      <a:avLst/>
                      <a:gdLst>
                        <a:gd name="connsiteX0" fmla="*/ 1759 w 4270"/>
                        <a:gd name="connsiteY0" fmla="*/ 0 h 4772"/>
                        <a:gd name="connsiteX1" fmla="*/ 0 w 4270"/>
                        <a:gd name="connsiteY1" fmla="*/ 3265 h 4772"/>
                        <a:gd name="connsiteX2" fmla="*/ 502 w 4270"/>
                        <a:gd name="connsiteY2" fmla="*/ 3642 h 4772"/>
                        <a:gd name="connsiteX3" fmla="*/ 2261 w 4270"/>
                        <a:gd name="connsiteY3" fmla="*/ 4647 h 4772"/>
                        <a:gd name="connsiteX4" fmla="*/ 2512 w 4270"/>
                        <a:gd name="connsiteY4" fmla="*/ 4773 h 4772"/>
                        <a:gd name="connsiteX5" fmla="*/ 2512 w 4270"/>
                        <a:gd name="connsiteY5" fmla="*/ 4773 h 4772"/>
                        <a:gd name="connsiteX6" fmla="*/ 4270 w 4270"/>
                        <a:gd name="connsiteY6" fmla="*/ 1507 h 4772"/>
                        <a:gd name="connsiteX7" fmla="*/ 1759 w 4270"/>
                        <a:gd name="connsiteY7" fmla="*/ 0 h 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70" h="4772">
                          <a:moveTo>
                            <a:pt x="1759" y="0"/>
                          </a:moveTo>
                          <a:lnTo>
                            <a:pt x="0" y="3265"/>
                          </a:lnTo>
                          <a:cubicBezTo>
                            <a:pt x="0" y="3265"/>
                            <a:pt x="126" y="3391"/>
                            <a:pt x="502" y="3642"/>
                          </a:cubicBezTo>
                          <a:cubicBezTo>
                            <a:pt x="1130" y="4019"/>
                            <a:pt x="1884" y="4396"/>
                            <a:pt x="2261" y="4647"/>
                          </a:cubicBezTo>
                          <a:cubicBezTo>
                            <a:pt x="2386" y="4773"/>
                            <a:pt x="2512" y="4773"/>
                            <a:pt x="2512" y="4773"/>
                          </a:cubicBezTo>
                          <a:lnTo>
                            <a:pt x="2512" y="4773"/>
                          </a:lnTo>
                          <a:lnTo>
                            <a:pt x="4270" y="1507"/>
                          </a:lnTo>
                          <a:lnTo>
                            <a:pt x="1759" y="0"/>
                          </a:lnTo>
                          <a:close/>
                        </a:path>
                      </a:pathLst>
                    </a:custGeom>
                    <a:solidFill>
                      <a:srgbClr val="66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71" name="Graphic 4">
                      <a:extLst>
                        <a:ext uri="{FF2B5EF4-FFF2-40B4-BE49-F238E27FC236}">
                          <a16:creationId xmlns:a16="http://schemas.microsoft.com/office/drawing/2014/main" id="{84FB7ED1-A2DF-40A1-A747-5F7CF3F14040}"/>
                        </a:ext>
                      </a:extLst>
                    </p:cNvPr>
                    <p:cNvGrpSpPr/>
                    <p:nvPr/>
                  </p:nvGrpSpPr>
                  <p:grpSpPr>
                    <a:xfrm>
                      <a:off x="3718729" y="1710451"/>
                      <a:ext cx="14579" cy="8917"/>
                      <a:chOff x="3718729" y="1710451"/>
                      <a:chExt cx="14579" cy="8917"/>
                    </a:xfrm>
                    <a:solidFill>
                      <a:schemeClr val="accent1"/>
                    </a:solidFill>
                  </p:grpSpPr>
                  <p:sp>
                    <p:nvSpPr>
                      <p:cNvPr id="1172" name="Freeform: Shape 1171">
                        <a:extLst>
                          <a:ext uri="{FF2B5EF4-FFF2-40B4-BE49-F238E27FC236}">
                            <a16:creationId xmlns:a16="http://schemas.microsoft.com/office/drawing/2014/main" id="{7A22C12E-42DC-4CD4-9C73-F03A49BDDAEF}"/>
                          </a:ext>
                        </a:extLst>
                      </p:cNvPr>
                      <p:cNvSpPr/>
                      <p:nvPr/>
                    </p:nvSpPr>
                    <p:spPr>
                      <a:xfrm>
                        <a:off x="3721754" y="1711707"/>
                        <a:ext cx="9796" cy="5651"/>
                      </a:xfrm>
                      <a:custGeom>
                        <a:avLst/>
                        <a:gdLst>
                          <a:gd name="connsiteX0" fmla="*/ 0 w 9796"/>
                          <a:gd name="connsiteY0" fmla="*/ 502 h 5651"/>
                          <a:gd name="connsiteX1" fmla="*/ 251 w 9796"/>
                          <a:gd name="connsiteY1" fmla="*/ 0 h 5651"/>
                          <a:gd name="connsiteX2" fmla="*/ 251 w 9796"/>
                          <a:gd name="connsiteY2" fmla="*/ 0 h 5651"/>
                          <a:gd name="connsiteX3" fmla="*/ 251 w 9796"/>
                          <a:gd name="connsiteY3" fmla="*/ 0 h 5651"/>
                          <a:gd name="connsiteX4" fmla="*/ 7661 w 9796"/>
                          <a:gd name="connsiteY4" fmla="*/ 3893 h 5651"/>
                          <a:gd name="connsiteX5" fmla="*/ 9796 w 9796"/>
                          <a:gd name="connsiteY5" fmla="*/ 5275 h 5651"/>
                          <a:gd name="connsiteX6" fmla="*/ 9545 w 9796"/>
                          <a:gd name="connsiteY6" fmla="*/ 5652 h 5651"/>
                          <a:gd name="connsiteX7" fmla="*/ 0 w 9796"/>
                          <a:gd name="connsiteY7" fmla="*/ 502 h 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96" h="5651">
                            <a:moveTo>
                              <a:pt x="0" y="502"/>
                            </a:moveTo>
                            <a:lnTo>
                              <a:pt x="251" y="0"/>
                            </a:lnTo>
                            <a:cubicBezTo>
                              <a:pt x="251" y="0"/>
                              <a:pt x="251" y="0"/>
                              <a:pt x="251" y="0"/>
                            </a:cubicBezTo>
                            <a:cubicBezTo>
                              <a:pt x="251" y="0"/>
                              <a:pt x="251" y="0"/>
                              <a:pt x="251" y="0"/>
                            </a:cubicBezTo>
                            <a:cubicBezTo>
                              <a:pt x="2010" y="754"/>
                              <a:pt x="5275" y="2512"/>
                              <a:pt x="7661" y="3893"/>
                            </a:cubicBezTo>
                            <a:cubicBezTo>
                              <a:pt x="9043" y="4773"/>
                              <a:pt x="9796" y="5275"/>
                              <a:pt x="9796" y="5275"/>
                            </a:cubicBezTo>
                            <a:lnTo>
                              <a:pt x="9545" y="5652"/>
                            </a:lnTo>
                            <a:lnTo>
                              <a:pt x="0" y="502"/>
                            </a:lnTo>
                            <a:close/>
                          </a:path>
                        </a:pathLst>
                      </a:custGeom>
                      <a:solidFill>
                        <a:srgbClr val="4E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3" name="Freeform: Shape 1172">
                        <a:extLst>
                          <a:ext uri="{FF2B5EF4-FFF2-40B4-BE49-F238E27FC236}">
                            <a16:creationId xmlns:a16="http://schemas.microsoft.com/office/drawing/2014/main" id="{85B10967-C07B-4028-B46E-642FA900374E}"/>
                          </a:ext>
                        </a:extLst>
                      </p:cNvPr>
                      <p:cNvSpPr/>
                      <p:nvPr/>
                    </p:nvSpPr>
                    <p:spPr>
                      <a:xfrm>
                        <a:off x="3727908" y="1715098"/>
                        <a:ext cx="251" cy="125"/>
                      </a:xfrm>
                      <a:custGeom>
                        <a:avLst/>
                        <a:gdLst>
                          <a:gd name="connsiteX0" fmla="*/ 251 w 251"/>
                          <a:gd name="connsiteY0" fmla="*/ 126 h 125"/>
                          <a:gd name="connsiteX1" fmla="*/ 251 w 251"/>
                          <a:gd name="connsiteY1" fmla="*/ 126 h 125"/>
                          <a:gd name="connsiteX2" fmla="*/ 0 w 251"/>
                          <a:gd name="connsiteY2" fmla="*/ 0 h 125"/>
                          <a:gd name="connsiteX3" fmla="*/ 251 w 251"/>
                          <a:gd name="connsiteY3" fmla="*/ 126 h 125"/>
                        </a:gdLst>
                        <a:ahLst/>
                        <a:cxnLst>
                          <a:cxn ang="0">
                            <a:pos x="connsiteX0" y="connsiteY0"/>
                          </a:cxn>
                          <a:cxn ang="0">
                            <a:pos x="connsiteX1" y="connsiteY1"/>
                          </a:cxn>
                          <a:cxn ang="0">
                            <a:pos x="connsiteX2" y="connsiteY2"/>
                          </a:cxn>
                          <a:cxn ang="0">
                            <a:pos x="connsiteX3" y="connsiteY3"/>
                          </a:cxn>
                        </a:cxnLst>
                        <a:rect l="l" t="t" r="r" b="b"/>
                        <a:pathLst>
                          <a:path w="251" h="125">
                            <a:moveTo>
                              <a:pt x="251" y="126"/>
                            </a:moveTo>
                            <a:lnTo>
                              <a:pt x="251" y="126"/>
                            </a:lnTo>
                            <a:lnTo>
                              <a:pt x="0" y="0"/>
                            </a:lnTo>
                            <a:cubicBezTo>
                              <a:pt x="126" y="126"/>
                              <a:pt x="251" y="126"/>
                              <a:pt x="251" y="12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4" name="Freeform: Shape 1173">
                        <a:extLst>
                          <a:ext uri="{FF2B5EF4-FFF2-40B4-BE49-F238E27FC236}">
                            <a16:creationId xmlns:a16="http://schemas.microsoft.com/office/drawing/2014/main" id="{3D06ED04-0FB7-4A21-8634-5A9089C97BA3}"/>
                          </a:ext>
                        </a:extLst>
                      </p:cNvPr>
                      <p:cNvSpPr/>
                      <p:nvPr/>
                    </p:nvSpPr>
                    <p:spPr>
                      <a:xfrm>
                        <a:off x="3721126" y="1711455"/>
                        <a:ext cx="8163" cy="4898"/>
                      </a:xfrm>
                      <a:custGeom>
                        <a:avLst/>
                        <a:gdLst>
                          <a:gd name="connsiteX0" fmla="*/ 8164 w 8163"/>
                          <a:gd name="connsiteY0" fmla="*/ 4647 h 4898"/>
                          <a:gd name="connsiteX1" fmla="*/ 8038 w 8163"/>
                          <a:gd name="connsiteY1" fmla="*/ 4898 h 4898"/>
                          <a:gd name="connsiteX2" fmla="*/ 0 w 8163"/>
                          <a:gd name="connsiteY2" fmla="*/ 502 h 4898"/>
                          <a:gd name="connsiteX3" fmla="*/ 251 w 8163"/>
                          <a:gd name="connsiteY3" fmla="*/ 0 h 4898"/>
                        </a:gdLst>
                        <a:ahLst/>
                        <a:cxnLst>
                          <a:cxn ang="0">
                            <a:pos x="connsiteX0" y="connsiteY0"/>
                          </a:cxn>
                          <a:cxn ang="0">
                            <a:pos x="connsiteX1" y="connsiteY1"/>
                          </a:cxn>
                          <a:cxn ang="0">
                            <a:pos x="connsiteX2" y="connsiteY2"/>
                          </a:cxn>
                          <a:cxn ang="0">
                            <a:pos x="connsiteX3" y="connsiteY3"/>
                          </a:cxn>
                        </a:cxnLst>
                        <a:rect l="l" t="t" r="r" b="b"/>
                        <a:pathLst>
                          <a:path w="8163" h="4898">
                            <a:moveTo>
                              <a:pt x="8164" y="4647"/>
                            </a:moveTo>
                            <a:lnTo>
                              <a:pt x="8038" y="4898"/>
                            </a:lnTo>
                            <a:lnTo>
                              <a:pt x="0" y="502"/>
                            </a:lnTo>
                            <a:lnTo>
                              <a:pt x="251" y="0"/>
                            </a:lnTo>
                            <a:close/>
                          </a:path>
                        </a:pathLst>
                      </a:custGeom>
                      <a:solidFill>
                        <a:srgbClr val="6158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5" name="Freeform: Shape 1174">
                        <a:extLst>
                          <a:ext uri="{FF2B5EF4-FFF2-40B4-BE49-F238E27FC236}">
                            <a16:creationId xmlns:a16="http://schemas.microsoft.com/office/drawing/2014/main" id="{923CF967-9596-45C4-AD3A-27D615059AD4}"/>
                          </a:ext>
                        </a:extLst>
                      </p:cNvPr>
                      <p:cNvSpPr/>
                      <p:nvPr/>
                    </p:nvSpPr>
                    <p:spPr>
                      <a:xfrm>
                        <a:off x="3721000" y="1711455"/>
                        <a:ext cx="251" cy="125"/>
                      </a:xfrm>
                      <a:custGeom>
                        <a:avLst/>
                        <a:gdLst>
                          <a:gd name="connsiteX0" fmla="*/ 251 w 251"/>
                          <a:gd name="connsiteY0" fmla="*/ 0 h 125"/>
                          <a:gd name="connsiteX1" fmla="*/ 251 w 251"/>
                          <a:gd name="connsiteY1" fmla="*/ 0 h 125"/>
                          <a:gd name="connsiteX2" fmla="*/ 0 w 251"/>
                          <a:gd name="connsiteY2" fmla="*/ 0 h 125"/>
                          <a:gd name="connsiteX3" fmla="*/ 0 w 251"/>
                          <a:gd name="connsiteY3" fmla="*/ 0 h 125"/>
                          <a:gd name="connsiteX4" fmla="*/ 126 w 251"/>
                          <a:gd name="connsiteY4" fmla="*/ 126 h 125"/>
                          <a:gd name="connsiteX5" fmla="*/ 251 w 251"/>
                          <a:gd name="connsiteY5" fmla="*/ 0 h 125"/>
                          <a:gd name="connsiteX6" fmla="*/ 251 w 251"/>
                          <a:gd name="connsiteY6" fmla="*/ 0 h 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 h="125">
                            <a:moveTo>
                              <a:pt x="251" y="0"/>
                            </a:moveTo>
                            <a:lnTo>
                              <a:pt x="251" y="0"/>
                            </a:lnTo>
                            <a:cubicBezTo>
                              <a:pt x="126" y="0"/>
                              <a:pt x="0" y="0"/>
                              <a:pt x="0" y="0"/>
                            </a:cubicBezTo>
                            <a:lnTo>
                              <a:pt x="0" y="0"/>
                            </a:lnTo>
                            <a:lnTo>
                              <a:pt x="126" y="126"/>
                            </a:lnTo>
                            <a:lnTo>
                              <a:pt x="251" y="0"/>
                            </a:lnTo>
                            <a:lnTo>
                              <a:pt x="251" y="0"/>
                            </a:lnTo>
                            <a:close/>
                          </a:path>
                        </a:pathLst>
                      </a:custGeom>
                      <a:solidFill>
                        <a:srgbClr val="3B35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6" name="Freeform: Shape 1175">
                        <a:extLst>
                          <a:ext uri="{FF2B5EF4-FFF2-40B4-BE49-F238E27FC236}">
                            <a16:creationId xmlns:a16="http://schemas.microsoft.com/office/drawing/2014/main" id="{A4A7017A-7843-4629-B511-C47985142C6E}"/>
                          </a:ext>
                        </a:extLst>
                      </p:cNvPr>
                      <p:cNvSpPr/>
                      <p:nvPr/>
                    </p:nvSpPr>
                    <p:spPr>
                      <a:xfrm>
                        <a:off x="3721251" y="1711581"/>
                        <a:ext cx="9419" cy="5149"/>
                      </a:xfrm>
                      <a:custGeom>
                        <a:avLst/>
                        <a:gdLst>
                          <a:gd name="connsiteX0" fmla="*/ 6154 w 9419"/>
                          <a:gd name="connsiteY0" fmla="*/ 3140 h 5149"/>
                          <a:gd name="connsiteX1" fmla="*/ 6657 w 9419"/>
                          <a:gd name="connsiteY1" fmla="*/ 3517 h 5149"/>
                          <a:gd name="connsiteX2" fmla="*/ 9420 w 9419"/>
                          <a:gd name="connsiteY2" fmla="*/ 5149 h 5149"/>
                          <a:gd name="connsiteX3" fmla="*/ 9294 w 9419"/>
                          <a:gd name="connsiteY3" fmla="*/ 5149 h 5149"/>
                          <a:gd name="connsiteX4" fmla="*/ 9294 w 9419"/>
                          <a:gd name="connsiteY4" fmla="*/ 5149 h 5149"/>
                          <a:gd name="connsiteX5" fmla="*/ 9294 w 9419"/>
                          <a:gd name="connsiteY5" fmla="*/ 5149 h 5149"/>
                          <a:gd name="connsiteX6" fmla="*/ 9294 w 9419"/>
                          <a:gd name="connsiteY6" fmla="*/ 5149 h 5149"/>
                          <a:gd name="connsiteX7" fmla="*/ 9169 w 9419"/>
                          <a:gd name="connsiteY7" fmla="*/ 5149 h 5149"/>
                          <a:gd name="connsiteX8" fmla="*/ 8038 w 9419"/>
                          <a:gd name="connsiteY8" fmla="*/ 4647 h 5149"/>
                          <a:gd name="connsiteX9" fmla="*/ 0 w 9419"/>
                          <a:gd name="connsiteY9" fmla="*/ 0 h 5149"/>
                          <a:gd name="connsiteX10" fmla="*/ 754 w 9419"/>
                          <a:gd name="connsiteY10" fmla="*/ 251 h 5149"/>
                          <a:gd name="connsiteX11" fmla="*/ 754 w 9419"/>
                          <a:gd name="connsiteY11" fmla="*/ 251 h 5149"/>
                          <a:gd name="connsiteX12" fmla="*/ 754 w 9419"/>
                          <a:gd name="connsiteY12" fmla="*/ 251 h 5149"/>
                          <a:gd name="connsiteX13" fmla="*/ 879 w 9419"/>
                          <a:gd name="connsiteY13" fmla="*/ 377 h 5149"/>
                          <a:gd name="connsiteX14" fmla="*/ 3642 w 9419"/>
                          <a:gd name="connsiteY14" fmla="*/ 2010 h 5149"/>
                          <a:gd name="connsiteX15" fmla="*/ 6154 w 9419"/>
                          <a:gd name="connsiteY15" fmla="*/ 3140 h 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419" h="5149">
                            <a:moveTo>
                              <a:pt x="6154" y="3140"/>
                            </a:moveTo>
                            <a:cubicBezTo>
                              <a:pt x="6908" y="3517"/>
                              <a:pt x="7033" y="3768"/>
                              <a:pt x="6657" y="3517"/>
                            </a:cubicBezTo>
                            <a:lnTo>
                              <a:pt x="9420" y="5149"/>
                            </a:lnTo>
                            <a:cubicBezTo>
                              <a:pt x="9420" y="5149"/>
                              <a:pt x="9294" y="5149"/>
                              <a:pt x="9294" y="5149"/>
                            </a:cubicBezTo>
                            <a:cubicBezTo>
                              <a:pt x="9294" y="5149"/>
                              <a:pt x="9294" y="5149"/>
                              <a:pt x="9294" y="5149"/>
                            </a:cubicBezTo>
                            <a:cubicBezTo>
                              <a:pt x="9294" y="5149"/>
                              <a:pt x="9294" y="5149"/>
                              <a:pt x="9294" y="5149"/>
                            </a:cubicBezTo>
                            <a:cubicBezTo>
                              <a:pt x="9294" y="5149"/>
                              <a:pt x="9294" y="5149"/>
                              <a:pt x="9294" y="5149"/>
                            </a:cubicBezTo>
                            <a:cubicBezTo>
                              <a:pt x="9294" y="5149"/>
                              <a:pt x="9294" y="5149"/>
                              <a:pt x="9169" y="5149"/>
                            </a:cubicBezTo>
                            <a:cubicBezTo>
                              <a:pt x="8792" y="5024"/>
                              <a:pt x="8415" y="4773"/>
                              <a:pt x="8038" y="4647"/>
                            </a:cubicBezTo>
                            <a:lnTo>
                              <a:pt x="0" y="0"/>
                            </a:lnTo>
                            <a:cubicBezTo>
                              <a:pt x="126" y="0"/>
                              <a:pt x="377" y="126"/>
                              <a:pt x="754" y="251"/>
                            </a:cubicBezTo>
                            <a:cubicBezTo>
                              <a:pt x="754" y="251"/>
                              <a:pt x="754" y="251"/>
                              <a:pt x="754" y="251"/>
                            </a:cubicBezTo>
                            <a:cubicBezTo>
                              <a:pt x="754" y="251"/>
                              <a:pt x="754" y="251"/>
                              <a:pt x="754" y="251"/>
                            </a:cubicBezTo>
                            <a:cubicBezTo>
                              <a:pt x="754" y="251"/>
                              <a:pt x="879" y="251"/>
                              <a:pt x="879" y="377"/>
                            </a:cubicBezTo>
                            <a:lnTo>
                              <a:pt x="3642" y="2010"/>
                            </a:lnTo>
                            <a:cubicBezTo>
                              <a:pt x="4396" y="2135"/>
                              <a:pt x="5401" y="2763"/>
                              <a:pt x="6154" y="3140"/>
                            </a:cubicBez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7" name="Freeform: Shape 1176">
                        <a:extLst>
                          <a:ext uri="{FF2B5EF4-FFF2-40B4-BE49-F238E27FC236}">
                            <a16:creationId xmlns:a16="http://schemas.microsoft.com/office/drawing/2014/main" id="{0E522EE9-8EFE-4AEB-A2A2-F00B2505ACF0}"/>
                          </a:ext>
                        </a:extLst>
                      </p:cNvPr>
                      <p:cNvSpPr/>
                      <p:nvPr/>
                    </p:nvSpPr>
                    <p:spPr>
                      <a:xfrm>
                        <a:off x="3718729" y="1710451"/>
                        <a:ext cx="14579" cy="8917"/>
                      </a:xfrm>
                      <a:custGeom>
                        <a:avLst/>
                        <a:gdLst>
                          <a:gd name="connsiteX0" fmla="*/ 14580 w 14579"/>
                          <a:gd name="connsiteY0" fmla="*/ 7536 h 8917"/>
                          <a:gd name="connsiteX1" fmla="*/ 13826 w 14579"/>
                          <a:gd name="connsiteY1" fmla="*/ 8917 h 8917"/>
                          <a:gd name="connsiteX2" fmla="*/ 12444 w 14579"/>
                          <a:gd name="connsiteY2" fmla="*/ 8415 h 8917"/>
                          <a:gd name="connsiteX3" fmla="*/ 2774 w 14579"/>
                          <a:gd name="connsiteY3" fmla="*/ 3265 h 8917"/>
                          <a:gd name="connsiteX4" fmla="*/ 11 w 14579"/>
                          <a:gd name="connsiteY4" fmla="*/ 1382 h 8917"/>
                          <a:gd name="connsiteX5" fmla="*/ 764 w 14579"/>
                          <a:gd name="connsiteY5" fmla="*/ 0 h 8917"/>
                          <a:gd name="connsiteX6" fmla="*/ 3527 w 14579"/>
                          <a:gd name="connsiteY6" fmla="*/ 1884 h 8917"/>
                          <a:gd name="connsiteX7" fmla="*/ 13198 w 14579"/>
                          <a:gd name="connsiteY7" fmla="*/ 7033 h 8917"/>
                          <a:gd name="connsiteX8" fmla="*/ 14580 w 14579"/>
                          <a:gd name="connsiteY8" fmla="*/ 7536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79" h="8917">
                            <a:moveTo>
                              <a:pt x="14580" y="7536"/>
                            </a:moveTo>
                            <a:lnTo>
                              <a:pt x="13826" y="8917"/>
                            </a:lnTo>
                            <a:cubicBezTo>
                              <a:pt x="13826" y="8917"/>
                              <a:pt x="13324" y="8792"/>
                              <a:pt x="12444" y="8415"/>
                            </a:cubicBezTo>
                            <a:cubicBezTo>
                              <a:pt x="10184" y="7410"/>
                              <a:pt x="5788" y="5024"/>
                              <a:pt x="2774" y="3265"/>
                            </a:cubicBezTo>
                            <a:cubicBezTo>
                              <a:pt x="889" y="2135"/>
                              <a:pt x="-115" y="1507"/>
                              <a:pt x="11" y="1382"/>
                            </a:cubicBezTo>
                            <a:lnTo>
                              <a:pt x="764" y="0"/>
                            </a:lnTo>
                            <a:cubicBezTo>
                              <a:pt x="764" y="126"/>
                              <a:pt x="1643" y="754"/>
                              <a:pt x="3527" y="1884"/>
                            </a:cubicBezTo>
                            <a:cubicBezTo>
                              <a:pt x="6541" y="3642"/>
                              <a:pt x="10937" y="5903"/>
                              <a:pt x="13198" y="7033"/>
                            </a:cubicBezTo>
                            <a:cubicBezTo>
                              <a:pt x="14077" y="7410"/>
                              <a:pt x="14454" y="7536"/>
                              <a:pt x="14580" y="7536"/>
                            </a:cubicBezTo>
                            <a:close/>
                          </a:path>
                        </a:pathLst>
                      </a:custGeom>
                      <a:solidFill>
                        <a:srgbClr val="5E55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8" name="Freeform: Shape 1177">
                        <a:extLst>
                          <a:ext uri="{FF2B5EF4-FFF2-40B4-BE49-F238E27FC236}">
                            <a16:creationId xmlns:a16="http://schemas.microsoft.com/office/drawing/2014/main" id="{9984165C-3EF3-4936-A4EA-27D8BF581B98}"/>
                          </a:ext>
                        </a:extLst>
                      </p:cNvPr>
                      <p:cNvSpPr/>
                      <p:nvPr/>
                    </p:nvSpPr>
                    <p:spPr>
                      <a:xfrm>
                        <a:off x="3722507" y="1712963"/>
                        <a:ext cx="5651" cy="4019"/>
                      </a:xfrm>
                      <a:custGeom>
                        <a:avLst/>
                        <a:gdLst>
                          <a:gd name="connsiteX0" fmla="*/ 0 w 5651"/>
                          <a:gd name="connsiteY0" fmla="*/ 1382 h 4019"/>
                          <a:gd name="connsiteX1" fmla="*/ 4898 w 5651"/>
                          <a:gd name="connsiteY1" fmla="*/ 4019 h 4019"/>
                          <a:gd name="connsiteX2" fmla="*/ 5652 w 5651"/>
                          <a:gd name="connsiteY2" fmla="*/ 2638 h 4019"/>
                          <a:gd name="connsiteX3" fmla="*/ 754 w 5651"/>
                          <a:gd name="connsiteY3" fmla="*/ 0 h 4019"/>
                          <a:gd name="connsiteX4" fmla="*/ 0 w 5651"/>
                          <a:gd name="connsiteY4" fmla="*/ 1382 h 4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1" h="4019">
                            <a:moveTo>
                              <a:pt x="0" y="1382"/>
                            </a:moveTo>
                            <a:cubicBezTo>
                              <a:pt x="1507" y="2261"/>
                              <a:pt x="3266" y="3265"/>
                              <a:pt x="4898" y="4019"/>
                            </a:cubicBezTo>
                            <a:lnTo>
                              <a:pt x="5652" y="2638"/>
                            </a:lnTo>
                            <a:cubicBezTo>
                              <a:pt x="4019" y="1758"/>
                              <a:pt x="2261" y="879"/>
                              <a:pt x="754" y="0"/>
                            </a:cubicBezTo>
                            <a:lnTo>
                              <a:pt x="0" y="1382"/>
                            </a:lnTo>
                            <a:close/>
                          </a:path>
                        </a:pathLst>
                      </a:custGeom>
                      <a:solidFill>
                        <a:srgbClr val="9790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9" name="Freeform: Shape 1178">
                        <a:extLst>
                          <a:ext uri="{FF2B5EF4-FFF2-40B4-BE49-F238E27FC236}">
                            <a16:creationId xmlns:a16="http://schemas.microsoft.com/office/drawing/2014/main" id="{99A26FAA-B5A3-44D4-AAB7-2E8B0D6D4DED}"/>
                          </a:ext>
                        </a:extLst>
                      </p:cNvPr>
                      <p:cNvSpPr/>
                      <p:nvPr/>
                    </p:nvSpPr>
                    <p:spPr>
                      <a:xfrm>
                        <a:off x="3719435" y="1710474"/>
                        <a:ext cx="13806" cy="7489"/>
                      </a:xfrm>
                      <a:custGeom>
                        <a:avLst/>
                        <a:gdLst>
                          <a:gd name="connsiteX0" fmla="*/ 10985 w 13806"/>
                          <a:gd name="connsiteY0" fmla="*/ 5629 h 7489"/>
                          <a:gd name="connsiteX1" fmla="*/ 12492 w 13806"/>
                          <a:gd name="connsiteY1" fmla="*/ 7010 h 7489"/>
                          <a:gd name="connsiteX2" fmla="*/ 2822 w 13806"/>
                          <a:gd name="connsiteY2" fmla="*/ 1861 h 7489"/>
                          <a:gd name="connsiteX3" fmla="*/ 1315 w 13806"/>
                          <a:gd name="connsiteY3" fmla="*/ 480 h 7489"/>
                          <a:gd name="connsiteX4" fmla="*/ 10985 w 13806"/>
                          <a:gd name="connsiteY4" fmla="*/ 5629 h 7489"/>
                          <a:gd name="connsiteX5" fmla="*/ 11111 w 13806"/>
                          <a:gd name="connsiteY5" fmla="*/ 6257 h 7489"/>
                          <a:gd name="connsiteX6" fmla="*/ 11111 w 13806"/>
                          <a:gd name="connsiteY6" fmla="*/ 6257 h 7489"/>
                          <a:gd name="connsiteX7" fmla="*/ 9980 w 13806"/>
                          <a:gd name="connsiteY7" fmla="*/ 5252 h 7489"/>
                          <a:gd name="connsiteX8" fmla="*/ 2570 w 13806"/>
                          <a:gd name="connsiteY8" fmla="*/ 1359 h 7489"/>
                          <a:gd name="connsiteX9" fmla="*/ 2570 w 13806"/>
                          <a:gd name="connsiteY9" fmla="*/ 1359 h 7489"/>
                          <a:gd name="connsiteX10" fmla="*/ 2570 w 13806"/>
                          <a:gd name="connsiteY10" fmla="*/ 1359 h 7489"/>
                          <a:gd name="connsiteX11" fmla="*/ 3701 w 13806"/>
                          <a:gd name="connsiteY11" fmla="*/ 2363 h 7489"/>
                          <a:gd name="connsiteX12" fmla="*/ 10860 w 13806"/>
                          <a:gd name="connsiteY12" fmla="*/ 6131 h 7489"/>
                          <a:gd name="connsiteX13" fmla="*/ 11111 w 13806"/>
                          <a:gd name="connsiteY13" fmla="*/ 6257 h 7489"/>
                          <a:gd name="connsiteX14" fmla="*/ 11111 w 13806"/>
                          <a:gd name="connsiteY14" fmla="*/ 6257 h 7489"/>
                          <a:gd name="connsiteX15" fmla="*/ 11111 w 13806"/>
                          <a:gd name="connsiteY15" fmla="*/ 6257 h 7489"/>
                          <a:gd name="connsiteX16" fmla="*/ 11111 w 13806"/>
                          <a:gd name="connsiteY16" fmla="*/ 6257 h 7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06" h="7489">
                            <a:moveTo>
                              <a:pt x="10985" y="5629"/>
                            </a:moveTo>
                            <a:cubicBezTo>
                              <a:pt x="14000" y="7387"/>
                              <a:pt x="14753" y="8015"/>
                              <a:pt x="12492" y="7010"/>
                            </a:cubicBezTo>
                            <a:cubicBezTo>
                              <a:pt x="10232" y="6006"/>
                              <a:pt x="5836" y="3619"/>
                              <a:pt x="2822" y="1861"/>
                            </a:cubicBezTo>
                            <a:cubicBezTo>
                              <a:pt x="-193" y="103"/>
                              <a:pt x="-946" y="-525"/>
                              <a:pt x="1315" y="480"/>
                            </a:cubicBezTo>
                            <a:cubicBezTo>
                              <a:pt x="3575" y="1610"/>
                              <a:pt x="7971" y="3871"/>
                              <a:pt x="10985" y="5629"/>
                            </a:cubicBezTo>
                            <a:close/>
                            <a:moveTo>
                              <a:pt x="11111" y="6257"/>
                            </a:moveTo>
                            <a:cubicBezTo>
                              <a:pt x="11111" y="6257"/>
                              <a:pt x="11111" y="6257"/>
                              <a:pt x="11111" y="6257"/>
                            </a:cubicBezTo>
                            <a:cubicBezTo>
                              <a:pt x="12869" y="7010"/>
                              <a:pt x="12367" y="6634"/>
                              <a:pt x="9980" y="5252"/>
                            </a:cubicBezTo>
                            <a:cubicBezTo>
                              <a:pt x="7594" y="3871"/>
                              <a:pt x="4329" y="2112"/>
                              <a:pt x="2570" y="1359"/>
                            </a:cubicBezTo>
                            <a:cubicBezTo>
                              <a:pt x="2570" y="1359"/>
                              <a:pt x="2570" y="1359"/>
                              <a:pt x="2570" y="1359"/>
                            </a:cubicBezTo>
                            <a:cubicBezTo>
                              <a:pt x="2570" y="1359"/>
                              <a:pt x="2570" y="1359"/>
                              <a:pt x="2570" y="1359"/>
                            </a:cubicBezTo>
                            <a:cubicBezTo>
                              <a:pt x="938" y="605"/>
                              <a:pt x="1440" y="1107"/>
                              <a:pt x="3701" y="2363"/>
                            </a:cubicBezTo>
                            <a:cubicBezTo>
                              <a:pt x="5962" y="3619"/>
                              <a:pt x="9102" y="5378"/>
                              <a:pt x="10860" y="6131"/>
                            </a:cubicBezTo>
                            <a:cubicBezTo>
                              <a:pt x="10985" y="6131"/>
                              <a:pt x="10985" y="6131"/>
                              <a:pt x="11111" y="6257"/>
                            </a:cubicBezTo>
                            <a:cubicBezTo>
                              <a:pt x="11111" y="6131"/>
                              <a:pt x="11111" y="6131"/>
                              <a:pt x="11111" y="6257"/>
                            </a:cubicBezTo>
                            <a:cubicBezTo>
                              <a:pt x="11111" y="6131"/>
                              <a:pt x="11111" y="6131"/>
                              <a:pt x="11111" y="6257"/>
                            </a:cubicBezTo>
                            <a:lnTo>
                              <a:pt x="11111" y="6257"/>
                            </a:ln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180" name="Freeform: Shape 1179">
                    <a:extLst>
                      <a:ext uri="{FF2B5EF4-FFF2-40B4-BE49-F238E27FC236}">
                        <a16:creationId xmlns:a16="http://schemas.microsoft.com/office/drawing/2014/main" id="{0267B7CF-2F07-458A-A21E-8F2AD66EDC6A}"/>
                      </a:ext>
                    </a:extLst>
                  </p:cNvPr>
                  <p:cNvSpPr/>
                  <p:nvPr/>
                </p:nvSpPr>
                <p:spPr>
                  <a:xfrm>
                    <a:off x="3735946" y="1752023"/>
                    <a:ext cx="12559" cy="9168"/>
                  </a:xfrm>
                  <a:custGeom>
                    <a:avLst/>
                    <a:gdLst>
                      <a:gd name="connsiteX0" fmla="*/ 4019 w 12559"/>
                      <a:gd name="connsiteY0" fmla="*/ 0 h 9168"/>
                      <a:gd name="connsiteX1" fmla="*/ 0 w 12559"/>
                      <a:gd name="connsiteY1" fmla="*/ 2386 h 9168"/>
                      <a:gd name="connsiteX2" fmla="*/ 1633 w 12559"/>
                      <a:gd name="connsiteY2" fmla="*/ 3391 h 9168"/>
                      <a:gd name="connsiteX3" fmla="*/ 5400 w 12559"/>
                      <a:gd name="connsiteY3" fmla="*/ 9168 h 9168"/>
                      <a:gd name="connsiteX4" fmla="*/ 12559 w 12559"/>
                      <a:gd name="connsiteY4" fmla="*/ 5024 h 9168"/>
                      <a:gd name="connsiteX5" fmla="*/ 4019 w 12559"/>
                      <a:gd name="connsiteY5" fmla="*/ 0 h 9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9" h="9168">
                        <a:moveTo>
                          <a:pt x="4019" y="0"/>
                        </a:moveTo>
                        <a:lnTo>
                          <a:pt x="0" y="2386"/>
                        </a:lnTo>
                        <a:cubicBezTo>
                          <a:pt x="0" y="2386"/>
                          <a:pt x="1256" y="3140"/>
                          <a:pt x="1633" y="3391"/>
                        </a:cubicBezTo>
                        <a:cubicBezTo>
                          <a:pt x="3517" y="4521"/>
                          <a:pt x="4773" y="6405"/>
                          <a:pt x="5400" y="9168"/>
                        </a:cubicBezTo>
                        <a:lnTo>
                          <a:pt x="12559" y="5024"/>
                        </a:lnTo>
                        <a:lnTo>
                          <a:pt x="4019" y="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81" name="Freeform: Shape 1180">
                    <a:extLst>
                      <a:ext uri="{FF2B5EF4-FFF2-40B4-BE49-F238E27FC236}">
                        <a16:creationId xmlns:a16="http://schemas.microsoft.com/office/drawing/2014/main" id="{C8F32847-E971-4893-B826-807498BC1F01}"/>
                      </a:ext>
                    </a:extLst>
                  </p:cNvPr>
                  <p:cNvSpPr/>
                  <p:nvPr/>
                </p:nvSpPr>
                <p:spPr>
                  <a:xfrm>
                    <a:off x="3739965" y="1740593"/>
                    <a:ext cx="12182" cy="16327"/>
                  </a:xfrm>
                  <a:custGeom>
                    <a:avLst/>
                    <a:gdLst>
                      <a:gd name="connsiteX0" fmla="*/ 3642 w 12182"/>
                      <a:gd name="connsiteY0" fmla="*/ 0 h 16327"/>
                      <a:gd name="connsiteX1" fmla="*/ 3642 w 12182"/>
                      <a:gd name="connsiteY1" fmla="*/ 5024 h 16327"/>
                      <a:gd name="connsiteX2" fmla="*/ 0 w 12182"/>
                      <a:gd name="connsiteY2" fmla="*/ 11429 h 16327"/>
                      <a:gd name="connsiteX3" fmla="*/ 8540 w 12182"/>
                      <a:gd name="connsiteY3" fmla="*/ 16327 h 16327"/>
                      <a:gd name="connsiteX4" fmla="*/ 12183 w 12182"/>
                      <a:gd name="connsiteY4" fmla="*/ 9922 h 16327"/>
                      <a:gd name="connsiteX5" fmla="*/ 12183 w 12182"/>
                      <a:gd name="connsiteY5" fmla="*/ 4898 h 16327"/>
                      <a:gd name="connsiteX6" fmla="*/ 3642 w 12182"/>
                      <a:gd name="connsiteY6" fmla="*/ 0 h 1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2" h="16327">
                        <a:moveTo>
                          <a:pt x="3642" y="0"/>
                        </a:moveTo>
                        <a:lnTo>
                          <a:pt x="3642" y="5024"/>
                        </a:lnTo>
                        <a:cubicBezTo>
                          <a:pt x="3642" y="7410"/>
                          <a:pt x="2009" y="10173"/>
                          <a:pt x="0" y="11429"/>
                        </a:cubicBezTo>
                        <a:lnTo>
                          <a:pt x="8540" y="16327"/>
                        </a:lnTo>
                        <a:cubicBezTo>
                          <a:pt x="10550" y="15197"/>
                          <a:pt x="12183" y="12308"/>
                          <a:pt x="12183" y="9922"/>
                        </a:cubicBezTo>
                        <a:lnTo>
                          <a:pt x="12183" y="4898"/>
                        </a:lnTo>
                        <a:lnTo>
                          <a:pt x="3642" y="0"/>
                        </a:ln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82" name="Freeform: Shape 1181">
                    <a:extLst>
                      <a:ext uri="{FF2B5EF4-FFF2-40B4-BE49-F238E27FC236}">
                        <a16:creationId xmlns:a16="http://schemas.microsoft.com/office/drawing/2014/main" id="{9CB56362-68A0-4D55-837B-26CA27FCC58C}"/>
                      </a:ext>
                    </a:extLst>
                  </p:cNvPr>
                  <p:cNvSpPr/>
                  <p:nvPr/>
                </p:nvSpPr>
                <p:spPr>
                  <a:xfrm>
                    <a:off x="3771489" y="1734188"/>
                    <a:ext cx="376" cy="4772"/>
                  </a:xfrm>
                  <a:custGeom>
                    <a:avLst/>
                    <a:gdLst>
                      <a:gd name="connsiteX0" fmla="*/ 377 w 376"/>
                      <a:gd name="connsiteY0" fmla="*/ 0 h 4772"/>
                      <a:gd name="connsiteX1" fmla="*/ 0 w 376"/>
                      <a:gd name="connsiteY1" fmla="*/ 251 h 4772"/>
                      <a:gd name="connsiteX2" fmla="*/ 0 w 376"/>
                      <a:gd name="connsiteY2" fmla="*/ 4773 h 4772"/>
                      <a:gd name="connsiteX3" fmla="*/ 377 w 376"/>
                      <a:gd name="connsiteY3" fmla="*/ 4521 h 4772"/>
                    </a:gdLst>
                    <a:ahLst/>
                    <a:cxnLst>
                      <a:cxn ang="0">
                        <a:pos x="connsiteX0" y="connsiteY0"/>
                      </a:cxn>
                      <a:cxn ang="0">
                        <a:pos x="connsiteX1" y="connsiteY1"/>
                      </a:cxn>
                      <a:cxn ang="0">
                        <a:pos x="connsiteX2" y="connsiteY2"/>
                      </a:cxn>
                      <a:cxn ang="0">
                        <a:pos x="connsiteX3" y="connsiteY3"/>
                      </a:cxn>
                    </a:cxnLst>
                    <a:rect l="l" t="t" r="r" b="b"/>
                    <a:pathLst>
                      <a:path w="376" h="4772">
                        <a:moveTo>
                          <a:pt x="377" y="0"/>
                        </a:moveTo>
                        <a:lnTo>
                          <a:pt x="0" y="251"/>
                        </a:lnTo>
                        <a:lnTo>
                          <a:pt x="0" y="4773"/>
                        </a:lnTo>
                        <a:lnTo>
                          <a:pt x="377" y="4521"/>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83" name="Graphic 4">
                    <a:extLst>
                      <a:ext uri="{FF2B5EF4-FFF2-40B4-BE49-F238E27FC236}">
                        <a16:creationId xmlns:a16="http://schemas.microsoft.com/office/drawing/2014/main" id="{84FB7ED1-A2DF-40A1-A747-5F7CF3F14040}"/>
                      </a:ext>
                    </a:extLst>
                  </p:cNvPr>
                  <p:cNvGrpSpPr/>
                  <p:nvPr/>
                </p:nvGrpSpPr>
                <p:grpSpPr>
                  <a:xfrm>
                    <a:off x="3688942" y="1733560"/>
                    <a:ext cx="16484" cy="6499"/>
                    <a:chOff x="3688942" y="1733560"/>
                    <a:chExt cx="16484" cy="6499"/>
                  </a:xfrm>
                  <a:solidFill>
                    <a:schemeClr val="accent1"/>
                  </a:solidFill>
                </p:grpSpPr>
                <p:grpSp>
                  <p:nvGrpSpPr>
                    <p:cNvPr id="1184" name="Graphic 4">
                      <a:extLst>
                        <a:ext uri="{FF2B5EF4-FFF2-40B4-BE49-F238E27FC236}">
                          <a16:creationId xmlns:a16="http://schemas.microsoft.com/office/drawing/2014/main" id="{84FB7ED1-A2DF-40A1-A747-5F7CF3F14040}"/>
                        </a:ext>
                      </a:extLst>
                    </p:cNvPr>
                    <p:cNvGrpSpPr/>
                    <p:nvPr/>
                  </p:nvGrpSpPr>
                  <p:grpSpPr>
                    <a:xfrm>
                      <a:off x="3698645" y="1733560"/>
                      <a:ext cx="3516" cy="4615"/>
                      <a:chOff x="3698645" y="1733560"/>
                      <a:chExt cx="3516" cy="4615"/>
                    </a:xfrm>
                    <a:solidFill>
                      <a:schemeClr val="accent1"/>
                    </a:solidFill>
                  </p:grpSpPr>
                  <p:sp>
                    <p:nvSpPr>
                      <p:cNvPr id="1185" name="Freeform: Shape 1184">
                        <a:extLst>
                          <a:ext uri="{FF2B5EF4-FFF2-40B4-BE49-F238E27FC236}">
                            <a16:creationId xmlns:a16="http://schemas.microsoft.com/office/drawing/2014/main" id="{CCFEA22B-549E-4CE9-961A-A635844F14A0}"/>
                          </a:ext>
                        </a:extLst>
                      </p:cNvPr>
                      <p:cNvSpPr/>
                      <p:nvPr/>
                    </p:nvSpPr>
                    <p:spPr>
                      <a:xfrm>
                        <a:off x="3698645" y="1733560"/>
                        <a:ext cx="3516" cy="4521"/>
                      </a:xfrm>
                      <a:custGeom>
                        <a:avLst/>
                        <a:gdLst>
                          <a:gd name="connsiteX0" fmla="*/ 1381 w 3516"/>
                          <a:gd name="connsiteY0" fmla="*/ 4521 h 4521"/>
                          <a:gd name="connsiteX1" fmla="*/ 3517 w 3516"/>
                          <a:gd name="connsiteY1" fmla="*/ 502 h 4521"/>
                          <a:gd name="connsiteX2" fmla="*/ 2637 w 3516"/>
                          <a:gd name="connsiteY2" fmla="*/ 0 h 4521"/>
                          <a:gd name="connsiteX3" fmla="*/ 1633 w 3516"/>
                          <a:gd name="connsiteY3" fmla="*/ 377 h 4521"/>
                          <a:gd name="connsiteX4" fmla="*/ 0 w 3516"/>
                          <a:gd name="connsiteY4" fmla="*/ 2889 h 4521"/>
                          <a:gd name="connsiteX5" fmla="*/ 0 w 3516"/>
                          <a:gd name="connsiteY5" fmla="*/ 2889 h 4521"/>
                          <a:gd name="connsiteX6" fmla="*/ 377 w 3516"/>
                          <a:gd name="connsiteY6" fmla="*/ 4019 h 4521"/>
                          <a:gd name="connsiteX7" fmla="*/ 1381 w 3516"/>
                          <a:gd name="connsiteY7" fmla="*/ 4521 h 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6" h="4521">
                            <a:moveTo>
                              <a:pt x="1381" y="4521"/>
                            </a:moveTo>
                            <a:lnTo>
                              <a:pt x="3517" y="502"/>
                            </a:lnTo>
                            <a:lnTo>
                              <a:pt x="2637" y="0"/>
                            </a:lnTo>
                            <a:lnTo>
                              <a:pt x="1633" y="377"/>
                            </a:lnTo>
                            <a:cubicBezTo>
                              <a:pt x="754" y="754"/>
                              <a:pt x="126" y="1884"/>
                              <a:pt x="0" y="2889"/>
                            </a:cubicBezTo>
                            <a:lnTo>
                              <a:pt x="0" y="2889"/>
                            </a:lnTo>
                            <a:cubicBezTo>
                              <a:pt x="0" y="3517"/>
                              <a:pt x="126" y="3893"/>
                              <a:pt x="377" y="4019"/>
                            </a:cubicBezTo>
                            <a:cubicBezTo>
                              <a:pt x="754" y="4145"/>
                              <a:pt x="1381" y="4521"/>
                              <a:pt x="1381" y="4521"/>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86" name="Graphic 4">
                        <a:extLst>
                          <a:ext uri="{FF2B5EF4-FFF2-40B4-BE49-F238E27FC236}">
                            <a16:creationId xmlns:a16="http://schemas.microsoft.com/office/drawing/2014/main" id="{84FB7ED1-A2DF-40A1-A747-5F7CF3F14040}"/>
                          </a:ext>
                        </a:extLst>
                      </p:cNvPr>
                      <p:cNvGrpSpPr/>
                      <p:nvPr/>
                    </p:nvGrpSpPr>
                    <p:grpSpPr>
                      <a:xfrm>
                        <a:off x="3699524" y="1734062"/>
                        <a:ext cx="2637" cy="4113"/>
                        <a:chOff x="3699524" y="1734062"/>
                        <a:chExt cx="2637" cy="4113"/>
                      </a:xfrm>
                      <a:solidFill>
                        <a:schemeClr val="accent1"/>
                      </a:solidFill>
                    </p:grpSpPr>
                    <p:sp>
                      <p:nvSpPr>
                        <p:cNvPr id="1187" name="Freeform: Shape 1186">
                          <a:extLst>
                            <a:ext uri="{FF2B5EF4-FFF2-40B4-BE49-F238E27FC236}">
                              <a16:creationId xmlns:a16="http://schemas.microsoft.com/office/drawing/2014/main" id="{69B5B0DB-3451-4521-BF87-5440C015F013}"/>
                            </a:ext>
                          </a:extLst>
                        </p:cNvPr>
                        <p:cNvSpPr/>
                        <p:nvPr/>
                      </p:nvSpPr>
                      <p:spPr>
                        <a:xfrm>
                          <a:off x="3699524" y="1734062"/>
                          <a:ext cx="2637" cy="4113"/>
                        </a:xfrm>
                        <a:custGeom>
                          <a:avLst/>
                          <a:gdLst>
                            <a:gd name="connsiteX0" fmla="*/ 1381 w 2637"/>
                            <a:gd name="connsiteY0" fmla="*/ 4019 h 4113"/>
                            <a:gd name="connsiteX1" fmla="*/ 2512 w 2637"/>
                            <a:gd name="connsiteY1" fmla="*/ 3517 h 4113"/>
                            <a:gd name="connsiteX2" fmla="*/ 2637 w 2637"/>
                            <a:gd name="connsiteY2" fmla="*/ 0 h 4113"/>
                            <a:gd name="connsiteX3" fmla="*/ 1632 w 2637"/>
                            <a:gd name="connsiteY3" fmla="*/ 377 h 4113"/>
                            <a:gd name="connsiteX4" fmla="*/ 0 w 2637"/>
                            <a:gd name="connsiteY4" fmla="*/ 2889 h 4113"/>
                            <a:gd name="connsiteX5" fmla="*/ 0 w 2637"/>
                            <a:gd name="connsiteY5" fmla="*/ 2889 h 4113"/>
                            <a:gd name="connsiteX6" fmla="*/ 377 w 2637"/>
                            <a:gd name="connsiteY6" fmla="*/ 4019 h 4113"/>
                            <a:gd name="connsiteX7" fmla="*/ 1381 w 2637"/>
                            <a:gd name="connsiteY7" fmla="*/ 4019 h 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7" h="4113">
                              <a:moveTo>
                                <a:pt x="1381" y="4019"/>
                              </a:moveTo>
                              <a:lnTo>
                                <a:pt x="2512" y="3517"/>
                              </a:lnTo>
                              <a:lnTo>
                                <a:pt x="2637" y="0"/>
                              </a:lnTo>
                              <a:lnTo>
                                <a:pt x="1632" y="377"/>
                              </a:lnTo>
                              <a:cubicBezTo>
                                <a:pt x="754" y="754"/>
                                <a:pt x="125" y="1884"/>
                                <a:pt x="0" y="2889"/>
                              </a:cubicBezTo>
                              <a:lnTo>
                                <a:pt x="0" y="2889"/>
                              </a:lnTo>
                              <a:cubicBezTo>
                                <a:pt x="0" y="3517"/>
                                <a:pt x="125" y="3893"/>
                                <a:pt x="377" y="4019"/>
                              </a:cubicBezTo>
                              <a:cubicBezTo>
                                <a:pt x="754" y="4145"/>
                                <a:pt x="1005" y="4145"/>
                                <a:pt x="1381" y="4019"/>
                              </a:cubicBezTo>
                              <a:close/>
                            </a:path>
                          </a:pathLst>
                        </a:custGeom>
                        <a:solidFill>
                          <a:srgbClr val="B87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88" name="Freeform: Shape 1187">
                          <a:extLst>
                            <a:ext uri="{FF2B5EF4-FFF2-40B4-BE49-F238E27FC236}">
                              <a16:creationId xmlns:a16="http://schemas.microsoft.com/office/drawing/2014/main" id="{447C366D-6B1F-4F93-A631-0E58F5102B1A}"/>
                            </a:ext>
                          </a:extLst>
                        </p:cNvPr>
                        <p:cNvSpPr/>
                        <p:nvPr/>
                      </p:nvSpPr>
                      <p:spPr>
                        <a:xfrm>
                          <a:off x="3700378" y="1735239"/>
                          <a:ext cx="1532" cy="1995"/>
                        </a:xfrm>
                        <a:custGeom>
                          <a:avLst/>
                          <a:gdLst>
                            <a:gd name="connsiteX0" fmla="*/ 1532 w 1532"/>
                            <a:gd name="connsiteY0" fmla="*/ 708 h 1995"/>
                            <a:gd name="connsiteX1" fmla="*/ 653 w 1532"/>
                            <a:gd name="connsiteY1" fmla="*/ 1964 h 1995"/>
                            <a:gd name="connsiteX2" fmla="*/ 25 w 1532"/>
                            <a:gd name="connsiteY2" fmla="*/ 1336 h 1995"/>
                            <a:gd name="connsiteX3" fmla="*/ 904 w 1532"/>
                            <a:gd name="connsiteY3" fmla="*/ 80 h 1995"/>
                            <a:gd name="connsiteX4" fmla="*/ 1532 w 1532"/>
                            <a:gd name="connsiteY4" fmla="*/ 708 h 1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2" h="1995">
                              <a:moveTo>
                                <a:pt x="1532" y="708"/>
                              </a:moveTo>
                              <a:cubicBezTo>
                                <a:pt x="1532" y="1210"/>
                                <a:pt x="1030" y="1838"/>
                                <a:pt x="653" y="1964"/>
                              </a:cubicBezTo>
                              <a:cubicBezTo>
                                <a:pt x="276" y="2089"/>
                                <a:pt x="-101" y="1838"/>
                                <a:pt x="25" y="1336"/>
                              </a:cubicBezTo>
                              <a:cubicBezTo>
                                <a:pt x="25" y="833"/>
                                <a:pt x="527" y="206"/>
                                <a:pt x="904" y="80"/>
                              </a:cubicBezTo>
                              <a:cubicBezTo>
                                <a:pt x="1281" y="-171"/>
                                <a:pt x="1532" y="206"/>
                                <a:pt x="1532" y="708"/>
                              </a:cubicBezTo>
                              <a:close/>
                            </a:path>
                          </a:pathLst>
                        </a:custGeom>
                        <a:solidFill>
                          <a:srgbClr val="52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189" name="Graphic 4">
                      <a:extLst>
                        <a:ext uri="{FF2B5EF4-FFF2-40B4-BE49-F238E27FC236}">
                          <a16:creationId xmlns:a16="http://schemas.microsoft.com/office/drawing/2014/main" id="{84FB7ED1-A2DF-40A1-A747-5F7CF3F14040}"/>
                        </a:ext>
                      </a:extLst>
                    </p:cNvPr>
                    <p:cNvGrpSpPr/>
                    <p:nvPr/>
                  </p:nvGrpSpPr>
                  <p:grpSpPr>
                    <a:xfrm>
                      <a:off x="3688942" y="1735299"/>
                      <a:ext cx="15181" cy="3410"/>
                      <a:chOff x="3688942" y="1735299"/>
                      <a:chExt cx="15181" cy="3410"/>
                    </a:xfrm>
                    <a:solidFill>
                      <a:schemeClr val="accent1"/>
                    </a:solidFill>
                  </p:grpSpPr>
                  <p:sp>
                    <p:nvSpPr>
                      <p:cNvPr id="1190" name="Freeform: Shape 1189">
                        <a:extLst>
                          <a:ext uri="{FF2B5EF4-FFF2-40B4-BE49-F238E27FC236}">
                            <a16:creationId xmlns:a16="http://schemas.microsoft.com/office/drawing/2014/main" id="{3284F6D8-9091-4D39-926D-C9BED80136E5}"/>
                          </a:ext>
                        </a:extLst>
                      </p:cNvPr>
                      <p:cNvSpPr/>
                      <p:nvPr/>
                    </p:nvSpPr>
                    <p:spPr>
                      <a:xfrm>
                        <a:off x="3695881" y="1735318"/>
                        <a:ext cx="8242" cy="3391"/>
                      </a:xfrm>
                      <a:custGeom>
                        <a:avLst/>
                        <a:gdLst>
                          <a:gd name="connsiteX0" fmla="*/ 8164 w 8242"/>
                          <a:gd name="connsiteY0" fmla="*/ 1005 h 3391"/>
                          <a:gd name="connsiteX1" fmla="*/ 7536 w 8242"/>
                          <a:gd name="connsiteY1" fmla="*/ 126 h 3391"/>
                          <a:gd name="connsiteX2" fmla="*/ 7033 w 8242"/>
                          <a:gd name="connsiteY2" fmla="*/ 0 h 3391"/>
                          <a:gd name="connsiteX3" fmla="*/ 0 w 8242"/>
                          <a:gd name="connsiteY3" fmla="*/ 126 h 3391"/>
                          <a:gd name="connsiteX4" fmla="*/ 0 w 8242"/>
                          <a:gd name="connsiteY4" fmla="*/ 3391 h 3391"/>
                          <a:gd name="connsiteX5" fmla="*/ 7033 w 8242"/>
                          <a:gd name="connsiteY5" fmla="*/ 3265 h 3391"/>
                          <a:gd name="connsiteX6" fmla="*/ 7410 w 8242"/>
                          <a:gd name="connsiteY6" fmla="*/ 3140 h 3391"/>
                          <a:gd name="connsiteX7" fmla="*/ 8164 w 8242"/>
                          <a:gd name="connsiteY7" fmla="*/ 1005 h 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2" h="3391">
                            <a:moveTo>
                              <a:pt x="8164" y="1005"/>
                            </a:moveTo>
                            <a:cubicBezTo>
                              <a:pt x="8038" y="628"/>
                              <a:pt x="7787" y="251"/>
                              <a:pt x="7536" y="126"/>
                            </a:cubicBezTo>
                            <a:cubicBezTo>
                              <a:pt x="7410" y="0"/>
                              <a:pt x="7159" y="0"/>
                              <a:pt x="7033" y="0"/>
                            </a:cubicBezTo>
                            <a:lnTo>
                              <a:pt x="0" y="126"/>
                            </a:lnTo>
                            <a:lnTo>
                              <a:pt x="0" y="3391"/>
                            </a:lnTo>
                            <a:lnTo>
                              <a:pt x="7033" y="3265"/>
                            </a:lnTo>
                            <a:cubicBezTo>
                              <a:pt x="7159" y="3265"/>
                              <a:pt x="7284" y="3265"/>
                              <a:pt x="7410" y="3140"/>
                            </a:cubicBezTo>
                            <a:cubicBezTo>
                              <a:pt x="8038" y="2763"/>
                              <a:pt x="8415" y="1884"/>
                              <a:pt x="8164" y="1005"/>
                            </a:cubicBezTo>
                            <a:close/>
                          </a:path>
                        </a:pathLst>
                      </a:custGeom>
                      <a:solidFill>
                        <a:srgbClr val="5E5D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1" name="Freeform: Shape 1190">
                        <a:extLst>
                          <a:ext uri="{FF2B5EF4-FFF2-40B4-BE49-F238E27FC236}">
                            <a16:creationId xmlns:a16="http://schemas.microsoft.com/office/drawing/2014/main" id="{169961DC-1532-42B3-9AC5-708636733E68}"/>
                          </a:ext>
                        </a:extLst>
                      </p:cNvPr>
                      <p:cNvSpPr/>
                      <p:nvPr/>
                    </p:nvSpPr>
                    <p:spPr>
                      <a:xfrm>
                        <a:off x="3688942" y="1735413"/>
                        <a:ext cx="1726" cy="2323"/>
                      </a:xfrm>
                      <a:custGeom>
                        <a:avLst/>
                        <a:gdLst>
                          <a:gd name="connsiteX0" fmla="*/ 1539 w 1726"/>
                          <a:gd name="connsiteY0" fmla="*/ 1539 h 2323"/>
                          <a:gd name="connsiteX1" fmla="*/ 283 w 1726"/>
                          <a:gd name="connsiteY1" fmla="*/ 2292 h 2323"/>
                          <a:gd name="connsiteX2" fmla="*/ 283 w 1726"/>
                          <a:gd name="connsiteY2" fmla="*/ 785 h 2323"/>
                          <a:gd name="connsiteX3" fmla="*/ 1539 w 1726"/>
                          <a:gd name="connsiteY3" fmla="*/ 31 h 2323"/>
                          <a:gd name="connsiteX4" fmla="*/ 1539 w 1726"/>
                          <a:gd name="connsiteY4" fmla="*/ 1539 h 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6" h="2323">
                            <a:moveTo>
                              <a:pt x="1539" y="1539"/>
                            </a:moveTo>
                            <a:cubicBezTo>
                              <a:pt x="1162" y="2167"/>
                              <a:pt x="659" y="2418"/>
                              <a:pt x="283" y="2292"/>
                            </a:cubicBezTo>
                            <a:cubicBezTo>
                              <a:pt x="-94" y="2041"/>
                              <a:pt x="-94" y="1413"/>
                              <a:pt x="283" y="785"/>
                            </a:cubicBezTo>
                            <a:cubicBezTo>
                              <a:pt x="659" y="157"/>
                              <a:pt x="1162" y="-94"/>
                              <a:pt x="1539" y="31"/>
                            </a:cubicBezTo>
                            <a:cubicBezTo>
                              <a:pt x="1790" y="408"/>
                              <a:pt x="1790" y="1036"/>
                              <a:pt x="1539" y="1539"/>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2" name="Freeform: Shape 1191">
                        <a:extLst>
                          <a:ext uri="{FF2B5EF4-FFF2-40B4-BE49-F238E27FC236}">
                            <a16:creationId xmlns:a16="http://schemas.microsoft.com/office/drawing/2014/main" id="{43F3C9EF-7364-4C27-8D9D-1E5E853C553F}"/>
                          </a:ext>
                        </a:extLst>
                      </p:cNvPr>
                      <p:cNvSpPr/>
                      <p:nvPr/>
                    </p:nvSpPr>
                    <p:spPr>
                      <a:xfrm>
                        <a:off x="3694547" y="1735299"/>
                        <a:ext cx="2543" cy="3304"/>
                      </a:xfrm>
                      <a:custGeom>
                        <a:avLst/>
                        <a:gdLst>
                          <a:gd name="connsiteX0" fmla="*/ 1837 w 2543"/>
                          <a:gd name="connsiteY0" fmla="*/ 145 h 3304"/>
                          <a:gd name="connsiteX1" fmla="*/ 832 w 2543"/>
                          <a:gd name="connsiteY1" fmla="*/ 145 h 3304"/>
                          <a:gd name="connsiteX2" fmla="*/ 79 w 2543"/>
                          <a:gd name="connsiteY2" fmla="*/ 2280 h 3304"/>
                          <a:gd name="connsiteX3" fmla="*/ 707 w 2543"/>
                          <a:gd name="connsiteY3" fmla="*/ 3159 h 3304"/>
                          <a:gd name="connsiteX4" fmla="*/ 1711 w 2543"/>
                          <a:gd name="connsiteY4" fmla="*/ 3159 h 3304"/>
                          <a:gd name="connsiteX5" fmla="*/ 2465 w 2543"/>
                          <a:gd name="connsiteY5" fmla="*/ 1024 h 3304"/>
                          <a:gd name="connsiteX6" fmla="*/ 1837 w 2543"/>
                          <a:gd name="connsiteY6" fmla="*/ 145 h 3304"/>
                          <a:gd name="connsiteX7" fmla="*/ 1837 w 2543"/>
                          <a:gd name="connsiteY7" fmla="*/ 145 h 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 h="3304">
                            <a:moveTo>
                              <a:pt x="1837" y="145"/>
                            </a:moveTo>
                            <a:cubicBezTo>
                              <a:pt x="1586" y="19"/>
                              <a:pt x="1209" y="-106"/>
                              <a:pt x="832" y="145"/>
                            </a:cubicBezTo>
                            <a:cubicBezTo>
                              <a:pt x="204" y="522"/>
                              <a:pt x="-172" y="1401"/>
                              <a:pt x="79" y="2280"/>
                            </a:cubicBezTo>
                            <a:cubicBezTo>
                              <a:pt x="204" y="2657"/>
                              <a:pt x="455" y="3034"/>
                              <a:pt x="707" y="3159"/>
                            </a:cubicBezTo>
                            <a:cubicBezTo>
                              <a:pt x="958" y="3285"/>
                              <a:pt x="1335" y="3410"/>
                              <a:pt x="1711" y="3159"/>
                            </a:cubicBezTo>
                            <a:cubicBezTo>
                              <a:pt x="2339" y="2782"/>
                              <a:pt x="2716" y="1903"/>
                              <a:pt x="2465" y="1024"/>
                            </a:cubicBezTo>
                            <a:cubicBezTo>
                              <a:pt x="2339" y="647"/>
                              <a:pt x="2088" y="396"/>
                              <a:pt x="1837" y="145"/>
                            </a:cubicBezTo>
                            <a:lnTo>
                              <a:pt x="1837" y="145"/>
                            </a:lnTo>
                            <a:close/>
                          </a:path>
                        </a:pathLst>
                      </a:custGeom>
                      <a:solidFill>
                        <a:srgbClr val="7D7B7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3" name="Freeform: Shape 1192">
                        <a:extLst>
                          <a:ext uri="{FF2B5EF4-FFF2-40B4-BE49-F238E27FC236}">
                            <a16:creationId xmlns:a16="http://schemas.microsoft.com/office/drawing/2014/main" id="{BA131512-2A3F-44E0-8CE8-EFDFA1A424C2}"/>
                          </a:ext>
                        </a:extLst>
                      </p:cNvPr>
                      <p:cNvSpPr/>
                      <p:nvPr/>
                    </p:nvSpPr>
                    <p:spPr>
                      <a:xfrm>
                        <a:off x="3689853" y="1736198"/>
                        <a:ext cx="6656" cy="1632"/>
                      </a:xfrm>
                      <a:custGeom>
                        <a:avLst/>
                        <a:gdLst>
                          <a:gd name="connsiteX0" fmla="*/ 6531 w 6656"/>
                          <a:gd name="connsiteY0" fmla="*/ 502 h 1632"/>
                          <a:gd name="connsiteX1" fmla="*/ 6280 w 6656"/>
                          <a:gd name="connsiteY1" fmla="*/ 126 h 1632"/>
                          <a:gd name="connsiteX2" fmla="*/ 6029 w 6656"/>
                          <a:gd name="connsiteY2" fmla="*/ 0 h 1632"/>
                          <a:gd name="connsiteX3" fmla="*/ 0 w 6656"/>
                          <a:gd name="connsiteY3" fmla="*/ 126 h 1632"/>
                          <a:gd name="connsiteX4" fmla="*/ 0 w 6656"/>
                          <a:gd name="connsiteY4" fmla="*/ 1633 h 1632"/>
                          <a:gd name="connsiteX5" fmla="*/ 6029 w 6656"/>
                          <a:gd name="connsiteY5" fmla="*/ 1507 h 1632"/>
                          <a:gd name="connsiteX6" fmla="*/ 6280 w 6656"/>
                          <a:gd name="connsiteY6" fmla="*/ 1507 h 1632"/>
                          <a:gd name="connsiteX7" fmla="*/ 6657 w 6656"/>
                          <a:gd name="connsiteY7" fmla="*/ 1130 h 1632"/>
                          <a:gd name="connsiteX8" fmla="*/ 6657 w 6656"/>
                          <a:gd name="connsiteY8" fmla="*/ 1130 h 1632"/>
                          <a:gd name="connsiteX9" fmla="*/ 6531 w 6656"/>
                          <a:gd name="connsiteY9" fmla="*/ 502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56" h="1632">
                            <a:moveTo>
                              <a:pt x="6531" y="502"/>
                            </a:moveTo>
                            <a:cubicBezTo>
                              <a:pt x="6531" y="251"/>
                              <a:pt x="6405" y="126"/>
                              <a:pt x="6280" y="126"/>
                            </a:cubicBezTo>
                            <a:cubicBezTo>
                              <a:pt x="6154" y="126"/>
                              <a:pt x="6154" y="0"/>
                              <a:pt x="6029" y="0"/>
                            </a:cubicBezTo>
                            <a:lnTo>
                              <a:pt x="0" y="126"/>
                            </a:lnTo>
                            <a:lnTo>
                              <a:pt x="0" y="1633"/>
                            </a:lnTo>
                            <a:lnTo>
                              <a:pt x="6029" y="1507"/>
                            </a:lnTo>
                            <a:cubicBezTo>
                              <a:pt x="6154" y="1507"/>
                              <a:pt x="6154" y="1507"/>
                              <a:pt x="6280" y="1507"/>
                            </a:cubicBezTo>
                            <a:cubicBezTo>
                              <a:pt x="6405" y="1382"/>
                              <a:pt x="6531" y="1256"/>
                              <a:pt x="6657" y="1130"/>
                            </a:cubicBezTo>
                            <a:cubicBezTo>
                              <a:pt x="6657" y="1130"/>
                              <a:pt x="6657" y="1130"/>
                              <a:pt x="6657" y="1130"/>
                            </a:cubicBezTo>
                            <a:cubicBezTo>
                              <a:pt x="6531" y="879"/>
                              <a:pt x="6531" y="754"/>
                              <a:pt x="6531" y="502"/>
                            </a:cubicBezTo>
                            <a:close/>
                          </a:path>
                        </a:pathLst>
                      </a:custGeom>
                      <a:solidFill>
                        <a:srgbClr val="D1CD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4" name="Freeform: Shape 1193">
                        <a:extLst>
                          <a:ext uri="{FF2B5EF4-FFF2-40B4-BE49-F238E27FC236}">
                            <a16:creationId xmlns:a16="http://schemas.microsoft.com/office/drawing/2014/main" id="{D9F4DD81-B3AF-4C50-8451-9C3B0A8A3FC8}"/>
                          </a:ext>
                        </a:extLst>
                      </p:cNvPr>
                      <p:cNvSpPr/>
                      <p:nvPr/>
                    </p:nvSpPr>
                    <p:spPr>
                      <a:xfrm>
                        <a:off x="3689066" y="1736355"/>
                        <a:ext cx="1257" cy="1569"/>
                      </a:xfrm>
                      <a:custGeom>
                        <a:avLst/>
                        <a:gdLst>
                          <a:gd name="connsiteX0" fmla="*/ 913 w 1257"/>
                          <a:gd name="connsiteY0" fmla="*/ 94 h 1569"/>
                          <a:gd name="connsiteX1" fmla="*/ 410 w 1257"/>
                          <a:gd name="connsiteY1" fmla="*/ 94 h 1569"/>
                          <a:gd name="connsiteX2" fmla="*/ 33 w 1257"/>
                          <a:gd name="connsiteY2" fmla="*/ 1099 h 1569"/>
                          <a:gd name="connsiteX3" fmla="*/ 285 w 1257"/>
                          <a:gd name="connsiteY3" fmla="*/ 1476 h 1569"/>
                          <a:gd name="connsiteX4" fmla="*/ 787 w 1257"/>
                          <a:gd name="connsiteY4" fmla="*/ 1476 h 1569"/>
                          <a:gd name="connsiteX5" fmla="*/ 1164 w 1257"/>
                          <a:gd name="connsiteY5" fmla="*/ 1099 h 1569"/>
                          <a:gd name="connsiteX6" fmla="*/ 1164 w 1257"/>
                          <a:gd name="connsiteY6" fmla="*/ 471 h 1569"/>
                          <a:gd name="connsiteX7" fmla="*/ 913 w 1257"/>
                          <a:gd name="connsiteY7" fmla="*/ 94 h 1569"/>
                          <a:gd name="connsiteX8" fmla="*/ 913 w 1257"/>
                          <a:gd name="connsiteY8" fmla="*/ 94 h 1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7" h="1569">
                            <a:moveTo>
                              <a:pt x="913" y="94"/>
                            </a:moveTo>
                            <a:cubicBezTo>
                              <a:pt x="787" y="-31"/>
                              <a:pt x="662" y="-31"/>
                              <a:pt x="410" y="94"/>
                            </a:cubicBezTo>
                            <a:cubicBezTo>
                              <a:pt x="159" y="220"/>
                              <a:pt x="-92" y="722"/>
                              <a:pt x="33" y="1099"/>
                            </a:cubicBezTo>
                            <a:cubicBezTo>
                              <a:pt x="33" y="1350"/>
                              <a:pt x="159" y="1476"/>
                              <a:pt x="285" y="1476"/>
                            </a:cubicBezTo>
                            <a:cubicBezTo>
                              <a:pt x="410" y="1601"/>
                              <a:pt x="536" y="1601"/>
                              <a:pt x="787" y="1476"/>
                            </a:cubicBezTo>
                            <a:cubicBezTo>
                              <a:pt x="913" y="1350"/>
                              <a:pt x="1038" y="1225"/>
                              <a:pt x="1164" y="1099"/>
                            </a:cubicBezTo>
                            <a:cubicBezTo>
                              <a:pt x="1289" y="973"/>
                              <a:pt x="1289" y="722"/>
                              <a:pt x="1164" y="471"/>
                            </a:cubicBezTo>
                            <a:cubicBezTo>
                              <a:pt x="1164" y="220"/>
                              <a:pt x="1038" y="94"/>
                              <a:pt x="913" y="94"/>
                            </a:cubicBezTo>
                            <a:lnTo>
                              <a:pt x="913" y="94"/>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5" name="Freeform: Shape 1194">
                        <a:extLst>
                          <a:ext uri="{FF2B5EF4-FFF2-40B4-BE49-F238E27FC236}">
                            <a16:creationId xmlns:a16="http://schemas.microsoft.com/office/drawing/2014/main" id="{0292732C-CE2B-41BC-A142-2A02DFBAADED}"/>
                          </a:ext>
                        </a:extLst>
                      </p:cNvPr>
                      <p:cNvSpPr/>
                      <p:nvPr/>
                    </p:nvSpPr>
                    <p:spPr>
                      <a:xfrm>
                        <a:off x="3690449" y="1736292"/>
                        <a:ext cx="1726" cy="2323"/>
                      </a:xfrm>
                      <a:custGeom>
                        <a:avLst/>
                        <a:gdLst>
                          <a:gd name="connsiteX0" fmla="*/ 1539 w 1726"/>
                          <a:gd name="connsiteY0" fmla="*/ 1539 h 2323"/>
                          <a:gd name="connsiteX1" fmla="*/ 283 w 1726"/>
                          <a:gd name="connsiteY1" fmla="*/ 2292 h 2323"/>
                          <a:gd name="connsiteX2" fmla="*/ 283 w 1726"/>
                          <a:gd name="connsiteY2" fmla="*/ 785 h 2323"/>
                          <a:gd name="connsiteX3" fmla="*/ 1539 w 1726"/>
                          <a:gd name="connsiteY3" fmla="*/ 31 h 2323"/>
                          <a:gd name="connsiteX4" fmla="*/ 1539 w 1726"/>
                          <a:gd name="connsiteY4" fmla="*/ 1539 h 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6" h="2323">
                            <a:moveTo>
                              <a:pt x="1539" y="1539"/>
                            </a:moveTo>
                            <a:cubicBezTo>
                              <a:pt x="1162" y="2167"/>
                              <a:pt x="659" y="2418"/>
                              <a:pt x="283" y="2292"/>
                            </a:cubicBezTo>
                            <a:cubicBezTo>
                              <a:pt x="-94" y="2041"/>
                              <a:pt x="-94" y="1413"/>
                              <a:pt x="283" y="785"/>
                            </a:cubicBezTo>
                            <a:cubicBezTo>
                              <a:pt x="659" y="157"/>
                              <a:pt x="1162" y="-94"/>
                              <a:pt x="1539" y="31"/>
                            </a:cubicBezTo>
                            <a:cubicBezTo>
                              <a:pt x="1790" y="283"/>
                              <a:pt x="1790" y="1036"/>
                              <a:pt x="1539" y="1539"/>
                            </a:cubicBezTo>
                            <a:close/>
                          </a:path>
                        </a:pathLst>
                      </a:custGeom>
                      <a:solidFill>
                        <a:srgbClr val="4D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6" name="Freeform: Shape 1195">
                        <a:extLst>
                          <a:ext uri="{FF2B5EF4-FFF2-40B4-BE49-F238E27FC236}">
                            <a16:creationId xmlns:a16="http://schemas.microsoft.com/office/drawing/2014/main" id="{7299C440-98F0-41A5-8095-F5350FE04740}"/>
                          </a:ext>
                        </a:extLst>
                      </p:cNvPr>
                      <p:cNvSpPr/>
                      <p:nvPr/>
                    </p:nvSpPr>
                    <p:spPr>
                      <a:xfrm>
                        <a:off x="3689225" y="1735570"/>
                        <a:ext cx="2763" cy="2888"/>
                      </a:xfrm>
                      <a:custGeom>
                        <a:avLst/>
                        <a:gdLst>
                          <a:gd name="connsiteX0" fmla="*/ 1507 w 2763"/>
                          <a:gd name="connsiteY0" fmla="*/ 1633 h 2888"/>
                          <a:gd name="connsiteX1" fmla="*/ 2763 w 2763"/>
                          <a:gd name="connsiteY1" fmla="*/ 879 h 2888"/>
                          <a:gd name="connsiteX2" fmla="*/ 2763 w 2763"/>
                          <a:gd name="connsiteY2" fmla="*/ 879 h 2888"/>
                          <a:gd name="connsiteX3" fmla="*/ 1256 w 2763"/>
                          <a:gd name="connsiteY3" fmla="*/ 0 h 2888"/>
                          <a:gd name="connsiteX4" fmla="*/ 628 w 2763"/>
                          <a:gd name="connsiteY4" fmla="*/ 754 h 2888"/>
                          <a:gd name="connsiteX5" fmla="*/ 1381 w 2763"/>
                          <a:gd name="connsiteY5" fmla="*/ 1633 h 2888"/>
                          <a:gd name="connsiteX6" fmla="*/ 1381 w 2763"/>
                          <a:gd name="connsiteY6" fmla="*/ 1633 h 2888"/>
                          <a:gd name="connsiteX7" fmla="*/ 1005 w 2763"/>
                          <a:gd name="connsiteY7" fmla="*/ 2261 h 2888"/>
                          <a:gd name="connsiteX8" fmla="*/ 1005 w 2763"/>
                          <a:gd name="connsiteY8" fmla="*/ 2261 h 2888"/>
                          <a:gd name="connsiteX9" fmla="*/ 754 w 2763"/>
                          <a:gd name="connsiteY9" fmla="*/ 2261 h 2888"/>
                          <a:gd name="connsiteX10" fmla="*/ 628 w 2763"/>
                          <a:gd name="connsiteY10" fmla="*/ 2261 h 2888"/>
                          <a:gd name="connsiteX11" fmla="*/ 377 w 2763"/>
                          <a:gd name="connsiteY11" fmla="*/ 2135 h 2888"/>
                          <a:gd name="connsiteX12" fmla="*/ 251 w 2763"/>
                          <a:gd name="connsiteY12" fmla="*/ 2010 h 2888"/>
                          <a:gd name="connsiteX13" fmla="*/ 0 w 2763"/>
                          <a:gd name="connsiteY13" fmla="*/ 2010 h 2888"/>
                          <a:gd name="connsiteX14" fmla="*/ 1507 w 2763"/>
                          <a:gd name="connsiteY14" fmla="*/ 2889 h 2888"/>
                          <a:gd name="connsiteX15" fmla="*/ 1507 w 2763"/>
                          <a:gd name="connsiteY15" fmla="*/ 1633 h 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63" h="2888">
                            <a:moveTo>
                              <a:pt x="1507" y="1633"/>
                            </a:moveTo>
                            <a:cubicBezTo>
                              <a:pt x="1884" y="1005"/>
                              <a:pt x="2386" y="754"/>
                              <a:pt x="2763" y="879"/>
                            </a:cubicBezTo>
                            <a:lnTo>
                              <a:pt x="2763" y="879"/>
                            </a:lnTo>
                            <a:lnTo>
                              <a:pt x="1256" y="0"/>
                            </a:lnTo>
                            <a:lnTo>
                              <a:pt x="628" y="754"/>
                            </a:lnTo>
                            <a:cubicBezTo>
                              <a:pt x="1005" y="754"/>
                              <a:pt x="1381" y="1005"/>
                              <a:pt x="1381" y="1633"/>
                            </a:cubicBezTo>
                            <a:lnTo>
                              <a:pt x="1381" y="1633"/>
                            </a:lnTo>
                            <a:cubicBezTo>
                              <a:pt x="1381" y="1884"/>
                              <a:pt x="1130" y="2135"/>
                              <a:pt x="1005" y="2261"/>
                            </a:cubicBezTo>
                            <a:cubicBezTo>
                              <a:pt x="1005" y="2261"/>
                              <a:pt x="1005" y="2261"/>
                              <a:pt x="1005" y="2261"/>
                            </a:cubicBezTo>
                            <a:cubicBezTo>
                              <a:pt x="879" y="2261"/>
                              <a:pt x="879" y="2261"/>
                              <a:pt x="754" y="2261"/>
                            </a:cubicBezTo>
                            <a:lnTo>
                              <a:pt x="628" y="2261"/>
                            </a:lnTo>
                            <a:cubicBezTo>
                              <a:pt x="502" y="2261"/>
                              <a:pt x="502" y="2261"/>
                              <a:pt x="377" y="2135"/>
                            </a:cubicBezTo>
                            <a:cubicBezTo>
                              <a:pt x="377" y="2135"/>
                              <a:pt x="377" y="2135"/>
                              <a:pt x="251" y="2010"/>
                            </a:cubicBezTo>
                            <a:cubicBezTo>
                              <a:pt x="126" y="2010"/>
                              <a:pt x="0" y="2010"/>
                              <a:pt x="0" y="2010"/>
                            </a:cubicBezTo>
                            <a:lnTo>
                              <a:pt x="1507" y="2889"/>
                            </a:lnTo>
                            <a:cubicBezTo>
                              <a:pt x="1130" y="2889"/>
                              <a:pt x="1130" y="2135"/>
                              <a:pt x="1507" y="1633"/>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97" name="Graphic 4">
                      <a:extLst>
                        <a:ext uri="{FF2B5EF4-FFF2-40B4-BE49-F238E27FC236}">
                          <a16:creationId xmlns:a16="http://schemas.microsoft.com/office/drawing/2014/main" id="{84FB7ED1-A2DF-40A1-A747-5F7CF3F14040}"/>
                        </a:ext>
                      </a:extLst>
                    </p:cNvPr>
                    <p:cNvGrpSpPr/>
                    <p:nvPr/>
                  </p:nvGrpSpPr>
                  <p:grpSpPr>
                    <a:xfrm>
                      <a:off x="3701910" y="1735444"/>
                      <a:ext cx="3516" cy="4615"/>
                      <a:chOff x="3701910" y="1735444"/>
                      <a:chExt cx="3516" cy="4615"/>
                    </a:xfrm>
                    <a:solidFill>
                      <a:schemeClr val="accent1"/>
                    </a:solidFill>
                  </p:grpSpPr>
                  <p:sp>
                    <p:nvSpPr>
                      <p:cNvPr id="1198" name="Freeform: Shape 1197">
                        <a:extLst>
                          <a:ext uri="{FF2B5EF4-FFF2-40B4-BE49-F238E27FC236}">
                            <a16:creationId xmlns:a16="http://schemas.microsoft.com/office/drawing/2014/main" id="{6458D7D6-E2C7-48E8-947D-85EAB4E9078E}"/>
                          </a:ext>
                        </a:extLst>
                      </p:cNvPr>
                      <p:cNvSpPr/>
                      <p:nvPr/>
                    </p:nvSpPr>
                    <p:spPr>
                      <a:xfrm>
                        <a:off x="3701910" y="1735444"/>
                        <a:ext cx="3516" cy="4521"/>
                      </a:xfrm>
                      <a:custGeom>
                        <a:avLst/>
                        <a:gdLst>
                          <a:gd name="connsiteX0" fmla="*/ 1381 w 3516"/>
                          <a:gd name="connsiteY0" fmla="*/ 4521 h 4521"/>
                          <a:gd name="connsiteX1" fmla="*/ 3517 w 3516"/>
                          <a:gd name="connsiteY1" fmla="*/ 502 h 4521"/>
                          <a:gd name="connsiteX2" fmla="*/ 2637 w 3516"/>
                          <a:gd name="connsiteY2" fmla="*/ 0 h 4521"/>
                          <a:gd name="connsiteX3" fmla="*/ 1632 w 3516"/>
                          <a:gd name="connsiteY3" fmla="*/ 377 h 4521"/>
                          <a:gd name="connsiteX4" fmla="*/ 0 w 3516"/>
                          <a:gd name="connsiteY4" fmla="*/ 2889 h 4521"/>
                          <a:gd name="connsiteX5" fmla="*/ 0 w 3516"/>
                          <a:gd name="connsiteY5" fmla="*/ 2889 h 4521"/>
                          <a:gd name="connsiteX6" fmla="*/ 377 w 3516"/>
                          <a:gd name="connsiteY6" fmla="*/ 4019 h 4521"/>
                          <a:gd name="connsiteX7" fmla="*/ 1381 w 3516"/>
                          <a:gd name="connsiteY7" fmla="*/ 4521 h 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6" h="4521">
                            <a:moveTo>
                              <a:pt x="1381" y="4521"/>
                            </a:moveTo>
                            <a:lnTo>
                              <a:pt x="3517" y="502"/>
                            </a:lnTo>
                            <a:lnTo>
                              <a:pt x="2637" y="0"/>
                            </a:lnTo>
                            <a:lnTo>
                              <a:pt x="1632" y="377"/>
                            </a:lnTo>
                            <a:cubicBezTo>
                              <a:pt x="754" y="754"/>
                              <a:pt x="125" y="1884"/>
                              <a:pt x="0" y="2889"/>
                            </a:cubicBezTo>
                            <a:lnTo>
                              <a:pt x="0" y="2889"/>
                            </a:lnTo>
                            <a:cubicBezTo>
                              <a:pt x="0" y="3517"/>
                              <a:pt x="125" y="3893"/>
                              <a:pt x="377" y="4019"/>
                            </a:cubicBezTo>
                            <a:cubicBezTo>
                              <a:pt x="628" y="4145"/>
                              <a:pt x="1381" y="4521"/>
                              <a:pt x="1381" y="4521"/>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99" name="Graphic 4">
                        <a:extLst>
                          <a:ext uri="{FF2B5EF4-FFF2-40B4-BE49-F238E27FC236}">
                            <a16:creationId xmlns:a16="http://schemas.microsoft.com/office/drawing/2014/main" id="{84FB7ED1-A2DF-40A1-A747-5F7CF3F14040}"/>
                          </a:ext>
                        </a:extLst>
                      </p:cNvPr>
                      <p:cNvGrpSpPr/>
                      <p:nvPr/>
                    </p:nvGrpSpPr>
                    <p:grpSpPr>
                      <a:xfrm>
                        <a:off x="3702789" y="1735946"/>
                        <a:ext cx="2637" cy="4113"/>
                        <a:chOff x="3702789" y="1735946"/>
                        <a:chExt cx="2637" cy="4113"/>
                      </a:xfrm>
                      <a:solidFill>
                        <a:schemeClr val="accent1"/>
                      </a:solidFill>
                    </p:grpSpPr>
                    <p:sp>
                      <p:nvSpPr>
                        <p:cNvPr id="1200" name="Freeform: Shape 1199">
                          <a:extLst>
                            <a:ext uri="{FF2B5EF4-FFF2-40B4-BE49-F238E27FC236}">
                              <a16:creationId xmlns:a16="http://schemas.microsoft.com/office/drawing/2014/main" id="{E2E213C1-9579-40CE-A74A-8A15D17A3B41}"/>
                            </a:ext>
                          </a:extLst>
                        </p:cNvPr>
                        <p:cNvSpPr/>
                        <p:nvPr/>
                      </p:nvSpPr>
                      <p:spPr>
                        <a:xfrm>
                          <a:off x="3702789" y="1735946"/>
                          <a:ext cx="2637" cy="4113"/>
                        </a:xfrm>
                        <a:custGeom>
                          <a:avLst/>
                          <a:gdLst>
                            <a:gd name="connsiteX0" fmla="*/ 1382 w 2637"/>
                            <a:gd name="connsiteY0" fmla="*/ 4019 h 4113"/>
                            <a:gd name="connsiteX1" fmla="*/ 2512 w 2637"/>
                            <a:gd name="connsiteY1" fmla="*/ 3517 h 4113"/>
                            <a:gd name="connsiteX2" fmla="*/ 2638 w 2637"/>
                            <a:gd name="connsiteY2" fmla="*/ 0 h 4113"/>
                            <a:gd name="connsiteX3" fmla="*/ 1633 w 2637"/>
                            <a:gd name="connsiteY3" fmla="*/ 377 h 4113"/>
                            <a:gd name="connsiteX4" fmla="*/ 0 w 2637"/>
                            <a:gd name="connsiteY4" fmla="*/ 2889 h 4113"/>
                            <a:gd name="connsiteX5" fmla="*/ 0 w 2637"/>
                            <a:gd name="connsiteY5" fmla="*/ 2889 h 4113"/>
                            <a:gd name="connsiteX6" fmla="*/ 377 w 2637"/>
                            <a:gd name="connsiteY6" fmla="*/ 4019 h 4113"/>
                            <a:gd name="connsiteX7" fmla="*/ 1382 w 2637"/>
                            <a:gd name="connsiteY7" fmla="*/ 4019 h 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7" h="4113">
                              <a:moveTo>
                                <a:pt x="1382" y="4019"/>
                              </a:moveTo>
                              <a:lnTo>
                                <a:pt x="2512" y="3517"/>
                              </a:lnTo>
                              <a:lnTo>
                                <a:pt x="2638" y="0"/>
                              </a:lnTo>
                              <a:lnTo>
                                <a:pt x="1633" y="377"/>
                              </a:lnTo>
                              <a:cubicBezTo>
                                <a:pt x="754" y="754"/>
                                <a:pt x="126" y="1884"/>
                                <a:pt x="0" y="2889"/>
                              </a:cubicBezTo>
                              <a:lnTo>
                                <a:pt x="0" y="2889"/>
                              </a:lnTo>
                              <a:cubicBezTo>
                                <a:pt x="0" y="3517"/>
                                <a:pt x="126" y="3893"/>
                                <a:pt x="377" y="4019"/>
                              </a:cubicBezTo>
                              <a:cubicBezTo>
                                <a:pt x="628" y="4145"/>
                                <a:pt x="1005" y="4145"/>
                                <a:pt x="1382" y="4019"/>
                              </a:cubicBezTo>
                              <a:close/>
                            </a:path>
                          </a:pathLst>
                        </a:custGeom>
                        <a:solidFill>
                          <a:srgbClr val="B87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1" name="Freeform: Shape 1200">
                          <a:extLst>
                            <a:ext uri="{FF2B5EF4-FFF2-40B4-BE49-F238E27FC236}">
                              <a16:creationId xmlns:a16="http://schemas.microsoft.com/office/drawing/2014/main" id="{4A782C7E-90E2-419C-882E-5A0594EE69EA}"/>
                            </a:ext>
                          </a:extLst>
                        </p:cNvPr>
                        <p:cNvSpPr/>
                        <p:nvPr/>
                      </p:nvSpPr>
                      <p:spPr>
                        <a:xfrm>
                          <a:off x="3703518" y="1737106"/>
                          <a:ext cx="1556" cy="2012"/>
                        </a:xfrm>
                        <a:custGeom>
                          <a:avLst/>
                          <a:gdLst>
                            <a:gd name="connsiteX0" fmla="*/ 1532 w 1556"/>
                            <a:gd name="connsiteY0" fmla="*/ 724 h 2012"/>
                            <a:gd name="connsiteX1" fmla="*/ 653 w 1556"/>
                            <a:gd name="connsiteY1" fmla="*/ 1980 h 2012"/>
                            <a:gd name="connsiteX2" fmla="*/ 25 w 1556"/>
                            <a:gd name="connsiteY2" fmla="*/ 1352 h 2012"/>
                            <a:gd name="connsiteX3" fmla="*/ 904 w 1556"/>
                            <a:gd name="connsiteY3" fmla="*/ 96 h 2012"/>
                            <a:gd name="connsiteX4" fmla="*/ 1532 w 1556"/>
                            <a:gd name="connsiteY4" fmla="*/ 724 h 2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6" h="2012">
                              <a:moveTo>
                                <a:pt x="1532" y="724"/>
                              </a:moveTo>
                              <a:cubicBezTo>
                                <a:pt x="1532" y="1227"/>
                                <a:pt x="1030" y="1855"/>
                                <a:pt x="653" y="1980"/>
                              </a:cubicBezTo>
                              <a:cubicBezTo>
                                <a:pt x="276" y="2106"/>
                                <a:pt x="-101" y="1855"/>
                                <a:pt x="25" y="1352"/>
                              </a:cubicBezTo>
                              <a:cubicBezTo>
                                <a:pt x="25" y="850"/>
                                <a:pt x="527" y="222"/>
                                <a:pt x="904" y="96"/>
                              </a:cubicBezTo>
                              <a:cubicBezTo>
                                <a:pt x="1281" y="-155"/>
                                <a:pt x="1657" y="96"/>
                                <a:pt x="1532" y="724"/>
                              </a:cubicBezTo>
                              <a:close/>
                            </a:path>
                          </a:pathLst>
                        </a:custGeom>
                        <a:solidFill>
                          <a:srgbClr val="52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1202" name="Graphic 4">
                    <a:extLst>
                      <a:ext uri="{FF2B5EF4-FFF2-40B4-BE49-F238E27FC236}">
                        <a16:creationId xmlns:a16="http://schemas.microsoft.com/office/drawing/2014/main" id="{84FB7ED1-A2DF-40A1-A747-5F7CF3F14040}"/>
                      </a:ext>
                    </a:extLst>
                  </p:cNvPr>
                  <p:cNvGrpSpPr/>
                  <p:nvPr/>
                </p:nvGrpSpPr>
                <p:grpSpPr>
                  <a:xfrm>
                    <a:off x="3685206" y="1689602"/>
                    <a:ext cx="25495" cy="91684"/>
                    <a:chOff x="3685206" y="1689602"/>
                    <a:chExt cx="25495" cy="91684"/>
                  </a:xfrm>
                  <a:solidFill>
                    <a:schemeClr val="accent1"/>
                  </a:solidFill>
                </p:grpSpPr>
                <p:grpSp>
                  <p:nvGrpSpPr>
                    <p:cNvPr id="1203" name="Graphic 4">
                      <a:extLst>
                        <a:ext uri="{FF2B5EF4-FFF2-40B4-BE49-F238E27FC236}">
                          <a16:creationId xmlns:a16="http://schemas.microsoft.com/office/drawing/2014/main" id="{84FB7ED1-A2DF-40A1-A747-5F7CF3F14040}"/>
                        </a:ext>
                      </a:extLst>
                    </p:cNvPr>
                    <p:cNvGrpSpPr/>
                    <p:nvPr/>
                  </p:nvGrpSpPr>
                  <p:grpSpPr>
                    <a:xfrm>
                      <a:off x="3688722" y="1689602"/>
                      <a:ext cx="21979" cy="17583"/>
                      <a:chOff x="3688722" y="1689602"/>
                      <a:chExt cx="21979" cy="17583"/>
                    </a:xfrm>
                    <a:solidFill>
                      <a:schemeClr val="accent1"/>
                    </a:solidFill>
                  </p:grpSpPr>
                  <p:sp>
                    <p:nvSpPr>
                      <p:cNvPr id="1204" name="Freeform: Shape 1203">
                        <a:extLst>
                          <a:ext uri="{FF2B5EF4-FFF2-40B4-BE49-F238E27FC236}">
                            <a16:creationId xmlns:a16="http://schemas.microsoft.com/office/drawing/2014/main" id="{658E627D-E9F5-4982-ACC9-CBF356B620EA}"/>
                          </a:ext>
                        </a:extLst>
                      </p:cNvPr>
                      <p:cNvSpPr/>
                      <p:nvPr/>
                    </p:nvSpPr>
                    <p:spPr>
                      <a:xfrm>
                        <a:off x="3688722" y="1689602"/>
                        <a:ext cx="21979" cy="12810"/>
                      </a:xfrm>
                      <a:custGeom>
                        <a:avLst/>
                        <a:gdLst>
                          <a:gd name="connsiteX0" fmla="*/ 20472 w 21979"/>
                          <a:gd name="connsiteY0" fmla="*/ 12811 h 12810"/>
                          <a:gd name="connsiteX1" fmla="*/ 0 w 21979"/>
                          <a:gd name="connsiteY1" fmla="*/ 1005 h 12810"/>
                          <a:gd name="connsiteX2" fmla="*/ 1507 w 21979"/>
                          <a:gd name="connsiteY2" fmla="*/ 0 h 12810"/>
                          <a:gd name="connsiteX3" fmla="*/ 21979 w 21979"/>
                          <a:gd name="connsiteY3" fmla="*/ 11806 h 12810"/>
                        </a:gdLst>
                        <a:ahLst/>
                        <a:cxnLst>
                          <a:cxn ang="0">
                            <a:pos x="connsiteX0" y="connsiteY0"/>
                          </a:cxn>
                          <a:cxn ang="0">
                            <a:pos x="connsiteX1" y="connsiteY1"/>
                          </a:cxn>
                          <a:cxn ang="0">
                            <a:pos x="connsiteX2" y="connsiteY2"/>
                          </a:cxn>
                          <a:cxn ang="0">
                            <a:pos x="connsiteX3" y="connsiteY3"/>
                          </a:cxn>
                        </a:cxnLst>
                        <a:rect l="l" t="t" r="r" b="b"/>
                        <a:pathLst>
                          <a:path w="21979" h="12810">
                            <a:moveTo>
                              <a:pt x="20472" y="12811"/>
                            </a:moveTo>
                            <a:lnTo>
                              <a:pt x="0" y="1005"/>
                            </a:lnTo>
                            <a:lnTo>
                              <a:pt x="1507" y="0"/>
                            </a:lnTo>
                            <a:lnTo>
                              <a:pt x="21979" y="11806"/>
                            </a:ln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5" name="Freeform: Shape 1204">
                        <a:extLst>
                          <a:ext uri="{FF2B5EF4-FFF2-40B4-BE49-F238E27FC236}">
                            <a16:creationId xmlns:a16="http://schemas.microsoft.com/office/drawing/2014/main" id="{733759F4-393C-4004-AFB0-A499FBCE6CD8}"/>
                          </a:ext>
                        </a:extLst>
                      </p:cNvPr>
                      <p:cNvSpPr/>
                      <p:nvPr/>
                    </p:nvSpPr>
                    <p:spPr>
                      <a:xfrm>
                        <a:off x="3688722" y="1690607"/>
                        <a:ext cx="20472" cy="16578"/>
                      </a:xfrm>
                      <a:custGeom>
                        <a:avLst/>
                        <a:gdLst>
                          <a:gd name="connsiteX0" fmla="*/ 0 w 20472"/>
                          <a:gd name="connsiteY0" fmla="*/ 0 h 16578"/>
                          <a:gd name="connsiteX1" fmla="*/ 0 w 20472"/>
                          <a:gd name="connsiteY1" fmla="*/ 4773 h 16578"/>
                          <a:gd name="connsiteX2" fmla="*/ 20472 w 20472"/>
                          <a:gd name="connsiteY2" fmla="*/ 16579 h 16578"/>
                          <a:gd name="connsiteX3" fmla="*/ 20472 w 20472"/>
                          <a:gd name="connsiteY3" fmla="*/ 11806 h 16578"/>
                        </a:gdLst>
                        <a:ahLst/>
                        <a:cxnLst>
                          <a:cxn ang="0">
                            <a:pos x="connsiteX0" y="connsiteY0"/>
                          </a:cxn>
                          <a:cxn ang="0">
                            <a:pos x="connsiteX1" y="connsiteY1"/>
                          </a:cxn>
                          <a:cxn ang="0">
                            <a:pos x="connsiteX2" y="connsiteY2"/>
                          </a:cxn>
                          <a:cxn ang="0">
                            <a:pos x="connsiteX3" y="connsiteY3"/>
                          </a:cxn>
                        </a:cxnLst>
                        <a:rect l="l" t="t" r="r" b="b"/>
                        <a:pathLst>
                          <a:path w="20472" h="16578">
                            <a:moveTo>
                              <a:pt x="0" y="0"/>
                            </a:moveTo>
                            <a:lnTo>
                              <a:pt x="0" y="4773"/>
                            </a:lnTo>
                            <a:lnTo>
                              <a:pt x="20472" y="16579"/>
                            </a:lnTo>
                            <a:lnTo>
                              <a:pt x="20472" y="11806"/>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6" name="Freeform: Shape 1205">
                        <a:extLst>
                          <a:ext uri="{FF2B5EF4-FFF2-40B4-BE49-F238E27FC236}">
                            <a16:creationId xmlns:a16="http://schemas.microsoft.com/office/drawing/2014/main" id="{CBB7C21A-13FA-4DB0-AB74-35EEDA03FE8E}"/>
                          </a:ext>
                        </a:extLst>
                      </p:cNvPr>
                      <p:cNvSpPr/>
                      <p:nvPr/>
                    </p:nvSpPr>
                    <p:spPr>
                      <a:xfrm>
                        <a:off x="3709194" y="1701408"/>
                        <a:ext cx="1507" cy="5777"/>
                      </a:xfrm>
                      <a:custGeom>
                        <a:avLst/>
                        <a:gdLst>
                          <a:gd name="connsiteX0" fmla="*/ 0 w 1507"/>
                          <a:gd name="connsiteY0" fmla="*/ 1005 h 5777"/>
                          <a:gd name="connsiteX1" fmla="*/ 0 w 1507"/>
                          <a:gd name="connsiteY1" fmla="*/ 5777 h 5777"/>
                          <a:gd name="connsiteX2" fmla="*/ 1507 w 1507"/>
                          <a:gd name="connsiteY2" fmla="*/ 4898 h 5777"/>
                          <a:gd name="connsiteX3" fmla="*/ 1507 w 1507"/>
                          <a:gd name="connsiteY3" fmla="*/ 0 h 5777"/>
                        </a:gdLst>
                        <a:ahLst/>
                        <a:cxnLst>
                          <a:cxn ang="0">
                            <a:pos x="connsiteX0" y="connsiteY0"/>
                          </a:cxn>
                          <a:cxn ang="0">
                            <a:pos x="connsiteX1" y="connsiteY1"/>
                          </a:cxn>
                          <a:cxn ang="0">
                            <a:pos x="connsiteX2" y="connsiteY2"/>
                          </a:cxn>
                          <a:cxn ang="0">
                            <a:pos x="connsiteX3" y="connsiteY3"/>
                          </a:cxn>
                        </a:cxnLst>
                        <a:rect l="l" t="t" r="r" b="b"/>
                        <a:pathLst>
                          <a:path w="1507" h="5777">
                            <a:moveTo>
                              <a:pt x="0" y="1005"/>
                            </a:moveTo>
                            <a:lnTo>
                              <a:pt x="0" y="5777"/>
                            </a:lnTo>
                            <a:lnTo>
                              <a:pt x="1507" y="4898"/>
                            </a:lnTo>
                            <a:lnTo>
                              <a:pt x="1507"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07" name="Freeform: Shape 1206">
                      <a:extLst>
                        <a:ext uri="{FF2B5EF4-FFF2-40B4-BE49-F238E27FC236}">
                          <a16:creationId xmlns:a16="http://schemas.microsoft.com/office/drawing/2014/main" id="{2BA0A64D-E765-4B3A-851A-DF20DAE7B79E}"/>
                        </a:ext>
                      </a:extLst>
                    </p:cNvPr>
                    <p:cNvSpPr/>
                    <p:nvPr/>
                  </p:nvSpPr>
                  <p:spPr>
                    <a:xfrm>
                      <a:off x="3685206" y="1690607"/>
                      <a:ext cx="8163" cy="4646"/>
                    </a:xfrm>
                    <a:custGeom>
                      <a:avLst/>
                      <a:gdLst>
                        <a:gd name="connsiteX0" fmla="*/ 3517 w 8163"/>
                        <a:gd name="connsiteY0" fmla="*/ 0 h 4646"/>
                        <a:gd name="connsiteX1" fmla="*/ 0 w 8163"/>
                        <a:gd name="connsiteY1" fmla="*/ 2010 h 4646"/>
                        <a:gd name="connsiteX2" fmla="*/ 4647 w 8163"/>
                        <a:gd name="connsiteY2" fmla="*/ 4647 h 4646"/>
                        <a:gd name="connsiteX3" fmla="*/ 8164 w 8163"/>
                        <a:gd name="connsiteY3" fmla="*/ 2637 h 4646"/>
                      </a:gdLst>
                      <a:ahLst/>
                      <a:cxnLst>
                        <a:cxn ang="0">
                          <a:pos x="connsiteX0" y="connsiteY0"/>
                        </a:cxn>
                        <a:cxn ang="0">
                          <a:pos x="connsiteX1" y="connsiteY1"/>
                        </a:cxn>
                        <a:cxn ang="0">
                          <a:pos x="connsiteX2" y="connsiteY2"/>
                        </a:cxn>
                        <a:cxn ang="0">
                          <a:pos x="connsiteX3" y="connsiteY3"/>
                        </a:cxn>
                      </a:cxnLst>
                      <a:rect l="l" t="t" r="r" b="b"/>
                      <a:pathLst>
                        <a:path w="8163" h="4646">
                          <a:moveTo>
                            <a:pt x="3517" y="0"/>
                          </a:moveTo>
                          <a:lnTo>
                            <a:pt x="0" y="2010"/>
                          </a:lnTo>
                          <a:lnTo>
                            <a:pt x="4647" y="4647"/>
                          </a:lnTo>
                          <a:lnTo>
                            <a:pt x="8164" y="2637"/>
                          </a:ln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8" name="Freeform: Shape 1207">
                      <a:extLst>
                        <a:ext uri="{FF2B5EF4-FFF2-40B4-BE49-F238E27FC236}">
                          <a16:creationId xmlns:a16="http://schemas.microsoft.com/office/drawing/2014/main" id="{EAD54254-6EE2-4116-A8C1-32F400FB3E65}"/>
                        </a:ext>
                      </a:extLst>
                    </p:cNvPr>
                    <p:cNvSpPr/>
                    <p:nvPr/>
                  </p:nvSpPr>
                  <p:spPr>
                    <a:xfrm>
                      <a:off x="3685206" y="1692616"/>
                      <a:ext cx="4646" cy="79627"/>
                    </a:xfrm>
                    <a:custGeom>
                      <a:avLst/>
                      <a:gdLst>
                        <a:gd name="connsiteX0" fmla="*/ 0 w 4646"/>
                        <a:gd name="connsiteY0" fmla="*/ 0 h 79627"/>
                        <a:gd name="connsiteX1" fmla="*/ 0 w 4646"/>
                        <a:gd name="connsiteY1" fmla="*/ 76864 h 79627"/>
                        <a:gd name="connsiteX2" fmla="*/ 4647 w 4646"/>
                        <a:gd name="connsiteY2" fmla="*/ 79627 h 79627"/>
                        <a:gd name="connsiteX3" fmla="*/ 4647 w 4646"/>
                        <a:gd name="connsiteY3" fmla="*/ 2637 h 79627"/>
                      </a:gdLst>
                      <a:ahLst/>
                      <a:cxnLst>
                        <a:cxn ang="0">
                          <a:pos x="connsiteX0" y="connsiteY0"/>
                        </a:cxn>
                        <a:cxn ang="0">
                          <a:pos x="connsiteX1" y="connsiteY1"/>
                        </a:cxn>
                        <a:cxn ang="0">
                          <a:pos x="connsiteX2" y="connsiteY2"/>
                        </a:cxn>
                        <a:cxn ang="0">
                          <a:pos x="connsiteX3" y="connsiteY3"/>
                        </a:cxn>
                      </a:cxnLst>
                      <a:rect l="l" t="t" r="r" b="b"/>
                      <a:pathLst>
                        <a:path w="4646" h="79627">
                          <a:moveTo>
                            <a:pt x="0" y="0"/>
                          </a:moveTo>
                          <a:lnTo>
                            <a:pt x="0" y="76864"/>
                          </a:lnTo>
                          <a:lnTo>
                            <a:pt x="4647" y="79627"/>
                          </a:lnTo>
                          <a:lnTo>
                            <a:pt x="4647" y="2637"/>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9" name="Freeform: Shape 1208">
                      <a:extLst>
                        <a:ext uri="{FF2B5EF4-FFF2-40B4-BE49-F238E27FC236}">
                          <a16:creationId xmlns:a16="http://schemas.microsoft.com/office/drawing/2014/main" id="{DF0D46B6-8E27-4C4A-B810-F6A12026CED2}"/>
                        </a:ext>
                      </a:extLst>
                    </p:cNvPr>
                    <p:cNvSpPr/>
                    <p:nvPr/>
                  </p:nvSpPr>
                  <p:spPr>
                    <a:xfrm>
                      <a:off x="3689853" y="1693244"/>
                      <a:ext cx="3516" cy="78999"/>
                    </a:xfrm>
                    <a:custGeom>
                      <a:avLst/>
                      <a:gdLst>
                        <a:gd name="connsiteX0" fmla="*/ 0 w 3516"/>
                        <a:gd name="connsiteY0" fmla="*/ 78999 h 78999"/>
                        <a:gd name="connsiteX1" fmla="*/ 3517 w 3516"/>
                        <a:gd name="connsiteY1" fmla="*/ 76990 h 78999"/>
                        <a:gd name="connsiteX2" fmla="*/ 3517 w 3516"/>
                        <a:gd name="connsiteY2" fmla="*/ 0 h 78999"/>
                        <a:gd name="connsiteX3" fmla="*/ 0 w 3516"/>
                        <a:gd name="connsiteY3" fmla="*/ 2010 h 78999"/>
                      </a:gdLst>
                      <a:ahLst/>
                      <a:cxnLst>
                        <a:cxn ang="0">
                          <a:pos x="connsiteX0" y="connsiteY0"/>
                        </a:cxn>
                        <a:cxn ang="0">
                          <a:pos x="connsiteX1" y="connsiteY1"/>
                        </a:cxn>
                        <a:cxn ang="0">
                          <a:pos x="connsiteX2" y="connsiteY2"/>
                        </a:cxn>
                        <a:cxn ang="0">
                          <a:pos x="connsiteX3" y="connsiteY3"/>
                        </a:cxn>
                      </a:cxnLst>
                      <a:rect l="l" t="t" r="r" b="b"/>
                      <a:pathLst>
                        <a:path w="3516" h="78999">
                          <a:moveTo>
                            <a:pt x="0" y="78999"/>
                          </a:moveTo>
                          <a:lnTo>
                            <a:pt x="3517" y="76990"/>
                          </a:lnTo>
                          <a:lnTo>
                            <a:pt x="3517" y="0"/>
                          </a:lnTo>
                          <a:lnTo>
                            <a:pt x="0" y="201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0" name="Freeform: Shape 1209">
                      <a:extLst>
                        <a:ext uri="{FF2B5EF4-FFF2-40B4-BE49-F238E27FC236}">
                          <a16:creationId xmlns:a16="http://schemas.microsoft.com/office/drawing/2014/main" id="{74499708-C139-48A8-BCB4-66101DB21761}"/>
                        </a:ext>
                      </a:extLst>
                    </p:cNvPr>
                    <p:cNvSpPr/>
                    <p:nvPr/>
                  </p:nvSpPr>
                  <p:spPr>
                    <a:xfrm>
                      <a:off x="3700905" y="1699650"/>
                      <a:ext cx="8289" cy="4772"/>
                    </a:xfrm>
                    <a:custGeom>
                      <a:avLst/>
                      <a:gdLst>
                        <a:gd name="connsiteX0" fmla="*/ 3517 w 8289"/>
                        <a:gd name="connsiteY0" fmla="*/ 0 h 4772"/>
                        <a:gd name="connsiteX1" fmla="*/ 0 w 8289"/>
                        <a:gd name="connsiteY1" fmla="*/ 2010 h 4772"/>
                        <a:gd name="connsiteX2" fmla="*/ 4773 w 8289"/>
                        <a:gd name="connsiteY2" fmla="*/ 4773 h 4772"/>
                        <a:gd name="connsiteX3" fmla="*/ 8289 w 8289"/>
                        <a:gd name="connsiteY3" fmla="*/ 2763 h 4772"/>
                      </a:gdLst>
                      <a:ahLst/>
                      <a:cxnLst>
                        <a:cxn ang="0">
                          <a:pos x="connsiteX0" y="connsiteY0"/>
                        </a:cxn>
                        <a:cxn ang="0">
                          <a:pos x="connsiteX1" y="connsiteY1"/>
                        </a:cxn>
                        <a:cxn ang="0">
                          <a:pos x="connsiteX2" y="connsiteY2"/>
                        </a:cxn>
                        <a:cxn ang="0">
                          <a:pos x="connsiteX3" y="connsiteY3"/>
                        </a:cxn>
                      </a:cxnLst>
                      <a:rect l="l" t="t" r="r" b="b"/>
                      <a:pathLst>
                        <a:path w="8289" h="4772">
                          <a:moveTo>
                            <a:pt x="3517" y="0"/>
                          </a:moveTo>
                          <a:lnTo>
                            <a:pt x="0" y="2010"/>
                          </a:lnTo>
                          <a:lnTo>
                            <a:pt x="4773" y="4773"/>
                          </a:lnTo>
                          <a:lnTo>
                            <a:pt x="8289" y="2763"/>
                          </a:ln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1" name="Freeform: Shape 1210">
                      <a:extLst>
                        <a:ext uri="{FF2B5EF4-FFF2-40B4-BE49-F238E27FC236}">
                          <a16:creationId xmlns:a16="http://schemas.microsoft.com/office/drawing/2014/main" id="{71C46D11-9F85-4AE2-A335-089EC722CDEE}"/>
                        </a:ext>
                      </a:extLst>
                    </p:cNvPr>
                    <p:cNvSpPr/>
                    <p:nvPr/>
                  </p:nvSpPr>
                  <p:spPr>
                    <a:xfrm>
                      <a:off x="3700905" y="1701659"/>
                      <a:ext cx="4772" cy="79627"/>
                    </a:xfrm>
                    <a:custGeom>
                      <a:avLst/>
                      <a:gdLst>
                        <a:gd name="connsiteX0" fmla="*/ 0 w 4772"/>
                        <a:gd name="connsiteY0" fmla="*/ 0 h 79627"/>
                        <a:gd name="connsiteX1" fmla="*/ 0 w 4772"/>
                        <a:gd name="connsiteY1" fmla="*/ 76990 h 79627"/>
                        <a:gd name="connsiteX2" fmla="*/ 4773 w 4772"/>
                        <a:gd name="connsiteY2" fmla="*/ 79627 h 79627"/>
                        <a:gd name="connsiteX3" fmla="*/ 4773 w 4772"/>
                        <a:gd name="connsiteY3" fmla="*/ 2763 h 79627"/>
                      </a:gdLst>
                      <a:ahLst/>
                      <a:cxnLst>
                        <a:cxn ang="0">
                          <a:pos x="connsiteX0" y="connsiteY0"/>
                        </a:cxn>
                        <a:cxn ang="0">
                          <a:pos x="connsiteX1" y="connsiteY1"/>
                        </a:cxn>
                        <a:cxn ang="0">
                          <a:pos x="connsiteX2" y="connsiteY2"/>
                        </a:cxn>
                        <a:cxn ang="0">
                          <a:pos x="connsiteX3" y="connsiteY3"/>
                        </a:cxn>
                      </a:cxnLst>
                      <a:rect l="l" t="t" r="r" b="b"/>
                      <a:pathLst>
                        <a:path w="4772" h="79627">
                          <a:moveTo>
                            <a:pt x="0" y="0"/>
                          </a:moveTo>
                          <a:lnTo>
                            <a:pt x="0" y="76990"/>
                          </a:lnTo>
                          <a:lnTo>
                            <a:pt x="4773" y="79627"/>
                          </a:lnTo>
                          <a:lnTo>
                            <a:pt x="4773" y="2763"/>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2" name="Freeform: Shape 1211">
                      <a:extLst>
                        <a:ext uri="{FF2B5EF4-FFF2-40B4-BE49-F238E27FC236}">
                          <a16:creationId xmlns:a16="http://schemas.microsoft.com/office/drawing/2014/main" id="{83EF946D-C9D9-438E-8F5E-12BA5E533469}"/>
                        </a:ext>
                      </a:extLst>
                    </p:cNvPr>
                    <p:cNvSpPr/>
                    <p:nvPr/>
                  </p:nvSpPr>
                  <p:spPr>
                    <a:xfrm>
                      <a:off x="3705678" y="1702413"/>
                      <a:ext cx="3516" cy="78873"/>
                    </a:xfrm>
                    <a:custGeom>
                      <a:avLst/>
                      <a:gdLst>
                        <a:gd name="connsiteX0" fmla="*/ 0 w 3516"/>
                        <a:gd name="connsiteY0" fmla="*/ 78874 h 78873"/>
                        <a:gd name="connsiteX1" fmla="*/ 3517 w 3516"/>
                        <a:gd name="connsiteY1" fmla="*/ 76864 h 78873"/>
                        <a:gd name="connsiteX2" fmla="*/ 3517 w 3516"/>
                        <a:gd name="connsiteY2" fmla="*/ 0 h 78873"/>
                        <a:gd name="connsiteX3" fmla="*/ 0 w 3516"/>
                        <a:gd name="connsiteY3" fmla="*/ 2010 h 78873"/>
                      </a:gdLst>
                      <a:ahLst/>
                      <a:cxnLst>
                        <a:cxn ang="0">
                          <a:pos x="connsiteX0" y="connsiteY0"/>
                        </a:cxn>
                        <a:cxn ang="0">
                          <a:pos x="connsiteX1" y="connsiteY1"/>
                        </a:cxn>
                        <a:cxn ang="0">
                          <a:pos x="connsiteX2" y="connsiteY2"/>
                        </a:cxn>
                        <a:cxn ang="0">
                          <a:pos x="connsiteX3" y="connsiteY3"/>
                        </a:cxn>
                      </a:cxnLst>
                      <a:rect l="l" t="t" r="r" b="b"/>
                      <a:pathLst>
                        <a:path w="3516" h="78873">
                          <a:moveTo>
                            <a:pt x="0" y="78874"/>
                          </a:moveTo>
                          <a:lnTo>
                            <a:pt x="3517" y="76864"/>
                          </a:lnTo>
                          <a:lnTo>
                            <a:pt x="3517" y="0"/>
                          </a:lnTo>
                          <a:lnTo>
                            <a:pt x="0" y="201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13" name="Graphic 4">
                    <a:extLst>
                      <a:ext uri="{FF2B5EF4-FFF2-40B4-BE49-F238E27FC236}">
                        <a16:creationId xmlns:a16="http://schemas.microsoft.com/office/drawing/2014/main" id="{84FB7ED1-A2DF-40A1-A747-5F7CF3F14040}"/>
                      </a:ext>
                    </a:extLst>
                  </p:cNvPr>
                  <p:cNvGrpSpPr/>
                  <p:nvPr/>
                </p:nvGrpSpPr>
                <p:grpSpPr>
                  <a:xfrm>
                    <a:off x="3708378" y="1749314"/>
                    <a:ext cx="33219" cy="42115"/>
                    <a:chOff x="3708378" y="1749314"/>
                    <a:chExt cx="33219" cy="42115"/>
                  </a:xfrm>
                  <a:solidFill>
                    <a:schemeClr val="accent1"/>
                  </a:solidFill>
                </p:grpSpPr>
                <p:sp>
                  <p:nvSpPr>
                    <p:cNvPr id="1214" name="Freeform: Shape 1213">
                      <a:extLst>
                        <a:ext uri="{FF2B5EF4-FFF2-40B4-BE49-F238E27FC236}">
                          <a16:creationId xmlns:a16="http://schemas.microsoft.com/office/drawing/2014/main" id="{3C976096-97BE-418E-B17A-4BD5F9380674}"/>
                        </a:ext>
                      </a:extLst>
                    </p:cNvPr>
                    <p:cNvSpPr/>
                    <p:nvPr/>
                  </p:nvSpPr>
                  <p:spPr>
                    <a:xfrm>
                      <a:off x="3731299" y="1755909"/>
                      <a:ext cx="9168" cy="17464"/>
                    </a:xfrm>
                    <a:custGeom>
                      <a:avLst/>
                      <a:gdLst>
                        <a:gd name="connsiteX0" fmla="*/ 0 w 9168"/>
                        <a:gd name="connsiteY0" fmla="*/ 258 h 17464"/>
                        <a:gd name="connsiteX1" fmla="*/ 502 w 9168"/>
                        <a:gd name="connsiteY1" fmla="*/ 4026 h 17464"/>
                        <a:gd name="connsiteX2" fmla="*/ 502 w 9168"/>
                        <a:gd name="connsiteY2" fmla="*/ 12441 h 17464"/>
                        <a:gd name="connsiteX3" fmla="*/ 9168 w 9168"/>
                        <a:gd name="connsiteY3" fmla="*/ 17465 h 17464"/>
                        <a:gd name="connsiteX4" fmla="*/ 9168 w 9168"/>
                        <a:gd name="connsiteY4" fmla="*/ 9050 h 17464"/>
                        <a:gd name="connsiteX5" fmla="*/ 0 w 9168"/>
                        <a:gd name="connsiteY5" fmla="*/ 258 h 1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68" h="17464">
                          <a:moveTo>
                            <a:pt x="0" y="258"/>
                          </a:moveTo>
                          <a:cubicBezTo>
                            <a:pt x="377" y="1388"/>
                            <a:pt x="502" y="2644"/>
                            <a:pt x="502" y="4026"/>
                          </a:cubicBezTo>
                          <a:lnTo>
                            <a:pt x="502" y="12441"/>
                          </a:lnTo>
                          <a:lnTo>
                            <a:pt x="9168" y="17465"/>
                          </a:lnTo>
                          <a:lnTo>
                            <a:pt x="9168" y="9050"/>
                          </a:lnTo>
                          <a:cubicBezTo>
                            <a:pt x="9168" y="2393"/>
                            <a:pt x="5275" y="-998"/>
                            <a:pt x="0" y="258"/>
                          </a:cubicBez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15" name="Graphic 4">
                      <a:extLst>
                        <a:ext uri="{FF2B5EF4-FFF2-40B4-BE49-F238E27FC236}">
                          <a16:creationId xmlns:a16="http://schemas.microsoft.com/office/drawing/2014/main" id="{84FB7ED1-A2DF-40A1-A747-5F7CF3F14040}"/>
                        </a:ext>
                      </a:extLst>
                    </p:cNvPr>
                    <p:cNvGrpSpPr/>
                    <p:nvPr/>
                  </p:nvGrpSpPr>
                  <p:grpSpPr>
                    <a:xfrm>
                      <a:off x="3708378" y="1755591"/>
                      <a:ext cx="33110" cy="35838"/>
                      <a:chOff x="3708378" y="1755591"/>
                      <a:chExt cx="33110" cy="35838"/>
                    </a:xfrm>
                    <a:solidFill>
                      <a:schemeClr val="accent1"/>
                    </a:solidFill>
                  </p:grpSpPr>
                  <p:sp>
                    <p:nvSpPr>
                      <p:cNvPr id="1216" name="Freeform: Shape 1215">
                        <a:extLst>
                          <a:ext uri="{FF2B5EF4-FFF2-40B4-BE49-F238E27FC236}">
                            <a16:creationId xmlns:a16="http://schemas.microsoft.com/office/drawing/2014/main" id="{6A1A935C-2751-4352-AD84-48A46F0DF475}"/>
                          </a:ext>
                        </a:extLst>
                      </p:cNvPr>
                      <p:cNvSpPr/>
                      <p:nvPr/>
                    </p:nvSpPr>
                    <p:spPr>
                      <a:xfrm>
                        <a:off x="3708378" y="1755591"/>
                        <a:ext cx="28761" cy="32047"/>
                      </a:xfrm>
                      <a:custGeom>
                        <a:avLst/>
                        <a:gdLst>
                          <a:gd name="connsiteX0" fmla="*/ 25558 w 28761"/>
                          <a:gd name="connsiteY0" fmla="*/ 4846 h 32047"/>
                          <a:gd name="connsiteX1" fmla="*/ 25558 w 28761"/>
                          <a:gd name="connsiteY1" fmla="*/ 4846 h 32047"/>
                          <a:gd name="connsiteX2" fmla="*/ 18525 w 28761"/>
                          <a:gd name="connsiteY2" fmla="*/ 701 h 32047"/>
                          <a:gd name="connsiteX3" fmla="*/ 3203 w 28761"/>
                          <a:gd name="connsiteY3" fmla="*/ 9493 h 32047"/>
                          <a:gd name="connsiteX4" fmla="*/ 3203 w 28761"/>
                          <a:gd name="connsiteY4" fmla="*/ 27202 h 32047"/>
                          <a:gd name="connsiteX5" fmla="*/ 10236 w 28761"/>
                          <a:gd name="connsiteY5" fmla="*/ 31346 h 32047"/>
                          <a:gd name="connsiteX6" fmla="*/ 10236 w 28761"/>
                          <a:gd name="connsiteY6" fmla="*/ 31346 h 32047"/>
                          <a:gd name="connsiteX7" fmla="*/ 25558 w 28761"/>
                          <a:gd name="connsiteY7" fmla="*/ 22555 h 32047"/>
                          <a:gd name="connsiteX8" fmla="*/ 25558 w 28761"/>
                          <a:gd name="connsiteY8" fmla="*/ 4846 h 3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1" h="32047">
                            <a:moveTo>
                              <a:pt x="25558" y="4846"/>
                            </a:moveTo>
                            <a:lnTo>
                              <a:pt x="25558" y="4846"/>
                            </a:lnTo>
                            <a:cubicBezTo>
                              <a:pt x="25558" y="4846"/>
                              <a:pt x="22670" y="3213"/>
                              <a:pt x="18525" y="701"/>
                            </a:cubicBezTo>
                            <a:cubicBezTo>
                              <a:pt x="14255" y="-1685"/>
                              <a:pt x="7473" y="2208"/>
                              <a:pt x="3203" y="9493"/>
                            </a:cubicBezTo>
                            <a:cubicBezTo>
                              <a:pt x="-1068" y="16777"/>
                              <a:pt x="-1068" y="24690"/>
                              <a:pt x="3203" y="27202"/>
                            </a:cubicBezTo>
                            <a:cubicBezTo>
                              <a:pt x="7473" y="29588"/>
                              <a:pt x="10236" y="31221"/>
                              <a:pt x="10236" y="31346"/>
                            </a:cubicBezTo>
                            <a:lnTo>
                              <a:pt x="10236" y="31346"/>
                            </a:lnTo>
                            <a:cubicBezTo>
                              <a:pt x="14506" y="33733"/>
                              <a:pt x="21288" y="29839"/>
                              <a:pt x="25558" y="22555"/>
                            </a:cubicBezTo>
                            <a:cubicBezTo>
                              <a:pt x="29829" y="15145"/>
                              <a:pt x="29829" y="7232"/>
                              <a:pt x="25558" y="4846"/>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7" name="Freeform: Shape 1216">
                        <a:extLst>
                          <a:ext uri="{FF2B5EF4-FFF2-40B4-BE49-F238E27FC236}">
                            <a16:creationId xmlns:a16="http://schemas.microsoft.com/office/drawing/2014/main" id="{FB387AB0-0B10-4B29-9143-0FC01AEA6D8A}"/>
                          </a:ext>
                        </a:extLst>
                      </p:cNvPr>
                      <p:cNvSpPr/>
                      <p:nvPr/>
                    </p:nvSpPr>
                    <p:spPr>
                      <a:xfrm>
                        <a:off x="3710939" y="1756100"/>
                        <a:ext cx="30549" cy="35330"/>
                      </a:xfrm>
                      <a:custGeom>
                        <a:avLst/>
                        <a:gdLst>
                          <a:gd name="connsiteX0" fmla="*/ 22936 w 30549"/>
                          <a:gd name="connsiteY0" fmla="*/ 4396 h 35330"/>
                          <a:gd name="connsiteX1" fmla="*/ 22888 w 30549"/>
                          <a:gd name="connsiteY1" fmla="*/ 22061 h 35330"/>
                          <a:gd name="connsiteX2" fmla="*/ 7613 w 30549"/>
                          <a:gd name="connsiteY2" fmla="*/ 30935 h 35330"/>
                          <a:gd name="connsiteX3" fmla="*/ 7661 w 30549"/>
                          <a:gd name="connsiteY3" fmla="*/ 13270 h 35330"/>
                          <a:gd name="connsiteX4" fmla="*/ 22936 w 30549"/>
                          <a:gd name="connsiteY4" fmla="*/ 4396 h 35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49" h="35330">
                            <a:moveTo>
                              <a:pt x="22936" y="4396"/>
                            </a:moveTo>
                            <a:cubicBezTo>
                              <a:pt x="27141" y="6824"/>
                              <a:pt x="27120" y="14733"/>
                              <a:pt x="22888" y="22061"/>
                            </a:cubicBezTo>
                            <a:cubicBezTo>
                              <a:pt x="18657" y="29390"/>
                              <a:pt x="11818" y="33362"/>
                              <a:pt x="7613" y="30935"/>
                            </a:cubicBezTo>
                            <a:cubicBezTo>
                              <a:pt x="3409" y="28507"/>
                              <a:pt x="3430" y="20598"/>
                              <a:pt x="7661" y="13270"/>
                            </a:cubicBezTo>
                            <a:cubicBezTo>
                              <a:pt x="11892" y="5941"/>
                              <a:pt x="18731" y="1968"/>
                              <a:pt x="22936" y="4396"/>
                            </a:cubicBez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8" name="Freeform: Shape 1217">
                        <a:extLst>
                          <a:ext uri="{FF2B5EF4-FFF2-40B4-BE49-F238E27FC236}">
                            <a16:creationId xmlns:a16="http://schemas.microsoft.com/office/drawing/2014/main" id="{D8D2CD4C-8D77-43AC-902F-5B8510846AD3}"/>
                          </a:ext>
                        </a:extLst>
                      </p:cNvPr>
                      <p:cNvSpPr/>
                      <p:nvPr/>
                    </p:nvSpPr>
                    <p:spPr>
                      <a:xfrm>
                        <a:off x="3719525" y="1764897"/>
                        <a:ext cx="13501" cy="17454"/>
                      </a:xfrm>
                      <a:custGeom>
                        <a:avLst/>
                        <a:gdLst>
                          <a:gd name="connsiteX0" fmla="*/ 11523 w 13501"/>
                          <a:gd name="connsiteY0" fmla="*/ 11490 h 17454"/>
                          <a:gd name="connsiteX1" fmla="*/ 1978 w 13501"/>
                          <a:gd name="connsiteY1" fmla="*/ 17017 h 17454"/>
                          <a:gd name="connsiteX2" fmla="*/ 1978 w 13501"/>
                          <a:gd name="connsiteY2" fmla="*/ 5964 h 17454"/>
                          <a:gd name="connsiteX3" fmla="*/ 11523 w 13501"/>
                          <a:gd name="connsiteY3" fmla="*/ 438 h 17454"/>
                          <a:gd name="connsiteX4" fmla="*/ 11523 w 13501"/>
                          <a:gd name="connsiteY4" fmla="*/ 11490 h 17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1" h="17454">
                            <a:moveTo>
                              <a:pt x="11523" y="11490"/>
                            </a:moveTo>
                            <a:cubicBezTo>
                              <a:pt x="8886" y="16012"/>
                              <a:pt x="4616" y="18524"/>
                              <a:pt x="1978" y="17017"/>
                            </a:cubicBezTo>
                            <a:cubicBezTo>
                              <a:pt x="-659" y="15510"/>
                              <a:pt x="-659" y="10611"/>
                              <a:pt x="1978" y="5964"/>
                            </a:cubicBezTo>
                            <a:cubicBezTo>
                              <a:pt x="4616" y="1443"/>
                              <a:pt x="8886" y="-1069"/>
                              <a:pt x="11523" y="438"/>
                            </a:cubicBezTo>
                            <a:cubicBezTo>
                              <a:pt x="14161" y="2071"/>
                              <a:pt x="14161" y="6969"/>
                              <a:pt x="11523" y="11490"/>
                            </a:cubicBezTo>
                            <a:close/>
                          </a:path>
                        </a:pathLst>
                      </a:custGeom>
                      <a:solidFill>
                        <a:srgbClr val="E6E0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9" name="Freeform: Shape 1218">
                        <a:extLst>
                          <a:ext uri="{FF2B5EF4-FFF2-40B4-BE49-F238E27FC236}">
                            <a16:creationId xmlns:a16="http://schemas.microsoft.com/office/drawing/2014/main" id="{FF0A17C3-D555-40E4-A63D-49BFB15F6D19}"/>
                          </a:ext>
                        </a:extLst>
                      </p:cNvPr>
                      <p:cNvSpPr/>
                      <p:nvPr/>
                    </p:nvSpPr>
                    <p:spPr>
                      <a:xfrm>
                        <a:off x="3720341" y="1765981"/>
                        <a:ext cx="11900" cy="15412"/>
                      </a:xfrm>
                      <a:custGeom>
                        <a:avLst/>
                        <a:gdLst>
                          <a:gd name="connsiteX0" fmla="*/ 10205 w 11900"/>
                          <a:gd name="connsiteY0" fmla="*/ 10156 h 15412"/>
                          <a:gd name="connsiteX1" fmla="*/ 1790 w 11900"/>
                          <a:gd name="connsiteY1" fmla="*/ 15054 h 15412"/>
                          <a:gd name="connsiteX2" fmla="*/ 1790 w 11900"/>
                          <a:gd name="connsiteY2" fmla="*/ 5257 h 15412"/>
                          <a:gd name="connsiteX3" fmla="*/ 10205 w 11900"/>
                          <a:gd name="connsiteY3" fmla="*/ 359 h 15412"/>
                          <a:gd name="connsiteX4" fmla="*/ 10205 w 11900"/>
                          <a:gd name="connsiteY4" fmla="*/ 10156 h 1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0" h="15412">
                            <a:moveTo>
                              <a:pt x="10205" y="10156"/>
                            </a:moveTo>
                            <a:cubicBezTo>
                              <a:pt x="7818" y="14175"/>
                              <a:pt x="4050" y="16310"/>
                              <a:pt x="1790" y="15054"/>
                            </a:cubicBezTo>
                            <a:cubicBezTo>
                              <a:pt x="-597" y="13672"/>
                              <a:pt x="-597" y="9402"/>
                              <a:pt x="1790" y="5257"/>
                            </a:cubicBezTo>
                            <a:cubicBezTo>
                              <a:pt x="4176" y="1238"/>
                              <a:pt x="7944" y="-897"/>
                              <a:pt x="10205" y="359"/>
                            </a:cubicBezTo>
                            <a:cubicBezTo>
                              <a:pt x="12465" y="1741"/>
                              <a:pt x="12465" y="6136"/>
                              <a:pt x="10205" y="1015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20" name="Freeform: Shape 1219">
                        <a:extLst>
                          <a:ext uri="{FF2B5EF4-FFF2-40B4-BE49-F238E27FC236}">
                            <a16:creationId xmlns:a16="http://schemas.microsoft.com/office/drawing/2014/main" id="{C17C6C3F-27B1-4AFC-BD26-10C4147F9AEB}"/>
                          </a:ext>
                        </a:extLst>
                      </p:cNvPr>
                      <p:cNvSpPr/>
                      <p:nvPr/>
                    </p:nvSpPr>
                    <p:spPr>
                      <a:xfrm>
                        <a:off x="3720410" y="1765939"/>
                        <a:ext cx="10726" cy="14828"/>
                      </a:xfrm>
                      <a:custGeom>
                        <a:avLst/>
                        <a:gdLst>
                          <a:gd name="connsiteX0" fmla="*/ 9005 w 10726"/>
                          <a:gd name="connsiteY0" fmla="*/ 9570 h 14828"/>
                          <a:gd name="connsiteX1" fmla="*/ 9508 w 10726"/>
                          <a:gd name="connsiteY1" fmla="*/ 150 h 14828"/>
                          <a:gd name="connsiteX2" fmla="*/ 1721 w 10726"/>
                          <a:gd name="connsiteY2" fmla="*/ 5300 h 14828"/>
                          <a:gd name="connsiteX3" fmla="*/ 1218 w 10726"/>
                          <a:gd name="connsiteY3" fmla="*/ 14719 h 14828"/>
                          <a:gd name="connsiteX4" fmla="*/ 9005 w 10726"/>
                          <a:gd name="connsiteY4" fmla="*/ 9570 h 1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26" h="14828">
                            <a:moveTo>
                              <a:pt x="9005" y="9570"/>
                            </a:moveTo>
                            <a:cubicBezTo>
                              <a:pt x="11140" y="5802"/>
                              <a:pt x="11266" y="1909"/>
                              <a:pt x="9508" y="150"/>
                            </a:cubicBezTo>
                            <a:cubicBezTo>
                              <a:pt x="7121" y="-603"/>
                              <a:pt x="3856" y="1532"/>
                              <a:pt x="1721" y="5300"/>
                            </a:cubicBezTo>
                            <a:cubicBezTo>
                              <a:pt x="-415" y="9068"/>
                              <a:pt x="-540" y="12961"/>
                              <a:pt x="1218" y="14719"/>
                            </a:cubicBezTo>
                            <a:cubicBezTo>
                              <a:pt x="3479" y="15347"/>
                              <a:pt x="6870" y="13212"/>
                              <a:pt x="9005" y="9570"/>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21" name="Graphic 4">
                        <a:extLst>
                          <a:ext uri="{FF2B5EF4-FFF2-40B4-BE49-F238E27FC236}">
                            <a16:creationId xmlns:a16="http://schemas.microsoft.com/office/drawing/2014/main" id="{84FB7ED1-A2DF-40A1-A747-5F7CF3F14040}"/>
                          </a:ext>
                        </a:extLst>
                      </p:cNvPr>
                      <p:cNvGrpSpPr/>
                      <p:nvPr/>
                    </p:nvGrpSpPr>
                    <p:grpSpPr>
                      <a:xfrm>
                        <a:off x="3724580" y="1776480"/>
                        <a:ext cx="1507" cy="1462"/>
                        <a:chOff x="3724580" y="1776480"/>
                        <a:chExt cx="1507" cy="1462"/>
                      </a:xfrm>
                      <a:solidFill>
                        <a:schemeClr val="accent1"/>
                      </a:solidFill>
                    </p:grpSpPr>
                    <p:sp>
                      <p:nvSpPr>
                        <p:cNvPr id="1222" name="Freeform: Shape 1221">
                          <a:extLst>
                            <a:ext uri="{FF2B5EF4-FFF2-40B4-BE49-F238E27FC236}">
                              <a16:creationId xmlns:a16="http://schemas.microsoft.com/office/drawing/2014/main" id="{47643262-417A-47E5-AABC-CC957E3C4B3A}"/>
                            </a:ext>
                          </a:extLst>
                        </p:cNvPr>
                        <p:cNvSpPr/>
                        <p:nvPr/>
                      </p:nvSpPr>
                      <p:spPr>
                        <a:xfrm>
                          <a:off x="3724580" y="1776480"/>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23" name="Freeform: Shape 1222">
                          <a:extLst>
                            <a:ext uri="{FF2B5EF4-FFF2-40B4-BE49-F238E27FC236}">
                              <a16:creationId xmlns:a16="http://schemas.microsoft.com/office/drawing/2014/main" id="{ED63DB9A-E0A6-47FA-B8C8-123A10729FB3}"/>
                            </a:ext>
                          </a:extLst>
                        </p:cNvPr>
                        <p:cNvSpPr/>
                        <p:nvPr/>
                      </p:nvSpPr>
                      <p:spPr>
                        <a:xfrm>
                          <a:off x="3724957" y="1776718"/>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8" y="1177"/>
                              </a:cubicBezTo>
                              <a:cubicBezTo>
                                <a:pt x="-63" y="1052"/>
                                <a:pt x="-63" y="675"/>
                                <a:pt x="188" y="424"/>
                              </a:cubicBezTo>
                              <a:cubicBezTo>
                                <a:pt x="440" y="47"/>
                                <a:pt x="691" y="-79"/>
                                <a:pt x="942" y="47"/>
                              </a:cubicBezTo>
                              <a:cubicBezTo>
                                <a:pt x="1193" y="173"/>
                                <a:pt x="1193" y="550"/>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24" name="Graphic 4">
                        <a:extLst>
                          <a:ext uri="{FF2B5EF4-FFF2-40B4-BE49-F238E27FC236}">
                            <a16:creationId xmlns:a16="http://schemas.microsoft.com/office/drawing/2014/main" id="{84FB7ED1-A2DF-40A1-A747-5F7CF3F14040}"/>
                          </a:ext>
                        </a:extLst>
                      </p:cNvPr>
                      <p:cNvGrpSpPr/>
                      <p:nvPr/>
                    </p:nvGrpSpPr>
                    <p:grpSpPr>
                      <a:xfrm>
                        <a:off x="3727092" y="1773843"/>
                        <a:ext cx="1506" cy="1462"/>
                        <a:chOff x="3727092" y="1773843"/>
                        <a:chExt cx="1506" cy="1462"/>
                      </a:xfrm>
                      <a:solidFill>
                        <a:schemeClr val="accent1"/>
                      </a:solidFill>
                    </p:grpSpPr>
                    <p:sp>
                      <p:nvSpPr>
                        <p:cNvPr id="1225" name="Freeform: Shape 1224">
                          <a:extLst>
                            <a:ext uri="{FF2B5EF4-FFF2-40B4-BE49-F238E27FC236}">
                              <a16:creationId xmlns:a16="http://schemas.microsoft.com/office/drawing/2014/main" id="{D51266F3-BBD7-4634-A9C8-B3BDC5D1583D}"/>
                            </a:ext>
                          </a:extLst>
                        </p:cNvPr>
                        <p:cNvSpPr/>
                        <p:nvPr/>
                      </p:nvSpPr>
                      <p:spPr>
                        <a:xfrm>
                          <a:off x="3727092" y="1773843"/>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39" y="159"/>
                                <a:pt x="188" y="410"/>
                              </a:cubicBezTo>
                              <a:cubicBezTo>
                                <a:pt x="-63" y="787"/>
                                <a:pt x="-63" y="1164"/>
                                <a:pt x="188" y="1164"/>
                              </a:cubicBezTo>
                              <a:cubicBezTo>
                                <a:pt x="439"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26" name="Freeform: Shape 1225">
                          <a:extLst>
                            <a:ext uri="{FF2B5EF4-FFF2-40B4-BE49-F238E27FC236}">
                              <a16:creationId xmlns:a16="http://schemas.microsoft.com/office/drawing/2014/main" id="{DBC42FCB-A8DA-4792-A593-2589EA335A21}"/>
                            </a:ext>
                          </a:extLst>
                        </p:cNvPr>
                        <p:cNvSpPr/>
                        <p:nvPr/>
                      </p:nvSpPr>
                      <p:spPr>
                        <a:xfrm>
                          <a:off x="3727469" y="1774080"/>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39" y="1303"/>
                                <a:pt x="188" y="1177"/>
                              </a:cubicBezTo>
                              <a:cubicBezTo>
                                <a:pt x="-63" y="1052"/>
                                <a:pt x="-63" y="675"/>
                                <a:pt x="188" y="424"/>
                              </a:cubicBezTo>
                              <a:cubicBezTo>
                                <a:pt x="439" y="47"/>
                                <a:pt x="691" y="-79"/>
                                <a:pt x="942" y="47"/>
                              </a:cubicBezTo>
                              <a:cubicBezTo>
                                <a:pt x="1193" y="173"/>
                                <a:pt x="1193"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27" name="Graphic 4">
                        <a:extLst>
                          <a:ext uri="{FF2B5EF4-FFF2-40B4-BE49-F238E27FC236}">
                            <a16:creationId xmlns:a16="http://schemas.microsoft.com/office/drawing/2014/main" id="{84FB7ED1-A2DF-40A1-A747-5F7CF3F14040}"/>
                          </a:ext>
                        </a:extLst>
                      </p:cNvPr>
                      <p:cNvGrpSpPr/>
                      <p:nvPr/>
                    </p:nvGrpSpPr>
                    <p:grpSpPr>
                      <a:xfrm>
                        <a:off x="3728222" y="1770326"/>
                        <a:ext cx="1412" cy="1462"/>
                        <a:chOff x="3728222" y="1770326"/>
                        <a:chExt cx="1412" cy="1462"/>
                      </a:xfrm>
                      <a:solidFill>
                        <a:schemeClr val="accent1"/>
                      </a:solidFill>
                    </p:grpSpPr>
                    <p:sp>
                      <p:nvSpPr>
                        <p:cNvPr id="1228" name="Freeform: Shape 1227">
                          <a:extLst>
                            <a:ext uri="{FF2B5EF4-FFF2-40B4-BE49-F238E27FC236}">
                              <a16:creationId xmlns:a16="http://schemas.microsoft.com/office/drawing/2014/main" id="{AD100ED3-AA80-410C-977B-F6B5C8E46239}"/>
                            </a:ext>
                          </a:extLst>
                        </p:cNvPr>
                        <p:cNvSpPr/>
                        <p:nvPr/>
                      </p:nvSpPr>
                      <p:spPr>
                        <a:xfrm>
                          <a:off x="3728222" y="1770326"/>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39" y="159"/>
                                <a:pt x="188" y="410"/>
                              </a:cubicBezTo>
                              <a:cubicBezTo>
                                <a:pt x="-63" y="787"/>
                                <a:pt x="-63" y="1164"/>
                                <a:pt x="188" y="1164"/>
                              </a:cubicBezTo>
                              <a:cubicBezTo>
                                <a:pt x="439" y="1289"/>
                                <a:pt x="565" y="1415"/>
                                <a:pt x="565" y="1415"/>
                              </a:cubicBezTo>
                              <a:lnTo>
                                <a:pt x="1319" y="159"/>
                              </a:lnTo>
                              <a:cubicBezTo>
                                <a:pt x="1319" y="285"/>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29" name="Freeform: Shape 1228">
                          <a:extLst>
                            <a:ext uri="{FF2B5EF4-FFF2-40B4-BE49-F238E27FC236}">
                              <a16:creationId xmlns:a16="http://schemas.microsoft.com/office/drawing/2014/main" id="{0B4DE1D1-FF26-44FF-B2A1-496984CDEA45}"/>
                            </a:ext>
                          </a:extLst>
                        </p:cNvPr>
                        <p:cNvSpPr/>
                        <p:nvPr/>
                      </p:nvSpPr>
                      <p:spPr>
                        <a:xfrm>
                          <a:off x="3728599" y="1770563"/>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39" y="1303"/>
                                <a:pt x="188" y="1177"/>
                              </a:cubicBezTo>
                              <a:cubicBezTo>
                                <a:pt x="-63" y="1052"/>
                                <a:pt x="-63" y="675"/>
                                <a:pt x="188" y="424"/>
                              </a:cubicBezTo>
                              <a:cubicBezTo>
                                <a:pt x="439" y="47"/>
                                <a:pt x="691" y="-78"/>
                                <a:pt x="942" y="47"/>
                              </a:cubicBezTo>
                              <a:cubicBezTo>
                                <a:pt x="1068" y="173"/>
                                <a:pt x="1068"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30" name="Graphic 4">
                        <a:extLst>
                          <a:ext uri="{FF2B5EF4-FFF2-40B4-BE49-F238E27FC236}">
                            <a16:creationId xmlns:a16="http://schemas.microsoft.com/office/drawing/2014/main" id="{84FB7ED1-A2DF-40A1-A747-5F7CF3F14040}"/>
                          </a:ext>
                        </a:extLst>
                      </p:cNvPr>
                      <p:cNvGrpSpPr/>
                      <p:nvPr/>
                    </p:nvGrpSpPr>
                    <p:grpSpPr>
                      <a:xfrm>
                        <a:off x="3727092" y="1768065"/>
                        <a:ext cx="1506" cy="1462"/>
                        <a:chOff x="3727092" y="1768065"/>
                        <a:chExt cx="1506" cy="1462"/>
                      </a:xfrm>
                      <a:solidFill>
                        <a:schemeClr val="accent1"/>
                      </a:solidFill>
                    </p:grpSpPr>
                    <p:sp>
                      <p:nvSpPr>
                        <p:cNvPr id="1231" name="Freeform: Shape 1230">
                          <a:extLst>
                            <a:ext uri="{FF2B5EF4-FFF2-40B4-BE49-F238E27FC236}">
                              <a16:creationId xmlns:a16="http://schemas.microsoft.com/office/drawing/2014/main" id="{4575C362-00C3-4B75-89AE-D870330E495F}"/>
                            </a:ext>
                          </a:extLst>
                        </p:cNvPr>
                        <p:cNvSpPr/>
                        <p:nvPr/>
                      </p:nvSpPr>
                      <p:spPr>
                        <a:xfrm>
                          <a:off x="3727092" y="1768065"/>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39" y="159"/>
                                <a:pt x="188" y="410"/>
                              </a:cubicBezTo>
                              <a:cubicBezTo>
                                <a:pt x="-63" y="787"/>
                                <a:pt x="-63" y="1164"/>
                                <a:pt x="188" y="1164"/>
                              </a:cubicBezTo>
                              <a:cubicBezTo>
                                <a:pt x="439"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32" name="Freeform: Shape 1231">
                          <a:extLst>
                            <a:ext uri="{FF2B5EF4-FFF2-40B4-BE49-F238E27FC236}">
                              <a16:creationId xmlns:a16="http://schemas.microsoft.com/office/drawing/2014/main" id="{CB12ABD5-D902-4405-8E07-6CF0DFEE1CF4}"/>
                            </a:ext>
                          </a:extLst>
                        </p:cNvPr>
                        <p:cNvSpPr/>
                        <p:nvPr/>
                      </p:nvSpPr>
                      <p:spPr>
                        <a:xfrm>
                          <a:off x="3727469" y="1768303"/>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39" y="1303"/>
                                <a:pt x="188" y="1177"/>
                              </a:cubicBezTo>
                              <a:cubicBezTo>
                                <a:pt x="-63" y="1052"/>
                                <a:pt x="-63" y="675"/>
                                <a:pt x="188" y="424"/>
                              </a:cubicBezTo>
                              <a:cubicBezTo>
                                <a:pt x="439" y="47"/>
                                <a:pt x="691" y="-78"/>
                                <a:pt x="942" y="47"/>
                              </a:cubicBezTo>
                              <a:cubicBezTo>
                                <a:pt x="1193" y="173"/>
                                <a:pt x="1193"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33" name="Freeform: Shape 1232">
                        <a:extLst>
                          <a:ext uri="{FF2B5EF4-FFF2-40B4-BE49-F238E27FC236}">
                            <a16:creationId xmlns:a16="http://schemas.microsoft.com/office/drawing/2014/main" id="{09697768-710E-426B-9864-58EA070A4B45}"/>
                          </a:ext>
                        </a:extLst>
                      </p:cNvPr>
                      <p:cNvSpPr/>
                      <p:nvPr/>
                    </p:nvSpPr>
                    <p:spPr>
                      <a:xfrm>
                        <a:off x="3723638" y="1770220"/>
                        <a:ext cx="5369" cy="6935"/>
                      </a:xfrm>
                      <a:custGeom>
                        <a:avLst/>
                        <a:gdLst>
                          <a:gd name="connsiteX0" fmla="*/ 4522 w 5369"/>
                          <a:gd name="connsiteY0" fmla="*/ 4535 h 6935"/>
                          <a:gd name="connsiteX1" fmla="*/ 753 w 5369"/>
                          <a:gd name="connsiteY1" fmla="*/ 6796 h 6935"/>
                          <a:gd name="connsiteX2" fmla="*/ 753 w 5369"/>
                          <a:gd name="connsiteY2" fmla="*/ 2400 h 6935"/>
                          <a:gd name="connsiteX3" fmla="*/ 4522 w 5369"/>
                          <a:gd name="connsiteY3" fmla="*/ 139 h 6935"/>
                          <a:gd name="connsiteX4" fmla="*/ 4522 w 5369"/>
                          <a:gd name="connsiteY4" fmla="*/ 4535 h 6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9" h="6935">
                            <a:moveTo>
                              <a:pt x="4522" y="4535"/>
                            </a:moveTo>
                            <a:cubicBezTo>
                              <a:pt x="3517" y="6419"/>
                              <a:pt x="1758" y="7298"/>
                              <a:pt x="753" y="6796"/>
                            </a:cubicBezTo>
                            <a:cubicBezTo>
                              <a:pt x="-251" y="6168"/>
                              <a:pt x="-251" y="4158"/>
                              <a:pt x="753" y="2400"/>
                            </a:cubicBezTo>
                            <a:cubicBezTo>
                              <a:pt x="1758" y="516"/>
                              <a:pt x="3517" y="-363"/>
                              <a:pt x="4522" y="139"/>
                            </a:cubicBezTo>
                            <a:cubicBezTo>
                              <a:pt x="5652" y="767"/>
                              <a:pt x="5652" y="2777"/>
                              <a:pt x="4522" y="4535"/>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34" name="Freeform: Shape 1233">
                        <a:extLst>
                          <a:ext uri="{FF2B5EF4-FFF2-40B4-BE49-F238E27FC236}">
                            <a16:creationId xmlns:a16="http://schemas.microsoft.com/office/drawing/2014/main" id="{5EB90915-2FA1-4F8D-B891-3478B9DB6A28}"/>
                          </a:ext>
                        </a:extLst>
                      </p:cNvPr>
                      <p:cNvSpPr/>
                      <p:nvPr/>
                    </p:nvSpPr>
                    <p:spPr>
                      <a:xfrm>
                        <a:off x="3722508" y="1769545"/>
                        <a:ext cx="5651" cy="7471"/>
                      </a:xfrm>
                      <a:custGeom>
                        <a:avLst/>
                        <a:gdLst>
                          <a:gd name="connsiteX0" fmla="*/ 1884 w 5651"/>
                          <a:gd name="connsiteY0" fmla="*/ 3076 h 7471"/>
                          <a:gd name="connsiteX1" fmla="*/ 5652 w 5651"/>
                          <a:gd name="connsiteY1" fmla="*/ 815 h 7471"/>
                          <a:gd name="connsiteX2" fmla="*/ 4522 w 5651"/>
                          <a:gd name="connsiteY2" fmla="*/ 187 h 7471"/>
                          <a:gd name="connsiteX3" fmla="*/ 753 w 5651"/>
                          <a:gd name="connsiteY3" fmla="*/ 2448 h 7471"/>
                          <a:gd name="connsiteX4" fmla="*/ 753 w 5651"/>
                          <a:gd name="connsiteY4" fmla="*/ 6843 h 7471"/>
                          <a:gd name="connsiteX5" fmla="*/ 1884 w 5651"/>
                          <a:gd name="connsiteY5" fmla="*/ 7471 h 7471"/>
                          <a:gd name="connsiteX6" fmla="*/ 1884 w 5651"/>
                          <a:gd name="connsiteY6" fmla="*/ 3076 h 7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 h="7471">
                            <a:moveTo>
                              <a:pt x="1884" y="3076"/>
                            </a:moveTo>
                            <a:cubicBezTo>
                              <a:pt x="2889" y="1192"/>
                              <a:pt x="4647" y="313"/>
                              <a:pt x="5652" y="815"/>
                            </a:cubicBezTo>
                            <a:cubicBezTo>
                              <a:pt x="5652" y="815"/>
                              <a:pt x="4647" y="313"/>
                              <a:pt x="4522" y="187"/>
                            </a:cubicBezTo>
                            <a:cubicBezTo>
                              <a:pt x="3517" y="-441"/>
                              <a:pt x="1758" y="564"/>
                              <a:pt x="753" y="2448"/>
                            </a:cubicBezTo>
                            <a:cubicBezTo>
                              <a:pt x="-251" y="4332"/>
                              <a:pt x="-251" y="6215"/>
                              <a:pt x="753" y="6843"/>
                            </a:cubicBezTo>
                            <a:cubicBezTo>
                              <a:pt x="1005" y="6969"/>
                              <a:pt x="1884" y="7471"/>
                              <a:pt x="1884" y="7471"/>
                            </a:cubicBezTo>
                            <a:cubicBezTo>
                              <a:pt x="879" y="6843"/>
                              <a:pt x="879" y="4834"/>
                              <a:pt x="1884" y="3076"/>
                            </a:cubicBezTo>
                            <a:close/>
                          </a:path>
                        </a:pathLst>
                      </a:custGeom>
                      <a:solidFill>
                        <a:srgbClr val="CF8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35" name="Graphic 4">
                        <a:extLst>
                          <a:ext uri="{FF2B5EF4-FFF2-40B4-BE49-F238E27FC236}">
                            <a16:creationId xmlns:a16="http://schemas.microsoft.com/office/drawing/2014/main" id="{84FB7ED1-A2DF-40A1-A747-5F7CF3F14040}"/>
                          </a:ext>
                        </a:extLst>
                      </p:cNvPr>
                      <p:cNvGrpSpPr/>
                      <p:nvPr/>
                    </p:nvGrpSpPr>
                    <p:grpSpPr>
                      <a:xfrm>
                        <a:off x="3724580" y="1768316"/>
                        <a:ext cx="1507" cy="1462"/>
                        <a:chOff x="3724580" y="1768316"/>
                        <a:chExt cx="1507" cy="1462"/>
                      </a:xfrm>
                      <a:solidFill>
                        <a:schemeClr val="accent1"/>
                      </a:solidFill>
                    </p:grpSpPr>
                    <p:sp>
                      <p:nvSpPr>
                        <p:cNvPr id="1236" name="Freeform: Shape 1235">
                          <a:extLst>
                            <a:ext uri="{FF2B5EF4-FFF2-40B4-BE49-F238E27FC236}">
                              <a16:creationId xmlns:a16="http://schemas.microsoft.com/office/drawing/2014/main" id="{7B7709F9-9B13-425B-84D7-FAD079787EE3}"/>
                            </a:ext>
                          </a:extLst>
                        </p:cNvPr>
                        <p:cNvSpPr/>
                        <p:nvPr/>
                      </p:nvSpPr>
                      <p:spPr>
                        <a:xfrm>
                          <a:off x="3724580" y="1768316"/>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37" name="Freeform: Shape 1236">
                          <a:extLst>
                            <a:ext uri="{FF2B5EF4-FFF2-40B4-BE49-F238E27FC236}">
                              <a16:creationId xmlns:a16="http://schemas.microsoft.com/office/drawing/2014/main" id="{D10EFA98-5F6C-40A4-BE15-995D3DBBF769}"/>
                            </a:ext>
                          </a:extLst>
                        </p:cNvPr>
                        <p:cNvSpPr/>
                        <p:nvPr/>
                      </p:nvSpPr>
                      <p:spPr>
                        <a:xfrm>
                          <a:off x="3724957" y="1768554"/>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8" y="1177"/>
                              </a:cubicBezTo>
                              <a:cubicBezTo>
                                <a:pt x="-63" y="1052"/>
                                <a:pt x="-63" y="675"/>
                                <a:pt x="188" y="424"/>
                              </a:cubicBezTo>
                              <a:cubicBezTo>
                                <a:pt x="440" y="47"/>
                                <a:pt x="691" y="-78"/>
                                <a:pt x="942" y="47"/>
                              </a:cubicBezTo>
                              <a:cubicBezTo>
                                <a:pt x="1193" y="173"/>
                                <a:pt x="1193"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38" name="Graphic 4">
                        <a:extLst>
                          <a:ext uri="{FF2B5EF4-FFF2-40B4-BE49-F238E27FC236}">
                            <a16:creationId xmlns:a16="http://schemas.microsoft.com/office/drawing/2014/main" id="{84FB7ED1-A2DF-40A1-A747-5F7CF3F14040}"/>
                          </a:ext>
                        </a:extLst>
                      </p:cNvPr>
                      <p:cNvGrpSpPr/>
                      <p:nvPr/>
                    </p:nvGrpSpPr>
                    <p:grpSpPr>
                      <a:xfrm>
                        <a:off x="3722068" y="1770954"/>
                        <a:ext cx="1507" cy="1462"/>
                        <a:chOff x="3722068" y="1770954"/>
                        <a:chExt cx="1507" cy="1462"/>
                      </a:xfrm>
                      <a:solidFill>
                        <a:schemeClr val="accent1"/>
                      </a:solidFill>
                    </p:grpSpPr>
                    <p:sp>
                      <p:nvSpPr>
                        <p:cNvPr id="1239" name="Freeform: Shape 1238">
                          <a:extLst>
                            <a:ext uri="{FF2B5EF4-FFF2-40B4-BE49-F238E27FC236}">
                              <a16:creationId xmlns:a16="http://schemas.microsoft.com/office/drawing/2014/main" id="{4A01B48C-99CE-41C5-98E2-EA54CB5CF535}"/>
                            </a:ext>
                          </a:extLst>
                        </p:cNvPr>
                        <p:cNvSpPr/>
                        <p:nvPr/>
                      </p:nvSpPr>
                      <p:spPr>
                        <a:xfrm>
                          <a:off x="3722068" y="1770954"/>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0" name="Freeform: Shape 1239">
                          <a:extLst>
                            <a:ext uri="{FF2B5EF4-FFF2-40B4-BE49-F238E27FC236}">
                              <a16:creationId xmlns:a16="http://schemas.microsoft.com/office/drawing/2014/main" id="{60B7DD56-4054-4086-B816-8BE768A9FE52}"/>
                            </a:ext>
                          </a:extLst>
                        </p:cNvPr>
                        <p:cNvSpPr/>
                        <p:nvPr/>
                      </p:nvSpPr>
                      <p:spPr>
                        <a:xfrm>
                          <a:off x="3722445" y="1771191"/>
                          <a:ext cx="1130" cy="1224"/>
                        </a:xfrm>
                        <a:custGeom>
                          <a:avLst/>
                          <a:gdLst>
                            <a:gd name="connsiteX0" fmla="*/ 942 w 1130"/>
                            <a:gd name="connsiteY0" fmla="*/ 801 h 1224"/>
                            <a:gd name="connsiteX1" fmla="*/ 189 w 1130"/>
                            <a:gd name="connsiteY1" fmla="*/ 1177 h 1224"/>
                            <a:gd name="connsiteX2" fmla="*/ 189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9" y="1177"/>
                              </a:cubicBezTo>
                              <a:cubicBezTo>
                                <a:pt x="-63" y="1052"/>
                                <a:pt x="-63" y="675"/>
                                <a:pt x="189" y="424"/>
                              </a:cubicBezTo>
                              <a:cubicBezTo>
                                <a:pt x="440" y="47"/>
                                <a:pt x="691" y="-78"/>
                                <a:pt x="942" y="47"/>
                              </a:cubicBezTo>
                              <a:cubicBezTo>
                                <a:pt x="1193" y="173"/>
                                <a:pt x="1193"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41" name="Graphic 4">
                        <a:extLst>
                          <a:ext uri="{FF2B5EF4-FFF2-40B4-BE49-F238E27FC236}">
                            <a16:creationId xmlns:a16="http://schemas.microsoft.com/office/drawing/2014/main" id="{84FB7ED1-A2DF-40A1-A747-5F7CF3F14040}"/>
                          </a:ext>
                        </a:extLst>
                      </p:cNvPr>
                      <p:cNvGrpSpPr/>
                      <p:nvPr/>
                    </p:nvGrpSpPr>
                    <p:grpSpPr>
                      <a:xfrm>
                        <a:off x="3721063" y="1774471"/>
                        <a:ext cx="1507" cy="1462"/>
                        <a:chOff x="3721063" y="1774471"/>
                        <a:chExt cx="1507" cy="1462"/>
                      </a:xfrm>
                      <a:solidFill>
                        <a:schemeClr val="accent1"/>
                      </a:solidFill>
                    </p:grpSpPr>
                    <p:sp>
                      <p:nvSpPr>
                        <p:cNvPr id="1242" name="Freeform: Shape 1241">
                          <a:extLst>
                            <a:ext uri="{FF2B5EF4-FFF2-40B4-BE49-F238E27FC236}">
                              <a16:creationId xmlns:a16="http://schemas.microsoft.com/office/drawing/2014/main" id="{1863BFAF-0F77-4FCF-ABEE-F14AF94AE5CF}"/>
                            </a:ext>
                          </a:extLst>
                        </p:cNvPr>
                        <p:cNvSpPr/>
                        <p:nvPr/>
                      </p:nvSpPr>
                      <p:spPr>
                        <a:xfrm>
                          <a:off x="3721063" y="1774471"/>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3" name="Freeform: Shape 1242">
                          <a:extLst>
                            <a:ext uri="{FF2B5EF4-FFF2-40B4-BE49-F238E27FC236}">
                              <a16:creationId xmlns:a16="http://schemas.microsoft.com/office/drawing/2014/main" id="{02ECEC91-C3A1-465D-BA56-E502B5C54D1A}"/>
                            </a:ext>
                          </a:extLst>
                        </p:cNvPr>
                        <p:cNvSpPr/>
                        <p:nvPr/>
                      </p:nvSpPr>
                      <p:spPr>
                        <a:xfrm>
                          <a:off x="3721440" y="1774722"/>
                          <a:ext cx="1130" cy="1210"/>
                        </a:xfrm>
                        <a:custGeom>
                          <a:avLst/>
                          <a:gdLst>
                            <a:gd name="connsiteX0" fmla="*/ 942 w 1130"/>
                            <a:gd name="connsiteY0" fmla="*/ 787 h 1210"/>
                            <a:gd name="connsiteX1" fmla="*/ 188 w 1130"/>
                            <a:gd name="connsiteY1" fmla="*/ 1164 h 1210"/>
                            <a:gd name="connsiteX2" fmla="*/ 188 w 1130"/>
                            <a:gd name="connsiteY2" fmla="*/ 410 h 1210"/>
                            <a:gd name="connsiteX3" fmla="*/ 942 w 1130"/>
                            <a:gd name="connsiteY3" fmla="*/ 33 h 1210"/>
                            <a:gd name="connsiteX4" fmla="*/ 942 w 1130"/>
                            <a:gd name="connsiteY4" fmla="*/ 787 h 1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10">
                              <a:moveTo>
                                <a:pt x="942" y="787"/>
                              </a:moveTo>
                              <a:cubicBezTo>
                                <a:pt x="691" y="1164"/>
                                <a:pt x="440" y="1289"/>
                                <a:pt x="188" y="1164"/>
                              </a:cubicBezTo>
                              <a:cubicBezTo>
                                <a:pt x="-63" y="1038"/>
                                <a:pt x="-63" y="661"/>
                                <a:pt x="188" y="410"/>
                              </a:cubicBezTo>
                              <a:cubicBezTo>
                                <a:pt x="440" y="159"/>
                                <a:pt x="691" y="-92"/>
                                <a:pt x="942" y="33"/>
                              </a:cubicBezTo>
                              <a:cubicBezTo>
                                <a:pt x="1193" y="159"/>
                                <a:pt x="1193" y="410"/>
                                <a:pt x="942" y="78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44" name="Graphic 4">
                        <a:extLst>
                          <a:ext uri="{FF2B5EF4-FFF2-40B4-BE49-F238E27FC236}">
                            <a16:creationId xmlns:a16="http://schemas.microsoft.com/office/drawing/2014/main" id="{84FB7ED1-A2DF-40A1-A747-5F7CF3F14040}"/>
                          </a:ext>
                        </a:extLst>
                      </p:cNvPr>
                      <p:cNvGrpSpPr/>
                      <p:nvPr/>
                    </p:nvGrpSpPr>
                    <p:grpSpPr>
                      <a:xfrm>
                        <a:off x="3722068" y="1776731"/>
                        <a:ext cx="1507" cy="1462"/>
                        <a:chOff x="3722068" y="1776731"/>
                        <a:chExt cx="1507" cy="1462"/>
                      </a:xfrm>
                      <a:solidFill>
                        <a:schemeClr val="accent1"/>
                      </a:solidFill>
                    </p:grpSpPr>
                    <p:sp>
                      <p:nvSpPr>
                        <p:cNvPr id="1245" name="Freeform: Shape 1244">
                          <a:extLst>
                            <a:ext uri="{FF2B5EF4-FFF2-40B4-BE49-F238E27FC236}">
                              <a16:creationId xmlns:a16="http://schemas.microsoft.com/office/drawing/2014/main" id="{E9687148-8F07-4588-8218-A092EA627228}"/>
                            </a:ext>
                          </a:extLst>
                        </p:cNvPr>
                        <p:cNvSpPr/>
                        <p:nvPr/>
                      </p:nvSpPr>
                      <p:spPr>
                        <a:xfrm>
                          <a:off x="3722068" y="1776731"/>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6" name="Freeform: Shape 1245">
                          <a:extLst>
                            <a:ext uri="{FF2B5EF4-FFF2-40B4-BE49-F238E27FC236}">
                              <a16:creationId xmlns:a16="http://schemas.microsoft.com/office/drawing/2014/main" id="{CE103081-24ED-402F-A3A9-157EC657BD1F}"/>
                            </a:ext>
                          </a:extLst>
                        </p:cNvPr>
                        <p:cNvSpPr/>
                        <p:nvPr/>
                      </p:nvSpPr>
                      <p:spPr>
                        <a:xfrm>
                          <a:off x="3722445" y="1776969"/>
                          <a:ext cx="1130" cy="1224"/>
                        </a:xfrm>
                        <a:custGeom>
                          <a:avLst/>
                          <a:gdLst>
                            <a:gd name="connsiteX0" fmla="*/ 942 w 1130"/>
                            <a:gd name="connsiteY0" fmla="*/ 801 h 1224"/>
                            <a:gd name="connsiteX1" fmla="*/ 189 w 1130"/>
                            <a:gd name="connsiteY1" fmla="*/ 1177 h 1224"/>
                            <a:gd name="connsiteX2" fmla="*/ 189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9" y="1177"/>
                              </a:cubicBezTo>
                              <a:cubicBezTo>
                                <a:pt x="-63" y="1052"/>
                                <a:pt x="-63" y="675"/>
                                <a:pt x="189" y="424"/>
                              </a:cubicBezTo>
                              <a:cubicBezTo>
                                <a:pt x="440" y="47"/>
                                <a:pt x="691" y="-79"/>
                                <a:pt x="942" y="47"/>
                              </a:cubicBezTo>
                              <a:cubicBezTo>
                                <a:pt x="1193" y="173"/>
                                <a:pt x="1193"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247" name="Freeform: Shape 1246">
                      <a:extLst>
                        <a:ext uri="{FF2B5EF4-FFF2-40B4-BE49-F238E27FC236}">
                          <a16:creationId xmlns:a16="http://schemas.microsoft.com/office/drawing/2014/main" id="{D12DCE25-4A19-4AD4-B65E-162BD2F61C25}"/>
                        </a:ext>
                      </a:extLst>
                    </p:cNvPr>
                    <p:cNvSpPr/>
                    <p:nvPr/>
                  </p:nvSpPr>
                  <p:spPr>
                    <a:xfrm>
                      <a:off x="3712711" y="1749314"/>
                      <a:ext cx="24867" cy="10620"/>
                    </a:xfrm>
                    <a:custGeom>
                      <a:avLst/>
                      <a:gdLst>
                        <a:gd name="connsiteX0" fmla="*/ 16202 w 24867"/>
                        <a:gd name="connsiteY0" fmla="*/ 950 h 10620"/>
                        <a:gd name="connsiteX1" fmla="*/ 6405 w 24867"/>
                        <a:gd name="connsiteY1" fmla="*/ 1955 h 10620"/>
                        <a:gd name="connsiteX2" fmla="*/ 0 w 24867"/>
                        <a:gd name="connsiteY2" fmla="*/ 5597 h 10620"/>
                        <a:gd name="connsiteX3" fmla="*/ 8666 w 24867"/>
                        <a:gd name="connsiteY3" fmla="*/ 10621 h 10620"/>
                        <a:gd name="connsiteX4" fmla="*/ 15072 w 24867"/>
                        <a:gd name="connsiteY4" fmla="*/ 6978 h 10620"/>
                        <a:gd name="connsiteX5" fmla="*/ 24868 w 24867"/>
                        <a:gd name="connsiteY5" fmla="*/ 5974 h 10620"/>
                        <a:gd name="connsiteX6" fmla="*/ 16202 w 24867"/>
                        <a:gd name="connsiteY6" fmla="*/ 950 h 10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67" h="10620">
                          <a:moveTo>
                            <a:pt x="16202" y="950"/>
                          </a:moveTo>
                          <a:cubicBezTo>
                            <a:pt x="13690" y="-557"/>
                            <a:pt x="10299" y="-306"/>
                            <a:pt x="6405" y="1955"/>
                          </a:cubicBezTo>
                          <a:lnTo>
                            <a:pt x="0" y="5597"/>
                          </a:lnTo>
                          <a:lnTo>
                            <a:pt x="8666" y="10621"/>
                          </a:lnTo>
                          <a:lnTo>
                            <a:pt x="15072" y="6978"/>
                          </a:lnTo>
                          <a:cubicBezTo>
                            <a:pt x="18839" y="4718"/>
                            <a:pt x="22356" y="4592"/>
                            <a:pt x="24868" y="5974"/>
                          </a:cubicBezTo>
                          <a:cubicBezTo>
                            <a:pt x="24868" y="5974"/>
                            <a:pt x="18714" y="2457"/>
                            <a:pt x="16202" y="950"/>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8" name="Freeform: Shape 1247">
                      <a:extLst>
                        <a:ext uri="{FF2B5EF4-FFF2-40B4-BE49-F238E27FC236}">
                          <a16:creationId xmlns:a16="http://schemas.microsoft.com/office/drawing/2014/main" id="{F516F005-C5E0-49B4-9614-3E32E8B84FBE}"/>
                        </a:ext>
                      </a:extLst>
                    </p:cNvPr>
                    <p:cNvSpPr/>
                    <p:nvPr/>
                  </p:nvSpPr>
                  <p:spPr>
                    <a:xfrm>
                      <a:off x="3712711" y="1754911"/>
                      <a:ext cx="8666" cy="6405"/>
                    </a:xfrm>
                    <a:custGeom>
                      <a:avLst/>
                      <a:gdLst>
                        <a:gd name="connsiteX0" fmla="*/ 0 w 8666"/>
                        <a:gd name="connsiteY0" fmla="*/ 0 h 6405"/>
                        <a:gd name="connsiteX1" fmla="*/ 0 w 8666"/>
                        <a:gd name="connsiteY1" fmla="*/ 1382 h 6405"/>
                        <a:gd name="connsiteX2" fmla="*/ 8666 w 8666"/>
                        <a:gd name="connsiteY2" fmla="*/ 6405 h 6405"/>
                        <a:gd name="connsiteX3" fmla="*/ 8666 w 8666"/>
                        <a:gd name="connsiteY3" fmla="*/ 5024 h 6405"/>
                      </a:gdLst>
                      <a:ahLst/>
                      <a:cxnLst>
                        <a:cxn ang="0">
                          <a:pos x="connsiteX0" y="connsiteY0"/>
                        </a:cxn>
                        <a:cxn ang="0">
                          <a:pos x="connsiteX1" y="connsiteY1"/>
                        </a:cxn>
                        <a:cxn ang="0">
                          <a:pos x="connsiteX2" y="connsiteY2"/>
                        </a:cxn>
                        <a:cxn ang="0">
                          <a:pos x="connsiteX3" y="connsiteY3"/>
                        </a:cxn>
                      </a:cxnLst>
                      <a:rect l="l" t="t" r="r" b="b"/>
                      <a:pathLst>
                        <a:path w="8666" h="6405">
                          <a:moveTo>
                            <a:pt x="0" y="0"/>
                          </a:moveTo>
                          <a:lnTo>
                            <a:pt x="0" y="1382"/>
                          </a:lnTo>
                          <a:lnTo>
                            <a:pt x="8666" y="6405"/>
                          </a:lnTo>
                          <a:lnTo>
                            <a:pt x="8666" y="5024"/>
                          </a:ln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9" name="Freeform: Shape 1248">
                      <a:extLst>
                        <a:ext uri="{FF2B5EF4-FFF2-40B4-BE49-F238E27FC236}">
                          <a16:creationId xmlns:a16="http://schemas.microsoft.com/office/drawing/2014/main" id="{DE1516B1-16DF-4D15-96BE-7D767F8A3A53}"/>
                        </a:ext>
                      </a:extLst>
                    </p:cNvPr>
                    <p:cNvSpPr/>
                    <p:nvPr/>
                  </p:nvSpPr>
                  <p:spPr>
                    <a:xfrm>
                      <a:off x="3721377" y="1754464"/>
                      <a:ext cx="20220" cy="18910"/>
                    </a:xfrm>
                    <a:custGeom>
                      <a:avLst/>
                      <a:gdLst>
                        <a:gd name="connsiteX0" fmla="*/ 6405 w 20220"/>
                        <a:gd name="connsiteY0" fmla="*/ 3211 h 18910"/>
                        <a:gd name="connsiteX1" fmla="*/ 19090 w 20220"/>
                        <a:gd name="connsiteY1" fmla="*/ 10495 h 18910"/>
                        <a:gd name="connsiteX2" fmla="*/ 19090 w 20220"/>
                        <a:gd name="connsiteY2" fmla="*/ 18910 h 18910"/>
                        <a:gd name="connsiteX3" fmla="*/ 20221 w 20220"/>
                        <a:gd name="connsiteY3" fmla="*/ 18282 h 18910"/>
                        <a:gd name="connsiteX4" fmla="*/ 20221 w 20220"/>
                        <a:gd name="connsiteY4" fmla="*/ 9867 h 18910"/>
                        <a:gd name="connsiteX5" fmla="*/ 16202 w 20220"/>
                        <a:gd name="connsiteY5" fmla="*/ 950 h 18910"/>
                        <a:gd name="connsiteX6" fmla="*/ 6405 w 20220"/>
                        <a:gd name="connsiteY6" fmla="*/ 1955 h 18910"/>
                        <a:gd name="connsiteX7" fmla="*/ 0 w 20220"/>
                        <a:gd name="connsiteY7" fmla="*/ 5597 h 18910"/>
                        <a:gd name="connsiteX8" fmla="*/ 0 w 20220"/>
                        <a:gd name="connsiteY8" fmla="*/ 6978 h 18910"/>
                        <a:gd name="connsiteX9" fmla="*/ 6405 w 20220"/>
                        <a:gd name="connsiteY9" fmla="*/ 3211 h 18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20" h="18910">
                          <a:moveTo>
                            <a:pt x="6405" y="3211"/>
                          </a:moveTo>
                          <a:cubicBezTo>
                            <a:pt x="13439" y="-808"/>
                            <a:pt x="19090" y="2457"/>
                            <a:pt x="19090" y="10495"/>
                          </a:cubicBezTo>
                          <a:lnTo>
                            <a:pt x="19090" y="18910"/>
                          </a:lnTo>
                          <a:lnTo>
                            <a:pt x="20221" y="18282"/>
                          </a:lnTo>
                          <a:lnTo>
                            <a:pt x="20221" y="9867"/>
                          </a:lnTo>
                          <a:cubicBezTo>
                            <a:pt x="20221" y="5471"/>
                            <a:pt x="18714" y="2331"/>
                            <a:pt x="16202" y="950"/>
                          </a:cubicBezTo>
                          <a:cubicBezTo>
                            <a:pt x="13690" y="-557"/>
                            <a:pt x="10299" y="-306"/>
                            <a:pt x="6405" y="1955"/>
                          </a:cubicBezTo>
                          <a:lnTo>
                            <a:pt x="0" y="5597"/>
                          </a:lnTo>
                          <a:lnTo>
                            <a:pt x="0" y="6978"/>
                          </a:lnTo>
                          <a:lnTo>
                            <a:pt x="6405" y="3211"/>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50" name="Graphic 4">
                    <a:extLst>
                      <a:ext uri="{FF2B5EF4-FFF2-40B4-BE49-F238E27FC236}">
                        <a16:creationId xmlns:a16="http://schemas.microsoft.com/office/drawing/2014/main" id="{84FB7ED1-A2DF-40A1-A747-5F7CF3F14040}"/>
                      </a:ext>
                    </a:extLst>
                  </p:cNvPr>
                  <p:cNvGrpSpPr/>
                  <p:nvPr/>
                </p:nvGrpSpPr>
                <p:grpSpPr>
                  <a:xfrm>
                    <a:off x="3723135" y="1679162"/>
                    <a:ext cx="42576" cy="74116"/>
                    <a:chOff x="3723135" y="1679162"/>
                    <a:chExt cx="42576" cy="74116"/>
                  </a:xfrm>
                  <a:solidFill>
                    <a:schemeClr val="accent1"/>
                  </a:solidFill>
                </p:grpSpPr>
                <p:sp>
                  <p:nvSpPr>
                    <p:cNvPr id="1251" name="Freeform: Shape 1250">
                      <a:extLst>
                        <a:ext uri="{FF2B5EF4-FFF2-40B4-BE49-F238E27FC236}">
                          <a16:creationId xmlns:a16="http://schemas.microsoft.com/office/drawing/2014/main" id="{C408471C-C6E0-4736-8643-391857534C26}"/>
                        </a:ext>
                      </a:extLst>
                    </p:cNvPr>
                    <p:cNvSpPr/>
                    <p:nvPr/>
                  </p:nvSpPr>
                  <p:spPr>
                    <a:xfrm>
                      <a:off x="3723135" y="1679162"/>
                      <a:ext cx="40818" cy="71855"/>
                    </a:xfrm>
                    <a:custGeom>
                      <a:avLst/>
                      <a:gdLst>
                        <a:gd name="connsiteX0" fmla="*/ 12811 w 40818"/>
                        <a:gd name="connsiteY0" fmla="*/ 22120 h 71855"/>
                        <a:gd name="connsiteX1" fmla="*/ 21351 w 40818"/>
                        <a:gd name="connsiteY1" fmla="*/ 11068 h 71855"/>
                        <a:gd name="connsiteX2" fmla="*/ 36800 w 40818"/>
                        <a:gd name="connsiteY2" fmla="*/ 2151 h 71855"/>
                        <a:gd name="connsiteX3" fmla="*/ 40818 w 40818"/>
                        <a:gd name="connsiteY3" fmla="*/ 1774 h 71855"/>
                        <a:gd name="connsiteX4" fmla="*/ 38432 w 40818"/>
                        <a:gd name="connsiteY4" fmla="*/ 392 h 71855"/>
                        <a:gd name="connsiteX5" fmla="*/ 34413 w 40818"/>
                        <a:gd name="connsiteY5" fmla="*/ 769 h 71855"/>
                        <a:gd name="connsiteX6" fmla="*/ 18965 w 40818"/>
                        <a:gd name="connsiteY6" fmla="*/ 9687 h 71855"/>
                        <a:gd name="connsiteX7" fmla="*/ 10425 w 40818"/>
                        <a:gd name="connsiteY7" fmla="*/ 20739 h 71855"/>
                        <a:gd name="connsiteX8" fmla="*/ 4647 w 40818"/>
                        <a:gd name="connsiteY8" fmla="*/ 40583 h 71855"/>
                        <a:gd name="connsiteX9" fmla="*/ 0 w 40818"/>
                        <a:gd name="connsiteY9" fmla="*/ 70474 h 71855"/>
                        <a:gd name="connsiteX10" fmla="*/ 2386 w 40818"/>
                        <a:gd name="connsiteY10" fmla="*/ 71856 h 71855"/>
                        <a:gd name="connsiteX11" fmla="*/ 7034 w 40818"/>
                        <a:gd name="connsiteY11" fmla="*/ 41964 h 71855"/>
                        <a:gd name="connsiteX12" fmla="*/ 12811 w 40818"/>
                        <a:gd name="connsiteY12" fmla="*/ 22120 h 71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818" h="71855">
                          <a:moveTo>
                            <a:pt x="12811" y="22120"/>
                          </a:moveTo>
                          <a:cubicBezTo>
                            <a:pt x="14444" y="17473"/>
                            <a:pt x="17709" y="13203"/>
                            <a:pt x="21351" y="11068"/>
                          </a:cubicBezTo>
                          <a:lnTo>
                            <a:pt x="36800" y="2151"/>
                          </a:lnTo>
                          <a:cubicBezTo>
                            <a:pt x="38432" y="1272"/>
                            <a:pt x="39814" y="1146"/>
                            <a:pt x="40818" y="1774"/>
                          </a:cubicBezTo>
                          <a:cubicBezTo>
                            <a:pt x="40818" y="1774"/>
                            <a:pt x="39563" y="1020"/>
                            <a:pt x="38432" y="392"/>
                          </a:cubicBezTo>
                          <a:cubicBezTo>
                            <a:pt x="37427" y="-235"/>
                            <a:pt x="35920" y="-110"/>
                            <a:pt x="34413" y="769"/>
                          </a:cubicBezTo>
                          <a:lnTo>
                            <a:pt x="18965" y="9687"/>
                          </a:lnTo>
                          <a:cubicBezTo>
                            <a:pt x="15323" y="11822"/>
                            <a:pt x="12057" y="16092"/>
                            <a:pt x="10425" y="20739"/>
                          </a:cubicBezTo>
                          <a:cubicBezTo>
                            <a:pt x="8415" y="26642"/>
                            <a:pt x="6280" y="33298"/>
                            <a:pt x="4647" y="40583"/>
                          </a:cubicBezTo>
                          <a:cubicBezTo>
                            <a:pt x="1759" y="52640"/>
                            <a:pt x="502" y="62687"/>
                            <a:pt x="0" y="70474"/>
                          </a:cubicBezTo>
                          <a:lnTo>
                            <a:pt x="2386" y="71856"/>
                          </a:lnTo>
                          <a:cubicBezTo>
                            <a:pt x="2889" y="64069"/>
                            <a:pt x="4145" y="53896"/>
                            <a:pt x="7034" y="41964"/>
                          </a:cubicBezTo>
                          <a:cubicBezTo>
                            <a:pt x="8666" y="34805"/>
                            <a:pt x="10801" y="28023"/>
                            <a:pt x="12811" y="22120"/>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52" name="Freeform: Shape 1251">
                      <a:extLst>
                        <a:ext uri="{FF2B5EF4-FFF2-40B4-BE49-F238E27FC236}">
                          <a16:creationId xmlns:a16="http://schemas.microsoft.com/office/drawing/2014/main" id="{75FF36F6-70E8-4857-A133-3C02CDCF9078}"/>
                        </a:ext>
                      </a:extLst>
                    </p:cNvPr>
                    <p:cNvSpPr/>
                    <p:nvPr/>
                  </p:nvSpPr>
                  <p:spPr>
                    <a:xfrm>
                      <a:off x="3725522" y="1680567"/>
                      <a:ext cx="40190" cy="72711"/>
                    </a:xfrm>
                    <a:custGeom>
                      <a:avLst/>
                      <a:gdLst>
                        <a:gd name="connsiteX0" fmla="*/ 34413 w 40190"/>
                        <a:gd name="connsiteY0" fmla="*/ 746 h 72711"/>
                        <a:gd name="connsiteX1" fmla="*/ 18965 w 40190"/>
                        <a:gd name="connsiteY1" fmla="*/ 9663 h 72711"/>
                        <a:gd name="connsiteX2" fmla="*/ 10425 w 40190"/>
                        <a:gd name="connsiteY2" fmla="*/ 20716 h 72711"/>
                        <a:gd name="connsiteX3" fmla="*/ 4647 w 40190"/>
                        <a:gd name="connsiteY3" fmla="*/ 40560 h 72711"/>
                        <a:gd name="connsiteX4" fmla="*/ 0 w 40190"/>
                        <a:gd name="connsiteY4" fmla="*/ 70451 h 72711"/>
                        <a:gd name="connsiteX5" fmla="*/ 5903 w 40190"/>
                        <a:gd name="connsiteY5" fmla="*/ 71079 h 72711"/>
                        <a:gd name="connsiteX6" fmla="*/ 8666 w 40190"/>
                        <a:gd name="connsiteY6" fmla="*/ 72712 h 72711"/>
                        <a:gd name="connsiteX7" fmla="*/ 5652 w 40190"/>
                        <a:gd name="connsiteY7" fmla="*/ 68065 h 72711"/>
                        <a:gd name="connsiteX8" fmla="*/ 3642 w 40190"/>
                        <a:gd name="connsiteY8" fmla="*/ 58268 h 72711"/>
                        <a:gd name="connsiteX9" fmla="*/ 7033 w 40190"/>
                        <a:gd name="connsiteY9" fmla="*/ 40183 h 72711"/>
                        <a:gd name="connsiteX10" fmla="*/ 12685 w 40190"/>
                        <a:gd name="connsiteY10" fmla="*/ 20841 h 72711"/>
                        <a:gd name="connsiteX11" fmla="*/ 19091 w 40190"/>
                        <a:gd name="connsiteY11" fmla="*/ 12677 h 72711"/>
                        <a:gd name="connsiteX12" fmla="*/ 34539 w 40190"/>
                        <a:gd name="connsiteY12" fmla="*/ 3760 h 72711"/>
                        <a:gd name="connsiteX13" fmla="*/ 37804 w 40190"/>
                        <a:gd name="connsiteY13" fmla="*/ 5644 h 72711"/>
                        <a:gd name="connsiteX14" fmla="*/ 37804 w 40190"/>
                        <a:gd name="connsiteY14" fmla="*/ 51612 h 72711"/>
                        <a:gd name="connsiteX15" fmla="*/ 40190 w 40190"/>
                        <a:gd name="connsiteY15" fmla="*/ 50230 h 72711"/>
                        <a:gd name="connsiteX16" fmla="*/ 40190 w 40190"/>
                        <a:gd name="connsiteY16" fmla="*/ 4263 h 72711"/>
                        <a:gd name="connsiteX17" fmla="*/ 38558 w 40190"/>
                        <a:gd name="connsiteY17" fmla="*/ 495 h 72711"/>
                        <a:gd name="connsiteX18" fmla="*/ 34413 w 40190"/>
                        <a:gd name="connsiteY18" fmla="*/ 746 h 72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0190" h="72711">
                          <a:moveTo>
                            <a:pt x="34413" y="746"/>
                          </a:moveTo>
                          <a:lnTo>
                            <a:pt x="18965" y="9663"/>
                          </a:lnTo>
                          <a:cubicBezTo>
                            <a:pt x="15323" y="11798"/>
                            <a:pt x="12057" y="16069"/>
                            <a:pt x="10425" y="20716"/>
                          </a:cubicBezTo>
                          <a:cubicBezTo>
                            <a:pt x="8415" y="26619"/>
                            <a:pt x="6280" y="33275"/>
                            <a:pt x="4647" y="40560"/>
                          </a:cubicBezTo>
                          <a:cubicBezTo>
                            <a:pt x="1759" y="52617"/>
                            <a:pt x="502" y="62664"/>
                            <a:pt x="0" y="70451"/>
                          </a:cubicBezTo>
                          <a:cubicBezTo>
                            <a:pt x="2261" y="69949"/>
                            <a:pt x="4271" y="70200"/>
                            <a:pt x="5903" y="71079"/>
                          </a:cubicBezTo>
                          <a:cubicBezTo>
                            <a:pt x="7787" y="72209"/>
                            <a:pt x="8666" y="72712"/>
                            <a:pt x="8666" y="72712"/>
                          </a:cubicBezTo>
                          <a:cubicBezTo>
                            <a:pt x="7913" y="71205"/>
                            <a:pt x="6908" y="69446"/>
                            <a:pt x="5652" y="68065"/>
                          </a:cubicBezTo>
                          <a:cubicBezTo>
                            <a:pt x="3642" y="65804"/>
                            <a:pt x="3015" y="62790"/>
                            <a:pt x="3642" y="58268"/>
                          </a:cubicBezTo>
                          <a:cubicBezTo>
                            <a:pt x="4522" y="52365"/>
                            <a:pt x="5526" y="46337"/>
                            <a:pt x="7033" y="40183"/>
                          </a:cubicBezTo>
                          <a:cubicBezTo>
                            <a:pt x="8541" y="33777"/>
                            <a:pt x="10425" y="27246"/>
                            <a:pt x="12685" y="20841"/>
                          </a:cubicBezTo>
                          <a:cubicBezTo>
                            <a:pt x="13941" y="17324"/>
                            <a:pt x="16328" y="14185"/>
                            <a:pt x="19091" y="12677"/>
                          </a:cubicBezTo>
                          <a:lnTo>
                            <a:pt x="34539" y="3760"/>
                          </a:lnTo>
                          <a:cubicBezTo>
                            <a:pt x="36423" y="2755"/>
                            <a:pt x="37804" y="3509"/>
                            <a:pt x="37804" y="5644"/>
                          </a:cubicBezTo>
                          <a:lnTo>
                            <a:pt x="37804" y="51612"/>
                          </a:lnTo>
                          <a:lnTo>
                            <a:pt x="40190" y="50230"/>
                          </a:lnTo>
                          <a:lnTo>
                            <a:pt x="40190" y="4263"/>
                          </a:lnTo>
                          <a:cubicBezTo>
                            <a:pt x="40190" y="2379"/>
                            <a:pt x="39563" y="1123"/>
                            <a:pt x="38558" y="495"/>
                          </a:cubicBezTo>
                          <a:cubicBezTo>
                            <a:pt x="37427" y="-259"/>
                            <a:pt x="36046" y="-133"/>
                            <a:pt x="34413" y="746"/>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53" name="Freeform: Shape 1252">
                      <a:extLst>
                        <a:ext uri="{FF2B5EF4-FFF2-40B4-BE49-F238E27FC236}">
                          <a16:creationId xmlns:a16="http://schemas.microsoft.com/office/drawing/2014/main" id="{63FA925A-6295-44F9-90B3-E651AA2499CF}"/>
                        </a:ext>
                      </a:extLst>
                    </p:cNvPr>
                    <p:cNvSpPr/>
                    <p:nvPr/>
                  </p:nvSpPr>
                  <p:spPr>
                    <a:xfrm>
                      <a:off x="3760814" y="1683738"/>
                      <a:ext cx="2512" cy="48314"/>
                    </a:xfrm>
                    <a:custGeom>
                      <a:avLst/>
                      <a:gdLst>
                        <a:gd name="connsiteX0" fmla="*/ 0 w 2512"/>
                        <a:gd name="connsiteY0" fmla="*/ 86 h 48314"/>
                        <a:gd name="connsiteX1" fmla="*/ 126 w 2512"/>
                        <a:gd name="connsiteY1" fmla="*/ 965 h 48314"/>
                        <a:gd name="connsiteX2" fmla="*/ 126 w 2512"/>
                        <a:gd name="connsiteY2" fmla="*/ 46933 h 48314"/>
                        <a:gd name="connsiteX3" fmla="*/ 2512 w 2512"/>
                        <a:gd name="connsiteY3" fmla="*/ 48314 h 48314"/>
                        <a:gd name="connsiteX4" fmla="*/ 2512 w 2512"/>
                        <a:gd name="connsiteY4" fmla="*/ 2347 h 48314"/>
                        <a:gd name="connsiteX5" fmla="*/ 0 w 2512"/>
                        <a:gd name="connsiteY5" fmla="*/ 86 h 48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2" h="48314">
                          <a:moveTo>
                            <a:pt x="0" y="86"/>
                          </a:moveTo>
                          <a:cubicBezTo>
                            <a:pt x="126" y="337"/>
                            <a:pt x="126" y="714"/>
                            <a:pt x="126" y="965"/>
                          </a:cubicBezTo>
                          <a:lnTo>
                            <a:pt x="126" y="46933"/>
                          </a:lnTo>
                          <a:lnTo>
                            <a:pt x="2512" y="48314"/>
                          </a:lnTo>
                          <a:lnTo>
                            <a:pt x="2512" y="2347"/>
                          </a:lnTo>
                          <a:cubicBezTo>
                            <a:pt x="2512" y="588"/>
                            <a:pt x="1382" y="-291"/>
                            <a:pt x="0" y="86"/>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54" name="Freeform: Shape 1253">
                    <a:extLst>
                      <a:ext uri="{FF2B5EF4-FFF2-40B4-BE49-F238E27FC236}">
                        <a16:creationId xmlns:a16="http://schemas.microsoft.com/office/drawing/2014/main" id="{583CFC70-76E7-48C8-8C52-546F1F525C3A}"/>
                      </a:ext>
                    </a:extLst>
                  </p:cNvPr>
                  <p:cNvSpPr/>
                  <p:nvPr/>
                </p:nvSpPr>
                <p:spPr>
                  <a:xfrm>
                    <a:off x="3708064" y="1662254"/>
                    <a:ext cx="58276" cy="34381"/>
                  </a:xfrm>
                  <a:custGeom>
                    <a:avLst/>
                    <a:gdLst>
                      <a:gd name="connsiteX0" fmla="*/ 28761 w 58276"/>
                      <a:gd name="connsiteY0" fmla="*/ 94 h 34381"/>
                      <a:gd name="connsiteX1" fmla="*/ 28259 w 58276"/>
                      <a:gd name="connsiteY1" fmla="*/ 94 h 34381"/>
                      <a:gd name="connsiteX2" fmla="*/ 754 w 58276"/>
                      <a:gd name="connsiteY2" fmla="*/ 16045 h 34381"/>
                      <a:gd name="connsiteX3" fmla="*/ 0 w 58276"/>
                      <a:gd name="connsiteY3" fmla="*/ 17301 h 34381"/>
                      <a:gd name="connsiteX4" fmla="*/ 29515 w 58276"/>
                      <a:gd name="connsiteY4" fmla="*/ 34382 h 34381"/>
                      <a:gd name="connsiteX5" fmla="*/ 30268 w 58276"/>
                      <a:gd name="connsiteY5" fmla="*/ 33126 h 34381"/>
                      <a:gd name="connsiteX6" fmla="*/ 57774 w 58276"/>
                      <a:gd name="connsiteY6" fmla="*/ 17175 h 34381"/>
                      <a:gd name="connsiteX7" fmla="*/ 58276 w 58276"/>
                      <a:gd name="connsiteY7" fmla="*/ 17175 h 34381"/>
                      <a:gd name="connsiteX8" fmla="*/ 28761 w 58276"/>
                      <a:gd name="connsiteY8" fmla="*/ 94 h 3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76" h="34381">
                        <a:moveTo>
                          <a:pt x="28761" y="94"/>
                        </a:moveTo>
                        <a:cubicBezTo>
                          <a:pt x="28636" y="-31"/>
                          <a:pt x="28385" y="-31"/>
                          <a:pt x="28259" y="94"/>
                        </a:cubicBezTo>
                        <a:lnTo>
                          <a:pt x="754" y="16045"/>
                        </a:lnTo>
                        <a:cubicBezTo>
                          <a:pt x="377" y="16296"/>
                          <a:pt x="0" y="16924"/>
                          <a:pt x="0" y="17301"/>
                        </a:cubicBezTo>
                        <a:lnTo>
                          <a:pt x="29515" y="34382"/>
                        </a:lnTo>
                        <a:cubicBezTo>
                          <a:pt x="29515" y="33879"/>
                          <a:pt x="29892" y="33251"/>
                          <a:pt x="30268" y="33126"/>
                        </a:cubicBezTo>
                        <a:lnTo>
                          <a:pt x="57774" y="17175"/>
                        </a:lnTo>
                        <a:cubicBezTo>
                          <a:pt x="58025" y="17049"/>
                          <a:pt x="58150" y="17049"/>
                          <a:pt x="58276" y="17175"/>
                        </a:cubicBezTo>
                        <a:cubicBezTo>
                          <a:pt x="58402" y="17175"/>
                          <a:pt x="28887" y="94"/>
                          <a:pt x="28761" y="94"/>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55" name="Freeform: Shape 1254">
                    <a:extLst>
                      <a:ext uri="{FF2B5EF4-FFF2-40B4-BE49-F238E27FC236}">
                        <a16:creationId xmlns:a16="http://schemas.microsoft.com/office/drawing/2014/main" id="{8DC03D11-55C7-48B2-8360-2C25A0845345}"/>
                      </a:ext>
                    </a:extLst>
                  </p:cNvPr>
                  <p:cNvSpPr/>
                  <p:nvPr/>
                </p:nvSpPr>
                <p:spPr>
                  <a:xfrm>
                    <a:off x="3708064" y="1679554"/>
                    <a:ext cx="29640" cy="20414"/>
                  </a:xfrm>
                  <a:custGeom>
                    <a:avLst/>
                    <a:gdLst>
                      <a:gd name="connsiteX0" fmla="*/ 0 w 29640"/>
                      <a:gd name="connsiteY0" fmla="*/ 0 h 20414"/>
                      <a:gd name="connsiteX1" fmla="*/ 0 w 29640"/>
                      <a:gd name="connsiteY1" fmla="*/ 1633 h 20414"/>
                      <a:gd name="connsiteX2" fmla="*/ 2512 w 29640"/>
                      <a:gd name="connsiteY2" fmla="*/ 5903 h 20414"/>
                      <a:gd name="connsiteX3" fmla="*/ 27129 w 29640"/>
                      <a:gd name="connsiteY3" fmla="*/ 20095 h 20414"/>
                      <a:gd name="connsiteX4" fmla="*/ 29640 w 29640"/>
                      <a:gd name="connsiteY4" fmla="*/ 18714 h 20414"/>
                      <a:gd name="connsiteX5" fmla="*/ 29640 w 29640"/>
                      <a:gd name="connsiteY5" fmla="*/ 17081 h 20414"/>
                      <a:gd name="connsiteX6" fmla="*/ 0 w 29640"/>
                      <a:gd name="connsiteY6" fmla="*/ 0 h 2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40" h="20414">
                        <a:moveTo>
                          <a:pt x="0" y="0"/>
                        </a:moveTo>
                        <a:lnTo>
                          <a:pt x="0" y="1633"/>
                        </a:lnTo>
                        <a:cubicBezTo>
                          <a:pt x="0" y="3265"/>
                          <a:pt x="1130" y="5149"/>
                          <a:pt x="2512" y="5903"/>
                        </a:cubicBezTo>
                        <a:lnTo>
                          <a:pt x="27129" y="20095"/>
                        </a:lnTo>
                        <a:cubicBezTo>
                          <a:pt x="28510" y="20849"/>
                          <a:pt x="29640" y="20221"/>
                          <a:pt x="29640" y="18714"/>
                        </a:cubicBezTo>
                        <a:lnTo>
                          <a:pt x="29640" y="17081"/>
                        </a:lnTo>
                        <a:lnTo>
                          <a:pt x="0" y="0"/>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56" name="Freeform: Shape 1255">
                    <a:extLst>
                      <a:ext uri="{FF2B5EF4-FFF2-40B4-BE49-F238E27FC236}">
                        <a16:creationId xmlns:a16="http://schemas.microsoft.com/office/drawing/2014/main" id="{6B23BD38-439A-486A-88D9-C1602D3B421D}"/>
                      </a:ext>
                    </a:extLst>
                  </p:cNvPr>
                  <p:cNvSpPr/>
                  <p:nvPr/>
                </p:nvSpPr>
                <p:spPr>
                  <a:xfrm>
                    <a:off x="3737328" y="1679335"/>
                    <a:ext cx="29514" cy="20189"/>
                  </a:xfrm>
                  <a:custGeom>
                    <a:avLst/>
                    <a:gdLst>
                      <a:gd name="connsiteX0" fmla="*/ 29389 w 29514"/>
                      <a:gd name="connsiteY0" fmla="*/ 597 h 20189"/>
                      <a:gd name="connsiteX1" fmla="*/ 29138 w 29514"/>
                      <a:gd name="connsiteY1" fmla="*/ 94 h 20189"/>
                      <a:gd name="connsiteX2" fmla="*/ 28636 w 29514"/>
                      <a:gd name="connsiteY2" fmla="*/ 94 h 20189"/>
                      <a:gd name="connsiteX3" fmla="*/ 1130 w 29514"/>
                      <a:gd name="connsiteY3" fmla="*/ 16045 h 20189"/>
                      <a:gd name="connsiteX4" fmla="*/ 377 w 29514"/>
                      <a:gd name="connsiteY4" fmla="*/ 17301 h 20189"/>
                      <a:gd name="connsiteX5" fmla="*/ 377 w 29514"/>
                      <a:gd name="connsiteY5" fmla="*/ 18933 h 20189"/>
                      <a:gd name="connsiteX6" fmla="*/ 0 w 29514"/>
                      <a:gd name="connsiteY6" fmla="*/ 20189 h 20189"/>
                      <a:gd name="connsiteX7" fmla="*/ 5275 w 29514"/>
                      <a:gd name="connsiteY7" fmla="*/ 14035 h 20189"/>
                      <a:gd name="connsiteX8" fmla="*/ 26501 w 29514"/>
                      <a:gd name="connsiteY8" fmla="*/ 1853 h 20189"/>
                      <a:gd name="connsiteX9" fmla="*/ 27003 w 29514"/>
                      <a:gd name="connsiteY9" fmla="*/ 1727 h 20189"/>
                      <a:gd name="connsiteX10" fmla="*/ 28385 w 29514"/>
                      <a:gd name="connsiteY10" fmla="*/ 3988 h 20189"/>
                      <a:gd name="connsiteX11" fmla="*/ 29515 w 29514"/>
                      <a:gd name="connsiteY11" fmla="*/ 2229 h 20189"/>
                      <a:gd name="connsiteX12" fmla="*/ 29389 w 29514"/>
                      <a:gd name="connsiteY12" fmla="*/ 597 h 20189"/>
                      <a:gd name="connsiteX13" fmla="*/ 29389 w 29514"/>
                      <a:gd name="connsiteY13" fmla="*/ 597 h 20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514" h="20189">
                        <a:moveTo>
                          <a:pt x="29389" y="597"/>
                        </a:moveTo>
                        <a:cubicBezTo>
                          <a:pt x="29389" y="345"/>
                          <a:pt x="29264" y="220"/>
                          <a:pt x="29138" y="94"/>
                        </a:cubicBezTo>
                        <a:cubicBezTo>
                          <a:pt x="29012" y="-31"/>
                          <a:pt x="28761" y="-31"/>
                          <a:pt x="28636" y="94"/>
                        </a:cubicBezTo>
                        <a:lnTo>
                          <a:pt x="1130" y="16045"/>
                        </a:lnTo>
                        <a:cubicBezTo>
                          <a:pt x="754" y="16296"/>
                          <a:pt x="377" y="16924"/>
                          <a:pt x="377" y="17301"/>
                        </a:cubicBezTo>
                        <a:lnTo>
                          <a:pt x="377" y="18933"/>
                        </a:lnTo>
                        <a:lnTo>
                          <a:pt x="0" y="20189"/>
                        </a:lnTo>
                        <a:cubicBezTo>
                          <a:pt x="1256" y="18305"/>
                          <a:pt x="3140" y="15919"/>
                          <a:pt x="5275" y="14035"/>
                        </a:cubicBezTo>
                        <a:lnTo>
                          <a:pt x="26501" y="1853"/>
                        </a:lnTo>
                        <a:cubicBezTo>
                          <a:pt x="26626" y="1727"/>
                          <a:pt x="26877" y="1727"/>
                          <a:pt x="27003" y="1727"/>
                        </a:cubicBezTo>
                        <a:cubicBezTo>
                          <a:pt x="27631" y="2229"/>
                          <a:pt x="28133" y="2983"/>
                          <a:pt x="28385" y="3988"/>
                        </a:cubicBezTo>
                        <a:cubicBezTo>
                          <a:pt x="29012" y="3862"/>
                          <a:pt x="29515" y="3234"/>
                          <a:pt x="29515" y="2229"/>
                        </a:cubicBezTo>
                        <a:lnTo>
                          <a:pt x="29389" y="597"/>
                        </a:lnTo>
                        <a:lnTo>
                          <a:pt x="29389" y="597"/>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57" name="Graphic 4">
                    <a:extLst>
                      <a:ext uri="{FF2B5EF4-FFF2-40B4-BE49-F238E27FC236}">
                        <a16:creationId xmlns:a16="http://schemas.microsoft.com/office/drawing/2014/main" id="{84FB7ED1-A2DF-40A1-A747-5F7CF3F14040}"/>
                      </a:ext>
                    </a:extLst>
                  </p:cNvPr>
                  <p:cNvGrpSpPr/>
                  <p:nvPr/>
                </p:nvGrpSpPr>
                <p:grpSpPr>
                  <a:xfrm>
                    <a:off x="3732806" y="1669004"/>
                    <a:ext cx="8791" cy="10424"/>
                    <a:chOff x="3732806" y="1669004"/>
                    <a:chExt cx="8791" cy="10424"/>
                  </a:xfrm>
                  <a:solidFill>
                    <a:schemeClr val="accent1"/>
                  </a:solidFill>
                </p:grpSpPr>
                <p:grpSp>
                  <p:nvGrpSpPr>
                    <p:cNvPr id="1258" name="Graphic 4">
                      <a:extLst>
                        <a:ext uri="{FF2B5EF4-FFF2-40B4-BE49-F238E27FC236}">
                          <a16:creationId xmlns:a16="http://schemas.microsoft.com/office/drawing/2014/main" id="{84FB7ED1-A2DF-40A1-A747-5F7CF3F14040}"/>
                        </a:ext>
                      </a:extLst>
                    </p:cNvPr>
                    <p:cNvGrpSpPr/>
                    <p:nvPr/>
                  </p:nvGrpSpPr>
                  <p:grpSpPr>
                    <a:xfrm>
                      <a:off x="3732806" y="1673275"/>
                      <a:ext cx="8791" cy="6154"/>
                      <a:chOff x="3732806" y="1673275"/>
                      <a:chExt cx="8791" cy="6154"/>
                    </a:xfrm>
                    <a:solidFill>
                      <a:schemeClr val="accent1"/>
                    </a:solidFill>
                  </p:grpSpPr>
                  <p:sp>
                    <p:nvSpPr>
                      <p:cNvPr id="1259" name="Freeform: Shape 1258">
                        <a:extLst>
                          <a:ext uri="{FF2B5EF4-FFF2-40B4-BE49-F238E27FC236}">
                            <a16:creationId xmlns:a16="http://schemas.microsoft.com/office/drawing/2014/main" id="{BC5755C5-3418-45E0-B388-AA32C2B8B4D5}"/>
                          </a:ext>
                        </a:extLst>
                      </p:cNvPr>
                      <p:cNvSpPr/>
                      <p:nvPr/>
                    </p:nvSpPr>
                    <p:spPr>
                      <a:xfrm>
                        <a:off x="3732806" y="1673275"/>
                        <a:ext cx="8791" cy="5023"/>
                      </a:xfrm>
                      <a:custGeom>
                        <a:avLst/>
                        <a:gdLst>
                          <a:gd name="connsiteX0" fmla="*/ 8791 w 8791"/>
                          <a:gd name="connsiteY0" fmla="*/ 2512 h 5023"/>
                          <a:gd name="connsiteX1" fmla="*/ 4396 w 8791"/>
                          <a:gd name="connsiteY1" fmla="*/ 5024 h 5023"/>
                          <a:gd name="connsiteX2" fmla="*/ 0 w 8791"/>
                          <a:gd name="connsiteY2" fmla="*/ 2512 h 5023"/>
                          <a:gd name="connsiteX3" fmla="*/ 4396 w 8791"/>
                          <a:gd name="connsiteY3" fmla="*/ 0 h 5023"/>
                          <a:gd name="connsiteX4" fmla="*/ 8791 w 8791"/>
                          <a:gd name="connsiteY4" fmla="*/ 2512 h 5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1" h="5023">
                            <a:moveTo>
                              <a:pt x="8791" y="2512"/>
                            </a:moveTo>
                            <a:cubicBezTo>
                              <a:pt x="8791" y="3899"/>
                              <a:pt x="6823" y="5024"/>
                              <a:pt x="4396" y="5024"/>
                            </a:cubicBezTo>
                            <a:cubicBezTo>
                              <a:pt x="1968" y="5024"/>
                              <a:pt x="0" y="3899"/>
                              <a:pt x="0" y="2512"/>
                            </a:cubicBezTo>
                            <a:cubicBezTo>
                              <a:pt x="0" y="1125"/>
                              <a:pt x="1968" y="0"/>
                              <a:pt x="4396" y="0"/>
                            </a:cubicBezTo>
                            <a:cubicBezTo>
                              <a:pt x="6823" y="0"/>
                              <a:pt x="8791" y="1125"/>
                              <a:pt x="8791" y="2512"/>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60" name="Freeform: Shape 1259">
                        <a:extLst>
                          <a:ext uri="{FF2B5EF4-FFF2-40B4-BE49-F238E27FC236}">
                            <a16:creationId xmlns:a16="http://schemas.microsoft.com/office/drawing/2014/main" id="{39987EB0-FAAE-4B7E-ABB8-ED83B7AA80F6}"/>
                          </a:ext>
                        </a:extLst>
                      </p:cNvPr>
                      <p:cNvSpPr/>
                      <p:nvPr/>
                    </p:nvSpPr>
                    <p:spPr>
                      <a:xfrm>
                        <a:off x="3732806" y="1675787"/>
                        <a:ext cx="8791" cy="3642"/>
                      </a:xfrm>
                      <a:custGeom>
                        <a:avLst/>
                        <a:gdLst>
                          <a:gd name="connsiteX0" fmla="*/ 4396 w 8791"/>
                          <a:gd name="connsiteY0" fmla="*/ 2512 h 3642"/>
                          <a:gd name="connsiteX1" fmla="*/ 0 w 8791"/>
                          <a:gd name="connsiteY1" fmla="*/ 0 h 3642"/>
                          <a:gd name="connsiteX2" fmla="*/ 0 w 8791"/>
                          <a:gd name="connsiteY2" fmla="*/ 1130 h 3642"/>
                          <a:gd name="connsiteX3" fmla="*/ 4396 w 8791"/>
                          <a:gd name="connsiteY3" fmla="*/ 3642 h 3642"/>
                          <a:gd name="connsiteX4" fmla="*/ 8791 w 8791"/>
                          <a:gd name="connsiteY4" fmla="*/ 1130 h 3642"/>
                          <a:gd name="connsiteX5" fmla="*/ 8791 w 8791"/>
                          <a:gd name="connsiteY5" fmla="*/ 0 h 3642"/>
                          <a:gd name="connsiteX6" fmla="*/ 4396 w 8791"/>
                          <a:gd name="connsiteY6" fmla="*/ 2512 h 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1" h="3642">
                            <a:moveTo>
                              <a:pt x="4396" y="2512"/>
                            </a:moveTo>
                            <a:cubicBezTo>
                              <a:pt x="2010" y="2512"/>
                              <a:pt x="0" y="1382"/>
                              <a:pt x="0" y="0"/>
                            </a:cubicBezTo>
                            <a:cubicBezTo>
                              <a:pt x="0" y="0"/>
                              <a:pt x="0" y="754"/>
                              <a:pt x="0" y="1130"/>
                            </a:cubicBezTo>
                            <a:cubicBezTo>
                              <a:pt x="0" y="2512"/>
                              <a:pt x="2010" y="3642"/>
                              <a:pt x="4396" y="3642"/>
                            </a:cubicBezTo>
                            <a:cubicBezTo>
                              <a:pt x="6782" y="3642"/>
                              <a:pt x="8791" y="2512"/>
                              <a:pt x="8791" y="1130"/>
                            </a:cubicBezTo>
                            <a:cubicBezTo>
                              <a:pt x="8791" y="628"/>
                              <a:pt x="8791" y="0"/>
                              <a:pt x="8791" y="0"/>
                            </a:cubicBezTo>
                            <a:cubicBezTo>
                              <a:pt x="8791" y="1382"/>
                              <a:pt x="6908" y="2512"/>
                              <a:pt x="4396" y="2512"/>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61" name="Graphic 4">
                      <a:extLst>
                        <a:ext uri="{FF2B5EF4-FFF2-40B4-BE49-F238E27FC236}">
                          <a16:creationId xmlns:a16="http://schemas.microsoft.com/office/drawing/2014/main" id="{84FB7ED1-A2DF-40A1-A747-5F7CF3F14040}"/>
                        </a:ext>
                      </a:extLst>
                    </p:cNvPr>
                    <p:cNvGrpSpPr/>
                    <p:nvPr/>
                  </p:nvGrpSpPr>
                  <p:grpSpPr>
                    <a:xfrm>
                      <a:off x="3733937" y="1669004"/>
                      <a:ext cx="6279" cy="8791"/>
                      <a:chOff x="3733937" y="1669004"/>
                      <a:chExt cx="6279" cy="8791"/>
                    </a:xfrm>
                    <a:solidFill>
                      <a:schemeClr val="accent1"/>
                    </a:solidFill>
                  </p:grpSpPr>
                  <p:sp>
                    <p:nvSpPr>
                      <p:cNvPr id="1262" name="Freeform: Shape 1261">
                        <a:extLst>
                          <a:ext uri="{FF2B5EF4-FFF2-40B4-BE49-F238E27FC236}">
                            <a16:creationId xmlns:a16="http://schemas.microsoft.com/office/drawing/2014/main" id="{CDDFB318-6D42-4B68-9176-23E94F90F152}"/>
                          </a:ext>
                        </a:extLst>
                      </p:cNvPr>
                      <p:cNvSpPr/>
                      <p:nvPr/>
                    </p:nvSpPr>
                    <p:spPr>
                      <a:xfrm>
                        <a:off x="3734690" y="1669004"/>
                        <a:ext cx="5023" cy="2763"/>
                      </a:xfrm>
                      <a:custGeom>
                        <a:avLst/>
                        <a:gdLst>
                          <a:gd name="connsiteX0" fmla="*/ 2512 w 5023"/>
                          <a:gd name="connsiteY0" fmla="*/ 2763 h 2763"/>
                          <a:gd name="connsiteX1" fmla="*/ 0 w 5023"/>
                          <a:gd name="connsiteY1" fmla="*/ 1382 h 2763"/>
                          <a:gd name="connsiteX2" fmla="*/ 2512 w 5023"/>
                          <a:gd name="connsiteY2" fmla="*/ 0 h 2763"/>
                          <a:gd name="connsiteX3" fmla="*/ 5024 w 5023"/>
                          <a:gd name="connsiteY3" fmla="*/ 1382 h 2763"/>
                          <a:gd name="connsiteX4" fmla="*/ 2512 w 5023"/>
                          <a:gd name="connsiteY4" fmla="*/ 2763 h 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3" h="2763">
                            <a:moveTo>
                              <a:pt x="2512" y="2763"/>
                            </a:moveTo>
                            <a:cubicBezTo>
                              <a:pt x="1130" y="2763"/>
                              <a:pt x="0" y="2135"/>
                              <a:pt x="0" y="1382"/>
                            </a:cubicBezTo>
                            <a:cubicBezTo>
                              <a:pt x="0" y="628"/>
                              <a:pt x="1130" y="0"/>
                              <a:pt x="2512" y="0"/>
                            </a:cubicBezTo>
                            <a:cubicBezTo>
                              <a:pt x="3893" y="0"/>
                              <a:pt x="5024" y="628"/>
                              <a:pt x="5024" y="1382"/>
                            </a:cubicBezTo>
                            <a:cubicBezTo>
                              <a:pt x="5024" y="2135"/>
                              <a:pt x="3893" y="2763"/>
                              <a:pt x="2512" y="2763"/>
                            </a:cubicBezTo>
                            <a:close/>
                          </a:path>
                        </a:pathLst>
                      </a:custGeom>
                      <a:solidFill>
                        <a:srgbClr val="E5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63" name="Freeform: Shape 1262">
                        <a:extLst>
                          <a:ext uri="{FF2B5EF4-FFF2-40B4-BE49-F238E27FC236}">
                            <a16:creationId xmlns:a16="http://schemas.microsoft.com/office/drawing/2014/main" id="{ED1F6DFC-0EDF-40AA-B50C-6CB45FACAC0B}"/>
                          </a:ext>
                        </a:extLst>
                      </p:cNvPr>
                      <p:cNvSpPr/>
                      <p:nvPr/>
                    </p:nvSpPr>
                    <p:spPr>
                      <a:xfrm>
                        <a:off x="3733937" y="1670386"/>
                        <a:ext cx="6279" cy="7410"/>
                      </a:xfrm>
                      <a:custGeom>
                        <a:avLst/>
                        <a:gdLst>
                          <a:gd name="connsiteX0" fmla="*/ 3266 w 6279"/>
                          <a:gd name="connsiteY0" fmla="*/ 1382 h 7410"/>
                          <a:gd name="connsiteX1" fmla="*/ 754 w 6279"/>
                          <a:gd name="connsiteY1" fmla="*/ 0 h 7410"/>
                          <a:gd name="connsiteX2" fmla="*/ 0 w 6279"/>
                          <a:gd name="connsiteY2" fmla="*/ 5526 h 7410"/>
                          <a:gd name="connsiteX3" fmla="*/ 3140 w 6279"/>
                          <a:gd name="connsiteY3" fmla="*/ 7410 h 7410"/>
                          <a:gd name="connsiteX4" fmla="*/ 6280 w 6279"/>
                          <a:gd name="connsiteY4" fmla="*/ 5526 h 7410"/>
                          <a:gd name="connsiteX5" fmla="*/ 5526 w 6279"/>
                          <a:gd name="connsiteY5" fmla="*/ 0 h 7410"/>
                          <a:gd name="connsiteX6" fmla="*/ 3266 w 6279"/>
                          <a:gd name="connsiteY6" fmla="*/ 1382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9" h="7410">
                            <a:moveTo>
                              <a:pt x="3266" y="1382"/>
                            </a:moveTo>
                            <a:cubicBezTo>
                              <a:pt x="1884" y="1382"/>
                              <a:pt x="754" y="754"/>
                              <a:pt x="754" y="0"/>
                            </a:cubicBezTo>
                            <a:cubicBezTo>
                              <a:pt x="754" y="0"/>
                              <a:pt x="0" y="5149"/>
                              <a:pt x="0" y="5526"/>
                            </a:cubicBezTo>
                            <a:cubicBezTo>
                              <a:pt x="0" y="6531"/>
                              <a:pt x="1381" y="7410"/>
                              <a:pt x="3140" y="7410"/>
                            </a:cubicBezTo>
                            <a:cubicBezTo>
                              <a:pt x="4898" y="7410"/>
                              <a:pt x="6280" y="6531"/>
                              <a:pt x="6280" y="5526"/>
                            </a:cubicBezTo>
                            <a:cubicBezTo>
                              <a:pt x="6280" y="5149"/>
                              <a:pt x="5526" y="0"/>
                              <a:pt x="5526" y="0"/>
                            </a:cubicBezTo>
                            <a:cubicBezTo>
                              <a:pt x="5777" y="628"/>
                              <a:pt x="4647" y="1382"/>
                              <a:pt x="3266" y="1382"/>
                            </a:cubicBezTo>
                            <a:close/>
                          </a:path>
                        </a:pathLst>
                      </a:custGeom>
                      <a:solidFill>
                        <a:srgbClr val="B01A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264" name="Graphic 4">
                    <a:extLst>
                      <a:ext uri="{FF2B5EF4-FFF2-40B4-BE49-F238E27FC236}">
                        <a16:creationId xmlns:a16="http://schemas.microsoft.com/office/drawing/2014/main" id="{84FB7ED1-A2DF-40A1-A747-5F7CF3F14040}"/>
                      </a:ext>
                    </a:extLst>
                  </p:cNvPr>
                  <p:cNvGrpSpPr/>
                  <p:nvPr/>
                </p:nvGrpSpPr>
                <p:grpSpPr>
                  <a:xfrm>
                    <a:off x="3771866" y="1710309"/>
                    <a:ext cx="17332" cy="34051"/>
                    <a:chOff x="3771866" y="1710309"/>
                    <a:chExt cx="17332" cy="34051"/>
                  </a:xfrm>
                  <a:solidFill>
                    <a:schemeClr val="accent1"/>
                  </a:solidFill>
                </p:grpSpPr>
                <p:sp>
                  <p:nvSpPr>
                    <p:cNvPr id="1265" name="Freeform: Shape 1264">
                      <a:extLst>
                        <a:ext uri="{FF2B5EF4-FFF2-40B4-BE49-F238E27FC236}">
                          <a16:creationId xmlns:a16="http://schemas.microsoft.com/office/drawing/2014/main" id="{5888E1A2-6534-42AE-9D8D-229DBD744AFF}"/>
                        </a:ext>
                      </a:extLst>
                    </p:cNvPr>
                    <p:cNvSpPr/>
                    <p:nvPr/>
                  </p:nvSpPr>
                  <p:spPr>
                    <a:xfrm>
                      <a:off x="3771992" y="1710309"/>
                      <a:ext cx="17206" cy="34051"/>
                    </a:xfrm>
                    <a:custGeom>
                      <a:avLst/>
                      <a:gdLst>
                        <a:gd name="connsiteX0" fmla="*/ 16830 w 17206"/>
                        <a:gd name="connsiteY0" fmla="*/ 5040 h 34051"/>
                        <a:gd name="connsiteX1" fmla="*/ 17081 w 17206"/>
                        <a:gd name="connsiteY1" fmla="*/ 4914 h 34051"/>
                        <a:gd name="connsiteX2" fmla="*/ 17081 w 17206"/>
                        <a:gd name="connsiteY2" fmla="*/ 4160 h 34051"/>
                        <a:gd name="connsiteX3" fmla="*/ 15448 w 17206"/>
                        <a:gd name="connsiteY3" fmla="*/ 392 h 34051"/>
                        <a:gd name="connsiteX4" fmla="*/ 11429 w 17206"/>
                        <a:gd name="connsiteY4" fmla="*/ 769 h 34051"/>
                        <a:gd name="connsiteX5" fmla="*/ 0 w 17206"/>
                        <a:gd name="connsiteY5" fmla="*/ 7300 h 34051"/>
                        <a:gd name="connsiteX6" fmla="*/ 0 w 17206"/>
                        <a:gd name="connsiteY6" fmla="*/ 23753 h 34051"/>
                        <a:gd name="connsiteX7" fmla="*/ 0 w 17206"/>
                        <a:gd name="connsiteY7" fmla="*/ 28275 h 34051"/>
                        <a:gd name="connsiteX8" fmla="*/ 5652 w 17206"/>
                        <a:gd name="connsiteY8" fmla="*/ 25009 h 34051"/>
                        <a:gd name="connsiteX9" fmla="*/ 13690 w 17206"/>
                        <a:gd name="connsiteY9" fmla="*/ 29656 h 34051"/>
                        <a:gd name="connsiteX10" fmla="*/ 13690 w 17206"/>
                        <a:gd name="connsiteY10" fmla="*/ 34052 h 34051"/>
                        <a:gd name="connsiteX11" fmla="*/ 13690 w 17206"/>
                        <a:gd name="connsiteY11" fmla="*/ 34052 h 34051"/>
                        <a:gd name="connsiteX12" fmla="*/ 17206 w 17206"/>
                        <a:gd name="connsiteY12" fmla="*/ 27898 h 34051"/>
                        <a:gd name="connsiteX13" fmla="*/ 17206 w 17206"/>
                        <a:gd name="connsiteY13" fmla="*/ 10942 h 34051"/>
                        <a:gd name="connsiteX14" fmla="*/ 16955 w 17206"/>
                        <a:gd name="connsiteY14" fmla="*/ 11068 h 34051"/>
                        <a:gd name="connsiteX15" fmla="*/ 15197 w 17206"/>
                        <a:gd name="connsiteY15" fmla="*/ 10063 h 34051"/>
                        <a:gd name="connsiteX16" fmla="*/ 15197 w 17206"/>
                        <a:gd name="connsiteY16" fmla="*/ 7803 h 34051"/>
                        <a:gd name="connsiteX17" fmla="*/ 16830 w 17206"/>
                        <a:gd name="connsiteY17" fmla="*/ 5040 h 3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206" h="34051">
                          <a:moveTo>
                            <a:pt x="16830" y="5040"/>
                          </a:moveTo>
                          <a:lnTo>
                            <a:pt x="17081" y="4914"/>
                          </a:lnTo>
                          <a:lnTo>
                            <a:pt x="17081" y="4160"/>
                          </a:lnTo>
                          <a:cubicBezTo>
                            <a:pt x="17081" y="2276"/>
                            <a:pt x="16453" y="1020"/>
                            <a:pt x="15448" y="392"/>
                          </a:cubicBezTo>
                          <a:cubicBezTo>
                            <a:pt x="14443" y="-235"/>
                            <a:pt x="12936" y="-110"/>
                            <a:pt x="11429" y="769"/>
                          </a:cubicBezTo>
                          <a:lnTo>
                            <a:pt x="0" y="7300"/>
                          </a:lnTo>
                          <a:lnTo>
                            <a:pt x="0" y="23753"/>
                          </a:lnTo>
                          <a:lnTo>
                            <a:pt x="0" y="28275"/>
                          </a:lnTo>
                          <a:lnTo>
                            <a:pt x="5652" y="25009"/>
                          </a:lnTo>
                          <a:cubicBezTo>
                            <a:pt x="10047" y="22497"/>
                            <a:pt x="13690" y="24507"/>
                            <a:pt x="13690" y="29656"/>
                          </a:cubicBezTo>
                          <a:lnTo>
                            <a:pt x="13690" y="34052"/>
                          </a:lnTo>
                          <a:lnTo>
                            <a:pt x="13690" y="34052"/>
                          </a:lnTo>
                          <a:cubicBezTo>
                            <a:pt x="15699" y="32922"/>
                            <a:pt x="17206" y="30158"/>
                            <a:pt x="17206" y="27898"/>
                          </a:cubicBezTo>
                          <a:lnTo>
                            <a:pt x="17206" y="10942"/>
                          </a:lnTo>
                          <a:lnTo>
                            <a:pt x="16955" y="11068"/>
                          </a:lnTo>
                          <a:cubicBezTo>
                            <a:pt x="16076" y="11570"/>
                            <a:pt x="15197" y="11194"/>
                            <a:pt x="15197" y="10063"/>
                          </a:cubicBezTo>
                          <a:lnTo>
                            <a:pt x="15197" y="7803"/>
                          </a:lnTo>
                          <a:cubicBezTo>
                            <a:pt x="15072" y="6798"/>
                            <a:pt x="15825" y="5542"/>
                            <a:pt x="16830" y="5040"/>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66" name="Freeform: Shape 1265">
                      <a:extLst>
                        <a:ext uri="{FF2B5EF4-FFF2-40B4-BE49-F238E27FC236}">
                          <a16:creationId xmlns:a16="http://schemas.microsoft.com/office/drawing/2014/main" id="{DE023D84-F452-444D-9B04-23D4DEA80B68}"/>
                        </a:ext>
                      </a:extLst>
                    </p:cNvPr>
                    <p:cNvSpPr/>
                    <p:nvPr/>
                  </p:nvSpPr>
                  <p:spPr>
                    <a:xfrm>
                      <a:off x="3787565" y="1721001"/>
                      <a:ext cx="1507" cy="710"/>
                    </a:xfrm>
                    <a:custGeom>
                      <a:avLst/>
                      <a:gdLst>
                        <a:gd name="connsiteX0" fmla="*/ 1256 w 1507"/>
                        <a:gd name="connsiteY0" fmla="*/ 502 h 710"/>
                        <a:gd name="connsiteX1" fmla="*/ 1507 w 1507"/>
                        <a:gd name="connsiteY1" fmla="*/ 377 h 710"/>
                        <a:gd name="connsiteX2" fmla="*/ 879 w 1507"/>
                        <a:gd name="connsiteY2" fmla="*/ 0 h 710"/>
                        <a:gd name="connsiteX3" fmla="*/ 0 w 1507"/>
                        <a:gd name="connsiteY3" fmla="*/ 628 h 710"/>
                        <a:gd name="connsiteX4" fmla="*/ 0 w 1507"/>
                        <a:gd name="connsiteY4" fmla="*/ 628 h 710"/>
                        <a:gd name="connsiteX5" fmla="*/ 1256 w 1507"/>
                        <a:gd name="connsiteY5" fmla="*/ 502 h 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7" h="710">
                          <a:moveTo>
                            <a:pt x="1256" y="502"/>
                          </a:moveTo>
                          <a:lnTo>
                            <a:pt x="1507" y="377"/>
                          </a:lnTo>
                          <a:lnTo>
                            <a:pt x="879" y="0"/>
                          </a:lnTo>
                          <a:lnTo>
                            <a:pt x="0" y="628"/>
                          </a:lnTo>
                          <a:lnTo>
                            <a:pt x="0" y="628"/>
                          </a:lnTo>
                          <a:cubicBezTo>
                            <a:pt x="251" y="754"/>
                            <a:pt x="754" y="754"/>
                            <a:pt x="1256" y="502"/>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67" name="Freeform: Shape 1266">
                      <a:extLst>
                        <a:ext uri="{FF2B5EF4-FFF2-40B4-BE49-F238E27FC236}">
                          <a16:creationId xmlns:a16="http://schemas.microsoft.com/office/drawing/2014/main" id="{3A5EF7A8-AA2A-4F64-838B-914983AD4DF9}"/>
                        </a:ext>
                      </a:extLst>
                    </p:cNvPr>
                    <p:cNvSpPr/>
                    <p:nvPr/>
                  </p:nvSpPr>
                  <p:spPr>
                    <a:xfrm>
                      <a:off x="3771866" y="1715349"/>
                      <a:ext cx="16829" cy="11429"/>
                    </a:xfrm>
                    <a:custGeom>
                      <a:avLst/>
                      <a:gdLst>
                        <a:gd name="connsiteX0" fmla="*/ 0 w 16829"/>
                        <a:gd name="connsiteY0" fmla="*/ 9671 h 11429"/>
                        <a:gd name="connsiteX1" fmla="*/ 0 w 16829"/>
                        <a:gd name="connsiteY1" fmla="*/ 11429 h 11429"/>
                        <a:gd name="connsiteX2" fmla="*/ 15197 w 16829"/>
                        <a:gd name="connsiteY2" fmla="*/ 2637 h 11429"/>
                        <a:gd name="connsiteX3" fmla="*/ 16830 w 16829"/>
                        <a:gd name="connsiteY3" fmla="*/ 0 h 11429"/>
                        <a:gd name="connsiteX4" fmla="*/ 0 w 16829"/>
                        <a:gd name="connsiteY4" fmla="*/ 9671 h 11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11429">
                          <a:moveTo>
                            <a:pt x="0" y="9671"/>
                          </a:moveTo>
                          <a:lnTo>
                            <a:pt x="0" y="11429"/>
                          </a:lnTo>
                          <a:lnTo>
                            <a:pt x="15197" y="2637"/>
                          </a:lnTo>
                          <a:cubicBezTo>
                            <a:pt x="15323" y="1633"/>
                            <a:pt x="15951" y="502"/>
                            <a:pt x="16830" y="0"/>
                          </a:cubicBezTo>
                          <a:lnTo>
                            <a:pt x="0" y="9671"/>
                          </a:ln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68" name="Graphic 4">
                      <a:extLst>
                        <a:ext uri="{FF2B5EF4-FFF2-40B4-BE49-F238E27FC236}">
                          <a16:creationId xmlns:a16="http://schemas.microsoft.com/office/drawing/2014/main" id="{84FB7ED1-A2DF-40A1-A747-5F7CF3F14040}"/>
                        </a:ext>
                      </a:extLst>
                    </p:cNvPr>
                    <p:cNvGrpSpPr/>
                    <p:nvPr/>
                  </p:nvGrpSpPr>
                  <p:grpSpPr>
                    <a:xfrm>
                      <a:off x="3787063" y="1716228"/>
                      <a:ext cx="1632" cy="5274"/>
                      <a:chOff x="3787063" y="1716228"/>
                      <a:chExt cx="1632" cy="5274"/>
                    </a:xfrm>
                    <a:solidFill>
                      <a:schemeClr val="accent1"/>
                    </a:solidFill>
                  </p:grpSpPr>
                  <p:sp>
                    <p:nvSpPr>
                      <p:cNvPr id="1269" name="Freeform: Shape 1268">
                        <a:extLst>
                          <a:ext uri="{FF2B5EF4-FFF2-40B4-BE49-F238E27FC236}">
                            <a16:creationId xmlns:a16="http://schemas.microsoft.com/office/drawing/2014/main" id="{80B02BEC-0BF8-4234-8BED-09DA1E3676FB}"/>
                          </a:ext>
                        </a:extLst>
                      </p:cNvPr>
                      <p:cNvSpPr/>
                      <p:nvPr/>
                    </p:nvSpPr>
                    <p:spPr>
                      <a:xfrm>
                        <a:off x="3787063" y="1716354"/>
                        <a:ext cx="753" cy="5149"/>
                      </a:xfrm>
                      <a:custGeom>
                        <a:avLst/>
                        <a:gdLst>
                          <a:gd name="connsiteX0" fmla="*/ 0 w 753"/>
                          <a:gd name="connsiteY0" fmla="*/ 4270 h 5149"/>
                          <a:gd name="connsiteX1" fmla="*/ 0 w 753"/>
                          <a:gd name="connsiteY1" fmla="*/ 4270 h 5149"/>
                          <a:gd name="connsiteX2" fmla="*/ 377 w 753"/>
                          <a:gd name="connsiteY2" fmla="*/ 5149 h 5149"/>
                          <a:gd name="connsiteX3" fmla="*/ 754 w 753"/>
                          <a:gd name="connsiteY3" fmla="*/ 4898 h 5149"/>
                          <a:gd name="connsiteX4" fmla="*/ 754 w 753"/>
                          <a:gd name="connsiteY4" fmla="*/ 0 h 5149"/>
                          <a:gd name="connsiteX5" fmla="*/ 377 w 753"/>
                          <a:gd name="connsiteY5" fmla="*/ 251 h 5149"/>
                          <a:gd name="connsiteX6" fmla="*/ 0 w 753"/>
                          <a:gd name="connsiteY6" fmla="*/ 1884 h 5149"/>
                          <a:gd name="connsiteX7" fmla="*/ 0 w 753"/>
                          <a:gd name="connsiteY7" fmla="*/ 4145 h 5149"/>
                          <a:gd name="connsiteX8" fmla="*/ 0 w 753"/>
                          <a:gd name="connsiteY8" fmla="*/ 4270 h 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5149">
                            <a:moveTo>
                              <a:pt x="0" y="4270"/>
                            </a:moveTo>
                            <a:lnTo>
                              <a:pt x="0" y="4270"/>
                            </a:lnTo>
                            <a:cubicBezTo>
                              <a:pt x="0" y="4647"/>
                              <a:pt x="251" y="5024"/>
                              <a:pt x="377" y="5149"/>
                            </a:cubicBezTo>
                            <a:lnTo>
                              <a:pt x="754" y="4898"/>
                            </a:lnTo>
                            <a:lnTo>
                              <a:pt x="754" y="0"/>
                            </a:lnTo>
                            <a:lnTo>
                              <a:pt x="377" y="251"/>
                            </a:lnTo>
                            <a:cubicBezTo>
                              <a:pt x="125" y="754"/>
                              <a:pt x="0" y="1256"/>
                              <a:pt x="0" y="1884"/>
                            </a:cubicBezTo>
                            <a:lnTo>
                              <a:pt x="0" y="4145"/>
                            </a:lnTo>
                            <a:cubicBezTo>
                              <a:pt x="0" y="4145"/>
                              <a:pt x="0" y="4270"/>
                              <a:pt x="0" y="4270"/>
                            </a:cubicBezTo>
                            <a:close/>
                          </a:path>
                        </a:pathLst>
                      </a:custGeom>
                      <a:solidFill>
                        <a:srgbClr val="332F2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70" name="Freeform: Shape 1269">
                        <a:extLst>
                          <a:ext uri="{FF2B5EF4-FFF2-40B4-BE49-F238E27FC236}">
                            <a16:creationId xmlns:a16="http://schemas.microsoft.com/office/drawing/2014/main" id="{970E450D-EC2D-4E45-8E42-B9767AABFD10}"/>
                          </a:ext>
                        </a:extLst>
                      </p:cNvPr>
                      <p:cNvSpPr/>
                      <p:nvPr/>
                    </p:nvSpPr>
                    <p:spPr>
                      <a:xfrm>
                        <a:off x="3787942" y="1716228"/>
                        <a:ext cx="753" cy="5023"/>
                      </a:xfrm>
                      <a:custGeom>
                        <a:avLst/>
                        <a:gdLst>
                          <a:gd name="connsiteX0" fmla="*/ 251 w 753"/>
                          <a:gd name="connsiteY0" fmla="*/ 4898 h 5023"/>
                          <a:gd name="connsiteX1" fmla="*/ 754 w 753"/>
                          <a:gd name="connsiteY1" fmla="*/ 4145 h 5023"/>
                          <a:gd name="connsiteX2" fmla="*/ 754 w 753"/>
                          <a:gd name="connsiteY2" fmla="*/ 251 h 5023"/>
                          <a:gd name="connsiteX3" fmla="*/ 628 w 753"/>
                          <a:gd name="connsiteY3" fmla="*/ 0 h 5023"/>
                          <a:gd name="connsiteX4" fmla="*/ 251 w 753"/>
                          <a:gd name="connsiteY4" fmla="*/ 0 h 5023"/>
                          <a:gd name="connsiteX5" fmla="*/ 0 w 753"/>
                          <a:gd name="connsiteY5" fmla="*/ 126 h 5023"/>
                          <a:gd name="connsiteX6" fmla="*/ 0 w 753"/>
                          <a:gd name="connsiteY6" fmla="*/ 5024 h 5023"/>
                          <a:gd name="connsiteX7" fmla="*/ 251 w 753"/>
                          <a:gd name="connsiteY7" fmla="*/ 4898 h 5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3" h="5023">
                            <a:moveTo>
                              <a:pt x="251" y="4898"/>
                            </a:moveTo>
                            <a:cubicBezTo>
                              <a:pt x="502" y="4773"/>
                              <a:pt x="754" y="4396"/>
                              <a:pt x="754" y="4145"/>
                            </a:cubicBezTo>
                            <a:lnTo>
                              <a:pt x="754" y="251"/>
                            </a:lnTo>
                            <a:cubicBezTo>
                              <a:pt x="754" y="126"/>
                              <a:pt x="754" y="0"/>
                              <a:pt x="628" y="0"/>
                            </a:cubicBezTo>
                            <a:cubicBezTo>
                              <a:pt x="502" y="0"/>
                              <a:pt x="377" y="0"/>
                              <a:pt x="251" y="0"/>
                            </a:cubicBezTo>
                            <a:lnTo>
                              <a:pt x="0" y="126"/>
                            </a:lnTo>
                            <a:lnTo>
                              <a:pt x="0" y="5024"/>
                            </a:lnTo>
                            <a:lnTo>
                              <a:pt x="251" y="4898"/>
                            </a:lnTo>
                            <a:close/>
                          </a:path>
                        </a:pathLst>
                      </a:custGeom>
                      <a:solidFill>
                        <a:srgbClr val="F6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71" name="Freeform: Shape 1270">
                      <a:extLst>
                        <a:ext uri="{FF2B5EF4-FFF2-40B4-BE49-F238E27FC236}">
                          <a16:creationId xmlns:a16="http://schemas.microsoft.com/office/drawing/2014/main" id="{31215E51-C3C0-4E15-9609-5D65E07B34A1}"/>
                        </a:ext>
                      </a:extLst>
                    </p:cNvPr>
                    <p:cNvSpPr/>
                    <p:nvPr/>
                  </p:nvSpPr>
                  <p:spPr>
                    <a:xfrm>
                      <a:off x="3787440" y="1716354"/>
                      <a:ext cx="376" cy="251"/>
                    </a:xfrm>
                    <a:custGeom>
                      <a:avLst/>
                      <a:gdLst>
                        <a:gd name="connsiteX0" fmla="*/ 251 w 376"/>
                        <a:gd name="connsiteY0" fmla="*/ 0 h 251"/>
                        <a:gd name="connsiteX1" fmla="*/ 125 w 376"/>
                        <a:gd name="connsiteY1" fmla="*/ 126 h 251"/>
                        <a:gd name="connsiteX2" fmla="*/ 0 w 376"/>
                        <a:gd name="connsiteY2" fmla="*/ 251 h 251"/>
                        <a:gd name="connsiteX3" fmla="*/ 377 w 376"/>
                        <a:gd name="connsiteY3" fmla="*/ 0 h 251"/>
                        <a:gd name="connsiteX4" fmla="*/ 251 w 376"/>
                        <a:gd name="connsiteY4" fmla="*/ 0 h 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 h="251">
                          <a:moveTo>
                            <a:pt x="251" y="0"/>
                          </a:moveTo>
                          <a:cubicBezTo>
                            <a:pt x="251" y="0"/>
                            <a:pt x="125" y="126"/>
                            <a:pt x="125" y="126"/>
                          </a:cubicBezTo>
                          <a:cubicBezTo>
                            <a:pt x="125" y="126"/>
                            <a:pt x="0" y="251"/>
                            <a:pt x="0" y="251"/>
                          </a:cubicBezTo>
                          <a:lnTo>
                            <a:pt x="377" y="0"/>
                          </a:lnTo>
                          <a:lnTo>
                            <a:pt x="251" y="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72" name="Freeform: Shape 1271">
                      <a:extLst>
                        <a:ext uri="{FF2B5EF4-FFF2-40B4-BE49-F238E27FC236}">
                          <a16:creationId xmlns:a16="http://schemas.microsoft.com/office/drawing/2014/main" id="{573E2D9C-5452-4F90-AB8B-1044E8B77560}"/>
                        </a:ext>
                      </a:extLst>
                    </p:cNvPr>
                    <p:cNvSpPr/>
                    <p:nvPr/>
                  </p:nvSpPr>
                  <p:spPr>
                    <a:xfrm>
                      <a:off x="3787817" y="1716102"/>
                      <a:ext cx="753" cy="502"/>
                    </a:xfrm>
                    <a:custGeom>
                      <a:avLst/>
                      <a:gdLst>
                        <a:gd name="connsiteX0" fmla="*/ 377 w 753"/>
                        <a:gd name="connsiteY0" fmla="*/ 251 h 502"/>
                        <a:gd name="connsiteX1" fmla="*/ 754 w 753"/>
                        <a:gd name="connsiteY1" fmla="*/ 251 h 502"/>
                        <a:gd name="connsiteX2" fmla="*/ 251 w 753"/>
                        <a:gd name="connsiteY2" fmla="*/ 0 h 502"/>
                        <a:gd name="connsiteX3" fmla="*/ 0 w 753"/>
                        <a:gd name="connsiteY3" fmla="*/ 377 h 502"/>
                        <a:gd name="connsiteX4" fmla="*/ 251 w 753"/>
                        <a:gd name="connsiteY4" fmla="*/ 502 h 502"/>
                        <a:gd name="connsiteX5" fmla="*/ 251 w 753"/>
                        <a:gd name="connsiteY5" fmla="*/ 502 h 502"/>
                        <a:gd name="connsiteX6" fmla="*/ 251 w 753"/>
                        <a:gd name="connsiteY6" fmla="*/ 502 h 502"/>
                        <a:gd name="connsiteX7" fmla="*/ 377 w 753"/>
                        <a:gd name="connsiteY7" fmla="*/ 251 h 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3" h="502">
                          <a:moveTo>
                            <a:pt x="377" y="251"/>
                          </a:moveTo>
                          <a:cubicBezTo>
                            <a:pt x="502" y="126"/>
                            <a:pt x="628" y="126"/>
                            <a:pt x="754" y="251"/>
                          </a:cubicBezTo>
                          <a:lnTo>
                            <a:pt x="251" y="0"/>
                          </a:lnTo>
                          <a:cubicBezTo>
                            <a:pt x="251" y="0"/>
                            <a:pt x="125" y="251"/>
                            <a:pt x="0" y="377"/>
                          </a:cubicBezTo>
                          <a:lnTo>
                            <a:pt x="251" y="502"/>
                          </a:lnTo>
                          <a:lnTo>
                            <a:pt x="251" y="502"/>
                          </a:lnTo>
                          <a:lnTo>
                            <a:pt x="251" y="502"/>
                          </a:lnTo>
                          <a:lnTo>
                            <a:pt x="377" y="251"/>
                          </a:lnTo>
                          <a:close/>
                        </a:path>
                      </a:pathLst>
                    </a:custGeom>
                    <a:solidFill>
                      <a:srgbClr val="D3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73" name="Graphic 4">
                    <a:extLst>
                      <a:ext uri="{FF2B5EF4-FFF2-40B4-BE49-F238E27FC236}">
                        <a16:creationId xmlns:a16="http://schemas.microsoft.com/office/drawing/2014/main" id="{84FB7ED1-A2DF-40A1-A747-5F7CF3F14040}"/>
                      </a:ext>
                    </a:extLst>
                  </p:cNvPr>
                  <p:cNvGrpSpPr/>
                  <p:nvPr/>
                </p:nvGrpSpPr>
                <p:grpSpPr>
                  <a:xfrm>
                    <a:off x="3706651" y="1743859"/>
                    <a:ext cx="16484" cy="6499"/>
                    <a:chOff x="3706651" y="1743859"/>
                    <a:chExt cx="16484" cy="6499"/>
                  </a:xfrm>
                  <a:solidFill>
                    <a:schemeClr val="accent1"/>
                  </a:solidFill>
                </p:grpSpPr>
                <p:grpSp>
                  <p:nvGrpSpPr>
                    <p:cNvPr id="1274" name="Graphic 4">
                      <a:extLst>
                        <a:ext uri="{FF2B5EF4-FFF2-40B4-BE49-F238E27FC236}">
                          <a16:creationId xmlns:a16="http://schemas.microsoft.com/office/drawing/2014/main" id="{84FB7ED1-A2DF-40A1-A747-5F7CF3F14040}"/>
                        </a:ext>
                      </a:extLst>
                    </p:cNvPr>
                    <p:cNvGrpSpPr/>
                    <p:nvPr/>
                  </p:nvGrpSpPr>
                  <p:grpSpPr>
                    <a:xfrm>
                      <a:off x="3716479" y="1743859"/>
                      <a:ext cx="3516" cy="4615"/>
                      <a:chOff x="3716479" y="1743859"/>
                      <a:chExt cx="3516" cy="4615"/>
                    </a:xfrm>
                    <a:solidFill>
                      <a:schemeClr val="accent1"/>
                    </a:solidFill>
                  </p:grpSpPr>
                  <p:sp>
                    <p:nvSpPr>
                      <p:cNvPr id="1275" name="Freeform: Shape 1274">
                        <a:extLst>
                          <a:ext uri="{FF2B5EF4-FFF2-40B4-BE49-F238E27FC236}">
                            <a16:creationId xmlns:a16="http://schemas.microsoft.com/office/drawing/2014/main" id="{696AC8CF-913D-4778-AD18-206AD0C354BF}"/>
                          </a:ext>
                        </a:extLst>
                      </p:cNvPr>
                      <p:cNvSpPr/>
                      <p:nvPr/>
                    </p:nvSpPr>
                    <p:spPr>
                      <a:xfrm>
                        <a:off x="3716479" y="1743859"/>
                        <a:ext cx="3516" cy="4521"/>
                      </a:xfrm>
                      <a:custGeom>
                        <a:avLst/>
                        <a:gdLst>
                          <a:gd name="connsiteX0" fmla="*/ 1382 w 3516"/>
                          <a:gd name="connsiteY0" fmla="*/ 4521 h 4521"/>
                          <a:gd name="connsiteX1" fmla="*/ 3517 w 3516"/>
                          <a:gd name="connsiteY1" fmla="*/ 502 h 4521"/>
                          <a:gd name="connsiteX2" fmla="*/ 2638 w 3516"/>
                          <a:gd name="connsiteY2" fmla="*/ 0 h 4521"/>
                          <a:gd name="connsiteX3" fmla="*/ 1633 w 3516"/>
                          <a:gd name="connsiteY3" fmla="*/ 377 h 4521"/>
                          <a:gd name="connsiteX4" fmla="*/ 0 w 3516"/>
                          <a:gd name="connsiteY4" fmla="*/ 2889 h 4521"/>
                          <a:gd name="connsiteX5" fmla="*/ 0 w 3516"/>
                          <a:gd name="connsiteY5" fmla="*/ 2889 h 4521"/>
                          <a:gd name="connsiteX6" fmla="*/ 377 w 3516"/>
                          <a:gd name="connsiteY6" fmla="*/ 4019 h 4521"/>
                          <a:gd name="connsiteX7" fmla="*/ 1382 w 3516"/>
                          <a:gd name="connsiteY7" fmla="*/ 4521 h 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6" h="4521">
                            <a:moveTo>
                              <a:pt x="1382" y="4521"/>
                            </a:moveTo>
                            <a:lnTo>
                              <a:pt x="3517" y="502"/>
                            </a:lnTo>
                            <a:lnTo>
                              <a:pt x="2638" y="0"/>
                            </a:lnTo>
                            <a:lnTo>
                              <a:pt x="1633" y="377"/>
                            </a:lnTo>
                            <a:cubicBezTo>
                              <a:pt x="754" y="754"/>
                              <a:pt x="126" y="1884"/>
                              <a:pt x="0" y="2889"/>
                            </a:cubicBezTo>
                            <a:lnTo>
                              <a:pt x="0" y="2889"/>
                            </a:lnTo>
                            <a:cubicBezTo>
                              <a:pt x="0" y="3517"/>
                              <a:pt x="126" y="3893"/>
                              <a:pt x="377" y="4019"/>
                            </a:cubicBezTo>
                            <a:cubicBezTo>
                              <a:pt x="628" y="4145"/>
                              <a:pt x="1382" y="4521"/>
                              <a:pt x="1382" y="4521"/>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76" name="Graphic 4">
                        <a:extLst>
                          <a:ext uri="{FF2B5EF4-FFF2-40B4-BE49-F238E27FC236}">
                            <a16:creationId xmlns:a16="http://schemas.microsoft.com/office/drawing/2014/main" id="{84FB7ED1-A2DF-40A1-A747-5F7CF3F14040}"/>
                          </a:ext>
                        </a:extLst>
                      </p:cNvPr>
                      <p:cNvGrpSpPr/>
                      <p:nvPr/>
                    </p:nvGrpSpPr>
                    <p:grpSpPr>
                      <a:xfrm>
                        <a:off x="3717358" y="1744361"/>
                        <a:ext cx="2637" cy="4113"/>
                        <a:chOff x="3717358" y="1744361"/>
                        <a:chExt cx="2637" cy="4113"/>
                      </a:xfrm>
                      <a:solidFill>
                        <a:schemeClr val="accent1"/>
                      </a:solidFill>
                    </p:grpSpPr>
                    <p:sp>
                      <p:nvSpPr>
                        <p:cNvPr id="1277" name="Freeform: Shape 1276">
                          <a:extLst>
                            <a:ext uri="{FF2B5EF4-FFF2-40B4-BE49-F238E27FC236}">
                              <a16:creationId xmlns:a16="http://schemas.microsoft.com/office/drawing/2014/main" id="{78153796-2135-4F39-A02D-091F544F91BD}"/>
                            </a:ext>
                          </a:extLst>
                        </p:cNvPr>
                        <p:cNvSpPr/>
                        <p:nvPr/>
                      </p:nvSpPr>
                      <p:spPr>
                        <a:xfrm>
                          <a:off x="3717358" y="1744361"/>
                          <a:ext cx="2637" cy="4113"/>
                        </a:xfrm>
                        <a:custGeom>
                          <a:avLst/>
                          <a:gdLst>
                            <a:gd name="connsiteX0" fmla="*/ 1382 w 2637"/>
                            <a:gd name="connsiteY0" fmla="*/ 4019 h 4113"/>
                            <a:gd name="connsiteX1" fmla="*/ 2512 w 2637"/>
                            <a:gd name="connsiteY1" fmla="*/ 3517 h 4113"/>
                            <a:gd name="connsiteX2" fmla="*/ 2637 w 2637"/>
                            <a:gd name="connsiteY2" fmla="*/ 0 h 4113"/>
                            <a:gd name="connsiteX3" fmla="*/ 1633 w 2637"/>
                            <a:gd name="connsiteY3" fmla="*/ 377 h 4113"/>
                            <a:gd name="connsiteX4" fmla="*/ 0 w 2637"/>
                            <a:gd name="connsiteY4" fmla="*/ 2889 h 4113"/>
                            <a:gd name="connsiteX5" fmla="*/ 0 w 2637"/>
                            <a:gd name="connsiteY5" fmla="*/ 2889 h 4113"/>
                            <a:gd name="connsiteX6" fmla="*/ 377 w 2637"/>
                            <a:gd name="connsiteY6" fmla="*/ 4019 h 4113"/>
                            <a:gd name="connsiteX7" fmla="*/ 1382 w 2637"/>
                            <a:gd name="connsiteY7" fmla="*/ 4019 h 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7" h="4113">
                              <a:moveTo>
                                <a:pt x="1382" y="4019"/>
                              </a:moveTo>
                              <a:lnTo>
                                <a:pt x="2512" y="3517"/>
                              </a:lnTo>
                              <a:lnTo>
                                <a:pt x="2637" y="0"/>
                              </a:lnTo>
                              <a:lnTo>
                                <a:pt x="1633" y="377"/>
                              </a:lnTo>
                              <a:cubicBezTo>
                                <a:pt x="754" y="754"/>
                                <a:pt x="126" y="1884"/>
                                <a:pt x="0" y="2889"/>
                              </a:cubicBezTo>
                              <a:lnTo>
                                <a:pt x="0" y="2889"/>
                              </a:lnTo>
                              <a:cubicBezTo>
                                <a:pt x="0" y="3517"/>
                                <a:pt x="126" y="3893"/>
                                <a:pt x="377" y="4019"/>
                              </a:cubicBezTo>
                              <a:cubicBezTo>
                                <a:pt x="754" y="4145"/>
                                <a:pt x="1005" y="4145"/>
                                <a:pt x="1382" y="4019"/>
                              </a:cubicBezTo>
                              <a:close/>
                            </a:path>
                          </a:pathLst>
                        </a:custGeom>
                        <a:solidFill>
                          <a:srgbClr val="B87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78" name="Freeform: Shape 1277">
                          <a:extLst>
                            <a:ext uri="{FF2B5EF4-FFF2-40B4-BE49-F238E27FC236}">
                              <a16:creationId xmlns:a16="http://schemas.microsoft.com/office/drawing/2014/main" id="{1F97CEF5-C604-49F7-91F8-64DAB504D3B9}"/>
                            </a:ext>
                          </a:extLst>
                        </p:cNvPr>
                        <p:cNvSpPr/>
                        <p:nvPr/>
                      </p:nvSpPr>
                      <p:spPr>
                        <a:xfrm>
                          <a:off x="3718087" y="1745537"/>
                          <a:ext cx="1556" cy="1995"/>
                        </a:xfrm>
                        <a:custGeom>
                          <a:avLst/>
                          <a:gdLst>
                            <a:gd name="connsiteX0" fmla="*/ 1532 w 1556"/>
                            <a:gd name="connsiteY0" fmla="*/ 708 h 1995"/>
                            <a:gd name="connsiteX1" fmla="*/ 653 w 1556"/>
                            <a:gd name="connsiteY1" fmla="*/ 1964 h 1995"/>
                            <a:gd name="connsiteX2" fmla="*/ 25 w 1556"/>
                            <a:gd name="connsiteY2" fmla="*/ 1336 h 1995"/>
                            <a:gd name="connsiteX3" fmla="*/ 904 w 1556"/>
                            <a:gd name="connsiteY3" fmla="*/ 80 h 1995"/>
                            <a:gd name="connsiteX4" fmla="*/ 1532 w 1556"/>
                            <a:gd name="connsiteY4" fmla="*/ 708 h 1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6" h="1995">
                              <a:moveTo>
                                <a:pt x="1532" y="708"/>
                              </a:moveTo>
                              <a:cubicBezTo>
                                <a:pt x="1532" y="1210"/>
                                <a:pt x="1030" y="1838"/>
                                <a:pt x="653" y="1964"/>
                              </a:cubicBezTo>
                              <a:cubicBezTo>
                                <a:pt x="276" y="2089"/>
                                <a:pt x="-101" y="1838"/>
                                <a:pt x="25" y="1336"/>
                              </a:cubicBezTo>
                              <a:cubicBezTo>
                                <a:pt x="25" y="833"/>
                                <a:pt x="527" y="206"/>
                                <a:pt x="904" y="80"/>
                              </a:cubicBezTo>
                              <a:cubicBezTo>
                                <a:pt x="1281" y="-171"/>
                                <a:pt x="1657" y="206"/>
                                <a:pt x="1532" y="708"/>
                              </a:cubicBezTo>
                              <a:close/>
                            </a:path>
                          </a:pathLst>
                        </a:custGeom>
                        <a:solidFill>
                          <a:srgbClr val="52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279" name="Graphic 4">
                      <a:extLst>
                        <a:ext uri="{FF2B5EF4-FFF2-40B4-BE49-F238E27FC236}">
                          <a16:creationId xmlns:a16="http://schemas.microsoft.com/office/drawing/2014/main" id="{84FB7ED1-A2DF-40A1-A747-5F7CF3F14040}"/>
                        </a:ext>
                      </a:extLst>
                    </p:cNvPr>
                    <p:cNvGrpSpPr/>
                    <p:nvPr/>
                  </p:nvGrpSpPr>
                  <p:grpSpPr>
                    <a:xfrm>
                      <a:off x="3706651" y="1745598"/>
                      <a:ext cx="15307" cy="3410"/>
                      <a:chOff x="3706651" y="1745598"/>
                      <a:chExt cx="15307" cy="3410"/>
                    </a:xfrm>
                    <a:solidFill>
                      <a:schemeClr val="accent1"/>
                    </a:solidFill>
                  </p:grpSpPr>
                  <p:sp>
                    <p:nvSpPr>
                      <p:cNvPr id="1280" name="Freeform: Shape 1279">
                        <a:extLst>
                          <a:ext uri="{FF2B5EF4-FFF2-40B4-BE49-F238E27FC236}">
                            <a16:creationId xmlns:a16="http://schemas.microsoft.com/office/drawing/2014/main" id="{772145B3-B422-4B5B-85F6-7D819E8D9FA9}"/>
                          </a:ext>
                        </a:extLst>
                      </p:cNvPr>
                      <p:cNvSpPr/>
                      <p:nvPr/>
                    </p:nvSpPr>
                    <p:spPr>
                      <a:xfrm>
                        <a:off x="3713716" y="1745617"/>
                        <a:ext cx="8242" cy="3391"/>
                      </a:xfrm>
                      <a:custGeom>
                        <a:avLst/>
                        <a:gdLst>
                          <a:gd name="connsiteX0" fmla="*/ 8164 w 8242"/>
                          <a:gd name="connsiteY0" fmla="*/ 1005 h 3391"/>
                          <a:gd name="connsiteX1" fmla="*/ 7536 w 8242"/>
                          <a:gd name="connsiteY1" fmla="*/ 126 h 3391"/>
                          <a:gd name="connsiteX2" fmla="*/ 7034 w 8242"/>
                          <a:gd name="connsiteY2" fmla="*/ 0 h 3391"/>
                          <a:gd name="connsiteX3" fmla="*/ 0 w 8242"/>
                          <a:gd name="connsiteY3" fmla="*/ 126 h 3391"/>
                          <a:gd name="connsiteX4" fmla="*/ 0 w 8242"/>
                          <a:gd name="connsiteY4" fmla="*/ 3391 h 3391"/>
                          <a:gd name="connsiteX5" fmla="*/ 7034 w 8242"/>
                          <a:gd name="connsiteY5" fmla="*/ 3265 h 3391"/>
                          <a:gd name="connsiteX6" fmla="*/ 7410 w 8242"/>
                          <a:gd name="connsiteY6" fmla="*/ 3140 h 3391"/>
                          <a:gd name="connsiteX7" fmla="*/ 8164 w 8242"/>
                          <a:gd name="connsiteY7" fmla="*/ 1005 h 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2" h="3391">
                            <a:moveTo>
                              <a:pt x="8164" y="1005"/>
                            </a:moveTo>
                            <a:cubicBezTo>
                              <a:pt x="8038" y="628"/>
                              <a:pt x="7787" y="251"/>
                              <a:pt x="7536" y="126"/>
                            </a:cubicBezTo>
                            <a:cubicBezTo>
                              <a:pt x="7410" y="0"/>
                              <a:pt x="7159" y="0"/>
                              <a:pt x="7034" y="0"/>
                            </a:cubicBezTo>
                            <a:lnTo>
                              <a:pt x="0" y="126"/>
                            </a:lnTo>
                            <a:lnTo>
                              <a:pt x="0" y="3391"/>
                            </a:lnTo>
                            <a:lnTo>
                              <a:pt x="7034" y="3265"/>
                            </a:lnTo>
                            <a:cubicBezTo>
                              <a:pt x="7159" y="3265"/>
                              <a:pt x="7285" y="3265"/>
                              <a:pt x="7410" y="3140"/>
                            </a:cubicBezTo>
                            <a:cubicBezTo>
                              <a:pt x="8038" y="2763"/>
                              <a:pt x="8415" y="1884"/>
                              <a:pt x="8164" y="1005"/>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1" name="Freeform: Shape 1280">
                        <a:extLst>
                          <a:ext uri="{FF2B5EF4-FFF2-40B4-BE49-F238E27FC236}">
                            <a16:creationId xmlns:a16="http://schemas.microsoft.com/office/drawing/2014/main" id="{402861C1-8FE5-4797-AE25-745711140E28}"/>
                          </a:ext>
                        </a:extLst>
                      </p:cNvPr>
                      <p:cNvSpPr/>
                      <p:nvPr/>
                    </p:nvSpPr>
                    <p:spPr>
                      <a:xfrm>
                        <a:off x="3706651" y="1745711"/>
                        <a:ext cx="1821" cy="2323"/>
                      </a:xfrm>
                      <a:custGeom>
                        <a:avLst/>
                        <a:gdLst>
                          <a:gd name="connsiteX0" fmla="*/ 1539 w 1821"/>
                          <a:gd name="connsiteY0" fmla="*/ 1539 h 2323"/>
                          <a:gd name="connsiteX1" fmla="*/ 283 w 1821"/>
                          <a:gd name="connsiteY1" fmla="*/ 2292 h 2323"/>
                          <a:gd name="connsiteX2" fmla="*/ 283 w 1821"/>
                          <a:gd name="connsiteY2" fmla="*/ 785 h 2323"/>
                          <a:gd name="connsiteX3" fmla="*/ 1539 w 1821"/>
                          <a:gd name="connsiteY3" fmla="*/ 31 h 2323"/>
                          <a:gd name="connsiteX4" fmla="*/ 1539 w 1821"/>
                          <a:gd name="connsiteY4" fmla="*/ 1539 h 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1" h="2323">
                            <a:moveTo>
                              <a:pt x="1539" y="1539"/>
                            </a:moveTo>
                            <a:cubicBezTo>
                              <a:pt x="1162" y="2167"/>
                              <a:pt x="659" y="2418"/>
                              <a:pt x="283" y="2292"/>
                            </a:cubicBezTo>
                            <a:cubicBezTo>
                              <a:pt x="-94" y="2041"/>
                              <a:pt x="-94" y="1413"/>
                              <a:pt x="283" y="785"/>
                            </a:cubicBezTo>
                            <a:cubicBezTo>
                              <a:pt x="659" y="157"/>
                              <a:pt x="1162" y="-94"/>
                              <a:pt x="1539" y="31"/>
                            </a:cubicBezTo>
                            <a:cubicBezTo>
                              <a:pt x="1915" y="283"/>
                              <a:pt x="1915" y="1036"/>
                              <a:pt x="1539" y="1539"/>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2" name="Freeform: Shape 1281">
                        <a:extLst>
                          <a:ext uri="{FF2B5EF4-FFF2-40B4-BE49-F238E27FC236}">
                            <a16:creationId xmlns:a16="http://schemas.microsoft.com/office/drawing/2014/main" id="{B717666A-41E7-4F5D-9D79-9EA518BF8591}"/>
                          </a:ext>
                        </a:extLst>
                      </p:cNvPr>
                      <p:cNvSpPr/>
                      <p:nvPr/>
                    </p:nvSpPr>
                    <p:spPr>
                      <a:xfrm>
                        <a:off x="3712256" y="1745598"/>
                        <a:ext cx="2543" cy="3304"/>
                      </a:xfrm>
                      <a:custGeom>
                        <a:avLst/>
                        <a:gdLst>
                          <a:gd name="connsiteX0" fmla="*/ 1837 w 2543"/>
                          <a:gd name="connsiteY0" fmla="*/ 145 h 3304"/>
                          <a:gd name="connsiteX1" fmla="*/ 832 w 2543"/>
                          <a:gd name="connsiteY1" fmla="*/ 145 h 3304"/>
                          <a:gd name="connsiteX2" fmla="*/ 79 w 2543"/>
                          <a:gd name="connsiteY2" fmla="*/ 2280 h 3304"/>
                          <a:gd name="connsiteX3" fmla="*/ 706 w 2543"/>
                          <a:gd name="connsiteY3" fmla="*/ 3159 h 3304"/>
                          <a:gd name="connsiteX4" fmla="*/ 1711 w 2543"/>
                          <a:gd name="connsiteY4" fmla="*/ 3159 h 3304"/>
                          <a:gd name="connsiteX5" fmla="*/ 2465 w 2543"/>
                          <a:gd name="connsiteY5" fmla="*/ 1024 h 3304"/>
                          <a:gd name="connsiteX6" fmla="*/ 1837 w 2543"/>
                          <a:gd name="connsiteY6" fmla="*/ 145 h 3304"/>
                          <a:gd name="connsiteX7" fmla="*/ 1837 w 2543"/>
                          <a:gd name="connsiteY7" fmla="*/ 145 h 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 h="3304">
                            <a:moveTo>
                              <a:pt x="1837" y="145"/>
                            </a:moveTo>
                            <a:cubicBezTo>
                              <a:pt x="1586" y="19"/>
                              <a:pt x="1209" y="-106"/>
                              <a:pt x="832" y="145"/>
                            </a:cubicBezTo>
                            <a:cubicBezTo>
                              <a:pt x="204" y="522"/>
                              <a:pt x="-172" y="1401"/>
                              <a:pt x="79" y="2280"/>
                            </a:cubicBezTo>
                            <a:cubicBezTo>
                              <a:pt x="204" y="2657"/>
                              <a:pt x="455" y="3034"/>
                              <a:pt x="706" y="3159"/>
                            </a:cubicBezTo>
                            <a:cubicBezTo>
                              <a:pt x="958" y="3285"/>
                              <a:pt x="1335" y="3411"/>
                              <a:pt x="1711" y="3159"/>
                            </a:cubicBezTo>
                            <a:cubicBezTo>
                              <a:pt x="2339" y="2782"/>
                              <a:pt x="2716" y="1903"/>
                              <a:pt x="2465" y="1024"/>
                            </a:cubicBezTo>
                            <a:cubicBezTo>
                              <a:pt x="2465" y="647"/>
                              <a:pt x="2214" y="396"/>
                              <a:pt x="1837" y="145"/>
                            </a:cubicBezTo>
                            <a:lnTo>
                              <a:pt x="1837" y="145"/>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3" name="Freeform: Shape 1282">
                        <a:extLst>
                          <a:ext uri="{FF2B5EF4-FFF2-40B4-BE49-F238E27FC236}">
                            <a16:creationId xmlns:a16="http://schemas.microsoft.com/office/drawing/2014/main" id="{A4A0E764-A8CF-456B-9EA6-274D906A42AE}"/>
                          </a:ext>
                        </a:extLst>
                      </p:cNvPr>
                      <p:cNvSpPr/>
                      <p:nvPr/>
                    </p:nvSpPr>
                    <p:spPr>
                      <a:xfrm>
                        <a:off x="3707687" y="1746496"/>
                        <a:ext cx="6656" cy="1632"/>
                      </a:xfrm>
                      <a:custGeom>
                        <a:avLst/>
                        <a:gdLst>
                          <a:gd name="connsiteX0" fmla="*/ 6531 w 6656"/>
                          <a:gd name="connsiteY0" fmla="*/ 502 h 1632"/>
                          <a:gd name="connsiteX1" fmla="*/ 6280 w 6656"/>
                          <a:gd name="connsiteY1" fmla="*/ 126 h 1632"/>
                          <a:gd name="connsiteX2" fmla="*/ 6028 w 6656"/>
                          <a:gd name="connsiteY2" fmla="*/ 0 h 1632"/>
                          <a:gd name="connsiteX3" fmla="*/ 0 w 6656"/>
                          <a:gd name="connsiteY3" fmla="*/ 126 h 1632"/>
                          <a:gd name="connsiteX4" fmla="*/ 0 w 6656"/>
                          <a:gd name="connsiteY4" fmla="*/ 1633 h 1632"/>
                          <a:gd name="connsiteX5" fmla="*/ 6028 w 6656"/>
                          <a:gd name="connsiteY5" fmla="*/ 1507 h 1632"/>
                          <a:gd name="connsiteX6" fmla="*/ 6280 w 6656"/>
                          <a:gd name="connsiteY6" fmla="*/ 1507 h 1632"/>
                          <a:gd name="connsiteX7" fmla="*/ 6657 w 6656"/>
                          <a:gd name="connsiteY7" fmla="*/ 1130 h 1632"/>
                          <a:gd name="connsiteX8" fmla="*/ 6657 w 6656"/>
                          <a:gd name="connsiteY8" fmla="*/ 1130 h 1632"/>
                          <a:gd name="connsiteX9" fmla="*/ 6531 w 6656"/>
                          <a:gd name="connsiteY9" fmla="*/ 502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56" h="1632">
                            <a:moveTo>
                              <a:pt x="6531" y="502"/>
                            </a:moveTo>
                            <a:cubicBezTo>
                              <a:pt x="6531" y="251"/>
                              <a:pt x="6405" y="126"/>
                              <a:pt x="6280" y="126"/>
                            </a:cubicBezTo>
                            <a:cubicBezTo>
                              <a:pt x="6154" y="126"/>
                              <a:pt x="6154" y="0"/>
                              <a:pt x="6028" y="0"/>
                            </a:cubicBezTo>
                            <a:lnTo>
                              <a:pt x="0" y="126"/>
                            </a:lnTo>
                            <a:lnTo>
                              <a:pt x="0" y="1633"/>
                            </a:lnTo>
                            <a:lnTo>
                              <a:pt x="6028" y="1507"/>
                            </a:lnTo>
                            <a:cubicBezTo>
                              <a:pt x="6154" y="1507"/>
                              <a:pt x="6154" y="1507"/>
                              <a:pt x="6280" y="1507"/>
                            </a:cubicBezTo>
                            <a:cubicBezTo>
                              <a:pt x="6405" y="1382"/>
                              <a:pt x="6531" y="1256"/>
                              <a:pt x="6657" y="1130"/>
                            </a:cubicBezTo>
                            <a:cubicBezTo>
                              <a:pt x="6657" y="1130"/>
                              <a:pt x="6657" y="1130"/>
                              <a:pt x="6657" y="1130"/>
                            </a:cubicBezTo>
                            <a:cubicBezTo>
                              <a:pt x="6531" y="879"/>
                              <a:pt x="6531" y="754"/>
                              <a:pt x="6531" y="502"/>
                            </a:cubicBezTo>
                            <a:close/>
                          </a:path>
                        </a:pathLst>
                      </a:custGeom>
                      <a:solidFill>
                        <a:srgbClr val="D1CD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4" name="Freeform: Shape 1283">
                        <a:extLst>
                          <a:ext uri="{FF2B5EF4-FFF2-40B4-BE49-F238E27FC236}">
                            <a16:creationId xmlns:a16="http://schemas.microsoft.com/office/drawing/2014/main" id="{19B5F2E8-C5D2-4264-999D-5FEB163D6DCD}"/>
                          </a:ext>
                        </a:extLst>
                      </p:cNvPr>
                      <p:cNvSpPr/>
                      <p:nvPr/>
                    </p:nvSpPr>
                    <p:spPr>
                      <a:xfrm>
                        <a:off x="3706900" y="1746653"/>
                        <a:ext cx="1219" cy="1569"/>
                      </a:xfrm>
                      <a:custGeom>
                        <a:avLst/>
                        <a:gdLst>
                          <a:gd name="connsiteX0" fmla="*/ 913 w 1219"/>
                          <a:gd name="connsiteY0" fmla="*/ 94 h 1569"/>
                          <a:gd name="connsiteX1" fmla="*/ 410 w 1219"/>
                          <a:gd name="connsiteY1" fmla="*/ 94 h 1569"/>
                          <a:gd name="connsiteX2" fmla="*/ 33 w 1219"/>
                          <a:gd name="connsiteY2" fmla="*/ 1099 h 1569"/>
                          <a:gd name="connsiteX3" fmla="*/ 285 w 1219"/>
                          <a:gd name="connsiteY3" fmla="*/ 1476 h 1569"/>
                          <a:gd name="connsiteX4" fmla="*/ 787 w 1219"/>
                          <a:gd name="connsiteY4" fmla="*/ 1476 h 1569"/>
                          <a:gd name="connsiteX5" fmla="*/ 1164 w 1219"/>
                          <a:gd name="connsiteY5" fmla="*/ 1099 h 1569"/>
                          <a:gd name="connsiteX6" fmla="*/ 1164 w 1219"/>
                          <a:gd name="connsiteY6" fmla="*/ 471 h 1569"/>
                          <a:gd name="connsiteX7" fmla="*/ 913 w 1219"/>
                          <a:gd name="connsiteY7" fmla="*/ 94 h 1569"/>
                          <a:gd name="connsiteX8" fmla="*/ 913 w 1219"/>
                          <a:gd name="connsiteY8" fmla="*/ 94 h 1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 h="1569">
                            <a:moveTo>
                              <a:pt x="913" y="94"/>
                            </a:moveTo>
                            <a:cubicBezTo>
                              <a:pt x="787" y="-31"/>
                              <a:pt x="661" y="-31"/>
                              <a:pt x="410" y="94"/>
                            </a:cubicBezTo>
                            <a:cubicBezTo>
                              <a:pt x="159" y="220"/>
                              <a:pt x="-92" y="722"/>
                              <a:pt x="33" y="1099"/>
                            </a:cubicBezTo>
                            <a:cubicBezTo>
                              <a:pt x="33" y="1350"/>
                              <a:pt x="159" y="1476"/>
                              <a:pt x="285" y="1476"/>
                            </a:cubicBezTo>
                            <a:cubicBezTo>
                              <a:pt x="410" y="1601"/>
                              <a:pt x="536" y="1601"/>
                              <a:pt x="787" y="1476"/>
                            </a:cubicBezTo>
                            <a:cubicBezTo>
                              <a:pt x="913" y="1350"/>
                              <a:pt x="1038" y="1225"/>
                              <a:pt x="1164" y="1099"/>
                            </a:cubicBezTo>
                            <a:cubicBezTo>
                              <a:pt x="1164" y="973"/>
                              <a:pt x="1289" y="722"/>
                              <a:pt x="1164" y="471"/>
                            </a:cubicBezTo>
                            <a:cubicBezTo>
                              <a:pt x="1164" y="220"/>
                              <a:pt x="1038" y="94"/>
                              <a:pt x="913" y="94"/>
                            </a:cubicBezTo>
                            <a:lnTo>
                              <a:pt x="913" y="94"/>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5" name="Freeform: Shape 1284">
                        <a:extLst>
                          <a:ext uri="{FF2B5EF4-FFF2-40B4-BE49-F238E27FC236}">
                            <a16:creationId xmlns:a16="http://schemas.microsoft.com/office/drawing/2014/main" id="{3CDC48B4-BC54-4F8B-B8CC-76BEBA45ABD1}"/>
                          </a:ext>
                        </a:extLst>
                      </p:cNvPr>
                      <p:cNvSpPr/>
                      <p:nvPr/>
                    </p:nvSpPr>
                    <p:spPr>
                      <a:xfrm>
                        <a:off x="3708158" y="1746591"/>
                        <a:ext cx="1821" cy="2323"/>
                      </a:xfrm>
                      <a:custGeom>
                        <a:avLst/>
                        <a:gdLst>
                          <a:gd name="connsiteX0" fmla="*/ 1539 w 1821"/>
                          <a:gd name="connsiteY0" fmla="*/ 1539 h 2323"/>
                          <a:gd name="connsiteX1" fmla="*/ 283 w 1821"/>
                          <a:gd name="connsiteY1" fmla="*/ 2292 h 2323"/>
                          <a:gd name="connsiteX2" fmla="*/ 283 w 1821"/>
                          <a:gd name="connsiteY2" fmla="*/ 785 h 2323"/>
                          <a:gd name="connsiteX3" fmla="*/ 1539 w 1821"/>
                          <a:gd name="connsiteY3" fmla="*/ 31 h 2323"/>
                          <a:gd name="connsiteX4" fmla="*/ 1539 w 1821"/>
                          <a:gd name="connsiteY4" fmla="*/ 1539 h 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1" h="2323">
                            <a:moveTo>
                              <a:pt x="1539" y="1539"/>
                            </a:moveTo>
                            <a:cubicBezTo>
                              <a:pt x="1162" y="2167"/>
                              <a:pt x="659" y="2418"/>
                              <a:pt x="283" y="2292"/>
                            </a:cubicBezTo>
                            <a:cubicBezTo>
                              <a:pt x="-94" y="2041"/>
                              <a:pt x="-94" y="1413"/>
                              <a:pt x="283" y="785"/>
                            </a:cubicBezTo>
                            <a:cubicBezTo>
                              <a:pt x="659" y="157"/>
                              <a:pt x="1162" y="-94"/>
                              <a:pt x="1539" y="31"/>
                            </a:cubicBezTo>
                            <a:cubicBezTo>
                              <a:pt x="1915" y="283"/>
                              <a:pt x="1915" y="1036"/>
                              <a:pt x="1539" y="1539"/>
                            </a:cubicBezTo>
                            <a:close/>
                          </a:path>
                        </a:pathLst>
                      </a:custGeom>
                      <a:solidFill>
                        <a:srgbClr val="4D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6" name="Freeform: Shape 1285">
                        <a:extLst>
                          <a:ext uri="{FF2B5EF4-FFF2-40B4-BE49-F238E27FC236}">
                            <a16:creationId xmlns:a16="http://schemas.microsoft.com/office/drawing/2014/main" id="{1C15E5AF-D569-49C8-A159-2174CFE401ED}"/>
                          </a:ext>
                        </a:extLst>
                      </p:cNvPr>
                      <p:cNvSpPr/>
                      <p:nvPr/>
                    </p:nvSpPr>
                    <p:spPr>
                      <a:xfrm>
                        <a:off x="3706934" y="1745868"/>
                        <a:ext cx="2763" cy="2888"/>
                      </a:xfrm>
                      <a:custGeom>
                        <a:avLst/>
                        <a:gdLst>
                          <a:gd name="connsiteX0" fmla="*/ 1507 w 2763"/>
                          <a:gd name="connsiteY0" fmla="*/ 1633 h 2888"/>
                          <a:gd name="connsiteX1" fmla="*/ 2763 w 2763"/>
                          <a:gd name="connsiteY1" fmla="*/ 879 h 2888"/>
                          <a:gd name="connsiteX2" fmla="*/ 2763 w 2763"/>
                          <a:gd name="connsiteY2" fmla="*/ 879 h 2888"/>
                          <a:gd name="connsiteX3" fmla="*/ 1256 w 2763"/>
                          <a:gd name="connsiteY3" fmla="*/ 0 h 2888"/>
                          <a:gd name="connsiteX4" fmla="*/ 628 w 2763"/>
                          <a:gd name="connsiteY4" fmla="*/ 754 h 2888"/>
                          <a:gd name="connsiteX5" fmla="*/ 1381 w 2763"/>
                          <a:gd name="connsiteY5" fmla="*/ 1633 h 2888"/>
                          <a:gd name="connsiteX6" fmla="*/ 1381 w 2763"/>
                          <a:gd name="connsiteY6" fmla="*/ 1633 h 2888"/>
                          <a:gd name="connsiteX7" fmla="*/ 1005 w 2763"/>
                          <a:gd name="connsiteY7" fmla="*/ 2261 h 2888"/>
                          <a:gd name="connsiteX8" fmla="*/ 1005 w 2763"/>
                          <a:gd name="connsiteY8" fmla="*/ 2261 h 2888"/>
                          <a:gd name="connsiteX9" fmla="*/ 754 w 2763"/>
                          <a:gd name="connsiteY9" fmla="*/ 2261 h 2888"/>
                          <a:gd name="connsiteX10" fmla="*/ 628 w 2763"/>
                          <a:gd name="connsiteY10" fmla="*/ 2261 h 2888"/>
                          <a:gd name="connsiteX11" fmla="*/ 377 w 2763"/>
                          <a:gd name="connsiteY11" fmla="*/ 2135 h 2888"/>
                          <a:gd name="connsiteX12" fmla="*/ 251 w 2763"/>
                          <a:gd name="connsiteY12" fmla="*/ 2010 h 2888"/>
                          <a:gd name="connsiteX13" fmla="*/ 0 w 2763"/>
                          <a:gd name="connsiteY13" fmla="*/ 2010 h 2888"/>
                          <a:gd name="connsiteX14" fmla="*/ 1507 w 2763"/>
                          <a:gd name="connsiteY14" fmla="*/ 2889 h 2888"/>
                          <a:gd name="connsiteX15" fmla="*/ 1507 w 2763"/>
                          <a:gd name="connsiteY15" fmla="*/ 1633 h 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63" h="2888">
                            <a:moveTo>
                              <a:pt x="1507" y="1633"/>
                            </a:moveTo>
                            <a:cubicBezTo>
                              <a:pt x="1884" y="1005"/>
                              <a:pt x="2386" y="754"/>
                              <a:pt x="2763" y="879"/>
                            </a:cubicBezTo>
                            <a:lnTo>
                              <a:pt x="2763" y="879"/>
                            </a:lnTo>
                            <a:lnTo>
                              <a:pt x="1256" y="0"/>
                            </a:lnTo>
                            <a:lnTo>
                              <a:pt x="628" y="754"/>
                            </a:lnTo>
                            <a:cubicBezTo>
                              <a:pt x="1005" y="754"/>
                              <a:pt x="1381" y="1005"/>
                              <a:pt x="1381" y="1633"/>
                            </a:cubicBezTo>
                            <a:lnTo>
                              <a:pt x="1381" y="1633"/>
                            </a:lnTo>
                            <a:cubicBezTo>
                              <a:pt x="1381" y="1884"/>
                              <a:pt x="1130" y="2135"/>
                              <a:pt x="1005" y="2261"/>
                            </a:cubicBezTo>
                            <a:cubicBezTo>
                              <a:pt x="1005" y="2261"/>
                              <a:pt x="1005" y="2261"/>
                              <a:pt x="1005" y="2261"/>
                            </a:cubicBezTo>
                            <a:cubicBezTo>
                              <a:pt x="879" y="2261"/>
                              <a:pt x="879" y="2261"/>
                              <a:pt x="754" y="2261"/>
                            </a:cubicBezTo>
                            <a:lnTo>
                              <a:pt x="628" y="2261"/>
                            </a:lnTo>
                            <a:cubicBezTo>
                              <a:pt x="502" y="2261"/>
                              <a:pt x="502" y="2261"/>
                              <a:pt x="377" y="2135"/>
                            </a:cubicBezTo>
                            <a:cubicBezTo>
                              <a:pt x="377" y="2135"/>
                              <a:pt x="377" y="2135"/>
                              <a:pt x="251" y="2010"/>
                            </a:cubicBezTo>
                            <a:cubicBezTo>
                              <a:pt x="125" y="2010"/>
                              <a:pt x="0" y="2010"/>
                              <a:pt x="0" y="2010"/>
                            </a:cubicBezTo>
                            <a:lnTo>
                              <a:pt x="1507" y="2889"/>
                            </a:lnTo>
                            <a:cubicBezTo>
                              <a:pt x="1256" y="2889"/>
                              <a:pt x="1256" y="2135"/>
                              <a:pt x="1507" y="1633"/>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87" name="Graphic 4">
                      <a:extLst>
                        <a:ext uri="{FF2B5EF4-FFF2-40B4-BE49-F238E27FC236}">
                          <a16:creationId xmlns:a16="http://schemas.microsoft.com/office/drawing/2014/main" id="{84FB7ED1-A2DF-40A1-A747-5F7CF3F14040}"/>
                        </a:ext>
                      </a:extLst>
                    </p:cNvPr>
                    <p:cNvGrpSpPr/>
                    <p:nvPr/>
                  </p:nvGrpSpPr>
                  <p:grpSpPr>
                    <a:xfrm>
                      <a:off x="3719619" y="1745743"/>
                      <a:ext cx="3516" cy="4615"/>
                      <a:chOff x="3719619" y="1745743"/>
                      <a:chExt cx="3516" cy="4615"/>
                    </a:xfrm>
                    <a:solidFill>
                      <a:schemeClr val="accent1"/>
                    </a:solidFill>
                  </p:grpSpPr>
                  <p:sp>
                    <p:nvSpPr>
                      <p:cNvPr id="1288" name="Freeform: Shape 1287">
                        <a:extLst>
                          <a:ext uri="{FF2B5EF4-FFF2-40B4-BE49-F238E27FC236}">
                            <a16:creationId xmlns:a16="http://schemas.microsoft.com/office/drawing/2014/main" id="{8F7C5158-792E-4059-A16A-77F99B3A997D}"/>
                          </a:ext>
                        </a:extLst>
                      </p:cNvPr>
                      <p:cNvSpPr/>
                      <p:nvPr/>
                    </p:nvSpPr>
                    <p:spPr>
                      <a:xfrm>
                        <a:off x="3719619" y="1745743"/>
                        <a:ext cx="3516" cy="4521"/>
                      </a:xfrm>
                      <a:custGeom>
                        <a:avLst/>
                        <a:gdLst>
                          <a:gd name="connsiteX0" fmla="*/ 1382 w 3516"/>
                          <a:gd name="connsiteY0" fmla="*/ 4521 h 4521"/>
                          <a:gd name="connsiteX1" fmla="*/ 3517 w 3516"/>
                          <a:gd name="connsiteY1" fmla="*/ 502 h 4521"/>
                          <a:gd name="connsiteX2" fmla="*/ 2638 w 3516"/>
                          <a:gd name="connsiteY2" fmla="*/ 0 h 4521"/>
                          <a:gd name="connsiteX3" fmla="*/ 1633 w 3516"/>
                          <a:gd name="connsiteY3" fmla="*/ 377 h 4521"/>
                          <a:gd name="connsiteX4" fmla="*/ 0 w 3516"/>
                          <a:gd name="connsiteY4" fmla="*/ 2889 h 4521"/>
                          <a:gd name="connsiteX5" fmla="*/ 0 w 3516"/>
                          <a:gd name="connsiteY5" fmla="*/ 2889 h 4521"/>
                          <a:gd name="connsiteX6" fmla="*/ 377 w 3516"/>
                          <a:gd name="connsiteY6" fmla="*/ 4019 h 4521"/>
                          <a:gd name="connsiteX7" fmla="*/ 1382 w 3516"/>
                          <a:gd name="connsiteY7" fmla="*/ 4521 h 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6" h="4521">
                            <a:moveTo>
                              <a:pt x="1382" y="4521"/>
                            </a:moveTo>
                            <a:lnTo>
                              <a:pt x="3517" y="502"/>
                            </a:lnTo>
                            <a:lnTo>
                              <a:pt x="2638" y="0"/>
                            </a:lnTo>
                            <a:lnTo>
                              <a:pt x="1633" y="377"/>
                            </a:lnTo>
                            <a:cubicBezTo>
                              <a:pt x="754" y="754"/>
                              <a:pt x="126" y="1884"/>
                              <a:pt x="0" y="2889"/>
                            </a:cubicBezTo>
                            <a:lnTo>
                              <a:pt x="0" y="2889"/>
                            </a:lnTo>
                            <a:cubicBezTo>
                              <a:pt x="0" y="3517"/>
                              <a:pt x="126" y="3893"/>
                              <a:pt x="377" y="4019"/>
                            </a:cubicBezTo>
                            <a:cubicBezTo>
                              <a:pt x="754" y="4145"/>
                              <a:pt x="1382" y="4521"/>
                              <a:pt x="1382" y="4521"/>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89" name="Graphic 4">
                        <a:extLst>
                          <a:ext uri="{FF2B5EF4-FFF2-40B4-BE49-F238E27FC236}">
                            <a16:creationId xmlns:a16="http://schemas.microsoft.com/office/drawing/2014/main" id="{84FB7ED1-A2DF-40A1-A747-5F7CF3F14040}"/>
                          </a:ext>
                        </a:extLst>
                      </p:cNvPr>
                      <p:cNvGrpSpPr/>
                      <p:nvPr/>
                    </p:nvGrpSpPr>
                    <p:grpSpPr>
                      <a:xfrm>
                        <a:off x="3720498" y="1746245"/>
                        <a:ext cx="2637" cy="4113"/>
                        <a:chOff x="3720498" y="1746245"/>
                        <a:chExt cx="2637" cy="4113"/>
                      </a:xfrm>
                      <a:solidFill>
                        <a:schemeClr val="accent1"/>
                      </a:solidFill>
                    </p:grpSpPr>
                    <p:sp>
                      <p:nvSpPr>
                        <p:cNvPr id="1290" name="Freeform: Shape 1289">
                          <a:extLst>
                            <a:ext uri="{FF2B5EF4-FFF2-40B4-BE49-F238E27FC236}">
                              <a16:creationId xmlns:a16="http://schemas.microsoft.com/office/drawing/2014/main" id="{0B478366-B3AC-4BC2-8AA9-93286E389582}"/>
                            </a:ext>
                          </a:extLst>
                        </p:cNvPr>
                        <p:cNvSpPr/>
                        <p:nvPr/>
                      </p:nvSpPr>
                      <p:spPr>
                        <a:xfrm>
                          <a:off x="3720498" y="1746245"/>
                          <a:ext cx="2637" cy="4113"/>
                        </a:xfrm>
                        <a:custGeom>
                          <a:avLst/>
                          <a:gdLst>
                            <a:gd name="connsiteX0" fmla="*/ 1382 w 2637"/>
                            <a:gd name="connsiteY0" fmla="*/ 4019 h 4113"/>
                            <a:gd name="connsiteX1" fmla="*/ 2512 w 2637"/>
                            <a:gd name="connsiteY1" fmla="*/ 3517 h 4113"/>
                            <a:gd name="connsiteX2" fmla="*/ 2637 w 2637"/>
                            <a:gd name="connsiteY2" fmla="*/ 0 h 4113"/>
                            <a:gd name="connsiteX3" fmla="*/ 1633 w 2637"/>
                            <a:gd name="connsiteY3" fmla="*/ 377 h 4113"/>
                            <a:gd name="connsiteX4" fmla="*/ 0 w 2637"/>
                            <a:gd name="connsiteY4" fmla="*/ 2889 h 4113"/>
                            <a:gd name="connsiteX5" fmla="*/ 0 w 2637"/>
                            <a:gd name="connsiteY5" fmla="*/ 2889 h 4113"/>
                            <a:gd name="connsiteX6" fmla="*/ 377 w 2637"/>
                            <a:gd name="connsiteY6" fmla="*/ 4019 h 4113"/>
                            <a:gd name="connsiteX7" fmla="*/ 1382 w 2637"/>
                            <a:gd name="connsiteY7" fmla="*/ 4019 h 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7" h="4113">
                              <a:moveTo>
                                <a:pt x="1382" y="4019"/>
                              </a:moveTo>
                              <a:lnTo>
                                <a:pt x="2512" y="3517"/>
                              </a:lnTo>
                              <a:lnTo>
                                <a:pt x="2637" y="0"/>
                              </a:lnTo>
                              <a:lnTo>
                                <a:pt x="1633" y="377"/>
                              </a:lnTo>
                              <a:cubicBezTo>
                                <a:pt x="754" y="754"/>
                                <a:pt x="126" y="1884"/>
                                <a:pt x="0" y="2889"/>
                              </a:cubicBezTo>
                              <a:lnTo>
                                <a:pt x="0" y="2889"/>
                              </a:lnTo>
                              <a:cubicBezTo>
                                <a:pt x="0" y="3517"/>
                                <a:pt x="126" y="3893"/>
                                <a:pt x="377" y="4019"/>
                              </a:cubicBezTo>
                              <a:cubicBezTo>
                                <a:pt x="754" y="4145"/>
                                <a:pt x="1130" y="4145"/>
                                <a:pt x="1382" y="4019"/>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91" name="Freeform: Shape 1290">
                          <a:extLst>
                            <a:ext uri="{FF2B5EF4-FFF2-40B4-BE49-F238E27FC236}">
                              <a16:creationId xmlns:a16="http://schemas.microsoft.com/office/drawing/2014/main" id="{6940F6EE-C365-4953-957D-8F7634E50864}"/>
                            </a:ext>
                          </a:extLst>
                        </p:cNvPr>
                        <p:cNvSpPr/>
                        <p:nvPr/>
                      </p:nvSpPr>
                      <p:spPr>
                        <a:xfrm>
                          <a:off x="3721352" y="1747405"/>
                          <a:ext cx="1556" cy="2012"/>
                        </a:xfrm>
                        <a:custGeom>
                          <a:avLst/>
                          <a:gdLst>
                            <a:gd name="connsiteX0" fmla="*/ 1532 w 1556"/>
                            <a:gd name="connsiteY0" fmla="*/ 724 h 2012"/>
                            <a:gd name="connsiteX1" fmla="*/ 653 w 1556"/>
                            <a:gd name="connsiteY1" fmla="*/ 1980 h 2012"/>
                            <a:gd name="connsiteX2" fmla="*/ 25 w 1556"/>
                            <a:gd name="connsiteY2" fmla="*/ 1352 h 2012"/>
                            <a:gd name="connsiteX3" fmla="*/ 904 w 1556"/>
                            <a:gd name="connsiteY3" fmla="*/ 96 h 2012"/>
                            <a:gd name="connsiteX4" fmla="*/ 1532 w 1556"/>
                            <a:gd name="connsiteY4" fmla="*/ 724 h 2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6" h="2012">
                              <a:moveTo>
                                <a:pt x="1532" y="724"/>
                              </a:moveTo>
                              <a:cubicBezTo>
                                <a:pt x="1532" y="1227"/>
                                <a:pt x="1029" y="1855"/>
                                <a:pt x="653" y="1980"/>
                              </a:cubicBezTo>
                              <a:cubicBezTo>
                                <a:pt x="276" y="2106"/>
                                <a:pt x="-101" y="1855"/>
                                <a:pt x="25" y="1352"/>
                              </a:cubicBezTo>
                              <a:cubicBezTo>
                                <a:pt x="25" y="850"/>
                                <a:pt x="527" y="222"/>
                                <a:pt x="904" y="96"/>
                              </a:cubicBezTo>
                              <a:cubicBezTo>
                                <a:pt x="1281" y="-155"/>
                                <a:pt x="1657" y="96"/>
                                <a:pt x="1532" y="724"/>
                              </a:cubicBezTo>
                              <a:close/>
                            </a:path>
                          </a:pathLst>
                        </a:custGeom>
                        <a:solidFill>
                          <a:srgbClr val="52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1292" name="Graphic 4">
                  <a:extLst>
                    <a:ext uri="{FF2B5EF4-FFF2-40B4-BE49-F238E27FC236}">
                      <a16:creationId xmlns:a16="http://schemas.microsoft.com/office/drawing/2014/main" id="{84FB7ED1-A2DF-40A1-A747-5F7CF3F14040}"/>
                    </a:ext>
                  </a:extLst>
                </p:cNvPr>
                <p:cNvGrpSpPr/>
                <p:nvPr/>
              </p:nvGrpSpPr>
              <p:grpSpPr>
                <a:xfrm>
                  <a:off x="3629944" y="1705427"/>
                  <a:ext cx="81385" cy="81636"/>
                  <a:chOff x="3629944" y="1705427"/>
                  <a:chExt cx="81385" cy="81636"/>
                </a:xfrm>
                <a:solidFill>
                  <a:schemeClr val="accent1"/>
                </a:solidFill>
              </p:grpSpPr>
              <p:grpSp>
                <p:nvGrpSpPr>
                  <p:cNvPr id="1293" name="Graphic 4">
                    <a:extLst>
                      <a:ext uri="{FF2B5EF4-FFF2-40B4-BE49-F238E27FC236}">
                        <a16:creationId xmlns:a16="http://schemas.microsoft.com/office/drawing/2014/main" id="{84FB7ED1-A2DF-40A1-A747-5F7CF3F14040}"/>
                      </a:ext>
                    </a:extLst>
                  </p:cNvPr>
                  <p:cNvGrpSpPr/>
                  <p:nvPr/>
                </p:nvGrpSpPr>
                <p:grpSpPr>
                  <a:xfrm>
                    <a:off x="3668250" y="1714595"/>
                    <a:ext cx="36171" cy="56517"/>
                    <a:chOff x="3668250" y="1714595"/>
                    <a:chExt cx="36171" cy="56517"/>
                  </a:xfrm>
                  <a:solidFill>
                    <a:schemeClr val="accent1"/>
                  </a:solidFill>
                </p:grpSpPr>
                <p:sp>
                  <p:nvSpPr>
                    <p:cNvPr id="1294" name="Freeform: Shape 1293">
                      <a:extLst>
                        <a:ext uri="{FF2B5EF4-FFF2-40B4-BE49-F238E27FC236}">
                          <a16:creationId xmlns:a16="http://schemas.microsoft.com/office/drawing/2014/main" id="{541ABE73-EF35-4AE5-A6AE-D0AA62B9FF67}"/>
                        </a:ext>
                      </a:extLst>
                    </p:cNvPr>
                    <p:cNvSpPr/>
                    <p:nvPr/>
                  </p:nvSpPr>
                  <p:spPr>
                    <a:xfrm>
                      <a:off x="3670637" y="1715851"/>
                      <a:ext cx="33785" cy="55261"/>
                    </a:xfrm>
                    <a:custGeom>
                      <a:avLst/>
                      <a:gdLst>
                        <a:gd name="connsiteX0" fmla="*/ 31273 w 33785"/>
                        <a:gd name="connsiteY0" fmla="*/ 1507 h 55261"/>
                        <a:gd name="connsiteX1" fmla="*/ 31273 w 33785"/>
                        <a:gd name="connsiteY1" fmla="*/ 32655 h 55261"/>
                        <a:gd name="connsiteX2" fmla="*/ 28887 w 33785"/>
                        <a:gd name="connsiteY2" fmla="*/ 36799 h 55261"/>
                        <a:gd name="connsiteX3" fmla="*/ 4898 w 33785"/>
                        <a:gd name="connsiteY3" fmla="*/ 50615 h 55261"/>
                        <a:gd name="connsiteX4" fmla="*/ 0 w 33785"/>
                        <a:gd name="connsiteY4" fmla="*/ 54759 h 55261"/>
                        <a:gd name="connsiteX5" fmla="*/ 0 w 33785"/>
                        <a:gd name="connsiteY5" fmla="*/ 55262 h 55261"/>
                        <a:gd name="connsiteX6" fmla="*/ 30645 w 33785"/>
                        <a:gd name="connsiteY6" fmla="*/ 37553 h 55261"/>
                        <a:gd name="connsiteX7" fmla="*/ 33785 w 33785"/>
                        <a:gd name="connsiteY7" fmla="*/ 32152 h 55261"/>
                        <a:gd name="connsiteX8" fmla="*/ 33785 w 33785"/>
                        <a:gd name="connsiteY8" fmla="*/ 0 h 55261"/>
                        <a:gd name="connsiteX9" fmla="*/ 31273 w 33785"/>
                        <a:gd name="connsiteY9" fmla="*/ 1507 h 55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785" h="55261">
                          <a:moveTo>
                            <a:pt x="31273" y="1507"/>
                          </a:moveTo>
                          <a:lnTo>
                            <a:pt x="31273" y="32655"/>
                          </a:lnTo>
                          <a:cubicBezTo>
                            <a:pt x="31273" y="34162"/>
                            <a:pt x="30143" y="36046"/>
                            <a:pt x="28887" y="36799"/>
                          </a:cubicBezTo>
                          <a:lnTo>
                            <a:pt x="4898" y="50615"/>
                          </a:lnTo>
                          <a:lnTo>
                            <a:pt x="0" y="54759"/>
                          </a:lnTo>
                          <a:lnTo>
                            <a:pt x="0" y="55262"/>
                          </a:lnTo>
                          <a:lnTo>
                            <a:pt x="30645" y="37553"/>
                          </a:lnTo>
                          <a:cubicBezTo>
                            <a:pt x="32404" y="36548"/>
                            <a:pt x="33785" y="34162"/>
                            <a:pt x="33785" y="32152"/>
                          </a:cubicBezTo>
                          <a:lnTo>
                            <a:pt x="33785" y="0"/>
                          </a:lnTo>
                          <a:lnTo>
                            <a:pt x="31273" y="1507"/>
                          </a:lnTo>
                          <a:close/>
                        </a:path>
                      </a:pathLst>
                    </a:custGeom>
                    <a:solidFill>
                      <a:srgbClr val="4D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95" name="Graphic 4">
                      <a:extLst>
                        <a:ext uri="{FF2B5EF4-FFF2-40B4-BE49-F238E27FC236}">
                          <a16:creationId xmlns:a16="http://schemas.microsoft.com/office/drawing/2014/main" id="{84FB7ED1-A2DF-40A1-A747-5F7CF3F14040}"/>
                        </a:ext>
                      </a:extLst>
                    </p:cNvPr>
                    <p:cNvGrpSpPr/>
                    <p:nvPr/>
                  </p:nvGrpSpPr>
                  <p:grpSpPr>
                    <a:xfrm>
                      <a:off x="3668250" y="1714595"/>
                      <a:ext cx="36171" cy="56517"/>
                      <a:chOff x="3668250" y="1714595"/>
                      <a:chExt cx="36171" cy="56517"/>
                    </a:xfrm>
                    <a:solidFill>
                      <a:schemeClr val="accent1"/>
                    </a:solidFill>
                  </p:grpSpPr>
                  <p:sp>
                    <p:nvSpPr>
                      <p:cNvPr id="1296" name="Freeform: Shape 1295">
                        <a:extLst>
                          <a:ext uri="{FF2B5EF4-FFF2-40B4-BE49-F238E27FC236}">
                            <a16:creationId xmlns:a16="http://schemas.microsoft.com/office/drawing/2014/main" id="{F955F4C6-2FDB-49B5-A4D4-840E57CC7E56}"/>
                          </a:ext>
                        </a:extLst>
                      </p:cNvPr>
                      <p:cNvSpPr/>
                      <p:nvPr/>
                    </p:nvSpPr>
                    <p:spPr>
                      <a:xfrm>
                        <a:off x="3673149" y="1715977"/>
                        <a:ext cx="28761" cy="50489"/>
                      </a:xfrm>
                      <a:custGeom>
                        <a:avLst/>
                        <a:gdLst>
                          <a:gd name="connsiteX0" fmla="*/ 26375 w 28761"/>
                          <a:gd name="connsiteY0" fmla="*/ 0 h 50489"/>
                          <a:gd name="connsiteX1" fmla="*/ 26375 w 28761"/>
                          <a:gd name="connsiteY1" fmla="*/ 31148 h 50489"/>
                          <a:gd name="connsiteX2" fmla="*/ 23989 w 28761"/>
                          <a:gd name="connsiteY2" fmla="*/ 35292 h 50489"/>
                          <a:gd name="connsiteX3" fmla="*/ 0 w 28761"/>
                          <a:gd name="connsiteY3" fmla="*/ 49108 h 50489"/>
                          <a:gd name="connsiteX4" fmla="*/ 2386 w 28761"/>
                          <a:gd name="connsiteY4" fmla="*/ 50489 h 50489"/>
                          <a:gd name="connsiteX5" fmla="*/ 26375 w 28761"/>
                          <a:gd name="connsiteY5" fmla="*/ 36674 h 50489"/>
                          <a:gd name="connsiteX6" fmla="*/ 28761 w 28761"/>
                          <a:gd name="connsiteY6" fmla="*/ 32529 h 50489"/>
                          <a:gd name="connsiteX7" fmla="*/ 28761 w 28761"/>
                          <a:gd name="connsiteY7" fmla="*/ 1382 h 50489"/>
                          <a:gd name="connsiteX8" fmla="*/ 26375 w 28761"/>
                          <a:gd name="connsiteY8" fmla="*/ 0 h 50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1" h="50489">
                            <a:moveTo>
                              <a:pt x="26375" y="0"/>
                            </a:moveTo>
                            <a:lnTo>
                              <a:pt x="26375" y="31148"/>
                            </a:lnTo>
                            <a:cubicBezTo>
                              <a:pt x="26375" y="32655"/>
                              <a:pt x="25245" y="34539"/>
                              <a:pt x="23989" y="35292"/>
                            </a:cubicBezTo>
                            <a:lnTo>
                              <a:pt x="0" y="49108"/>
                            </a:lnTo>
                            <a:lnTo>
                              <a:pt x="2386" y="50489"/>
                            </a:lnTo>
                            <a:lnTo>
                              <a:pt x="26375" y="36674"/>
                            </a:lnTo>
                            <a:cubicBezTo>
                              <a:pt x="27756" y="35920"/>
                              <a:pt x="28761" y="34036"/>
                              <a:pt x="28761" y="32529"/>
                            </a:cubicBezTo>
                            <a:lnTo>
                              <a:pt x="28761" y="1382"/>
                            </a:lnTo>
                            <a:lnTo>
                              <a:pt x="26375"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97" name="Freeform: Shape 1296">
                        <a:extLst>
                          <a:ext uri="{FF2B5EF4-FFF2-40B4-BE49-F238E27FC236}">
                            <a16:creationId xmlns:a16="http://schemas.microsoft.com/office/drawing/2014/main" id="{66A1AD92-6DBF-4570-A082-1041E48FB211}"/>
                          </a:ext>
                        </a:extLst>
                      </p:cNvPr>
                      <p:cNvSpPr/>
                      <p:nvPr/>
                    </p:nvSpPr>
                    <p:spPr>
                      <a:xfrm>
                        <a:off x="3699524" y="1714595"/>
                        <a:ext cx="4897" cy="2763"/>
                      </a:xfrm>
                      <a:custGeom>
                        <a:avLst/>
                        <a:gdLst>
                          <a:gd name="connsiteX0" fmla="*/ 2637 w 4897"/>
                          <a:gd name="connsiteY0" fmla="*/ 0 h 2763"/>
                          <a:gd name="connsiteX1" fmla="*/ 0 w 4897"/>
                          <a:gd name="connsiteY1" fmla="*/ 1382 h 2763"/>
                          <a:gd name="connsiteX2" fmla="*/ 2386 w 4897"/>
                          <a:gd name="connsiteY2" fmla="*/ 2763 h 2763"/>
                          <a:gd name="connsiteX3" fmla="*/ 4898 w 4897"/>
                          <a:gd name="connsiteY3" fmla="*/ 1256 h 2763"/>
                        </a:gdLst>
                        <a:ahLst/>
                        <a:cxnLst>
                          <a:cxn ang="0">
                            <a:pos x="connsiteX0" y="connsiteY0"/>
                          </a:cxn>
                          <a:cxn ang="0">
                            <a:pos x="connsiteX1" y="connsiteY1"/>
                          </a:cxn>
                          <a:cxn ang="0">
                            <a:pos x="connsiteX2" y="connsiteY2"/>
                          </a:cxn>
                          <a:cxn ang="0">
                            <a:pos x="connsiteX3" y="connsiteY3"/>
                          </a:cxn>
                        </a:cxnLst>
                        <a:rect l="l" t="t" r="r" b="b"/>
                        <a:pathLst>
                          <a:path w="4897" h="2763">
                            <a:moveTo>
                              <a:pt x="2637" y="0"/>
                            </a:moveTo>
                            <a:lnTo>
                              <a:pt x="0" y="1382"/>
                            </a:lnTo>
                            <a:lnTo>
                              <a:pt x="2386" y="2763"/>
                            </a:lnTo>
                            <a:lnTo>
                              <a:pt x="4898" y="1256"/>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98" name="Freeform: Shape 1297">
                        <a:extLst>
                          <a:ext uri="{FF2B5EF4-FFF2-40B4-BE49-F238E27FC236}">
                            <a16:creationId xmlns:a16="http://schemas.microsoft.com/office/drawing/2014/main" id="{C659F4DD-81C4-4D43-956F-DF6691E65651}"/>
                          </a:ext>
                        </a:extLst>
                      </p:cNvPr>
                      <p:cNvSpPr/>
                      <p:nvPr/>
                    </p:nvSpPr>
                    <p:spPr>
                      <a:xfrm>
                        <a:off x="3668250" y="1765084"/>
                        <a:ext cx="7284" cy="5526"/>
                      </a:xfrm>
                      <a:custGeom>
                        <a:avLst/>
                        <a:gdLst>
                          <a:gd name="connsiteX0" fmla="*/ 4898 w 7284"/>
                          <a:gd name="connsiteY0" fmla="*/ 0 h 5526"/>
                          <a:gd name="connsiteX1" fmla="*/ 0 w 7284"/>
                          <a:gd name="connsiteY1" fmla="*/ 4145 h 5526"/>
                          <a:gd name="connsiteX2" fmla="*/ 2386 w 7284"/>
                          <a:gd name="connsiteY2" fmla="*/ 5526 h 5526"/>
                          <a:gd name="connsiteX3" fmla="*/ 7285 w 7284"/>
                          <a:gd name="connsiteY3" fmla="*/ 1382 h 5526"/>
                        </a:gdLst>
                        <a:ahLst/>
                        <a:cxnLst>
                          <a:cxn ang="0">
                            <a:pos x="connsiteX0" y="connsiteY0"/>
                          </a:cxn>
                          <a:cxn ang="0">
                            <a:pos x="connsiteX1" y="connsiteY1"/>
                          </a:cxn>
                          <a:cxn ang="0">
                            <a:pos x="connsiteX2" y="connsiteY2"/>
                          </a:cxn>
                          <a:cxn ang="0">
                            <a:pos x="connsiteX3" y="connsiteY3"/>
                          </a:cxn>
                        </a:cxnLst>
                        <a:rect l="l" t="t" r="r" b="b"/>
                        <a:pathLst>
                          <a:path w="7284" h="5526">
                            <a:moveTo>
                              <a:pt x="4898" y="0"/>
                            </a:moveTo>
                            <a:lnTo>
                              <a:pt x="0" y="4145"/>
                            </a:lnTo>
                            <a:lnTo>
                              <a:pt x="2386" y="5526"/>
                            </a:lnTo>
                            <a:lnTo>
                              <a:pt x="7285" y="1382"/>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99" name="Freeform: Shape 1298">
                        <a:extLst>
                          <a:ext uri="{FF2B5EF4-FFF2-40B4-BE49-F238E27FC236}">
                            <a16:creationId xmlns:a16="http://schemas.microsoft.com/office/drawing/2014/main" id="{1B4EB663-42CE-4C77-8517-41AC33038C62}"/>
                          </a:ext>
                        </a:extLst>
                      </p:cNvPr>
                      <p:cNvSpPr/>
                      <p:nvPr/>
                    </p:nvSpPr>
                    <p:spPr>
                      <a:xfrm>
                        <a:off x="3668250" y="1769229"/>
                        <a:ext cx="2386" cy="1883"/>
                      </a:xfrm>
                      <a:custGeom>
                        <a:avLst/>
                        <a:gdLst>
                          <a:gd name="connsiteX0" fmla="*/ 0 w 2386"/>
                          <a:gd name="connsiteY0" fmla="*/ 0 h 1883"/>
                          <a:gd name="connsiteX1" fmla="*/ 0 w 2386"/>
                          <a:gd name="connsiteY1" fmla="*/ 502 h 1883"/>
                          <a:gd name="connsiteX2" fmla="*/ 2386 w 2386"/>
                          <a:gd name="connsiteY2" fmla="*/ 1884 h 1883"/>
                          <a:gd name="connsiteX3" fmla="*/ 2386 w 2386"/>
                          <a:gd name="connsiteY3" fmla="*/ 1382 h 1883"/>
                        </a:gdLst>
                        <a:ahLst/>
                        <a:cxnLst>
                          <a:cxn ang="0">
                            <a:pos x="connsiteX0" y="connsiteY0"/>
                          </a:cxn>
                          <a:cxn ang="0">
                            <a:pos x="connsiteX1" y="connsiteY1"/>
                          </a:cxn>
                          <a:cxn ang="0">
                            <a:pos x="connsiteX2" y="connsiteY2"/>
                          </a:cxn>
                          <a:cxn ang="0">
                            <a:pos x="connsiteX3" y="connsiteY3"/>
                          </a:cxn>
                        </a:cxnLst>
                        <a:rect l="l" t="t" r="r" b="b"/>
                        <a:pathLst>
                          <a:path w="2386" h="1883">
                            <a:moveTo>
                              <a:pt x="0" y="0"/>
                            </a:moveTo>
                            <a:lnTo>
                              <a:pt x="0" y="502"/>
                            </a:lnTo>
                            <a:lnTo>
                              <a:pt x="2386" y="1884"/>
                            </a:lnTo>
                            <a:lnTo>
                              <a:pt x="2386" y="1382"/>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300" name="Graphic 4">
                    <a:extLst>
                      <a:ext uri="{FF2B5EF4-FFF2-40B4-BE49-F238E27FC236}">
                        <a16:creationId xmlns:a16="http://schemas.microsoft.com/office/drawing/2014/main" id="{84FB7ED1-A2DF-40A1-A747-5F7CF3F14040}"/>
                      </a:ext>
                    </a:extLst>
                  </p:cNvPr>
                  <p:cNvGrpSpPr/>
                  <p:nvPr/>
                </p:nvGrpSpPr>
                <p:grpSpPr>
                  <a:xfrm>
                    <a:off x="3652551" y="1705427"/>
                    <a:ext cx="36171" cy="56643"/>
                    <a:chOff x="3652551" y="1705427"/>
                    <a:chExt cx="36171" cy="56643"/>
                  </a:xfrm>
                  <a:solidFill>
                    <a:schemeClr val="accent1"/>
                  </a:solidFill>
                </p:grpSpPr>
                <p:sp>
                  <p:nvSpPr>
                    <p:cNvPr id="1301" name="Freeform: Shape 1300">
                      <a:extLst>
                        <a:ext uri="{FF2B5EF4-FFF2-40B4-BE49-F238E27FC236}">
                          <a16:creationId xmlns:a16="http://schemas.microsoft.com/office/drawing/2014/main" id="{1F067EA1-C6C1-4271-BE8B-1D3B646B4EA9}"/>
                        </a:ext>
                      </a:extLst>
                    </p:cNvPr>
                    <p:cNvSpPr/>
                    <p:nvPr/>
                  </p:nvSpPr>
                  <p:spPr>
                    <a:xfrm>
                      <a:off x="3654937" y="1706934"/>
                      <a:ext cx="33785" cy="55136"/>
                    </a:xfrm>
                    <a:custGeom>
                      <a:avLst/>
                      <a:gdLst>
                        <a:gd name="connsiteX0" fmla="*/ 31273 w 33785"/>
                        <a:gd name="connsiteY0" fmla="*/ 1382 h 55136"/>
                        <a:gd name="connsiteX1" fmla="*/ 31273 w 33785"/>
                        <a:gd name="connsiteY1" fmla="*/ 32529 h 55136"/>
                        <a:gd name="connsiteX2" fmla="*/ 28887 w 33785"/>
                        <a:gd name="connsiteY2" fmla="*/ 36674 h 55136"/>
                        <a:gd name="connsiteX3" fmla="*/ 4898 w 33785"/>
                        <a:gd name="connsiteY3" fmla="*/ 50489 h 55136"/>
                        <a:gd name="connsiteX4" fmla="*/ 0 w 33785"/>
                        <a:gd name="connsiteY4" fmla="*/ 54634 h 55136"/>
                        <a:gd name="connsiteX5" fmla="*/ 0 w 33785"/>
                        <a:gd name="connsiteY5" fmla="*/ 55136 h 55136"/>
                        <a:gd name="connsiteX6" fmla="*/ 30645 w 33785"/>
                        <a:gd name="connsiteY6" fmla="*/ 37427 h 55136"/>
                        <a:gd name="connsiteX7" fmla="*/ 33785 w 33785"/>
                        <a:gd name="connsiteY7" fmla="*/ 32027 h 55136"/>
                        <a:gd name="connsiteX8" fmla="*/ 33785 w 33785"/>
                        <a:gd name="connsiteY8" fmla="*/ 0 h 55136"/>
                        <a:gd name="connsiteX9" fmla="*/ 31273 w 33785"/>
                        <a:gd name="connsiteY9" fmla="*/ 1382 h 55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785" h="55136">
                          <a:moveTo>
                            <a:pt x="31273" y="1382"/>
                          </a:moveTo>
                          <a:lnTo>
                            <a:pt x="31273" y="32529"/>
                          </a:lnTo>
                          <a:cubicBezTo>
                            <a:pt x="31273" y="34036"/>
                            <a:pt x="30143" y="35920"/>
                            <a:pt x="28887" y="36674"/>
                          </a:cubicBezTo>
                          <a:lnTo>
                            <a:pt x="4898" y="50489"/>
                          </a:lnTo>
                          <a:lnTo>
                            <a:pt x="0" y="54634"/>
                          </a:lnTo>
                          <a:lnTo>
                            <a:pt x="0" y="55136"/>
                          </a:lnTo>
                          <a:lnTo>
                            <a:pt x="30645" y="37427"/>
                          </a:lnTo>
                          <a:cubicBezTo>
                            <a:pt x="32404" y="36423"/>
                            <a:pt x="33785" y="34036"/>
                            <a:pt x="33785" y="32027"/>
                          </a:cubicBezTo>
                          <a:lnTo>
                            <a:pt x="33785" y="0"/>
                          </a:lnTo>
                          <a:lnTo>
                            <a:pt x="31273" y="1382"/>
                          </a:lnTo>
                          <a:close/>
                        </a:path>
                      </a:pathLst>
                    </a:custGeom>
                    <a:solidFill>
                      <a:srgbClr val="4D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02" name="Graphic 4">
                      <a:extLst>
                        <a:ext uri="{FF2B5EF4-FFF2-40B4-BE49-F238E27FC236}">
                          <a16:creationId xmlns:a16="http://schemas.microsoft.com/office/drawing/2014/main" id="{84FB7ED1-A2DF-40A1-A747-5F7CF3F14040}"/>
                        </a:ext>
                      </a:extLst>
                    </p:cNvPr>
                    <p:cNvGrpSpPr/>
                    <p:nvPr/>
                  </p:nvGrpSpPr>
                  <p:grpSpPr>
                    <a:xfrm>
                      <a:off x="3652551" y="1705427"/>
                      <a:ext cx="36171" cy="56643"/>
                      <a:chOff x="3652551" y="1705427"/>
                      <a:chExt cx="36171" cy="56643"/>
                    </a:xfrm>
                    <a:solidFill>
                      <a:schemeClr val="accent1"/>
                    </a:solidFill>
                  </p:grpSpPr>
                  <p:sp>
                    <p:nvSpPr>
                      <p:cNvPr id="1303" name="Freeform: Shape 1302">
                        <a:extLst>
                          <a:ext uri="{FF2B5EF4-FFF2-40B4-BE49-F238E27FC236}">
                            <a16:creationId xmlns:a16="http://schemas.microsoft.com/office/drawing/2014/main" id="{0DA7D3D0-5A1D-4290-A0A7-E450A3BFFE71}"/>
                          </a:ext>
                        </a:extLst>
                      </p:cNvPr>
                      <p:cNvSpPr/>
                      <p:nvPr/>
                    </p:nvSpPr>
                    <p:spPr>
                      <a:xfrm>
                        <a:off x="3657449" y="1706934"/>
                        <a:ext cx="28761" cy="50489"/>
                      </a:xfrm>
                      <a:custGeom>
                        <a:avLst/>
                        <a:gdLst>
                          <a:gd name="connsiteX0" fmla="*/ 26375 w 28761"/>
                          <a:gd name="connsiteY0" fmla="*/ 0 h 50489"/>
                          <a:gd name="connsiteX1" fmla="*/ 26375 w 28761"/>
                          <a:gd name="connsiteY1" fmla="*/ 31148 h 50489"/>
                          <a:gd name="connsiteX2" fmla="*/ 23989 w 28761"/>
                          <a:gd name="connsiteY2" fmla="*/ 35292 h 50489"/>
                          <a:gd name="connsiteX3" fmla="*/ 0 w 28761"/>
                          <a:gd name="connsiteY3" fmla="*/ 49108 h 50489"/>
                          <a:gd name="connsiteX4" fmla="*/ 2386 w 28761"/>
                          <a:gd name="connsiteY4" fmla="*/ 50489 h 50489"/>
                          <a:gd name="connsiteX5" fmla="*/ 26375 w 28761"/>
                          <a:gd name="connsiteY5" fmla="*/ 36674 h 50489"/>
                          <a:gd name="connsiteX6" fmla="*/ 28761 w 28761"/>
                          <a:gd name="connsiteY6" fmla="*/ 32529 h 50489"/>
                          <a:gd name="connsiteX7" fmla="*/ 28761 w 28761"/>
                          <a:gd name="connsiteY7" fmla="*/ 1382 h 50489"/>
                          <a:gd name="connsiteX8" fmla="*/ 26375 w 28761"/>
                          <a:gd name="connsiteY8" fmla="*/ 0 h 50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1" h="50489">
                            <a:moveTo>
                              <a:pt x="26375" y="0"/>
                            </a:moveTo>
                            <a:lnTo>
                              <a:pt x="26375" y="31148"/>
                            </a:lnTo>
                            <a:cubicBezTo>
                              <a:pt x="26375" y="32655"/>
                              <a:pt x="25245" y="34539"/>
                              <a:pt x="23989" y="35292"/>
                            </a:cubicBezTo>
                            <a:lnTo>
                              <a:pt x="0" y="49108"/>
                            </a:lnTo>
                            <a:lnTo>
                              <a:pt x="2386" y="50489"/>
                            </a:lnTo>
                            <a:lnTo>
                              <a:pt x="26375" y="36674"/>
                            </a:lnTo>
                            <a:cubicBezTo>
                              <a:pt x="27756" y="35920"/>
                              <a:pt x="28761" y="34036"/>
                              <a:pt x="28761" y="32529"/>
                            </a:cubicBezTo>
                            <a:lnTo>
                              <a:pt x="28761" y="1382"/>
                            </a:lnTo>
                            <a:lnTo>
                              <a:pt x="26375"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04" name="Freeform: Shape 1303">
                        <a:extLst>
                          <a:ext uri="{FF2B5EF4-FFF2-40B4-BE49-F238E27FC236}">
                            <a16:creationId xmlns:a16="http://schemas.microsoft.com/office/drawing/2014/main" id="{27DDD075-4184-4967-91E7-0F89C86C4276}"/>
                          </a:ext>
                        </a:extLst>
                      </p:cNvPr>
                      <p:cNvSpPr/>
                      <p:nvPr/>
                    </p:nvSpPr>
                    <p:spPr>
                      <a:xfrm>
                        <a:off x="3683824" y="1705427"/>
                        <a:ext cx="4897" cy="2888"/>
                      </a:xfrm>
                      <a:custGeom>
                        <a:avLst/>
                        <a:gdLst>
                          <a:gd name="connsiteX0" fmla="*/ 2512 w 4897"/>
                          <a:gd name="connsiteY0" fmla="*/ 0 h 2888"/>
                          <a:gd name="connsiteX1" fmla="*/ 0 w 4897"/>
                          <a:gd name="connsiteY1" fmla="*/ 1507 h 2888"/>
                          <a:gd name="connsiteX2" fmla="*/ 2386 w 4897"/>
                          <a:gd name="connsiteY2" fmla="*/ 2889 h 2888"/>
                          <a:gd name="connsiteX3" fmla="*/ 4898 w 4897"/>
                          <a:gd name="connsiteY3" fmla="*/ 1382 h 2888"/>
                        </a:gdLst>
                        <a:ahLst/>
                        <a:cxnLst>
                          <a:cxn ang="0">
                            <a:pos x="connsiteX0" y="connsiteY0"/>
                          </a:cxn>
                          <a:cxn ang="0">
                            <a:pos x="connsiteX1" y="connsiteY1"/>
                          </a:cxn>
                          <a:cxn ang="0">
                            <a:pos x="connsiteX2" y="connsiteY2"/>
                          </a:cxn>
                          <a:cxn ang="0">
                            <a:pos x="connsiteX3" y="connsiteY3"/>
                          </a:cxn>
                        </a:cxnLst>
                        <a:rect l="l" t="t" r="r" b="b"/>
                        <a:pathLst>
                          <a:path w="4897" h="2888">
                            <a:moveTo>
                              <a:pt x="2512" y="0"/>
                            </a:moveTo>
                            <a:lnTo>
                              <a:pt x="0" y="1507"/>
                            </a:lnTo>
                            <a:lnTo>
                              <a:pt x="2386" y="2889"/>
                            </a:lnTo>
                            <a:lnTo>
                              <a:pt x="4898" y="1382"/>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05" name="Freeform: Shape 1304">
                        <a:extLst>
                          <a:ext uri="{FF2B5EF4-FFF2-40B4-BE49-F238E27FC236}">
                            <a16:creationId xmlns:a16="http://schemas.microsoft.com/office/drawing/2014/main" id="{5A763A76-17F0-4E20-B5BF-0AF6D378BC6B}"/>
                          </a:ext>
                        </a:extLst>
                      </p:cNvPr>
                      <p:cNvSpPr/>
                      <p:nvPr/>
                    </p:nvSpPr>
                    <p:spPr>
                      <a:xfrm>
                        <a:off x="3652551" y="1756042"/>
                        <a:ext cx="7284" cy="5400"/>
                      </a:xfrm>
                      <a:custGeom>
                        <a:avLst/>
                        <a:gdLst>
                          <a:gd name="connsiteX0" fmla="*/ 4898 w 7284"/>
                          <a:gd name="connsiteY0" fmla="*/ 0 h 5400"/>
                          <a:gd name="connsiteX1" fmla="*/ 0 w 7284"/>
                          <a:gd name="connsiteY1" fmla="*/ 4145 h 5400"/>
                          <a:gd name="connsiteX2" fmla="*/ 2386 w 7284"/>
                          <a:gd name="connsiteY2" fmla="*/ 5401 h 5400"/>
                          <a:gd name="connsiteX3" fmla="*/ 7285 w 7284"/>
                          <a:gd name="connsiteY3" fmla="*/ 1382 h 5400"/>
                        </a:gdLst>
                        <a:ahLst/>
                        <a:cxnLst>
                          <a:cxn ang="0">
                            <a:pos x="connsiteX0" y="connsiteY0"/>
                          </a:cxn>
                          <a:cxn ang="0">
                            <a:pos x="connsiteX1" y="connsiteY1"/>
                          </a:cxn>
                          <a:cxn ang="0">
                            <a:pos x="connsiteX2" y="connsiteY2"/>
                          </a:cxn>
                          <a:cxn ang="0">
                            <a:pos x="connsiteX3" y="connsiteY3"/>
                          </a:cxn>
                        </a:cxnLst>
                        <a:rect l="l" t="t" r="r" b="b"/>
                        <a:pathLst>
                          <a:path w="7284" h="5400">
                            <a:moveTo>
                              <a:pt x="4898" y="0"/>
                            </a:moveTo>
                            <a:lnTo>
                              <a:pt x="0" y="4145"/>
                            </a:lnTo>
                            <a:lnTo>
                              <a:pt x="2386" y="5401"/>
                            </a:lnTo>
                            <a:lnTo>
                              <a:pt x="7285" y="1382"/>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06" name="Freeform: Shape 1305">
                        <a:extLst>
                          <a:ext uri="{FF2B5EF4-FFF2-40B4-BE49-F238E27FC236}">
                            <a16:creationId xmlns:a16="http://schemas.microsoft.com/office/drawing/2014/main" id="{19CFCC35-4B8E-4163-ACCA-BD67A8B6D866}"/>
                          </a:ext>
                        </a:extLst>
                      </p:cNvPr>
                      <p:cNvSpPr/>
                      <p:nvPr/>
                    </p:nvSpPr>
                    <p:spPr>
                      <a:xfrm>
                        <a:off x="3652551" y="1760186"/>
                        <a:ext cx="2386" cy="1883"/>
                      </a:xfrm>
                      <a:custGeom>
                        <a:avLst/>
                        <a:gdLst>
                          <a:gd name="connsiteX0" fmla="*/ 0 w 2386"/>
                          <a:gd name="connsiteY0" fmla="*/ 0 h 1883"/>
                          <a:gd name="connsiteX1" fmla="*/ 0 w 2386"/>
                          <a:gd name="connsiteY1" fmla="*/ 502 h 1883"/>
                          <a:gd name="connsiteX2" fmla="*/ 2386 w 2386"/>
                          <a:gd name="connsiteY2" fmla="*/ 1884 h 1883"/>
                          <a:gd name="connsiteX3" fmla="*/ 2386 w 2386"/>
                          <a:gd name="connsiteY3" fmla="*/ 1256 h 1883"/>
                        </a:gdLst>
                        <a:ahLst/>
                        <a:cxnLst>
                          <a:cxn ang="0">
                            <a:pos x="connsiteX0" y="connsiteY0"/>
                          </a:cxn>
                          <a:cxn ang="0">
                            <a:pos x="connsiteX1" y="connsiteY1"/>
                          </a:cxn>
                          <a:cxn ang="0">
                            <a:pos x="connsiteX2" y="connsiteY2"/>
                          </a:cxn>
                          <a:cxn ang="0">
                            <a:pos x="connsiteX3" y="connsiteY3"/>
                          </a:cxn>
                        </a:cxnLst>
                        <a:rect l="l" t="t" r="r" b="b"/>
                        <a:pathLst>
                          <a:path w="2386" h="1883">
                            <a:moveTo>
                              <a:pt x="0" y="0"/>
                            </a:moveTo>
                            <a:lnTo>
                              <a:pt x="0" y="502"/>
                            </a:lnTo>
                            <a:lnTo>
                              <a:pt x="2386" y="1884"/>
                            </a:lnTo>
                            <a:lnTo>
                              <a:pt x="2386" y="1256"/>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307" name="Graphic 4">
                    <a:extLst>
                      <a:ext uri="{FF2B5EF4-FFF2-40B4-BE49-F238E27FC236}">
                        <a16:creationId xmlns:a16="http://schemas.microsoft.com/office/drawing/2014/main" id="{84FB7ED1-A2DF-40A1-A747-5F7CF3F14040}"/>
                      </a:ext>
                    </a:extLst>
                  </p:cNvPr>
                  <p:cNvGrpSpPr/>
                  <p:nvPr/>
                </p:nvGrpSpPr>
                <p:grpSpPr>
                  <a:xfrm>
                    <a:off x="3629944" y="1714219"/>
                    <a:ext cx="81385" cy="72844"/>
                    <a:chOff x="3629944" y="1714219"/>
                    <a:chExt cx="81385" cy="72844"/>
                  </a:xfrm>
                  <a:solidFill>
                    <a:schemeClr val="accent1"/>
                  </a:solidFill>
                </p:grpSpPr>
                <p:grpSp>
                  <p:nvGrpSpPr>
                    <p:cNvPr id="1308" name="Graphic 4">
                      <a:extLst>
                        <a:ext uri="{FF2B5EF4-FFF2-40B4-BE49-F238E27FC236}">
                          <a16:creationId xmlns:a16="http://schemas.microsoft.com/office/drawing/2014/main" id="{84FB7ED1-A2DF-40A1-A747-5F7CF3F14040}"/>
                        </a:ext>
                      </a:extLst>
                    </p:cNvPr>
                    <p:cNvGrpSpPr/>
                    <p:nvPr/>
                  </p:nvGrpSpPr>
                  <p:grpSpPr>
                    <a:xfrm>
                      <a:off x="3629944" y="1734565"/>
                      <a:ext cx="81385" cy="52498"/>
                      <a:chOff x="3629944" y="1734565"/>
                      <a:chExt cx="81385" cy="52498"/>
                    </a:xfrm>
                    <a:solidFill>
                      <a:schemeClr val="accent1"/>
                    </a:solidFill>
                  </p:grpSpPr>
                  <p:grpSp>
                    <p:nvGrpSpPr>
                      <p:cNvPr id="1309" name="Graphic 4">
                        <a:extLst>
                          <a:ext uri="{FF2B5EF4-FFF2-40B4-BE49-F238E27FC236}">
                            <a16:creationId xmlns:a16="http://schemas.microsoft.com/office/drawing/2014/main" id="{84FB7ED1-A2DF-40A1-A747-5F7CF3F14040}"/>
                          </a:ext>
                        </a:extLst>
                      </p:cNvPr>
                      <p:cNvGrpSpPr/>
                      <p:nvPr/>
                    </p:nvGrpSpPr>
                    <p:grpSpPr>
                      <a:xfrm>
                        <a:off x="3629944" y="1735821"/>
                        <a:ext cx="81385" cy="47098"/>
                        <a:chOff x="3629944" y="1735821"/>
                        <a:chExt cx="81385" cy="47098"/>
                      </a:xfrm>
                      <a:solidFill>
                        <a:srgbClr val="CC9545"/>
                      </a:solidFill>
                    </p:grpSpPr>
                    <p:sp>
                      <p:nvSpPr>
                        <p:cNvPr id="1310" name="Freeform: Shape 1309">
                          <a:extLst>
                            <a:ext uri="{FF2B5EF4-FFF2-40B4-BE49-F238E27FC236}">
                              <a16:creationId xmlns:a16="http://schemas.microsoft.com/office/drawing/2014/main" id="{3F672F0A-1035-4909-8618-A7B2313C6960}"/>
                            </a:ext>
                          </a:extLst>
                        </p:cNvPr>
                        <p:cNvSpPr/>
                        <p:nvPr/>
                      </p:nvSpPr>
                      <p:spPr>
                        <a:xfrm>
                          <a:off x="3629944" y="1735821"/>
                          <a:ext cx="43707" cy="25244"/>
                        </a:xfrm>
                        <a:custGeom>
                          <a:avLst/>
                          <a:gdLst>
                            <a:gd name="connsiteX0" fmla="*/ 3391 w 43707"/>
                            <a:gd name="connsiteY0" fmla="*/ 25245 h 25244"/>
                            <a:gd name="connsiteX1" fmla="*/ 0 w 43707"/>
                            <a:gd name="connsiteY1" fmla="*/ 23361 h 25244"/>
                            <a:gd name="connsiteX2" fmla="*/ 40316 w 43707"/>
                            <a:gd name="connsiteY2" fmla="*/ 0 h 25244"/>
                            <a:gd name="connsiteX3" fmla="*/ 43707 w 43707"/>
                            <a:gd name="connsiteY3" fmla="*/ 2010 h 25244"/>
                          </a:gdLst>
                          <a:ahLst/>
                          <a:cxnLst>
                            <a:cxn ang="0">
                              <a:pos x="connsiteX0" y="connsiteY0"/>
                            </a:cxn>
                            <a:cxn ang="0">
                              <a:pos x="connsiteX1" y="connsiteY1"/>
                            </a:cxn>
                            <a:cxn ang="0">
                              <a:pos x="connsiteX2" y="connsiteY2"/>
                            </a:cxn>
                            <a:cxn ang="0">
                              <a:pos x="connsiteX3" y="connsiteY3"/>
                            </a:cxn>
                          </a:cxnLst>
                          <a:rect l="l" t="t" r="r" b="b"/>
                          <a:pathLst>
                            <a:path w="43707" h="25244">
                              <a:moveTo>
                                <a:pt x="3391" y="25245"/>
                              </a:moveTo>
                              <a:lnTo>
                                <a:pt x="0" y="23361"/>
                              </a:lnTo>
                              <a:lnTo>
                                <a:pt x="40316" y="0"/>
                              </a:lnTo>
                              <a:lnTo>
                                <a:pt x="43707" y="2010"/>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1" name="Freeform: Shape 1310">
                          <a:extLst>
                            <a:ext uri="{FF2B5EF4-FFF2-40B4-BE49-F238E27FC236}">
                              <a16:creationId xmlns:a16="http://schemas.microsoft.com/office/drawing/2014/main" id="{B7B2AC3F-F17B-471A-89A3-12B3F7ED1C8C}"/>
                            </a:ext>
                          </a:extLst>
                        </p:cNvPr>
                        <p:cNvSpPr/>
                        <p:nvPr/>
                      </p:nvSpPr>
                      <p:spPr>
                        <a:xfrm>
                          <a:off x="3667623" y="1757674"/>
                          <a:ext cx="43707" cy="25244"/>
                        </a:xfrm>
                        <a:custGeom>
                          <a:avLst/>
                          <a:gdLst>
                            <a:gd name="connsiteX0" fmla="*/ 3391 w 43707"/>
                            <a:gd name="connsiteY0" fmla="*/ 25245 h 25244"/>
                            <a:gd name="connsiteX1" fmla="*/ 0 w 43707"/>
                            <a:gd name="connsiteY1" fmla="*/ 23235 h 25244"/>
                            <a:gd name="connsiteX2" fmla="*/ 40316 w 43707"/>
                            <a:gd name="connsiteY2" fmla="*/ 0 h 25244"/>
                            <a:gd name="connsiteX3" fmla="*/ 43707 w 43707"/>
                            <a:gd name="connsiteY3" fmla="*/ 1884 h 25244"/>
                          </a:gdLst>
                          <a:ahLst/>
                          <a:cxnLst>
                            <a:cxn ang="0">
                              <a:pos x="connsiteX0" y="connsiteY0"/>
                            </a:cxn>
                            <a:cxn ang="0">
                              <a:pos x="connsiteX1" y="connsiteY1"/>
                            </a:cxn>
                            <a:cxn ang="0">
                              <a:pos x="connsiteX2" y="connsiteY2"/>
                            </a:cxn>
                            <a:cxn ang="0">
                              <a:pos x="connsiteX3" y="connsiteY3"/>
                            </a:cxn>
                          </a:cxnLst>
                          <a:rect l="l" t="t" r="r" b="b"/>
                          <a:pathLst>
                            <a:path w="43707" h="25244">
                              <a:moveTo>
                                <a:pt x="3391" y="25245"/>
                              </a:moveTo>
                              <a:lnTo>
                                <a:pt x="0" y="23235"/>
                              </a:lnTo>
                              <a:lnTo>
                                <a:pt x="40316" y="0"/>
                              </a:lnTo>
                              <a:lnTo>
                                <a:pt x="43707" y="1884"/>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2" name="Freeform: Shape 1311">
                          <a:extLst>
                            <a:ext uri="{FF2B5EF4-FFF2-40B4-BE49-F238E27FC236}">
                              <a16:creationId xmlns:a16="http://schemas.microsoft.com/office/drawing/2014/main" id="{440ECD81-2AE3-4774-95E2-DA578D55E492}"/>
                            </a:ext>
                          </a:extLst>
                        </p:cNvPr>
                        <p:cNvSpPr/>
                        <p:nvPr/>
                      </p:nvSpPr>
                      <p:spPr>
                        <a:xfrm>
                          <a:off x="3648783" y="1746748"/>
                          <a:ext cx="43707" cy="25244"/>
                        </a:xfrm>
                        <a:custGeom>
                          <a:avLst/>
                          <a:gdLst>
                            <a:gd name="connsiteX0" fmla="*/ 3391 w 43707"/>
                            <a:gd name="connsiteY0" fmla="*/ 25245 h 25244"/>
                            <a:gd name="connsiteX1" fmla="*/ 0 w 43707"/>
                            <a:gd name="connsiteY1" fmla="*/ 23235 h 25244"/>
                            <a:gd name="connsiteX2" fmla="*/ 40316 w 43707"/>
                            <a:gd name="connsiteY2" fmla="*/ 0 h 25244"/>
                            <a:gd name="connsiteX3" fmla="*/ 43707 w 43707"/>
                            <a:gd name="connsiteY3" fmla="*/ 2010 h 25244"/>
                          </a:gdLst>
                          <a:ahLst/>
                          <a:cxnLst>
                            <a:cxn ang="0">
                              <a:pos x="connsiteX0" y="connsiteY0"/>
                            </a:cxn>
                            <a:cxn ang="0">
                              <a:pos x="connsiteX1" y="connsiteY1"/>
                            </a:cxn>
                            <a:cxn ang="0">
                              <a:pos x="connsiteX2" y="connsiteY2"/>
                            </a:cxn>
                            <a:cxn ang="0">
                              <a:pos x="connsiteX3" y="connsiteY3"/>
                            </a:cxn>
                          </a:cxnLst>
                          <a:rect l="l" t="t" r="r" b="b"/>
                          <a:pathLst>
                            <a:path w="43707" h="25244">
                              <a:moveTo>
                                <a:pt x="3391" y="25245"/>
                              </a:moveTo>
                              <a:lnTo>
                                <a:pt x="0" y="23235"/>
                              </a:lnTo>
                              <a:lnTo>
                                <a:pt x="40316" y="0"/>
                              </a:lnTo>
                              <a:lnTo>
                                <a:pt x="43707" y="2010"/>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13" name="Freeform: Shape 1312">
                        <a:extLst>
                          <a:ext uri="{FF2B5EF4-FFF2-40B4-BE49-F238E27FC236}">
                            <a16:creationId xmlns:a16="http://schemas.microsoft.com/office/drawing/2014/main" id="{5A08B4EF-D8E1-4151-9189-D6BE0489AEC1}"/>
                          </a:ext>
                        </a:extLst>
                      </p:cNvPr>
                      <p:cNvSpPr/>
                      <p:nvPr/>
                    </p:nvSpPr>
                    <p:spPr>
                      <a:xfrm>
                        <a:off x="3633335" y="1737830"/>
                        <a:ext cx="40316" cy="27505"/>
                      </a:xfrm>
                      <a:custGeom>
                        <a:avLst/>
                        <a:gdLst>
                          <a:gd name="connsiteX0" fmla="*/ 0 w 40316"/>
                          <a:gd name="connsiteY0" fmla="*/ 27505 h 27505"/>
                          <a:gd name="connsiteX1" fmla="*/ 0 w 40316"/>
                          <a:gd name="connsiteY1" fmla="*/ 23235 h 27505"/>
                          <a:gd name="connsiteX2" fmla="*/ 40316 w 40316"/>
                          <a:gd name="connsiteY2" fmla="*/ 0 h 27505"/>
                          <a:gd name="connsiteX3" fmla="*/ 40316 w 40316"/>
                          <a:gd name="connsiteY3" fmla="*/ 4270 h 27505"/>
                        </a:gdLst>
                        <a:ahLst/>
                        <a:cxnLst>
                          <a:cxn ang="0">
                            <a:pos x="connsiteX0" y="connsiteY0"/>
                          </a:cxn>
                          <a:cxn ang="0">
                            <a:pos x="connsiteX1" y="connsiteY1"/>
                          </a:cxn>
                          <a:cxn ang="0">
                            <a:pos x="connsiteX2" y="connsiteY2"/>
                          </a:cxn>
                          <a:cxn ang="0">
                            <a:pos x="connsiteX3" y="connsiteY3"/>
                          </a:cxn>
                        </a:cxnLst>
                        <a:rect l="l" t="t" r="r" b="b"/>
                        <a:pathLst>
                          <a:path w="40316" h="27505">
                            <a:moveTo>
                              <a:pt x="0" y="27505"/>
                            </a:moveTo>
                            <a:lnTo>
                              <a:pt x="0" y="23235"/>
                            </a:lnTo>
                            <a:lnTo>
                              <a:pt x="40316" y="0"/>
                            </a:lnTo>
                            <a:lnTo>
                              <a:pt x="40316" y="4270"/>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4" name="Freeform: Shape 1313">
                        <a:extLst>
                          <a:ext uri="{FF2B5EF4-FFF2-40B4-BE49-F238E27FC236}">
                            <a16:creationId xmlns:a16="http://schemas.microsoft.com/office/drawing/2014/main" id="{08548D34-FDEC-42AA-B5BF-218A5C0127C4}"/>
                          </a:ext>
                        </a:extLst>
                      </p:cNvPr>
                      <p:cNvSpPr/>
                      <p:nvPr/>
                    </p:nvSpPr>
                    <p:spPr>
                      <a:xfrm>
                        <a:off x="3667623" y="1780909"/>
                        <a:ext cx="3390" cy="6154"/>
                      </a:xfrm>
                      <a:custGeom>
                        <a:avLst/>
                        <a:gdLst>
                          <a:gd name="connsiteX0" fmla="*/ 3391 w 3390"/>
                          <a:gd name="connsiteY0" fmla="*/ 6154 h 6154"/>
                          <a:gd name="connsiteX1" fmla="*/ 0 w 3390"/>
                          <a:gd name="connsiteY1" fmla="*/ 4270 h 6154"/>
                          <a:gd name="connsiteX2" fmla="*/ 0 w 3390"/>
                          <a:gd name="connsiteY2" fmla="*/ 0 h 6154"/>
                          <a:gd name="connsiteX3" fmla="*/ 3391 w 3390"/>
                          <a:gd name="connsiteY3" fmla="*/ 2010 h 6154"/>
                        </a:gdLst>
                        <a:ahLst/>
                        <a:cxnLst>
                          <a:cxn ang="0">
                            <a:pos x="connsiteX0" y="connsiteY0"/>
                          </a:cxn>
                          <a:cxn ang="0">
                            <a:pos x="connsiteX1" y="connsiteY1"/>
                          </a:cxn>
                          <a:cxn ang="0">
                            <a:pos x="connsiteX2" y="connsiteY2"/>
                          </a:cxn>
                          <a:cxn ang="0">
                            <a:pos x="connsiteX3" y="connsiteY3"/>
                          </a:cxn>
                        </a:cxnLst>
                        <a:rect l="l" t="t" r="r" b="b"/>
                        <a:pathLst>
                          <a:path w="3390" h="6154">
                            <a:moveTo>
                              <a:pt x="3391" y="6154"/>
                            </a:moveTo>
                            <a:lnTo>
                              <a:pt x="0" y="4270"/>
                            </a:lnTo>
                            <a:lnTo>
                              <a:pt x="0" y="0"/>
                            </a:lnTo>
                            <a:lnTo>
                              <a:pt x="3391" y="201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5" name="Freeform: Shape 1314">
                        <a:extLst>
                          <a:ext uri="{FF2B5EF4-FFF2-40B4-BE49-F238E27FC236}">
                            <a16:creationId xmlns:a16="http://schemas.microsoft.com/office/drawing/2014/main" id="{62413AF6-B1E5-4194-A7CA-2352D8998C8F}"/>
                          </a:ext>
                        </a:extLst>
                      </p:cNvPr>
                      <p:cNvSpPr/>
                      <p:nvPr/>
                    </p:nvSpPr>
                    <p:spPr>
                      <a:xfrm>
                        <a:off x="3671013" y="1759558"/>
                        <a:ext cx="40316" cy="27505"/>
                      </a:xfrm>
                      <a:custGeom>
                        <a:avLst/>
                        <a:gdLst>
                          <a:gd name="connsiteX0" fmla="*/ 0 w 40316"/>
                          <a:gd name="connsiteY0" fmla="*/ 27505 h 27505"/>
                          <a:gd name="connsiteX1" fmla="*/ 0 w 40316"/>
                          <a:gd name="connsiteY1" fmla="*/ 23361 h 27505"/>
                          <a:gd name="connsiteX2" fmla="*/ 40316 w 40316"/>
                          <a:gd name="connsiteY2" fmla="*/ 0 h 27505"/>
                          <a:gd name="connsiteX3" fmla="*/ 40316 w 40316"/>
                          <a:gd name="connsiteY3" fmla="*/ 4270 h 27505"/>
                        </a:gdLst>
                        <a:ahLst/>
                        <a:cxnLst>
                          <a:cxn ang="0">
                            <a:pos x="connsiteX0" y="connsiteY0"/>
                          </a:cxn>
                          <a:cxn ang="0">
                            <a:pos x="connsiteX1" y="connsiteY1"/>
                          </a:cxn>
                          <a:cxn ang="0">
                            <a:pos x="connsiteX2" y="connsiteY2"/>
                          </a:cxn>
                          <a:cxn ang="0">
                            <a:pos x="connsiteX3" y="connsiteY3"/>
                          </a:cxn>
                        </a:cxnLst>
                        <a:rect l="l" t="t" r="r" b="b"/>
                        <a:pathLst>
                          <a:path w="40316" h="27505">
                            <a:moveTo>
                              <a:pt x="0" y="27505"/>
                            </a:moveTo>
                            <a:lnTo>
                              <a:pt x="0" y="23361"/>
                            </a:lnTo>
                            <a:lnTo>
                              <a:pt x="40316" y="0"/>
                            </a:lnTo>
                            <a:lnTo>
                              <a:pt x="40316" y="427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6" name="Freeform: Shape 1315">
                        <a:extLst>
                          <a:ext uri="{FF2B5EF4-FFF2-40B4-BE49-F238E27FC236}">
                            <a16:creationId xmlns:a16="http://schemas.microsoft.com/office/drawing/2014/main" id="{0D94A1A2-760B-4CBB-9B6C-7EFFA913A21E}"/>
                          </a:ext>
                        </a:extLst>
                      </p:cNvPr>
                      <p:cNvSpPr/>
                      <p:nvPr/>
                    </p:nvSpPr>
                    <p:spPr>
                      <a:xfrm>
                        <a:off x="3652174" y="1748757"/>
                        <a:ext cx="40316" cy="27505"/>
                      </a:xfrm>
                      <a:custGeom>
                        <a:avLst/>
                        <a:gdLst>
                          <a:gd name="connsiteX0" fmla="*/ 0 w 40316"/>
                          <a:gd name="connsiteY0" fmla="*/ 27505 h 27505"/>
                          <a:gd name="connsiteX1" fmla="*/ 0 w 40316"/>
                          <a:gd name="connsiteY1" fmla="*/ 23235 h 27505"/>
                          <a:gd name="connsiteX2" fmla="*/ 40316 w 40316"/>
                          <a:gd name="connsiteY2" fmla="*/ 0 h 27505"/>
                          <a:gd name="connsiteX3" fmla="*/ 40316 w 40316"/>
                          <a:gd name="connsiteY3" fmla="*/ 4145 h 27505"/>
                        </a:gdLst>
                        <a:ahLst/>
                        <a:cxnLst>
                          <a:cxn ang="0">
                            <a:pos x="connsiteX0" y="connsiteY0"/>
                          </a:cxn>
                          <a:cxn ang="0">
                            <a:pos x="connsiteX1" y="connsiteY1"/>
                          </a:cxn>
                          <a:cxn ang="0">
                            <a:pos x="connsiteX2" y="connsiteY2"/>
                          </a:cxn>
                          <a:cxn ang="0">
                            <a:pos x="connsiteX3" y="connsiteY3"/>
                          </a:cxn>
                        </a:cxnLst>
                        <a:rect l="l" t="t" r="r" b="b"/>
                        <a:pathLst>
                          <a:path w="40316" h="27505">
                            <a:moveTo>
                              <a:pt x="0" y="27505"/>
                            </a:moveTo>
                            <a:lnTo>
                              <a:pt x="0" y="23235"/>
                            </a:lnTo>
                            <a:lnTo>
                              <a:pt x="40316" y="0"/>
                            </a:lnTo>
                            <a:lnTo>
                              <a:pt x="40316" y="4145"/>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17" name="Graphic 4">
                        <a:extLst>
                          <a:ext uri="{FF2B5EF4-FFF2-40B4-BE49-F238E27FC236}">
                            <a16:creationId xmlns:a16="http://schemas.microsoft.com/office/drawing/2014/main" id="{84FB7ED1-A2DF-40A1-A747-5F7CF3F14040}"/>
                          </a:ext>
                        </a:extLst>
                      </p:cNvPr>
                      <p:cNvGrpSpPr/>
                      <p:nvPr/>
                    </p:nvGrpSpPr>
                    <p:grpSpPr>
                      <a:xfrm>
                        <a:off x="3629944" y="1754409"/>
                        <a:ext cx="47098" cy="28510"/>
                        <a:chOff x="3629944" y="1754409"/>
                        <a:chExt cx="47098" cy="28510"/>
                      </a:xfrm>
                      <a:solidFill>
                        <a:schemeClr val="accent1"/>
                      </a:solidFill>
                    </p:grpSpPr>
                    <p:sp>
                      <p:nvSpPr>
                        <p:cNvPr id="1318" name="Freeform: Shape 1317">
                          <a:extLst>
                            <a:ext uri="{FF2B5EF4-FFF2-40B4-BE49-F238E27FC236}">
                              <a16:creationId xmlns:a16="http://schemas.microsoft.com/office/drawing/2014/main" id="{916E082B-7A4B-4838-AB15-7E962EA34E66}"/>
                            </a:ext>
                          </a:extLst>
                        </p:cNvPr>
                        <p:cNvSpPr/>
                        <p:nvPr/>
                      </p:nvSpPr>
                      <p:spPr>
                        <a:xfrm>
                          <a:off x="3629944" y="1754409"/>
                          <a:ext cx="47098" cy="27128"/>
                        </a:xfrm>
                        <a:custGeom>
                          <a:avLst/>
                          <a:gdLst>
                            <a:gd name="connsiteX0" fmla="*/ 47098 w 47098"/>
                            <a:gd name="connsiteY0" fmla="*/ 23737 h 27128"/>
                            <a:gd name="connsiteX1" fmla="*/ 41069 w 47098"/>
                            <a:gd name="connsiteY1" fmla="*/ 27129 h 27128"/>
                            <a:gd name="connsiteX2" fmla="*/ 0 w 47098"/>
                            <a:gd name="connsiteY2" fmla="*/ 3391 h 27128"/>
                            <a:gd name="connsiteX3" fmla="*/ 5903 w 47098"/>
                            <a:gd name="connsiteY3" fmla="*/ 0 h 27128"/>
                          </a:gdLst>
                          <a:ahLst/>
                          <a:cxnLst>
                            <a:cxn ang="0">
                              <a:pos x="connsiteX0" y="connsiteY0"/>
                            </a:cxn>
                            <a:cxn ang="0">
                              <a:pos x="connsiteX1" y="connsiteY1"/>
                            </a:cxn>
                            <a:cxn ang="0">
                              <a:pos x="connsiteX2" y="connsiteY2"/>
                            </a:cxn>
                            <a:cxn ang="0">
                              <a:pos x="connsiteX3" y="connsiteY3"/>
                            </a:cxn>
                          </a:cxnLst>
                          <a:rect l="l" t="t" r="r" b="b"/>
                          <a:pathLst>
                            <a:path w="47098" h="27128">
                              <a:moveTo>
                                <a:pt x="47098" y="23737"/>
                              </a:moveTo>
                              <a:lnTo>
                                <a:pt x="41069" y="27129"/>
                              </a:lnTo>
                              <a:lnTo>
                                <a:pt x="0" y="3391"/>
                              </a:lnTo>
                              <a:lnTo>
                                <a:pt x="5903"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9" name="Freeform: Shape 1318">
                          <a:extLst>
                            <a:ext uri="{FF2B5EF4-FFF2-40B4-BE49-F238E27FC236}">
                              <a16:creationId xmlns:a16="http://schemas.microsoft.com/office/drawing/2014/main" id="{CDCA89E6-8612-4CD7-A6A3-057FB75AC5E0}"/>
                            </a:ext>
                          </a:extLst>
                        </p:cNvPr>
                        <p:cNvSpPr/>
                        <p:nvPr/>
                      </p:nvSpPr>
                      <p:spPr>
                        <a:xfrm>
                          <a:off x="3629944" y="1757800"/>
                          <a:ext cx="41069" cy="25118"/>
                        </a:xfrm>
                        <a:custGeom>
                          <a:avLst/>
                          <a:gdLst>
                            <a:gd name="connsiteX0" fmla="*/ 0 w 41069"/>
                            <a:gd name="connsiteY0" fmla="*/ 0 h 25118"/>
                            <a:gd name="connsiteX1" fmla="*/ 0 w 41069"/>
                            <a:gd name="connsiteY1" fmla="*/ 1382 h 25118"/>
                            <a:gd name="connsiteX2" fmla="*/ 41069 w 41069"/>
                            <a:gd name="connsiteY2" fmla="*/ 25119 h 25118"/>
                            <a:gd name="connsiteX3" fmla="*/ 41069 w 41069"/>
                            <a:gd name="connsiteY3" fmla="*/ 23737 h 25118"/>
                          </a:gdLst>
                          <a:ahLst/>
                          <a:cxnLst>
                            <a:cxn ang="0">
                              <a:pos x="connsiteX0" y="connsiteY0"/>
                            </a:cxn>
                            <a:cxn ang="0">
                              <a:pos x="connsiteX1" y="connsiteY1"/>
                            </a:cxn>
                            <a:cxn ang="0">
                              <a:pos x="connsiteX2" y="connsiteY2"/>
                            </a:cxn>
                            <a:cxn ang="0">
                              <a:pos x="connsiteX3" y="connsiteY3"/>
                            </a:cxn>
                          </a:cxnLst>
                          <a:rect l="l" t="t" r="r" b="b"/>
                          <a:pathLst>
                            <a:path w="41069" h="25118">
                              <a:moveTo>
                                <a:pt x="0" y="0"/>
                              </a:moveTo>
                              <a:lnTo>
                                <a:pt x="0" y="1382"/>
                              </a:lnTo>
                              <a:lnTo>
                                <a:pt x="41069" y="25119"/>
                              </a:lnTo>
                              <a:lnTo>
                                <a:pt x="41069" y="23737"/>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0" name="Freeform: Shape 1319">
                          <a:extLst>
                            <a:ext uri="{FF2B5EF4-FFF2-40B4-BE49-F238E27FC236}">
                              <a16:creationId xmlns:a16="http://schemas.microsoft.com/office/drawing/2014/main" id="{DB9881ED-5720-4C25-B71F-0AFD8390A074}"/>
                            </a:ext>
                          </a:extLst>
                        </p:cNvPr>
                        <p:cNvSpPr/>
                        <p:nvPr/>
                      </p:nvSpPr>
                      <p:spPr>
                        <a:xfrm>
                          <a:off x="3671013" y="1778146"/>
                          <a:ext cx="6028" cy="4772"/>
                        </a:xfrm>
                        <a:custGeom>
                          <a:avLst/>
                          <a:gdLst>
                            <a:gd name="connsiteX0" fmla="*/ 0 w 6028"/>
                            <a:gd name="connsiteY0" fmla="*/ 3391 h 4772"/>
                            <a:gd name="connsiteX1" fmla="*/ 0 w 6028"/>
                            <a:gd name="connsiteY1" fmla="*/ 4773 h 4772"/>
                            <a:gd name="connsiteX2" fmla="*/ 6029 w 6028"/>
                            <a:gd name="connsiteY2" fmla="*/ 1256 h 4772"/>
                            <a:gd name="connsiteX3" fmla="*/ 6029 w 6028"/>
                            <a:gd name="connsiteY3" fmla="*/ 0 h 4772"/>
                          </a:gdLst>
                          <a:ahLst/>
                          <a:cxnLst>
                            <a:cxn ang="0">
                              <a:pos x="connsiteX0" y="connsiteY0"/>
                            </a:cxn>
                            <a:cxn ang="0">
                              <a:pos x="connsiteX1" y="connsiteY1"/>
                            </a:cxn>
                            <a:cxn ang="0">
                              <a:pos x="connsiteX2" y="connsiteY2"/>
                            </a:cxn>
                            <a:cxn ang="0">
                              <a:pos x="connsiteX3" y="connsiteY3"/>
                            </a:cxn>
                          </a:cxnLst>
                          <a:rect l="l" t="t" r="r" b="b"/>
                          <a:pathLst>
                            <a:path w="6028" h="4772">
                              <a:moveTo>
                                <a:pt x="0" y="3391"/>
                              </a:moveTo>
                              <a:lnTo>
                                <a:pt x="0" y="4773"/>
                              </a:lnTo>
                              <a:lnTo>
                                <a:pt x="6029" y="1256"/>
                              </a:lnTo>
                              <a:lnTo>
                                <a:pt x="6029"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21" name="Graphic 4">
                        <a:extLst>
                          <a:ext uri="{FF2B5EF4-FFF2-40B4-BE49-F238E27FC236}">
                            <a16:creationId xmlns:a16="http://schemas.microsoft.com/office/drawing/2014/main" id="{84FB7ED1-A2DF-40A1-A747-5F7CF3F14040}"/>
                          </a:ext>
                        </a:extLst>
                      </p:cNvPr>
                      <p:cNvGrpSpPr/>
                      <p:nvPr/>
                    </p:nvGrpSpPr>
                    <p:grpSpPr>
                      <a:xfrm>
                        <a:off x="3638484" y="1749385"/>
                        <a:ext cx="47098" cy="28510"/>
                        <a:chOff x="3638484" y="1749385"/>
                        <a:chExt cx="47098" cy="28510"/>
                      </a:xfrm>
                      <a:solidFill>
                        <a:schemeClr val="accent1"/>
                      </a:solidFill>
                    </p:grpSpPr>
                    <p:sp>
                      <p:nvSpPr>
                        <p:cNvPr id="1322" name="Freeform: Shape 1321">
                          <a:extLst>
                            <a:ext uri="{FF2B5EF4-FFF2-40B4-BE49-F238E27FC236}">
                              <a16:creationId xmlns:a16="http://schemas.microsoft.com/office/drawing/2014/main" id="{E6B5C272-3990-4640-A84D-86160602988E}"/>
                            </a:ext>
                          </a:extLst>
                        </p:cNvPr>
                        <p:cNvSpPr/>
                        <p:nvPr/>
                      </p:nvSpPr>
                      <p:spPr>
                        <a:xfrm>
                          <a:off x="3638484" y="1749385"/>
                          <a:ext cx="47098" cy="27254"/>
                        </a:xfrm>
                        <a:custGeom>
                          <a:avLst/>
                          <a:gdLst>
                            <a:gd name="connsiteX0" fmla="*/ 47098 w 47098"/>
                            <a:gd name="connsiteY0" fmla="*/ 23737 h 27254"/>
                            <a:gd name="connsiteX1" fmla="*/ 41195 w 47098"/>
                            <a:gd name="connsiteY1" fmla="*/ 27254 h 27254"/>
                            <a:gd name="connsiteX2" fmla="*/ 0 w 47098"/>
                            <a:gd name="connsiteY2" fmla="*/ 3517 h 27254"/>
                            <a:gd name="connsiteX3" fmla="*/ 6029 w 47098"/>
                            <a:gd name="connsiteY3" fmla="*/ 0 h 27254"/>
                          </a:gdLst>
                          <a:ahLst/>
                          <a:cxnLst>
                            <a:cxn ang="0">
                              <a:pos x="connsiteX0" y="connsiteY0"/>
                            </a:cxn>
                            <a:cxn ang="0">
                              <a:pos x="connsiteX1" y="connsiteY1"/>
                            </a:cxn>
                            <a:cxn ang="0">
                              <a:pos x="connsiteX2" y="connsiteY2"/>
                            </a:cxn>
                            <a:cxn ang="0">
                              <a:pos x="connsiteX3" y="connsiteY3"/>
                            </a:cxn>
                          </a:cxnLst>
                          <a:rect l="l" t="t" r="r" b="b"/>
                          <a:pathLst>
                            <a:path w="47098" h="27254">
                              <a:moveTo>
                                <a:pt x="47098" y="23737"/>
                              </a:moveTo>
                              <a:lnTo>
                                <a:pt x="41195" y="27254"/>
                              </a:lnTo>
                              <a:lnTo>
                                <a:pt x="0" y="3517"/>
                              </a:lnTo>
                              <a:lnTo>
                                <a:pt x="602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3" name="Freeform: Shape 1322">
                          <a:extLst>
                            <a:ext uri="{FF2B5EF4-FFF2-40B4-BE49-F238E27FC236}">
                              <a16:creationId xmlns:a16="http://schemas.microsoft.com/office/drawing/2014/main" id="{75999F05-D405-4270-916D-B8369F9E49C7}"/>
                            </a:ext>
                          </a:extLst>
                        </p:cNvPr>
                        <p:cNvSpPr/>
                        <p:nvPr/>
                      </p:nvSpPr>
                      <p:spPr>
                        <a:xfrm>
                          <a:off x="3638484" y="1752902"/>
                          <a:ext cx="41195" cy="24993"/>
                        </a:xfrm>
                        <a:custGeom>
                          <a:avLst/>
                          <a:gdLst>
                            <a:gd name="connsiteX0" fmla="*/ 0 w 41195"/>
                            <a:gd name="connsiteY0" fmla="*/ 0 h 24993"/>
                            <a:gd name="connsiteX1" fmla="*/ 0 w 41195"/>
                            <a:gd name="connsiteY1" fmla="*/ 1256 h 24993"/>
                            <a:gd name="connsiteX2" fmla="*/ 41195 w 41195"/>
                            <a:gd name="connsiteY2" fmla="*/ 24993 h 24993"/>
                            <a:gd name="connsiteX3" fmla="*/ 41195 w 41195"/>
                            <a:gd name="connsiteY3" fmla="*/ 23737 h 24993"/>
                          </a:gdLst>
                          <a:ahLst/>
                          <a:cxnLst>
                            <a:cxn ang="0">
                              <a:pos x="connsiteX0" y="connsiteY0"/>
                            </a:cxn>
                            <a:cxn ang="0">
                              <a:pos x="connsiteX1" y="connsiteY1"/>
                            </a:cxn>
                            <a:cxn ang="0">
                              <a:pos x="connsiteX2" y="connsiteY2"/>
                            </a:cxn>
                            <a:cxn ang="0">
                              <a:pos x="connsiteX3" y="connsiteY3"/>
                            </a:cxn>
                          </a:cxnLst>
                          <a:rect l="l" t="t" r="r" b="b"/>
                          <a:pathLst>
                            <a:path w="41195" h="24993">
                              <a:moveTo>
                                <a:pt x="0" y="0"/>
                              </a:moveTo>
                              <a:lnTo>
                                <a:pt x="0" y="1256"/>
                              </a:lnTo>
                              <a:lnTo>
                                <a:pt x="41195" y="24993"/>
                              </a:lnTo>
                              <a:lnTo>
                                <a:pt x="41195" y="23737"/>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4" name="Freeform: Shape 1323">
                          <a:extLst>
                            <a:ext uri="{FF2B5EF4-FFF2-40B4-BE49-F238E27FC236}">
                              <a16:creationId xmlns:a16="http://schemas.microsoft.com/office/drawing/2014/main" id="{F64B6C75-6D90-4B74-AFA8-55FF92E0FD27}"/>
                            </a:ext>
                          </a:extLst>
                        </p:cNvPr>
                        <p:cNvSpPr/>
                        <p:nvPr/>
                      </p:nvSpPr>
                      <p:spPr>
                        <a:xfrm>
                          <a:off x="3679680" y="1773122"/>
                          <a:ext cx="5902" cy="4772"/>
                        </a:xfrm>
                        <a:custGeom>
                          <a:avLst/>
                          <a:gdLst>
                            <a:gd name="connsiteX0" fmla="*/ 0 w 5902"/>
                            <a:gd name="connsiteY0" fmla="*/ 3517 h 4772"/>
                            <a:gd name="connsiteX1" fmla="*/ 0 w 5902"/>
                            <a:gd name="connsiteY1" fmla="*/ 4773 h 4772"/>
                            <a:gd name="connsiteX2" fmla="*/ 5903 w 5902"/>
                            <a:gd name="connsiteY2" fmla="*/ 1382 h 4772"/>
                            <a:gd name="connsiteX3" fmla="*/ 5903 w 5902"/>
                            <a:gd name="connsiteY3" fmla="*/ 0 h 4772"/>
                          </a:gdLst>
                          <a:ahLst/>
                          <a:cxnLst>
                            <a:cxn ang="0">
                              <a:pos x="connsiteX0" y="connsiteY0"/>
                            </a:cxn>
                            <a:cxn ang="0">
                              <a:pos x="connsiteX1" y="connsiteY1"/>
                            </a:cxn>
                            <a:cxn ang="0">
                              <a:pos x="connsiteX2" y="connsiteY2"/>
                            </a:cxn>
                            <a:cxn ang="0">
                              <a:pos x="connsiteX3" y="connsiteY3"/>
                            </a:cxn>
                          </a:cxnLst>
                          <a:rect l="l" t="t" r="r" b="b"/>
                          <a:pathLst>
                            <a:path w="5902" h="4772">
                              <a:moveTo>
                                <a:pt x="0" y="3517"/>
                              </a:moveTo>
                              <a:lnTo>
                                <a:pt x="0" y="4773"/>
                              </a:lnTo>
                              <a:lnTo>
                                <a:pt x="5903" y="1382"/>
                              </a:lnTo>
                              <a:lnTo>
                                <a:pt x="5903"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25" name="Graphic 4">
                        <a:extLst>
                          <a:ext uri="{FF2B5EF4-FFF2-40B4-BE49-F238E27FC236}">
                            <a16:creationId xmlns:a16="http://schemas.microsoft.com/office/drawing/2014/main" id="{84FB7ED1-A2DF-40A1-A747-5F7CF3F14040}"/>
                          </a:ext>
                        </a:extLst>
                      </p:cNvPr>
                      <p:cNvGrpSpPr/>
                      <p:nvPr/>
                    </p:nvGrpSpPr>
                    <p:grpSpPr>
                      <a:xfrm>
                        <a:off x="3647025" y="1744487"/>
                        <a:ext cx="47223" cy="28510"/>
                        <a:chOff x="3647025" y="1744487"/>
                        <a:chExt cx="47223" cy="28510"/>
                      </a:xfrm>
                      <a:solidFill>
                        <a:schemeClr val="accent1"/>
                      </a:solidFill>
                    </p:grpSpPr>
                    <p:sp>
                      <p:nvSpPr>
                        <p:cNvPr id="1326" name="Freeform: Shape 1325">
                          <a:extLst>
                            <a:ext uri="{FF2B5EF4-FFF2-40B4-BE49-F238E27FC236}">
                              <a16:creationId xmlns:a16="http://schemas.microsoft.com/office/drawing/2014/main" id="{89757D66-DF44-482A-B33F-FF7CD30A6A3F}"/>
                            </a:ext>
                          </a:extLst>
                        </p:cNvPr>
                        <p:cNvSpPr/>
                        <p:nvPr/>
                      </p:nvSpPr>
                      <p:spPr>
                        <a:xfrm>
                          <a:off x="3647025" y="1744487"/>
                          <a:ext cx="47223" cy="27128"/>
                        </a:xfrm>
                        <a:custGeom>
                          <a:avLst/>
                          <a:gdLst>
                            <a:gd name="connsiteX0" fmla="*/ 47224 w 47223"/>
                            <a:gd name="connsiteY0" fmla="*/ 23737 h 27128"/>
                            <a:gd name="connsiteX1" fmla="*/ 41195 w 47223"/>
                            <a:gd name="connsiteY1" fmla="*/ 27128 h 27128"/>
                            <a:gd name="connsiteX2" fmla="*/ 0 w 47223"/>
                            <a:gd name="connsiteY2" fmla="*/ 3391 h 27128"/>
                            <a:gd name="connsiteX3" fmla="*/ 6029 w 47223"/>
                            <a:gd name="connsiteY3" fmla="*/ 0 h 27128"/>
                          </a:gdLst>
                          <a:ahLst/>
                          <a:cxnLst>
                            <a:cxn ang="0">
                              <a:pos x="connsiteX0" y="connsiteY0"/>
                            </a:cxn>
                            <a:cxn ang="0">
                              <a:pos x="connsiteX1" y="connsiteY1"/>
                            </a:cxn>
                            <a:cxn ang="0">
                              <a:pos x="connsiteX2" y="connsiteY2"/>
                            </a:cxn>
                            <a:cxn ang="0">
                              <a:pos x="connsiteX3" y="connsiteY3"/>
                            </a:cxn>
                          </a:cxnLst>
                          <a:rect l="l" t="t" r="r" b="b"/>
                          <a:pathLst>
                            <a:path w="47223" h="27128">
                              <a:moveTo>
                                <a:pt x="47224" y="23737"/>
                              </a:moveTo>
                              <a:lnTo>
                                <a:pt x="41195" y="27128"/>
                              </a:lnTo>
                              <a:lnTo>
                                <a:pt x="0" y="3391"/>
                              </a:lnTo>
                              <a:lnTo>
                                <a:pt x="602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7" name="Freeform: Shape 1326">
                          <a:extLst>
                            <a:ext uri="{FF2B5EF4-FFF2-40B4-BE49-F238E27FC236}">
                              <a16:creationId xmlns:a16="http://schemas.microsoft.com/office/drawing/2014/main" id="{73853AF6-233F-4880-B403-05AC1EC2F8F5}"/>
                            </a:ext>
                          </a:extLst>
                        </p:cNvPr>
                        <p:cNvSpPr/>
                        <p:nvPr/>
                      </p:nvSpPr>
                      <p:spPr>
                        <a:xfrm>
                          <a:off x="3647025" y="1747878"/>
                          <a:ext cx="41195" cy="25118"/>
                        </a:xfrm>
                        <a:custGeom>
                          <a:avLst/>
                          <a:gdLst>
                            <a:gd name="connsiteX0" fmla="*/ 0 w 41195"/>
                            <a:gd name="connsiteY0" fmla="*/ 0 h 25118"/>
                            <a:gd name="connsiteX1" fmla="*/ 0 w 41195"/>
                            <a:gd name="connsiteY1" fmla="*/ 1382 h 25118"/>
                            <a:gd name="connsiteX2" fmla="*/ 41195 w 41195"/>
                            <a:gd name="connsiteY2" fmla="*/ 25119 h 25118"/>
                            <a:gd name="connsiteX3" fmla="*/ 41195 w 41195"/>
                            <a:gd name="connsiteY3" fmla="*/ 23737 h 25118"/>
                          </a:gdLst>
                          <a:ahLst/>
                          <a:cxnLst>
                            <a:cxn ang="0">
                              <a:pos x="connsiteX0" y="connsiteY0"/>
                            </a:cxn>
                            <a:cxn ang="0">
                              <a:pos x="connsiteX1" y="connsiteY1"/>
                            </a:cxn>
                            <a:cxn ang="0">
                              <a:pos x="connsiteX2" y="connsiteY2"/>
                            </a:cxn>
                            <a:cxn ang="0">
                              <a:pos x="connsiteX3" y="connsiteY3"/>
                            </a:cxn>
                          </a:cxnLst>
                          <a:rect l="l" t="t" r="r" b="b"/>
                          <a:pathLst>
                            <a:path w="41195" h="25118">
                              <a:moveTo>
                                <a:pt x="0" y="0"/>
                              </a:moveTo>
                              <a:lnTo>
                                <a:pt x="0" y="1382"/>
                              </a:lnTo>
                              <a:lnTo>
                                <a:pt x="41195" y="25119"/>
                              </a:lnTo>
                              <a:lnTo>
                                <a:pt x="41195" y="23737"/>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8" name="Freeform: Shape 1327">
                          <a:extLst>
                            <a:ext uri="{FF2B5EF4-FFF2-40B4-BE49-F238E27FC236}">
                              <a16:creationId xmlns:a16="http://schemas.microsoft.com/office/drawing/2014/main" id="{191B665D-82C8-414F-8406-78EC66DEFF90}"/>
                            </a:ext>
                          </a:extLst>
                        </p:cNvPr>
                        <p:cNvSpPr/>
                        <p:nvPr/>
                      </p:nvSpPr>
                      <p:spPr>
                        <a:xfrm>
                          <a:off x="3688220" y="1768224"/>
                          <a:ext cx="6028" cy="4772"/>
                        </a:xfrm>
                        <a:custGeom>
                          <a:avLst/>
                          <a:gdLst>
                            <a:gd name="connsiteX0" fmla="*/ 0 w 6028"/>
                            <a:gd name="connsiteY0" fmla="*/ 3391 h 4772"/>
                            <a:gd name="connsiteX1" fmla="*/ 0 w 6028"/>
                            <a:gd name="connsiteY1" fmla="*/ 4773 h 4772"/>
                            <a:gd name="connsiteX2" fmla="*/ 6029 w 6028"/>
                            <a:gd name="connsiteY2" fmla="*/ 1256 h 4772"/>
                            <a:gd name="connsiteX3" fmla="*/ 6029 w 6028"/>
                            <a:gd name="connsiteY3" fmla="*/ 0 h 4772"/>
                          </a:gdLst>
                          <a:ahLst/>
                          <a:cxnLst>
                            <a:cxn ang="0">
                              <a:pos x="connsiteX0" y="connsiteY0"/>
                            </a:cxn>
                            <a:cxn ang="0">
                              <a:pos x="connsiteX1" y="connsiteY1"/>
                            </a:cxn>
                            <a:cxn ang="0">
                              <a:pos x="connsiteX2" y="connsiteY2"/>
                            </a:cxn>
                            <a:cxn ang="0">
                              <a:pos x="connsiteX3" y="connsiteY3"/>
                            </a:cxn>
                          </a:cxnLst>
                          <a:rect l="l" t="t" r="r" b="b"/>
                          <a:pathLst>
                            <a:path w="6028" h="4772">
                              <a:moveTo>
                                <a:pt x="0" y="3391"/>
                              </a:moveTo>
                              <a:lnTo>
                                <a:pt x="0" y="4773"/>
                              </a:lnTo>
                              <a:lnTo>
                                <a:pt x="6029" y="1256"/>
                              </a:lnTo>
                              <a:lnTo>
                                <a:pt x="6029"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29" name="Graphic 4">
                        <a:extLst>
                          <a:ext uri="{FF2B5EF4-FFF2-40B4-BE49-F238E27FC236}">
                            <a16:creationId xmlns:a16="http://schemas.microsoft.com/office/drawing/2014/main" id="{84FB7ED1-A2DF-40A1-A747-5F7CF3F14040}"/>
                          </a:ext>
                        </a:extLst>
                      </p:cNvPr>
                      <p:cNvGrpSpPr/>
                      <p:nvPr/>
                    </p:nvGrpSpPr>
                    <p:grpSpPr>
                      <a:xfrm>
                        <a:off x="3655691" y="1739463"/>
                        <a:ext cx="47098" cy="28510"/>
                        <a:chOff x="3655691" y="1739463"/>
                        <a:chExt cx="47098" cy="28510"/>
                      </a:xfrm>
                      <a:solidFill>
                        <a:schemeClr val="accent1"/>
                      </a:solidFill>
                    </p:grpSpPr>
                    <p:sp>
                      <p:nvSpPr>
                        <p:cNvPr id="1330" name="Freeform: Shape 1329">
                          <a:extLst>
                            <a:ext uri="{FF2B5EF4-FFF2-40B4-BE49-F238E27FC236}">
                              <a16:creationId xmlns:a16="http://schemas.microsoft.com/office/drawing/2014/main" id="{6C5EAD02-D05E-4637-8D2E-E8E43376C56E}"/>
                            </a:ext>
                          </a:extLst>
                        </p:cNvPr>
                        <p:cNvSpPr/>
                        <p:nvPr/>
                      </p:nvSpPr>
                      <p:spPr>
                        <a:xfrm>
                          <a:off x="3655691" y="1739463"/>
                          <a:ext cx="47098" cy="27254"/>
                        </a:xfrm>
                        <a:custGeom>
                          <a:avLst/>
                          <a:gdLst>
                            <a:gd name="connsiteX0" fmla="*/ 47098 w 47098"/>
                            <a:gd name="connsiteY0" fmla="*/ 23737 h 27254"/>
                            <a:gd name="connsiteX1" fmla="*/ 41070 w 47098"/>
                            <a:gd name="connsiteY1" fmla="*/ 27254 h 27254"/>
                            <a:gd name="connsiteX2" fmla="*/ 0 w 47098"/>
                            <a:gd name="connsiteY2" fmla="*/ 3517 h 27254"/>
                            <a:gd name="connsiteX3" fmla="*/ 6029 w 47098"/>
                            <a:gd name="connsiteY3" fmla="*/ 0 h 27254"/>
                          </a:gdLst>
                          <a:ahLst/>
                          <a:cxnLst>
                            <a:cxn ang="0">
                              <a:pos x="connsiteX0" y="connsiteY0"/>
                            </a:cxn>
                            <a:cxn ang="0">
                              <a:pos x="connsiteX1" y="connsiteY1"/>
                            </a:cxn>
                            <a:cxn ang="0">
                              <a:pos x="connsiteX2" y="connsiteY2"/>
                            </a:cxn>
                            <a:cxn ang="0">
                              <a:pos x="connsiteX3" y="connsiteY3"/>
                            </a:cxn>
                          </a:cxnLst>
                          <a:rect l="l" t="t" r="r" b="b"/>
                          <a:pathLst>
                            <a:path w="47098" h="27254">
                              <a:moveTo>
                                <a:pt x="47098" y="23737"/>
                              </a:moveTo>
                              <a:lnTo>
                                <a:pt x="41070" y="27254"/>
                              </a:lnTo>
                              <a:lnTo>
                                <a:pt x="0" y="3517"/>
                              </a:lnTo>
                              <a:lnTo>
                                <a:pt x="602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1" name="Freeform: Shape 1330">
                          <a:extLst>
                            <a:ext uri="{FF2B5EF4-FFF2-40B4-BE49-F238E27FC236}">
                              <a16:creationId xmlns:a16="http://schemas.microsoft.com/office/drawing/2014/main" id="{950F59A2-B805-4F3D-B1E5-303F81687F28}"/>
                            </a:ext>
                          </a:extLst>
                        </p:cNvPr>
                        <p:cNvSpPr/>
                        <p:nvPr/>
                      </p:nvSpPr>
                      <p:spPr>
                        <a:xfrm>
                          <a:off x="3655691" y="1742980"/>
                          <a:ext cx="41069" cy="24993"/>
                        </a:xfrm>
                        <a:custGeom>
                          <a:avLst/>
                          <a:gdLst>
                            <a:gd name="connsiteX0" fmla="*/ 0 w 41069"/>
                            <a:gd name="connsiteY0" fmla="*/ 0 h 24993"/>
                            <a:gd name="connsiteX1" fmla="*/ 0 w 41069"/>
                            <a:gd name="connsiteY1" fmla="*/ 1256 h 24993"/>
                            <a:gd name="connsiteX2" fmla="*/ 41070 w 41069"/>
                            <a:gd name="connsiteY2" fmla="*/ 24993 h 24993"/>
                            <a:gd name="connsiteX3" fmla="*/ 41070 w 41069"/>
                            <a:gd name="connsiteY3" fmla="*/ 23737 h 24993"/>
                          </a:gdLst>
                          <a:ahLst/>
                          <a:cxnLst>
                            <a:cxn ang="0">
                              <a:pos x="connsiteX0" y="connsiteY0"/>
                            </a:cxn>
                            <a:cxn ang="0">
                              <a:pos x="connsiteX1" y="connsiteY1"/>
                            </a:cxn>
                            <a:cxn ang="0">
                              <a:pos x="connsiteX2" y="connsiteY2"/>
                            </a:cxn>
                            <a:cxn ang="0">
                              <a:pos x="connsiteX3" y="connsiteY3"/>
                            </a:cxn>
                          </a:cxnLst>
                          <a:rect l="l" t="t" r="r" b="b"/>
                          <a:pathLst>
                            <a:path w="41069" h="24993">
                              <a:moveTo>
                                <a:pt x="0" y="0"/>
                              </a:moveTo>
                              <a:lnTo>
                                <a:pt x="0" y="1256"/>
                              </a:lnTo>
                              <a:lnTo>
                                <a:pt x="41070" y="24993"/>
                              </a:lnTo>
                              <a:lnTo>
                                <a:pt x="41070" y="23737"/>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2" name="Freeform: Shape 1331">
                          <a:extLst>
                            <a:ext uri="{FF2B5EF4-FFF2-40B4-BE49-F238E27FC236}">
                              <a16:creationId xmlns:a16="http://schemas.microsoft.com/office/drawing/2014/main" id="{F2436391-A45F-4683-A80B-645D2E3A0DE3}"/>
                            </a:ext>
                          </a:extLst>
                        </p:cNvPr>
                        <p:cNvSpPr/>
                        <p:nvPr/>
                      </p:nvSpPr>
                      <p:spPr>
                        <a:xfrm>
                          <a:off x="3696761" y="1763200"/>
                          <a:ext cx="6028" cy="4772"/>
                        </a:xfrm>
                        <a:custGeom>
                          <a:avLst/>
                          <a:gdLst>
                            <a:gd name="connsiteX0" fmla="*/ 0 w 6028"/>
                            <a:gd name="connsiteY0" fmla="*/ 3517 h 4772"/>
                            <a:gd name="connsiteX1" fmla="*/ 0 w 6028"/>
                            <a:gd name="connsiteY1" fmla="*/ 4773 h 4772"/>
                            <a:gd name="connsiteX2" fmla="*/ 6028 w 6028"/>
                            <a:gd name="connsiteY2" fmla="*/ 1382 h 4772"/>
                            <a:gd name="connsiteX3" fmla="*/ 6028 w 6028"/>
                            <a:gd name="connsiteY3" fmla="*/ 0 h 4772"/>
                          </a:gdLst>
                          <a:ahLst/>
                          <a:cxnLst>
                            <a:cxn ang="0">
                              <a:pos x="connsiteX0" y="connsiteY0"/>
                            </a:cxn>
                            <a:cxn ang="0">
                              <a:pos x="connsiteX1" y="connsiteY1"/>
                            </a:cxn>
                            <a:cxn ang="0">
                              <a:pos x="connsiteX2" y="connsiteY2"/>
                            </a:cxn>
                            <a:cxn ang="0">
                              <a:pos x="connsiteX3" y="connsiteY3"/>
                            </a:cxn>
                          </a:cxnLst>
                          <a:rect l="l" t="t" r="r" b="b"/>
                          <a:pathLst>
                            <a:path w="6028" h="4772">
                              <a:moveTo>
                                <a:pt x="0" y="3517"/>
                              </a:moveTo>
                              <a:lnTo>
                                <a:pt x="0" y="4773"/>
                              </a:lnTo>
                              <a:lnTo>
                                <a:pt x="6028" y="1382"/>
                              </a:lnTo>
                              <a:lnTo>
                                <a:pt x="6028"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33" name="Graphic 4">
                        <a:extLst>
                          <a:ext uri="{FF2B5EF4-FFF2-40B4-BE49-F238E27FC236}">
                            <a16:creationId xmlns:a16="http://schemas.microsoft.com/office/drawing/2014/main" id="{84FB7ED1-A2DF-40A1-A747-5F7CF3F14040}"/>
                          </a:ext>
                        </a:extLst>
                      </p:cNvPr>
                      <p:cNvGrpSpPr/>
                      <p:nvPr/>
                    </p:nvGrpSpPr>
                    <p:grpSpPr>
                      <a:xfrm>
                        <a:off x="3664232" y="1734565"/>
                        <a:ext cx="47098" cy="28510"/>
                        <a:chOff x="3664232" y="1734565"/>
                        <a:chExt cx="47098" cy="28510"/>
                      </a:xfrm>
                      <a:solidFill>
                        <a:schemeClr val="accent1"/>
                      </a:solidFill>
                    </p:grpSpPr>
                    <p:sp>
                      <p:nvSpPr>
                        <p:cNvPr id="1334" name="Freeform: Shape 1333">
                          <a:extLst>
                            <a:ext uri="{FF2B5EF4-FFF2-40B4-BE49-F238E27FC236}">
                              <a16:creationId xmlns:a16="http://schemas.microsoft.com/office/drawing/2014/main" id="{F12A1C68-14A6-44B5-922A-526AFDC8D4D2}"/>
                            </a:ext>
                          </a:extLst>
                        </p:cNvPr>
                        <p:cNvSpPr/>
                        <p:nvPr/>
                      </p:nvSpPr>
                      <p:spPr>
                        <a:xfrm>
                          <a:off x="3664232" y="1734565"/>
                          <a:ext cx="47098" cy="27128"/>
                        </a:xfrm>
                        <a:custGeom>
                          <a:avLst/>
                          <a:gdLst>
                            <a:gd name="connsiteX0" fmla="*/ 47098 w 47098"/>
                            <a:gd name="connsiteY0" fmla="*/ 23737 h 27128"/>
                            <a:gd name="connsiteX1" fmla="*/ 41195 w 47098"/>
                            <a:gd name="connsiteY1" fmla="*/ 27128 h 27128"/>
                            <a:gd name="connsiteX2" fmla="*/ 0 w 47098"/>
                            <a:gd name="connsiteY2" fmla="*/ 3391 h 27128"/>
                            <a:gd name="connsiteX3" fmla="*/ 6028 w 47098"/>
                            <a:gd name="connsiteY3" fmla="*/ 0 h 27128"/>
                          </a:gdLst>
                          <a:ahLst/>
                          <a:cxnLst>
                            <a:cxn ang="0">
                              <a:pos x="connsiteX0" y="connsiteY0"/>
                            </a:cxn>
                            <a:cxn ang="0">
                              <a:pos x="connsiteX1" y="connsiteY1"/>
                            </a:cxn>
                            <a:cxn ang="0">
                              <a:pos x="connsiteX2" y="connsiteY2"/>
                            </a:cxn>
                            <a:cxn ang="0">
                              <a:pos x="connsiteX3" y="connsiteY3"/>
                            </a:cxn>
                          </a:cxnLst>
                          <a:rect l="l" t="t" r="r" b="b"/>
                          <a:pathLst>
                            <a:path w="47098" h="27128">
                              <a:moveTo>
                                <a:pt x="47098" y="23737"/>
                              </a:moveTo>
                              <a:lnTo>
                                <a:pt x="41195" y="27128"/>
                              </a:lnTo>
                              <a:lnTo>
                                <a:pt x="0" y="3391"/>
                              </a:lnTo>
                              <a:lnTo>
                                <a:pt x="6028"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5" name="Freeform: Shape 1334">
                          <a:extLst>
                            <a:ext uri="{FF2B5EF4-FFF2-40B4-BE49-F238E27FC236}">
                              <a16:creationId xmlns:a16="http://schemas.microsoft.com/office/drawing/2014/main" id="{45AC6957-85E7-4C98-AFAC-1A6BC3D4D9FA}"/>
                            </a:ext>
                          </a:extLst>
                        </p:cNvPr>
                        <p:cNvSpPr/>
                        <p:nvPr/>
                      </p:nvSpPr>
                      <p:spPr>
                        <a:xfrm>
                          <a:off x="3664232" y="1737956"/>
                          <a:ext cx="41195" cy="25118"/>
                        </a:xfrm>
                        <a:custGeom>
                          <a:avLst/>
                          <a:gdLst>
                            <a:gd name="connsiteX0" fmla="*/ 0 w 41195"/>
                            <a:gd name="connsiteY0" fmla="*/ 0 h 25118"/>
                            <a:gd name="connsiteX1" fmla="*/ 0 w 41195"/>
                            <a:gd name="connsiteY1" fmla="*/ 1382 h 25118"/>
                            <a:gd name="connsiteX2" fmla="*/ 41195 w 41195"/>
                            <a:gd name="connsiteY2" fmla="*/ 25119 h 25118"/>
                            <a:gd name="connsiteX3" fmla="*/ 41195 w 41195"/>
                            <a:gd name="connsiteY3" fmla="*/ 23737 h 25118"/>
                          </a:gdLst>
                          <a:ahLst/>
                          <a:cxnLst>
                            <a:cxn ang="0">
                              <a:pos x="connsiteX0" y="connsiteY0"/>
                            </a:cxn>
                            <a:cxn ang="0">
                              <a:pos x="connsiteX1" y="connsiteY1"/>
                            </a:cxn>
                            <a:cxn ang="0">
                              <a:pos x="connsiteX2" y="connsiteY2"/>
                            </a:cxn>
                            <a:cxn ang="0">
                              <a:pos x="connsiteX3" y="connsiteY3"/>
                            </a:cxn>
                          </a:cxnLst>
                          <a:rect l="l" t="t" r="r" b="b"/>
                          <a:pathLst>
                            <a:path w="41195" h="25118">
                              <a:moveTo>
                                <a:pt x="0" y="0"/>
                              </a:moveTo>
                              <a:lnTo>
                                <a:pt x="0" y="1382"/>
                              </a:lnTo>
                              <a:lnTo>
                                <a:pt x="41195" y="25119"/>
                              </a:lnTo>
                              <a:lnTo>
                                <a:pt x="41195" y="23737"/>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6" name="Freeform: Shape 1335">
                          <a:extLst>
                            <a:ext uri="{FF2B5EF4-FFF2-40B4-BE49-F238E27FC236}">
                              <a16:creationId xmlns:a16="http://schemas.microsoft.com/office/drawing/2014/main" id="{A50C57E3-07A5-4040-8CC7-86A58EC804C8}"/>
                            </a:ext>
                          </a:extLst>
                        </p:cNvPr>
                        <p:cNvSpPr/>
                        <p:nvPr/>
                      </p:nvSpPr>
                      <p:spPr>
                        <a:xfrm>
                          <a:off x="3705427" y="1758302"/>
                          <a:ext cx="5902" cy="4772"/>
                        </a:xfrm>
                        <a:custGeom>
                          <a:avLst/>
                          <a:gdLst>
                            <a:gd name="connsiteX0" fmla="*/ 0 w 5902"/>
                            <a:gd name="connsiteY0" fmla="*/ 3391 h 4772"/>
                            <a:gd name="connsiteX1" fmla="*/ 0 w 5902"/>
                            <a:gd name="connsiteY1" fmla="*/ 4773 h 4772"/>
                            <a:gd name="connsiteX2" fmla="*/ 5903 w 5902"/>
                            <a:gd name="connsiteY2" fmla="*/ 1256 h 4772"/>
                            <a:gd name="connsiteX3" fmla="*/ 5903 w 5902"/>
                            <a:gd name="connsiteY3" fmla="*/ 0 h 4772"/>
                          </a:gdLst>
                          <a:ahLst/>
                          <a:cxnLst>
                            <a:cxn ang="0">
                              <a:pos x="connsiteX0" y="connsiteY0"/>
                            </a:cxn>
                            <a:cxn ang="0">
                              <a:pos x="connsiteX1" y="connsiteY1"/>
                            </a:cxn>
                            <a:cxn ang="0">
                              <a:pos x="connsiteX2" y="connsiteY2"/>
                            </a:cxn>
                            <a:cxn ang="0">
                              <a:pos x="connsiteX3" y="connsiteY3"/>
                            </a:cxn>
                          </a:cxnLst>
                          <a:rect l="l" t="t" r="r" b="b"/>
                          <a:pathLst>
                            <a:path w="5902" h="4772">
                              <a:moveTo>
                                <a:pt x="0" y="3391"/>
                              </a:moveTo>
                              <a:lnTo>
                                <a:pt x="0" y="4773"/>
                              </a:lnTo>
                              <a:lnTo>
                                <a:pt x="5903" y="1256"/>
                              </a:lnTo>
                              <a:lnTo>
                                <a:pt x="5903"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37" name="Freeform: Shape 1336">
                        <a:extLst>
                          <a:ext uri="{FF2B5EF4-FFF2-40B4-BE49-F238E27FC236}">
                            <a16:creationId xmlns:a16="http://schemas.microsoft.com/office/drawing/2014/main" id="{5CDAD21A-1127-4D4D-92F1-4EA81476AD88}"/>
                          </a:ext>
                        </a:extLst>
                      </p:cNvPr>
                      <p:cNvSpPr/>
                      <p:nvPr/>
                    </p:nvSpPr>
                    <p:spPr>
                      <a:xfrm>
                        <a:off x="3629944" y="1759181"/>
                        <a:ext cx="3390" cy="6154"/>
                      </a:xfrm>
                      <a:custGeom>
                        <a:avLst/>
                        <a:gdLst>
                          <a:gd name="connsiteX0" fmla="*/ 0 w 3390"/>
                          <a:gd name="connsiteY0" fmla="*/ 0 h 6154"/>
                          <a:gd name="connsiteX1" fmla="*/ 0 w 3390"/>
                          <a:gd name="connsiteY1" fmla="*/ 4145 h 6154"/>
                          <a:gd name="connsiteX2" fmla="*/ 3391 w 3390"/>
                          <a:gd name="connsiteY2" fmla="*/ 6154 h 6154"/>
                          <a:gd name="connsiteX3" fmla="*/ 3391 w 3390"/>
                          <a:gd name="connsiteY3" fmla="*/ 1884 h 6154"/>
                        </a:gdLst>
                        <a:ahLst/>
                        <a:cxnLst>
                          <a:cxn ang="0">
                            <a:pos x="connsiteX0" y="connsiteY0"/>
                          </a:cxn>
                          <a:cxn ang="0">
                            <a:pos x="connsiteX1" y="connsiteY1"/>
                          </a:cxn>
                          <a:cxn ang="0">
                            <a:pos x="connsiteX2" y="connsiteY2"/>
                          </a:cxn>
                          <a:cxn ang="0">
                            <a:pos x="connsiteX3" y="connsiteY3"/>
                          </a:cxn>
                        </a:cxnLst>
                        <a:rect l="l" t="t" r="r" b="b"/>
                        <a:pathLst>
                          <a:path w="3390" h="6154">
                            <a:moveTo>
                              <a:pt x="0" y="0"/>
                            </a:moveTo>
                            <a:lnTo>
                              <a:pt x="0" y="4145"/>
                            </a:lnTo>
                            <a:lnTo>
                              <a:pt x="3391" y="6154"/>
                            </a:lnTo>
                            <a:lnTo>
                              <a:pt x="3391" y="1884"/>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8" name="Freeform: Shape 1337">
                        <a:extLst>
                          <a:ext uri="{FF2B5EF4-FFF2-40B4-BE49-F238E27FC236}">
                            <a16:creationId xmlns:a16="http://schemas.microsoft.com/office/drawing/2014/main" id="{3DF96C07-8567-4FDA-8B56-89C7217908B0}"/>
                          </a:ext>
                        </a:extLst>
                      </p:cNvPr>
                      <p:cNvSpPr/>
                      <p:nvPr/>
                    </p:nvSpPr>
                    <p:spPr>
                      <a:xfrm>
                        <a:off x="3648783" y="1769983"/>
                        <a:ext cx="3390" cy="6279"/>
                      </a:xfrm>
                      <a:custGeom>
                        <a:avLst/>
                        <a:gdLst>
                          <a:gd name="connsiteX0" fmla="*/ 0 w 3390"/>
                          <a:gd name="connsiteY0" fmla="*/ 0 h 6279"/>
                          <a:gd name="connsiteX1" fmla="*/ 0 w 3390"/>
                          <a:gd name="connsiteY1" fmla="*/ 4270 h 6279"/>
                          <a:gd name="connsiteX2" fmla="*/ 3391 w 3390"/>
                          <a:gd name="connsiteY2" fmla="*/ 6280 h 6279"/>
                          <a:gd name="connsiteX3" fmla="*/ 3391 w 3390"/>
                          <a:gd name="connsiteY3" fmla="*/ 2010 h 6279"/>
                        </a:gdLst>
                        <a:ahLst/>
                        <a:cxnLst>
                          <a:cxn ang="0">
                            <a:pos x="connsiteX0" y="connsiteY0"/>
                          </a:cxn>
                          <a:cxn ang="0">
                            <a:pos x="connsiteX1" y="connsiteY1"/>
                          </a:cxn>
                          <a:cxn ang="0">
                            <a:pos x="connsiteX2" y="connsiteY2"/>
                          </a:cxn>
                          <a:cxn ang="0">
                            <a:pos x="connsiteX3" y="connsiteY3"/>
                          </a:cxn>
                        </a:cxnLst>
                        <a:rect l="l" t="t" r="r" b="b"/>
                        <a:pathLst>
                          <a:path w="3390" h="6279">
                            <a:moveTo>
                              <a:pt x="0" y="0"/>
                            </a:moveTo>
                            <a:lnTo>
                              <a:pt x="0" y="4270"/>
                            </a:lnTo>
                            <a:lnTo>
                              <a:pt x="3391" y="6280"/>
                            </a:lnTo>
                            <a:lnTo>
                              <a:pt x="3391" y="201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39" name="Graphic 4">
                      <a:extLst>
                        <a:ext uri="{FF2B5EF4-FFF2-40B4-BE49-F238E27FC236}">
                          <a16:creationId xmlns:a16="http://schemas.microsoft.com/office/drawing/2014/main" id="{84FB7ED1-A2DF-40A1-A747-5F7CF3F14040}"/>
                        </a:ext>
                      </a:extLst>
                    </p:cNvPr>
                    <p:cNvGrpSpPr/>
                    <p:nvPr/>
                  </p:nvGrpSpPr>
                  <p:grpSpPr>
                    <a:xfrm>
                      <a:off x="3652300" y="1714219"/>
                      <a:ext cx="37175" cy="42827"/>
                      <a:chOff x="3652300" y="1714219"/>
                      <a:chExt cx="37175" cy="42827"/>
                    </a:xfrm>
                    <a:solidFill>
                      <a:schemeClr val="accent1"/>
                    </a:solidFill>
                  </p:grpSpPr>
                  <p:grpSp>
                    <p:nvGrpSpPr>
                      <p:cNvPr id="1340" name="Graphic 4">
                        <a:extLst>
                          <a:ext uri="{FF2B5EF4-FFF2-40B4-BE49-F238E27FC236}">
                            <a16:creationId xmlns:a16="http://schemas.microsoft.com/office/drawing/2014/main" id="{84FB7ED1-A2DF-40A1-A747-5F7CF3F14040}"/>
                          </a:ext>
                        </a:extLst>
                      </p:cNvPr>
                      <p:cNvGrpSpPr/>
                      <p:nvPr/>
                    </p:nvGrpSpPr>
                    <p:grpSpPr>
                      <a:xfrm>
                        <a:off x="3652300" y="1714219"/>
                        <a:ext cx="37175" cy="42827"/>
                        <a:chOff x="3652300" y="1714219"/>
                        <a:chExt cx="37175" cy="42827"/>
                      </a:xfrm>
                      <a:solidFill>
                        <a:schemeClr val="accent1"/>
                      </a:solidFill>
                    </p:grpSpPr>
                    <p:sp>
                      <p:nvSpPr>
                        <p:cNvPr id="1341" name="Freeform: Shape 1340">
                          <a:extLst>
                            <a:ext uri="{FF2B5EF4-FFF2-40B4-BE49-F238E27FC236}">
                              <a16:creationId xmlns:a16="http://schemas.microsoft.com/office/drawing/2014/main" id="{35DA639C-9C52-40B4-B909-13A6ADCA324A}"/>
                            </a:ext>
                          </a:extLst>
                        </p:cNvPr>
                        <p:cNvSpPr/>
                        <p:nvPr/>
                      </p:nvSpPr>
                      <p:spPr>
                        <a:xfrm>
                          <a:off x="3652300" y="1724894"/>
                          <a:ext cx="18588" cy="32152"/>
                        </a:xfrm>
                        <a:custGeom>
                          <a:avLst/>
                          <a:gdLst>
                            <a:gd name="connsiteX0" fmla="*/ 0 w 18588"/>
                            <a:gd name="connsiteY0" fmla="*/ 21477 h 32152"/>
                            <a:gd name="connsiteX1" fmla="*/ 18588 w 18588"/>
                            <a:gd name="connsiteY1" fmla="*/ 32152 h 32152"/>
                            <a:gd name="connsiteX2" fmla="*/ 18588 w 18588"/>
                            <a:gd name="connsiteY2" fmla="*/ 10676 h 32152"/>
                            <a:gd name="connsiteX3" fmla="*/ 0 w 18588"/>
                            <a:gd name="connsiteY3" fmla="*/ 0 h 32152"/>
                          </a:gdLst>
                          <a:ahLst/>
                          <a:cxnLst>
                            <a:cxn ang="0">
                              <a:pos x="connsiteX0" y="connsiteY0"/>
                            </a:cxn>
                            <a:cxn ang="0">
                              <a:pos x="connsiteX1" y="connsiteY1"/>
                            </a:cxn>
                            <a:cxn ang="0">
                              <a:pos x="connsiteX2" y="connsiteY2"/>
                            </a:cxn>
                            <a:cxn ang="0">
                              <a:pos x="connsiteX3" y="connsiteY3"/>
                            </a:cxn>
                          </a:cxnLst>
                          <a:rect l="l" t="t" r="r" b="b"/>
                          <a:pathLst>
                            <a:path w="18588" h="32152">
                              <a:moveTo>
                                <a:pt x="0" y="21477"/>
                              </a:moveTo>
                              <a:lnTo>
                                <a:pt x="18588" y="32152"/>
                              </a:lnTo>
                              <a:lnTo>
                                <a:pt x="18588" y="10676"/>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42" name="Freeform: Shape 1341">
                          <a:extLst>
                            <a:ext uri="{FF2B5EF4-FFF2-40B4-BE49-F238E27FC236}">
                              <a16:creationId xmlns:a16="http://schemas.microsoft.com/office/drawing/2014/main" id="{33C624A1-44E8-4A64-B127-1ED607F0072D}"/>
                            </a:ext>
                          </a:extLst>
                        </p:cNvPr>
                        <p:cNvSpPr/>
                        <p:nvPr/>
                      </p:nvSpPr>
                      <p:spPr>
                        <a:xfrm>
                          <a:off x="3652300" y="1714219"/>
                          <a:ext cx="37175" cy="21351"/>
                        </a:xfrm>
                        <a:custGeom>
                          <a:avLst/>
                          <a:gdLst>
                            <a:gd name="connsiteX0" fmla="*/ 0 w 37175"/>
                            <a:gd name="connsiteY0" fmla="*/ 10676 h 21351"/>
                            <a:gd name="connsiteX1" fmla="*/ 18588 w 37175"/>
                            <a:gd name="connsiteY1" fmla="*/ 21351 h 21351"/>
                            <a:gd name="connsiteX2" fmla="*/ 37176 w 37175"/>
                            <a:gd name="connsiteY2" fmla="*/ 10676 h 21351"/>
                            <a:gd name="connsiteX3" fmla="*/ 18588 w 37175"/>
                            <a:gd name="connsiteY3" fmla="*/ 0 h 21351"/>
                          </a:gdLst>
                          <a:ahLst/>
                          <a:cxnLst>
                            <a:cxn ang="0">
                              <a:pos x="connsiteX0" y="connsiteY0"/>
                            </a:cxn>
                            <a:cxn ang="0">
                              <a:pos x="connsiteX1" y="connsiteY1"/>
                            </a:cxn>
                            <a:cxn ang="0">
                              <a:pos x="connsiteX2" y="connsiteY2"/>
                            </a:cxn>
                            <a:cxn ang="0">
                              <a:pos x="connsiteX3" y="connsiteY3"/>
                            </a:cxn>
                          </a:cxnLst>
                          <a:rect l="l" t="t" r="r" b="b"/>
                          <a:pathLst>
                            <a:path w="37175" h="21351">
                              <a:moveTo>
                                <a:pt x="0" y="10676"/>
                              </a:moveTo>
                              <a:lnTo>
                                <a:pt x="18588" y="21351"/>
                              </a:lnTo>
                              <a:lnTo>
                                <a:pt x="37176" y="10676"/>
                              </a:lnTo>
                              <a:lnTo>
                                <a:pt x="1858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43" name="Graphic 4">
                          <a:extLst>
                            <a:ext uri="{FF2B5EF4-FFF2-40B4-BE49-F238E27FC236}">
                              <a16:creationId xmlns:a16="http://schemas.microsoft.com/office/drawing/2014/main" id="{84FB7ED1-A2DF-40A1-A747-5F7CF3F14040}"/>
                            </a:ext>
                          </a:extLst>
                        </p:cNvPr>
                        <p:cNvGrpSpPr/>
                        <p:nvPr/>
                      </p:nvGrpSpPr>
                      <p:grpSpPr>
                        <a:xfrm>
                          <a:off x="3670888" y="1724894"/>
                          <a:ext cx="18587" cy="32152"/>
                          <a:chOff x="3670888" y="1724894"/>
                          <a:chExt cx="18587" cy="32152"/>
                        </a:xfrm>
                        <a:solidFill>
                          <a:schemeClr val="accent1"/>
                        </a:solidFill>
                      </p:grpSpPr>
                      <p:sp>
                        <p:nvSpPr>
                          <p:cNvPr id="1344" name="Freeform: Shape 1343">
                            <a:extLst>
                              <a:ext uri="{FF2B5EF4-FFF2-40B4-BE49-F238E27FC236}">
                                <a16:creationId xmlns:a16="http://schemas.microsoft.com/office/drawing/2014/main" id="{B612E167-2F1F-4771-A399-4F92965C9E1A}"/>
                              </a:ext>
                            </a:extLst>
                          </p:cNvPr>
                          <p:cNvSpPr/>
                          <p:nvPr/>
                        </p:nvSpPr>
                        <p:spPr>
                          <a:xfrm>
                            <a:off x="3670888" y="1724894"/>
                            <a:ext cx="18587" cy="32152"/>
                          </a:xfrm>
                          <a:custGeom>
                            <a:avLst/>
                            <a:gdLst>
                              <a:gd name="connsiteX0" fmla="*/ 0 w 18587"/>
                              <a:gd name="connsiteY0" fmla="*/ 32152 h 32152"/>
                              <a:gd name="connsiteX1" fmla="*/ 18588 w 18587"/>
                              <a:gd name="connsiteY1" fmla="*/ 21477 h 32152"/>
                              <a:gd name="connsiteX2" fmla="*/ 18588 w 18587"/>
                              <a:gd name="connsiteY2" fmla="*/ 0 h 32152"/>
                              <a:gd name="connsiteX3" fmla="*/ 0 w 18587"/>
                              <a:gd name="connsiteY3" fmla="*/ 10676 h 32152"/>
                            </a:gdLst>
                            <a:ahLst/>
                            <a:cxnLst>
                              <a:cxn ang="0">
                                <a:pos x="connsiteX0" y="connsiteY0"/>
                              </a:cxn>
                              <a:cxn ang="0">
                                <a:pos x="connsiteX1" y="connsiteY1"/>
                              </a:cxn>
                              <a:cxn ang="0">
                                <a:pos x="connsiteX2" y="connsiteY2"/>
                              </a:cxn>
                              <a:cxn ang="0">
                                <a:pos x="connsiteX3" y="connsiteY3"/>
                              </a:cxn>
                            </a:cxnLst>
                            <a:rect l="l" t="t" r="r" b="b"/>
                            <a:pathLst>
                              <a:path w="18587" h="32152">
                                <a:moveTo>
                                  <a:pt x="0" y="32152"/>
                                </a:moveTo>
                                <a:lnTo>
                                  <a:pt x="18588" y="21477"/>
                                </a:lnTo>
                                <a:lnTo>
                                  <a:pt x="18588" y="0"/>
                                </a:lnTo>
                                <a:lnTo>
                                  <a:pt x="0" y="10676"/>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45" name="Freeform: Shape 1344">
                            <a:extLst>
                              <a:ext uri="{FF2B5EF4-FFF2-40B4-BE49-F238E27FC236}">
                                <a16:creationId xmlns:a16="http://schemas.microsoft.com/office/drawing/2014/main" id="{958B83FE-FA5D-440E-A97C-0D3F8AFF86ED}"/>
                              </a:ext>
                            </a:extLst>
                          </p:cNvPr>
                          <p:cNvSpPr/>
                          <p:nvPr/>
                        </p:nvSpPr>
                        <p:spPr>
                          <a:xfrm>
                            <a:off x="3678424" y="1729164"/>
                            <a:ext cx="3642" cy="7912"/>
                          </a:xfrm>
                          <a:custGeom>
                            <a:avLst/>
                            <a:gdLst>
                              <a:gd name="connsiteX0" fmla="*/ 0 w 3642"/>
                              <a:gd name="connsiteY0" fmla="*/ 7912 h 7912"/>
                              <a:gd name="connsiteX1" fmla="*/ 3642 w 3642"/>
                              <a:gd name="connsiteY1" fmla="*/ 5652 h 7912"/>
                              <a:gd name="connsiteX2" fmla="*/ 3642 w 3642"/>
                              <a:gd name="connsiteY2" fmla="*/ 0 h 7912"/>
                              <a:gd name="connsiteX3" fmla="*/ 0 w 3642"/>
                              <a:gd name="connsiteY3" fmla="*/ 2135 h 7912"/>
                            </a:gdLst>
                            <a:ahLst/>
                            <a:cxnLst>
                              <a:cxn ang="0">
                                <a:pos x="connsiteX0" y="connsiteY0"/>
                              </a:cxn>
                              <a:cxn ang="0">
                                <a:pos x="connsiteX1" y="connsiteY1"/>
                              </a:cxn>
                              <a:cxn ang="0">
                                <a:pos x="connsiteX2" y="connsiteY2"/>
                              </a:cxn>
                              <a:cxn ang="0">
                                <a:pos x="connsiteX3" y="connsiteY3"/>
                              </a:cxn>
                            </a:cxnLst>
                            <a:rect l="l" t="t" r="r" b="b"/>
                            <a:pathLst>
                              <a:path w="3642" h="7912">
                                <a:moveTo>
                                  <a:pt x="0" y="7912"/>
                                </a:moveTo>
                                <a:lnTo>
                                  <a:pt x="3642" y="5652"/>
                                </a:lnTo>
                                <a:lnTo>
                                  <a:pt x="3642" y="0"/>
                                </a:lnTo>
                                <a:lnTo>
                                  <a:pt x="0" y="2135"/>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46" name="Freeform: Shape 1345">
                          <a:extLst>
                            <a:ext uri="{FF2B5EF4-FFF2-40B4-BE49-F238E27FC236}">
                              <a16:creationId xmlns:a16="http://schemas.microsoft.com/office/drawing/2014/main" id="{F8469E00-1F3B-4286-B32A-9FE5372A172D}"/>
                            </a:ext>
                          </a:extLst>
                        </p:cNvPr>
                        <p:cNvSpPr/>
                        <p:nvPr/>
                      </p:nvSpPr>
                      <p:spPr>
                        <a:xfrm>
                          <a:off x="3659836" y="1718489"/>
                          <a:ext cx="22230" cy="12810"/>
                        </a:xfrm>
                        <a:custGeom>
                          <a:avLst/>
                          <a:gdLst>
                            <a:gd name="connsiteX0" fmla="*/ 22230 w 22230"/>
                            <a:gd name="connsiteY0" fmla="*/ 10676 h 12810"/>
                            <a:gd name="connsiteX1" fmla="*/ 18588 w 22230"/>
                            <a:gd name="connsiteY1" fmla="*/ 12811 h 12810"/>
                            <a:gd name="connsiteX2" fmla="*/ 0 w 22230"/>
                            <a:gd name="connsiteY2" fmla="*/ 2135 h 12810"/>
                            <a:gd name="connsiteX3" fmla="*/ 3642 w 22230"/>
                            <a:gd name="connsiteY3" fmla="*/ 0 h 12810"/>
                          </a:gdLst>
                          <a:ahLst/>
                          <a:cxnLst>
                            <a:cxn ang="0">
                              <a:pos x="connsiteX0" y="connsiteY0"/>
                            </a:cxn>
                            <a:cxn ang="0">
                              <a:pos x="connsiteX1" y="connsiteY1"/>
                            </a:cxn>
                            <a:cxn ang="0">
                              <a:pos x="connsiteX2" y="connsiteY2"/>
                            </a:cxn>
                            <a:cxn ang="0">
                              <a:pos x="connsiteX3" y="connsiteY3"/>
                            </a:cxn>
                          </a:cxnLst>
                          <a:rect l="l" t="t" r="r" b="b"/>
                          <a:pathLst>
                            <a:path w="22230" h="12810">
                              <a:moveTo>
                                <a:pt x="22230" y="10676"/>
                              </a:moveTo>
                              <a:lnTo>
                                <a:pt x="18588" y="12811"/>
                              </a:lnTo>
                              <a:lnTo>
                                <a:pt x="0" y="2135"/>
                              </a:lnTo>
                              <a:lnTo>
                                <a:pt x="3642"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47" name="Graphic 4">
                        <a:extLst>
                          <a:ext uri="{FF2B5EF4-FFF2-40B4-BE49-F238E27FC236}">
                            <a16:creationId xmlns:a16="http://schemas.microsoft.com/office/drawing/2014/main" id="{84FB7ED1-A2DF-40A1-A747-5F7CF3F14040}"/>
                          </a:ext>
                        </a:extLst>
                      </p:cNvPr>
                      <p:cNvGrpSpPr/>
                      <p:nvPr/>
                    </p:nvGrpSpPr>
                    <p:grpSpPr>
                      <a:xfrm>
                        <a:off x="3676037" y="1740970"/>
                        <a:ext cx="8415" cy="11303"/>
                        <a:chOff x="3676037" y="1740970"/>
                        <a:chExt cx="8415" cy="11303"/>
                      </a:xfrm>
                      <a:solidFill>
                        <a:srgbClr val="000000"/>
                      </a:solidFill>
                    </p:grpSpPr>
                    <p:grpSp>
                      <p:nvGrpSpPr>
                        <p:cNvPr id="1348" name="Graphic 4">
                          <a:extLst>
                            <a:ext uri="{FF2B5EF4-FFF2-40B4-BE49-F238E27FC236}">
                              <a16:creationId xmlns:a16="http://schemas.microsoft.com/office/drawing/2014/main" id="{84FB7ED1-A2DF-40A1-A747-5F7CF3F14040}"/>
                            </a:ext>
                          </a:extLst>
                        </p:cNvPr>
                        <p:cNvGrpSpPr/>
                        <p:nvPr/>
                      </p:nvGrpSpPr>
                      <p:grpSpPr>
                        <a:xfrm>
                          <a:off x="3676037" y="1740970"/>
                          <a:ext cx="8415" cy="11303"/>
                          <a:chOff x="3676037" y="1740970"/>
                          <a:chExt cx="8415" cy="11303"/>
                        </a:xfrm>
                        <a:solidFill>
                          <a:srgbClr val="000000"/>
                        </a:solidFill>
                      </p:grpSpPr>
                      <p:sp>
                        <p:nvSpPr>
                          <p:cNvPr id="1349" name="Freeform: Shape 1348">
                            <a:extLst>
                              <a:ext uri="{FF2B5EF4-FFF2-40B4-BE49-F238E27FC236}">
                                <a16:creationId xmlns:a16="http://schemas.microsoft.com/office/drawing/2014/main" id="{9C6C1F97-DF44-4ECF-8D28-D3076709C867}"/>
                              </a:ext>
                            </a:extLst>
                          </p:cNvPr>
                          <p:cNvSpPr/>
                          <p:nvPr/>
                        </p:nvSpPr>
                        <p:spPr>
                          <a:xfrm>
                            <a:off x="3676037" y="1745617"/>
                            <a:ext cx="377" cy="6656"/>
                          </a:xfrm>
                          <a:custGeom>
                            <a:avLst/>
                            <a:gdLst>
                              <a:gd name="connsiteX0" fmla="*/ 377 w 377"/>
                              <a:gd name="connsiteY0" fmla="*/ 0 h 6656"/>
                              <a:gd name="connsiteX1" fmla="*/ 0 w 377"/>
                              <a:gd name="connsiteY1" fmla="*/ 251 h 6656"/>
                              <a:gd name="connsiteX2" fmla="*/ 0 w 377"/>
                              <a:gd name="connsiteY2" fmla="*/ 6657 h 6656"/>
                              <a:gd name="connsiteX3" fmla="*/ 377 w 377"/>
                              <a:gd name="connsiteY3" fmla="*/ 6405 h 6656"/>
                            </a:gdLst>
                            <a:ahLst/>
                            <a:cxnLst>
                              <a:cxn ang="0">
                                <a:pos x="connsiteX0" y="connsiteY0"/>
                              </a:cxn>
                              <a:cxn ang="0">
                                <a:pos x="connsiteX1" y="connsiteY1"/>
                              </a:cxn>
                              <a:cxn ang="0">
                                <a:pos x="connsiteX2" y="connsiteY2"/>
                              </a:cxn>
                              <a:cxn ang="0">
                                <a:pos x="connsiteX3" y="connsiteY3"/>
                              </a:cxn>
                            </a:cxnLst>
                            <a:rect l="l" t="t" r="r" b="b"/>
                            <a:pathLst>
                              <a:path w="377" h="6656">
                                <a:moveTo>
                                  <a:pt x="377" y="0"/>
                                </a:moveTo>
                                <a:lnTo>
                                  <a:pt x="0" y="251"/>
                                </a:lnTo>
                                <a:lnTo>
                                  <a:pt x="0" y="6657"/>
                                </a:lnTo>
                                <a:lnTo>
                                  <a:pt x="377" y="64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0" name="Freeform: Shape 1349">
                            <a:extLst>
                              <a:ext uri="{FF2B5EF4-FFF2-40B4-BE49-F238E27FC236}">
                                <a16:creationId xmlns:a16="http://schemas.microsoft.com/office/drawing/2014/main" id="{30BE4430-1E1B-40A3-AB91-DAF2168992CC}"/>
                              </a:ext>
                            </a:extLst>
                          </p:cNvPr>
                          <p:cNvSpPr/>
                          <p:nvPr/>
                        </p:nvSpPr>
                        <p:spPr>
                          <a:xfrm>
                            <a:off x="3676916" y="1745115"/>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401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1" name="Freeform: Shape 1350">
                            <a:extLst>
                              <a:ext uri="{FF2B5EF4-FFF2-40B4-BE49-F238E27FC236}">
                                <a16:creationId xmlns:a16="http://schemas.microsoft.com/office/drawing/2014/main" id="{F93A483B-C998-47E1-B5ED-672E0307900E}"/>
                              </a:ext>
                            </a:extLst>
                          </p:cNvPr>
                          <p:cNvSpPr/>
                          <p:nvPr/>
                        </p:nvSpPr>
                        <p:spPr>
                          <a:xfrm>
                            <a:off x="3677796" y="1744612"/>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2" name="Freeform: Shape 1351">
                            <a:extLst>
                              <a:ext uri="{FF2B5EF4-FFF2-40B4-BE49-F238E27FC236}">
                                <a16:creationId xmlns:a16="http://schemas.microsoft.com/office/drawing/2014/main" id="{56C28660-C2F7-4261-B451-7122F8DAA176}"/>
                              </a:ext>
                            </a:extLst>
                          </p:cNvPr>
                          <p:cNvSpPr/>
                          <p:nvPr/>
                        </p:nvSpPr>
                        <p:spPr>
                          <a:xfrm>
                            <a:off x="3678675" y="1744110"/>
                            <a:ext cx="502" cy="5651"/>
                          </a:xfrm>
                          <a:custGeom>
                            <a:avLst/>
                            <a:gdLst>
                              <a:gd name="connsiteX0" fmla="*/ 502 w 502"/>
                              <a:gd name="connsiteY0" fmla="*/ 0 h 5651"/>
                              <a:gd name="connsiteX1" fmla="*/ 0 w 502"/>
                              <a:gd name="connsiteY1" fmla="*/ 251 h 5651"/>
                              <a:gd name="connsiteX2" fmla="*/ 0 w 502"/>
                              <a:gd name="connsiteY2" fmla="*/ 5652 h 5651"/>
                              <a:gd name="connsiteX3" fmla="*/ 502 w 502"/>
                              <a:gd name="connsiteY3" fmla="*/ 5401 h 5651"/>
                            </a:gdLst>
                            <a:ahLst/>
                            <a:cxnLst>
                              <a:cxn ang="0">
                                <a:pos x="connsiteX0" y="connsiteY0"/>
                              </a:cxn>
                              <a:cxn ang="0">
                                <a:pos x="connsiteX1" y="connsiteY1"/>
                              </a:cxn>
                              <a:cxn ang="0">
                                <a:pos x="connsiteX2" y="connsiteY2"/>
                              </a:cxn>
                              <a:cxn ang="0">
                                <a:pos x="connsiteX3" y="connsiteY3"/>
                              </a:cxn>
                            </a:cxnLst>
                            <a:rect l="l" t="t" r="r" b="b"/>
                            <a:pathLst>
                              <a:path w="502" h="5651">
                                <a:moveTo>
                                  <a:pt x="502" y="0"/>
                                </a:moveTo>
                                <a:lnTo>
                                  <a:pt x="0" y="251"/>
                                </a:lnTo>
                                <a:lnTo>
                                  <a:pt x="0" y="5652"/>
                                </a:lnTo>
                                <a:lnTo>
                                  <a:pt x="502"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3" name="Freeform: Shape 1352">
                            <a:extLst>
                              <a:ext uri="{FF2B5EF4-FFF2-40B4-BE49-F238E27FC236}">
                                <a16:creationId xmlns:a16="http://schemas.microsoft.com/office/drawing/2014/main" id="{694F40C2-3317-4875-8BF6-002262526DC5}"/>
                              </a:ext>
                            </a:extLst>
                          </p:cNvPr>
                          <p:cNvSpPr/>
                          <p:nvPr/>
                        </p:nvSpPr>
                        <p:spPr>
                          <a:xfrm>
                            <a:off x="3679554" y="1743608"/>
                            <a:ext cx="502" cy="5651"/>
                          </a:xfrm>
                          <a:custGeom>
                            <a:avLst/>
                            <a:gdLst>
                              <a:gd name="connsiteX0" fmla="*/ 502 w 502"/>
                              <a:gd name="connsiteY0" fmla="*/ 0 h 5651"/>
                              <a:gd name="connsiteX1" fmla="*/ 0 w 502"/>
                              <a:gd name="connsiteY1" fmla="*/ 251 h 5651"/>
                              <a:gd name="connsiteX2" fmla="*/ 0 w 502"/>
                              <a:gd name="connsiteY2" fmla="*/ 5652 h 5651"/>
                              <a:gd name="connsiteX3" fmla="*/ 502 w 502"/>
                              <a:gd name="connsiteY3" fmla="*/ 5401 h 5651"/>
                            </a:gdLst>
                            <a:ahLst/>
                            <a:cxnLst>
                              <a:cxn ang="0">
                                <a:pos x="connsiteX0" y="connsiteY0"/>
                              </a:cxn>
                              <a:cxn ang="0">
                                <a:pos x="connsiteX1" y="connsiteY1"/>
                              </a:cxn>
                              <a:cxn ang="0">
                                <a:pos x="connsiteX2" y="connsiteY2"/>
                              </a:cxn>
                              <a:cxn ang="0">
                                <a:pos x="connsiteX3" y="connsiteY3"/>
                              </a:cxn>
                            </a:cxnLst>
                            <a:rect l="l" t="t" r="r" b="b"/>
                            <a:pathLst>
                              <a:path w="502" h="5651">
                                <a:moveTo>
                                  <a:pt x="502" y="0"/>
                                </a:moveTo>
                                <a:lnTo>
                                  <a:pt x="0" y="251"/>
                                </a:lnTo>
                                <a:lnTo>
                                  <a:pt x="0" y="5652"/>
                                </a:lnTo>
                                <a:lnTo>
                                  <a:pt x="502"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4" name="Freeform: Shape 1353">
                            <a:extLst>
                              <a:ext uri="{FF2B5EF4-FFF2-40B4-BE49-F238E27FC236}">
                                <a16:creationId xmlns:a16="http://schemas.microsoft.com/office/drawing/2014/main" id="{8D3F4C8F-07DD-46BE-A2FB-ED6EEBEF5368}"/>
                              </a:ext>
                            </a:extLst>
                          </p:cNvPr>
                          <p:cNvSpPr/>
                          <p:nvPr/>
                        </p:nvSpPr>
                        <p:spPr>
                          <a:xfrm>
                            <a:off x="3680433" y="1742980"/>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5" name="Freeform: Shape 1354">
                            <a:extLst>
                              <a:ext uri="{FF2B5EF4-FFF2-40B4-BE49-F238E27FC236}">
                                <a16:creationId xmlns:a16="http://schemas.microsoft.com/office/drawing/2014/main" id="{35E03C65-5FD8-4340-B484-272D1934EBC5}"/>
                              </a:ext>
                            </a:extLst>
                          </p:cNvPr>
                          <p:cNvSpPr/>
                          <p:nvPr/>
                        </p:nvSpPr>
                        <p:spPr>
                          <a:xfrm>
                            <a:off x="3681312" y="1742477"/>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6" name="Freeform: Shape 1355">
                            <a:extLst>
                              <a:ext uri="{FF2B5EF4-FFF2-40B4-BE49-F238E27FC236}">
                                <a16:creationId xmlns:a16="http://schemas.microsoft.com/office/drawing/2014/main" id="{FC1B4209-6744-468B-8894-56EA876AAA2D}"/>
                              </a:ext>
                            </a:extLst>
                          </p:cNvPr>
                          <p:cNvSpPr/>
                          <p:nvPr/>
                        </p:nvSpPr>
                        <p:spPr>
                          <a:xfrm>
                            <a:off x="3682192" y="1741975"/>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7" name="Freeform: Shape 1356">
                            <a:extLst>
                              <a:ext uri="{FF2B5EF4-FFF2-40B4-BE49-F238E27FC236}">
                                <a16:creationId xmlns:a16="http://schemas.microsoft.com/office/drawing/2014/main" id="{9B1B386B-5AD8-4709-B581-C5D455325898}"/>
                              </a:ext>
                            </a:extLst>
                          </p:cNvPr>
                          <p:cNvSpPr/>
                          <p:nvPr/>
                        </p:nvSpPr>
                        <p:spPr>
                          <a:xfrm>
                            <a:off x="3683071" y="1741473"/>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8" name="Freeform: Shape 1357">
                            <a:extLst>
                              <a:ext uri="{FF2B5EF4-FFF2-40B4-BE49-F238E27FC236}">
                                <a16:creationId xmlns:a16="http://schemas.microsoft.com/office/drawing/2014/main" id="{13436A35-EE85-4456-AF65-38A933104D8E}"/>
                              </a:ext>
                            </a:extLst>
                          </p:cNvPr>
                          <p:cNvSpPr/>
                          <p:nvPr/>
                        </p:nvSpPr>
                        <p:spPr>
                          <a:xfrm>
                            <a:off x="3683950" y="1740970"/>
                            <a:ext cx="502" cy="6782"/>
                          </a:xfrm>
                          <a:custGeom>
                            <a:avLst/>
                            <a:gdLst>
                              <a:gd name="connsiteX0" fmla="*/ 502 w 502"/>
                              <a:gd name="connsiteY0" fmla="*/ 0 h 6782"/>
                              <a:gd name="connsiteX1" fmla="*/ 0 w 502"/>
                              <a:gd name="connsiteY1" fmla="*/ 251 h 6782"/>
                              <a:gd name="connsiteX2" fmla="*/ 0 w 502"/>
                              <a:gd name="connsiteY2" fmla="*/ 6782 h 6782"/>
                              <a:gd name="connsiteX3" fmla="*/ 502 w 502"/>
                              <a:gd name="connsiteY3" fmla="*/ 6531 h 6782"/>
                            </a:gdLst>
                            <a:ahLst/>
                            <a:cxnLst>
                              <a:cxn ang="0">
                                <a:pos x="connsiteX0" y="connsiteY0"/>
                              </a:cxn>
                              <a:cxn ang="0">
                                <a:pos x="connsiteX1" y="connsiteY1"/>
                              </a:cxn>
                              <a:cxn ang="0">
                                <a:pos x="connsiteX2" y="connsiteY2"/>
                              </a:cxn>
                              <a:cxn ang="0">
                                <a:pos x="connsiteX3" y="connsiteY3"/>
                              </a:cxn>
                            </a:cxnLst>
                            <a:rect l="l" t="t" r="r" b="b"/>
                            <a:pathLst>
                              <a:path w="502" h="6782">
                                <a:moveTo>
                                  <a:pt x="502" y="0"/>
                                </a:moveTo>
                                <a:lnTo>
                                  <a:pt x="0" y="251"/>
                                </a:lnTo>
                                <a:lnTo>
                                  <a:pt x="0" y="6782"/>
                                </a:lnTo>
                                <a:lnTo>
                                  <a:pt x="502" y="653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59" name="Freeform: Shape 1358">
                          <a:extLst>
                            <a:ext uri="{FF2B5EF4-FFF2-40B4-BE49-F238E27FC236}">
                              <a16:creationId xmlns:a16="http://schemas.microsoft.com/office/drawing/2014/main" id="{4AA8E808-79D6-4CB5-9CA5-08C1060FA10A}"/>
                            </a:ext>
                          </a:extLst>
                        </p:cNvPr>
                        <p:cNvSpPr/>
                        <p:nvPr/>
                      </p:nvSpPr>
                      <p:spPr>
                        <a:xfrm>
                          <a:off x="3682443" y="1747501"/>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0" name="Freeform: Shape 1359">
                          <a:extLst>
                            <a:ext uri="{FF2B5EF4-FFF2-40B4-BE49-F238E27FC236}">
                              <a16:creationId xmlns:a16="http://schemas.microsoft.com/office/drawing/2014/main" id="{E61DE577-C83A-4351-B6B3-F6384C9386CB}"/>
                            </a:ext>
                          </a:extLst>
                        </p:cNvPr>
                        <p:cNvSpPr/>
                        <p:nvPr/>
                      </p:nvSpPr>
                      <p:spPr>
                        <a:xfrm>
                          <a:off x="3680685" y="1748506"/>
                          <a:ext cx="878" cy="1507"/>
                        </a:xfrm>
                        <a:custGeom>
                          <a:avLst/>
                          <a:gdLst>
                            <a:gd name="connsiteX0" fmla="*/ 0 w 878"/>
                            <a:gd name="connsiteY0" fmla="*/ 1507 h 1507"/>
                            <a:gd name="connsiteX1" fmla="*/ 879 w 878"/>
                            <a:gd name="connsiteY1" fmla="*/ 1005 h 1507"/>
                            <a:gd name="connsiteX2" fmla="*/ 879 w 878"/>
                            <a:gd name="connsiteY2" fmla="*/ 0 h 1507"/>
                            <a:gd name="connsiteX3" fmla="*/ 0 w 878"/>
                            <a:gd name="connsiteY3" fmla="*/ 502 h 1507"/>
                          </a:gdLst>
                          <a:ahLst/>
                          <a:cxnLst>
                            <a:cxn ang="0">
                              <a:pos x="connsiteX0" y="connsiteY0"/>
                            </a:cxn>
                            <a:cxn ang="0">
                              <a:pos x="connsiteX1" y="connsiteY1"/>
                            </a:cxn>
                            <a:cxn ang="0">
                              <a:pos x="connsiteX2" y="connsiteY2"/>
                            </a:cxn>
                            <a:cxn ang="0">
                              <a:pos x="connsiteX3" y="connsiteY3"/>
                            </a:cxn>
                          </a:cxnLst>
                          <a:rect l="l" t="t" r="r" b="b"/>
                          <a:pathLst>
                            <a:path w="878"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1" name="Freeform: Shape 1360">
                          <a:extLst>
                            <a:ext uri="{FF2B5EF4-FFF2-40B4-BE49-F238E27FC236}">
                              <a16:creationId xmlns:a16="http://schemas.microsoft.com/office/drawing/2014/main" id="{929FAAE5-C6D5-4BB0-8366-C0859692CE5E}"/>
                            </a:ext>
                          </a:extLst>
                        </p:cNvPr>
                        <p:cNvSpPr/>
                        <p:nvPr/>
                      </p:nvSpPr>
                      <p:spPr>
                        <a:xfrm>
                          <a:off x="3678926" y="1749511"/>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2" name="Freeform: Shape 1361">
                          <a:extLst>
                            <a:ext uri="{FF2B5EF4-FFF2-40B4-BE49-F238E27FC236}">
                              <a16:creationId xmlns:a16="http://schemas.microsoft.com/office/drawing/2014/main" id="{7BA30453-F6D9-4D69-BCBA-9603D209D3C0}"/>
                            </a:ext>
                          </a:extLst>
                        </p:cNvPr>
                        <p:cNvSpPr/>
                        <p:nvPr/>
                      </p:nvSpPr>
                      <p:spPr>
                        <a:xfrm>
                          <a:off x="3677168" y="1750515"/>
                          <a:ext cx="878" cy="1507"/>
                        </a:xfrm>
                        <a:custGeom>
                          <a:avLst/>
                          <a:gdLst>
                            <a:gd name="connsiteX0" fmla="*/ 0 w 878"/>
                            <a:gd name="connsiteY0" fmla="*/ 1507 h 1507"/>
                            <a:gd name="connsiteX1" fmla="*/ 879 w 878"/>
                            <a:gd name="connsiteY1" fmla="*/ 1005 h 1507"/>
                            <a:gd name="connsiteX2" fmla="*/ 879 w 878"/>
                            <a:gd name="connsiteY2" fmla="*/ 0 h 1507"/>
                            <a:gd name="connsiteX3" fmla="*/ 0 w 878"/>
                            <a:gd name="connsiteY3" fmla="*/ 502 h 1507"/>
                          </a:gdLst>
                          <a:ahLst/>
                          <a:cxnLst>
                            <a:cxn ang="0">
                              <a:pos x="connsiteX0" y="connsiteY0"/>
                            </a:cxn>
                            <a:cxn ang="0">
                              <a:pos x="connsiteX1" y="connsiteY1"/>
                            </a:cxn>
                            <a:cxn ang="0">
                              <a:pos x="connsiteX2" y="connsiteY2"/>
                            </a:cxn>
                            <a:cxn ang="0">
                              <a:pos x="connsiteX3" y="connsiteY3"/>
                            </a:cxn>
                          </a:cxnLst>
                          <a:rect l="l" t="t" r="r" b="b"/>
                          <a:pathLst>
                            <a:path w="878"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363" name="Graphic 4">
                      <a:extLst>
                        <a:ext uri="{FF2B5EF4-FFF2-40B4-BE49-F238E27FC236}">
                          <a16:creationId xmlns:a16="http://schemas.microsoft.com/office/drawing/2014/main" id="{84FB7ED1-A2DF-40A1-A747-5F7CF3F14040}"/>
                        </a:ext>
                      </a:extLst>
                    </p:cNvPr>
                    <p:cNvGrpSpPr/>
                    <p:nvPr/>
                  </p:nvGrpSpPr>
                  <p:grpSpPr>
                    <a:xfrm>
                      <a:off x="3672018" y="1725522"/>
                      <a:ext cx="37175" cy="42953"/>
                      <a:chOff x="3672018" y="1725522"/>
                      <a:chExt cx="37175" cy="42953"/>
                    </a:xfrm>
                    <a:solidFill>
                      <a:schemeClr val="accent1"/>
                    </a:solidFill>
                  </p:grpSpPr>
                  <p:grpSp>
                    <p:nvGrpSpPr>
                      <p:cNvPr id="1364" name="Graphic 4">
                        <a:extLst>
                          <a:ext uri="{FF2B5EF4-FFF2-40B4-BE49-F238E27FC236}">
                            <a16:creationId xmlns:a16="http://schemas.microsoft.com/office/drawing/2014/main" id="{84FB7ED1-A2DF-40A1-A747-5F7CF3F14040}"/>
                          </a:ext>
                        </a:extLst>
                      </p:cNvPr>
                      <p:cNvGrpSpPr/>
                      <p:nvPr/>
                    </p:nvGrpSpPr>
                    <p:grpSpPr>
                      <a:xfrm>
                        <a:off x="3672018" y="1725522"/>
                        <a:ext cx="37175" cy="42953"/>
                        <a:chOff x="3672018" y="1725522"/>
                        <a:chExt cx="37175" cy="42953"/>
                      </a:xfrm>
                      <a:solidFill>
                        <a:schemeClr val="accent1"/>
                      </a:solidFill>
                    </p:grpSpPr>
                    <p:sp>
                      <p:nvSpPr>
                        <p:cNvPr id="1365" name="Freeform: Shape 1364">
                          <a:extLst>
                            <a:ext uri="{FF2B5EF4-FFF2-40B4-BE49-F238E27FC236}">
                              <a16:creationId xmlns:a16="http://schemas.microsoft.com/office/drawing/2014/main" id="{277F3B4D-4698-40A2-842D-26F026C8BE6A}"/>
                            </a:ext>
                          </a:extLst>
                        </p:cNvPr>
                        <p:cNvSpPr/>
                        <p:nvPr/>
                      </p:nvSpPr>
                      <p:spPr>
                        <a:xfrm>
                          <a:off x="3672018" y="1736323"/>
                          <a:ext cx="18587" cy="32152"/>
                        </a:xfrm>
                        <a:custGeom>
                          <a:avLst/>
                          <a:gdLst>
                            <a:gd name="connsiteX0" fmla="*/ 0 w 18587"/>
                            <a:gd name="connsiteY0" fmla="*/ 21351 h 32152"/>
                            <a:gd name="connsiteX1" fmla="*/ 18588 w 18587"/>
                            <a:gd name="connsiteY1" fmla="*/ 32152 h 32152"/>
                            <a:gd name="connsiteX2" fmla="*/ 18588 w 18587"/>
                            <a:gd name="connsiteY2" fmla="*/ 10676 h 32152"/>
                            <a:gd name="connsiteX3" fmla="*/ 0 w 18587"/>
                            <a:gd name="connsiteY3" fmla="*/ 0 h 32152"/>
                          </a:gdLst>
                          <a:ahLst/>
                          <a:cxnLst>
                            <a:cxn ang="0">
                              <a:pos x="connsiteX0" y="connsiteY0"/>
                            </a:cxn>
                            <a:cxn ang="0">
                              <a:pos x="connsiteX1" y="connsiteY1"/>
                            </a:cxn>
                            <a:cxn ang="0">
                              <a:pos x="connsiteX2" y="connsiteY2"/>
                            </a:cxn>
                            <a:cxn ang="0">
                              <a:pos x="connsiteX3" y="connsiteY3"/>
                            </a:cxn>
                          </a:cxnLst>
                          <a:rect l="l" t="t" r="r" b="b"/>
                          <a:pathLst>
                            <a:path w="18587" h="32152">
                              <a:moveTo>
                                <a:pt x="0" y="21351"/>
                              </a:moveTo>
                              <a:lnTo>
                                <a:pt x="18588" y="32152"/>
                              </a:lnTo>
                              <a:lnTo>
                                <a:pt x="18588" y="10676"/>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6" name="Freeform: Shape 1365">
                          <a:extLst>
                            <a:ext uri="{FF2B5EF4-FFF2-40B4-BE49-F238E27FC236}">
                              <a16:creationId xmlns:a16="http://schemas.microsoft.com/office/drawing/2014/main" id="{49EC5F82-0DE1-4B6A-AEA1-40B30B63CD96}"/>
                            </a:ext>
                          </a:extLst>
                        </p:cNvPr>
                        <p:cNvSpPr/>
                        <p:nvPr/>
                      </p:nvSpPr>
                      <p:spPr>
                        <a:xfrm>
                          <a:off x="3672018" y="1725522"/>
                          <a:ext cx="37175" cy="21476"/>
                        </a:xfrm>
                        <a:custGeom>
                          <a:avLst/>
                          <a:gdLst>
                            <a:gd name="connsiteX0" fmla="*/ 0 w 37175"/>
                            <a:gd name="connsiteY0" fmla="*/ 10801 h 21476"/>
                            <a:gd name="connsiteX1" fmla="*/ 18588 w 37175"/>
                            <a:gd name="connsiteY1" fmla="*/ 21477 h 21476"/>
                            <a:gd name="connsiteX2" fmla="*/ 37176 w 37175"/>
                            <a:gd name="connsiteY2" fmla="*/ 10801 h 21476"/>
                            <a:gd name="connsiteX3" fmla="*/ 18588 w 37175"/>
                            <a:gd name="connsiteY3" fmla="*/ 0 h 21476"/>
                          </a:gdLst>
                          <a:ahLst/>
                          <a:cxnLst>
                            <a:cxn ang="0">
                              <a:pos x="connsiteX0" y="connsiteY0"/>
                            </a:cxn>
                            <a:cxn ang="0">
                              <a:pos x="connsiteX1" y="connsiteY1"/>
                            </a:cxn>
                            <a:cxn ang="0">
                              <a:pos x="connsiteX2" y="connsiteY2"/>
                            </a:cxn>
                            <a:cxn ang="0">
                              <a:pos x="connsiteX3" y="connsiteY3"/>
                            </a:cxn>
                          </a:cxnLst>
                          <a:rect l="l" t="t" r="r" b="b"/>
                          <a:pathLst>
                            <a:path w="37175" h="21476">
                              <a:moveTo>
                                <a:pt x="0" y="10801"/>
                              </a:moveTo>
                              <a:lnTo>
                                <a:pt x="18588" y="21477"/>
                              </a:lnTo>
                              <a:lnTo>
                                <a:pt x="37176" y="10801"/>
                              </a:lnTo>
                              <a:lnTo>
                                <a:pt x="1858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67" name="Graphic 4">
                          <a:extLst>
                            <a:ext uri="{FF2B5EF4-FFF2-40B4-BE49-F238E27FC236}">
                              <a16:creationId xmlns:a16="http://schemas.microsoft.com/office/drawing/2014/main" id="{84FB7ED1-A2DF-40A1-A747-5F7CF3F14040}"/>
                            </a:ext>
                          </a:extLst>
                        </p:cNvPr>
                        <p:cNvGrpSpPr/>
                        <p:nvPr/>
                      </p:nvGrpSpPr>
                      <p:grpSpPr>
                        <a:xfrm>
                          <a:off x="3690606" y="1736323"/>
                          <a:ext cx="18588" cy="32152"/>
                          <a:chOff x="3690606" y="1736323"/>
                          <a:chExt cx="18588" cy="32152"/>
                        </a:xfrm>
                        <a:solidFill>
                          <a:schemeClr val="accent1"/>
                        </a:solidFill>
                      </p:grpSpPr>
                      <p:sp>
                        <p:nvSpPr>
                          <p:cNvPr id="1368" name="Freeform: Shape 1367">
                            <a:extLst>
                              <a:ext uri="{FF2B5EF4-FFF2-40B4-BE49-F238E27FC236}">
                                <a16:creationId xmlns:a16="http://schemas.microsoft.com/office/drawing/2014/main" id="{321C4A01-0E9A-418A-803B-88F77152479C}"/>
                              </a:ext>
                            </a:extLst>
                          </p:cNvPr>
                          <p:cNvSpPr/>
                          <p:nvPr/>
                        </p:nvSpPr>
                        <p:spPr>
                          <a:xfrm>
                            <a:off x="3690606" y="1736323"/>
                            <a:ext cx="18588" cy="32152"/>
                          </a:xfrm>
                          <a:custGeom>
                            <a:avLst/>
                            <a:gdLst>
                              <a:gd name="connsiteX0" fmla="*/ 0 w 18588"/>
                              <a:gd name="connsiteY0" fmla="*/ 32152 h 32152"/>
                              <a:gd name="connsiteX1" fmla="*/ 18588 w 18588"/>
                              <a:gd name="connsiteY1" fmla="*/ 21351 h 32152"/>
                              <a:gd name="connsiteX2" fmla="*/ 18588 w 18588"/>
                              <a:gd name="connsiteY2" fmla="*/ 0 h 32152"/>
                              <a:gd name="connsiteX3" fmla="*/ 0 w 18588"/>
                              <a:gd name="connsiteY3" fmla="*/ 10676 h 32152"/>
                            </a:gdLst>
                            <a:ahLst/>
                            <a:cxnLst>
                              <a:cxn ang="0">
                                <a:pos x="connsiteX0" y="connsiteY0"/>
                              </a:cxn>
                              <a:cxn ang="0">
                                <a:pos x="connsiteX1" y="connsiteY1"/>
                              </a:cxn>
                              <a:cxn ang="0">
                                <a:pos x="connsiteX2" y="connsiteY2"/>
                              </a:cxn>
                              <a:cxn ang="0">
                                <a:pos x="connsiteX3" y="connsiteY3"/>
                              </a:cxn>
                            </a:cxnLst>
                            <a:rect l="l" t="t" r="r" b="b"/>
                            <a:pathLst>
                              <a:path w="18588" h="32152">
                                <a:moveTo>
                                  <a:pt x="0" y="32152"/>
                                </a:moveTo>
                                <a:lnTo>
                                  <a:pt x="18588" y="21351"/>
                                </a:lnTo>
                                <a:lnTo>
                                  <a:pt x="18588" y="0"/>
                                </a:lnTo>
                                <a:lnTo>
                                  <a:pt x="0" y="10676"/>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9" name="Freeform: Shape 1368">
                            <a:extLst>
                              <a:ext uri="{FF2B5EF4-FFF2-40B4-BE49-F238E27FC236}">
                                <a16:creationId xmlns:a16="http://schemas.microsoft.com/office/drawing/2014/main" id="{94438A72-C267-4264-AD69-BFC0A8B7574E}"/>
                              </a:ext>
                            </a:extLst>
                          </p:cNvPr>
                          <p:cNvSpPr/>
                          <p:nvPr/>
                        </p:nvSpPr>
                        <p:spPr>
                          <a:xfrm>
                            <a:off x="3698016" y="1740593"/>
                            <a:ext cx="3768" cy="7786"/>
                          </a:xfrm>
                          <a:custGeom>
                            <a:avLst/>
                            <a:gdLst>
                              <a:gd name="connsiteX0" fmla="*/ 0 w 3768"/>
                              <a:gd name="connsiteY0" fmla="*/ 7787 h 7786"/>
                              <a:gd name="connsiteX1" fmla="*/ 3768 w 3768"/>
                              <a:gd name="connsiteY1" fmla="*/ 5652 h 7786"/>
                              <a:gd name="connsiteX2" fmla="*/ 3768 w 3768"/>
                              <a:gd name="connsiteY2" fmla="*/ 0 h 7786"/>
                              <a:gd name="connsiteX3" fmla="*/ 0 w 3768"/>
                              <a:gd name="connsiteY3" fmla="*/ 2135 h 7786"/>
                            </a:gdLst>
                            <a:ahLst/>
                            <a:cxnLst>
                              <a:cxn ang="0">
                                <a:pos x="connsiteX0" y="connsiteY0"/>
                              </a:cxn>
                              <a:cxn ang="0">
                                <a:pos x="connsiteX1" y="connsiteY1"/>
                              </a:cxn>
                              <a:cxn ang="0">
                                <a:pos x="connsiteX2" y="connsiteY2"/>
                              </a:cxn>
                              <a:cxn ang="0">
                                <a:pos x="connsiteX3" y="connsiteY3"/>
                              </a:cxn>
                            </a:cxnLst>
                            <a:rect l="l" t="t" r="r" b="b"/>
                            <a:pathLst>
                              <a:path w="3768" h="7786">
                                <a:moveTo>
                                  <a:pt x="0" y="7787"/>
                                </a:moveTo>
                                <a:lnTo>
                                  <a:pt x="3768" y="5652"/>
                                </a:lnTo>
                                <a:lnTo>
                                  <a:pt x="3768" y="0"/>
                                </a:lnTo>
                                <a:lnTo>
                                  <a:pt x="0" y="2135"/>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70" name="Freeform: Shape 1369">
                          <a:extLst>
                            <a:ext uri="{FF2B5EF4-FFF2-40B4-BE49-F238E27FC236}">
                              <a16:creationId xmlns:a16="http://schemas.microsoft.com/office/drawing/2014/main" id="{CF3D300B-FA7C-45F5-810F-1110FB8664B8}"/>
                            </a:ext>
                          </a:extLst>
                        </p:cNvPr>
                        <p:cNvSpPr/>
                        <p:nvPr/>
                      </p:nvSpPr>
                      <p:spPr>
                        <a:xfrm>
                          <a:off x="3679429" y="1729792"/>
                          <a:ext cx="22355" cy="12936"/>
                        </a:xfrm>
                        <a:custGeom>
                          <a:avLst/>
                          <a:gdLst>
                            <a:gd name="connsiteX0" fmla="*/ 22356 w 22355"/>
                            <a:gd name="connsiteY0" fmla="*/ 10801 h 12936"/>
                            <a:gd name="connsiteX1" fmla="*/ 18588 w 22355"/>
                            <a:gd name="connsiteY1" fmla="*/ 12936 h 12936"/>
                            <a:gd name="connsiteX2" fmla="*/ 0 w 22355"/>
                            <a:gd name="connsiteY2" fmla="*/ 2135 h 12936"/>
                            <a:gd name="connsiteX3" fmla="*/ 3768 w 22355"/>
                            <a:gd name="connsiteY3" fmla="*/ 0 h 12936"/>
                          </a:gdLst>
                          <a:ahLst/>
                          <a:cxnLst>
                            <a:cxn ang="0">
                              <a:pos x="connsiteX0" y="connsiteY0"/>
                            </a:cxn>
                            <a:cxn ang="0">
                              <a:pos x="connsiteX1" y="connsiteY1"/>
                            </a:cxn>
                            <a:cxn ang="0">
                              <a:pos x="connsiteX2" y="connsiteY2"/>
                            </a:cxn>
                            <a:cxn ang="0">
                              <a:pos x="connsiteX3" y="connsiteY3"/>
                            </a:cxn>
                          </a:cxnLst>
                          <a:rect l="l" t="t" r="r" b="b"/>
                          <a:pathLst>
                            <a:path w="22355" h="12936">
                              <a:moveTo>
                                <a:pt x="22356" y="10801"/>
                              </a:moveTo>
                              <a:lnTo>
                                <a:pt x="18588" y="12936"/>
                              </a:lnTo>
                              <a:lnTo>
                                <a:pt x="0" y="2135"/>
                              </a:lnTo>
                              <a:lnTo>
                                <a:pt x="376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71" name="Graphic 4">
                        <a:extLst>
                          <a:ext uri="{FF2B5EF4-FFF2-40B4-BE49-F238E27FC236}">
                            <a16:creationId xmlns:a16="http://schemas.microsoft.com/office/drawing/2014/main" id="{84FB7ED1-A2DF-40A1-A747-5F7CF3F14040}"/>
                          </a:ext>
                        </a:extLst>
                      </p:cNvPr>
                      <p:cNvGrpSpPr/>
                      <p:nvPr/>
                    </p:nvGrpSpPr>
                    <p:grpSpPr>
                      <a:xfrm>
                        <a:off x="3695630" y="1752399"/>
                        <a:ext cx="8540" cy="11303"/>
                        <a:chOff x="3695630" y="1752399"/>
                        <a:chExt cx="8540" cy="11303"/>
                      </a:xfrm>
                      <a:solidFill>
                        <a:srgbClr val="000000"/>
                      </a:solidFill>
                    </p:grpSpPr>
                    <p:grpSp>
                      <p:nvGrpSpPr>
                        <p:cNvPr id="1372" name="Graphic 4">
                          <a:extLst>
                            <a:ext uri="{FF2B5EF4-FFF2-40B4-BE49-F238E27FC236}">
                              <a16:creationId xmlns:a16="http://schemas.microsoft.com/office/drawing/2014/main" id="{84FB7ED1-A2DF-40A1-A747-5F7CF3F14040}"/>
                            </a:ext>
                          </a:extLst>
                        </p:cNvPr>
                        <p:cNvGrpSpPr/>
                        <p:nvPr/>
                      </p:nvGrpSpPr>
                      <p:grpSpPr>
                        <a:xfrm>
                          <a:off x="3695630" y="1752399"/>
                          <a:ext cx="8540" cy="11303"/>
                          <a:chOff x="3695630" y="1752399"/>
                          <a:chExt cx="8540" cy="11303"/>
                        </a:xfrm>
                        <a:solidFill>
                          <a:srgbClr val="000000"/>
                        </a:solidFill>
                      </p:grpSpPr>
                      <p:sp>
                        <p:nvSpPr>
                          <p:cNvPr id="1373" name="Freeform: Shape 1372">
                            <a:extLst>
                              <a:ext uri="{FF2B5EF4-FFF2-40B4-BE49-F238E27FC236}">
                                <a16:creationId xmlns:a16="http://schemas.microsoft.com/office/drawing/2014/main" id="{43A3DD06-EC2C-40B7-B9DB-031A016F8BDE}"/>
                              </a:ext>
                            </a:extLst>
                          </p:cNvPr>
                          <p:cNvSpPr/>
                          <p:nvPr/>
                        </p:nvSpPr>
                        <p:spPr>
                          <a:xfrm>
                            <a:off x="3695630" y="1756921"/>
                            <a:ext cx="502" cy="6782"/>
                          </a:xfrm>
                          <a:custGeom>
                            <a:avLst/>
                            <a:gdLst>
                              <a:gd name="connsiteX0" fmla="*/ 502 w 502"/>
                              <a:gd name="connsiteY0" fmla="*/ 0 h 6782"/>
                              <a:gd name="connsiteX1" fmla="*/ 0 w 502"/>
                              <a:gd name="connsiteY1" fmla="*/ 251 h 6782"/>
                              <a:gd name="connsiteX2" fmla="*/ 0 w 502"/>
                              <a:gd name="connsiteY2" fmla="*/ 6782 h 6782"/>
                              <a:gd name="connsiteX3" fmla="*/ 502 w 502"/>
                              <a:gd name="connsiteY3" fmla="*/ 6531 h 6782"/>
                            </a:gdLst>
                            <a:ahLst/>
                            <a:cxnLst>
                              <a:cxn ang="0">
                                <a:pos x="connsiteX0" y="connsiteY0"/>
                              </a:cxn>
                              <a:cxn ang="0">
                                <a:pos x="connsiteX1" y="connsiteY1"/>
                              </a:cxn>
                              <a:cxn ang="0">
                                <a:pos x="connsiteX2" y="connsiteY2"/>
                              </a:cxn>
                              <a:cxn ang="0">
                                <a:pos x="connsiteX3" y="connsiteY3"/>
                              </a:cxn>
                            </a:cxnLst>
                            <a:rect l="l" t="t" r="r" b="b"/>
                            <a:pathLst>
                              <a:path w="502" h="6782">
                                <a:moveTo>
                                  <a:pt x="502" y="0"/>
                                </a:moveTo>
                                <a:lnTo>
                                  <a:pt x="0" y="251"/>
                                </a:lnTo>
                                <a:lnTo>
                                  <a:pt x="0" y="6782"/>
                                </a:lnTo>
                                <a:lnTo>
                                  <a:pt x="502" y="653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4" name="Freeform: Shape 1373">
                            <a:extLst>
                              <a:ext uri="{FF2B5EF4-FFF2-40B4-BE49-F238E27FC236}">
                                <a16:creationId xmlns:a16="http://schemas.microsoft.com/office/drawing/2014/main" id="{A817B1C7-008F-4905-BF06-806E81714FB0}"/>
                              </a:ext>
                            </a:extLst>
                          </p:cNvPr>
                          <p:cNvSpPr/>
                          <p:nvPr/>
                        </p:nvSpPr>
                        <p:spPr>
                          <a:xfrm>
                            <a:off x="3696635" y="1756418"/>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5" name="Freeform: Shape 1374">
                            <a:extLst>
                              <a:ext uri="{FF2B5EF4-FFF2-40B4-BE49-F238E27FC236}">
                                <a16:creationId xmlns:a16="http://schemas.microsoft.com/office/drawing/2014/main" id="{796AB2D4-C0AF-4E29-97EA-74BEF69A2312}"/>
                              </a:ext>
                            </a:extLst>
                          </p:cNvPr>
                          <p:cNvSpPr/>
                          <p:nvPr/>
                        </p:nvSpPr>
                        <p:spPr>
                          <a:xfrm>
                            <a:off x="3697514" y="1755916"/>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6" name="Freeform: Shape 1375">
                            <a:extLst>
                              <a:ext uri="{FF2B5EF4-FFF2-40B4-BE49-F238E27FC236}">
                                <a16:creationId xmlns:a16="http://schemas.microsoft.com/office/drawing/2014/main" id="{F1795B29-F03E-4301-BD59-5A962C35648B}"/>
                              </a:ext>
                            </a:extLst>
                          </p:cNvPr>
                          <p:cNvSpPr/>
                          <p:nvPr/>
                        </p:nvSpPr>
                        <p:spPr>
                          <a:xfrm>
                            <a:off x="3698393" y="1755414"/>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7" name="Freeform: Shape 1376">
                            <a:extLst>
                              <a:ext uri="{FF2B5EF4-FFF2-40B4-BE49-F238E27FC236}">
                                <a16:creationId xmlns:a16="http://schemas.microsoft.com/office/drawing/2014/main" id="{DBE24465-71A2-41CB-9350-9A71946E5B0F}"/>
                              </a:ext>
                            </a:extLst>
                          </p:cNvPr>
                          <p:cNvSpPr/>
                          <p:nvPr/>
                        </p:nvSpPr>
                        <p:spPr>
                          <a:xfrm>
                            <a:off x="3699272" y="1754911"/>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8" name="Freeform: Shape 1377">
                            <a:extLst>
                              <a:ext uri="{FF2B5EF4-FFF2-40B4-BE49-F238E27FC236}">
                                <a16:creationId xmlns:a16="http://schemas.microsoft.com/office/drawing/2014/main" id="{A5057C94-32DF-4A81-93D2-A847D7B93E1E}"/>
                              </a:ext>
                            </a:extLst>
                          </p:cNvPr>
                          <p:cNvSpPr/>
                          <p:nvPr/>
                        </p:nvSpPr>
                        <p:spPr>
                          <a:xfrm>
                            <a:off x="3700152" y="1754409"/>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9" name="Freeform: Shape 1378">
                            <a:extLst>
                              <a:ext uri="{FF2B5EF4-FFF2-40B4-BE49-F238E27FC236}">
                                <a16:creationId xmlns:a16="http://schemas.microsoft.com/office/drawing/2014/main" id="{A007527C-8D35-4899-BE3F-48DF3B0C646E}"/>
                              </a:ext>
                            </a:extLst>
                          </p:cNvPr>
                          <p:cNvSpPr/>
                          <p:nvPr/>
                        </p:nvSpPr>
                        <p:spPr>
                          <a:xfrm>
                            <a:off x="3701031" y="1753906"/>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0" name="Freeform: Shape 1379">
                            <a:extLst>
                              <a:ext uri="{FF2B5EF4-FFF2-40B4-BE49-F238E27FC236}">
                                <a16:creationId xmlns:a16="http://schemas.microsoft.com/office/drawing/2014/main" id="{A2FF46B4-C166-4E7E-9AD7-FAF4A6E3D661}"/>
                              </a:ext>
                            </a:extLst>
                          </p:cNvPr>
                          <p:cNvSpPr/>
                          <p:nvPr/>
                        </p:nvSpPr>
                        <p:spPr>
                          <a:xfrm>
                            <a:off x="3701910" y="1753404"/>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401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1" name="Freeform: Shape 1380">
                            <a:extLst>
                              <a:ext uri="{FF2B5EF4-FFF2-40B4-BE49-F238E27FC236}">
                                <a16:creationId xmlns:a16="http://schemas.microsoft.com/office/drawing/2014/main" id="{004AD02D-4A8B-4700-8E3E-CE4539BB71B9}"/>
                              </a:ext>
                            </a:extLst>
                          </p:cNvPr>
                          <p:cNvSpPr/>
                          <p:nvPr/>
                        </p:nvSpPr>
                        <p:spPr>
                          <a:xfrm>
                            <a:off x="3702789" y="1752902"/>
                            <a:ext cx="502" cy="5651"/>
                          </a:xfrm>
                          <a:custGeom>
                            <a:avLst/>
                            <a:gdLst>
                              <a:gd name="connsiteX0" fmla="*/ 502 w 502"/>
                              <a:gd name="connsiteY0" fmla="*/ 0 h 5651"/>
                              <a:gd name="connsiteX1" fmla="*/ 0 w 502"/>
                              <a:gd name="connsiteY1" fmla="*/ 251 h 5651"/>
                              <a:gd name="connsiteX2" fmla="*/ 0 w 502"/>
                              <a:gd name="connsiteY2" fmla="*/ 5652 h 5651"/>
                              <a:gd name="connsiteX3" fmla="*/ 502 w 502"/>
                              <a:gd name="connsiteY3" fmla="*/ 5401 h 5651"/>
                            </a:gdLst>
                            <a:ahLst/>
                            <a:cxnLst>
                              <a:cxn ang="0">
                                <a:pos x="connsiteX0" y="connsiteY0"/>
                              </a:cxn>
                              <a:cxn ang="0">
                                <a:pos x="connsiteX1" y="connsiteY1"/>
                              </a:cxn>
                              <a:cxn ang="0">
                                <a:pos x="connsiteX2" y="connsiteY2"/>
                              </a:cxn>
                              <a:cxn ang="0">
                                <a:pos x="connsiteX3" y="connsiteY3"/>
                              </a:cxn>
                            </a:cxnLst>
                            <a:rect l="l" t="t" r="r" b="b"/>
                            <a:pathLst>
                              <a:path w="502" h="5651">
                                <a:moveTo>
                                  <a:pt x="502" y="0"/>
                                </a:moveTo>
                                <a:lnTo>
                                  <a:pt x="0" y="251"/>
                                </a:lnTo>
                                <a:lnTo>
                                  <a:pt x="0" y="5652"/>
                                </a:lnTo>
                                <a:lnTo>
                                  <a:pt x="502"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2" name="Freeform: Shape 1381">
                            <a:extLst>
                              <a:ext uri="{FF2B5EF4-FFF2-40B4-BE49-F238E27FC236}">
                                <a16:creationId xmlns:a16="http://schemas.microsoft.com/office/drawing/2014/main" id="{E4A5DB93-0B98-4164-8A49-F35CF54CD999}"/>
                              </a:ext>
                            </a:extLst>
                          </p:cNvPr>
                          <p:cNvSpPr/>
                          <p:nvPr/>
                        </p:nvSpPr>
                        <p:spPr>
                          <a:xfrm>
                            <a:off x="3703668" y="1752399"/>
                            <a:ext cx="502" cy="6656"/>
                          </a:xfrm>
                          <a:custGeom>
                            <a:avLst/>
                            <a:gdLst>
                              <a:gd name="connsiteX0" fmla="*/ 502 w 502"/>
                              <a:gd name="connsiteY0" fmla="*/ 0 h 6656"/>
                              <a:gd name="connsiteX1" fmla="*/ 0 w 502"/>
                              <a:gd name="connsiteY1" fmla="*/ 251 h 6656"/>
                              <a:gd name="connsiteX2" fmla="*/ 0 w 502"/>
                              <a:gd name="connsiteY2" fmla="*/ 6657 h 6656"/>
                              <a:gd name="connsiteX3" fmla="*/ 502 w 502"/>
                              <a:gd name="connsiteY3" fmla="*/ 6405 h 6656"/>
                            </a:gdLst>
                            <a:ahLst/>
                            <a:cxnLst>
                              <a:cxn ang="0">
                                <a:pos x="connsiteX0" y="connsiteY0"/>
                              </a:cxn>
                              <a:cxn ang="0">
                                <a:pos x="connsiteX1" y="connsiteY1"/>
                              </a:cxn>
                              <a:cxn ang="0">
                                <a:pos x="connsiteX2" y="connsiteY2"/>
                              </a:cxn>
                              <a:cxn ang="0">
                                <a:pos x="connsiteX3" y="connsiteY3"/>
                              </a:cxn>
                            </a:cxnLst>
                            <a:rect l="l" t="t" r="r" b="b"/>
                            <a:pathLst>
                              <a:path w="502" h="6656">
                                <a:moveTo>
                                  <a:pt x="502" y="0"/>
                                </a:moveTo>
                                <a:lnTo>
                                  <a:pt x="0" y="251"/>
                                </a:lnTo>
                                <a:lnTo>
                                  <a:pt x="0" y="6657"/>
                                </a:lnTo>
                                <a:lnTo>
                                  <a:pt x="502" y="64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83" name="Freeform: Shape 1382">
                          <a:extLst>
                            <a:ext uri="{FF2B5EF4-FFF2-40B4-BE49-F238E27FC236}">
                              <a16:creationId xmlns:a16="http://schemas.microsoft.com/office/drawing/2014/main" id="{FF95B8E2-038A-449C-A0B3-EF1101B1D78D}"/>
                            </a:ext>
                          </a:extLst>
                        </p:cNvPr>
                        <p:cNvSpPr/>
                        <p:nvPr/>
                      </p:nvSpPr>
                      <p:spPr>
                        <a:xfrm>
                          <a:off x="3702161" y="1758805"/>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4" name="Freeform: Shape 1383">
                          <a:extLst>
                            <a:ext uri="{FF2B5EF4-FFF2-40B4-BE49-F238E27FC236}">
                              <a16:creationId xmlns:a16="http://schemas.microsoft.com/office/drawing/2014/main" id="{872FA7E8-0E53-4A85-A7F2-BB8434B1447E}"/>
                            </a:ext>
                          </a:extLst>
                        </p:cNvPr>
                        <p:cNvSpPr/>
                        <p:nvPr/>
                      </p:nvSpPr>
                      <p:spPr>
                        <a:xfrm>
                          <a:off x="3700403" y="1759809"/>
                          <a:ext cx="879" cy="1632"/>
                        </a:xfrm>
                        <a:custGeom>
                          <a:avLst/>
                          <a:gdLst>
                            <a:gd name="connsiteX0" fmla="*/ 0 w 879"/>
                            <a:gd name="connsiteY0" fmla="*/ 1633 h 1632"/>
                            <a:gd name="connsiteX1" fmla="*/ 879 w 879"/>
                            <a:gd name="connsiteY1" fmla="*/ 1005 h 1632"/>
                            <a:gd name="connsiteX2" fmla="*/ 879 w 879"/>
                            <a:gd name="connsiteY2" fmla="*/ 0 h 1632"/>
                            <a:gd name="connsiteX3" fmla="*/ 0 w 879"/>
                            <a:gd name="connsiteY3" fmla="*/ 502 h 1632"/>
                          </a:gdLst>
                          <a:ahLst/>
                          <a:cxnLst>
                            <a:cxn ang="0">
                              <a:pos x="connsiteX0" y="connsiteY0"/>
                            </a:cxn>
                            <a:cxn ang="0">
                              <a:pos x="connsiteX1" y="connsiteY1"/>
                            </a:cxn>
                            <a:cxn ang="0">
                              <a:pos x="connsiteX2" y="connsiteY2"/>
                            </a:cxn>
                            <a:cxn ang="0">
                              <a:pos x="connsiteX3" y="connsiteY3"/>
                            </a:cxn>
                          </a:cxnLst>
                          <a:rect l="l" t="t" r="r" b="b"/>
                          <a:pathLst>
                            <a:path w="879" h="1632">
                              <a:moveTo>
                                <a:pt x="0" y="1633"/>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5" name="Freeform: Shape 1384">
                          <a:extLst>
                            <a:ext uri="{FF2B5EF4-FFF2-40B4-BE49-F238E27FC236}">
                              <a16:creationId xmlns:a16="http://schemas.microsoft.com/office/drawing/2014/main" id="{6B332612-6408-4D68-AF93-E9D50C8DDFDF}"/>
                            </a:ext>
                          </a:extLst>
                        </p:cNvPr>
                        <p:cNvSpPr/>
                        <p:nvPr/>
                      </p:nvSpPr>
                      <p:spPr>
                        <a:xfrm>
                          <a:off x="3698519" y="1760814"/>
                          <a:ext cx="1004" cy="1632"/>
                        </a:xfrm>
                        <a:custGeom>
                          <a:avLst/>
                          <a:gdLst>
                            <a:gd name="connsiteX0" fmla="*/ 0 w 1004"/>
                            <a:gd name="connsiteY0" fmla="*/ 1633 h 1632"/>
                            <a:gd name="connsiteX1" fmla="*/ 1005 w 1004"/>
                            <a:gd name="connsiteY1" fmla="*/ 1130 h 1632"/>
                            <a:gd name="connsiteX2" fmla="*/ 1005 w 1004"/>
                            <a:gd name="connsiteY2" fmla="*/ 0 h 1632"/>
                            <a:gd name="connsiteX3" fmla="*/ 0 w 1004"/>
                            <a:gd name="connsiteY3" fmla="*/ 628 h 1632"/>
                          </a:gdLst>
                          <a:ahLst/>
                          <a:cxnLst>
                            <a:cxn ang="0">
                              <a:pos x="connsiteX0" y="connsiteY0"/>
                            </a:cxn>
                            <a:cxn ang="0">
                              <a:pos x="connsiteX1" y="connsiteY1"/>
                            </a:cxn>
                            <a:cxn ang="0">
                              <a:pos x="connsiteX2" y="connsiteY2"/>
                            </a:cxn>
                            <a:cxn ang="0">
                              <a:pos x="connsiteX3" y="connsiteY3"/>
                            </a:cxn>
                          </a:cxnLst>
                          <a:rect l="l" t="t" r="r" b="b"/>
                          <a:pathLst>
                            <a:path w="1004" h="1632">
                              <a:moveTo>
                                <a:pt x="0" y="1633"/>
                              </a:moveTo>
                              <a:lnTo>
                                <a:pt x="1005" y="1130"/>
                              </a:lnTo>
                              <a:lnTo>
                                <a:pt x="1005" y="0"/>
                              </a:lnTo>
                              <a:lnTo>
                                <a:pt x="0" y="62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6" name="Freeform: Shape 1385">
                          <a:extLst>
                            <a:ext uri="{FF2B5EF4-FFF2-40B4-BE49-F238E27FC236}">
                              <a16:creationId xmlns:a16="http://schemas.microsoft.com/office/drawing/2014/main" id="{6FE884B1-AC86-4D12-A7D9-3EEB821A1E46}"/>
                            </a:ext>
                          </a:extLst>
                        </p:cNvPr>
                        <p:cNvSpPr/>
                        <p:nvPr/>
                      </p:nvSpPr>
                      <p:spPr>
                        <a:xfrm>
                          <a:off x="3696761" y="1761945"/>
                          <a:ext cx="878" cy="1507"/>
                        </a:xfrm>
                        <a:custGeom>
                          <a:avLst/>
                          <a:gdLst>
                            <a:gd name="connsiteX0" fmla="*/ 0 w 878"/>
                            <a:gd name="connsiteY0" fmla="*/ 1507 h 1507"/>
                            <a:gd name="connsiteX1" fmla="*/ 879 w 878"/>
                            <a:gd name="connsiteY1" fmla="*/ 1005 h 1507"/>
                            <a:gd name="connsiteX2" fmla="*/ 879 w 878"/>
                            <a:gd name="connsiteY2" fmla="*/ 0 h 1507"/>
                            <a:gd name="connsiteX3" fmla="*/ 0 w 878"/>
                            <a:gd name="connsiteY3" fmla="*/ 502 h 1507"/>
                          </a:gdLst>
                          <a:ahLst/>
                          <a:cxnLst>
                            <a:cxn ang="0">
                              <a:pos x="connsiteX0" y="connsiteY0"/>
                            </a:cxn>
                            <a:cxn ang="0">
                              <a:pos x="connsiteX1" y="connsiteY1"/>
                            </a:cxn>
                            <a:cxn ang="0">
                              <a:pos x="connsiteX2" y="connsiteY2"/>
                            </a:cxn>
                            <a:cxn ang="0">
                              <a:pos x="connsiteX3" y="connsiteY3"/>
                            </a:cxn>
                          </a:cxnLst>
                          <a:rect l="l" t="t" r="r" b="b"/>
                          <a:pathLst>
                            <a:path w="878"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387" name="Graphic 4">
                      <a:extLst>
                        <a:ext uri="{FF2B5EF4-FFF2-40B4-BE49-F238E27FC236}">
                          <a16:creationId xmlns:a16="http://schemas.microsoft.com/office/drawing/2014/main" id="{84FB7ED1-A2DF-40A1-A747-5F7CF3F14040}"/>
                        </a:ext>
                      </a:extLst>
                    </p:cNvPr>
                    <p:cNvGrpSpPr/>
                    <p:nvPr/>
                  </p:nvGrpSpPr>
                  <p:grpSpPr>
                    <a:xfrm>
                      <a:off x="3632582" y="1725522"/>
                      <a:ext cx="37175" cy="42953"/>
                      <a:chOff x="3632582" y="1725522"/>
                      <a:chExt cx="37175" cy="42953"/>
                    </a:xfrm>
                    <a:solidFill>
                      <a:schemeClr val="accent1"/>
                    </a:solidFill>
                  </p:grpSpPr>
                  <p:grpSp>
                    <p:nvGrpSpPr>
                      <p:cNvPr id="1388" name="Graphic 4">
                        <a:extLst>
                          <a:ext uri="{FF2B5EF4-FFF2-40B4-BE49-F238E27FC236}">
                            <a16:creationId xmlns:a16="http://schemas.microsoft.com/office/drawing/2014/main" id="{84FB7ED1-A2DF-40A1-A747-5F7CF3F14040}"/>
                          </a:ext>
                        </a:extLst>
                      </p:cNvPr>
                      <p:cNvGrpSpPr/>
                      <p:nvPr/>
                    </p:nvGrpSpPr>
                    <p:grpSpPr>
                      <a:xfrm>
                        <a:off x="3632582" y="1725522"/>
                        <a:ext cx="37175" cy="42953"/>
                        <a:chOff x="3632582" y="1725522"/>
                        <a:chExt cx="37175" cy="42953"/>
                      </a:xfrm>
                      <a:solidFill>
                        <a:schemeClr val="accent1"/>
                      </a:solidFill>
                    </p:grpSpPr>
                    <p:sp>
                      <p:nvSpPr>
                        <p:cNvPr id="1389" name="Freeform: Shape 1388">
                          <a:extLst>
                            <a:ext uri="{FF2B5EF4-FFF2-40B4-BE49-F238E27FC236}">
                              <a16:creationId xmlns:a16="http://schemas.microsoft.com/office/drawing/2014/main" id="{E64AB76C-FD9E-4545-9B7F-122BC754AC0D}"/>
                            </a:ext>
                          </a:extLst>
                        </p:cNvPr>
                        <p:cNvSpPr/>
                        <p:nvPr/>
                      </p:nvSpPr>
                      <p:spPr>
                        <a:xfrm>
                          <a:off x="3632582" y="1736323"/>
                          <a:ext cx="18588" cy="32152"/>
                        </a:xfrm>
                        <a:custGeom>
                          <a:avLst/>
                          <a:gdLst>
                            <a:gd name="connsiteX0" fmla="*/ 0 w 18588"/>
                            <a:gd name="connsiteY0" fmla="*/ 21477 h 32152"/>
                            <a:gd name="connsiteX1" fmla="*/ 18588 w 18588"/>
                            <a:gd name="connsiteY1" fmla="*/ 32152 h 32152"/>
                            <a:gd name="connsiteX2" fmla="*/ 18588 w 18588"/>
                            <a:gd name="connsiteY2" fmla="*/ 10676 h 32152"/>
                            <a:gd name="connsiteX3" fmla="*/ 0 w 18588"/>
                            <a:gd name="connsiteY3" fmla="*/ 0 h 32152"/>
                          </a:gdLst>
                          <a:ahLst/>
                          <a:cxnLst>
                            <a:cxn ang="0">
                              <a:pos x="connsiteX0" y="connsiteY0"/>
                            </a:cxn>
                            <a:cxn ang="0">
                              <a:pos x="connsiteX1" y="connsiteY1"/>
                            </a:cxn>
                            <a:cxn ang="0">
                              <a:pos x="connsiteX2" y="connsiteY2"/>
                            </a:cxn>
                            <a:cxn ang="0">
                              <a:pos x="connsiteX3" y="connsiteY3"/>
                            </a:cxn>
                          </a:cxnLst>
                          <a:rect l="l" t="t" r="r" b="b"/>
                          <a:pathLst>
                            <a:path w="18588" h="32152">
                              <a:moveTo>
                                <a:pt x="0" y="21477"/>
                              </a:moveTo>
                              <a:lnTo>
                                <a:pt x="18588" y="32152"/>
                              </a:lnTo>
                              <a:lnTo>
                                <a:pt x="18588" y="10676"/>
                              </a:lnTo>
                              <a:lnTo>
                                <a:pt x="0"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0" name="Freeform: Shape 1389">
                          <a:extLst>
                            <a:ext uri="{FF2B5EF4-FFF2-40B4-BE49-F238E27FC236}">
                              <a16:creationId xmlns:a16="http://schemas.microsoft.com/office/drawing/2014/main" id="{10994E40-A240-421D-A2B1-80AE97CD22C2}"/>
                            </a:ext>
                          </a:extLst>
                        </p:cNvPr>
                        <p:cNvSpPr/>
                        <p:nvPr/>
                      </p:nvSpPr>
                      <p:spPr>
                        <a:xfrm>
                          <a:off x="3632582" y="1725522"/>
                          <a:ext cx="37175" cy="21476"/>
                        </a:xfrm>
                        <a:custGeom>
                          <a:avLst/>
                          <a:gdLst>
                            <a:gd name="connsiteX0" fmla="*/ 0 w 37175"/>
                            <a:gd name="connsiteY0" fmla="*/ 10801 h 21476"/>
                            <a:gd name="connsiteX1" fmla="*/ 18588 w 37175"/>
                            <a:gd name="connsiteY1" fmla="*/ 21477 h 21476"/>
                            <a:gd name="connsiteX2" fmla="*/ 37176 w 37175"/>
                            <a:gd name="connsiteY2" fmla="*/ 10801 h 21476"/>
                            <a:gd name="connsiteX3" fmla="*/ 18588 w 37175"/>
                            <a:gd name="connsiteY3" fmla="*/ 0 h 21476"/>
                          </a:gdLst>
                          <a:ahLst/>
                          <a:cxnLst>
                            <a:cxn ang="0">
                              <a:pos x="connsiteX0" y="connsiteY0"/>
                            </a:cxn>
                            <a:cxn ang="0">
                              <a:pos x="connsiteX1" y="connsiteY1"/>
                            </a:cxn>
                            <a:cxn ang="0">
                              <a:pos x="connsiteX2" y="connsiteY2"/>
                            </a:cxn>
                            <a:cxn ang="0">
                              <a:pos x="connsiteX3" y="connsiteY3"/>
                            </a:cxn>
                          </a:cxnLst>
                          <a:rect l="l" t="t" r="r" b="b"/>
                          <a:pathLst>
                            <a:path w="37175" h="21476">
                              <a:moveTo>
                                <a:pt x="0" y="10801"/>
                              </a:moveTo>
                              <a:lnTo>
                                <a:pt x="18588" y="21477"/>
                              </a:lnTo>
                              <a:lnTo>
                                <a:pt x="37176" y="10801"/>
                              </a:lnTo>
                              <a:lnTo>
                                <a:pt x="1858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91" name="Graphic 4">
                          <a:extLst>
                            <a:ext uri="{FF2B5EF4-FFF2-40B4-BE49-F238E27FC236}">
                              <a16:creationId xmlns:a16="http://schemas.microsoft.com/office/drawing/2014/main" id="{84FB7ED1-A2DF-40A1-A747-5F7CF3F14040}"/>
                            </a:ext>
                          </a:extLst>
                        </p:cNvPr>
                        <p:cNvGrpSpPr/>
                        <p:nvPr/>
                      </p:nvGrpSpPr>
                      <p:grpSpPr>
                        <a:xfrm>
                          <a:off x="3651170" y="1736323"/>
                          <a:ext cx="18587" cy="32152"/>
                          <a:chOff x="3651170" y="1736323"/>
                          <a:chExt cx="18587" cy="32152"/>
                        </a:xfrm>
                        <a:solidFill>
                          <a:schemeClr val="accent1"/>
                        </a:solidFill>
                      </p:grpSpPr>
                      <p:sp>
                        <p:nvSpPr>
                          <p:cNvPr id="1392" name="Freeform: Shape 1391">
                            <a:extLst>
                              <a:ext uri="{FF2B5EF4-FFF2-40B4-BE49-F238E27FC236}">
                                <a16:creationId xmlns:a16="http://schemas.microsoft.com/office/drawing/2014/main" id="{FEBF46E1-5D1D-4C48-8E77-CCC6EEDD3D34}"/>
                              </a:ext>
                            </a:extLst>
                          </p:cNvPr>
                          <p:cNvSpPr/>
                          <p:nvPr/>
                        </p:nvSpPr>
                        <p:spPr>
                          <a:xfrm>
                            <a:off x="3651170" y="1736323"/>
                            <a:ext cx="18587" cy="32152"/>
                          </a:xfrm>
                          <a:custGeom>
                            <a:avLst/>
                            <a:gdLst>
                              <a:gd name="connsiteX0" fmla="*/ 0 w 18587"/>
                              <a:gd name="connsiteY0" fmla="*/ 32152 h 32152"/>
                              <a:gd name="connsiteX1" fmla="*/ 18588 w 18587"/>
                              <a:gd name="connsiteY1" fmla="*/ 21477 h 32152"/>
                              <a:gd name="connsiteX2" fmla="*/ 18588 w 18587"/>
                              <a:gd name="connsiteY2" fmla="*/ 0 h 32152"/>
                              <a:gd name="connsiteX3" fmla="*/ 0 w 18587"/>
                              <a:gd name="connsiteY3" fmla="*/ 10676 h 32152"/>
                            </a:gdLst>
                            <a:ahLst/>
                            <a:cxnLst>
                              <a:cxn ang="0">
                                <a:pos x="connsiteX0" y="connsiteY0"/>
                              </a:cxn>
                              <a:cxn ang="0">
                                <a:pos x="connsiteX1" y="connsiteY1"/>
                              </a:cxn>
                              <a:cxn ang="0">
                                <a:pos x="connsiteX2" y="connsiteY2"/>
                              </a:cxn>
                              <a:cxn ang="0">
                                <a:pos x="connsiteX3" y="connsiteY3"/>
                              </a:cxn>
                            </a:cxnLst>
                            <a:rect l="l" t="t" r="r" b="b"/>
                            <a:pathLst>
                              <a:path w="18587" h="32152">
                                <a:moveTo>
                                  <a:pt x="0" y="32152"/>
                                </a:moveTo>
                                <a:lnTo>
                                  <a:pt x="18588" y="21477"/>
                                </a:lnTo>
                                <a:lnTo>
                                  <a:pt x="18588" y="0"/>
                                </a:lnTo>
                                <a:lnTo>
                                  <a:pt x="0" y="10676"/>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3" name="Freeform: Shape 1392">
                            <a:extLst>
                              <a:ext uri="{FF2B5EF4-FFF2-40B4-BE49-F238E27FC236}">
                                <a16:creationId xmlns:a16="http://schemas.microsoft.com/office/drawing/2014/main" id="{E98B57B9-41A8-47C3-BE1D-8CF6734B0BD2}"/>
                              </a:ext>
                            </a:extLst>
                          </p:cNvPr>
                          <p:cNvSpPr/>
                          <p:nvPr/>
                        </p:nvSpPr>
                        <p:spPr>
                          <a:xfrm>
                            <a:off x="3658580" y="1740593"/>
                            <a:ext cx="3767" cy="7786"/>
                          </a:xfrm>
                          <a:custGeom>
                            <a:avLst/>
                            <a:gdLst>
                              <a:gd name="connsiteX0" fmla="*/ 0 w 3767"/>
                              <a:gd name="connsiteY0" fmla="*/ 7787 h 7786"/>
                              <a:gd name="connsiteX1" fmla="*/ 3768 w 3767"/>
                              <a:gd name="connsiteY1" fmla="*/ 5652 h 7786"/>
                              <a:gd name="connsiteX2" fmla="*/ 3768 w 3767"/>
                              <a:gd name="connsiteY2" fmla="*/ 0 h 7786"/>
                              <a:gd name="connsiteX3" fmla="*/ 0 w 3767"/>
                              <a:gd name="connsiteY3" fmla="*/ 2135 h 7786"/>
                            </a:gdLst>
                            <a:ahLst/>
                            <a:cxnLst>
                              <a:cxn ang="0">
                                <a:pos x="connsiteX0" y="connsiteY0"/>
                              </a:cxn>
                              <a:cxn ang="0">
                                <a:pos x="connsiteX1" y="connsiteY1"/>
                              </a:cxn>
                              <a:cxn ang="0">
                                <a:pos x="connsiteX2" y="connsiteY2"/>
                              </a:cxn>
                              <a:cxn ang="0">
                                <a:pos x="connsiteX3" y="connsiteY3"/>
                              </a:cxn>
                            </a:cxnLst>
                            <a:rect l="l" t="t" r="r" b="b"/>
                            <a:pathLst>
                              <a:path w="3767" h="7786">
                                <a:moveTo>
                                  <a:pt x="0" y="7787"/>
                                </a:moveTo>
                                <a:lnTo>
                                  <a:pt x="3768" y="5652"/>
                                </a:lnTo>
                                <a:lnTo>
                                  <a:pt x="3768" y="0"/>
                                </a:lnTo>
                                <a:lnTo>
                                  <a:pt x="0" y="2135"/>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94" name="Freeform: Shape 1393">
                          <a:extLst>
                            <a:ext uri="{FF2B5EF4-FFF2-40B4-BE49-F238E27FC236}">
                              <a16:creationId xmlns:a16="http://schemas.microsoft.com/office/drawing/2014/main" id="{F901AB49-B1A0-4B1E-BFF6-FB686F5C7363}"/>
                            </a:ext>
                          </a:extLst>
                        </p:cNvPr>
                        <p:cNvSpPr/>
                        <p:nvPr/>
                      </p:nvSpPr>
                      <p:spPr>
                        <a:xfrm>
                          <a:off x="3639992" y="1729918"/>
                          <a:ext cx="22355" cy="12810"/>
                        </a:xfrm>
                        <a:custGeom>
                          <a:avLst/>
                          <a:gdLst>
                            <a:gd name="connsiteX0" fmla="*/ 22356 w 22355"/>
                            <a:gd name="connsiteY0" fmla="*/ 10676 h 12810"/>
                            <a:gd name="connsiteX1" fmla="*/ 18588 w 22355"/>
                            <a:gd name="connsiteY1" fmla="*/ 12811 h 12810"/>
                            <a:gd name="connsiteX2" fmla="*/ 0 w 22355"/>
                            <a:gd name="connsiteY2" fmla="*/ 2135 h 12810"/>
                            <a:gd name="connsiteX3" fmla="*/ 3768 w 22355"/>
                            <a:gd name="connsiteY3" fmla="*/ 0 h 12810"/>
                          </a:gdLst>
                          <a:ahLst/>
                          <a:cxnLst>
                            <a:cxn ang="0">
                              <a:pos x="connsiteX0" y="connsiteY0"/>
                            </a:cxn>
                            <a:cxn ang="0">
                              <a:pos x="connsiteX1" y="connsiteY1"/>
                            </a:cxn>
                            <a:cxn ang="0">
                              <a:pos x="connsiteX2" y="connsiteY2"/>
                            </a:cxn>
                            <a:cxn ang="0">
                              <a:pos x="connsiteX3" y="connsiteY3"/>
                            </a:cxn>
                          </a:cxnLst>
                          <a:rect l="l" t="t" r="r" b="b"/>
                          <a:pathLst>
                            <a:path w="22355" h="12810">
                              <a:moveTo>
                                <a:pt x="22356" y="10676"/>
                              </a:moveTo>
                              <a:lnTo>
                                <a:pt x="18588" y="12811"/>
                              </a:lnTo>
                              <a:lnTo>
                                <a:pt x="0" y="2135"/>
                              </a:lnTo>
                              <a:lnTo>
                                <a:pt x="376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95" name="Graphic 4">
                        <a:extLst>
                          <a:ext uri="{FF2B5EF4-FFF2-40B4-BE49-F238E27FC236}">
                            <a16:creationId xmlns:a16="http://schemas.microsoft.com/office/drawing/2014/main" id="{84FB7ED1-A2DF-40A1-A747-5F7CF3F14040}"/>
                          </a:ext>
                        </a:extLst>
                      </p:cNvPr>
                      <p:cNvGrpSpPr/>
                      <p:nvPr/>
                    </p:nvGrpSpPr>
                    <p:grpSpPr>
                      <a:xfrm>
                        <a:off x="3656319" y="1752399"/>
                        <a:ext cx="8414" cy="11303"/>
                        <a:chOff x="3656319" y="1752399"/>
                        <a:chExt cx="8414" cy="11303"/>
                      </a:xfrm>
                      <a:solidFill>
                        <a:srgbClr val="000000"/>
                      </a:solidFill>
                    </p:grpSpPr>
                    <p:grpSp>
                      <p:nvGrpSpPr>
                        <p:cNvPr id="1396" name="Graphic 4">
                          <a:extLst>
                            <a:ext uri="{FF2B5EF4-FFF2-40B4-BE49-F238E27FC236}">
                              <a16:creationId xmlns:a16="http://schemas.microsoft.com/office/drawing/2014/main" id="{84FB7ED1-A2DF-40A1-A747-5F7CF3F14040}"/>
                            </a:ext>
                          </a:extLst>
                        </p:cNvPr>
                        <p:cNvGrpSpPr/>
                        <p:nvPr/>
                      </p:nvGrpSpPr>
                      <p:grpSpPr>
                        <a:xfrm>
                          <a:off x="3656319" y="1752399"/>
                          <a:ext cx="8414" cy="11303"/>
                          <a:chOff x="3656319" y="1752399"/>
                          <a:chExt cx="8414" cy="11303"/>
                        </a:xfrm>
                        <a:solidFill>
                          <a:srgbClr val="000000"/>
                        </a:solidFill>
                      </p:grpSpPr>
                      <p:sp>
                        <p:nvSpPr>
                          <p:cNvPr id="1397" name="Freeform: Shape 1396">
                            <a:extLst>
                              <a:ext uri="{FF2B5EF4-FFF2-40B4-BE49-F238E27FC236}">
                                <a16:creationId xmlns:a16="http://schemas.microsoft.com/office/drawing/2014/main" id="{24F25C86-F3A4-441E-A5CB-D76D6D60D13E}"/>
                              </a:ext>
                            </a:extLst>
                          </p:cNvPr>
                          <p:cNvSpPr/>
                          <p:nvPr/>
                        </p:nvSpPr>
                        <p:spPr>
                          <a:xfrm>
                            <a:off x="3656319" y="1757046"/>
                            <a:ext cx="376" cy="6656"/>
                          </a:xfrm>
                          <a:custGeom>
                            <a:avLst/>
                            <a:gdLst>
                              <a:gd name="connsiteX0" fmla="*/ 377 w 376"/>
                              <a:gd name="connsiteY0" fmla="*/ 0 h 6656"/>
                              <a:gd name="connsiteX1" fmla="*/ 0 w 376"/>
                              <a:gd name="connsiteY1" fmla="*/ 251 h 6656"/>
                              <a:gd name="connsiteX2" fmla="*/ 0 w 376"/>
                              <a:gd name="connsiteY2" fmla="*/ 6657 h 6656"/>
                              <a:gd name="connsiteX3" fmla="*/ 377 w 376"/>
                              <a:gd name="connsiteY3" fmla="*/ 6405 h 6656"/>
                            </a:gdLst>
                            <a:ahLst/>
                            <a:cxnLst>
                              <a:cxn ang="0">
                                <a:pos x="connsiteX0" y="connsiteY0"/>
                              </a:cxn>
                              <a:cxn ang="0">
                                <a:pos x="connsiteX1" y="connsiteY1"/>
                              </a:cxn>
                              <a:cxn ang="0">
                                <a:pos x="connsiteX2" y="connsiteY2"/>
                              </a:cxn>
                              <a:cxn ang="0">
                                <a:pos x="connsiteX3" y="connsiteY3"/>
                              </a:cxn>
                            </a:cxnLst>
                            <a:rect l="l" t="t" r="r" b="b"/>
                            <a:pathLst>
                              <a:path w="376" h="6656">
                                <a:moveTo>
                                  <a:pt x="377" y="0"/>
                                </a:moveTo>
                                <a:lnTo>
                                  <a:pt x="0" y="251"/>
                                </a:lnTo>
                                <a:lnTo>
                                  <a:pt x="0" y="6657"/>
                                </a:lnTo>
                                <a:lnTo>
                                  <a:pt x="377" y="64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8" name="Freeform: Shape 1397">
                            <a:extLst>
                              <a:ext uri="{FF2B5EF4-FFF2-40B4-BE49-F238E27FC236}">
                                <a16:creationId xmlns:a16="http://schemas.microsoft.com/office/drawing/2014/main" id="{FB6451F8-61D0-4727-B448-3A358C18A193}"/>
                              </a:ext>
                            </a:extLst>
                          </p:cNvPr>
                          <p:cNvSpPr/>
                          <p:nvPr/>
                        </p:nvSpPr>
                        <p:spPr>
                          <a:xfrm>
                            <a:off x="3657198" y="1756544"/>
                            <a:ext cx="377" cy="5651"/>
                          </a:xfrm>
                          <a:custGeom>
                            <a:avLst/>
                            <a:gdLst>
                              <a:gd name="connsiteX0" fmla="*/ 377 w 377"/>
                              <a:gd name="connsiteY0" fmla="*/ 0 h 5651"/>
                              <a:gd name="connsiteX1" fmla="*/ 0 w 377"/>
                              <a:gd name="connsiteY1" fmla="*/ 251 h 5651"/>
                              <a:gd name="connsiteX2" fmla="*/ 0 w 377"/>
                              <a:gd name="connsiteY2" fmla="*/ 5652 h 5651"/>
                              <a:gd name="connsiteX3" fmla="*/ 377 w 377"/>
                              <a:gd name="connsiteY3" fmla="*/ 5401 h 5651"/>
                            </a:gdLst>
                            <a:ahLst/>
                            <a:cxnLst>
                              <a:cxn ang="0">
                                <a:pos x="connsiteX0" y="connsiteY0"/>
                              </a:cxn>
                              <a:cxn ang="0">
                                <a:pos x="connsiteX1" y="connsiteY1"/>
                              </a:cxn>
                              <a:cxn ang="0">
                                <a:pos x="connsiteX2" y="connsiteY2"/>
                              </a:cxn>
                              <a:cxn ang="0">
                                <a:pos x="connsiteX3" y="connsiteY3"/>
                              </a:cxn>
                            </a:cxnLst>
                            <a:rect l="l" t="t" r="r" b="b"/>
                            <a:pathLst>
                              <a:path w="377"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9" name="Freeform: Shape 1398">
                            <a:extLst>
                              <a:ext uri="{FF2B5EF4-FFF2-40B4-BE49-F238E27FC236}">
                                <a16:creationId xmlns:a16="http://schemas.microsoft.com/office/drawing/2014/main" id="{DDD21467-D338-48A1-8E9B-E44E5CD69AF5}"/>
                              </a:ext>
                            </a:extLst>
                          </p:cNvPr>
                          <p:cNvSpPr/>
                          <p:nvPr/>
                        </p:nvSpPr>
                        <p:spPr>
                          <a:xfrm>
                            <a:off x="3658077" y="1756042"/>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0" name="Freeform: Shape 1399">
                            <a:extLst>
                              <a:ext uri="{FF2B5EF4-FFF2-40B4-BE49-F238E27FC236}">
                                <a16:creationId xmlns:a16="http://schemas.microsoft.com/office/drawing/2014/main" id="{048C4A4C-9074-4DBD-9BCF-E84F558E693B}"/>
                              </a:ext>
                            </a:extLst>
                          </p:cNvPr>
                          <p:cNvSpPr/>
                          <p:nvPr/>
                        </p:nvSpPr>
                        <p:spPr>
                          <a:xfrm>
                            <a:off x="3658956" y="1755414"/>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1" name="Freeform: Shape 1400">
                            <a:extLst>
                              <a:ext uri="{FF2B5EF4-FFF2-40B4-BE49-F238E27FC236}">
                                <a16:creationId xmlns:a16="http://schemas.microsoft.com/office/drawing/2014/main" id="{B59FB99B-B1A4-4038-B5B3-8CACD3D8C8B2}"/>
                              </a:ext>
                            </a:extLst>
                          </p:cNvPr>
                          <p:cNvSpPr/>
                          <p:nvPr/>
                        </p:nvSpPr>
                        <p:spPr>
                          <a:xfrm>
                            <a:off x="3659836" y="1754911"/>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2" name="Freeform: Shape 1401">
                            <a:extLst>
                              <a:ext uri="{FF2B5EF4-FFF2-40B4-BE49-F238E27FC236}">
                                <a16:creationId xmlns:a16="http://schemas.microsoft.com/office/drawing/2014/main" id="{0E5A9D1D-5418-41C0-AADC-930D1D0BDC8B}"/>
                              </a:ext>
                            </a:extLst>
                          </p:cNvPr>
                          <p:cNvSpPr/>
                          <p:nvPr/>
                        </p:nvSpPr>
                        <p:spPr>
                          <a:xfrm>
                            <a:off x="3660715" y="1754409"/>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3" name="Freeform: Shape 1402">
                            <a:extLst>
                              <a:ext uri="{FF2B5EF4-FFF2-40B4-BE49-F238E27FC236}">
                                <a16:creationId xmlns:a16="http://schemas.microsoft.com/office/drawing/2014/main" id="{E0B5B523-C443-4BB8-8C30-7487104EF0DB}"/>
                              </a:ext>
                            </a:extLst>
                          </p:cNvPr>
                          <p:cNvSpPr/>
                          <p:nvPr/>
                        </p:nvSpPr>
                        <p:spPr>
                          <a:xfrm>
                            <a:off x="3661594" y="1753906"/>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4" name="Freeform: Shape 1403">
                            <a:extLst>
                              <a:ext uri="{FF2B5EF4-FFF2-40B4-BE49-F238E27FC236}">
                                <a16:creationId xmlns:a16="http://schemas.microsoft.com/office/drawing/2014/main" id="{15A934A2-813B-4F7A-BF75-394CC2D7BCBD}"/>
                              </a:ext>
                            </a:extLst>
                          </p:cNvPr>
                          <p:cNvSpPr/>
                          <p:nvPr/>
                        </p:nvSpPr>
                        <p:spPr>
                          <a:xfrm>
                            <a:off x="3662473" y="1753404"/>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5" name="Freeform: Shape 1404">
                            <a:extLst>
                              <a:ext uri="{FF2B5EF4-FFF2-40B4-BE49-F238E27FC236}">
                                <a16:creationId xmlns:a16="http://schemas.microsoft.com/office/drawing/2014/main" id="{2DB9506B-B7AB-4CF5-9EE2-C8BB385449B3}"/>
                              </a:ext>
                            </a:extLst>
                          </p:cNvPr>
                          <p:cNvSpPr/>
                          <p:nvPr/>
                        </p:nvSpPr>
                        <p:spPr>
                          <a:xfrm>
                            <a:off x="3663352" y="1752902"/>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6" name="Freeform: Shape 1405">
                            <a:extLst>
                              <a:ext uri="{FF2B5EF4-FFF2-40B4-BE49-F238E27FC236}">
                                <a16:creationId xmlns:a16="http://schemas.microsoft.com/office/drawing/2014/main" id="{8BC590A1-DACE-446C-9E66-DEFD409D8882}"/>
                              </a:ext>
                            </a:extLst>
                          </p:cNvPr>
                          <p:cNvSpPr/>
                          <p:nvPr/>
                        </p:nvSpPr>
                        <p:spPr>
                          <a:xfrm>
                            <a:off x="3664232" y="1752399"/>
                            <a:ext cx="502" cy="6782"/>
                          </a:xfrm>
                          <a:custGeom>
                            <a:avLst/>
                            <a:gdLst>
                              <a:gd name="connsiteX0" fmla="*/ 502 w 502"/>
                              <a:gd name="connsiteY0" fmla="*/ 0 h 6782"/>
                              <a:gd name="connsiteX1" fmla="*/ 0 w 502"/>
                              <a:gd name="connsiteY1" fmla="*/ 251 h 6782"/>
                              <a:gd name="connsiteX2" fmla="*/ 0 w 502"/>
                              <a:gd name="connsiteY2" fmla="*/ 6782 h 6782"/>
                              <a:gd name="connsiteX3" fmla="*/ 502 w 502"/>
                              <a:gd name="connsiteY3" fmla="*/ 6405 h 6782"/>
                            </a:gdLst>
                            <a:ahLst/>
                            <a:cxnLst>
                              <a:cxn ang="0">
                                <a:pos x="connsiteX0" y="connsiteY0"/>
                              </a:cxn>
                              <a:cxn ang="0">
                                <a:pos x="connsiteX1" y="connsiteY1"/>
                              </a:cxn>
                              <a:cxn ang="0">
                                <a:pos x="connsiteX2" y="connsiteY2"/>
                              </a:cxn>
                              <a:cxn ang="0">
                                <a:pos x="connsiteX3" y="connsiteY3"/>
                              </a:cxn>
                            </a:cxnLst>
                            <a:rect l="l" t="t" r="r" b="b"/>
                            <a:pathLst>
                              <a:path w="502" h="6782">
                                <a:moveTo>
                                  <a:pt x="502" y="0"/>
                                </a:moveTo>
                                <a:lnTo>
                                  <a:pt x="0" y="251"/>
                                </a:lnTo>
                                <a:lnTo>
                                  <a:pt x="0" y="6782"/>
                                </a:lnTo>
                                <a:lnTo>
                                  <a:pt x="502" y="64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07" name="Freeform: Shape 1406">
                          <a:extLst>
                            <a:ext uri="{FF2B5EF4-FFF2-40B4-BE49-F238E27FC236}">
                              <a16:creationId xmlns:a16="http://schemas.microsoft.com/office/drawing/2014/main" id="{14C144A4-401A-4517-90E1-901AED2B3002}"/>
                            </a:ext>
                          </a:extLst>
                        </p:cNvPr>
                        <p:cNvSpPr/>
                        <p:nvPr/>
                      </p:nvSpPr>
                      <p:spPr>
                        <a:xfrm>
                          <a:off x="3662724" y="1758805"/>
                          <a:ext cx="879" cy="1632"/>
                        </a:xfrm>
                        <a:custGeom>
                          <a:avLst/>
                          <a:gdLst>
                            <a:gd name="connsiteX0" fmla="*/ 0 w 879"/>
                            <a:gd name="connsiteY0" fmla="*/ 1633 h 1632"/>
                            <a:gd name="connsiteX1" fmla="*/ 879 w 879"/>
                            <a:gd name="connsiteY1" fmla="*/ 1130 h 1632"/>
                            <a:gd name="connsiteX2" fmla="*/ 879 w 879"/>
                            <a:gd name="connsiteY2" fmla="*/ 0 h 1632"/>
                            <a:gd name="connsiteX3" fmla="*/ 0 w 879"/>
                            <a:gd name="connsiteY3" fmla="*/ 628 h 1632"/>
                          </a:gdLst>
                          <a:ahLst/>
                          <a:cxnLst>
                            <a:cxn ang="0">
                              <a:pos x="connsiteX0" y="connsiteY0"/>
                            </a:cxn>
                            <a:cxn ang="0">
                              <a:pos x="connsiteX1" y="connsiteY1"/>
                            </a:cxn>
                            <a:cxn ang="0">
                              <a:pos x="connsiteX2" y="connsiteY2"/>
                            </a:cxn>
                            <a:cxn ang="0">
                              <a:pos x="connsiteX3" y="connsiteY3"/>
                            </a:cxn>
                          </a:cxnLst>
                          <a:rect l="l" t="t" r="r" b="b"/>
                          <a:pathLst>
                            <a:path w="879" h="1632">
                              <a:moveTo>
                                <a:pt x="0" y="1633"/>
                              </a:moveTo>
                              <a:lnTo>
                                <a:pt x="879" y="1130"/>
                              </a:lnTo>
                              <a:lnTo>
                                <a:pt x="879" y="0"/>
                              </a:lnTo>
                              <a:lnTo>
                                <a:pt x="0" y="62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8" name="Freeform: Shape 1407">
                          <a:extLst>
                            <a:ext uri="{FF2B5EF4-FFF2-40B4-BE49-F238E27FC236}">
                              <a16:creationId xmlns:a16="http://schemas.microsoft.com/office/drawing/2014/main" id="{F57F0F4E-BB9F-4FCE-A4EF-8E17EB85F142}"/>
                            </a:ext>
                          </a:extLst>
                        </p:cNvPr>
                        <p:cNvSpPr/>
                        <p:nvPr/>
                      </p:nvSpPr>
                      <p:spPr>
                        <a:xfrm>
                          <a:off x="3660966" y="1759935"/>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9" name="Freeform: Shape 1408">
                          <a:extLst>
                            <a:ext uri="{FF2B5EF4-FFF2-40B4-BE49-F238E27FC236}">
                              <a16:creationId xmlns:a16="http://schemas.microsoft.com/office/drawing/2014/main" id="{BB483912-396E-4E0C-B9A9-EB98EBE25463}"/>
                            </a:ext>
                          </a:extLst>
                        </p:cNvPr>
                        <p:cNvSpPr/>
                        <p:nvPr/>
                      </p:nvSpPr>
                      <p:spPr>
                        <a:xfrm>
                          <a:off x="3659208" y="1760940"/>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10" name="Freeform: Shape 1409">
                          <a:extLst>
                            <a:ext uri="{FF2B5EF4-FFF2-40B4-BE49-F238E27FC236}">
                              <a16:creationId xmlns:a16="http://schemas.microsoft.com/office/drawing/2014/main" id="{928B08CA-1A66-4868-9113-2709EAADB3F9}"/>
                            </a:ext>
                          </a:extLst>
                        </p:cNvPr>
                        <p:cNvSpPr/>
                        <p:nvPr/>
                      </p:nvSpPr>
                      <p:spPr>
                        <a:xfrm>
                          <a:off x="3657324" y="1761945"/>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411" name="Graphic 4">
                      <a:extLst>
                        <a:ext uri="{FF2B5EF4-FFF2-40B4-BE49-F238E27FC236}">
                          <a16:creationId xmlns:a16="http://schemas.microsoft.com/office/drawing/2014/main" id="{84FB7ED1-A2DF-40A1-A747-5F7CF3F14040}"/>
                        </a:ext>
                      </a:extLst>
                    </p:cNvPr>
                    <p:cNvGrpSpPr/>
                    <p:nvPr/>
                  </p:nvGrpSpPr>
                  <p:grpSpPr>
                    <a:xfrm>
                      <a:off x="3652300" y="1736951"/>
                      <a:ext cx="37175" cy="42953"/>
                      <a:chOff x="3652300" y="1736951"/>
                      <a:chExt cx="37175" cy="42953"/>
                    </a:xfrm>
                    <a:solidFill>
                      <a:schemeClr val="accent1"/>
                    </a:solidFill>
                  </p:grpSpPr>
                  <p:grpSp>
                    <p:nvGrpSpPr>
                      <p:cNvPr id="1412" name="Graphic 4">
                        <a:extLst>
                          <a:ext uri="{FF2B5EF4-FFF2-40B4-BE49-F238E27FC236}">
                            <a16:creationId xmlns:a16="http://schemas.microsoft.com/office/drawing/2014/main" id="{84FB7ED1-A2DF-40A1-A747-5F7CF3F14040}"/>
                          </a:ext>
                        </a:extLst>
                      </p:cNvPr>
                      <p:cNvGrpSpPr/>
                      <p:nvPr/>
                    </p:nvGrpSpPr>
                    <p:grpSpPr>
                      <a:xfrm>
                        <a:off x="3652300" y="1736951"/>
                        <a:ext cx="37175" cy="42953"/>
                        <a:chOff x="3652300" y="1736951"/>
                        <a:chExt cx="37175" cy="42953"/>
                      </a:xfrm>
                      <a:solidFill>
                        <a:schemeClr val="accent1"/>
                      </a:solidFill>
                    </p:grpSpPr>
                    <p:sp>
                      <p:nvSpPr>
                        <p:cNvPr id="1413" name="Freeform: Shape 1412">
                          <a:extLst>
                            <a:ext uri="{FF2B5EF4-FFF2-40B4-BE49-F238E27FC236}">
                              <a16:creationId xmlns:a16="http://schemas.microsoft.com/office/drawing/2014/main" id="{6724B3B5-2E5C-4A2B-8DA3-BEFD72E2C26B}"/>
                            </a:ext>
                          </a:extLst>
                        </p:cNvPr>
                        <p:cNvSpPr/>
                        <p:nvPr/>
                      </p:nvSpPr>
                      <p:spPr>
                        <a:xfrm>
                          <a:off x="3652300" y="1747627"/>
                          <a:ext cx="18588" cy="32277"/>
                        </a:xfrm>
                        <a:custGeom>
                          <a:avLst/>
                          <a:gdLst>
                            <a:gd name="connsiteX0" fmla="*/ 0 w 18588"/>
                            <a:gd name="connsiteY0" fmla="*/ 21477 h 32277"/>
                            <a:gd name="connsiteX1" fmla="*/ 18588 w 18588"/>
                            <a:gd name="connsiteY1" fmla="*/ 32278 h 32277"/>
                            <a:gd name="connsiteX2" fmla="*/ 18588 w 18588"/>
                            <a:gd name="connsiteY2" fmla="*/ 10801 h 32277"/>
                            <a:gd name="connsiteX3" fmla="*/ 0 w 18588"/>
                            <a:gd name="connsiteY3" fmla="*/ 0 h 32277"/>
                          </a:gdLst>
                          <a:ahLst/>
                          <a:cxnLst>
                            <a:cxn ang="0">
                              <a:pos x="connsiteX0" y="connsiteY0"/>
                            </a:cxn>
                            <a:cxn ang="0">
                              <a:pos x="connsiteX1" y="connsiteY1"/>
                            </a:cxn>
                            <a:cxn ang="0">
                              <a:pos x="connsiteX2" y="connsiteY2"/>
                            </a:cxn>
                            <a:cxn ang="0">
                              <a:pos x="connsiteX3" y="connsiteY3"/>
                            </a:cxn>
                          </a:cxnLst>
                          <a:rect l="l" t="t" r="r" b="b"/>
                          <a:pathLst>
                            <a:path w="18588" h="32277">
                              <a:moveTo>
                                <a:pt x="0" y="21477"/>
                              </a:moveTo>
                              <a:lnTo>
                                <a:pt x="18588" y="32278"/>
                              </a:lnTo>
                              <a:lnTo>
                                <a:pt x="18588" y="10801"/>
                              </a:lnTo>
                              <a:lnTo>
                                <a:pt x="0"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14" name="Freeform: Shape 1413">
                          <a:extLst>
                            <a:ext uri="{FF2B5EF4-FFF2-40B4-BE49-F238E27FC236}">
                              <a16:creationId xmlns:a16="http://schemas.microsoft.com/office/drawing/2014/main" id="{1792A44E-4EFD-45DB-8B96-3BEEF66A643F}"/>
                            </a:ext>
                          </a:extLst>
                        </p:cNvPr>
                        <p:cNvSpPr/>
                        <p:nvPr/>
                      </p:nvSpPr>
                      <p:spPr>
                        <a:xfrm>
                          <a:off x="3652300" y="1736951"/>
                          <a:ext cx="37175" cy="21476"/>
                        </a:xfrm>
                        <a:custGeom>
                          <a:avLst/>
                          <a:gdLst>
                            <a:gd name="connsiteX0" fmla="*/ 0 w 37175"/>
                            <a:gd name="connsiteY0" fmla="*/ 10676 h 21476"/>
                            <a:gd name="connsiteX1" fmla="*/ 18588 w 37175"/>
                            <a:gd name="connsiteY1" fmla="*/ 21477 h 21476"/>
                            <a:gd name="connsiteX2" fmla="*/ 37176 w 37175"/>
                            <a:gd name="connsiteY2" fmla="*/ 10676 h 21476"/>
                            <a:gd name="connsiteX3" fmla="*/ 18588 w 37175"/>
                            <a:gd name="connsiteY3" fmla="*/ 0 h 21476"/>
                          </a:gdLst>
                          <a:ahLst/>
                          <a:cxnLst>
                            <a:cxn ang="0">
                              <a:pos x="connsiteX0" y="connsiteY0"/>
                            </a:cxn>
                            <a:cxn ang="0">
                              <a:pos x="connsiteX1" y="connsiteY1"/>
                            </a:cxn>
                            <a:cxn ang="0">
                              <a:pos x="connsiteX2" y="connsiteY2"/>
                            </a:cxn>
                            <a:cxn ang="0">
                              <a:pos x="connsiteX3" y="connsiteY3"/>
                            </a:cxn>
                          </a:cxnLst>
                          <a:rect l="l" t="t" r="r" b="b"/>
                          <a:pathLst>
                            <a:path w="37175" h="21476">
                              <a:moveTo>
                                <a:pt x="0" y="10676"/>
                              </a:moveTo>
                              <a:lnTo>
                                <a:pt x="18588" y="21477"/>
                              </a:lnTo>
                              <a:lnTo>
                                <a:pt x="37176" y="10676"/>
                              </a:lnTo>
                              <a:lnTo>
                                <a:pt x="1858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15" name="Graphic 4">
                          <a:extLst>
                            <a:ext uri="{FF2B5EF4-FFF2-40B4-BE49-F238E27FC236}">
                              <a16:creationId xmlns:a16="http://schemas.microsoft.com/office/drawing/2014/main" id="{84FB7ED1-A2DF-40A1-A747-5F7CF3F14040}"/>
                            </a:ext>
                          </a:extLst>
                        </p:cNvPr>
                        <p:cNvGrpSpPr/>
                        <p:nvPr/>
                      </p:nvGrpSpPr>
                      <p:grpSpPr>
                        <a:xfrm>
                          <a:off x="3670888" y="1747627"/>
                          <a:ext cx="18587" cy="32277"/>
                          <a:chOff x="3670888" y="1747627"/>
                          <a:chExt cx="18587" cy="32277"/>
                        </a:xfrm>
                        <a:solidFill>
                          <a:schemeClr val="accent1"/>
                        </a:solidFill>
                      </p:grpSpPr>
                      <p:sp>
                        <p:nvSpPr>
                          <p:cNvPr id="1416" name="Freeform: Shape 1415">
                            <a:extLst>
                              <a:ext uri="{FF2B5EF4-FFF2-40B4-BE49-F238E27FC236}">
                                <a16:creationId xmlns:a16="http://schemas.microsoft.com/office/drawing/2014/main" id="{C07B9FAA-69C0-4EE9-8442-AF12263CA0D0}"/>
                              </a:ext>
                            </a:extLst>
                          </p:cNvPr>
                          <p:cNvSpPr/>
                          <p:nvPr/>
                        </p:nvSpPr>
                        <p:spPr>
                          <a:xfrm>
                            <a:off x="3670888" y="1747627"/>
                            <a:ext cx="18587" cy="32277"/>
                          </a:xfrm>
                          <a:custGeom>
                            <a:avLst/>
                            <a:gdLst>
                              <a:gd name="connsiteX0" fmla="*/ 0 w 18587"/>
                              <a:gd name="connsiteY0" fmla="*/ 32278 h 32277"/>
                              <a:gd name="connsiteX1" fmla="*/ 18588 w 18587"/>
                              <a:gd name="connsiteY1" fmla="*/ 21477 h 32277"/>
                              <a:gd name="connsiteX2" fmla="*/ 18588 w 18587"/>
                              <a:gd name="connsiteY2" fmla="*/ 0 h 32277"/>
                              <a:gd name="connsiteX3" fmla="*/ 0 w 18587"/>
                              <a:gd name="connsiteY3" fmla="*/ 10801 h 32277"/>
                            </a:gdLst>
                            <a:ahLst/>
                            <a:cxnLst>
                              <a:cxn ang="0">
                                <a:pos x="connsiteX0" y="connsiteY0"/>
                              </a:cxn>
                              <a:cxn ang="0">
                                <a:pos x="connsiteX1" y="connsiteY1"/>
                              </a:cxn>
                              <a:cxn ang="0">
                                <a:pos x="connsiteX2" y="connsiteY2"/>
                              </a:cxn>
                              <a:cxn ang="0">
                                <a:pos x="connsiteX3" y="connsiteY3"/>
                              </a:cxn>
                            </a:cxnLst>
                            <a:rect l="l" t="t" r="r" b="b"/>
                            <a:pathLst>
                              <a:path w="18587" h="32277">
                                <a:moveTo>
                                  <a:pt x="0" y="32278"/>
                                </a:moveTo>
                                <a:lnTo>
                                  <a:pt x="18588" y="21477"/>
                                </a:lnTo>
                                <a:lnTo>
                                  <a:pt x="18588" y="0"/>
                                </a:lnTo>
                                <a:lnTo>
                                  <a:pt x="0" y="10801"/>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17" name="Freeform: Shape 1416">
                            <a:extLst>
                              <a:ext uri="{FF2B5EF4-FFF2-40B4-BE49-F238E27FC236}">
                                <a16:creationId xmlns:a16="http://schemas.microsoft.com/office/drawing/2014/main" id="{E3FDE0B3-3856-4852-972B-19A7C0E5472F}"/>
                              </a:ext>
                            </a:extLst>
                          </p:cNvPr>
                          <p:cNvSpPr/>
                          <p:nvPr/>
                        </p:nvSpPr>
                        <p:spPr>
                          <a:xfrm>
                            <a:off x="3678298" y="1751897"/>
                            <a:ext cx="3767" cy="7912"/>
                          </a:xfrm>
                          <a:custGeom>
                            <a:avLst/>
                            <a:gdLst>
                              <a:gd name="connsiteX0" fmla="*/ 0 w 3767"/>
                              <a:gd name="connsiteY0" fmla="*/ 7912 h 7912"/>
                              <a:gd name="connsiteX1" fmla="*/ 3768 w 3767"/>
                              <a:gd name="connsiteY1" fmla="*/ 5777 h 7912"/>
                              <a:gd name="connsiteX2" fmla="*/ 3768 w 3767"/>
                              <a:gd name="connsiteY2" fmla="*/ 0 h 7912"/>
                              <a:gd name="connsiteX3" fmla="*/ 0 w 3767"/>
                              <a:gd name="connsiteY3" fmla="*/ 2261 h 7912"/>
                            </a:gdLst>
                            <a:ahLst/>
                            <a:cxnLst>
                              <a:cxn ang="0">
                                <a:pos x="connsiteX0" y="connsiteY0"/>
                              </a:cxn>
                              <a:cxn ang="0">
                                <a:pos x="connsiteX1" y="connsiteY1"/>
                              </a:cxn>
                              <a:cxn ang="0">
                                <a:pos x="connsiteX2" y="connsiteY2"/>
                              </a:cxn>
                              <a:cxn ang="0">
                                <a:pos x="connsiteX3" y="connsiteY3"/>
                              </a:cxn>
                            </a:cxnLst>
                            <a:rect l="l" t="t" r="r" b="b"/>
                            <a:pathLst>
                              <a:path w="3767" h="7912">
                                <a:moveTo>
                                  <a:pt x="0" y="7912"/>
                                </a:moveTo>
                                <a:lnTo>
                                  <a:pt x="3768" y="5777"/>
                                </a:lnTo>
                                <a:lnTo>
                                  <a:pt x="3768" y="0"/>
                                </a:lnTo>
                                <a:lnTo>
                                  <a:pt x="0" y="226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18" name="Freeform: Shape 1417">
                          <a:extLst>
                            <a:ext uri="{FF2B5EF4-FFF2-40B4-BE49-F238E27FC236}">
                              <a16:creationId xmlns:a16="http://schemas.microsoft.com/office/drawing/2014/main" id="{7BEBC2D2-AF9F-4F31-BD53-AC79013480C9}"/>
                            </a:ext>
                          </a:extLst>
                        </p:cNvPr>
                        <p:cNvSpPr/>
                        <p:nvPr/>
                      </p:nvSpPr>
                      <p:spPr>
                        <a:xfrm>
                          <a:off x="3659710" y="1741221"/>
                          <a:ext cx="22355" cy="12936"/>
                        </a:xfrm>
                        <a:custGeom>
                          <a:avLst/>
                          <a:gdLst>
                            <a:gd name="connsiteX0" fmla="*/ 22356 w 22355"/>
                            <a:gd name="connsiteY0" fmla="*/ 10676 h 12936"/>
                            <a:gd name="connsiteX1" fmla="*/ 18588 w 22355"/>
                            <a:gd name="connsiteY1" fmla="*/ 12936 h 12936"/>
                            <a:gd name="connsiteX2" fmla="*/ 0 w 22355"/>
                            <a:gd name="connsiteY2" fmla="*/ 2135 h 12936"/>
                            <a:gd name="connsiteX3" fmla="*/ 3768 w 22355"/>
                            <a:gd name="connsiteY3" fmla="*/ 0 h 12936"/>
                          </a:gdLst>
                          <a:ahLst/>
                          <a:cxnLst>
                            <a:cxn ang="0">
                              <a:pos x="connsiteX0" y="connsiteY0"/>
                            </a:cxn>
                            <a:cxn ang="0">
                              <a:pos x="connsiteX1" y="connsiteY1"/>
                            </a:cxn>
                            <a:cxn ang="0">
                              <a:pos x="connsiteX2" y="connsiteY2"/>
                            </a:cxn>
                            <a:cxn ang="0">
                              <a:pos x="connsiteX3" y="connsiteY3"/>
                            </a:cxn>
                          </a:cxnLst>
                          <a:rect l="l" t="t" r="r" b="b"/>
                          <a:pathLst>
                            <a:path w="22355" h="12936">
                              <a:moveTo>
                                <a:pt x="22356" y="10676"/>
                              </a:moveTo>
                              <a:lnTo>
                                <a:pt x="18588" y="12936"/>
                              </a:lnTo>
                              <a:lnTo>
                                <a:pt x="0" y="2135"/>
                              </a:lnTo>
                              <a:lnTo>
                                <a:pt x="376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419" name="Graphic 4">
                        <a:extLst>
                          <a:ext uri="{FF2B5EF4-FFF2-40B4-BE49-F238E27FC236}">
                            <a16:creationId xmlns:a16="http://schemas.microsoft.com/office/drawing/2014/main" id="{84FB7ED1-A2DF-40A1-A747-5F7CF3F14040}"/>
                          </a:ext>
                        </a:extLst>
                      </p:cNvPr>
                      <p:cNvGrpSpPr/>
                      <p:nvPr/>
                    </p:nvGrpSpPr>
                    <p:grpSpPr>
                      <a:xfrm>
                        <a:off x="3675912" y="1763703"/>
                        <a:ext cx="8414" cy="11429"/>
                        <a:chOff x="3675912" y="1763703"/>
                        <a:chExt cx="8414" cy="11429"/>
                      </a:xfrm>
                      <a:solidFill>
                        <a:srgbClr val="000000"/>
                      </a:solidFill>
                    </p:grpSpPr>
                    <p:grpSp>
                      <p:nvGrpSpPr>
                        <p:cNvPr id="1420" name="Graphic 4">
                          <a:extLst>
                            <a:ext uri="{FF2B5EF4-FFF2-40B4-BE49-F238E27FC236}">
                              <a16:creationId xmlns:a16="http://schemas.microsoft.com/office/drawing/2014/main" id="{84FB7ED1-A2DF-40A1-A747-5F7CF3F14040}"/>
                            </a:ext>
                          </a:extLst>
                        </p:cNvPr>
                        <p:cNvGrpSpPr/>
                        <p:nvPr/>
                      </p:nvGrpSpPr>
                      <p:grpSpPr>
                        <a:xfrm>
                          <a:off x="3675912" y="1763703"/>
                          <a:ext cx="8414" cy="11429"/>
                          <a:chOff x="3675912" y="1763703"/>
                          <a:chExt cx="8414" cy="11429"/>
                        </a:xfrm>
                        <a:solidFill>
                          <a:srgbClr val="000000"/>
                        </a:solidFill>
                      </p:grpSpPr>
                      <p:sp>
                        <p:nvSpPr>
                          <p:cNvPr id="1421" name="Freeform: Shape 1420">
                            <a:extLst>
                              <a:ext uri="{FF2B5EF4-FFF2-40B4-BE49-F238E27FC236}">
                                <a16:creationId xmlns:a16="http://schemas.microsoft.com/office/drawing/2014/main" id="{7A4F0F5E-A11F-44B5-AD19-4DAEF59A0A1F}"/>
                              </a:ext>
                            </a:extLst>
                          </p:cNvPr>
                          <p:cNvSpPr/>
                          <p:nvPr/>
                        </p:nvSpPr>
                        <p:spPr>
                          <a:xfrm>
                            <a:off x="3675912" y="1768350"/>
                            <a:ext cx="502" cy="6782"/>
                          </a:xfrm>
                          <a:custGeom>
                            <a:avLst/>
                            <a:gdLst>
                              <a:gd name="connsiteX0" fmla="*/ 502 w 502"/>
                              <a:gd name="connsiteY0" fmla="*/ 0 h 6782"/>
                              <a:gd name="connsiteX1" fmla="*/ 0 w 502"/>
                              <a:gd name="connsiteY1" fmla="*/ 251 h 6782"/>
                              <a:gd name="connsiteX2" fmla="*/ 0 w 502"/>
                              <a:gd name="connsiteY2" fmla="*/ 6782 h 6782"/>
                              <a:gd name="connsiteX3" fmla="*/ 502 w 502"/>
                              <a:gd name="connsiteY3" fmla="*/ 6531 h 6782"/>
                            </a:gdLst>
                            <a:ahLst/>
                            <a:cxnLst>
                              <a:cxn ang="0">
                                <a:pos x="connsiteX0" y="connsiteY0"/>
                              </a:cxn>
                              <a:cxn ang="0">
                                <a:pos x="connsiteX1" y="connsiteY1"/>
                              </a:cxn>
                              <a:cxn ang="0">
                                <a:pos x="connsiteX2" y="connsiteY2"/>
                              </a:cxn>
                              <a:cxn ang="0">
                                <a:pos x="connsiteX3" y="connsiteY3"/>
                              </a:cxn>
                            </a:cxnLst>
                            <a:rect l="l" t="t" r="r" b="b"/>
                            <a:pathLst>
                              <a:path w="502" h="6782">
                                <a:moveTo>
                                  <a:pt x="502" y="0"/>
                                </a:moveTo>
                                <a:lnTo>
                                  <a:pt x="0" y="251"/>
                                </a:lnTo>
                                <a:lnTo>
                                  <a:pt x="0" y="6782"/>
                                </a:lnTo>
                                <a:lnTo>
                                  <a:pt x="502" y="653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2" name="Freeform: Shape 1421">
                            <a:extLst>
                              <a:ext uri="{FF2B5EF4-FFF2-40B4-BE49-F238E27FC236}">
                                <a16:creationId xmlns:a16="http://schemas.microsoft.com/office/drawing/2014/main" id="{7B98B823-77DC-4FD9-B00D-DB2CC22B74A5}"/>
                              </a:ext>
                            </a:extLst>
                          </p:cNvPr>
                          <p:cNvSpPr/>
                          <p:nvPr/>
                        </p:nvSpPr>
                        <p:spPr>
                          <a:xfrm>
                            <a:off x="3676791" y="1767848"/>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3" name="Freeform: Shape 1422">
                            <a:extLst>
                              <a:ext uri="{FF2B5EF4-FFF2-40B4-BE49-F238E27FC236}">
                                <a16:creationId xmlns:a16="http://schemas.microsoft.com/office/drawing/2014/main" id="{BCB8DD75-E760-402D-BAAD-9116883E981C}"/>
                              </a:ext>
                            </a:extLst>
                          </p:cNvPr>
                          <p:cNvSpPr/>
                          <p:nvPr/>
                        </p:nvSpPr>
                        <p:spPr>
                          <a:xfrm>
                            <a:off x="3677670" y="1767345"/>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4" name="Freeform: Shape 1423">
                            <a:extLst>
                              <a:ext uri="{FF2B5EF4-FFF2-40B4-BE49-F238E27FC236}">
                                <a16:creationId xmlns:a16="http://schemas.microsoft.com/office/drawing/2014/main" id="{1C8E824F-0B91-4534-BFE6-A8070A1ADE42}"/>
                              </a:ext>
                            </a:extLst>
                          </p:cNvPr>
                          <p:cNvSpPr/>
                          <p:nvPr/>
                        </p:nvSpPr>
                        <p:spPr>
                          <a:xfrm>
                            <a:off x="3678549" y="1766843"/>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5" name="Freeform: Shape 1424">
                            <a:extLst>
                              <a:ext uri="{FF2B5EF4-FFF2-40B4-BE49-F238E27FC236}">
                                <a16:creationId xmlns:a16="http://schemas.microsoft.com/office/drawing/2014/main" id="{2C1EAB6C-4E4A-41A4-8CAC-EEC1369F6D73}"/>
                              </a:ext>
                            </a:extLst>
                          </p:cNvPr>
                          <p:cNvSpPr/>
                          <p:nvPr/>
                        </p:nvSpPr>
                        <p:spPr>
                          <a:xfrm>
                            <a:off x="3679554" y="1766340"/>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6" name="Freeform: Shape 1425">
                            <a:extLst>
                              <a:ext uri="{FF2B5EF4-FFF2-40B4-BE49-F238E27FC236}">
                                <a16:creationId xmlns:a16="http://schemas.microsoft.com/office/drawing/2014/main" id="{4B6A0CA3-BACF-4D63-9D7F-F873C2BE172D}"/>
                              </a:ext>
                            </a:extLst>
                          </p:cNvPr>
                          <p:cNvSpPr/>
                          <p:nvPr/>
                        </p:nvSpPr>
                        <p:spPr>
                          <a:xfrm>
                            <a:off x="3680433" y="1765838"/>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7" name="Freeform: Shape 1426">
                            <a:extLst>
                              <a:ext uri="{FF2B5EF4-FFF2-40B4-BE49-F238E27FC236}">
                                <a16:creationId xmlns:a16="http://schemas.microsoft.com/office/drawing/2014/main" id="{998E5C93-26A5-41CB-8F02-8375CDEF65F8}"/>
                              </a:ext>
                            </a:extLst>
                          </p:cNvPr>
                          <p:cNvSpPr/>
                          <p:nvPr/>
                        </p:nvSpPr>
                        <p:spPr>
                          <a:xfrm>
                            <a:off x="3681312" y="1765336"/>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8" name="Freeform: Shape 1427">
                            <a:extLst>
                              <a:ext uri="{FF2B5EF4-FFF2-40B4-BE49-F238E27FC236}">
                                <a16:creationId xmlns:a16="http://schemas.microsoft.com/office/drawing/2014/main" id="{67D0384A-E448-4BAB-9A77-E2258B432A38}"/>
                              </a:ext>
                            </a:extLst>
                          </p:cNvPr>
                          <p:cNvSpPr/>
                          <p:nvPr/>
                        </p:nvSpPr>
                        <p:spPr>
                          <a:xfrm>
                            <a:off x="3682192" y="1764833"/>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9" name="Freeform: Shape 1428">
                            <a:extLst>
                              <a:ext uri="{FF2B5EF4-FFF2-40B4-BE49-F238E27FC236}">
                                <a16:creationId xmlns:a16="http://schemas.microsoft.com/office/drawing/2014/main" id="{2544D7E0-52E6-4BBF-BCBC-69D75C58F440}"/>
                              </a:ext>
                            </a:extLst>
                          </p:cNvPr>
                          <p:cNvSpPr/>
                          <p:nvPr/>
                        </p:nvSpPr>
                        <p:spPr>
                          <a:xfrm>
                            <a:off x="3683071" y="1764331"/>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0" name="Freeform: Shape 1429">
                            <a:extLst>
                              <a:ext uri="{FF2B5EF4-FFF2-40B4-BE49-F238E27FC236}">
                                <a16:creationId xmlns:a16="http://schemas.microsoft.com/office/drawing/2014/main" id="{BD17C87D-E9B6-4F06-9FB0-38CA5FF7E7A4}"/>
                              </a:ext>
                            </a:extLst>
                          </p:cNvPr>
                          <p:cNvSpPr/>
                          <p:nvPr/>
                        </p:nvSpPr>
                        <p:spPr>
                          <a:xfrm>
                            <a:off x="3683950" y="1763703"/>
                            <a:ext cx="376" cy="6782"/>
                          </a:xfrm>
                          <a:custGeom>
                            <a:avLst/>
                            <a:gdLst>
                              <a:gd name="connsiteX0" fmla="*/ 377 w 376"/>
                              <a:gd name="connsiteY0" fmla="*/ 0 h 6782"/>
                              <a:gd name="connsiteX1" fmla="*/ 0 w 376"/>
                              <a:gd name="connsiteY1" fmla="*/ 251 h 6782"/>
                              <a:gd name="connsiteX2" fmla="*/ 0 w 376"/>
                              <a:gd name="connsiteY2" fmla="*/ 6782 h 6782"/>
                              <a:gd name="connsiteX3" fmla="*/ 377 w 376"/>
                              <a:gd name="connsiteY3" fmla="*/ 6531 h 6782"/>
                            </a:gdLst>
                            <a:ahLst/>
                            <a:cxnLst>
                              <a:cxn ang="0">
                                <a:pos x="connsiteX0" y="connsiteY0"/>
                              </a:cxn>
                              <a:cxn ang="0">
                                <a:pos x="connsiteX1" y="connsiteY1"/>
                              </a:cxn>
                              <a:cxn ang="0">
                                <a:pos x="connsiteX2" y="connsiteY2"/>
                              </a:cxn>
                              <a:cxn ang="0">
                                <a:pos x="connsiteX3" y="connsiteY3"/>
                              </a:cxn>
                            </a:cxnLst>
                            <a:rect l="l" t="t" r="r" b="b"/>
                            <a:pathLst>
                              <a:path w="376" h="6782">
                                <a:moveTo>
                                  <a:pt x="377" y="0"/>
                                </a:moveTo>
                                <a:lnTo>
                                  <a:pt x="0" y="251"/>
                                </a:lnTo>
                                <a:lnTo>
                                  <a:pt x="0" y="6782"/>
                                </a:lnTo>
                                <a:lnTo>
                                  <a:pt x="377" y="653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31" name="Freeform: Shape 1430">
                          <a:extLst>
                            <a:ext uri="{FF2B5EF4-FFF2-40B4-BE49-F238E27FC236}">
                              <a16:creationId xmlns:a16="http://schemas.microsoft.com/office/drawing/2014/main" id="{9A6A8B6C-3519-4183-8A21-E3B5CF9E35E2}"/>
                            </a:ext>
                          </a:extLst>
                        </p:cNvPr>
                        <p:cNvSpPr/>
                        <p:nvPr/>
                      </p:nvSpPr>
                      <p:spPr>
                        <a:xfrm>
                          <a:off x="3682317" y="1770234"/>
                          <a:ext cx="1004" cy="1507"/>
                        </a:xfrm>
                        <a:custGeom>
                          <a:avLst/>
                          <a:gdLst>
                            <a:gd name="connsiteX0" fmla="*/ 0 w 1004"/>
                            <a:gd name="connsiteY0" fmla="*/ 1507 h 1507"/>
                            <a:gd name="connsiteX1" fmla="*/ 1005 w 1004"/>
                            <a:gd name="connsiteY1" fmla="*/ 1005 h 1507"/>
                            <a:gd name="connsiteX2" fmla="*/ 1005 w 1004"/>
                            <a:gd name="connsiteY2" fmla="*/ 0 h 1507"/>
                            <a:gd name="connsiteX3" fmla="*/ 0 w 1004"/>
                            <a:gd name="connsiteY3" fmla="*/ 502 h 1507"/>
                          </a:gdLst>
                          <a:ahLst/>
                          <a:cxnLst>
                            <a:cxn ang="0">
                              <a:pos x="connsiteX0" y="connsiteY0"/>
                            </a:cxn>
                            <a:cxn ang="0">
                              <a:pos x="connsiteX1" y="connsiteY1"/>
                            </a:cxn>
                            <a:cxn ang="0">
                              <a:pos x="connsiteX2" y="connsiteY2"/>
                            </a:cxn>
                            <a:cxn ang="0">
                              <a:pos x="connsiteX3" y="connsiteY3"/>
                            </a:cxn>
                          </a:cxnLst>
                          <a:rect l="l" t="t" r="r" b="b"/>
                          <a:pathLst>
                            <a:path w="1004" h="1507">
                              <a:moveTo>
                                <a:pt x="0" y="1507"/>
                              </a:moveTo>
                              <a:lnTo>
                                <a:pt x="1005" y="1005"/>
                              </a:lnTo>
                              <a:lnTo>
                                <a:pt x="1005"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2" name="Freeform: Shape 1431">
                          <a:extLst>
                            <a:ext uri="{FF2B5EF4-FFF2-40B4-BE49-F238E27FC236}">
                              <a16:creationId xmlns:a16="http://schemas.microsoft.com/office/drawing/2014/main" id="{CCDF5289-5382-43DE-A476-2EE9F53453F7}"/>
                            </a:ext>
                          </a:extLst>
                        </p:cNvPr>
                        <p:cNvSpPr/>
                        <p:nvPr/>
                      </p:nvSpPr>
                      <p:spPr>
                        <a:xfrm>
                          <a:off x="3680559" y="1771239"/>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3" name="Freeform: Shape 1432">
                          <a:extLst>
                            <a:ext uri="{FF2B5EF4-FFF2-40B4-BE49-F238E27FC236}">
                              <a16:creationId xmlns:a16="http://schemas.microsoft.com/office/drawing/2014/main" id="{301B4B63-647F-42CB-B774-33DAFC91B2F6}"/>
                            </a:ext>
                          </a:extLst>
                        </p:cNvPr>
                        <p:cNvSpPr/>
                        <p:nvPr/>
                      </p:nvSpPr>
                      <p:spPr>
                        <a:xfrm>
                          <a:off x="3678800" y="1772243"/>
                          <a:ext cx="879" cy="1632"/>
                        </a:xfrm>
                        <a:custGeom>
                          <a:avLst/>
                          <a:gdLst>
                            <a:gd name="connsiteX0" fmla="*/ 0 w 879"/>
                            <a:gd name="connsiteY0" fmla="*/ 1633 h 1632"/>
                            <a:gd name="connsiteX1" fmla="*/ 879 w 879"/>
                            <a:gd name="connsiteY1" fmla="*/ 1005 h 1632"/>
                            <a:gd name="connsiteX2" fmla="*/ 879 w 879"/>
                            <a:gd name="connsiteY2" fmla="*/ 0 h 1632"/>
                            <a:gd name="connsiteX3" fmla="*/ 0 w 879"/>
                            <a:gd name="connsiteY3" fmla="*/ 502 h 1632"/>
                          </a:gdLst>
                          <a:ahLst/>
                          <a:cxnLst>
                            <a:cxn ang="0">
                              <a:pos x="connsiteX0" y="connsiteY0"/>
                            </a:cxn>
                            <a:cxn ang="0">
                              <a:pos x="connsiteX1" y="connsiteY1"/>
                            </a:cxn>
                            <a:cxn ang="0">
                              <a:pos x="connsiteX2" y="connsiteY2"/>
                            </a:cxn>
                            <a:cxn ang="0">
                              <a:pos x="connsiteX3" y="connsiteY3"/>
                            </a:cxn>
                          </a:cxnLst>
                          <a:rect l="l" t="t" r="r" b="b"/>
                          <a:pathLst>
                            <a:path w="879" h="1632">
                              <a:moveTo>
                                <a:pt x="0" y="1633"/>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4" name="Freeform: Shape 1433">
                          <a:extLst>
                            <a:ext uri="{FF2B5EF4-FFF2-40B4-BE49-F238E27FC236}">
                              <a16:creationId xmlns:a16="http://schemas.microsoft.com/office/drawing/2014/main" id="{983EB819-E756-4A49-A6DF-309113DE84C7}"/>
                            </a:ext>
                          </a:extLst>
                        </p:cNvPr>
                        <p:cNvSpPr/>
                        <p:nvPr/>
                      </p:nvSpPr>
                      <p:spPr>
                        <a:xfrm>
                          <a:off x="3677042" y="1773248"/>
                          <a:ext cx="879" cy="1632"/>
                        </a:xfrm>
                        <a:custGeom>
                          <a:avLst/>
                          <a:gdLst>
                            <a:gd name="connsiteX0" fmla="*/ 0 w 879"/>
                            <a:gd name="connsiteY0" fmla="*/ 1633 h 1632"/>
                            <a:gd name="connsiteX1" fmla="*/ 879 w 879"/>
                            <a:gd name="connsiteY1" fmla="*/ 1130 h 1632"/>
                            <a:gd name="connsiteX2" fmla="*/ 879 w 879"/>
                            <a:gd name="connsiteY2" fmla="*/ 0 h 1632"/>
                            <a:gd name="connsiteX3" fmla="*/ 0 w 879"/>
                            <a:gd name="connsiteY3" fmla="*/ 628 h 1632"/>
                          </a:gdLst>
                          <a:ahLst/>
                          <a:cxnLst>
                            <a:cxn ang="0">
                              <a:pos x="connsiteX0" y="connsiteY0"/>
                            </a:cxn>
                            <a:cxn ang="0">
                              <a:pos x="connsiteX1" y="connsiteY1"/>
                            </a:cxn>
                            <a:cxn ang="0">
                              <a:pos x="connsiteX2" y="connsiteY2"/>
                            </a:cxn>
                            <a:cxn ang="0">
                              <a:pos x="connsiteX3" y="connsiteY3"/>
                            </a:cxn>
                          </a:cxnLst>
                          <a:rect l="l" t="t" r="r" b="b"/>
                          <a:pathLst>
                            <a:path w="879" h="1632">
                              <a:moveTo>
                                <a:pt x="0" y="1633"/>
                              </a:moveTo>
                              <a:lnTo>
                                <a:pt x="879" y="1130"/>
                              </a:lnTo>
                              <a:lnTo>
                                <a:pt x="879" y="0"/>
                              </a:lnTo>
                              <a:lnTo>
                                <a:pt x="0" y="62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grpSp>
        <p:grpSp>
          <p:nvGrpSpPr>
            <p:cNvPr id="1435" name="Graphic 4">
              <a:extLst>
                <a:ext uri="{FF2B5EF4-FFF2-40B4-BE49-F238E27FC236}">
                  <a16:creationId xmlns:a16="http://schemas.microsoft.com/office/drawing/2014/main" id="{84FB7ED1-A2DF-40A1-A747-5F7CF3F14040}"/>
                </a:ext>
              </a:extLst>
            </p:cNvPr>
            <p:cNvGrpSpPr/>
            <p:nvPr/>
          </p:nvGrpSpPr>
          <p:grpSpPr>
            <a:xfrm>
              <a:off x="3408646" y="1641433"/>
              <a:ext cx="122705" cy="136713"/>
              <a:chOff x="3408646" y="1641433"/>
              <a:chExt cx="122705" cy="136713"/>
            </a:xfrm>
            <a:solidFill>
              <a:schemeClr val="accent1"/>
            </a:solidFill>
          </p:grpSpPr>
          <p:grpSp>
            <p:nvGrpSpPr>
              <p:cNvPr id="1436" name="Graphic 4">
                <a:extLst>
                  <a:ext uri="{FF2B5EF4-FFF2-40B4-BE49-F238E27FC236}">
                    <a16:creationId xmlns:a16="http://schemas.microsoft.com/office/drawing/2014/main" id="{84FB7ED1-A2DF-40A1-A747-5F7CF3F14040}"/>
                  </a:ext>
                </a:extLst>
              </p:cNvPr>
              <p:cNvGrpSpPr/>
              <p:nvPr/>
            </p:nvGrpSpPr>
            <p:grpSpPr>
              <a:xfrm>
                <a:off x="3408646" y="1641433"/>
                <a:ext cx="102610" cy="125535"/>
                <a:chOff x="3408646" y="1641433"/>
                <a:chExt cx="102610" cy="125535"/>
              </a:xfrm>
              <a:solidFill>
                <a:schemeClr val="accent1"/>
              </a:solidFill>
            </p:grpSpPr>
            <p:sp>
              <p:nvSpPr>
                <p:cNvPr id="1437" name="Freeform: Shape 1436">
                  <a:extLst>
                    <a:ext uri="{FF2B5EF4-FFF2-40B4-BE49-F238E27FC236}">
                      <a16:creationId xmlns:a16="http://schemas.microsoft.com/office/drawing/2014/main" id="{D52D5907-3D57-4BAE-9F7C-DA992296AB0B}"/>
                    </a:ext>
                  </a:extLst>
                </p:cNvPr>
                <p:cNvSpPr/>
                <p:nvPr/>
              </p:nvSpPr>
              <p:spPr>
                <a:xfrm>
                  <a:off x="3409148" y="1709195"/>
                  <a:ext cx="99973" cy="57773"/>
                </a:xfrm>
                <a:custGeom>
                  <a:avLst/>
                  <a:gdLst>
                    <a:gd name="connsiteX0" fmla="*/ 74980 w 99973"/>
                    <a:gd name="connsiteY0" fmla="*/ 24491 h 57773"/>
                    <a:gd name="connsiteX1" fmla="*/ 67822 w 99973"/>
                    <a:gd name="connsiteY1" fmla="*/ 28510 h 57773"/>
                    <a:gd name="connsiteX2" fmla="*/ 99974 w 99973"/>
                    <a:gd name="connsiteY2" fmla="*/ 47098 h 57773"/>
                    <a:gd name="connsiteX3" fmla="*/ 95829 w 99973"/>
                    <a:gd name="connsiteY3" fmla="*/ 49484 h 57773"/>
                    <a:gd name="connsiteX4" fmla="*/ 63677 w 99973"/>
                    <a:gd name="connsiteY4" fmla="*/ 30896 h 57773"/>
                    <a:gd name="connsiteX5" fmla="*/ 53504 w 99973"/>
                    <a:gd name="connsiteY5" fmla="*/ 36799 h 57773"/>
                    <a:gd name="connsiteX6" fmla="*/ 85656 w 99973"/>
                    <a:gd name="connsiteY6" fmla="*/ 55387 h 57773"/>
                    <a:gd name="connsiteX7" fmla="*/ 81511 w 99973"/>
                    <a:gd name="connsiteY7" fmla="*/ 57774 h 57773"/>
                    <a:gd name="connsiteX8" fmla="*/ 49359 w 99973"/>
                    <a:gd name="connsiteY8" fmla="*/ 39186 h 57773"/>
                    <a:gd name="connsiteX9" fmla="*/ 42200 w 99973"/>
                    <a:gd name="connsiteY9" fmla="*/ 43330 h 57773"/>
                    <a:gd name="connsiteX10" fmla="*/ 0 w 99973"/>
                    <a:gd name="connsiteY10" fmla="*/ 18965 h 57773"/>
                    <a:gd name="connsiteX11" fmla="*/ 32780 w 99973"/>
                    <a:gd name="connsiteY11" fmla="*/ 0 h 57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973" h="57773">
                      <a:moveTo>
                        <a:pt x="74980" y="24491"/>
                      </a:moveTo>
                      <a:lnTo>
                        <a:pt x="67822" y="28510"/>
                      </a:lnTo>
                      <a:lnTo>
                        <a:pt x="99974" y="47098"/>
                      </a:lnTo>
                      <a:lnTo>
                        <a:pt x="95829" y="49484"/>
                      </a:lnTo>
                      <a:lnTo>
                        <a:pt x="63677" y="30896"/>
                      </a:lnTo>
                      <a:lnTo>
                        <a:pt x="53504" y="36799"/>
                      </a:lnTo>
                      <a:lnTo>
                        <a:pt x="85656" y="55387"/>
                      </a:lnTo>
                      <a:lnTo>
                        <a:pt x="81511" y="57774"/>
                      </a:lnTo>
                      <a:lnTo>
                        <a:pt x="49359" y="39186"/>
                      </a:lnTo>
                      <a:lnTo>
                        <a:pt x="42200" y="43330"/>
                      </a:lnTo>
                      <a:lnTo>
                        <a:pt x="0" y="18965"/>
                      </a:lnTo>
                      <a:lnTo>
                        <a:pt x="32780" y="0"/>
                      </a:lnTo>
                      <a:close/>
                    </a:path>
                  </a:pathLst>
                </a:custGeom>
                <a:solidFill>
                  <a:srgbClr val="E8EAE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8" name="Freeform: Shape 1437">
                  <a:extLst>
                    <a:ext uri="{FF2B5EF4-FFF2-40B4-BE49-F238E27FC236}">
                      <a16:creationId xmlns:a16="http://schemas.microsoft.com/office/drawing/2014/main" id="{078DB0BD-6375-4AC1-AFDD-E00C9D184B03}"/>
                    </a:ext>
                  </a:extLst>
                </p:cNvPr>
                <p:cNvSpPr/>
                <p:nvPr/>
              </p:nvSpPr>
              <p:spPr>
                <a:xfrm>
                  <a:off x="3445194" y="1682053"/>
                  <a:ext cx="24742" cy="26653"/>
                </a:xfrm>
                <a:custGeom>
                  <a:avLst/>
                  <a:gdLst>
                    <a:gd name="connsiteX0" fmla="*/ 0 w 24742"/>
                    <a:gd name="connsiteY0" fmla="*/ 9057 h 26653"/>
                    <a:gd name="connsiteX1" fmla="*/ 4647 w 24742"/>
                    <a:gd name="connsiteY1" fmla="*/ 17095 h 26653"/>
                    <a:gd name="connsiteX2" fmla="*/ 20095 w 24742"/>
                    <a:gd name="connsiteY2" fmla="*/ 26012 h 26653"/>
                    <a:gd name="connsiteX3" fmla="*/ 24742 w 24742"/>
                    <a:gd name="connsiteY3" fmla="*/ 23374 h 26653"/>
                    <a:gd name="connsiteX4" fmla="*/ 24742 w 24742"/>
                    <a:gd name="connsiteY4" fmla="*/ 17471 h 26653"/>
                    <a:gd name="connsiteX5" fmla="*/ 20095 w 24742"/>
                    <a:gd name="connsiteY5" fmla="*/ 9559 h 26653"/>
                    <a:gd name="connsiteX6" fmla="*/ 4647 w 24742"/>
                    <a:gd name="connsiteY6" fmla="*/ 642 h 26653"/>
                    <a:gd name="connsiteX7" fmla="*/ 0 w 24742"/>
                    <a:gd name="connsiteY7" fmla="*/ 3279 h 26653"/>
                    <a:gd name="connsiteX8" fmla="*/ 0 w 24742"/>
                    <a:gd name="connsiteY8" fmla="*/ 9057 h 2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42" h="26653">
                      <a:moveTo>
                        <a:pt x="0" y="9057"/>
                      </a:moveTo>
                      <a:cubicBezTo>
                        <a:pt x="0" y="11945"/>
                        <a:pt x="2010" y="15587"/>
                        <a:pt x="4647" y="17095"/>
                      </a:cubicBezTo>
                      <a:lnTo>
                        <a:pt x="20095" y="26012"/>
                      </a:lnTo>
                      <a:cubicBezTo>
                        <a:pt x="22607" y="27519"/>
                        <a:pt x="24742" y="26263"/>
                        <a:pt x="24742" y="23374"/>
                      </a:cubicBezTo>
                      <a:lnTo>
                        <a:pt x="24742" y="17471"/>
                      </a:lnTo>
                      <a:cubicBezTo>
                        <a:pt x="24742" y="14583"/>
                        <a:pt x="22733" y="10940"/>
                        <a:pt x="20095" y="9559"/>
                      </a:cubicBezTo>
                      <a:lnTo>
                        <a:pt x="4647" y="642"/>
                      </a:lnTo>
                      <a:cubicBezTo>
                        <a:pt x="2135" y="-865"/>
                        <a:pt x="0" y="390"/>
                        <a:pt x="0" y="3279"/>
                      </a:cubicBezTo>
                      <a:lnTo>
                        <a:pt x="0" y="9057"/>
                      </a:lnTo>
                      <a:close/>
                    </a:path>
                  </a:pathLst>
                </a:custGeom>
                <a:solidFill>
                  <a:srgbClr val="42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9" name="Freeform: Shape 1438">
                  <a:extLst>
                    <a:ext uri="{FF2B5EF4-FFF2-40B4-BE49-F238E27FC236}">
                      <a16:creationId xmlns:a16="http://schemas.microsoft.com/office/drawing/2014/main" id="{8EAF2F95-6763-4D8A-B900-03AA25509153}"/>
                    </a:ext>
                  </a:extLst>
                </p:cNvPr>
                <p:cNvSpPr/>
                <p:nvPr/>
              </p:nvSpPr>
              <p:spPr>
                <a:xfrm>
                  <a:off x="3444315" y="1682932"/>
                  <a:ext cx="24742" cy="26653"/>
                </a:xfrm>
                <a:custGeom>
                  <a:avLst/>
                  <a:gdLst>
                    <a:gd name="connsiteX0" fmla="*/ 0 w 24742"/>
                    <a:gd name="connsiteY0" fmla="*/ 9057 h 26653"/>
                    <a:gd name="connsiteX1" fmla="*/ 4647 w 24742"/>
                    <a:gd name="connsiteY1" fmla="*/ 17095 h 26653"/>
                    <a:gd name="connsiteX2" fmla="*/ 20095 w 24742"/>
                    <a:gd name="connsiteY2" fmla="*/ 26012 h 26653"/>
                    <a:gd name="connsiteX3" fmla="*/ 24742 w 24742"/>
                    <a:gd name="connsiteY3" fmla="*/ 23374 h 26653"/>
                    <a:gd name="connsiteX4" fmla="*/ 24742 w 24742"/>
                    <a:gd name="connsiteY4" fmla="*/ 17597 h 26653"/>
                    <a:gd name="connsiteX5" fmla="*/ 20095 w 24742"/>
                    <a:gd name="connsiteY5" fmla="*/ 9559 h 26653"/>
                    <a:gd name="connsiteX6" fmla="*/ 4647 w 24742"/>
                    <a:gd name="connsiteY6" fmla="*/ 642 h 26653"/>
                    <a:gd name="connsiteX7" fmla="*/ 0 w 24742"/>
                    <a:gd name="connsiteY7" fmla="*/ 3279 h 26653"/>
                    <a:gd name="connsiteX8" fmla="*/ 0 w 24742"/>
                    <a:gd name="connsiteY8" fmla="*/ 9057 h 2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42" h="26653">
                      <a:moveTo>
                        <a:pt x="0" y="9057"/>
                      </a:moveTo>
                      <a:cubicBezTo>
                        <a:pt x="0" y="11945"/>
                        <a:pt x="2010" y="15587"/>
                        <a:pt x="4647" y="17095"/>
                      </a:cubicBezTo>
                      <a:lnTo>
                        <a:pt x="20095" y="26012"/>
                      </a:lnTo>
                      <a:cubicBezTo>
                        <a:pt x="22607" y="27519"/>
                        <a:pt x="24742" y="26263"/>
                        <a:pt x="24742" y="23374"/>
                      </a:cubicBezTo>
                      <a:lnTo>
                        <a:pt x="24742" y="17597"/>
                      </a:lnTo>
                      <a:cubicBezTo>
                        <a:pt x="24742" y="14708"/>
                        <a:pt x="22607" y="11066"/>
                        <a:pt x="20095" y="9559"/>
                      </a:cubicBezTo>
                      <a:lnTo>
                        <a:pt x="4647" y="642"/>
                      </a:lnTo>
                      <a:cubicBezTo>
                        <a:pt x="2135" y="-865"/>
                        <a:pt x="0" y="390"/>
                        <a:pt x="0" y="3279"/>
                      </a:cubicBezTo>
                      <a:lnTo>
                        <a:pt x="0" y="9057"/>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0" name="Freeform: Shape 1439">
                  <a:extLst>
                    <a:ext uri="{FF2B5EF4-FFF2-40B4-BE49-F238E27FC236}">
                      <a16:creationId xmlns:a16="http://schemas.microsoft.com/office/drawing/2014/main" id="{0004A672-D5CD-4CB9-A84A-2119CE7D8E5D}"/>
                    </a:ext>
                  </a:extLst>
                </p:cNvPr>
                <p:cNvSpPr/>
                <p:nvPr/>
              </p:nvSpPr>
              <p:spPr>
                <a:xfrm>
                  <a:off x="3435775" y="1671265"/>
                  <a:ext cx="43455" cy="57271"/>
                </a:xfrm>
                <a:custGeom>
                  <a:avLst/>
                  <a:gdLst>
                    <a:gd name="connsiteX0" fmla="*/ 754 w 43455"/>
                    <a:gd name="connsiteY0" fmla="*/ 0 h 57271"/>
                    <a:gd name="connsiteX1" fmla="*/ 0 w 43455"/>
                    <a:gd name="connsiteY1" fmla="*/ 32027 h 57271"/>
                    <a:gd name="connsiteX2" fmla="*/ 628 w 43455"/>
                    <a:gd name="connsiteY2" fmla="*/ 32403 h 57271"/>
                    <a:gd name="connsiteX3" fmla="*/ 9671 w 43455"/>
                    <a:gd name="connsiteY3" fmla="*/ 37678 h 57271"/>
                    <a:gd name="connsiteX4" fmla="*/ 10927 w 43455"/>
                    <a:gd name="connsiteY4" fmla="*/ 38432 h 57271"/>
                    <a:gd name="connsiteX5" fmla="*/ 11555 w 43455"/>
                    <a:gd name="connsiteY5" fmla="*/ 38809 h 57271"/>
                    <a:gd name="connsiteX6" fmla="*/ 13062 w 43455"/>
                    <a:gd name="connsiteY6" fmla="*/ 39688 h 57271"/>
                    <a:gd name="connsiteX7" fmla="*/ 43456 w 43455"/>
                    <a:gd name="connsiteY7" fmla="*/ 57271 h 57271"/>
                    <a:gd name="connsiteX8" fmla="*/ 43456 w 43455"/>
                    <a:gd name="connsiteY8" fmla="*/ 39814 h 57271"/>
                    <a:gd name="connsiteX9" fmla="*/ 26500 w 43455"/>
                    <a:gd name="connsiteY9" fmla="*/ 30017 h 57271"/>
                    <a:gd name="connsiteX10" fmla="*/ 18965 w 43455"/>
                    <a:gd name="connsiteY10" fmla="*/ 24742 h 57271"/>
                    <a:gd name="connsiteX11" fmla="*/ 10927 w 43455"/>
                    <a:gd name="connsiteY11" fmla="*/ 9420 h 57271"/>
                    <a:gd name="connsiteX12" fmla="*/ 10927 w 43455"/>
                    <a:gd name="connsiteY12" fmla="*/ 5777 h 57271"/>
                    <a:gd name="connsiteX13" fmla="*/ 754 w 43455"/>
                    <a:gd name="connsiteY13" fmla="*/ 0 h 5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55" h="57271">
                      <a:moveTo>
                        <a:pt x="754" y="0"/>
                      </a:moveTo>
                      <a:lnTo>
                        <a:pt x="0" y="32027"/>
                      </a:lnTo>
                      <a:lnTo>
                        <a:pt x="628" y="32403"/>
                      </a:lnTo>
                      <a:lnTo>
                        <a:pt x="9671" y="37678"/>
                      </a:lnTo>
                      <a:lnTo>
                        <a:pt x="10927" y="38432"/>
                      </a:lnTo>
                      <a:lnTo>
                        <a:pt x="11555" y="38809"/>
                      </a:lnTo>
                      <a:lnTo>
                        <a:pt x="13062" y="39688"/>
                      </a:lnTo>
                      <a:lnTo>
                        <a:pt x="43456" y="57271"/>
                      </a:lnTo>
                      <a:lnTo>
                        <a:pt x="43456" y="39814"/>
                      </a:lnTo>
                      <a:lnTo>
                        <a:pt x="26500" y="30017"/>
                      </a:lnTo>
                      <a:cubicBezTo>
                        <a:pt x="23989" y="28510"/>
                        <a:pt x="21351" y="26752"/>
                        <a:pt x="18965" y="24742"/>
                      </a:cubicBezTo>
                      <a:cubicBezTo>
                        <a:pt x="14569" y="20849"/>
                        <a:pt x="10927" y="15951"/>
                        <a:pt x="10927" y="9420"/>
                      </a:cubicBezTo>
                      <a:lnTo>
                        <a:pt x="10927" y="5777"/>
                      </a:lnTo>
                      <a:lnTo>
                        <a:pt x="754" y="0"/>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1" name="Freeform: Shape 1440">
                  <a:extLst>
                    <a:ext uri="{FF2B5EF4-FFF2-40B4-BE49-F238E27FC236}">
                      <a16:creationId xmlns:a16="http://schemas.microsoft.com/office/drawing/2014/main" id="{116E8367-FE7A-41C2-A8FF-5FEB848E46BF}"/>
                    </a:ext>
                  </a:extLst>
                </p:cNvPr>
                <p:cNvSpPr/>
                <p:nvPr/>
              </p:nvSpPr>
              <p:spPr>
                <a:xfrm>
                  <a:off x="3411535" y="1672898"/>
                  <a:ext cx="67444" cy="55512"/>
                </a:xfrm>
                <a:custGeom>
                  <a:avLst/>
                  <a:gdLst>
                    <a:gd name="connsiteX0" fmla="*/ 27380 w 67444"/>
                    <a:gd name="connsiteY0" fmla="*/ 0 h 55512"/>
                    <a:gd name="connsiteX1" fmla="*/ 34915 w 67444"/>
                    <a:gd name="connsiteY1" fmla="*/ 4396 h 55512"/>
                    <a:gd name="connsiteX2" fmla="*/ 34915 w 67444"/>
                    <a:gd name="connsiteY2" fmla="*/ 8038 h 55512"/>
                    <a:gd name="connsiteX3" fmla="*/ 42954 w 67444"/>
                    <a:gd name="connsiteY3" fmla="*/ 23361 h 55512"/>
                    <a:gd name="connsiteX4" fmla="*/ 50489 w 67444"/>
                    <a:gd name="connsiteY4" fmla="*/ 28636 h 55512"/>
                    <a:gd name="connsiteX5" fmla="*/ 67445 w 67444"/>
                    <a:gd name="connsiteY5" fmla="*/ 38432 h 55512"/>
                    <a:gd name="connsiteX6" fmla="*/ 40693 w 67444"/>
                    <a:gd name="connsiteY6" fmla="*/ 55513 h 55512"/>
                    <a:gd name="connsiteX7" fmla="*/ 0 w 67444"/>
                    <a:gd name="connsiteY7" fmla="*/ 28510 h 55512"/>
                    <a:gd name="connsiteX8" fmla="*/ 23863 w 67444"/>
                    <a:gd name="connsiteY8" fmla="*/ 2889 h 55512"/>
                    <a:gd name="connsiteX9" fmla="*/ 27380 w 67444"/>
                    <a:gd name="connsiteY9" fmla="*/ 0 h 55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444" h="55512">
                      <a:moveTo>
                        <a:pt x="27380" y="0"/>
                      </a:moveTo>
                      <a:lnTo>
                        <a:pt x="34915" y="4396"/>
                      </a:lnTo>
                      <a:lnTo>
                        <a:pt x="34915" y="8038"/>
                      </a:lnTo>
                      <a:cubicBezTo>
                        <a:pt x="34915" y="14569"/>
                        <a:pt x="38558" y="19467"/>
                        <a:pt x="42954" y="23361"/>
                      </a:cubicBezTo>
                      <a:cubicBezTo>
                        <a:pt x="45340" y="25496"/>
                        <a:pt x="47977" y="27254"/>
                        <a:pt x="50489" y="28636"/>
                      </a:cubicBezTo>
                      <a:lnTo>
                        <a:pt x="67445" y="38432"/>
                      </a:lnTo>
                      <a:lnTo>
                        <a:pt x="40693" y="55513"/>
                      </a:lnTo>
                      <a:lnTo>
                        <a:pt x="0" y="28510"/>
                      </a:lnTo>
                      <a:lnTo>
                        <a:pt x="23863" y="2889"/>
                      </a:lnTo>
                      <a:cubicBezTo>
                        <a:pt x="25119" y="1884"/>
                        <a:pt x="26250" y="1005"/>
                        <a:pt x="27380" y="0"/>
                      </a:cubicBezTo>
                      <a:close/>
                    </a:path>
                  </a:pathLst>
                </a:custGeom>
                <a:solidFill>
                  <a:srgbClr val="211D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2" name="Freeform: Shape 1441">
                  <a:extLst>
                    <a:ext uri="{FF2B5EF4-FFF2-40B4-BE49-F238E27FC236}">
                      <a16:creationId xmlns:a16="http://schemas.microsoft.com/office/drawing/2014/main" id="{21A4B7E7-2733-432D-BBF6-9CE4F797D4DB}"/>
                    </a:ext>
                  </a:extLst>
                </p:cNvPr>
                <p:cNvSpPr/>
                <p:nvPr/>
              </p:nvSpPr>
              <p:spPr>
                <a:xfrm>
                  <a:off x="3446199" y="1641474"/>
                  <a:ext cx="25495" cy="66841"/>
                </a:xfrm>
                <a:custGeom>
                  <a:avLst/>
                  <a:gdLst>
                    <a:gd name="connsiteX0" fmla="*/ 0 w 25495"/>
                    <a:gd name="connsiteY0" fmla="*/ 1658 h 66841"/>
                    <a:gd name="connsiteX1" fmla="*/ 0 w 25495"/>
                    <a:gd name="connsiteY1" fmla="*/ 52147 h 66841"/>
                    <a:gd name="connsiteX2" fmla="*/ 25496 w 25495"/>
                    <a:gd name="connsiteY2" fmla="*/ 66841 h 66841"/>
                    <a:gd name="connsiteX3" fmla="*/ 25496 w 25495"/>
                    <a:gd name="connsiteY3" fmla="*/ 35945 h 66841"/>
                    <a:gd name="connsiteX4" fmla="*/ 6280 w 25495"/>
                    <a:gd name="connsiteY4" fmla="*/ 2663 h 66841"/>
                    <a:gd name="connsiteX5" fmla="*/ 2261 w 25495"/>
                    <a:gd name="connsiteY5" fmla="*/ 402 h 66841"/>
                    <a:gd name="connsiteX6" fmla="*/ 0 w 25495"/>
                    <a:gd name="connsiteY6" fmla="*/ 1658 h 66841"/>
                    <a:gd name="connsiteX7" fmla="*/ 1633 w 25495"/>
                    <a:gd name="connsiteY7" fmla="*/ 1658 h 66841"/>
                    <a:gd name="connsiteX8" fmla="*/ 5526 w 25495"/>
                    <a:gd name="connsiteY8" fmla="*/ 3919 h 66841"/>
                    <a:gd name="connsiteX9" fmla="*/ 23989 w 25495"/>
                    <a:gd name="connsiteY9" fmla="*/ 35820 h 66841"/>
                    <a:gd name="connsiteX10" fmla="*/ 23989 w 25495"/>
                    <a:gd name="connsiteY10" fmla="*/ 63953 h 66841"/>
                    <a:gd name="connsiteX11" fmla="*/ 1633 w 25495"/>
                    <a:gd name="connsiteY11" fmla="*/ 51142 h 66841"/>
                    <a:gd name="connsiteX12" fmla="*/ 1633 w 25495"/>
                    <a:gd name="connsiteY12" fmla="*/ 1658 h 6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495" h="66841">
                      <a:moveTo>
                        <a:pt x="0" y="1658"/>
                      </a:moveTo>
                      <a:lnTo>
                        <a:pt x="0" y="52147"/>
                      </a:lnTo>
                      <a:lnTo>
                        <a:pt x="25496" y="66841"/>
                      </a:lnTo>
                      <a:lnTo>
                        <a:pt x="25496" y="35945"/>
                      </a:lnTo>
                      <a:cubicBezTo>
                        <a:pt x="25496" y="23637"/>
                        <a:pt x="16830" y="8817"/>
                        <a:pt x="6280" y="2663"/>
                      </a:cubicBezTo>
                      <a:lnTo>
                        <a:pt x="2261" y="402"/>
                      </a:lnTo>
                      <a:cubicBezTo>
                        <a:pt x="1130" y="-477"/>
                        <a:pt x="0" y="151"/>
                        <a:pt x="0" y="1658"/>
                      </a:cubicBezTo>
                      <a:close/>
                      <a:moveTo>
                        <a:pt x="1633" y="1658"/>
                      </a:moveTo>
                      <a:lnTo>
                        <a:pt x="5526" y="3919"/>
                      </a:lnTo>
                      <a:cubicBezTo>
                        <a:pt x="15699" y="9821"/>
                        <a:pt x="23989" y="24139"/>
                        <a:pt x="23989" y="35820"/>
                      </a:cubicBezTo>
                      <a:lnTo>
                        <a:pt x="23989" y="63953"/>
                      </a:lnTo>
                      <a:lnTo>
                        <a:pt x="1633" y="51142"/>
                      </a:lnTo>
                      <a:lnTo>
                        <a:pt x="1633" y="1658"/>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3" name="Freeform: Shape 1442">
                  <a:extLst>
                    <a:ext uri="{FF2B5EF4-FFF2-40B4-BE49-F238E27FC236}">
                      <a16:creationId xmlns:a16="http://schemas.microsoft.com/office/drawing/2014/main" id="{F43F6084-1803-404C-BC4E-47049A7DA2ED}"/>
                    </a:ext>
                  </a:extLst>
                </p:cNvPr>
                <p:cNvSpPr/>
                <p:nvPr/>
              </p:nvSpPr>
              <p:spPr>
                <a:xfrm>
                  <a:off x="3447832" y="1643132"/>
                  <a:ext cx="22355" cy="62295"/>
                </a:xfrm>
                <a:custGeom>
                  <a:avLst/>
                  <a:gdLst>
                    <a:gd name="connsiteX0" fmla="*/ 0 w 22355"/>
                    <a:gd name="connsiteY0" fmla="*/ 0 h 62295"/>
                    <a:gd name="connsiteX1" fmla="*/ 0 w 22355"/>
                    <a:gd name="connsiteY1" fmla="*/ 49484 h 62295"/>
                    <a:gd name="connsiteX2" fmla="*/ 22356 w 22355"/>
                    <a:gd name="connsiteY2" fmla="*/ 62295 h 62295"/>
                    <a:gd name="connsiteX3" fmla="*/ 22356 w 22355"/>
                    <a:gd name="connsiteY3" fmla="*/ 34162 h 62295"/>
                    <a:gd name="connsiteX4" fmla="*/ 3893 w 22355"/>
                    <a:gd name="connsiteY4" fmla="*/ 2261 h 62295"/>
                    <a:gd name="connsiteX5" fmla="*/ 0 w 22355"/>
                    <a:gd name="connsiteY5" fmla="*/ 0 h 6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55" h="62295">
                      <a:moveTo>
                        <a:pt x="0" y="0"/>
                      </a:moveTo>
                      <a:lnTo>
                        <a:pt x="0" y="49484"/>
                      </a:lnTo>
                      <a:lnTo>
                        <a:pt x="22356" y="62295"/>
                      </a:lnTo>
                      <a:lnTo>
                        <a:pt x="22356" y="34162"/>
                      </a:lnTo>
                      <a:cubicBezTo>
                        <a:pt x="22356" y="22481"/>
                        <a:pt x="14067" y="8164"/>
                        <a:pt x="3893" y="2261"/>
                      </a:cubicBezTo>
                      <a:lnTo>
                        <a:pt x="0" y="0"/>
                      </a:lnTo>
                      <a:close/>
                    </a:path>
                  </a:pathLst>
                </a:custGeom>
                <a:solidFill>
                  <a:srgbClr val="01B2E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4" name="Freeform: Shape 1443">
                  <a:extLst>
                    <a:ext uri="{FF2B5EF4-FFF2-40B4-BE49-F238E27FC236}">
                      <a16:creationId xmlns:a16="http://schemas.microsoft.com/office/drawing/2014/main" id="{174C80AE-44B6-447C-925B-EDFC42D44DB8}"/>
                    </a:ext>
                  </a:extLst>
                </p:cNvPr>
                <p:cNvSpPr/>
                <p:nvPr/>
              </p:nvSpPr>
              <p:spPr>
                <a:xfrm>
                  <a:off x="3409148" y="1671265"/>
                  <a:ext cx="37804" cy="21476"/>
                </a:xfrm>
                <a:custGeom>
                  <a:avLst/>
                  <a:gdLst>
                    <a:gd name="connsiteX0" fmla="*/ 27380 w 37804"/>
                    <a:gd name="connsiteY0" fmla="*/ 0 h 21476"/>
                    <a:gd name="connsiteX1" fmla="*/ 37804 w 37804"/>
                    <a:gd name="connsiteY1" fmla="*/ 5777 h 21476"/>
                    <a:gd name="connsiteX2" fmla="*/ 10550 w 37804"/>
                    <a:gd name="connsiteY2" fmla="*/ 21477 h 21476"/>
                    <a:gd name="connsiteX3" fmla="*/ 0 w 37804"/>
                    <a:gd name="connsiteY3" fmla="*/ 15825 h 21476"/>
                  </a:gdLst>
                  <a:ahLst/>
                  <a:cxnLst>
                    <a:cxn ang="0">
                      <a:pos x="connsiteX0" y="connsiteY0"/>
                    </a:cxn>
                    <a:cxn ang="0">
                      <a:pos x="connsiteX1" y="connsiteY1"/>
                    </a:cxn>
                    <a:cxn ang="0">
                      <a:pos x="connsiteX2" y="connsiteY2"/>
                    </a:cxn>
                    <a:cxn ang="0">
                      <a:pos x="connsiteX3" y="connsiteY3"/>
                    </a:cxn>
                  </a:cxnLst>
                  <a:rect l="l" t="t" r="r" b="b"/>
                  <a:pathLst>
                    <a:path w="37804" h="21476">
                      <a:moveTo>
                        <a:pt x="27380" y="0"/>
                      </a:moveTo>
                      <a:lnTo>
                        <a:pt x="37804" y="5777"/>
                      </a:lnTo>
                      <a:lnTo>
                        <a:pt x="10550" y="21477"/>
                      </a:lnTo>
                      <a:lnTo>
                        <a:pt x="0" y="15825"/>
                      </a:lnTo>
                      <a:close/>
                    </a:path>
                  </a:pathLst>
                </a:custGeom>
                <a:solidFill>
                  <a:srgbClr val="FFDB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45" name="Graphic 4">
                  <a:extLst>
                    <a:ext uri="{FF2B5EF4-FFF2-40B4-BE49-F238E27FC236}">
                      <a16:creationId xmlns:a16="http://schemas.microsoft.com/office/drawing/2014/main" id="{84FB7ED1-A2DF-40A1-A747-5F7CF3F14040}"/>
                    </a:ext>
                  </a:extLst>
                </p:cNvPr>
                <p:cNvGrpSpPr/>
                <p:nvPr/>
              </p:nvGrpSpPr>
              <p:grpSpPr>
                <a:xfrm>
                  <a:off x="3423215" y="1670731"/>
                  <a:ext cx="34412" cy="38463"/>
                  <a:chOff x="3423215" y="1670731"/>
                  <a:chExt cx="34412" cy="38463"/>
                </a:xfrm>
                <a:solidFill>
                  <a:schemeClr val="accent1"/>
                </a:solidFill>
              </p:grpSpPr>
              <p:sp>
                <p:nvSpPr>
                  <p:cNvPr id="1446" name="Freeform: Shape 1445">
                    <a:extLst>
                      <a:ext uri="{FF2B5EF4-FFF2-40B4-BE49-F238E27FC236}">
                        <a16:creationId xmlns:a16="http://schemas.microsoft.com/office/drawing/2014/main" id="{D948FD83-F66B-4BE5-8827-B2BE0C1A2336}"/>
                      </a:ext>
                    </a:extLst>
                  </p:cNvPr>
                  <p:cNvSpPr/>
                  <p:nvPr/>
                </p:nvSpPr>
                <p:spPr>
                  <a:xfrm>
                    <a:off x="3429495" y="1688472"/>
                    <a:ext cx="28133" cy="20723"/>
                  </a:xfrm>
                  <a:custGeom>
                    <a:avLst/>
                    <a:gdLst>
                      <a:gd name="connsiteX0" fmla="*/ 0 w 28133"/>
                      <a:gd name="connsiteY0" fmla="*/ 13062 h 20723"/>
                      <a:gd name="connsiteX1" fmla="*/ 13062 w 28133"/>
                      <a:gd name="connsiteY1" fmla="*/ 20723 h 20723"/>
                      <a:gd name="connsiteX2" fmla="*/ 28133 w 28133"/>
                      <a:gd name="connsiteY2" fmla="*/ 12057 h 20723"/>
                      <a:gd name="connsiteX3" fmla="*/ 28133 w 28133"/>
                      <a:gd name="connsiteY3" fmla="*/ 7033 h 20723"/>
                      <a:gd name="connsiteX4" fmla="*/ 28007 w 28133"/>
                      <a:gd name="connsiteY4" fmla="*/ 6908 h 20723"/>
                      <a:gd name="connsiteX5" fmla="*/ 27756 w 28133"/>
                      <a:gd name="connsiteY5" fmla="*/ 6908 h 20723"/>
                      <a:gd name="connsiteX6" fmla="*/ 23235 w 28133"/>
                      <a:gd name="connsiteY6" fmla="*/ 5275 h 20723"/>
                      <a:gd name="connsiteX7" fmla="*/ 22984 w 28133"/>
                      <a:gd name="connsiteY7" fmla="*/ 5149 h 20723"/>
                      <a:gd name="connsiteX8" fmla="*/ 18588 w 28133"/>
                      <a:gd name="connsiteY8" fmla="*/ 3642 h 20723"/>
                      <a:gd name="connsiteX9" fmla="*/ 18337 w 28133"/>
                      <a:gd name="connsiteY9" fmla="*/ 3517 h 20723"/>
                      <a:gd name="connsiteX10" fmla="*/ 16076 w 28133"/>
                      <a:gd name="connsiteY10" fmla="*/ 0 h 20723"/>
                      <a:gd name="connsiteX11" fmla="*/ 8164 w 28133"/>
                      <a:gd name="connsiteY11" fmla="*/ 4521 h 20723"/>
                      <a:gd name="connsiteX12" fmla="*/ 7912 w 28133"/>
                      <a:gd name="connsiteY12" fmla="*/ 4647 h 20723"/>
                      <a:gd name="connsiteX13" fmla="*/ 4144 w 28133"/>
                      <a:gd name="connsiteY13" fmla="*/ 6908 h 20723"/>
                      <a:gd name="connsiteX14" fmla="*/ 4019 w 28133"/>
                      <a:gd name="connsiteY14" fmla="*/ 6908 h 20723"/>
                      <a:gd name="connsiteX15" fmla="*/ 1005 w 28133"/>
                      <a:gd name="connsiteY15" fmla="*/ 8666 h 20723"/>
                      <a:gd name="connsiteX16" fmla="*/ 251 w 28133"/>
                      <a:gd name="connsiteY16" fmla="*/ 9168 h 20723"/>
                      <a:gd name="connsiteX17" fmla="*/ 0 w 28133"/>
                      <a:gd name="connsiteY17" fmla="*/ 9294 h 20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133" h="20723">
                        <a:moveTo>
                          <a:pt x="0" y="13062"/>
                        </a:moveTo>
                        <a:lnTo>
                          <a:pt x="13062" y="20723"/>
                        </a:lnTo>
                        <a:lnTo>
                          <a:pt x="28133" y="12057"/>
                        </a:lnTo>
                        <a:lnTo>
                          <a:pt x="28133" y="7033"/>
                        </a:lnTo>
                        <a:lnTo>
                          <a:pt x="28007" y="6908"/>
                        </a:lnTo>
                        <a:lnTo>
                          <a:pt x="27756" y="6908"/>
                        </a:lnTo>
                        <a:lnTo>
                          <a:pt x="23235" y="5275"/>
                        </a:lnTo>
                        <a:lnTo>
                          <a:pt x="22984" y="5149"/>
                        </a:lnTo>
                        <a:lnTo>
                          <a:pt x="18588" y="3642"/>
                        </a:lnTo>
                        <a:lnTo>
                          <a:pt x="18337" y="3517"/>
                        </a:lnTo>
                        <a:lnTo>
                          <a:pt x="16076" y="0"/>
                        </a:lnTo>
                        <a:lnTo>
                          <a:pt x="8164" y="4521"/>
                        </a:lnTo>
                        <a:lnTo>
                          <a:pt x="7912" y="4647"/>
                        </a:lnTo>
                        <a:lnTo>
                          <a:pt x="4144" y="6908"/>
                        </a:lnTo>
                        <a:lnTo>
                          <a:pt x="4019" y="6908"/>
                        </a:lnTo>
                        <a:lnTo>
                          <a:pt x="1005" y="8666"/>
                        </a:lnTo>
                        <a:lnTo>
                          <a:pt x="251" y="9168"/>
                        </a:lnTo>
                        <a:lnTo>
                          <a:pt x="0" y="9294"/>
                        </a:lnTo>
                        <a:close/>
                      </a:path>
                    </a:pathLst>
                  </a:custGeom>
                  <a:solidFill>
                    <a:srgbClr val="26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7" name="Freeform: Shape 1446">
                    <a:extLst>
                      <a:ext uri="{FF2B5EF4-FFF2-40B4-BE49-F238E27FC236}">
                        <a16:creationId xmlns:a16="http://schemas.microsoft.com/office/drawing/2014/main" id="{1CE44D1B-5811-4835-8E54-9FD81C3FC12C}"/>
                      </a:ext>
                    </a:extLst>
                  </p:cNvPr>
                  <p:cNvSpPr/>
                  <p:nvPr/>
                </p:nvSpPr>
                <p:spPr>
                  <a:xfrm>
                    <a:off x="3423215" y="1670731"/>
                    <a:ext cx="19001" cy="31806"/>
                  </a:xfrm>
                  <a:custGeom>
                    <a:avLst/>
                    <a:gdLst>
                      <a:gd name="connsiteX0" fmla="*/ 0 w 19001"/>
                      <a:gd name="connsiteY0" fmla="*/ 9325 h 31806"/>
                      <a:gd name="connsiteX1" fmla="*/ 0 w 19001"/>
                      <a:gd name="connsiteY1" fmla="*/ 9702 h 31806"/>
                      <a:gd name="connsiteX2" fmla="*/ 4396 w 19001"/>
                      <a:gd name="connsiteY2" fmla="*/ 29923 h 31806"/>
                      <a:gd name="connsiteX3" fmla="*/ 7787 w 19001"/>
                      <a:gd name="connsiteY3" fmla="*/ 31807 h 31806"/>
                      <a:gd name="connsiteX4" fmla="*/ 18086 w 19001"/>
                      <a:gd name="connsiteY4" fmla="*/ 12842 h 31806"/>
                      <a:gd name="connsiteX5" fmla="*/ 18965 w 19001"/>
                      <a:gd name="connsiteY5" fmla="*/ 1915 h 31806"/>
                      <a:gd name="connsiteX6" fmla="*/ 18839 w 19001"/>
                      <a:gd name="connsiteY6" fmla="*/ 1790 h 31806"/>
                      <a:gd name="connsiteX7" fmla="*/ 15950 w 19001"/>
                      <a:gd name="connsiteY7" fmla="*/ 283 h 31806"/>
                      <a:gd name="connsiteX8" fmla="*/ 13438 w 19001"/>
                      <a:gd name="connsiteY8" fmla="*/ 283 h 31806"/>
                      <a:gd name="connsiteX9" fmla="*/ 1256 w 19001"/>
                      <a:gd name="connsiteY9" fmla="*/ 7065 h 31806"/>
                      <a:gd name="connsiteX10" fmla="*/ 879 w 19001"/>
                      <a:gd name="connsiteY10" fmla="*/ 7316 h 31806"/>
                      <a:gd name="connsiteX11" fmla="*/ 251 w 19001"/>
                      <a:gd name="connsiteY11" fmla="*/ 8195 h 31806"/>
                      <a:gd name="connsiteX12" fmla="*/ 0 w 19001"/>
                      <a:gd name="connsiteY12" fmla="*/ 9325 h 31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01" h="31806">
                        <a:moveTo>
                          <a:pt x="0" y="9325"/>
                        </a:moveTo>
                        <a:cubicBezTo>
                          <a:pt x="0" y="9451"/>
                          <a:pt x="0" y="9577"/>
                          <a:pt x="0" y="9702"/>
                        </a:cubicBezTo>
                        <a:cubicBezTo>
                          <a:pt x="628" y="12716"/>
                          <a:pt x="4396" y="29923"/>
                          <a:pt x="4396" y="29923"/>
                        </a:cubicBezTo>
                        <a:lnTo>
                          <a:pt x="7787" y="31807"/>
                        </a:lnTo>
                        <a:lnTo>
                          <a:pt x="18086" y="12842"/>
                        </a:lnTo>
                        <a:cubicBezTo>
                          <a:pt x="18086" y="12842"/>
                          <a:pt x="19216" y="2041"/>
                          <a:pt x="18965" y="1915"/>
                        </a:cubicBezTo>
                        <a:cubicBezTo>
                          <a:pt x="18965" y="1915"/>
                          <a:pt x="18839" y="1915"/>
                          <a:pt x="18839" y="1790"/>
                        </a:cubicBezTo>
                        <a:cubicBezTo>
                          <a:pt x="17960" y="1287"/>
                          <a:pt x="16327" y="534"/>
                          <a:pt x="15950" y="283"/>
                        </a:cubicBezTo>
                        <a:cubicBezTo>
                          <a:pt x="15197" y="-94"/>
                          <a:pt x="14318" y="-94"/>
                          <a:pt x="13438" y="283"/>
                        </a:cubicBezTo>
                        <a:cubicBezTo>
                          <a:pt x="8917" y="2794"/>
                          <a:pt x="5652" y="4553"/>
                          <a:pt x="1256" y="7065"/>
                        </a:cubicBezTo>
                        <a:cubicBezTo>
                          <a:pt x="1130" y="7065"/>
                          <a:pt x="1005" y="7190"/>
                          <a:pt x="879" y="7316"/>
                        </a:cubicBezTo>
                        <a:cubicBezTo>
                          <a:pt x="628" y="7567"/>
                          <a:pt x="502" y="7818"/>
                          <a:pt x="251" y="8195"/>
                        </a:cubicBezTo>
                        <a:cubicBezTo>
                          <a:pt x="0" y="8697"/>
                          <a:pt x="0" y="9074"/>
                          <a:pt x="0" y="9325"/>
                        </a:cubicBezTo>
                        <a:close/>
                      </a:path>
                    </a:pathLst>
                  </a:custGeom>
                  <a:solidFill>
                    <a:srgbClr val="7D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8" name="Freeform: Shape 1447">
                    <a:extLst>
                      <a:ext uri="{FF2B5EF4-FFF2-40B4-BE49-F238E27FC236}">
                        <a16:creationId xmlns:a16="http://schemas.microsoft.com/office/drawing/2014/main" id="{52528479-E43A-4E6E-AC7E-D9E76267CC5F}"/>
                      </a:ext>
                    </a:extLst>
                  </p:cNvPr>
                  <p:cNvSpPr/>
                  <p:nvPr/>
                </p:nvSpPr>
                <p:spPr>
                  <a:xfrm>
                    <a:off x="3423215" y="1672463"/>
                    <a:ext cx="18839" cy="20906"/>
                  </a:xfrm>
                  <a:custGeom>
                    <a:avLst/>
                    <a:gdLst>
                      <a:gd name="connsiteX0" fmla="*/ 0 w 18839"/>
                      <a:gd name="connsiteY0" fmla="*/ 7594 h 20906"/>
                      <a:gd name="connsiteX1" fmla="*/ 3391 w 18839"/>
                      <a:gd name="connsiteY1" fmla="*/ 9101 h 20906"/>
                      <a:gd name="connsiteX2" fmla="*/ 4521 w 18839"/>
                      <a:gd name="connsiteY2" fmla="*/ 11613 h 20906"/>
                      <a:gd name="connsiteX3" fmla="*/ 6657 w 18839"/>
                      <a:gd name="connsiteY3" fmla="*/ 20907 h 20906"/>
                      <a:gd name="connsiteX4" fmla="*/ 18839 w 18839"/>
                      <a:gd name="connsiteY4" fmla="*/ 58 h 20906"/>
                      <a:gd name="connsiteX5" fmla="*/ 16578 w 18839"/>
                      <a:gd name="connsiteY5" fmla="*/ 686 h 20906"/>
                      <a:gd name="connsiteX6" fmla="*/ 5275 w 18839"/>
                      <a:gd name="connsiteY6" fmla="*/ 7091 h 20906"/>
                      <a:gd name="connsiteX7" fmla="*/ 3642 w 18839"/>
                      <a:gd name="connsiteY7" fmla="*/ 6966 h 20906"/>
                      <a:gd name="connsiteX8" fmla="*/ 879 w 18839"/>
                      <a:gd name="connsiteY8" fmla="*/ 5710 h 20906"/>
                      <a:gd name="connsiteX9" fmla="*/ 251 w 18839"/>
                      <a:gd name="connsiteY9" fmla="*/ 6589 h 20906"/>
                      <a:gd name="connsiteX10" fmla="*/ 0 w 18839"/>
                      <a:gd name="connsiteY10" fmla="*/ 7594 h 2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39" h="20906">
                        <a:moveTo>
                          <a:pt x="0" y="7594"/>
                        </a:moveTo>
                        <a:cubicBezTo>
                          <a:pt x="1130" y="8096"/>
                          <a:pt x="3014" y="8850"/>
                          <a:pt x="3391" y="9101"/>
                        </a:cubicBezTo>
                        <a:cubicBezTo>
                          <a:pt x="4019" y="9352"/>
                          <a:pt x="4270" y="10734"/>
                          <a:pt x="4521" y="11613"/>
                        </a:cubicBezTo>
                        <a:cubicBezTo>
                          <a:pt x="4772" y="12492"/>
                          <a:pt x="6657" y="20907"/>
                          <a:pt x="6657" y="20907"/>
                        </a:cubicBezTo>
                        <a:lnTo>
                          <a:pt x="18839" y="58"/>
                        </a:lnTo>
                        <a:cubicBezTo>
                          <a:pt x="17834" y="-193"/>
                          <a:pt x="17081" y="435"/>
                          <a:pt x="16578" y="686"/>
                        </a:cubicBezTo>
                        <a:cubicBezTo>
                          <a:pt x="15950" y="1063"/>
                          <a:pt x="6028" y="6589"/>
                          <a:pt x="5275" y="7091"/>
                        </a:cubicBezTo>
                        <a:cubicBezTo>
                          <a:pt x="4521" y="7468"/>
                          <a:pt x="4270" y="7217"/>
                          <a:pt x="3642" y="6966"/>
                        </a:cubicBezTo>
                        <a:cubicBezTo>
                          <a:pt x="3014" y="6715"/>
                          <a:pt x="1884" y="6087"/>
                          <a:pt x="879" y="5710"/>
                        </a:cubicBezTo>
                        <a:cubicBezTo>
                          <a:pt x="628" y="5961"/>
                          <a:pt x="502" y="6212"/>
                          <a:pt x="251" y="6589"/>
                        </a:cubicBezTo>
                        <a:cubicBezTo>
                          <a:pt x="0" y="6966"/>
                          <a:pt x="0" y="7343"/>
                          <a:pt x="0" y="7594"/>
                        </a:cubicBezTo>
                        <a:close/>
                      </a:path>
                    </a:pathLst>
                  </a:custGeom>
                  <a:solidFill>
                    <a:srgbClr val="ABABAB">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9" name="Freeform: Shape 1448">
                    <a:extLst>
                      <a:ext uri="{FF2B5EF4-FFF2-40B4-BE49-F238E27FC236}">
                        <a16:creationId xmlns:a16="http://schemas.microsoft.com/office/drawing/2014/main" id="{893A9056-D768-42C5-B785-B4C58F71CEB2}"/>
                      </a:ext>
                    </a:extLst>
                  </p:cNvPr>
                  <p:cNvSpPr/>
                  <p:nvPr/>
                </p:nvSpPr>
                <p:spPr>
                  <a:xfrm>
                    <a:off x="3427485" y="1672692"/>
                    <a:ext cx="18587" cy="24822"/>
                  </a:xfrm>
                  <a:custGeom>
                    <a:avLst/>
                    <a:gdLst>
                      <a:gd name="connsiteX0" fmla="*/ 0 w 18587"/>
                      <a:gd name="connsiteY0" fmla="*/ 9249 h 24822"/>
                      <a:gd name="connsiteX1" fmla="*/ 0 w 18587"/>
                      <a:gd name="connsiteY1" fmla="*/ 9249 h 24822"/>
                      <a:gd name="connsiteX2" fmla="*/ 1381 w 18587"/>
                      <a:gd name="connsiteY2" fmla="*/ 16031 h 24822"/>
                      <a:gd name="connsiteX3" fmla="*/ 1507 w 18587"/>
                      <a:gd name="connsiteY3" fmla="*/ 16282 h 24822"/>
                      <a:gd name="connsiteX4" fmla="*/ 2637 w 18587"/>
                      <a:gd name="connsiteY4" fmla="*/ 21431 h 24822"/>
                      <a:gd name="connsiteX5" fmla="*/ 2763 w 18587"/>
                      <a:gd name="connsiteY5" fmla="*/ 21682 h 24822"/>
                      <a:gd name="connsiteX6" fmla="*/ 3768 w 18587"/>
                      <a:gd name="connsiteY6" fmla="*/ 24822 h 24822"/>
                      <a:gd name="connsiteX7" fmla="*/ 18588 w 18587"/>
                      <a:gd name="connsiteY7" fmla="*/ 16031 h 24822"/>
                      <a:gd name="connsiteX8" fmla="*/ 17457 w 18587"/>
                      <a:gd name="connsiteY8" fmla="*/ 10253 h 24822"/>
                      <a:gd name="connsiteX9" fmla="*/ 17457 w 18587"/>
                      <a:gd name="connsiteY9" fmla="*/ 10002 h 24822"/>
                      <a:gd name="connsiteX10" fmla="*/ 16327 w 18587"/>
                      <a:gd name="connsiteY10" fmla="*/ 4853 h 24822"/>
                      <a:gd name="connsiteX11" fmla="*/ 16327 w 18587"/>
                      <a:gd name="connsiteY11" fmla="*/ 4853 h 24822"/>
                      <a:gd name="connsiteX12" fmla="*/ 16201 w 18587"/>
                      <a:gd name="connsiteY12" fmla="*/ 4602 h 24822"/>
                      <a:gd name="connsiteX13" fmla="*/ 16201 w 18587"/>
                      <a:gd name="connsiteY13" fmla="*/ 4602 h 24822"/>
                      <a:gd name="connsiteX14" fmla="*/ 15197 w 18587"/>
                      <a:gd name="connsiteY14" fmla="*/ 331 h 24822"/>
                      <a:gd name="connsiteX15" fmla="*/ 15197 w 18587"/>
                      <a:gd name="connsiteY15" fmla="*/ 331 h 24822"/>
                      <a:gd name="connsiteX16" fmla="*/ 13564 w 18587"/>
                      <a:gd name="connsiteY16" fmla="*/ 331 h 24822"/>
                      <a:gd name="connsiteX17" fmla="*/ 10173 w 18587"/>
                      <a:gd name="connsiteY17" fmla="*/ 2215 h 24822"/>
                      <a:gd name="connsiteX18" fmla="*/ 9922 w 18587"/>
                      <a:gd name="connsiteY18" fmla="*/ 2341 h 24822"/>
                      <a:gd name="connsiteX19" fmla="*/ 5149 w 18587"/>
                      <a:gd name="connsiteY19" fmla="*/ 5104 h 24822"/>
                      <a:gd name="connsiteX20" fmla="*/ 4898 w 18587"/>
                      <a:gd name="connsiteY20" fmla="*/ 5230 h 24822"/>
                      <a:gd name="connsiteX21" fmla="*/ 4898 w 18587"/>
                      <a:gd name="connsiteY21" fmla="*/ 5230 h 24822"/>
                      <a:gd name="connsiteX22" fmla="*/ 4647 w 18587"/>
                      <a:gd name="connsiteY22" fmla="*/ 5355 h 24822"/>
                      <a:gd name="connsiteX23" fmla="*/ 2135 w 18587"/>
                      <a:gd name="connsiteY23" fmla="*/ 6862 h 24822"/>
                      <a:gd name="connsiteX24" fmla="*/ 1381 w 18587"/>
                      <a:gd name="connsiteY24" fmla="*/ 7239 h 24822"/>
                      <a:gd name="connsiteX25" fmla="*/ 1256 w 18587"/>
                      <a:gd name="connsiteY25" fmla="*/ 7239 h 24822"/>
                      <a:gd name="connsiteX26" fmla="*/ 1130 w 18587"/>
                      <a:gd name="connsiteY26" fmla="*/ 7239 h 24822"/>
                      <a:gd name="connsiteX27" fmla="*/ 0 w 18587"/>
                      <a:gd name="connsiteY27" fmla="*/ 9249 h 2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587" h="24822">
                        <a:moveTo>
                          <a:pt x="0" y="9249"/>
                        </a:moveTo>
                        <a:lnTo>
                          <a:pt x="0" y="9249"/>
                        </a:lnTo>
                        <a:lnTo>
                          <a:pt x="1381" y="16031"/>
                        </a:lnTo>
                        <a:lnTo>
                          <a:pt x="1507" y="16282"/>
                        </a:lnTo>
                        <a:lnTo>
                          <a:pt x="2637" y="21431"/>
                        </a:lnTo>
                        <a:lnTo>
                          <a:pt x="2763" y="21682"/>
                        </a:lnTo>
                        <a:lnTo>
                          <a:pt x="3768" y="24822"/>
                        </a:lnTo>
                        <a:lnTo>
                          <a:pt x="18588" y="16031"/>
                        </a:lnTo>
                        <a:lnTo>
                          <a:pt x="17457" y="10253"/>
                        </a:lnTo>
                        <a:lnTo>
                          <a:pt x="17457" y="10002"/>
                        </a:lnTo>
                        <a:lnTo>
                          <a:pt x="16327" y="4853"/>
                        </a:lnTo>
                        <a:lnTo>
                          <a:pt x="16327" y="4853"/>
                        </a:lnTo>
                        <a:lnTo>
                          <a:pt x="16201" y="4602"/>
                        </a:lnTo>
                        <a:lnTo>
                          <a:pt x="16201" y="4602"/>
                        </a:lnTo>
                        <a:lnTo>
                          <a:pt x="15197" y="331"/>
                        </a:lnTo>
                        <a:lnTo>
                          <a:pt x="15197" y="331"/>
                        </a:lnTo>
                        <a:cubicBezTo>
                          <a:pt x="14946" y="-45"/>
                          <a:pt x="14318" y="-171"/>
                          <a:pt x="13564" y="331"/>
                        </a:cubicBezTo>
                        <a:cubicBezTo>
                          <a:pt x="12559" y="834"/>
                          <a:pt x="11429" y="1587"/>
                          <a:pt x="10173" y="2215"/>
                        </a:cubicBezTo>
                        <a:cubicBezTo>
                          <a:pt x="10047" y="2215"/>
                          <a:pt x="10047" y="2341"/>
                          <a:pt x="9922" y="2341"/>
                        </a:cubicBezTo>
                        <a:cubicBezTo>
                          <a:pt x="8415" y="3220"/>
                          <a:pt x="6782" y="4099"/>
                          <a:pt x="5149" y="5104"/>
                        </a:cubicBezTo>
                        <a:cubicBezTo>
                          <a:pt x="5024" y="5104"/>
                          <a:pt x="5024" y="5230"/>
                          <a:pt x="4898" y="5230"/>
                        </a:cubicBezTo>
                        <a:cubicBezTo>
                          <a:pt x="3265" y="6234"/>
                          <a:pt x="6405" y="4350"/>
                          <a:pt x="4898" y="5230"/>
                        </a:cubicBezTo>
                        <a:cubicBezTo>
                          <a:pt x="4773" y="5230"/>
                          <a:pt x="4773" y="5355"/>
                          <a:pt x="4647" y="5355"/>
                        </a:cubicBezTo>
                        <a:cubicBezTo>
                          <a:pt x="3768" y="5858"/>
                          <a:pt x="2888" y="6360"/>
                          <a:pt x="2135" y="6862"/>
                        </a:cubicBezTo>
                        <a:lnTo>
                          <a:pt x="1381" y="7239"/>
                        </a:lnTo>
                        <a:lnTo>
                          <a:pt x="1256" y="7239"/>
                        </a:lnTo>
                        <a:lnTo>
                          <a:pt x="1130" y="7239"/>
                        </a:lnTo>
                        <a:cubicBezTo>
                          <a:pt x="754" y="7490"/>
                          <a:pt x="0" y="7993"/>
                          <a:pt x="0" y="9249"/>
                        </a:cubicBezTo>
                        <a:close/>
                      </a:path>
                    </a:pathLst>
                  </a:custGeom>
                  <a:solidFill>
                    <a:srgbClr val="2D2D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50" name="Graphic 4">
                    <a:extLst>
                      <a:ext uri="{FF2B5EF4-FFF2-40B4-BE49-F238E27FC236}">
                        <a16:creationId xmlns:a16="http://schemas.microsoft.com/office/drawing/2014/main" id="{84FB7ED1-A2DF-40A1-A747-5F7CF3F14040}"/>
                      </a:ext>
                    </a:extLst>
                  </p:cNvPr>
                  <p:cNvGrpSpPr/>
                  <p:nvPr/>
                </p:nvGrpSpPr>
                <p:grpSpPr>
                  <a:xfrm>
                    <a:off x="3430876" y="1688723"/>
                    <a:ext cx="26751" cy="15448"/>
                    <a:chOff x="3430876" y="1688723"/>
                    <a:chExt cx="26751" cy="15448"/>
                  </a:xfrm>
                  <a:solidFill>
                    <a:schemeClr val="accent1"/>
                  </a:solidFill>
                </p:grpSpPr>
                <p:sp>
                  <p:nvSpPr>
                    <p:cNvPr id="1451" name="Freeform: Shape 1450">
                      <a:extLst>
                        <a:ext uri="{FF2B5EF4-FFF2-40B4-BE49-F238E27FC236}">
                          <a16:creationId xmlns:a16="http://schemas.microsoft.com/office/drawing/2014/main" id="{5D1458A5-AF43-4215-9407-CF9243BE5A55}"/>
                        </a:ext>
                      </a:extLst>
                    </p:cNvPr>
                    <p:cNvSpPr/>
                    <p:nvPr/>
                  </p:nvSpPr>
                  <p:spPr>
                    <a:xfrm>
                      <a:off x="3431002" y="1688723"/>
                      <a:ext cx="26626" cy="15448"/>
                    </a:xfrm>
                    <a:custGeom>
                      <a:avLst/>
                      <a:gdLst>
                        <a:gd name="connsiteX0" fmla="*/ 0 w 26626"/>
                        <a:gd name="connsiteY0" fmla="*/ 8792 h 15448"/>
                        <a:gd name="connsiteX1" fmla="*/ 3768 w 26626"/>
                        <a:gd name="connsiteY1" fmla="*/ 10927 h 15448"/>
                        <a:gd name="connsiteX2" fmla="*/ 3893 w 26626"/>
                        <a:gd name="connsiteY2" fmla="*/ 10927 h 15448"/>
                        <a:gd name="connsiteX3" fmla="*/ 7536 w 26626"/>
                        <a:gd name="connsiteY3" fmla="*/ 13062 h 15448"/>
                        <a:gd name="connsiteX4" fmla="*/ 7661 w 26626"/>
                        <a:gd name="connsiteY4" fmla="*/ 13187 h 15448"/>
                        <a:gd name="connsiteX5" fmla="*/ 11303 w 26626"/>
                        <a:gd name="connsiteY5" fmla="*/ 15323 h 15448"/>
                        <a:gd name="connsiteX6" fmla="*/ 11555 w 26626"/>
                        <a:gd name="connsiteY6" fmla="*/ 15323 h 15448"/>
                        <a:gd name="connsiteX7" fmla="*/ 11555 w 26626"/>
                        <a:gd name="connsiteY7" fmla="*/ 15448 h 15448"/>
                        <a:gd name="connsiteX8" fmla="*/ 14569 w 26626"/>
                        <a:gd name="connsiteY8" fmla="*/ 13690 h 15448"/>
                        <a:gd name="connsiteX9" fmla="*/ 14694 w 26626"/>
                        <a:gd name="connsiteY9" fmla="*/ 13564 h 15448"/>
                        <a:gd name="connsiteX10" fmla="*/ 18588 w 26626"/>
                        <a:gd name="connsiteY10" fmla="*/ 11429 h 15448"/>
                        <a:gd name="connsiteX11" fmla="*/ 18714 w 26626"/>
                        <a:gd name="connsiteY11" fmla="*/ 11304 h 15448"/>
                        <a:gd name="connsiteX12" fmla="*/ 22482 w 26626"/>
                        <a:gd name="connsiteY12" fmla="*/ 9043 h 15448"/>
                        <a:gd name="connsiteX13" fmla="*/ 22733 w 26626"/>
                        <a:gd name="connsiteY13" fmla="*/ 9043 h 15448"/>
                        <a:gd name="connsiteX14" fmla="*/ 26626 w 26626"/>
                        <a:gd name="connsiteY14" fmla="*/ 6782 h 15448"/>
                        <a:gd name="connsiteX15" fmla="*/ 26500 w 26626"/>
                        <a:gd name="connsiteY15" fmla="*/ 6657 h 15448"/>
                        <a:gd name="connsiteX16" fmla="*/ 26375 w 26626"/>
                        <a:gd name="connsiteY16" fmla="*/ 6657 h 15448"/>
                        <a:gd name="connsiteX17" fmla="*/ 22733 w 26626"/>
                        <a:gd name="connsiteY17" fmla="*/ 4521 h 15448"/>
                        <a:gd name="connsiteX18" fmla="*/ 22607 w 26626"/>
                        <a:gd name="connsiteY18" fmla="*/ 4521 h 15448"/>
                        <a:gd name="connsiteX19" fmla="*/ 22482 w 26626"/>
                        <a:gd name="connsiteY19" fmla="*/ 4396 h 15448"/>
                        <a:gd name="connsiteX20" fmla="*/ 18965 w 26626"/>
                        <a:gd name="connsiteY20" fmla="*/ 2261 h 15448"/>
                        <a:gd name="connsiteX21" fmla="*/ 18714 w 26626"/>
                        <a:gd name="connsiteY21" fmla="*/ 2261 h 15448"/>
                        <a:gd name="connsiteX22" fmla="*/ 15071 w 26626"/>
                        <a:gd name="connsiteY22" fmla="*/ 126 h 15448"/>
                        <a:gd name="connsiteX23" fmla="*/ 14820 w 26626"/>
                        <a:gd name="connsiteY23" fmla="*/ 0 h 15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626" h="15448">
                          <a:moveTo>
                            <a:pt x="0" y="8792"/>
                          </a:moveTo>
                          <a:lnTo>
                            <a:pt x="3768" y="10927"/>
                          </a:lnTo>
                          <a:lnTo>
                            <a:pt x="3893" y="10927"/>
                          </a:lnTo>
                          <a:lnTo>
                            <a:pt x="7536" y="13062"/>
                          </a:lnTo>
                          <a:lnTo>
                            <a:pt x="7661" y="13187"/>
                          </a:lnTo>
                          <a:lnTo>
                            <a:pt x="11303" y="15323"/>
                          </a:lnTo>
                          <a:lnTo>
                            <a:pt x="11555" y="15323"/>
                          </a:lnTo>
                          <a:lnTo>
                            <a:pt x="11555" y="15448"/>
                          </a:lnTo>
                          <a:lnTo>
                            <a:pt x="14569" y="13690"/>
                          </a:lnTo>
                          <a:lnTo>
                            <a:pt x="14694" y="13564"/>
                          </a:lnTo>
                          <a:lnTo>
                            <a:pt x="18588" y="11429"/>
                          </a:lnTo>
                          <a:lnTo>
                            <a:pt x="18714" y="11304"/>
                          </a:lnTo>
                          <a:lnTo>
                            <a:pt x="22482" y="9043"/>
                          </a:lnTo>
                          <a:lnTo>
                            <a:pt x="22733" y="9043"/>
                          </a:lnTo>
                          <a:lnTo>
                            <a:pt x="26626" y="6782"/>
                          </a:lnTo>
                          <a:lnTo>
                            <a:pt x="26500" y="6657"/>
                          </a:lnTo>
                          <a:lnTo>
                            <a:pt x="26375" y="6657"/>
                          </a:lnTo>
                          <a:lnTo>
                            <a:pt x="22733" y="4521"/>
                          </a:lnTo>
                          <a:lnTo>
                            <a:pt x="22607" y="4521"/>
                          </a:lnTo>
                          <a:lnTo>
                            <a:pt x="22482" y="4396"/>
                          </a:lnTo>
                          <a:lnTo>
                            <a:pt x="18965" y="2261"/>
                          </a:lnTo>
                          <a:lnTo>
                            <a:pt x="18714" y="2261"/>
                          </a:lnTo>
                          <a:lnTo>
                            <a:pt x="15071" y="126"/>
                          </a:lnTo>
                          <a:lnTo>
                            <a:pt x="14820" y="0"/>
                          </a:lnTo>
                          <a:close/>
                        </a:path>
                      </a:pathLst>
                    </a:custGeom>
                    <a:solidFill>
                      <a:srgbClr val="2D2D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2" name="Freeform: Shape 1451">
                      <a:extLst>
                        <a:ext uri="{FF2B5EF4-FFF2-40B4-BE49-F238E27FC236}">
                          <a16:creationId xmlns:a16="http://schemas.microsoft.com/office/drawing/2014/main" id="{A9072579-E36B-43DB-ACD0-29CB69B9862F}"/>
                        </a:ext>
                      </a:extLst>
                    </p:cNvPr>
                    <p:cNvSpPr/>
                    <p:nvPr/>
                  </p:nvSpPr>
                  <p:spPr>
                    <a:xfrm>
                      <a:off x="3430876" y="1688723"/>
                      <a:ext cx="15071" cy="8540"/>
                    </a:xfrm>
                    <a:custGeom>
                      <a:avLst/>
                      <a:gdLst>
                        <a:gd name="connsiteX0" fmla="*/ 15072 w 15071"/>
                        <a:gd name="connsiteY0" fmla="*/ 0 h 8540"/>
                        <a:gd name="connsiteX1" fmla="*/ 15072 w 15071"/>
                        <a:gd name="connsiteY1" fmla="*/ 0 h 8540"/>
                        <a:gd name="connsiteX2" fmla="*/ 13564 w 15071"/>
                        <a:gd name="connsiteY2" fmla="*/ 754 h 8540"/>
                        <a:gd name="connsiteX3" fmla="*/ 11052 w 15071"/>
                        <a:gd name="connsiteY3" fmla="*/ 2135 h 8540"/>
                        <a:gd name="connsiteX4" fmla="*/ 10927 w 15071"/>
                        <a:gd name="connsiteY4" fmla="*/ 2135 h 8540"/>
                        <a:gd name="connsiteX5" fmla="*/ 10801 w 15071"/>
                        <a:gd name="connsiteY5" fmla="*/ 2135 h 8540"/>
                        <a:gd name="connsiteX6" fmla="*/ 8917 w 15071"/>
                        <a:gd name="connsiteY6" fmla="*/ 3265 h 8540"/>
                        <a:gd name="connsiteX7" fmla="*/ 7033 w 15071"/>
                        <a:gd name="connsiteY7" fmla="*/ 4396 h 8540"/>
                        <a:gd name="connsiteX8" fmla="*/ 6908 w 15071"/>
                        <a:gd name="connsiteY8" fmla="*/ 4521 h 8540"/>
                        <a:gd name="connsiteX9" fmla="*/ 5024 w 15071"/>
                        <a:gd name="connsiteY9" fmla="*/ 5652 h 8540"/>
                        <a:gd name="connsiteX10" fmla="*/ 3140 w 15071"/>
                        <a:gd name="connsiteY10" fmla="*/ 6782 h 8540"/>
                        <a:gd name="connsiteX11" fmla="*/ 3014 w 15071"/>
                        <a:gd name="connsiteY11" fmla="*/ 6782 h 8540"/>
                        <a:gd name="connsiteX12" fmla="*/ 2889 w 15071"/>
                        <a:gd name="connsiteY12" fmla="*/ 6782 h 8540"/>
                        <a:gd name="connsiteX13" fmla="*/ 1382 w 15071"/>
                        <a:gd name="connsiteY13" fmla="*/ 7661 h 8540"/>
                        <a:gd name="connsiteX14" fmla="*/ 0 w 15071"/>
                        <a:gd name="connsiteY14" fmla="*/ 8415 h 8540"/>
                        <a:gd name="connsiteX15" fmla="*/ 126 w 15071"/>
                        <a:gd name="connsiteY15" fmla="*/ 8540 h 8540"/>
                        <a:gd name="connsiteX16" fmla="*/ 1633 w 15071"/>
                        <a:gd name="connsiteY16" fmla="*/ 7661 h 8540"/>
                        <a:gd name="connsiteX17" fmla="*/ 3140 w 15071"/>
                        <a:gd name="connsiteY17" fmla="*/ 6782 h 8540"/>
                        <a:gd name="connsiteX18" fmla="*/ 3266 w 15071"/>
                        <a:gd name="connsiteY18" fmla="*/ 6657 h 8540"/>
                        <a:gd name="connsiteX19" fmla="*/ 5149 w 15071"/>
                        <a:gd name="connsiteY19" fmla="*/ 5526 h 8540"/>
                        <a:gd name="connsiteX20" fmla="*/ 7033 w 15071"/>
                        <a:gd name="connsiteY20" fmla="*/ 4396 h 8540"/>
                        <a:gd name="connsiteX21" fmla="*/ 7159 w 15071"/>
                        <a:gd name="connsiteY21" fmla="*/ 4396 h 8540"/>
                        <a:gd name="connsiteX22" fmla="*/ 7285 w 15071"/>
                        <a:gd name="connsiteY22" fmla="*/ 4396 h 8540"/>
                        <a:gd name="connsiteX23" fmla="*/ 9169 w 15071"/>
                        <a:gd name="connsiteY23" fmla="*/ 3265 h 8540"/>
                        <a:gd name="connsiteX24" fmla="*/ 11052 w 15071"/>
                        <a:gd name="connsiteY24" fmla="*/ 2135 h 8540"/>
                        <a:gd name="connsiteX25" fmla="*/ 11178 w 15071"/>
                        <a:gd name="connsiteY25" fmla="*/ 2135 h 8540"/>
                        <a:gd name="connsiteX26" fmla="*/ 11303 w 15071"/>
                        <a:gd name="connsiteY26" fmla="*/ 2135 h 8540"/>
                        <a:gd name="connsiteX27" fmla="*/ 13816 w 15071"/>
                        <a:gd name="connsiteY27" fmla="*/ 754 h 8540"/>
                        <a:gd name="connsiteX28" fmla="*/ 15072 w 15071"/>
                        <a:gd name="connsiteY28" fmla="*/ 0 h 8540"/>
                        <a:gd name="connsiteX29" fmla="*/ 15072 w 15071"/>
                        <a:gd name="connsiteY29" fmla="*/ 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5071" h="8540">
                          <a:moveTo>
                            <a:pt x="15072" y="0"/>
                          </a:moveTo>
                          <a:lnTo>
                            <a:pt x="15072" y="0"/>
                          </a:lnTo>
                          <a:lnTo>
                            <a:pt x="13564" y="754"/>
                          </a:lnTo>
                          <a:lnTo>
                            <a:pt x="11052" y="2135"/>
                          </a:lnTo>
                          <a:lnTo>
                            <a:pt x="10927" y="2135"/>
                          </a:lnTo>
                          <a:lnTo>
                            <a:pt x="10801" y="2135"/>
                          </a:lnTo>
                          <a:lnTo>
                            <a:pt x="8917" y="3265"/>
                          </a:lnTo>
                          <a:lnTo>
                            <a:pt x="7033" y="4396"/>
                          </a:lnTo>
                          <a:lnTo>
                            <a:pt x="6908" y="4521"/>
                          </a:lnTo>
                          <a:lnTo>
                            <a:pt x="5024" y="5652"/>
                          </a:lnTo>
                          <a:lnTo>
                            <a:pt x="3140" y="6782"/>
                          </a:lnTo>
                          <a:lnTo>
                            <a:pt x="3014" y="6782"/>
                          </a:lnTo>
                          <a:lnTo>
                            <a:pt x="2889" y="6782"/>
                          </a:lnTo>
                          <a:lnTo>
                            <a:pt x="1382" y="7661"/>
                          </a:lnTo>
                          <a:lnTo>
                            <a:pt x="0" y="8415"/>
                          </a:lnTo>
                          <a:cubicBezTo>
                            <a:pt x="0" y="8415"/>
                            <a:pt x="126" y="8540"/>
                            <a:pt x="126" y="8540"/>
                          </a:cubicBezTo>
                          <a:lnTo>
                            <a:pt x="1633" y="7661"/>
                          </a:lnTo>
                          <a:lnTo>
                            <a:pt x="3140" y="6782"/>
                          </a:lnTo>
                          <a:lnTo>
                            <a:pt x="3266" y="6657"/>
                          </a:lnTo>
                          <a:lnTo>
                            <a:pt x="5149" y="5526"/>
                          </a:lnTo>
                          <a:lnTo>
                            <a:pt x="7033" y="4396"/>
                          </a:lnTo>
                          <a:lnTo>
                            <a:pt x="7159" y="4396"/>
                          </a:lnTo>
                          <a:lnTo>
                            <a:pt x="7285" y="4396"/>
                          </a:lnTo>
                          <a:lnTo>
                            <a:pt x="9169" y="3265"/>
                          </a:lnTo>
                          <a:lnTo>
                            <a:pt x="11052" y="2135"/>
                          </a:lnTo>
                          <a:lnTo>
                            <a:pt x="11178" y="2135"/>
                          </a:lnTo>
                          <a:lnTo>
                            <a:pt x="11303" y="2135"/>
                          </a:lnTo>
                          <a:lnTo>
                            <a:pt x="13816" y="754"/>
                          </a:lnTo>
                          <a:lnTo>
                            <a:pt x="15072" y="0"/>
                          </a:lnTo>
                          <a:lnTo>
                            <a:pt x="15072" y="0"/>
                          </a:lnTo>
                          <a:close/>
                        </a:path>
                      </a:pathLst>
                    </a:custGeom>
                    <a:solidFill>
                      <a:srgbClr val="2E2D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53" name="Freeform: Shape 1452">
                    <a:extLst>
                      <a:ext uri="{FF2B5EF4-FFF2-40B4-BE49-F238E27FC236}">
                        <a16:creationId xmlns:a16="http://schemas.microsoft.com/office/drawing/2014/main" id="{09A5EC70-81DE-460D-B554-F0CCED80A182}"/>
                      </a:ext>
                    </a:extLst>
                  </p:cNvPr>
                  <p:cNvSpPr/>
                  <p:nvPr/>
                </p:nvSpPr>
                <p:spPr>
                  <a:xfrm>
                    <a:off x="3431379" y="1695505"/>
                    <a:ext cx="26249" cy="13689"/>
                  </a:xfrm>
                  <a:custGeom>
                    <a:avLst/>
                    <a:gdLst>
                      <a:gd name="connsiteX0" fmla="*/ 26249 w 26249"/>
                      <a:gd name="connsiteY0" fmla="*/ 0 h 13689"/>
                      <a:gd name="connsiteX1" fmla="*/ 11178 w 26249"/>
                      <a:gd name="connsiteY1" fmla="*/ 8415 h 13689"/>
                      <a:gd name="connsiteX2" fmla="*/ 0 w 26249"/>
                      <a:gd name="connsiteY2" fmla="*/ 2135 h 13689"/>
                      <a:gd name="connsiteX3" fmla="*/ 10927 w 26249"/>
                      <a:gd name="connsiteY3" fmla="*/ 8792 h 13689"/>
                      <a:gd name="connsiteX4" fmla="*/ 11178 w 26249"/>
                      <a:gd name="connsiteY4" fmla="*/ 13690 h 13689"/>
                      <a:gd name="connsiteX5" fmla="*/ 11429 w 26249"/>
                      <a:gd name="connsiteY5" fmla="*/ 8792 h 13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249" h="13689">
                        <a:moveTo>
                          <a:pt x="26249" y="0"/>
                        </a:moveTo>
                        <a:lnTo>
                          <a:pt x="11178" y="8415"/>
                        </a:lnTo>
                        <a:lnTo>
                          <a:pt x="0" y="2135"/>
                        </a:lnTo>
                        <a:lnTo>
                          <a:pt x="10927" y="8792"/>
                        </a:lnTo>
                        <a:lnTo>
                          <a:pt x="11178" y="13690"/>
                        </a:lnTo>
                        <a:lnTo>
                          <a:pt x="11429" y="8792"/>
                        </a:lnTo>
                        <a:close/>
                      </a:path>
                    </a:pathLst>
                  </a:custGeom>
                  <a:solidFill>
                    <a:srgbClr val="ABABAB">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54" name="Graphic 4">
                    <a:extLst>
                      <a:ext uri="{FF2B5EF4-FFF2-40B4-BE49-F238E27FC236}">
                        <a16:creationId xmlns:a16="http://schemas.microsoft.com/office/drawing/2014/main" id="{84FB7ED1-A2DF-40A1-A747-5F7CF3F14040}"/>
                      </a:ext>
                    </a:extLst>
                  </p:cNvPr>
                  <p:cNvGrpSpPr/>
                  <p:nvPr/>
                </p:nvGrpSpPr>
                <p:grpSpPr>
                  <a:xfrm>
                    <a:off x="3427862" y="1698499"/>
                    <a:ext cx="3390" cy="4009"/>
                    <a:chOff x="3427862" y="1698499"/>
                    <a:chExt cx="3390" cy="4009"/>
                  </a:xfrm>
                  <a:solidFill>
                    <a:schemeClr val="accent1"/>
                  </a:solidFill>
                </p:grpSpPr>
                <p:grpSp>
                  <p:nvGrpSpPr>
                    <p:cNvPr id="1455" name="Graphic 4">
                      <a:extLst>
                        <a:ext uri="{FF2B5EF4-FFF2-40B4-BE49-F238E27FC236}">
                          <a16:creationId xmlns:a16="http://schemas.microsoft.com/office/drawing/2014/main" id="{84FB7ED1-A2DF-40A1-A747-5F7CF3F14040}"/>
                        </a:ext>
                      </a:extLst>
                    </p:cNvPr>
                    <p:cNvGrpSpPr/>
                    <p:nvPr/>
                  </p:nvGrpSpPr>
                  <p:grpSpPr>
                    <a:xfrm>
                      <a:off x="3427862" y="1698499"/>
                      <a:ext cx="3390" cy="4009"/>
                      <a:chOff x="3427862" y="1698499"/>
                      <a:chExt cx="3390" cy="4009"/>
                    </a:xfrm>
                    <a:solidFill>
                      <a:schemeClr val="accent1"/>
                    </a:solidFill>
                  </p:grpSpPr>
                  <p:sp>
                    <p:nvSpPr>
                      <p:cNvPr id="1456" name="Freeform: Shape 1455">
                        <a:extLst>
                          <a:ext uri="{FF2B5EF4-FFF2-40B4-BE49-F238E27FC236}">
                            <a16:creationId xmlns:a16="http://schemas.microsoft.com/office/drawing/2014/main" id="{D42E0E99-3EAA-417E-BF3F-B404154C1AB4}"/>
                          </a:ext>
                        </a:extLst>
                      </p:cNvPr>
                      <p:cNvSpPr/>
                      <p:nvPr/>
                    </p:nvSpPr>
                    <p:spPr>
                      <a:xfrm>
                        <a:off x="3428239" y="1698519"/>
                        <a:ext cx="2511" cy="3893"/>
                      </a:xfrm>
                      <a:custGeom>
                        <a:avLst/>
                        <a:gdLst>
                          <a:gd name="connsiteX0" fmla="*/ 2512 w 2511"/>
                          <a:gd name="connsiteY0" fmla="*/ 3642 h 3893"/>
                          <a:gd name="connsiteX1" fmla="*/ 377 w 2511"/>
                          <a:gd name="connsiteY1" fmla="*/ 0 h 3893"/>
                          <a:gd name="connsiteX2" fmla="*/ 0 w 2511"/>
                          <a:gd name="connsiteY2" fmla="*/ 251 h 3893"/>
                          <a:gd name="connsiteX3" fmla="*/ 2135 w 2511"/>
                          <a:gd name="connsiteY3" fmla="*/ 3893 h 3893"/>
                        </a:gdLst>
                        <a:ahLst/>
                        <a:cxnLst>
                          <a:cxn ang="0">
                            <a:pos x="connsiteX0" y="connsiteY0"/>
                          </a:cxn>
                          <a:cxn ang="0">
                            <a:pos x="connsiteX1" y="connsiteY1"/>
                          </a:cxn>
                          <a:cxn ang="0">
                            <a:pos x="connsiteX2" y="connsiteY2"/>
                          </a:cxn>
                          <a:cxn ang="0">
                            <a:pos x="connsiteX3" y="connsiteY3"/>
                          </a:cxn>
                        </a:cxnLst>
                        <a:rect l="l" t="t" r="r" b="b"/>
                        <a:pathLst>
                          <a:path w="2511" h="3893">
                            <a:moveTo>
                              <a:pt x="2512" y="3642"/>
                            </a:moveTo>
                            <a:lnTo>
                              <a:pt x="377" y="0"/>
                            </a:lnTo>
                            <a:lnTo>
                              <a:pt x="0" y="251"/>
                            </a:lnTo>
                            <a:lnTo>
                              <a:pt x="2135" y="3893"/>
                            </a:lnTo>
                            <a:close/>
                          </a:path>
                        </a:pathLst>
                      </a:custGeom>
                      <a:solidFill>
                        <a:srgbClr val="06060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7" name="Freeform: Shape 1456">
                        <a:extLst>
                          <a:ext uri="{FF2B5EF4-FFF2-40B4-BE49-F238E27FC236}">
                            <a16:creationId xmlns:a16="http://schemas.microsoft.com/office/drawing/2014/main" id="{F8043B00-482A-487B-BB1B-4A28A86FA0AF}"/>
                          </a:ext>
                        </a:extLst>
                      </p:cNvPr>
                      <p:cNvSpPr/>
                      <p:nvPr/>
                    </p:nvSpPr>
                    <p:spPr>
                      <a:xfrm>
                        <a:off x="3428239" y="1698499"/>
                        <a:ext cx="3014" cy="3758"/>
                      </a:xfrm>
                      <a:custGeom>
                        <a:avLst/>
                        <a:gdLst>
                          <a:gd name="connsiteX0" fmla="*/ 0 w 3014"/>
                          <a:gd name="connsiteY0" fmla="*/ 1025 h 3758"/>
                          <a:gd name="connsiteX1" fmla="*/ 1507 w 3014"/>
                          <a:gd name="connsiteY1" fmla="*/ 3537 h 3758"/>
                          <a:gd name="connsiteX2" fmla="*/ 3014 w 3014"/>
                          <a:gd name="connsiteY2" fmla="*/ 2657 h 3758"/>
                          <a:gd name="connsiteX3" fmla="*/ 1507 w 3014"/>
                          <a:gd name="connsiteY3" fmla="*/ 145 h 3758"/>
                          <a:gd name="connsiteX4" fmla="*/ 0 w 3014"/>
                          <a:gd name="connsiteY4" fmla="*/ 1025 h 3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4" h="3758">
                            <a:moveTo>
                              <a:pt x="0" y="1025"/>
                            </a:moveTo>
                            <a:cubicBezTo>
                              <a:pt x="0" y="1904"/>
                              <a:pt x="628" y="3160"/>
                              <a:pt x="1507" y="3537"/>
                            </a:cubicBezTo>
                            <a:cubicBezTo>
                              <a:pt x="2261" y="4039"/>
                              <a:pt x="3014" y="3662"/>
                              <a:pt x="3014" y="2657"/>
                            </a:cubicBezTo>
                            <a:cubicBezTo>
                              <a:pt x="3014" y="1778"/>
                              <a:pt x="2386" y="648"/>
                              <a:pt x="1507" y="145"/>
                            </a:cubicBezTo>
                            <a:cubicBezTo>
                              <a:pt x="628" y="-231"/>
                              <a:pt x="0" y="145"/>
                              <a:pt x="0" y="1025"/>
                            </a:cubicBezTo>
                            <a:close/>
                          </a:path>
                        </a:pathLst>
                      </a:custGeom>
                      <a:solidFill>
                        <a:srgbClr val="06060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8" name="Freeform: Shape 1457">
                        <a:extLst>
                          <a:ext uri="{FF2B5EF4-FFF2-40B4-BE49-F238E27FC236}">
                            <a16:creationId xmlns:a16="http://schemas.microsoft.com/office/drawing/2014/main" id="{225B8535-685B-4BAE-AFB0-FF07C898A002}"/>
                          </a:ext>
                        </a:extLst>
                      </p:cNvPr>
                      <p:cNvSpPr/>
                      <p:nvPr/>
                    </p:nvSpPr>
                    <p:spPr>
                      <a:xfrm>
                        <a:off x="3427862" y="1698674"/>
                        <a:ext cx="3014" cy="3834"/>
                      </a:xfrm>
                      <a:custGeom>
                        <a:avLst/>
                        <a:gdLst>
                          <a:gd name="connsiteX0" fmla="*/ 0 w 3014"/>
                          <a:gd name="connsiteY0" fmla="*/ 1101 h 3834"/>
                          <a:gd name="connsiteX1" fmla="*/ 1507 w 3014"/>
                          <a:gd name="connsiteY1" fmla="*/ 3613 h 3834"/>
                          <a:gd name="connsiteX2" fmla="*/ 3014 w 3014"/>
                          <a:gd name="connsiteY2" fmla="*/ 2733 h 3834"/>
                          <a:gd name="connsiteX3" fmla="*/ 1507 w 3014"/>
                          <a:gd name="connsiteY3" fmla="*/ 222 h 3834"/>
                          <a:gd name="connsiteX4" fmla="*/ 0 w 3014"/>
                          <a:gd name="connsiteY4" fmla="*/ 1101 h 3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4" h="3834">
                            <a:moveTo>
                              <a:pt x="0" y="1101"/>
                            </a:moveTo>
                            <a:cubicBezTo>
                              <a:pt x="0" y="1980"/>
                              <a:pt x="628" y="3236"/>
                              <a:pt x="1507" y="3613"/>
                            </a:cubicBezTo>
                            <a:cubicBezTo>
                              <a:pt x="2261" y="4115"/>
                              <a:pt x="3014" y="3738"/>
                              <a:pt x="3014" y="2733"/>
                            </a:cubicBezTo>
                            <a:cubicBezTo>
                              <a:pt x="3014" y="1854"/>
                              <a:pt x="2386" y="724"/>
                              <a:pt x="1507" y="222"/>
                            </a:cubicBezTo>
                            <a:cubicBezTo>
                              <a:pt x="628" y="-281"/>
                              <a:pt x="0" y="96"/>
                              <a:pt x="0" y="1101"/>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9" name="Freeform: Shape 1458">
                        <a:extLst>
                          <a:ext uri="{FF2B5EF4-FFF2-40B4-BE49-F238E27FC236}">
                            <a16:creationId xmlns:a16="http://schemas.microsoft.com/office/drawing/2014/main" id="{50763795-A907-4447-9E24-698064AF5A81}"/>
                          </a:ext>
                        </a:extLst>
                      </p:cNvPr>
                      <p:cNvSpPr/>
                      <p:nvPr/>
                    </p:nvSpPr>
                    <p:spPr>
                      <a:xfrm>
                        <a:off x="3427987" y="1698922"/>
                        <a:ext cx="2512" cy="3408"/>
                      </a:xfrm>
                      <a:custGeom>
                        <a:avLst/>
                        <a:gdLst>
                          <a:gd name="connsiteX0" fmla="*/ 0 w 2512"/>
                          <a:gd name="connsiteY0" fmla="*/ 979 h 3408"/>
                          <a:gd name="connsiteX1" fmla="*/ 1256 w 2512"/>
                          <a:gd name="connsiteY1" fmla="*/ 3239 h 3408"/>
                          <a:gd name="connsiteX2" fmla="*/ 2512 w 2512"/>
                          <a:gd name="connsiteY2" fmla="*/ 2486 h 3408"/>
                          <a:gd name="connsiteX3" fmla="*/ 1256 w 2512"/>
                          <a:gd name="connsiteY3" fmla="*/ 225 h 3408"/>
                          <a:gd name="connsiteX4" fmla="*/ 0 w 2512"/>
                          <a:gd name="connsiteY4" fmla="*/ 979 h 3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2" h="3408">
                            <a:moveTo>
                              <a:pt x="0" y="979"/>
                            </a:moveTo>
                            <a:cubicBezTo>
                              <a:pt x="0" y="1858"/>
                              <a:pt x="628" y="2863"/>
                              <a:pt x="1256" y="3239"/>
                            </a:cubicBezTo>
                            <a:cubicBezTo>
                              <a:pt x="2010" y="3616"/>
                              <a:pt x="2512" y="3365"/>
                              <a:pt x="2512" y="2486"/>
                            </a:cubicBezTo>
                            <a:cubicBezTo>
                              <a:pt x="2512" y="1732"/>
                              <a:pt x="1884" y="727"/>
                              <a:pt x="1256" y="225"/>
                            </a:cubicBezTo>
                            <a:cubicBezTo>
                              <a:pt x="628" y="-277"/>
                              <a:pt x="0" y="99"/>
                              <a:pt x="0" y="979"/>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460" name="Graphic 4">
                      <a:extLst>
                        <a:ext uri="{FF2B5EF4-FFF2-40B4-BE49-F238E27FC236}">
                          <a16:creationId xmlns:a16="http://schemas.microsoft.com/office/drawing/2014/main" id="{84FB7ED1-A2DF-40A1-A747-5F7CF3F14040}"/>
                        </a:ext>
                      </a:extLst>
                    </p:cNvPr>
                    <p:cNvGrpSpPr/>
                    <p:nvPr/>
                  </p:nvGrpSpPr>
                  <p:grpSpPr>
                    <a:xfrm>
                      <a:off x="3428113" y="1699147"/>
                      <a:ext cx="2512" cy="2888"/>
                      <a:chOff x="3428113" y="1699147"/>
                      <a:chExt cx="2512" cy="2888"/>
                    </a:xfrm>
                    <a:solidFill>
                      <a:schemeClr val="accent1"/>
                    </a:solidFill>
                  </p:grpSpPr>
                  <p:sp>
                    <p:nvSpPr>
                      <p:cNvPr id="1461" name="Freeform: Shape 1460">
                        <a:extLst>
                          <a:ext uri="{FF2B5EF4-FFF2-40B4-BE49-F238E27FC236}">
                            <a16:creationId xmlns:a16="http://schemas.microsoft.com/office/drawing/2014/main" id="{93E90C7E-002A-4B15-B851-4E2F8C8D2D67}"/>
                          </a:ext>
                        </a:extLst>
                      </p:cNvPr>
                      <p:cNvSpPr/>
                      <p:nvPr/>
                    </p:nvSpPr>
                    <p:spPr>
                      <a:xfrm>
                        <a:off x="3428113" y="1699147"/>
                        <a:ext cx="2512" cy="2888"/>
                      </a:xfrm>
                      <a:custGeom>
                        <a:avLst/>
                        <a:gdLst>
                          <a:gd name="connsiteX0" fmla="*/ 0 w 2512"/>
                          <a:gd name="connsiteY0" fmla="*/ 754 h 2888"/>
                          <a:gd name="connsiteX1" fmla="*/ 377 w 2512"/>
                          <a:gd name="connsiteY1" fmla="*/ 1382 h 2888"/>
                          <a:gd name="connsiteX2" fmla="*/ 377 w 2512"/>
                          <a:gd name="connsiteY2" fmla="*/ 1884 h 2888"/>
                          <a:gd name="connsiteX3" fmla="*/ 879 w 2512"/>
                          <a:gd name="connsiteY3" fmla="*/ 2135 h 2888"/>
                          <a:gd name="connsiteX4" fmla="*/ 1256 w 2512"/>
                          <a:gd name="connsiteY4" fmla="*/ 2763 h 2888"/>
                          <a:gd name="connsiteX5" fmla="*/ 1633 w 2512"/>
                          <a:gd name="connsiteY5" fmla="*/ 2637 h 2888"/>
                          <a:gd name="connsiteX6" fmla="*/ 2135 w 2512"/>
                          <a:gd name="connsiteY6" fmla="*/ 2889 h 2888"/>
                          <a:gd name="connsiteX7" fmla="*/ 2135 w 2512"/>
                          <a:gd name="connsiteY7" fmla="*/ 2386 h 2888"/>
                          <a:gd name="connsiteX8" fmla="*/ 2512 w 2512"/>
                          <a:gd name="connsiteY8" fmla="*/ 2135 h 2888"/>
                          <a:gd name="connsiteX9" fmla="*/ 2135 w 2512"/>
                          <a:gd name="connsiteY9" fmla="*/ 1507 h 2888"/>
                          <a:gd name="connsiteX10" fmla="*/ 2135 w 2512"/>
                          <a:gd name="connsiteY10" fmla="*/ 1005 h 2888"/>
                          <a:gd name="connsiteX11" fmla="*/ 1633 w 2512"/>
                          <a:gd name="connsiteY11" fmla="*/ 754 h 2888"/>
                          <a:gd name="connsiteX12" fmla="*/ 1256 w 2512"/>
                          <a:gd name="connsiteY12" fmla="*/ 126 h 2888"/>
                          <a:gd name="connsiteX13" fmla="*/ 879 w 2512"/>
                          <a:gd name="connsiteY13" fmla="*/ 251 h 2888"/>
                          <a:gd name="connsiteX14" fmla="*/ 377 w 2512"/>
                          <a:gd name="connsiteY14" fmla="*/ 0 h 2888"/>
                          <a:gd name="connsiteX15" fmla="*/ 377 w 2512"/>
                          <a:gd name="connsiteY15" fmla="*/ 502 h 2888"/>
                          <a:gd name="connsiteX16" fmla="*/ 0 w 2512"/>
                          <a:gd name="connsiteY16" fmla="*/ 754 h 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12" h="2888">
                            <a:moveTo>
                              <a:pt x="0" y="754"/>
                            </a:moveTo>
                            <a:cubicBezTo>
                              <a:pt x="0" y="879"/>
                              <a:pt x="251" y="1130"/>
                              <a:pt x="377" y="1382"/>
                            </a:cubicBezTo>
                            <a:cubicBezTo>
                              <a:pt x="377" y="1507"/>
                              <a:pt x="251" y="1758"/>
                              <a:pt x="377" y="1884"/>
                            </a:cubicBezTo>
                            <a:cubicBezTo>
                              <a:pt x="502" y="2010"/>
                              <a:pt x="754" y="2010"/>
                              <a:pt x="879" y="2135"/>
                            </a:cubicBezTo>
                            <a:cubicBezTo>
                              <a:pt x="1005" y="2261"/>
                              <a:pt x="1130" y="2637"/>
                              <a:pt x="1256" y="2763"/>
                            </a:cubicBezTo>
                            <a:cubicBezTo>
                              <a:pt x="1382" y="2889"/>
                              <a:pt x="1507" y="2637"/>
                              <a:pt x="1633" y="2637"/>
                            </a:cubicBezTo>
                            <a:cubicBezTo>
                              <a:pt x="1759" y="2637"/>
                              <a:pt x="2010" y="2889"/>
                              <a:pt x="2135" y="2889"/>
                            </a:cubicBezTo>
                            <a:cubicBezTo>
                              <a:pt x="2261" y="2889"/>
                              <a:pt x="2135" y="2512"/>
                              <a:pt x="2135" y="2386"/>
                            </a:cubicBezTo>
                            <a:cubicBezTo>
                              <a:pt x="2135" y="2261"/>
                              <a:pt x="2512" y="2386"/>
                              <a:pt x="2512" y="2135"/>
                            </a:cubicBezTo>
                            <a:cubicBezTo>
                              <a:pt x="2512" y="2010"/>
                              <a:pt x="2261" y="1758"/>
                              <a:pt x="2135" y="1507"/>
                            </a:cubicBezTo>
                            <a:cubicBezTo>
                              <a:pt x="2135" y="1382"/>
                              <a:pt x="2261" y="1130"/>
                              <a:pt x="2135" y="1005"/>
                            </a:cubicBezTo>
                            <a:cubicBezTo>
                              <a:pt x="2010" y="879"/>
                              <a:pt x="1759" y="879"/>
                              <a:pt x="1633" y="754"/>
                            </a:cubicBezTo>
                            <a:cubicBezTo>
                              <a:pt x="1507" y="628"/>
                              <a:pt x="1382" y="251"/>
                              <a:pt x="1256" y="126"/>
                            </a:cubicBezTo>
                            <a:cubicBezTo>
                              <a:pt x="1130" y="0"/>
                              <a:pt x="1005" y="251"/>
                              <a:pt x="879" y="251"/>
                            </a:cubicBezTo>
                            <a:cubicBezTo>
                              <a:pt x="754" y="251"/>
                              <a:pt x="502" y="0"/>
                              <a:pt x="377" y="0"/>
                            </a:cubicBezTo>
                            <a:cubicBezTo>
                              <a:pt x="251" y="0"/>
                              <a:pt x="377" y="377"/>
                              <a:pt x="377" y="502"/>
                            </a:cubicBezTo>
                            <a:cubicBezTo>
                              <a:pt x="251" y="628"/>
                              <a:pt x="0" y="628"/>
                              <a:pt x="0" y="7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2" name="Freeform: Shape 1461">
                        <a:extLst>
                          <a:ext uri="{FF2B5EF4-FFF2-40B4-BE49-F238E27FC236}">
                            <a16:creationId xmlns:a16="http://schemas.microsoft.com/office/drawing/2014/main" id="{4B6C3CAE-477A-4662-AA09-222F0B9AE549}"/>
                          </a:ext>
                        </a:extLst>
                      </p:cNvPr>
                      <p:cNvSpPr/>
                      <p:nvPr/>
                    </p:nvSpPr>
                    <p:spPr>
                      <a:xfrm>
                        <a:off x="3428365" y="1699775"/>
                        <a:ext cx="1758" cy="1632"/>
                      </a:xfrm>
                      <a:custGeom>
                        <a:avLst/>
                        <a:gdLst>
                          <a:gd name="connsiteX0" fmla="*/ 879 w 1758"/>
                          <a:gd name="connsiteY0" fmla="*/ 1633 h 1632"/>
                          <a:gd name="connsiteX1" fmla="*/ 1130 w 1758"/>
                          <a:gd name="connsiteY1" fmla="*/ 1507 h 1632"/>
                          <a:gd name="connsiteX2" fmla="*/ 1381 w 1758"/>
                          <a:gd name="connsiteY2" fmla="*/ 1633 h 1632"/>
                          <a:gd name="connsiteX3" fmla="*/ 1507 w 1758"/>
                          <a:gd name="connsiteY3" fmla="*/ 1633 h 1632"/>
                          <a:gd name="connsiteX4" fmla="*/ 1507 w 1758"/>
                          <a:gd name="connsiteY4" fmla="*/ 1382 h 1632"/>
                          <a:gd name="connsiteX5" fmla="*/ 1758 w 1758"/>
                          <a:gd name="connsiteY5" fmla="*/ 1256 h 1632"/>
                          <a:gd name="connsiteX6" fmla="*/ 1507 w 1758"/>
                          <a:gd name="connsiteY6" fmla="*/ 879 h 1632"/>
                          <a:gd name="connsiteX7" fmla="*/ 1507 w 1758"/>
                          <a:gd name="connsiteY7" fmla="*/ 502 h 1632"/>
                          <a:gd name="connsiteX8" fmla="*/ 1381 w 1758"/>
                          <a:gd name="connsiteY8" fmla="*/ 502 h 1632"/>
                          <a:gd name="connsiteX9" fmla="*/ 1130 w 1758"/>
                          <a:gd name="connsiteY9" fmla="*/ 377 h 1632"/>
                          <a:gd name="connsiteX10" fmla="*/ 879 w 1758"/>
                          <a:gd name="connsiteY10" fmla="*/ 0 h 1632"/>
                          <a:gd name="connsiteX11" fmla="*/ 628 w 1758"/>
                          <a:gd name="connsiteY11" fmla="*/ 126 h 1632"/>
                          <a:gd name="connsiteX12" fmla="*/ 377 w 1758"/>
                          <a:gd name="connsiteY12" fmla="*/ 0 h 1632"/>
                          <a:gd name="connsiteX13" fmla="*/ 251 w 1758"/>
                          <a:gd name="connsiteY13" fmla="*/ 0 h 1632"/>
                          <a:gd name="connsiteX14" fmla="*/ 251 w 1758"/>
                          <a:gd name="connsiteY14" fmla="*/ 251 h 1632"/>
                          <a:gd name="connsiteX15" fmla="*/ 0 w 1758"/>
                          <a:gd name="connsiteY15" fmla="*/ 377 h 1632"/>
                          <a:gd name="connsiteX16" fmla="*/ 251 w 1758"/>
                          <a:gd name="connsiteY16" fmla="*/ 754 h 1632"/>
                          <a:gd name="connsiteX17" fmla="*/ 251 w 1758"/>
                          <a:gd name="connsiteY17" fmla="*/ 1130 h 1632"/>
                          <a:gd name="connsiteX18" fmla="*/ 377 w 1758"/>
                          <a:gd name="connsiteY18" fmla="*/ 1130 h 1632"/>
                          <a:gd name="connsiteX19" fmla="*/ 628 w 1758"/>
                          <a:gd name="connsiteY19" fmla="*/ 1256 h 1632"/>
                          <a:gd name="connsiteX20" fmla="*/ 879 w 1758"/>
                          <a:gd name="connsiteY20" fmla="*/ 1633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58" h="1632">
                            <a:moveTo>
                              <a:pt x="879" y="1633"/>
                            </a:moveTo>
                            <a:cubicBezTo>
                              <a:pt x="879" y="1633"/>
                              <a:pt x="1005" y="1507"/>
                              <a:pt x="1130" y="1507"/>
                            </a:cubicBezTo>
                            <a:cubicBezTo>
                              <a:pt x="1256" y="1507"/>
                              <a:pt x="1256" y="1507"/>
                              <a:pt x="1381" y="1633"/>
                            </a:cubicBezTo>
                            <a:cubicBezTo>
                              <a:pt x="1381" y="1633"/>
                              <a:pt x="1381" y="1633"/>
                              <a:pt x="1507" y="1633"/>
                            </a:cubicBezTo>
                            <a:cubicBezTo>
                              <a:pt x="1507" y="1507"/>
                              <a:pt x="1507" y="1382"/>
                              <a:pt x="1507" y="1382"/>
                            </a:cubicBezTo>
                            <a:cubicBezTo>
                              <a:pt x="1507" y="1256"/>
                              <a:pt x="1632" y="1256"/>
                              <a:pt x="1758" y="1256"/>
                            </a:cubicBezTo>
                            <a:cubicBezTo>
                              <a:pt x="1632" y="1130"/>
                              <a:pt x="1632" y="1005"/>
                              <a:pt x="1507" y="879"/>
                            </a:cubicBezTo>
                            <a:cubicBezTo>
                              <a:pt x="1507" y="754"/>
                              <a:pt x="1507" y="628"/>
                              <a:pt x="1507" y="502"/>
                            </a:cubicBezTo>
                            <a:cubicBezTo>
                              <a:pt x="1507" y="502"/>
                              <a:pt x="1381" y="502"/>
                              <a:pt x="1381" y="502"/>
                            </a:cubicBezTo>
                            <a:cubicBezTo>
                              <a:pt x="1256" y="502"/>
                              <a:pt x="1256" y="377"/>
                              <a:pt x="1130" y="377"/>
                            </a:cubicBezTo>
                            <a:cubicBezTo>
                              <a:pt x="1005" y="251"/>
                              <a:pt x="1005" y="126"/>
                              <a:pt x="879" y="0"/>
                            </a:cubicBezTo>
                            <a:cubicBezTo>
                              <a:pt x="879" y="0"/>
                              <a:pt x="754" y="126"/>
                              <a:pt x="628" y="126"/>
                            </a:cubicBezTo>
                            <a:cubicBezTo>
                              <a:pt x="502" y="126"/>
                              <a:pt x="502" y="126"/>
                              <a:pt x="377" y="0"/>
                            </a:cubicBezTo>
                            <a:cubicBezTo>
                              <a:pt x="377" y="0"/>
                              <a:pt x="377" y="0"/>
                              <a:pt x="251" y="0"/>
                            </a:cubicBezTo>
                            <a:cubicBezTo>
                              <a:pt x="251" y="126"/>
                              <a:pt x="251" y="251"/>
                              <a:pt x="251" y="251"/>
                            </a:cubicBezTo>
                            <a:cubicBezTo>
                              <a:pt x="251" y="377"/>
                              <a:pt x="125" y="377"/>
                              <a:pt x="0" y="377"/>
                            </a:cubicBezTo>
                            <a:cubicBezTo>
                              <a:pt x="125" y="502"/>
                              <a:pt x="125" y="628"/>
                              <a:pt x="251" y="754"/>
                            </a:cubicBezTo>
                            <a:cubicBezTo>
                              <a:pt x="251" y="879"/>
                              <a:pt x="251" y="1005"/>
                              <a:pt x="251" y="1130"/>
                            </a:cubicBezTo>
                            <a:cubicBezTo>
                              <a:pt x="251" y="1130"/>
                              <a:pt x="251" y="1130"/>
                              <a:pt x="377" y="1130"/>
                            </a:cubicBezTo>
                            <a:cubicBezTo>
                              <a:pt x="502" y="1130"/>
                              <a:pt x="502" y="1256"/>
                              <a:pt x="628" y="1256"/>
                            </a:cubicBezTo>
                            <a:cubicBezTo>
                              <a:pt x="754" y="1382"/>
                              <a:pt x="879" y="1507"/>
                              <a:pt x="879" y="1633"/>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1463" name="Graphic 4">
                  <a:extLst>
                    <a:ext uri="{FF2B5EF4-FFF2-40B4-BE49-F238E27FC236}">
                      <a16:creationId xmlns:a16="http://schemas.microsoft.com/office/drawing/2014/main" id="{84FB7ED1-A2DF-40A1-A747-5F7CF3F14040}"/>
                    </a:ext>
                  </a:extLst>
                </p:cNvPr>
                <p:cNvGrpSpPr/>
                <p:nvPr/>
              </p:nvGrpSpPr>
              <p:grpSpPr>
                <a:xfrm>
                  <a:off x="3432790" y="1662599"/>
                  <a:ext cx="24712" cy="41948"/>
                  <a:chOff x="3432790" y="1662599"/>
                  <a:chExt cx="24712" cy="41948"/>
                </a:xfrm>
                <a:solidFill>
                  <a:schemeClr val="accent1"/>
                </a:solidFill>
              </p:grpSpPr>
              <p:sp>
                <p:nvSpPr>
                  <p:cNvPr id="1464" name="Freeform: Shape 1463">
                    <a:extLst>
                      <a:ext uri="{FF2B5EF4-FFF2-40B4-BE49-F238E27FC236}">
                        <a16:creationId xmlns:a16="http://schemas.microsoft.com/office/drawing/2014/main" id="{BB6F7C8A-A5D4-4A19-8330-EC33E068A394}"/>
                      </a:ext>
                    </a:extLst>
                  </p:cNvPr>
                  <p:cNvSpPr/>
                  <p:nvPr/>
                </p:nvSpPr>
                <p:spPr>
                  <a:xfrm>
                    <a:off x="3452353" y="1688095"/>
                    <a:ext cx="5149" cy="2806"/>
                  </a:xfrm>
                  <a:custGeom>
                    <a:avLst/>
                    <a:gdLst>
                      <a:gd name="connsiteX0" fmla="*/ 2261 w 5149"/>
                      <a:gd name="connsiteY0" fmla="*/ 0 h 2806"/>
                      <a:gd name="connsiteX1" fmla="*/ 5149 w 5149"/>
                      <a:gd name="connsiteY1" fmla="*/ 1382 h 2806"/>
                      <a:gd name="connsiteX2" fmla="*/ 2512 w 5149"/>
                      <a:gd name="connsiteY2" fmla="*/ 2763 h 2806"/>
                      <a:gd name="connsiteX3" fmla="*/ 1005 w 5149"/>
                      <a:gd name="connsiteY3" fmla="*/ 2261 h 2806"/>
                      <a:gd name="connsiteX4" fmla="*/ 0 w 5149"/>
                      <a:gd name="connsiteY4" fmla="*/ 628 h 2806"/>
                      <a:gd name="connsiteX5" fmla="*/ 2261 w 5149"/>
                      <a:gd name="connsiteY5" fmla="*/ 0 h 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9" h="2806">
                        <a:moveTo>
                          <a:pt x="2261" y="0"/>
                        </a:moveTo>
                        <a:cubicBezTo>
                          <a:pt x="3266" y="377"/>
                          <a:pt x="4271" y="879"/>
                          <a:pt x="5149" y="1382"/>
                        </a:cubicBezTo>
                        <a:cubicBezTo>
                          <a:pt x="4522" y="2135"/>
                          <a:pt x="3517" y="3014"/>
                          <a:pt x="2512" y="2763"/>
                        </a:cubicBezTo>
                        <a:cubicBezTo>
                          <a:pt x="2010" y="2637"/>
                          <a:pt x="1507" y="2386"/>
                          <a:pt x="1005" y="2261"/>
                        </a:cubicBezTo>
                        <a:cubicBezTo>
                          <a:pt x="126" y="1884"/>
                          <a:pt x="251" y="1507"/>
                          <a:pt x="0" y="628"/>
                        </a:cubicBezTo>
                        <a:lnTo>
                          <a:pt x="2261" y="0"/>
                        </a:lnTo>
                        <a:close/>
                      </a:path>
                    </a:pathLst>
                  </a:custGeom>
                  <a:solidFill>
                    <a:srgbClr val="FFCC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5" name="Freeform: Shape 1464">
                    <a:extLst>
                      <a:ext uri="{FF2B5EF4-FFF2-40B4-BE49-F238E27FC236}">
                        <a16:creationId xmlns:a16="http://schemas.microsoft.com/office/drawing/2014/main" id="{E759E51D-CE06-448F-AA6D-0F861390F95C}"/>
                      </a:ext>
                    </a:extLst>
                  </p:cNvPr>
                  <p:cNvSpPr/>
                  <p:nvPr/>
                </p:nvSpPr>
                <p:spPr>
                  <a:xfrm>
                    <a:off x="3445936" y="1682696"/>
                    <a:ext cx="10687" cy="8416"/>
                  </a:xfrm>
                  <a:custGeom>
                    <a:avLst/>
                    <a:gdLst>
                      <a:gd name="connsiteX0" fmla="*/ 10562 w 10687"/>
                      <a:gd name="connsiteY0" fmla="*/ 6403 h 8416"/>
                      <a:gd name="connsiteX1" fmla="*/ 9306 w 10687"/>
                      <a:gd name="connsiteY1" fmla="*/ 8413 h 8416"/>
                      <a:gd name="connsiteX2" fmla="*/ 1017 w 10687"/>
                      <a:gd name="connsiteY2" fmla="*/ 4143 h 8416"/>
                      <a:gd name="connsiteX3" fmla="*/ 514 w 10687"/>
                      <a:gd name="connsiteY3" fmla="*/ 1380 h 8416"/>
                      <a:gd name="connsiteX4" fmla="*/ 2901 w 10687"/>
                      <a:gd name="connsiteY4" fmla="*/ 124 h 8416"/>
                      <a:gd name="connsiteX5" fmla="*/ 5789 w 10687"/>
                      <a:gd name="connsiteY5" fmla="*/ 2133 h 8416"/>
                      <a:gd name="connsiteX6" fmla="*/ 10688 w 10687"/>
                      <a:gd name="connsiteY6" fmla="*/ 6403 h 8416"/>
                      <a:gd name="connsiteX7" fmla="*/ 10562 w 10687"/>
                      <a:gd name="connsiteY7" fmla="*/ 6403 h 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87" h="8416">
                        <a:moveTo>
                          <a:pt x="10562" y="6403"/>
                        </a:moveTo>
                        <a:cubicBezTo>
                          <a:pt x="9934" y="6655"/>
                          <a:pt x="9557" y="7534"/>
                          <a:pt x="9306" y="8413"/>
                        </a:cubicBezTo>
                        <a:cubicBezTo>
                          <a:pt x="7799" y="8539"/>
                          <a:pt x="2650" y="5273"/>
                          <a:pt x="1017" y="4143"/>
                        </a:cubicBezTo>
                        <a:cubicBezTo>
                          <a:pt x="-239" y="3264"/>
                          <a:pt x="-239" y="2133"/>
                          <a:pt x="514" y="1380"/>
                        </a:cubicBezTo>
                        <a:cubicBezTo>
                          <a:pt x="1770" y="249"/>
                          <a:pt x="1268" y="-253"/>
                          <a:pt x="2901" y="124"/>
                        </a:cubicBezTo>
                        <a:cubicBezTo>
                          <a:pt x="4282" y="500"/>
                          <a:pt x="4157" y="752"/>
                          <a:pt x="5789" y="2133"/>
                        </a:cubicBezTo>
                        <a:cubicBezTo>
                          <a:pt x="6543" y="2887"/>
                          <a:pt x="10311" y="5399"/>
                          <a:pt x="10688" y="6403"/>
                        </a:cubicBezTo>
                        <a:lnTo>
                          <a:pt x="10562" y="6403"/>
                        </a:lnTo>
                        <a:close/>
                      </a:path>
                    </a:pathLst>
                  </a:custGeom>
                  <a:solidFill>
                    <a:srgbClr val="FF8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6" name="Freeform: Shape 1465">
                    <a:extLst>
                      <a:ext uri="{FF2B5EF4-FFF2-40B4-BE49-F238E27FC236}">
                        <a16:creationId xmlns:a16="http://schemas.microsoft.com/office/drawing/2014/main" id="{D3EE234A-4B31-4EF7-B671-A1D2C20FCB6F}"/>
                      </a:ext>
                    </a:extLst>
                  </p:cNvPr>
                  <p:cNvSpPr/>
                  <p:nvPr/>
                </p:nvSpPr>
                <p:spPr>
                  <a:xfrm>
                    <a:off x="3439915" y="1674760"/>
                    <a:ext cx="9493" cy="11324"/>
                  </a:xfrm>
                  <a:custGeom>
                    <a:avLst/>
                    <a:gdLst>
                      <a:gd name="connsiteX0" fmla="*/ 5530 w 9493"/>
                      <a:gd name="connsiteY0" fmla="*/ 649 h 11324"/>
                      <a:gd name="connsiteX1" fmla="*/ 381 w 9493"/>
                      <a:gd name="connsiteY1" fmla="*/ 1277 h 11324"/>
                      <a:gd name="connsiteX2" fmla="*/ 758 w 9493"/>
                      <a:gd name="connsiteY2" fmla="*/ 4794 h 11324"/>
                      <a:gd name="connsiteX3" fmla="*/ 6284 w 9493"/>
                      <a:gd name="connsiteY3" fmla="*/ 11325 h 11324"/>
                      <a:gd name="connsiteX4" fmla="*/ 9298 w 9493"/>
                      <a:gd name="connsiteY4" fmla="*/ 8059 h 11324"/>
                      <a:gd name="connsiteX5" fmla="*/ 5530 w 9493"/>
                      <a:gd name="connsiteY5" fmla="*/ 649 h 11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93" h="11324">
                        <a:moveTo>
                          <a:pt x="5530" y="649"/>
                        </a:moveTo>
                        <a:cubicBezTo>
                          <a:pt x="4526" y="-355"/>
                          <a:pt x="1009" y="-230"/>
                          <a:pt x="381" y="1277"/>
                        </a:cubicBezTo>
                        <a:cubicBezTo>
                          <a:pt x="-122" y="1654"/>
                          <a:pt x="-247" y="3915"/>
                          <a:pt x="758" y="4794"/>
                        </a:cubicBezTo>
                        <a:cubicBezTo>
                          <a:pt x="2390" y="8562"/>
                          <a:pt x="6284" y="11325"/>
                          <a:pt x="6284" y="11325"/>
                        </a:cubicBezTo>
                        <a:cubicBezTo>
                          <a:pt x="6284" y="11325"/>
                          <a:pt x="10429" y="10069"/>
                          <a:pt x="9298" y="8059"/>
                        </a:cubicBezTo>
                        <a:cubicBezTo>
                          <a:pt x="8168" y="6050"/>
                          <a:pt x="9047" y="4166"/>
                          <a:pt x="5530" y="649"/>
                        </a:cubicBezTo>
                        <a:close/>
                      </a:path>
                    </a:pathLst>
                  </a:custGeom>
                  <a:solidFill>
                    <a:srgbClr val="FF8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7" name="Freeform: Shape 1466">
                    <a:extLst>
                      <a:ext uri="{FF2B5EF4-FFF2-40B4-BE49-F238E27FC236}">
                        <a16:creationId xmlns:a16="http://schemas.microsoft.com/office/drawing/2014/main" id="{62D88477-9F3A-4AF6-AB1B-566D03B172C9}"/>
                      </a:ext>
                    </a:extLst>
                  </p:cNvPr>
                  <p:cNvSpPr/>
                  <p:nvPr/>
                </p:nvSpPr>
                <p:spPr>
                  <a:xfrm>
                    <a:off x="3433263" y="1673946"/>
                    <a:ext cx="11570" cy="23845"/>
                  </a:xfrm>
                  <a:custGeom>
                    <a:avLst/>
                    <a:gdLst>
                      <a:gd name="connsiteX0" fmla="*/ 6029 w 11570"/>
                      <a:gd name="connsiteY0" fmla="*/ 208 h 23845"/>
                      <a:gd name="connsiteX1" fmla="*/ 8164 w 11570"/>
                      <a:gd name="connsiteY1" fmla="*/ 83 h 23845"/>
                      <a:gd name="connsiteX2" fmla="*/ 11429 w 11570"/>
                      <a:gd name="connsiteY2" fmla="*/ 1715 h 23845"/>
                      <a:gd name="connsiteX3" fmla="*/ 11052 w 11570"/>
                      <a:gd name="connsiteY3" fmla="*/ 5106 h 23845"/>
                      <a:gd name="connsiteX4" fmla="*/ 11303 w 11570"/>
                      <a:gd name="connsiteY4" fmla="*/ 7744 h 23845"/>
                      <a:gd name="connsiteX5" fmla="*/ 11303 w 11570"/>
                      <a:gd name="connsiteY5" fmla="*/ 8749 h 23845"/>
                      <a:gd name="connsiteX6" fmla="*/ 11555 w 11570"/>
                      <a:gd name="connsiteY6" fmla="*/ 19801 h 23845"/>
                      <a:gd name="connsiteX7" fmla="*/ 5149 w 11570"/>
                      <a:gd name="connsiteY7" fmla="*/ 23820 h 23845"/>
                      <a:gd name="connsiteX8" fmla="*/ 3391 w 11570"/>
                      <a:gd name="connsiteY8" fmla="*/ 23443 h 23845"/>
                      <a:gd name="connsiteX9" fmla="*/ 2512 w 11570"/>
                      <a:gd name="connsiteY9" fmla="*/ 20680 h 23845"/>
                      <a:gd name="connsiteX10" fmla="*/ 2010 w 11570"/>
                      <a:gd name="connsiteY10" fmla="*/ 20178 h 23845"/>
                      <a:gd name="connsiteX11" fmla="*/ 1382 w 11570"/>
                      <a:gd name="connsiteY11" fmla="*/ 11888 h 23845"/>
                      <a:gd name="connsiteX12" fmla="*/ 502 w 11570"/>
                      <a:gd name="connsiteY12" fmla="*/ 5985 h 23845"/>
                      <a:gd name="connsiteX13" fmla="*/ 0 w 11570"/>
                      <a:gd name="connsiteY13" fmla="*/ 4102 h 23845"/>
                      <a:gd name="connsiteX14" fmla="*/ 6029 w 11570"/>
                      <a:gd name="connsiteY14" fmla="*/ 208 h 2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570" h="23845">
                        <a:moveTo>
                          <a:pt x="6029" y="208"/>
                        </a:moveTo>
                        <a:cubicBezTo>
                          <a:pt x="6782" y="-43"/>
                          <a:pt x="7536" y="-43"/>
                          <a:pt x="8164" y="83"/>
                        </a:cubicBezTo>
                        <a:cubicBezTo>
                          <a:pt x="9796" y="334"/>
                          <a:pt x="11178" y="1338"/>
                          <a:pt x="11429" y="1715"/>
                        </a:cubicBezTo>
                        <a:cubicBezTo>
                          <a:pt x="11932" y="2594"/>
                          <a:pt x="10927" y="3725"/>
                          <a:pt x="11052" y="5106"/>
                        </a:cubicBezTo>
                        <a:cubicBezTo>
                          <a:pt x="11178" y="5734"/>
                          <a:pt x="11303" y="7116"/>
                          <a:pt x="11303" y="7744"/>
                        </a:cubicBezTo>
                        <a:cubicBezTo>
                          <a:pt x="11303" y="7869"/>
                          <a:pt x="11303" y="8623"/>
                          <a:pt x="11303" y="8749"/>
                        </a:cubicBezTo>
                        <a:cubicBezTo>
                          <a:pt x="11303" y="13396"/>
                          <a:pt x="11555" y="18419"/>
                          <a:pt x="11555" y="19801"/>
                        </a:cubicBezTo>
                        <a:cubicBezTo>
                          <a:pt x="11680" y="22438"/>
                          <a:pt x="7787" y="24071"/>
                          <a:pt x="5149" y="23820"/>
                        </a:cubicBezTo>
                        <a:cubicBezTo>
                          <a:pt x="4522" y="23820"/>
                          <a:pt x="3893" y="23569"/>
                          <a:pt x="3391" y="23443"/>
                        </a:cubicBezTo>
                        <a:cubicBezTo>
                          <a:pt x="3140" y="22564"/>
                          <a:pt x="2889" y="21559"/>
                          <a:pt x="2512" y="20680"/>
                        </a:cubicBezTo>
                        <a:cubicBezTo>
                          <a:pt x="2386" y="20429"/>
                          <a:pt x="2261" y="20178"/>
                          <a:pt x="2010" y="20178"/>
                        </a:cubicBezTo>
                        <a:cubicBezTo>
                          <a:pt x="2010" y="17415"/>
                          <a:pt x="1507" y="13647"/>
                          <a:pt x="1382" y="11888"/>
                        </a:cubicBezTo>
                        <a:cubicBezTo>
                          <a:pt x="1130" y="8372"/>
                          <a:pt x="1130" y="7618"/>
                          <a:pt x="502" y="5985"/>
                        </a:cubicBezTo>
                        <a:lnTo>
                          <a:pt x="0" y="4102"/>
                        </a:lnTo>
                        <a:cubicBezTo>
                          <a:pt x="2010" y="2218"/>
                          <a:pt x="3391" y="1087"/>
                          <a:pt x="6029" y="208"/>
                        </a:cubicBezTo>
                        <a:close/>
                      </a:path>
                    </a:pathLst>
                  </a:custGeom>
                  <a:solidFill>
                    <a:srgbClr val="FEA6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8" name="Freeform: Shape 1467">
                    <a:extLst>
                      <a:ext uri="{FF2B5EF4-FFF2-40B4-BE49-F238E27FC236}">
                        <a16:creationId xmlns:a16="http://schemas.microsoft.com/office/drawing/2014/main" id="{71F74B3C-4B59-4DEA-8458-323AE9091458}"/>
                      </a:ext>
                    </a:extLst>
                  </p:cNvPr>
                  <p:cNvSpPr/>
                  <p:nvPr/>
                </p:nvSpPr>
                <p:spPr>
                  <a:xfrm>
                    <a:off x="3441017" y="1673777"/>
                    <a:ext cx="5222" cy="22355"/>
                  </a:xfrm>
                  <a:custGeom>
                    <a:avLst/>
                    <a:gdLst>
                      <a:gd name="connsiteX0" fmla="*/ 4554 w 5222"/>
                      <a:gd name="connsiteY0" fmla="*/ 22356 h 22355"/>
                      <a:gd name="connsiteX1" fmla="*/ 535 w 5222"/>
                      <a:gd name="connsiteY1" fmla="*/ 22356 h 22355"/>
                      <a:gd name="connsiteX2" fmla="*/ 33 w 5222"/>
                      <a:gd name="connsiteY2" fmla="*/ 8917 h 22355"/>
                      <a:gd name="connsiteX3" fmla="*/ 158 w 5222"/>
                      <a:gd name="connsiteY3" fmla="*/ 6657 h 22355"/>
                      <a:gd name="connsiteX4" fmla="*/ 1163 w 5222"/>
                      <a:gd name="connsiteY4" fmla="*/ 0 h 22355"/>
                      <a:gd name="connsiteX5" fmla="*/ 912 w 5222"/>
                      <a:gd name="connsiteY5" fmla="*/ 126 h 22355"/>
                      <a:gd name="connsiteX6" fmla="*/ 2293 w 5222"/>
                      <a:gd name="connsiteY6" fmla="*/ 502 h 22355"/>
                      <a:gd name="connsiteX7" fmla="*/ 3926 w 5222"/>
                      <a:gd name="connsiteY7" fmla="*/ 1382 h 22355"/>
                      <a:gd name="connsiteX8" fmla="*/ 5182 w 5222"/>
                      <a:gd name="connsiteY8" fmla="*/ 3893 h 22355"/>
                      <a:gd name="connsiteX9" fmla="*/ 4680 w 5222"/>
                      <a:gd name="connsiteY9" fmla="*/ 19844 h 22355"/>
                      <a:gd name="connsiteX10" fmla="*/ 4554 w 5222"/>
                      <a:gd name="connsiteY10" fmla="*/ 22356 h 22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22" h="22355">
                        <a:moveTo>
                          <a:pt x="4554" y="22356"/>
                        </a:moveTo>
                        <a:lnTo>
                          <a:pt x="535" y="22356"/>
                        </a:lnTo>
                        <a:cubicBezTo>
                          <a:pt x="158" y="17834"/>
                          <a:pt x="-93" y="13187"/>
                          <a:pt x="33" y="8917"/>
                        </a:cubicBezTo>
                        <a:cubicBezTo>
                          <a:pt x="33" y="8164"/>
                          <a:pt x="33" y="7410"/>
                          <a:pt x="158" y="6657"/>
                        </a:cubicBezTo>
                        <a:cubicBezTo>
                          <a:pt x="284" y="3893"/>
                          <a:pt x="1163" y="4396"/>
                          <a:pt x="1163" y="0"/>
                        </a:cubicBezTo>
                        <a:cubicBezTo>
                          <a:pt x="1414" y="126"/>
                          <a:pt x="661" y="0"/>
                          <a:pt x="912" y="126"/>
                        </a:cubicBezTo>
                        <a:cubicBezTo>
                          <a:pt x="1289" y="251"/>
                          <a:pt x="1791" y="377"/>
                          <a:pt x="2293" y="502"/>
                        </a:cubicBezTo>
                        <a:cubicBezTo>
                          <a:pt x="2921" y="754"/>
                          <a:pt x="3549" y="1005"/>
                          <a:pt x="3926" y="1382"/>
                        </a:cubicBezTo>
                        <a:cubicBezTo>
                          <a:pt x="5056" y="2512"/>
                          <a:pt x="5182" y="3517"/>
                          <a:pt x="5182" y="3893"/>
                        </a:cubicBezTo>
                        <a:cubicBezTo>
                          <a:pt x="5433" y="8038"/>
                          <a:pt x="4428" y="16327"/>
                          <a:pt x="4680" y="19844"/>
                        </a:cubicBezTo>
                        <a:cubicBezTo>
                          <a:pt x="4554" y="20723"/>
                          <a:pt x="4554" y="21602"/>
                          <a:pt x="4554" y="22356"/>
                        </a:cubicBezTo>
                        <a:close/>
                      </a:path>
                    </a:pathLst>
                  </a:custGeom>
                  <a:solidFill>
                    <a:srgbClr val="FEA6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9" name="Freeform: Shape 1468">
                    <a:extLst>
                      <a:ext uri="{FF2B5EF4-FFF2-40B4-BE49-F238E27FC236}">
                        <a16:creationId xmlns:a16="http://schemas.microsoft.com/office/drawing/2014/main" id="{CA95F006-91D3-4A57-9886-2E4A15858FE4}"/>
                      </a:ext>
                    </a:extLst>
                  </p:cNvPr>
                  <p:cNvSpPr/>
                  <p:nvPr/>
                </p:nvSpPr>
                <p:spPr>
                  <a:xfrm>
                    <a:off x="3434762" y="1675535"/>
                    <a:ext cx="6294" cy="19467"/>
                  </a:xfrm>
                  <a:custGeom>
                    <a:avLst/>
                    <a:gdLst>
                      <a:gd name="connsiteX0" fmla="*/ 1515 w 6294"/>
                      <a:gd name="connsiteY0" fmla="*/ 0 h 19467"/>
                      <a:gd name="connsiteX1" fmla="*/ 8 w 6294"/>
                      <a:gd name="connsiteY1" fmla="*/ 1130 h 19467"/>
                      <a:gd name="connsiteX2" fmla="*/ 2520 w 6294"/>
                      <a:gd name="connsiteY2" fmla="*/ 2386 h 19467"/>
                      <a:gd name="connsiteX3" fmla="*/ 4530 w 6294"/>
                      <a:gd name="connsiteY3" fmla="*/ 18462 h 19467"/>
                      <a:gd name="connsiteX4" fmla="*/ 6288 w 6294"/>
                      <a:gd name="connsiteY4" fmla="*/ 19467 h 19467"/>
                      <a:gd name="connsiteX5" fmla="*/ 3901 w 6294"/>
                      <a:gd name="connsiteY5" fmla="*/ 2010 h 19467"/>
                      <a:gd name="connsiteX6" fmla="*/ 1515 w 6294"/>
                      <a:gd name="connsiteY6" fmla="*/ 0 h 19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94" h="19467">
                        <a:moveTo>
                          <a:pt x="1515" y="0"/>
                        </a:moveTo>
                        <a:cubicBezTo>
                          <a:pt x="1264" y="0"/>
                          <a:pt x="-117" y="1256"/>
                          <a:pt x="8" y="1130"/>
                        </a:cubicBezTo>
                        <a:cubicBezTo>
                          <a:pt x="636" y="1005"/>
                          <a:pt x="2018" y="1005"/>
                          <a:pt x="2520" y="2386"/>
                        </a:cubicBezTo>
                        <a:cubicBezTo>
                          <a:pt x="3776" y="5024"/>
                          <a:pt x="4404" y="14820"/>
                          <a:pt x="4530" y="18462"/>
                        </a:cubicBezTo>
                        <a:lnTo>
                          <a:pt x="6288" y="19467"/>
                        </a:lnTo>
                        <a:cubicBezTo>
                          <a:pt x="6288" y="18965"/>
                          <a:pt x="6539" y="7033"/>
                          <a:pt x="3901" y="2010"/>
                        </a:cubicBezTo>
                        <a:cubicBezTo>
                          <a:pt x="3650" y="1382"/>
                          <a:pt x="2771" y="251"/>
                          <a:pt x="1515" y="0"/>
                        </a:cubicBezTo>
                        <a:close/>
                      </a:path>
                    </a:pathLst>
                  </a:custGeom>
                  <a:solidFill>
                    <a:srgbClr val="0072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0" name="Freeform: Shape 1469">
                    <a:extLst>
                      <a:ext uri="{FF2B5EF4-FFF2-40B4-BE49-F238E27FC236}">
                        <a16:creationId xmlns:a16="http://schemas.microsoft.com/office/drawing/2014/main" id="{34F1D886-0819-4DD9-A6D7-A64CE0F08FCE}"/>
                      </a:ext>
                    </a:extLst>
                  </p:cNvPr>
                  <p:cNvSpPr/>
                  <p:nvPr/>
                </p:nvSpPr>
                <p:spPr>
                  <a:xfrm>
                    <a:off x="3441552" y="1674028"/>
                    <a:ext cx="5037" cy="17583"/>
                  </a:xfrm>
                  <a:custGeom>
                    <a:avLst/>
                    <a:gdLst>
                      <a:gd name="connsiteX0" fmla="*/ 0 w 5037"/>
                      <a:gd name="connsiteY0" fmla="*/ 502 h 17583"/>
                      <a:gd name="connsiteX1" fmla="*/ 377 w 5037"/>
                      <a:gd name="connsiteY1" fmla="*/ 377 h 17583"/>
                      <a:gd name="connsiteX2" fmla="*/ 2261 w 5037"/>
                      <a:gd name="connsiteY2" fmla="*/ 2386 h 17583"/>
                      <a:gd name="connsiteX3" fmla="*/ 4270 w 5037"/>
                      <a:gd name="connsiteY3" fmla="*/ 17583 h 17583"/>
                      <a:gd name="connsiteX4" fmla="*/ 5024 w 5037"/>
                      <a:gd name="connsiteY4" fmla="*/ 7661 h 17583"/>
                      <a:gd name="connsiteX5" fmla="*/ 5024 w 5037"/>
                      <a:gd name="connsiteY5" fmla="*/ 7159 h 17583"/>
                      <a:gd name="connsiteX6" fmla="*/ 5024 w 5037"/>
                      <a:gd name="connsiteY6" fmla="*/ 6782 h 17583"/>
                      <a:gd name="connsiteX7" fmla="*/ 3768 w 5037"/>
                      <a:gd name="connsiteY7" fmla="*/ 1633 h 17583"/>
                      <a:gd name="connsiteX8" fmla="*/ 628 w 5037"/>
                      <a:gd name="connsiteY8" fmla="*/ 0 h 17583"/>
                      <a:gd name="connsiteX9" fmla="*/ 0 w 5037"/>
                      <a:gd name="connsiteY9" fmla="*/ 502 h 1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37" h="17583">
                        <a:moveTo>
                          <a:pt x="0" y="502"/>
                        </a:moveTo>
                        <a:cubicBezTo>
                          <a:pt x="126" y="377"/>
                          <a:pt x="251" y="377"/>
                          <a:pt x="377" y="377"/>
                        </a:cubicBezTo>
                        <a:cubicBezTo>
                          <a:pt x="754" y="377"/>
                          <a:pt x="1633" y="1005"/>
                          <a:pt x="2261" y="2386"/>
                        </a:cubicBezTo>
                        <a:cubicBezTo>
                          <a:pt x="3391" y="4773"/>
                          <a:pt x="4019" y="13439"/>
                          <a:pt x="4270" y="17583"/>
                        </a:cubicBezTo>
                        <a:cubicBezTo>
                          <a:pt x="4396" y="14569"/>
                          <a:pt x="5149" y="12057"/>
                          <a:pt x="5024" y="7661"/>
                        </a:cubicBezTo>
                        <a:cubicBezTo>
                          <a:pt x="5024" y="7536"/>
                          <a:pt x="5024" y="7284"/>
                          <a:pt x="5024" y="7159"/>
                        </a:cubicBezTo>
                        <a:cubicBezTo>
                          <a:pt x="5024" y="7033"/>
                          <a:pt x="5024" y="6908"/>
                          <a:pt x="5024" y="6782"/>
                        </a:cubicBezTo>
                        <a:cubicBezTo>
                          <a:pt x="4647" y="4647"/>
                          <a:pt x="4396" y="3014"/>
                          <a:pt x="3768" y="1633"/>
                        </a:cubicBezTo>
                        <a:cubicBezTo>
                          <a:pt x="2763" y="251"/>
                          <a:pt x="2261" y="251"/>
                          <a:pt x="628" y="0"/>
                        </a:cubicBezTo>
                        <a:cubicBezTo>
                          <a:pt x="251" y="251"/>
                          <a:pt x="0" y="502"/>
                          <a:pt x="0" y="502"/>
                        </a:cubicBezTo>
                        <a:close/>
                      </a:path>
                    </a:pathLst>
                  </a:custGeom>
                  <a:solidFill>
                    <a:srgbClr val="0072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1" name="Freeform: Shape 1470">
                    <a:extLst>
                      <a:ext uri="{FF2B5EF4-FFF2-40B4-BE49-F238E27FC236}">
                        <a16:creationId xmlns:a16="http://schemas.microsoft.com/office/drawing/2014/main" id="{DA2FE302-81A9-46A1-AF7C-63E6CE4BD79B}"/>
                      </a:ext>
                    </a:extLst>
                  </p:cNvPr>
                  <p:cNvSpPr/>
                  <p:nvPr/>
                </p:nvSpPr>
                <p:spPr>
                  <a:xfrm>
                    <a:off x="3434895" y="1678298"/>
                    <a:ext cx="20723" cy="26249"/>
                  </a:xfrm>
                  <a:custGeom>
                    <a:avLst/>
                    <a:gdLst>
                      <a:gd name="connsiteX0" fmla="*/ 11931 w 20723"/>
                      <a:gd name="connsiteY0" fmla="*/ 26249 h 26249"/>
                      <a:gd name="connsiteX1" fmla="*/ 20723 w 20723"/>
                      <a:gd name="connsiteY1" fmla="*/ 21351 h 26249"/>
                      <a:gd name="connsiteX2" fmla="*/ 11555 w 20723"/>
                      <a:gd name="connsiteY2" fmla="*/ 12057 h 26249"/>
                      <a:gd name="connsiteX3" fmla="*/ 10299 w 20723"/>
                      <a:gd name="connsiteY3" fmla="*/ 0 h 26249"/>
                      <a:gd name="connsiteX4" fmla="*/ 3140 w 20723"/>
                      <a:gd name="connsiteY4" fmla="*/ 2386 h 26249"/>
                      <a:gd name="connsiteX5" fmla="*/ 0 w 20723"/>
                      <a:gd name="connsiteY5" fmla="*/ 8164 h 26249"/>
                      <a:gd name="connsiteX6" fmla="*/ 126 w 20723"/>
                      <a:gd name="connsiteY6" fmla="*/ 10424 h 26249"/>
                      <a:gd name="connsiteX7" fmla="*/ 1005 w 20723"/>
                      <a:gd name="connsiteY7" fmla="*/ 19970 h 26249"/>
                      <a:gd name="connsiteX8" fmla="*/ 11931 w 20723"/>
                      <a:gd name="connsiteY8" fmla="*/ 26249 h 2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23" h="26249">
                        <a:moveTo>
                          <a:pt x="11931" y="26249"/>
                        </a:moveTo>
                        <a:cubicBezTo>
                          <a:pt x="14443" y="24868"/>
                          <a:pt x="17583" y="23109"/>
                          <a:pt x="20723" y="21351"/>
                        </a:cubicBezTo>
                        <a:cubicBezTo>
                          <a:pt x="20472" y="17583"/>
                          <a:pt x="16955" y="15574"/>
                          <a:pt x="11555" y="12057"/>
                        </a:cubicBezTo>
                        <a:cubicBezTo>
                          <a:pt x="11555" y="12057"/>
                          <a:pt x="10801" y="1256"/>
                          <a:pt x="10299" y="0"/>
                        </a:cubicBezTo>
                        <a:cubicBezTo>
                          <a:pt x="7159" y="2637"/>
                          <a:pt x="3893" y="2386"/>
                          <a:pt x="3140" y="2386"/>
                        </a:cubicBezTo>
                        <a:cubicBezTo>
                          <a:pt x="3517" y="4270"/>
                          <a:pt x="628" y="8540"/>
                          <a:pt x="0" y="8164"/>
                        </a:cubicBezTo>
                        <a:cubicBezTo>
                          <a:pt x="126" y="8792"/>
                          <a:pt x="0" y="9796"/>
                          <a:pt x="126" y="10424"/>
                        </a:cubicBezTo>
                        <a:cubicBezTo>
                          <a:pt x="754" y="14443"/>
                          <a:pt x="251" y="14318"/>
                          <a:pt x="1005" y="19970"/>
                        </a:cubicBezTo>
                        <a:cubicBezTo>
                          <a:pt x="879" y="20346"/>
                          <a:pt x="4647" y="25621"/>
                          <a:pt x="11931" y="26249"/>
                        </a:cubicBezTo>
                        <a:close/>
                      </a:path>
                    </a:pathLst>
                  </a:custGeom>
                  <a:solidFill>
                    <a:srgbClr val="0072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2" name="Freeform: Shape 1471">
                    <a:extLst>
                      <a:ext uri="{FF2B5EF4-FFF2-40B4-BE49-F238E27FC236}">
                        <a16:creationId xmlns:a16="http://schemas.microsoft.com/office/drawing/2014/main" id="{296AC5A2-7546-4D42-978B-456190B907C3}"/>
                      </a:ext>
                    </a:extLst>
                  </p:cNvPr>
                  <p:cNvSpPr/>
                  <p:nvPr/>
                </p:nvSpPr>
                <p:spPr>
                  <a:xfrm>
                    <a:off x="3438035" y="1668628"/>
                    <a:ext cx="3642" cy="7661"/>
                  </a:xfrm>
                  <a:custGeom>
                    <a:avLst/>
                    <a:gdLst>
                      <a:gd name="connsiteX0" fmla="*/ 251 w 3642"/>
                      <a:gd name="connsiteY0" fmla="*/ 1005 h 7661"/>
                      <a:gd name="connsiteX1" fmla="*/ 0 w 3642"/>
                      <a:gd name="connsiteY1" fmla="*/ 6154 h 7661"/>
                      <a:gd name="connsiteX2" fmla="*/ 3266 w 3642"/>
                      <a:gd name="connsiteY2" fmla="*/ 7661 h 7661"/>
                      <a:gd name="connsiteX3" fmla="*/ 3642 w 3642"/>
                      <a:gd name="connsiteY3" fmla="*/ 6154 h 7661"/>
                      <a:gd name="connsiteX4" fmla="*/ 3642 w 3642"/>
                      <a:gd name="connsiteY4" fmla="*/ 5903 h 7661"/>
                      <a:gd name="connsiteX5" fmla="*/ 3140 w 3642"/>
                      <a:gd name="connsiteY5" fmla="*/ 1130 h 7661"/>
                      <a:gd name="connsiteX6" fmla="*/ 1758 w 3642"/>
                      <a:gd name="connsiteY6" fmla="*/ 0 h 7661"/>
                      <a:gd name="connsiteX7" fmla="*/ 251 w 3642"/>
                      <a:gd name="connsiteY7" fmla="*/ 1005 h 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2" h="7661">
                        <a:moveTo>
                          <a:pt x="251" y="1005"/>
                        </a:moveTo>
                        <a:lnTo>
                          <a:pt x="0" y="6154"/>
                        </a:lnTo>
                        <a:cubicBezTo>
                          <a:pt x="0" y="7033"/>
                          <a:pt x="3266" y="7661"/>
                          <a:pt x="3266" y="7661"/>
                        </a:cubicBezTo>
                        <a:cubicBezTo>
                          <a:pt x="3266" y="7661"/>
                          <a:pt x="3642" y="7033"/>
                          <a:pt x="3642" y="6154"/>
                        </a:cubicBezTo>
                        <a:cubicBezTo>
                          <a:pt x="3642" y="6029"/>
                          <a:pt x="3642" y="6029"/>
                          <a:pt x="3642" y="5903"/>
                        </a:cubicBezTo>
                        <a:lnTo>
                          <a:pt x="3140" y="1130"/>
                        </a:lnTo>
                        <a:cubicBezTo>
                          <a:pt x="3014" y="502"/>
                          <a:pt x="2512" y="0"/>
                          <a:pt x="1758" y="0"/>
                        </a:cubicBezTo>
                        <a:cubicBezTo>
                          <a:pt x="1130" y="126"/>
                          <a:pt x="251" y="502"/>
                          <a:pt x="251" y="1005"/>
                        </a:cubicBezTo>
                        <a:close/>
                      </a:path>
                    </a:pathLst>
                  </a:custGeom>
                  <a:solidFill>
                    <a:srgbClr val="F2B09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3" name="Freeform: Shape 1472">
                    <a:extLst>
                      <a:ext uri="{FF2B5EF4-FFF2-40B4-BE49-F238E27FC236}">
                        <a16:creationId xmlns:a16="http://schemas.microsoft.com/office/drawing/2014/main" id="{CBC5387A-1D61-479F-A321-EA79FEA3B6DA}"/>
                      </a:ext>
                    </a:extLst>
                  </p:cNvPr>
                  <p:cNvSpPr/>
                  <p:nvPr/>
                </p:nvSpPr>
                <p:spPr>
                  <a:xfrm>
                    <a:off x="3436929" y="1665123"/>
                    <a:ext cx="7919" cy="10975"/>
                  </a:xfrm>
                  <a:custGeom>
                    <a:avLst/>
                    <a:gdLst>
                      <a:gd name="connsiteX0" fmla="*/ 1608 w 7919"/>
                      <a:gd name="connsiteY0" fmla="*/ 7398 h 10975"/>
                      <a:gd name="connsiteX1" fmla="*/ 2487 w 7919"/>
                      <a:gd name="connsiteY1" fmla="*/ 9282 h 10975"/>
                      <a:gd name="connsiteX2" fmla="*/ 4623 w 7919"/>
                      <a:gd name="connsiteY2" fmla="*/ 10789 h 10975"/>
                      <a:gd name="connsiteX3" fmla="*/ 6381 w 7919"/>
                      <a:gd name="connsiteY3" fmla="*/ 10538 h 10975"/>
                      <a:gd name="connsiteX4" fmla="*/ 7511 w 7919"/>
                      <a:gd name="connsiteY4" fmla="*/ 8026 h 10975"/>
                      <a:gd name="connsiteX5" fmla="*/ 7762 w 7919"/>
                      <a:gd name="connsiteY5" fmla="*/ 2500 h 10975"/>
                      <a:gd name="connsiteX6" fmla="*/ 2613 w 7919"/>
                      <a:gd name="connsiteY6" fmla="*/ 114 h 10975"/>
                      <a:gd name="connsiteX7" fmla="*/ 1608 w 7919"/>
                      <a:gd name="connsiteY7" fmla="*/ 7398 h 1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19" h="10975">
                        <a:moveTo>
                          <a:pt x="1608" y="7398"/>
                        </a:moveTo>
                        <a:cubicBezTo>
                          <a:pt x="1859" y="7775"/>
                          <a:pt x="1734" y="8528"/>
                          <a:pt x="2487" y="9282"/>
                        </a:cubicBezTo>
                        <a:cubicBezTo>
                          <a:pt x="3367" y="10287"/>
                          <a:pt x="4246" y="10664"/>
                          <a:pt x="4623" y="10789"/>
                        </a:cubicBezTo>
                        <a:cubicBezTo>
                          <a:pt x="5250" y="11166"/>
                          <a:pt x="6130" y="10915"/>
                          <a:pt x="6381" y="10538"/>
                        </a:cubicBezTo>
                        <a:cubicBezTo>
                          <a:pt x="6883" y="9659"/>
                          <a:pt x="7260" y="8905"/>
                          <a:pt x="7511" y="8026"/>
                        </a:cubicBezTo>
                        <a:cubicBezTo>
                          <a:pt x="8139" y="5765"/>
                          <a:pt x="7888" y="3505"/>
                          <a:pt x="7762" y="2500"/>
                        </a:cubicBezTo>
                        <a:cubicBezTo>
                          <a:pt x="6883" y="239"/>
                          <a:pt x="5376" y="-263"/>
                          <a:pt x="2613" y="114"/>
                        </a:cubicBezTo>
                        <a:cubicBezTo>
                          <a:pt x="-401" y="365"/>
                          <a:pt x="-904" y="4509"/>
                          <a:pt x="1608" y="7398"/>
                        </a:cubicBezTo>
                        <a:close/>
                      </a:path>
                    </a:pathLst>
                  </a:custGeom>
                  <a:solidFill>
                    <a:srgbClr val="FFCC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4" name="Freeform: Shape 1473">
                    <a:extLst>
                      <a:ext uri="{FF2B5EF4-FFF2-40B4-BE49-F238E27FC236}">
                        <a16:creationId xmlns:a16="http://schemas.microsoft.com/office/drawing/2014/main" id="{62B3C493-16F0-41DA-A649-C8C75D4FB903}"/>
                      </a:ext>
                    </a:extLst>
                  </p:cNvPr>
                  <p:cNvSpPr/>
                  <p:nvPr/>
                </p:nvSpPr>
                <p:spPr>
                  <a:xfrm>
                    <a:off x="3436774" y="1666618"/>
                    <a:ext cx="3396" cy="5526"/>
                  </a:xfrm>
                  <a:custGeom>
                    <a:avLst/>
                    <a:gdLst>
                      <a:gd name="connsiteX0" fmla="*/ 3396 w 3396"/>
                      <a:gd name="connsiteY0" fmla="*/ 2386 h 5526"/>
                      <a:gd name="connsiteX1" fmla="*/ 2642 w 3396"/>
                      <a:gd name="connsiteY1" fmla="*/ 4898 h 5526"/>
                      <a:gd name="connsiteX2" fmla="*/ 1512 w 3396"/>
                      <a:gd name="connsiteY2" fmla="*/ 5526 h 5526"/>
                      <a:gd name="connsiteX3" fmla="*/ 131 w 3396"/>
                      <a:gd name="connsiteY3" fmla="*/ 2889 h 5526"/>
                      <a:gd name="connsiteX4" fmla="*/ 382 w 3396"/>
                      <a:gd name="connsiteY4" fmla="*/ 0 h 5526"/>
                      <a:gd name="connsiteX5" fmla="*/ 3396 w 3396"/>
                      <a:gd name="connsiteY5" fmla="*/ 2386 h 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6" h="5526">
                        <a:moveTo>
                          <a:pt x="3396" y="2386"/>
                        </a:moveTo>
                        <a:cubicBezTo>
                          <a:pt x="2894" y="3014"/>
                          <a:pt x="3019" y="4270"/>
                          <a:pt x="2642" y="4898"/>
                        </a:cubicBezTo>
                        <a:cubicBezTo>
                          <a:pt x="2140" y="5149"/>
                          <a:pt x="1512" y="5526"/>
                          <a:pt x="1512" y="5526"/>
                        </a:cubicBezTo>
                        <a:cubicBezTo>
                          <a:pt x="633" y="4898"/>
                          <a:pt x="382" y="4145"/>
                          <a:pt x="131" y="2889"/>
                        </a:cubicBezTo>
                        <a:cubicBezTo>
                          <a:pt x="-121" y="1884"/>
                          <a:pt x="5" y="502"/>
                          <a:pt x="382" y="0"/>
                        </a:cubicBezTo>
                        <a:lnTo>
                          <a:pt x="3396" y="2386"/>
                        </a:lnTo>
                        <a:close/>
                      </a:path>
                    </a:pathLst>
                  </a:custGeom>
                  <a:solidFill>
                    <a:srgbClr val="3820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5" name="Freeform: Shape 1474">
                    <a:extLst>
                      <a:ext uri="{FF2B5EF4-FFF2-40B4-BE49-F238E27FC236}">
                        <a16:creationId xmlns:a16="http://schemas.microsoft.com/office/drawing/2014/main" id="{EDA6D3C7-8B5F-4927-BC48-71D8CF2B43B1}"/>
                      </a:ext>
                    </a:extLst>
                  </p:cNvPr>
                  <p:cNvSpPr/>
                  <p:nvPr/>
                </p:nvSpPr>
                <p:spPr>
                  <a:xfrm>
                    <a:off x="3437030" y="1664477"/>
                    <a:ext cx="8151" cy="5417"/>
                  </a:xfrm>
                  <a:custGeom>
                    <a:avLst/>
                    <a:gdLst>
                      <a:gd name="connsiteX0" fmla="*/ 7536 w 8151"/>
                      <a:gd name="connsiteY0" fmla="*/ 5029 h 5417"/>
                      <a:gd name="connsiteX1" fmla="*/ 0 w 8151"/>
                      <a:gd name="connsiteY1" fmla="*/ 2643 h 5417"/>
                      <a:gd name="connsiteX2" fmla="*/ 6405 w 8151"/>
                      <a:gd name="connsiteY2" fmla="*/ 885 h 5417"/>
                      <a:gd name="connsiteX3" fmla="*/ 7536 w 8151"/>
                      <a:gd name="connsiteY3" fmla="*/ 5029 h 5417"/>
                    </a:gdLst>
                    <a:ahLst/>
                    <a:cxnLst>
                      <a:cxn ang="0">
                        <a:pos x="connsiteX0" y="connsiteY0"/>
                      </a:cxn>
                      <a:cxn ang="0">
                        <a:pos x="connsiteX1" y="connsiteY1"/>
                      </a:cxn>
                      <a:cxn ang="0">
                        <a:pos x="connsiteX2" y="connsiteY2"/>
                      </a:cxn>
                      <a:cxn ang="0">
                        <a:pos x="connsiteX3" y="connsiteY3"/>
                      </a:cxn>
                    </a:cxnLst>
                    <a:rect l="l" t="t" r="r" b="b"/>
                    <a:pathLst>
                      <a:path w="8151" h="5417">
                        <a:moveTo>
                          <a:pt x="7536" y="5029"/>
                        </a:moveTo>
                        <a:cubicBezTo>
                          <a:pt x="5024" y="5783"/>
                          <a:pt x="1382" y="5657"/>
                          <a:pt x="0" y="2643"/>
                        </a:cubicBezTo>
                        <a:cubicBezTo>
                          <a:pt x="0" y="131"/>
                          <a:pt x="4019" y="-874"/>
                          <a:pt x="6405" y="885"/>
                        </a:cubicBezTo>
                        <a:cubicBezTo>
                          <a:pt x="8415" y="2266"/>
                          <a:pt x="8541" y="4653"/>
                          <a:pt x="7536" y="5029"/>
                        </a:cubicBezTo>
                        <a:close/>
                      </a:path>
                    </a:pathLst>
                  </a:custGeom>
                  <a:solidFill>
                    <a:srgbClr val="3820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6" name="Freeform: Shape 1475">
                    <a:extLst>
                      <a:ext uri="{FF2B5EF4-FFF2-40B4-BE49-F238E27FC236}">
                        <a16:creationId xmlns:a16="http://schemas.microsoft.com/office/drawing/2014/main" id="{6835A1E5-87E9-42DC-B4AA-1D461D41A040}"/>
                      </a:ext>
                    </a:extLst>
                  </p:cNvPr>
                  <p:cNvSpPr/>
                  <p:nvPr/>
                </p:nvSpPr>
                <p:spPr>
                  <a:xfrm>
                    <a:off x="3437156" y="1670047"/>
                    <a:ext cx="1758" cy="2599"/>
                  </a:xfrm>
                  <a:custGeom>
                    <a:avLst/>
                    <a:gdLst>
                      <a:gd name="connsiteX0" fmla="*/ 1507 w 1758"/>
                      <a:gd name="connsiteY0" fmla="*/ 841 h 2599"/>
                      <a:gd name="connsiteX1" fmla="*/ 0 w 1758"/>
                      <a:gd name="connsiteY1" fmla="*/ 715 h 2599"/>
                      <a:gd name="connsiteX2" fmla="*/ 1507 w 1758"/>
                      <a:gd name="connsiteY2" fmla="*/ 2599 h 2599"/>
                      <a:gd name="connsiteX3" fmla="*/ 1759 w 1758"/>
                      <a:gd name="connsiteY3" fmla="*/ 1720 h 2599"/>
                      <a:gd name="connsiteX4" fmla="*/ 1507 w 1758"/>
                      <a:gd name="connsiteY4" fmla="*/ 841 h 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 h="2599">
                        <a:moveTo>
                          <a:pt x="1507" y="841"/>
                        </a:moveTo>
                        <a:cubicBezTo>
                          <a:pt x="879" y="-666"/>
                          <a:pt x="0" y="213"/>
                          <a:pt x="0" y="715"/>
                        </a:cubicBezTo>
                        <a:cubicBezTo>
                          <a:pt x="0" y="1469"/>
                          <a:pt x="628" y="2348"/>
                          <a:pt x="1507" y="2599"/>
                        </a:cubicBezTo>
                        <a:cubicBezTo>
                          <a:pt x="1633" y="2599"/>
                          <a:pt x="1759" y="1971"/>
                          <a:pt x="1759" y="1720"/>
                        </a:cubicBezTo>
                        <a:cubicBezTo>
                          <a:pt x="1633" y="1343"/>
                          <a:pt x="1633" y="1092"/>
                          <a:pt x="1507" y="841"/>
                        </a:cubicBezTo>
                        <a:close/>
                      </a:path>
                    </a:pathLst>
                  </a:custGeom>
                  <a:solidFill>
                    <a:srgbClr val="FFCC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77" name="Graphic 4">
                    <a:extLst>
                      <a:ext uri="{FF2B5EF4-FFF2-40B4-BE49-F238E27FC236}">
                        <a16:creationId xmlns:a16="http://schemas.microsoft.com/office/drawing/2014/main" id="{84FB7ED1-A2DF-40A1-A747-5F7CF3F14040}"/>
                      </a:ext>
                    </a:extLst>
                  </p:cNvPr>
                  <p:cNvGrpSpPr/>
                  <p:nvPr/>
                </p:nvGrpSpPr>
                <p:grpSpPr>
                  <a:xfrm>
                    <a:off x="3435983" y="1662599"/>
                    <a:ext cx="11264" cy="9037"/>
                    <a:chOff x="3435983" y="1662599"/>
                    <a:chExt cx="11264" cy="9037"/>
                  </a:xfrm>
                  <a:solidFill>
                    <a:schemeClr val="accent1"/>
                  </a:solidFill>
                </p:grpSpPr>
                <p:sp>
                  <p:nvSpPr>
                    <p:cNvPr id="1478" name="Freeform: Shape 1477">
                      <a:extLst>
                        <a:ext uri="{FF2B5EF4-FFF2-40B4-BE49-F238E27FC236}">
                          <a16:creationId xmlns:a16="http://schemas.microsoft.com/office/drawing/2014/main" id="{A4C52224-A01D-48C7-B8E1-1BF8D031FDC9}"/>
                        </a:ext>
                      </a:extLst>
                    </p:cNvPr>
                    <p:cNvSpPr/>
                    <p:nvPr/>
                  </p:nvSpPr>
                  <p:spPr>
                    <a:xfrm>
                      <a:off x="3435983" y="1664842"/>
                      <a:ext cx="11264" cy="6794"/>
                    </a:xfrm>
                    <a:custGeom>
                      <a:avLst/>
                      <a:gdLst>
                        <a:gd name="connsiteX0" fmla="*/ 6449 w 11264"/>
                        <a:gd name="connsiteY0" fmla="*/ 395 h 6794"/>
                        <a:gd name="connsiteX1" fmla="*/ 11221 w 11264"/>
                        <a:gd name="connsiteY1" fmla="*/ 4916 h 6794"/>
                        <a:gd name="connsiteX2" fmla="*/ 4816 w 11264"/>
                        <a:gd name="connsiteY2" fmla="*/ 6423 h 6794"/>
                        <a:gd name="connsiteX3" fmla="*/ 43 w 11264"/>
                        <a:gd name="connsiteY3" fmla="*/ 1902 h 6794"/>
                        <a:gd name="connsiteX4" fmla="*/ 6449 w 11264"/>
                        <a:gd name="connsiteY4" fmla="*/ 395 h 6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64" h="6794">
                          <a:moveTo>
                            <a:pt x="6449" y="395"/>
                          </a:moveTo>
                          <a:cubicBezTo>
                            <a:pt x="9463" y="1274"/>
                            <a:pt x="11598" y="3283"/>
                            <a:pt x="11221" y="4916"/>
                          </a:cubicBezTo>
                          <a:cubicBezTo>
                            <a:pt x="10719" y="6549"/>
                            <a:pt x="7956" y="7302"/>
                            <a:pt x="4816" y="6423"/>
                          </a:cubicBezTo>
                          <a:cubicBezTo>
                            <a:pt x="1802" y="5544"/>
                            <a:pt x="-334" y="3534"/>
                            <a:pt x="43" y="1902"/>
                          </a:cubicBezTo>
                          <a:cubicBezTo>
                            <a:pt x="546" y="143"/>
                            <a:pt x="3434" y="-485"/>
                            <a:pt x="6449" y="395"/>
                          </a:cubicBezTo>
                          <a:close/>
                        </a:path>
                      </a:pathLst>
                    </a:custGeom>
                    <a:solidFill>
                      <a:srgbClr val="FF8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9" name="Freeform: Shape 1478">
                      <a:extLst>
                        <a:ext uri="{FF2B5EF4-FFF2-40B4-BE49-F238E27FC236}">
                          <a16:creationId xmlns:a16="http://schemas.microsoft.com/office/drawing/2014/main" id="{C0F59C2F-99A8-4451-81A4-EA408CED6F15}"/>
                        </a:ext>
                      </a:extLst>
                    </p:cNvPr>
                    <p:cNvSpPr/>
                    <p:nvPr/>
                  </p:nvSpPr>
                  <p:spPr>
                    <a:xfrm>
                      <a:off x="3436528" y="1662599"/>
                      <a:ext cx="9738" cy="7535"/>
                    </a:xfrm>
                    <a:custGeom>
                      <a:avLst/>
                      <a:gdLst>
                        <a:gd name="connsiteX0" fmla="*/ 9671 w 9738"/>
                        <a:gd name="connsiteY0" fmla="*/ 5652 h 7535"/>
                        <a:gd name="connsiteX1" fmla="*/ 8917 w 9738"/>
                        <a:gd name="connsiteY1" fmla="*/ 6908 h 7535"/>
                        <a:gd name="connsiteX2" fmla="*/ 8791 w 9738"/>
                        <a:gd name="connsiteY2" fmla="*/ 7033 h 7535"/>
                        <a:gd name="connsiteX3" fmla="*/ 8666 w 9738"/>
                        <a:gd name="connsiteY3" fmla="*/ 7159 h 7535"/>
                        <a:gd name="connsiteX4" fmla="*/ 7033 w 9738"/>
                        <a:gd name="connsiteY4" fmla="*/ 7536 h 7535"/>
                        <a:gd name="connsiteX5" fmla="*/ 6908 w 9738"/>
                        <a:gd name="connsiteY5" fmla="*/ 7536 h 7535"/>
                        <a:gd name="connsiteX6" fmla="*/ 4521 w 9738"/>
                        <a:gd name="connsiteY6" fmla="*/ 7410 h 7535"/>
                        <a:gd name="connsiteX7" fmla="*/ 0 w 9738"/>
                        <a:gd name="connsiteY7" fmla="*/ 4396 h 7535"/>
                        <a:gd name="connsiteX8" fmla="*/ 0 w 9738"/>
                        <a:gd name="connsiteY8" fmla="*/ 4019 h 7535"/>
                        <a:gd name="connsiteX9" fmla="*/ 0 w 9738"/>
                        <a:gd name="connsiteY9" fmla="*/ 4019 h 7535"/>
                        <a:gd name="connsiteX10" fmla="*/ 3140 w 9738"/>
                        <a:gd name="connsiteY10" fmla="*/ 377 h 7535"/>
                        <a:gd name="connsiteX11" fmla="*/ 3517 w 9738"/>
                        <a:gd name="connsiteY11" fmla="*/ 251 h 7535"/>
                        <a:gd name="connsiteX12" fmla="*/ 4773 w 9738"/>
                        <a:gd name="connsiteY12" fmla="*/ 0 h 7535"/>
                        <a:gd name="connsiteX13" fmla="*/ 5275 w 9738"/>
                        <a:gd name="connsiteY13" fmla="*/ 0 h 7535"/>
                        <a:gd name="connsiteX14" fmla="*/ 5526 w 9738"/>
                        <a:gd name="connsiteY14" fmla="*/ 0 h 7535"/>
                        <a:gd name="connsiteX15" fmla="*/ 9671 w 9738"/>
                        <a:gd name="connsiteY15" fmla="*/ 565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38" h="7535">
                          <a:moveTo>
                            <a:pt x="9671" y="5652"/>
                          </a:moveTo>
                          <a:cubicBezTo>
                            <a:pt x="9545" y="6154"/>
                            <a:pt x="9294" y="6531"/>
                            <a:pt x="8917" y="6908"/>
                          </a:cubicBezTo>
                          <a:cubicBezTo>
                            <a:pt x="8917" y="6908"/>
                            <a:pt x="8791" y="7033"/>
                            <a:pt x="8791" y="7033"/>
                          </a:cubicBezTo>
                          <a:cubicBezTo>
                            <a:pt x="8791" y="7033"/>
                            <a:pt x="8666" y="7033"/>
                            <a:pt x="8666" y="7159"/>
                          </a:cubicBezTo>
                          <a:cubicBezTo>
                            <a:pt x="8289" y="7410"/>
                            <a:pt x="7661" y="7410"/>
                            <a:pt x="7033" y="7536"/>
                          </a:cubicBezTo>
                          <a:cubicBezTo>
                            <a:pt x="7033" y="7536"/>
                            <a:pt x="6908" y="7536"/>
                            <a:pt x="6908" y="7536"/>
                          </a:cubicBezTo>
                          <a:cubicBezTo>
                            <a:pt x="6154" y="7536"/>
                            <a:pt x="5400" y="7536"/>
                            <a:pt x="4521" y="7410"/>
                          </a:cubicBezTo>
                          <a:cubicBezTo>
                            <a:pt x="2010" y="7033"/>
                            <a:pt x="125" y="5652"/>
                            <a:pt x="0" y="4396"/>
                          </a:cubicBezTo>
                          <a:cubicBezTo>
                            <a:pt x="0" y="4270"/>
                            <a:pt x="0" y="4145"/>
                            <a:pt x="0" y="4019"/>
                          </a:cubicBezTo>
                          <a:cubicBezTo>
                            <a:pt x="0" y="4019"/>
                            <a:pt x="0" y="4019"/>
                            <a:pt x="0" y="4019"/>
                          </a:cubicBezTo>
                          <a:cubicBezTo>
                            <a:pt x="125" y="2512"/>
                            <a:pt x="1381" y="1005"/>
                            <a:pt x="3140" y="377"/>
                          </a:cubicBezTo>
                          <a:cubicBezTo>
                            <a:pt x="3265" y="377"/>
                            <a:pt x="3391" y="251"/>
                            <a:pt x="3517" y="251"/>
                          </a:cubicBezTo>
                          <a:cubicBezTo>
                            <a:pt x="3893" y="126"/>
                            <a:pt x="4396" y="126"/>
                            <a:pt x="4773" y="0"/>
                          </a:cubicBezTo>
                          <a:cubicBezTo>
                            <a:pt x="4898" y="0"/>
                            <a:pt x="5149" y="0"/>
                            <a:pt x="5275" y="0"/>
                          </a:cubicBezTo>
                          <a:cubicBezTo>
                            <a:pt x="5400" y="0"/>
                            <a:pt x="5400" y="0"/>
                            <a:pt x="5526" y="0"/>
                          </a:cubicBezTo>
                          <a:cubicBezTo>
                            <a:pt x="7787" y="502"/>
                            <a:pt x="10173" y="2763"/>
                            <a:pt x="9671" y="5652"/>
                          </a:cubicBezTo>
                          <a:close/>
                        </a:path>
                      </a:pathLst>
                    </a:custGeom>
                    <a:solidFill>
                      <a:srgbClr val="FEA6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0" name="Freeform: Shape 1479">
                      <a:extLst>
                        <a:ext uri="{FF2B5EF4-FFF2-40B4-BE49-F238E27FC236}">
                          <a16:creationId xmlns:a16="http://schemas.microsoft.com/office/drawing/2014/main" id="{AE1BC1DD-B853-4A03-84EF-EE71E17D8766}"/>
                        </a:ext>
                      </a:extLst>
                    </p:cNvPr>
                    <p:cNvSpPr/>
                    <p:nvPr/>
                  </p:nvSpPr>
                  <p:spPr>
                    <a:xfrm>
                      <a:off x="3436402" y="1664609"/>
                      <a:ext cx="7033" cy="5400"/>
                    </a:xfrm>
                    <a:custGeom>
                      <a:avLst/>
                      <a:gdLst>
                        <a:gd name="connsiteX0" fmla="*/ 2889 w 7033"/>
                        <a:gd name="connsiteY0" fmla="*/ 0 h 5400"/>
                        <a:gd name="connsiteX1" fmla="*/ 0 w 7033"/>
                        <a:gd name="connsiteY1" fmla="*/ 2010 h 5400"/>
                        <a:gd name="connsiteX2" fmla="*/ 0 w 7033"/>
                        <a:gd name="connsiteY2" fmla="*/ 2010 h 5400"/>
                        <a:gd name="connsiteX3" fmla="*/ 0 w 7033"/>
                        <a:gd name="connsiteY3" fmla="*/ 2386 h 5400"/>
                        <a:gd name="connsiteX4" fmla="*/ 2889 w 7033"/>
                        <a:gd name="connsiteY4" fmla="*/ 251 h 5400"/>
                        <a:gd name="connsiteX5" fmla="*/ 6908 w 7033"/>
                        <a:gd name="connsiteY5" fmla="*/ 5401 h 5400"/>
                        <a:gd name="connsiteX6" fmla="*/ 7033 w 7033"/>
                        <a:gd name="connsiteY6" fmla="*/ 5401 h 5400"/>
                        <a:gd name="connsiteX7" fmla="*/ 2889 w 7033"/>
                        <a:gd name="connsiteY7" fmla="*/ 0 h 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33" h="5400">
                          <a:moveTo>
                            <a:pt x="2889" y="0"/>
                          </a:moveTo>
                          <a:cubicBezTo>
                            <a:pt x="1759" y="0"/>
                            <a:pt x="628" y="754"/>
                            <a:pt x="0" y="2010"/>
                          </a:cubicBezTo>
                          <a:cubicBezTo>
                            <a:pt x="0" y="2010"/>
                            <a:pt x="0" y="2010"/>
                            <a:pt x="0" y="2010"/>
                          </a:cubicBezTo>
                          <a:cubicBezTo>
                            <a:pt x="0" y="2135"/>
                            <a:pt x="0" y="2261"/>
                            <a:pt x="0" y="2386"/>
                          </a:cubicBezTo>
                          <a:cubicBezTo>
                            <a:pt x="754" y="1130"/>
                            <a:pt x="1759" y="251"/>
                            <a:pt x="2889" y="251"/>
                          </a:cubicBezTo>
                          <a:cubicBezTo>
                            <a:pt x="4898" y="251"/>
                            <a:pt x="6657" y="2512"/>
                            <a:pt x="6908" y="5401"/>
                          </a:cubicBezTo>
                          <a:cubicBezTo>
                            <a:pt x="6908" y="5401"/>
                            <a:pt x="7033" y="5401"/>
                            <a:pt x="7033" y="5401"/>
                          </a:cubicBezTo>
                          <a:cubicBezTo>
                            <a:pt x="6908" y="2386"/>
                            <a:pt x="5024" y="0"/>
                            <a:pt x="2889" y="0"/>
                          </a:cubicBezTo>
                          <a:close/>
                        </a:path>
                      </a:pathLst>
                    </a:custGeom>
                    <a:solidFill>
                      <a:srgbClr val="FF7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1" name="Freeform: Shape 1480">
                      <a:extLst>
                        <a:ext uri="{FF2B5EF4-FFF2-40B4-BE49-F238E27FC236}">
                          <a16:creationId xmlns:a16="http://schemas.microsoft.com/office/drawing/2014/main" id="{9B267C76-CEF5-43DF-84A7-39A54FD29B5D}"/>
                        </a:ext>
                      </a:extLst>
                    </p:cNvPr>
                    <p:cNvSpPr/>
                    <p:nvPr/>
                  </p:nvSpPr>
                  <p:spPr>
                    <a:xfrm>
                      <a:off x="3441175" y="1662725"/>
                      <a:ext cx="4144" cy="7033"/>
                    </a:xfrm>
                    <a:custGeom>
                      <a:avLst/>
                      <a:gdLst>
                        <a:gd name="connsiteX0" fmla="*/ 4144 w 4144"/>
                        <a:gd name="connsiteY0" fmla="*/ 6908 h 7033"/>
                        <a:gd name="connsiteX1" fmla="*/ 502 w 4144"/>
                        <a:gd name="connsiteY1" fmla="*/ 0 h 7033"/>
                        <a:gd name="connsiteX2" fmla="*/ 0 w 4144"/>
                        <a:gd name="connsiteY2" fmla="*/ 0 h 7033"/>
                        <a:gd name="connsiteX3" fmla="*/ 4019 w 4144"/>
                        <a:gd name="connsiteY3" fmla="*/ 6908 h 7033"/>
                        <a:gd name="connsiteX4" fmla="*/ 4019 w 4144"/>
                        <a:gd name="connsiteY4" fmla="*/ 7033 h 7033"/>
                        <a:gd name="connsiteX5" fmla="*/ 4144 w 4144"/>
                        <a:gd name="connsiteY5" fmla="*/ 6908 h 7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44" h="7033">
                          <a:moveTo>
                            <a:pt x="4144" y="6908"/>
                          </a:moveTo>
                          <a:cubicBezTo>
                            <a:pt x="4019" y="3642"/>
                            <a:pt x="2512" y="1005"/>
                            <a:pt x="502" y="0"/>
                          </a:cubicBezTo>
                          <a:cubicBezTo>
                            <a:pt x="377" y="0"/>
                            <a:pt x="126" y="0"/>
                            <a:pt x="0" y="0"/>
                          </a:cubicBezTo>
                          <a:cubicBezTo>
                            <a:pt x="2261" y="754"/>
                            <a:pt x="3893" y="3517"/>
                            <a:pt x="4019" y="6908"/>
                          </a:cubicBezTo>
                          <a:lnTo>
                            <a:pt x="4019" y="7033"/>
                          </a:lnTo>
                          <a:cubicBezTo>
                            <a:pt x="4019" y="6908"/>
                            <a:pt x="4019" y="6908"/>
                            <a:pt x="4144" y="6908"/>
                          </a:cubicBezTo>
                          <a:close/>
                        </a:path>
                      </a:pathLst>
                    </a:custGeom>
                    <a:solidFill>
                      <a:srgbClr val="FF7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82" name="Freeform: Shape 1481">
                    <a:extLst>
                      <a:ext uri="{FF2B5EF4-FFF2-40B4-BE49-F238E27FC236}">
                        <a16:creationId xmlns:a16="http://schemas.microsoft.com/office/drawing/2014/main" id="{CEA99710-78FB-4F0E-BD33-0131A473B770}"/>
                      </a:ext>
                    </a:extLst>
                  </p:cNvPr>
                  <p:cNvSpPr/>
                  <p:nvPr/>
                </p:nvSpPr>
                <p:spPr>
                  <a:xfrm>
                    <a:off x="3432790" y="1676640"/>
                    <a:ext cx="14806" cy="19493"/>
                  </a:xfrm>
                  <a:custGeom>
                    <a:avLst/>
                    <a:gdLst>
                      <a:gd name="connsiteX0" fmla="*/ 96 w 14806"/>
                      <a:gd name="connsiteY0" fmla="*/ 2664 h 19493"/>
                      <a:gd name="connsiteX1" fmla="*/ 724 w 14806"/>
                      <a:gd name="connsiteY1" fmla="*/ 8441 h 19493"/>
                      <a:gd name="connsiteX2" fmla="*/ 2859 w 14806"/>
                      <a:gd name="connsiteY2" fmla="*/ 13214 h 19493"/>
                      <a:gd name="connsiteX3" fmla="*/ 5748 w 14806"/>
                      <a:gd name="connsiteY3" fmla="*/ 15977 h 19493"/>
                      <a:gd name="connsiteX4" fmla="*/ 8009 w 14806"/>
                      <a:gd name="connsiteY4" fmla="*/ 17107 h 19493"/>
                      <a:gd name="connsiteX5" fmla="*/ 12405 w 14806"/>
                      <a:gd name="connsiteY5" fmla="*/ 19493 h 19493"/>
                      <a:gd name="connsiteX6" fmla="*/ 13535 w 14806"/>
                      <a:gd name="connsiteY6" fmla="*/ 18865 h 19493"/>
                      <a:gd name="connsiteX7" fmla="*/ 14540 w 14806"/>
                      <a:gd name="connsiteY7" fmla="*/ 16228 h 19493"/>
                      <a:gd name="connsiteX8" fmla="*/ 7255 w 14806"/>
                      <a:gd name="connsiteY8" fmla="*/ 11204 h 19493"/>
                      <a:gd name="connsiteX9" fmla="*/ 5246 w 14806"/>
                      <a:gd name="connsiteY9" fmla="*/ 2161 h 19493"/>
                      <a:gd name="connsiteX10" fmla="*/ 4115 w 14806"/>
                      <a:gd name="connsiteY10" fmla="*/ 528 h 19493"/>
                      <a:gd name="connsiteX11" fmla="*/ 473 w 14806"/>
                      <a:gd name="connsiteY11" fmla="*/ 1408 h 19493"/>
                      <a:gd name="connsiteX12" fmla="*/ 96 w 14806"/>
                      <a:gd name="connsiteY12" fmla="*/ 2664 h 19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806" h="19493">
                        <a:moveTo>
                          <a:pt x="96" y="2664"/>
                        </a:moveTo>
                        <a:cubicBezTo>
                          <a:pt x="-155" y="4673"/>
                          <a:pt x="96" y="6557"/>
                          <a:pt x="724" y="8441"/>
                        </a:cubicBezTo>
                        <a:cubicBezTo>
                          <a:pt x="1227" y="9948"/>
                          <a:pt x="1855" y="11832"/>
                          <a:pt x="2859" y="13214"/>
                        </a:cubicBezTo>
                        <a:cubicBezTo>
                          <a:pt x="3487" y="14093"/>
                          <a:pt x="4743" y="15474"/>
                          <a:pt x="5748" y="15977"/>
                        </a:cubicBezTo>
                        <a:cubicBezTo>
                          <a:pt x="6502" y="16353"/>
                          <a:pt x="7255" y="16730"/>
                          <a:pt x="8009" y="17107"/>
                        </a:cubicBezTo>
                        <a:cubicBezTo>
                          <a:pt x="8637" y="17358"/>
                          <a:pt x="12405" y="19493"/>
                          <a:pt x="12405" y="19493"/>
                        </a:cubicBezTo>
                        <a:cubicBezTo>
                          <a:pt x="12405" y="19493"/>
                          <a:pt x="13158" y="19117"/>
                          <a:pt x="13535" y="18865"/>
                        </a:cubicBezTo>
                        <a:cubicBezTo>
                          <a:pt x="14288" y="18237"/>
                          <a:pt x="15293" y="16730"/>
                          <a:pt x="14540" y="16228"/>
                        </a:cubicBezTo>
                        <a:cubicBezTo>
                          <a:pt x="13409" y="15349"/>
                          <a:pt x="7632" y="11330"/>
                          <a:pt x="7255" y="11204"/>
                        </a:cubicBezTo>
                        <a:cubicBezTo>
                          <a:pt x="6878" y="10953"/>
                          <a:pt x="5622" y="3543"/>
                          <a:pt x="5246" y="2161"/>
                        </a:cubicBezTo>
                        <a:cubicBezTo>
                          <a:pt x="4995" y="1533"/>
                          <a:pt x="4743" y="905"/>
                          <a:pt x="4115" y="528"/>
                        </a:cubicBezTo>
                        <a:cubicBezTo>
                          <a:pt x="2859" y="-476"/>
                          <a:pt x="1227" y="26"/>
                          <a:pt x="473" y="1408"/>
                        </a:cubicBezTo>
                        <a:cubicBezTo>
                          <a:pt x="222" y="1910"/>
                          <a:pt x="96" y="2287"/>
                          <a:pt x="96" y="2664"/>
                        </a:cubicBezTo>
                        <a:close/>
                      </a:path>
                    </a:pathLst>
                  </a:custGeom>
                  <a:solidFill>
                    <a:srgbClr val="FF8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3" name="Freeform: Shape 1482">
                    <a:extLst>
                      <a:ext uri="{FF2B5EF4-FFF2-40B4-BE49-F238E27FC236}">
                        <a16:creationId xmlns:a16="http://schemas.microsoft.com/office/drawing/2014/main" id="{9C3B3BDD-0757-496F-B526-36A89DE4C91F}"/>
                      </a:ext>
                    </a:extLst>
                  </p:cNvPr>
                  <p:cNvSpPr/>
                  <p:nvPr/>
                </p:nvSpPr>
                <p:spPr>
                  <a:xfrm>
                    <a:off x="3445948" y="1693287"/>
                    <a:ext cx="7187" cy="4038"/>
                  </a:xfrm>
                  <a:custGeom>
                    <a:avLst/>
                    <a:gdLst>
                      <a:gd name="connsiteX0" fmla="*/ 5400 w 7187"/>
                      <a:gd name="connsiteY0" fmla="*/ 1213 h 4038"/>
                      <a:gd name="connsiteX1" fmla="*/ 3893 w 7187"/>
                      <a:gd name="connsiteY1" fmla="*/ 710 h 4038"/>
                      <a:gd name="connsiteX2" fmla="*/ 4144 w 7187"/>
                      <a:gd name="connsiteY2" fmla="*/ 208 h 4038"/>
                      <a:gd name="connsiteX3" fmla="*/ 2261 w 7187"/>
                      <a:gd name="connsiteY3" fmla="*/ 83 h 4038"/>
                      <a:gd name="connsiteX4" fmla="*/ 1507 w 7187"/>
                      <a:gd name="connsiteY4" fmla="*/ 459 h 4038"/>
                      <a:gd name="connsiteX5" fmla="*/ 0 w 7187"/>
                      <a:gd name="connsiteY5" fmla="*/ 2218 h 4038"/>
                      <a:gd name="connsiteX6" fmla="*/ 2637 w 7187"/>
                      <a:gd name="connsiteY6" fmla="*/ 3850 h 4038"/>
                      <a:gd name="connsiteX7" fmla="*/ 4773 w 7187"/>
                      <a:gd name="connsiteY7" fmla="*/ 3850 h 4038"/>
                      <a:gd name="connsiteX8" fmla="*/ 6908 w 7187"/>
                      <a:gd name="connsiteY8" fmla="*/ 3097 h 4038"/>
                      <a:gd name="connsiteX9" fmla="*/ 5400 w 7187"/>
                      <a:gd name="connsiteY9" fmla="*/ 1213 h 4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87" h="4038">
                        <a:moveTo>
                          <a:pt x="5400" y="1213"/>
                        </a:moveTo>
                        <a:cubicBezTo>
                          <a:pt x="4898" y="1087"/>
                          <a:pt x="4396" y="962"/>
                          <a:pt x="3893" y="710"/>
                        </a:cubicBezTo>
                        <a:cubicBezTo>
                          <a:pt x="3893" y="585"/>
                          <a:pt x="4019" y="459"/>
                          <a:pt x="4144" y="208"/>
                        </a:cubicBezTo>
                        <a:cubicBezTo>
                          <a:pt x="3893" y="-43"/>
                          <a:pt x="2637" y="-43"/>
                          <a:pt x="2261" y="83"/>
                        </a:cubicBezTo>
                        <a:cubicBezTo>
                          <a:pt x="2010" y="83"/>
                          <a:pt x="1758" y="208"/>
                          <a:pt x="1507" y="459"/>
                        </a:cubicBezTo>
                        <a:lnTo>
                          <a:pt x="0" y="2218"/>
                        </a:lnTo>
                        <a:cubicBezTo>
                          <a:pt x="377" y="2971"/>
                          <a:pt x="1758" y="3599"/>
                          <a:pt x="2637" y="3850"/>
                        </a:cubicBezTo>
                        <a:cubicBezTo>
                          <a:pt x="3391" y="4102"/>
                          <a:pt x="4270" y="4102"/>
                          <a:pt x="4773" y="3850"/>
                        </a:cubicBezTo>
                        <a:cubicBezTo>
                          <a:pt x="4898" y="3850"/>
                          <a:pt x="6782" y="3348"/>
                          <a:pt x="6908" y="3097"/>
                        </a:cubicBezTo>
                        <a:cubicBezTo>
                          <a:pt x="7787" y="1966"/>
                          <a:pt x="6405" y="1590"/>
                          <a:pt x="5400" y="1213"/>
                        </a:cubicBezTo>
                        <a:close/>
                      </a:path>
                    </a:pathLst>
                  </a:custGeom>
                  <a:solidFill>
                    <a:srgbClr val="FFCC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84" name="Freeform: Shape 1483">
                  <a:extLst>
                    <a:ext uri="{FF2B5EF4-FFF2-40B4-BE49-F238E27FC236}">
                      <a16:creationId xmlns:a16="http://schemas.microsoft.com/office/drawing/2014/main" id="{B74FB43E-DDFE-4903-B641-2A246A31B3A7}"/>
                    </a:ext>
                  </a:extLst>
                </p:cNvPr>
                <p:cNvSpPr/>
                <p:nvPr/>
              </p:nvSpPr>
              <p:spPr>
                <a:xfrm>
                  <a:off x="3421708" y="1658329"/>
                  <a:ext cx="22356" cy="62295"/>
                </a:xfrm>
                <a:custGeom>
                  <a:avLst/>
                  <a:gdLst>
                    <a:gd name="connsiteX0" fmla="*/ 0 w 22356"/>
                    <a:gd name="connsiteY0" fmla="*/ 49359 h 62295"/>
                    <a:gd name="connsiteX1" fmla="*/ 22356 w 22356"/>
                    <a:gd name="connsiteY1" fmla="*/ 62295 h 62295"/>
                    <a:gd name="connsiteX2" fmla="*/ 22356 w 22356"/>
                    <a:gd name="connsiteY2" fmla="*/ 34162 h 62295"/>
                    <a:gd name="connsiteX3" fmla="*/ 3894 w 22356"/>
                    <a:gd name="connsiteY3" fmla="*/ 2261 h 62295"/>
                    <a:gd name="connsiteX4" fmla="*/ 0 w 22356"/>
                    <a:gd name="connsiteY4" fmla="*/ 0 h 62295"/>
                    <a:gd name="connsiteX5" fmla="*/ 0 w 22356"/>
                    <a:gd name="connsiteY5" fmla="*/ 49359 h 6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56" h="62295">
                      <a:moveTo>
                        <a:pt x="0" y="49359"/>
                      </a:moveTo>
                      <a:lnTo>
                        <a:pt x="22356" y="62295"/>
                      </a:lnTo>
                      <a:lnTo>
                        <a:pt x="22356" y="34162"/>
                      </a:lnTo>
                      <a:cubicBezTo>
                        <a:pt x="22356" y="22481"/>
                        <a:pt x="14067" y="8164"/>
                        <a:pt x="3894" y="2261"/>
                      </a:cubicBezTo>
                      <a:lnTo>
                        <a:pt x="0" y="0"/>
                      </a:lnTo>
                      <a:lnTo>
                        <a:pt x="0" y="49359"/>
                      </a:lnTo>
                      <a:close/>
                    </a:path>
                  </a:pathLst>
                </a:custGeom>
                <a:solidFill>
                  <a:srgbClr val="01B2E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85" name="Graphic 4">
                  <a:extLst>
                    <a:ext uri="{FF2B5EF4-FFF2-40B4-BE49-F238E27FC236}">
                      <a16:creationId xmlns:a16="http://schemas.microsoft.com/office/drawing/2014/main" id="{84FB7ED1-A2DF-40A1-A747-5F7CF3F14040}"/>
                    </a:ext>
                  </a:extLst>
                </p:cNvPr>
                <p:cNvGrpSpPr/>
                <p:nvPr/>
              </p:nvGrpSpPr>
              <p:grpSpPr>
                <a:xfrm>
                  <a:off x="3446784" y="1691392"/>
                  <a:ext cx="11680" cy="9827"/>
                  <a:chOff x="3446784" y="1691392"/>
                  <a:chExt cx="11680" cy="9827"/>
                </a:xfrm>
                <a:solidFill>
                  <a:schemeClr val="accent1"/>
                </a:solidFill>
              </p:grpSpPr>
              <p:sp>
                <p:nvSpPr>
                  <p:cNvPr id="1486" name="Freeform: Shape 1485">
                    <a:extLst>
                      <a:ext uri="{FF2B5EF4-FFF2-40B4-BE49-F238E27FC236}">
                        <a16:creationId xmlns:a16="http://schemas.microsoft.com/office/drawing/2014/main" id="{60473710-0BCE-48AE-9857-73C89DE0DC26}"/>
                      </a:ext>
                    </a:extLst>
                  </p:cNvPr>
                  <p:cNvSpPr/>
                  <p:nvPr/>
                </p:nvSpPr>
                <p:spPr>
                  <a:xfrm>
                    <a:off x="3447505" y="1693318"/>
                    <a:ext cx="9295" cy="6080"/>
                  </a:xfrm>
                  <a:custGeom>
                    <a:avLst/>
                    <a:gdLst>
                      <a:gd name="connsiteX0" fmla="*/ 75 w 9295"/>
                      <a:gd name="connsiteY0" fmla="*/ 5955 h 6080"/>
                      <a:gd name="connsiteX1" fmla="*/ 75 w 9295"/>
                      <a:gd name="connsiteY1" fmla="*/ 5955 h 6080"/>
                      <a:gd name="connsiteX2" fmla="*/ 452 w 9295"/>
                      <a:gd name="connsiteY2" fmla="*/ 6081 h 6080"/>
                      <a:gd name="connsiteX3" fmla="*/ 703 w 9295"/>
                      <a:gd name="connsiteY3" fmla="*/ 6081 h 6080"/>
                      <a:gd name="connsiteX4" fmla="*/ 1206 w 9295"/>
                      <a:gd name="connsiteY4" fmla="*/ 5704 h 6080"/>
                      <a:gd name="connsiteX5" fmla="*/ 1708 w 9295"/>
                      <a:gd name="connsiteY5" fmla="*/ 5453 h 6080"/>
                      <a:gd name="connsiteX6" fmla="*/ 4596 w 9295"/>
                      <a:gd name="connsiteY6" fmla="*/ 3569 h 6080"/>
                      <a:gd name="connsiteX7" fmla="*/ 4596 w 9295"/>
                      <a:gd name="connsiteY7" fmla="*/ 3569 h 6080"/>
                      <a:gd name="connsiteX8" fmla="*/ 5350 w 9295"/>
                      <a:gd name="connsiteY8" fmla="*/ 3066 h 6080"/>
                      <a:gd name="connsiteX9" fmla="*/ 7987 w 9295"/>
                      <a:gd name="connsiteY9" fmla="*/ 1434 h 6080"/>
                      <a:gd name="connsiteX10" fmla="*/ 8741 w 9295"/>
                      <a:gd name="connsiteY10" fmla="*/ 931 h 6080"/>
                      <a:gd name="connsiteX11" fmla="*/ 9118 w 9295"/>
                      <a:gd name="connsiteY11" fmla="*/ 680 h 6080"/>
                      <a:gd name="connsiteX12" fmla="*/ 9243 w 9295"/>
                      <a:gd name="connsiteY12" fmla="*/ 178 h 6080"/>
                      <a:gd name="connsiteX13" fmla="*/ 8741 w 9295"/>
                      <a:gd name="connsiteY13" fmla="*/ 52 h 6080"/>
                      <a:gd name="connsiteX14" fmla="*/ 8490 w 9295"/>
                      <a:gd name="connsiteY14" fmla="*/ 178 h 6080"/>
                      <a:gd name="connsiteX15" fmla="*/ 8113 w 9295"/>
                      <a:gd name="connsiteY15" fmla="*/ 429 h 6080"/>
                      <a:gd name="connsiteX16" fmla="*/ 4722 w 9295"/>
                      <a:gd name="connsiteY16" fmla="*/ 2564 h 6080"/>
                      <a:gd name="connsiteX17" fmla="*/ 4220 w 9295"/>
                      <a:gd name="connsiteY17" fmla="*/ 2815 h 6080"/>
                      <a:gd name="connsiteX18" fmla="*/ 1959 w 9295"/>
                      <a:gd name="connsiteY18" fmla="*/ 4322 h 6080"/>
                      <a:gd name="connsiteX19" fmla="*/ 1206 w 9295"/>
                      <a:gd name="connsiteY19" fmla="*/ 4825 h 6080"/>
                      <a:gd name="connsiteX20" fmla="*/ 452 w 9295"/>
                      <a:gd name="connsiteY20" fmla="*/ 5327 h 6080"/>
                      <a:gd name="connsiteX21" fmla="*/ 326 w 9295"/>
                      <a:gd name="connsiteY21" fmla="*/ 5453 h 6080"/>
                      <a:gd name="connsiteX22" fmla="*/ 326 w 9295"/>
                      <a:gd name="connsiteY22" fmla="*/ 5453 h 6080"/>
                      <a:gd name="connsiteX23" fmla="*/ 75 w 9295"/>
                      <a:gd name="connsiteY23" fmla="*/ 5955 h 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295" h="6080">
                        <a:moveTo>
                          <a:pt x="75" y="5955"/>
                        </a:moveTo>
                        <a:cubicBezTo>
                          <a:pt x="75" y="5955"/>
                          <a:pt x="75" y="5955"/>
                          <a:pt x="75" y="5955"/>
                        </a:cubicBezTo>
                        <a:cubicBezTo>
                          <a:pt x="201" y="6081"/>
                          <a:pt x="326" y="6081"/>
                          <a:pt x="452" y="6081"/>
                        </a:cubicBezTo>
                        <a:cubicBezTo>
                          <a:pt x="577" y="6081"/>
                          <a:pt x="577" y="6081"/>
                          <a:pt x="703" y="6081"/>
                        </a:cubicBezTo>
                        <a:lnTo>
                          <a:pt x="1206" y="5704"/>
                        </a:lnTo>
                        <a:lnTo>
                          <a:pt x="1708" y="5453"/>
                        </a:lnTo>
                        <a:lnTo>
                          <a:pt x="4596" y="3569"/>
                        </a:lnTo>
                        <a:lnTo>
                          <a:pt x="4596" y="3569"/>
                        </a:lnTo>
                        <a:lnTo>
                          <a:pt x="5350" y="3066"/>
                        </a:lnTo>
                        <a:lnTo>
                          <a:pt x="7987" y="1434"/>
                        </a:lnTo>
                        <a:lnTo>
                          <a:pt x="8741" y="931"/>
                        </a:lnTo>
                        <a:lnTo>
                          <a:pt x="9118" y="680"/>
                        </a:lnTo>
                        <a:cubicBezTo>
                          <a:pt x="9243" y="554"/>
                          <a:pt x="9369" y="303"/>
                          <a:pt x="9243" y="178"/>
                        </a:cubicBezTo>
                        <a:cubicBezTo>
                          <a:pt x="9118" y="52"/>
                          <a:pt x="8867" y="-74"/>
                          <a:pt x="8741" y="52"/>
                        </a:cubicBezTo>
                        <a:lnTo>
                          <a:pt x="8490" y="178"/>
                        </a:lnTo>
                        <a:lnTo>
                          <a:pt x="8113" y="429"/>
                        </a:lnTo>
                        <a:lnTo>
                          <a:pt x="4722" y="2564"/>
                        </a:lnTo>
                        <a:lnTo>
                          <a:pt x="4220" y="2815"/>
                        </a:lnTo>
                        <a:lnTo>
                          <a:pt x="1959" y="4322"/>
                        </a:lnTo>
                        <a:lnTo>
                          <a:pt x="1206" y="4825"/>
                        </a:lnTo>
                        <a:lnTo>
                          <a:pt x="452" y="5327"/>
                        </a:lnTo>
                        <a:cubicBezTo>
                          <a:pt x="326" y="5327"/>
                          <a:pt x="326" y="5453"/>
                          <a:pt x="326" y="5453"/>
                        </a:cubicBezTo>
                        <a:lnTo>
                          <a:pt x="326" y="5453"/>
                        </a:lnTo>
                        <a:cubicBezTo>
                          <a:pt x="-51" y="5704"/>
                          <a:pt x="-51" y="5829"/>
                          <a:pt x="75" y="5955"/>
                        </a:cubicBezTo>
                        <a:close/>
                      </a:path>
                    </a:pathLst>
                  </a:custGeom>
                  <a:solidFill>
                    <a:srgbClr val="060C1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7" name="Freeform: Shape 1486">
                    <a:extLst>
                      <a:ext uri="{FF2B5EF4-FFF2-40B4-BE49-F238E27FC236}">
                        <a16:creationId xmlns:a16="http://schemas.microsoft.com/office/drawing/2014/main" id="{6EA22441-F777-4264-AB8B-AE168FCF2D0E}"/>
                      </a:ext>
                    </a:extLst>
                  </p:cNvPr>
                  <p:cNvSpPr/>
                  <p:nvPr/>
                </p:nvSpPr>
                <p:spPr>
                  <a:xfrm>
                    <a:off x="3446784" y="1691392"/>
                    <a:ext cx="10183" cy="9827"/>
                  </a:xfrm>
                  <a:custGeom>
                    <a:avLst/>
                    <a:gdLst>
                      <a:gd name="connsiteX0" fmla="*/ 1927 w 10183"/>
                      <a:gd name="connsiteY0" fmla="*/ 9639 h 9827"/>
                      <a:gd name="connsiteX1" fmla="*/ 1927 w 10183"/>
                      <a:gd name="connsiteY1" fmla="*/ 9639 h 9827"/>
                      <a:gd name="connsiteX2" fmla="*/ 4062 w 10183"/>
                      <a:gd name="connsiteY2" fmla="*/ 9639 h 9827"/>
                      <a:gd name="connsiteX3" fmla="*/ 7830 w 10183"/>
                      <a:gd name="connsiteY3" fmla="*/ 7504 h 9827"/>
                      <a:gd name="connsiteX4" fmla="*/ 8332 w 10183"/>
                      <a:gd name="connsiteY4" fmla="*/ 6876 h 9827"/>
                      <a:gd name="connsiteX5" fmla="*/ 9965 w 10183"/>
                      <a:gd name="connsiteY5" fmla="*/ 4113 h 9827"/>
                      <a:gd name="connsiteX6" fmla="*/ 8961 w 10183"/>
                      <a:gd name="connsiteY6" fmla="*/ 471 h 9827"/>
                      <a:gd name="connsiteX7" fmla="*/ 8207 w 10183"/>
                      <a:gd name="connsiteY7" fmla="*/ 94 h 9827"/>
                      <a:gd name="connsiteX8" fmla="*/ 6072 w 10183"/>
                      <a:gd name="connsiteY8" fmla="*/ 94 h 9827"/>
                      <a:gd name="connsiteX9" fmla="*/ 169 w 10183"/>
                      <a:gd name="connsiteY9" fmla="*/ 5620 h 9827"/>
                      <a:gd name="connsiteX10" fmla="*/ 1927 w 10183"/>
                      <a:gd name="connsiteY10" fmla="*/ 9639 h 9827"/>
                      <a:gd name="connsiteX11" fmla="*/ 1802 w 10183"/>
                      <a:gd name="connsiteY11" fmla="*/ 7630 h 9827"/>
                      <a:gd name="connsiteX12" fmla="*/ 1551 w 10183"/>
                      <a:gd name="connsiteY12" fmla="*/ 6876 h 9827"/>
                      <a:gd name="connsiteX13" fmla="*/ 1676 w 10183"/>
                      <a:gd name="connsiteY13" fmla="*/ 5997 h 9827"/>
                      <a:gd name="connsiteX14" fmla="*/ 6449 w 10183"/>
                      <a:gd name="connsiteY14" fmla="*/ 1601 h 9827"/>
                      <a:gd name="connsiteX15" fmla="*/ 7705 w 10183"/>
                      <a:gd name="connsiteY15" fmla="*/ 1601 h 9827"/>
                      <a:gd name="connsiteX16" fmla="*/ 8207 w 10183"/>
                      <a:gd name="connsiteY16" fmla="*/ 1852 h 9827"/>
                      <a:gd name="connsiteX17" fmla="*/ 8458 w 10183"/>
                      <a:gd name="connsiteY17" fmla="*/ 2480 h 9827"/>
                      <a:gd name="connsiteX18" fmla="*/ 8458 w 10183"/>
                      <a:gd name="connsiteY18" fmla="*/ 3485 h 9827"/>
                      <a:gd name="connsiteX19" fmla="*/ 8458 w 10183"/>
                      <a:gd name="connsiteY19" fmla="*/ 3736 h 9827"/>
                      <a:gd name="connsiteX20" fmla="*/ 7077 w 10183"/>
                      <a:gd name="connsiteY20" fmla="*/ 5997 h 9827"/>
                      <a:gd name="connsiteX21" fmla="*/ 6449 w 10183"/>
                      <a:gd name="connsiteY21" fmla="*/ 6625 h 9827"/>
                      <a:gd name="connsiteX22" fmla="*/ 3686 w 10183"/>
                      <a:gd name="connsiteY22" fmla="*/ 8258 h 9827"/>
                      <a:gd name="connsiteX23" fmla="*/ 2555 w 10183"/>
                      <a:gd name="connsiteY23" fmla="*/ 8258 h 9827"/>
                      <a:gd name="connsiteX24" fmla="*/ 2430 w 10183"/>
                      <a:gd name="connsiteY24" fmla="*/ 8258 h 9827"/>
                      <a:gd name="connsiteX25" fmla="*/ 1802 w 10183"/>
                      <a:gd name="connsiteY25" fmla="*/ 7630 h 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183" h="9827">
                        <a:moveTo>
                          <a:pt x="1927" y="9639"/>
                        </a:moveTo>
                        <a:cubicBezTo>
                          <a:pt x="1927" y="9639"/>
                          <a:pt x="1927" y="9639"/>
                          <a:pt x="1927" y="9639"/>
                        </a:cubicBezTo>
                        <a:cubicBezTo>
                          <a:pt x="2681" y="9891"/>
                          <a:pt x="3309" y="9891"/>
                          <a:pt x="4062" y="9639"/>
                        </a:cubicBezTo>
                        <a:cubicBezTo>
                          <a:pt x="5444" y="9388"/>
                          <a:pt x="6700" y="8509"/>
                          <a:pt x="7830" y="7504"/>
                        </a:cubicBezTo>
                        <a:cubicBezTo>
                          <a:pt x="7956" y="7379"/>
                          <a:pt x="8207" y="7128"/>
                          <a:pt x="8332" y="6876"/>
                        </a:cubicBezTo>
                        <a:cubicBezTo>
                          <a:pt x="9086" y="5997"/>
                          <a:pt x="9589" y="5118"/>
                          <a:pt x="9965" y="4113"/>
                        </a:cubicBezTo>
                        <a:cubicBezTo>
                          <a:pt x="10468" y="2480"/>
                          <a:pt x="10091" y="1099"/>
                          <a:pt x="8961" y="471"/>
                        </a:cubicBezTo>
                        <a:cubicBezTo>
                          <a:pt x="8709" y="345"/>
                          <a:pt x="8458" y="220"/>
                          <a:pt x="8207" y="94"/>
                        </a:cubicBezTo>
                        <a:cubicBezTo>
                          <a:pt x="7579" y="-31"/>
                          <a:pt x="6825" y="-31"/>
                          <a:pt x="6072" y="94"/>
                        </a:cubicBezTo>
                        <a:cubicBezTo>
                          <a:pt x="3560" y="722"/>
                          <a:pt x="922" y="3108"/>
                          <a:pt x="169" y="5620"/>
                        </a:cubicBezTo>
                        <a:cubicBezTo>
                          <a:pt x="-334" y="7504"/>
                          <a:pt x="295" y="9137"/>
                          <a:pt x="1927" y="9639"/>
                        </a:cubicBezTo>
                        <a:close/>
                        <a:moveTo>
                          <a:pt x="1802" y="7630"/>
                        </a:moveTo>
                        <a:cubicBezTo>
                          <a:pt x="1676" y="7379"/>
                          <a:pt x="1551" y="7128"/>
                          <a:pt x="1551" y="6876"/>
                        </a:cubicBezTo>
                        <a:cubicBezTo>
                          <a:pt x="1551" y="6499"/>
                          <a:pt x="1676" y="6248"/>
                          <a:pt x="1676" y="5997"/>
                        </a:cubicBezTo>
                        <a:cubicBezTo>
                          <a:pt x="2304" y="3988"/>
                          <a:pt x="4439" y="1978"/>
                          <a:pt x="6449" y="1601"/>
                        </a:cubicBezTo>
                        <a:cubicBezTo>
                          <a:pt x="6951" y="1476"/>
                          <a:pt x="7328" y="1476"/>
                          <a:pt x="7705" y="1601"/>
                        </a:cubicBezTo>
                        <a:cubicBezTo>
                          <a:pt x="7956" y="1601"/>
                          <a:pt x="8081" y="1727"/>
                          <a:pt x="8207" y="1852"/>
                        </a:cubicBezTo>
                        <a:cubicBezTo>
                          <a:pt x="8332" y="1978"/>
                          <a:pt x="8458" y="2229"/>
                          <a:pt x="8458" y="2480"/>
                        </a:cubicBezTo>
                        <a:cubicBezTo>
                          <a:pt x="8584" y="2857"/>
                          <a:pt x="8458" y="3234"/>
                          <a:pt x="8458" y="3485"/>
                        </a:cubicBezTo>
                        <a:cubicBezTo>
                          <a:pt x="8458" y="3611"/>
                          <a:pt x="8458" y="3611"/>
                          <a:pt x="8458" y="3736"/>
                        </a:cubicBezTo>
                        <a:cubicBezTo>
                          <a:pt x="8207" y="4490"/>
                          <a:pt x="7705" y="5369"/>
                          <a:pt x="7077" y="5997"/>
                        </a:cubicBezTo>
                        <a:cubicBezTo>
                          <a:pt x="6951" y="6248"/>
                          <a:pt x="6700" y="6374"/>
                          <a:pt x="6449" y="6625"/>
                        </a:cubicBezTo>
                        <a:cubicBezTo>
                          <a:pt x="5569" y="7379"/>
                          <a:pt x="4565" y="8007"/>
                          <a:pt x="3686" y="8258"/>
                        </a:cubicBezTo>
                        <a:cubicBezTo>
                          <a:pt x="3309" y="8383"/>
                          <a:pt x="2932" y="8383"/>
                          <a:pt x="2555" y="8258"/>
                        </a:cubicBezTo>
                        <a:cubicBezTo>
                          <a:pt x="2430" y="8258"/>
                          <a:pt x="2430" y="8258"/>
                          <a:pt x="2430" y="8258"/>
                        </a:cubicBezTo>
                        <a:cubicBezTo>
                          <a:pt x="2178" y="8007"/>
                          <a:pt x="1927" y="7881"/>
                          <a:pt x="1802" y="7630"/>
                        </a:cubicBezTo>
                        <a:close/>
                      </a:path>
                    </a:pathLst>
                  </a:custGeom>
                  <a:solidFill>
                    <a:srgbClr val="6769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8" name="Freeform: Shape 1487">
                    <a:extLst>
                      <a:ext uri="{FF2B5EF4-FFF2-40B4-BE49-F238E27FC236}">
                        <a16:creationId xmlns:a16="http://schemas.microsoft.com/office/drawing/2014/main" id="{E82C5891-FA25-45E4-82D6-FAE7F93C82B7}"/>
                      </a:ext>
                    </a:extLst>
                  </p:cNvPr>
                  <p:cNvSpPr/>
                  <p:nvPr/>
                </p:nvSpPr>
                <p:spPr>
                  <a:xfrm>
                    <a:off x="3447455" y="1691549"/>
                    <a:ext cx="9638" cy="9545"/>
                  </a:xfrm>
                  <a:custGeom>
                    <a:avLst/>
                    <a:gdLst>
                      <a:gd name="connsiteX0" fmla="*/ 0 w 9638"/>
                      <a:gd name="connsiteY0" fmla="*/ 7347 h 9545"/>
                      <a:gd name="connsiteX1" fmla="*/ 0 w 9638"/>
                      <a:gd name="connsiteY1" fmla="*/ 7347 h 9545"/>
                      <a:gd name="connsiteX2" fmla="*/ 126 w 9638"/>
                      <a:gd name="connsiteY2" fmla="*/ 7724 h 9545"/>
                      <a:gd name="connsiteX3" fmla="*/ 1256 w 9638"/>
                      <a:gd name="connsiteY3" fmla="*/ 9357 h 9545"/>
                      <a:gd name="connsiteX4" fmla="*/ 1381 w 9638"/>
                      <a:gd name="connsiteY4" fmla="*/ 9357 h 9545"/>
                      <a:gd name="connsiteX5" fmla="*/ 3517 w 9638"/>
                      <a:gd name="connsiteY5" fmla="*/ 9357 h 9545"/>
                      <a:gd name="connsiteX6" fmla="*/ 7284 w 9638"/>
                      <a:gd name="connsiteY6" fmla="*/ 7222 h 9545"/>
                      <a:gd name="connsiteX7" fmla="*/ 7913 w 9638"/>
                      <a:gd name="connsiteY7" fmla="*/ 7598 h 9545"/>
                      <a:gd name="connsiteX8" fmla="*/ 8415 w 9638"/>
                      <a:gd name="connsiteY8" fmla="*/ 6971 h 9545"/>
                      <a:gd name="connsiteX9" fmla="*/ 7787 w 9638"/>
                      <a:gd name="connsiteY9" fmla="*/ 6594 h 9545"/>
                      <a:gd name="connsiteX10" fmla="*/ 9420 w 9638"/>
                      <a:gd name="connsiteY10" fmla="*/ 3831 h 9545"/>
                      <a:gd name="connsiteX11" fmla="*/ 8415 w 9638"/>
                      <a:gd name="connsiteY11" fmla="*/ 188 h 9545"/>
                      <a:gd name="connsiteX12" fmla="*/ 8289 w 9638"/>
                      <a:gd name="connsiteY12" fmla="*/ 188 h 9545"/>
                      <a:gd name="connsiteX13" fmla="*/ 6154 w 9638"/>
                      <a:gd name="connsiteY13" fmla="*/ 188 h 9545"/>
                      <a:gd name="connsiteX14" fmla="*/ 251 w 9638"/>
                      <a:gd name="connsiteY14" fmla="*/ 5715 h 9545"/>
                      <a:gd name="connsiteX15" fmla="*/ 0 w 9638"/>
                      <a:gd name="connsiteY15" fmla="*/ 7347 h 9545"/>
                      <a:gd name="connsiteX16" fmla="*/ 879 w 9638"/>
                      <a:gd name="connsiteY16" fmla="*/ 6719 h 9545"/>
                      <a:gd name="connsiteX17" fmla="*/ 1005 w 9638"/>
                      <a:gd name="connsiteY17" fmla="*/ 5840 h 9545"/>
                      <a:gd name="connsiteX18" fmla="*/ 5777 w 9638"/>
                      <a:gd name="connsiteY18" fmla="*/ 1444 h 9545"/>
                      <a:gd name="connsiteX19" fmla="*/ 7033 w 9638"/>
                      <a:gd name="connsiteY19" fmla="*/ 1444 h 9545"/>
                      <a:gd name="connsiteX20" fmla="*/ 7536 w 9638"/>
                      <a:gd name="connsiteY20" fmla="*/ 1696 h 9545"/>
                      <a:gd name="connsiteX21" fmla="*/ 7661 w 9638"/>
                      <a:gd name="connsiteY21" fmla="*/ 1696 h 9545"/>
                      <a:gd name="connsiteX22" fmla="*/ 8164 w 9638"/>
                      <a:gd name="connsiteY22" fmla="*/ 1947 h 9545"/>
                      <a:gd name="connsiteX23" fmla="*/ 8415 w 9638"/>
                      <a:gd name="connsiteY23" fmla="*/ 2700 h 9545"/>
                      <a:gd name="connsiteX24" fmla="*/ 8289 w 9638"/>
                      <a:gd name="connsiteY24" fmla="*/ 3705 h 9545"/>
                      <a:gd name="connsiteX25" fmla="*/ 6782 w 9638"/>
                      <a:gd name="connsiteY25" fmla="*/ 6091 h 9545"/>
                      <a:gd name="connsiteX26" fmla="*/ 6154 w 9638"/>
                      <a:gd name="connsiteY26" fmla="*/ 6594 h 9545"/>
                      <a:gd name="connsiteX27" fmla="*/ 3517 w 9638"/>
                      <a:gd name="connsiteY27" fmla="*/ 8101 h 9545"/>
                      <a:gd name="connsiteX28" fmla="*/ 2261 w 9638"/>
                      <a:gd name="connsiteY28" fmla="*/ 8101 h 9545"/>
                      <a:gd name="connsiteX29" fmla="*/ 1758 w 9638"/>
                      <a:gd name="connsiteY29" fmla="*/ 7850 h 9545"/>
                      <a:gd name="connsiteX30" fmla="*/ 1633 w 9638"/>
                      <a:gd name="connsiteY30" fmla="*/ 7850 h 9545"/>
                      <a:gd name="connsiteX31" fmla="*/ 1005 w 9638"/>
                      <a:gd name="connsiteY31" fmla="*/ 7473 h 9545"/>
                      <a:gd name="connsiteX32" fmla="*/ 879 w 9638"/>
                      <a:gd name="connsiteY32" fmla="*/ 6719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38" h="9545">
                        <a:moveTo>
                          <a:pt x="0" y="7347"/>
                        </a:moveTo>
                        <a:lnTo>
                          <a:pt x="0" y="7347"/>
                        </a:lnTo>
                        <a:cubicBezTo>
                          <a:pt x="0" y="7473"/>
                          <a:pt x="0" y="7598"/>
                          <a:pt x="126" y="7724"/>
                        </a:cubicBezTo>
                        <a:cubicBezTo>
                          <a:pt x="251" y="8478"/>
                          <a:pt x="628" y="8980"/>
                          <a:pt x="1256" y="9357"/>
                        </a:cubicBezTo>
                        <a:cubicBezTo>
                          <a:pt x="1256" y="9357"/>
                          <a:pt x="1256" y="9357"/>
                          <a:pt x="1381" y="9357"/>
                        </a:cubicBezTo>
                        <a:cubicBezTo>
                          <a:pt x="2010" y="9608"/>
                          <a:pt x="2763" y="9608"/>
                          <a:pt x="3517" y="9357"/>
                        </a:cubicBezTo>
                        <a:cubicBezTo>
                          <a:pt x="4898" y="9106"/>
                          <a:pt x="6154" y="8226"/>
                          <a:pt x="7284" y="7222"/>
                        </a:cubicBezTo>
                        <a:lnTo>
                          <a:pt x="7913" y="7598"/>
                        </a:lnTo>
                        <a:cubicBezTo>
                          <a:pt x="8164" y="7473"/>
                          <a:pt x="8289" y="7222"/>
                          <a:pt x="8415" y="6971"/>
                        </a:cubicBezTo>
                        <a:lnTo>
                          <a:pt x="7787" y="6594"/>
                        </a:lnTo>
                        <a:cubicBezTo>
                          <a:pt x="8540" y="5715"/>
                          <a:pt x="9043" y="4835"/>
                          <a:pt x="9420" y="3831"/>
                        </a:cubicBezTo>
                        <a:cubicBezTo>
                          <a:pt x="9922" y="2198"/>
                          <a:pt x="9545" y="816"/>
                          <a:pt x="8415" y="188"/>
                        </a:cubicBezTo>
                        <a:cubicBezTo>
                          <a:pt x="8415" y="188"/>
                          <a:pt x="8289" y="188"/>
                          <a:pt x="8289" y="188"/>
                        </a:cubicBezTo>
                        <a:cubicBezTo>
                          <a:pt x="7661" y="-63"/>
                          <a:pt x="6908" y="-63"/>
                          <a:pt x="6154" y="188"/>
                        </a:cubicBezTo>
                        <a:cubicBezTo>
                          <a:pt x="3642" y="816"/>
                          <a:pt x="1005" y="3203"/>
                          <a:pt x="251" y="5715"/>
                        </a:cubicBezTo>
                        <a:cubicBezTo>
                          <a:pt x="0" y="6343"/>
                          <a:pt x="0" y="6845"/>
                          <a:pt x="0" y="7347"/>
                        </a:cubicBezTo>
                        <a:close/>
                        <a:moveTo>
                          <a:pt x="879" y="6719"/>
                        </a:moveTo>
                        <a:cubicBezTo>
                          <a:pt x="879" y="6343"/>
                          <a:pt x="1005" y="6091"/>
                          <a:pt x="1005" y="5840"/>
                        </a:cubicBezTo>
                        <a:cubicBezTo>
                          <a:pt x="1633" y="3831"/>
                          <a:pt x="3768" y="1821"/>
                          <a:pt x="5777" y="1444"/>
                        </a:cubicBezTo>
                        <a:cubicBezTo>
                          <a:pt x="6280" y="1319"/>
                          <a:pt x="6657" y="1319"/>
                          <a:pt x="7033" y="1444"/>
                        </a:cubicBezTo>
                        <a:cubicBezTo>
                          <a:pt x="7284" y="1444"/>
                          <a:pt x="7410" y="1570"/>
                          <a:pt x="7536" y="1696"/>
                        </a:cubicBezTo>
                        <a:cubicBezTo>
                          <a:pt x="7661" y="1696"/>
                          <a:pt x="7661" y="1696"/>
                          <a:pt x="7661" y="1696"/>
                        </a:cubicBezTo>
                        <a:cubicBezTo>
                          <a:pt x="7913" y="1821"/>
                          <a:pt x="8038" y="1821"/>
                          <a:pt x="8164" y="1947"/>
                        </a:cubicBezTo>
                        <a:cubicBezTo>
                          <a:pt x="8415" y="2198"/>
                          <a:pt x="8415" y="2449"/>
                          <a:pt x="8415" y="2700"/>
                        </a:cubicBezTo>
                        <a:cubicBezTo>
                          <a:pt x="8415" y="3077"/>
                          <a:pt x="8415" y="3454"/>
                          <a:pt x="8289" y="3705"/>
                        </a:cubicBezTo>
                        <a:cubicBezTo>
                          <a:pt x="8038" y="4584"/>
                          <a:pt x="7536" y="5338"/>
                          <a:pt x="6782" y="6091"/>
                        </a:cubicBezTo>
                        <a:cubicBezTo>
                          <a:pt x="6657" y="6343"/>
                          <a:pt x="6405" y="6468"/>
                          <a:pt x="6154" y="6594"/>
                        </a:cubicBezTo>
                        <a:cubicBezTo>
                          <a:pt x="5400" y="7347"/>
                          <a:pt x="4396" y="7850"/>
                          <a:pt x="3517" y="8101"/>
                        </a:cubicBezTo>
                        <a:cubicBezTo>
                          <a:pt x="3014" y="8226"/>
                          <a:pt x="2512" y="8226"/>
                          <a:pt x="2261" y="8101"/>
                        </a:cubicBezTo>
                        <a:cubicBezTo>
                          <a:pt x="2010" y="8101"/>
                          <a:pt x="1884" y="7975"/>
                          <a:pt x="1758" y="7850"/>
                        </a:cubicBezTo>
                        <a:cubicBezTo>
                          <a:pt x="1633" y="7850"/>
                          <a:pt x="1633" y="7850"/>
                          <a:pt x="1633" y="7850"/>
                        </a:cubicBezTo>
                        <a:cubicBezTo>
                          <a:pt x="1381" y="7724"/>
                          <a:pt x="1130" y="7598"/>
                          <a:pt x="1005" y="7473"/>
                        </a:cubicBezTo>
                        <a:cubicBezTo>
                          <a:pt x="1005" y="7222"/>
                          <a:pt x="879" y="6971"/>
                          <a:pt x="879" y="6719"/>
                        </a:cubicBezTo>
                        <a:close/>
                      </a:path>
                    </a:pathLst>
                  </a:custGeom>
                  <a:solidFill>
                    <a:srgbClr val="42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9" name="Freeform: Shape 1488">
                    <a:extLst>
                      <a:ext uri="{FF2B5EF4-FFF2-40B4-BE49-F238E27FC236}">
                        <a16:creationId xmlns:a16="http://schemas.microsoft.com/office/drawing/2014/main" id="{4C3B8F39-4BBA-4E83-B037-64A964690903}"/>
                      </a:ext>
                    </a:extLst>
                  </p:cNvPr>
                  <p:cNvSpPr/>
                  <p:nvPr/>
                </p:nvSpPr>
                <p:spPr>
                  <a:xfrm>
                    <a:off x="3451474" y="1696007"/>
                    <a:ext cx="6990" cy="5149"/>
                  </a:xfrm>
                  <a:custGeom>
                    <a:avLst/>
                    <a:gdLst>
                      <a:gd name="connsiteX0" fmla="*/ 0 w 6990"/>
                      <a:gd name="connsiteY0" fmla="*/ 251 h 5149"/>
                      <a:gd name="connsiteX1" fmla="*/ 125 w 6990"/>
                      <a:gd name="connsiteY1" fmla="*/ 628 h 5149"/>
                      <a:gd name="connsiteX2" fmla="*/ 377 w 6990"/>
                      <a:gd name="connsiteY2" fmla="*/ 879 h 5149"/>
                      <a:gd name="connsiteX3" fmla="*/ 377 w 6990"/>
                      <a:gd name="connsiteY3" fmla="*/ 879 h 5149"/>
                      <a:gd name="connsiteX4" fmla="*/ 1632 w 6990"/>
                      <a:gd name="connsiteY4" fmla="*/ 1884 h 5149"/>
                      <a:gd name="connsiteX5" fmla="*/ 2261 w 6990"/>
                      <a:gd name="connsiteY5" fmla="*/ 2261 h 5149"/>
                      <a:gd name="connsiteX6" fmla="*/ 3014 w 6990"/>
                      <a:gd name="connsiteY6" fmla="*/ 2763 h 5149"/>
                      <a:gd name="connsiteX7" fmla="*/ 3642 w 6990"/>
                      <a:gd name="connsiteY7" fmla="*/ 3140 h 5149"/>
                      <a:gd name="connsiteX8" fmla="*/ 6280 w 6990"/>
                      <a:gd name="connsiteY8" fmla="*/ 5024 h 5149"/>
                      <a:gd name="connsiteX9" fmla="*/ 6531 w 6990"/>
                      <a:gd name="connsiteY9" fmla="*/ 5149 h 5149"/>
                      <a:gd name="connsiteX10" fmla="*/ 6908 w 6990"/>
                      <a:gd name="connsiteY10" fmla="*/ 5024 h 5149"/>
                      <a:gd name="connsiteX11" fmla="*/ 6782 w 6990"/>
                      <a:gd name="connsiteY11" fmla="*/ 4521 h 5149"/>
                      <a:gd name="connsiteX12" fmla="*/ 4270 w 6990"/>
                      <a:gd name="connsiteY12" fmla="*/ 2637 h 5149"/>
                      <a:gd name="connsiteX13" fmla="*/ 3642 w 6990"/>
                      <a:gd name="connsiteY13" fmla="*/ 2261 h 5149"/>
                      <a:gd name="connsiteX14" fmla="*/ 2888 w 6990"/>
                      <a:gd name="connsiteY14" fmla="*/ 1758 h 5149"/>
                      <a:gd name="connsiteX15" fmla="*/ 2261 w 6990"/>
                      <a:gd name="connsiteY15" fmla="*/ 1382 h 5149"/>
                      <a:gd name="connsiteX16" fmla="*/ 1130 w 6990"/>
                      <a:gd name="connsiteY16" fmla="*/ 502 h 5149"/>
                      <a:gd name="connsiteX17" fmla="*/ 628 w 6990"/>
                      <a:gd name="connsiteY17" fmla="*/ 126 h 5149"/>
                      <a:gd name="connsiteX18" fmla="*/ 502 w 6990"/>
                      <a:gd name="connsiteY18" fmla="*/ 0 h 5149"/>
                      <a:gd name="connsiteX19" fmla="*/ 125 w 6990"/>
                      <a:gd name="connsiteY19" fmla="*/ 126 h 5149"/>
                      <a:gd name="connsiteX20" fmla="*/ 0 w 6990"/>
                      <a:gd name="connsiteY20" fmla="*/ 251 h 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90" h="5149">
                        <a:moveTo>
                          <a:pt x="0" y="251"/>
                        </a:moveTo>
                        <a:cubicBezTo>
                          <a:pt x="0" y="377"/>
                          <a:pt x="0" y="628"/>
                          <a:pt x="125" y="628"/>
                        </a:cubicBezTo>
                        <a:lnTo>
                          <a:pt x="377" y="879"/>
                        </a:lnTo>
                        <a:lnTo>
                          <a:pt x="377" y="879"/>
                        </a:lnTo>
                        <a:lnTo>
                          <a:pt x="1632" y="1884"/>
                        </a:lnTo>
                        <a:lnTo>
                          <a:pt x="2261" y="2261"/>
                        </a:lnTo>
                        <a:lnTo>
                          <a:pt x="3014" y="2763"/>
                        </a:lnTo>
                        <a:lnTo>
                          <a:pt x="3642" y="3140"/>
                        </a:lnTo>
                        <a:lnTo>
                          <a:pt x="6280" y="5024"/>
                        </a:lnTo>
                        <a:cubicBezTo>
                          <a:pt x="6405" y="5024"/>
                          <a:pt x="6405" y="5149"/>
                          <a:pt x="6531" y="5149"/>
                        </a:cubicBezTo>
                        <a:cubicBezTo>
                          <a:pt x="6657" y="5149"/>
                          <a:pt x="6782" y="5149"/>
                          <a:pt x="6908" y="5024"/>
                        </a:cubicBezTo>
                        <a:cubicBezTo>
                          <a:pt x="7033" y="4898"/>
                          <a:pt x="7033" y="4647"/>
                          <a:pt x="6782" y="4521"/>
                        </a:cubicBezTo>
                        <a:lnTo>
                          <a:pt x="4270" y="2637"/>
                        </a:lnTo>
                        <a:lnTo>
                          <a:pt x="3642" y="2261"/>
                        </a:lnTo>
                        <a:lnTo>
                          <a:pt x="2888" y="1758"/>
                        </a:lnTo>
                        <a:lnTo>
                          <a:pt x="2261" y="1382"/>
                        </a:lnTo>
                        <a:lnTo>
                          <a:pt x="1130" y="502"/>
                        </a:lnTo>
                        <a:lnTo>
                          <a:pt x="628" y="126"/>
                        </a:lnTo>
                        <a:cubicBezTo>
                          <a:pt x="628" y="126"/>
                          <a:pt x="502" y="126"/>
                          <a:pt x="502" y="0"/>
                        </a:cubicBezTo>
                        <a:cubicBezTo>
                          <a:pt x="377" y="0"/>
                          <a:pt x="251" y="0"/>
                          <a:pt x="125" y="126"/>
                        </a:cubicBezTo>
                        <a:cubicBezTo>
                          <a:pt x="0" y="126"/>
                          <a:pt x="0" y="251"/>
                          <a:pt x="0" y="251"/>
                        </a:cubicBezTo>
                        <a:close/>
                      </a:path>
                    </a:pathLst>
                  </a:custGeom>
                  <a:solidFill>
                    <a:srgbClr val="060C1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90" name="Freeform: Shape 1489">
                  <a:extLst>
                    <a:ext uri="{FF2B5EF4-FFF2-40B4-BE49-F238E27FC236}">
                      <a16:creationId xmlns:a16="http://schemas.microsoft.com/office/drawing/2014/main" id="{B2DCA640-9F4B-4FBD-983E-DBB75D6D44E4}"/>
                    </a:ext>
                  </a:extLst>
                </p:cNvPr>
                <p:cNvSpPr/>
                <p:nvPr/>
              </p:nvSpPr>
              <p:spPr>
                <a:xfrm>
                  <a:off x="3431127" y="1649914"/>
                  <a:ext cx="40190" cy="56015"/>
                </a:xfrm>
                <a:custGeom>
                  <a:avLst/>
                  <a:gdLst>
                    <a:gd name="connsiteX0" fmla="*/ 0 w 40190"/>
                    <a:gd name="connsiteY0" fmla="*/ 13690 h 56015"/>
                    <a:gd name="connsiteX1" fmla="*/ 7913 w 40190"/>
                    <a:gd name="connsiteY1" fmla="*/ 23737 h 56015"/>
                    <a:gd name="connsiteX2" fmla="*/ 12434 w 40190"/>
                    <a:gd name="connsiteY2" fmla="*/ 33534 h 56015"/>
                    <a:gd name="connsiteX3" fmla="*/ 14067 w 40190"/>
                    <a:gd name="connsiteY3" fmla="*/ 44335 h 56015"/>
                    <a:gd name="connsiteX4" fmla="*/ 13313 w 40190"/>
                    <a:gd name="connsiteY4" fmla="*/ 56015 h 56015"/>
                    <a:gd name="connsiteX5" fmla="*/ 40190 w 40190"/>
                    <a:gd name="connsiteY5" fmla="*/ 40693 h 56015"/>
                    <a:gd name="connsiteX6" fmla="*/ 40190 w 40190"/>
                    <a:gd name="connsiteY6" fmla="*/ 26124 h 56015"/>
                    <a:gd name="connsiteX7" fmla="*/ 38809 w 40190"/>
                    <a:gd name="connsiteY7" fmla="*/ 18588 h 56015"/>
                    <a:gd name="connsiteX8" fmla="*/ 35041 w 40190"/>
                    <a:gd name="connsiteY8" fmla="*/ 10424 h 56015"/>
                    <a:gd name="connsiteX9" fmla="*/ 30143 w 40190"/>
                    <a:gd name="connsiteY9" fmla="*/ 3140 h 56015"/>
                    <a:gd name="connsiteX10" fmla="*/ 26626 w 40190"/>
                    <a:gd name="connsiteY10" fmla="*/ 0 h 56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190" h="56015">
                      <a:moveTo>
                        <a:pt x="0" y="13690"/>
                      </a:moveTo>
                      <a:lnTo>
                        <a:pt x="7913" y="23737"/>
                      </a:lnTo>
                      <a:lnTo>
                        <a:pt x="12434" y="33534"/>
                      </a:lnTo>
                      <a:lnTo>
                        <a:pt x="14067" y="44335"/>
                      </a:lnTo>
                      <a:lnTo>
                        <a:pt x="13313" y="56015"/>
                      </a:lnTo>
                      <a:lnTo>
                        <a:pt x="40190" y="40693"/>
                      </a:lnTo>
                      <a:lnTo>
                        <a:pt x="40190" y="26124"/>
                      </a:lnTo>
                      <a:lnTo>
                        <a:pt x="38809" y="18588"/>
                      </a:lnTo>
                      <a:lnTo>
                        <a:pt x="35041" y="10424"/>
                      </a:lnTo>
                      <a:lnTo>
                        <a:pt x="30143" y="3140"/>
                      </a:lnTo>
                      <a:lnTo>
                        <a:pt x="26626" y="0"/>
                      </a:lnTo>
                      <a:close/>
                    </a:path>
                  </a:pathLst>
                </a:custGeom>
                <a:solidFill>
                  <a:srgbClr val="01B2E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1" name="Freeform: Shape 1490">
                  <a:extLst>
                    <a:ext uri="{FF2B5EF4-FFF2-40B4-BE49-F238E27FC236}">
                      <a16:creationId xmlns:a16="http://schemas.microsoft.com/office/drawing/2014/main" id="{BC566B7F-196C-4A5F-A4F1-6ACFBFC6AA97}"/>
                    </a:ext>
                  </a:extLst>
                </p:cNvPr>
                <p:cNvSpPr/>
                <p:nvPr/>
              </p:nvSpPr>
              <p:spPr>
                <a:xfrm>
                  <a:off x="3420075" y="1656502"/>
                  <a:ext cx="25495" cy="66758"/>
                </a:xfrm>
                <a:custGeom>
                  <a:avLst/>
                  <a:gdLst>
                    <a:gd name="connsiteX0" fmla="*/ 0 w 25495"/>
                    <a:gd name="connsiteY0" fmla="*/ 52064 h 66758"/>
                    <a:gd name="connsiteX1" fmla="*/ 25496 w 25495"/>
                    <a:gd name="connsiteY1" fmla="*/ 66759 h 66758"/>
                    <a:gd name="connsiteX2" fmla="*/ 25496 w 25495"/>
                    <a:gd name="connsiteY2" fmla="*/ 35863 h 66758"/>
                    <a:gd name="connsiteX3" fmla="*/ 6280 w 25495"/>
                    <a:gd name="connsiteY3" fmla="*/ 2580 h 66758"/>
                    <a:gd name="connsiteX4" fmla="*/ 2261 w 25495"/>
                    <a:gd name="connsiteY4" fmla="*/ 319 h 66758"/>
                    <a:gd name="connsiteX5" fmla="*/ 0 w 25495"/>
                    <a:gd name="connsiteY5" fmla="*/ 1701 h 66758"/>
                    <a:gd name="connsiteX6" fmla="*/ 0 w 25495"/>
                    <a:gd name="connsiteY6" fmla="*/ 52064 h 66758"/>
                    <a:gd name="connsiteX7" fmla="*/ 1632 w 25495"/>
                    <a:gd name="connsiteY7" fmla="*/ 51185 h 66758"/>
                    <a:gd name="connsiteX8" fmla="*/ 1632 w 25495"/>
                    <a:gd name="connsiteY8" fmla="*/ 1701 h 66758"/>
                    <a:gd name="connsiteX9" fmla="*/ 5526 w 25495"/>
                    <a:gd name="connsiteY9" fmla="*/ 3962 h 66758"/>
                    <a:gd name="connsiteX10" fmla="*/ 23989 w 25495"/>
                    <a:gd name="connsiteY10" fmla="*/ 35863 h 66758"/>
                    <a:gd name="connsiteX11" fmla="*/ 23989 w 25495"/>
                    <a:gd name="connsiteY11" fmla="*/ 63996 h 66758"/>
                    <a:gd name="connsiteX12" fmla="*/ 1632 w 25495"/>
                    <a:gd name="connsiteY12" fmla="*/ 51185 h 66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495" h="66758">
                      <a:moveTo>
                        <a:pt x="0" y="52064"/>
                      </a:moveTo>
                      <a:lnTo>
                        <a:pt x="25496" y="66759"/>
                      </a:lnTo>
                      <a:lnTo>
                        <a:pt x="25496" y="35863"/>
                      </a:lnTo>
                      <a:cubicBezTo>
                        <a:pt x="25496" y="23554"/>
                        <a:pt x="16955" y="8734"/>
                        <a:pt x="6280" y="2580"/>
                      </a:cubicBezTo>
                      <a:lnTo>
                        <a:pt x="2261" y="319"/>
                      </a:lnTo>
                      <a:cubicBezTo>
                        <a:pt x="1005" y="-434"/>
                        <a:pt x="0" y="194"/>
                        <a:pt x="0" y="1701"/>
                      </a:cubicBezTo>
                      <a:lnTo>
                        <a:pt x="0" y="52064"/>
                      </a:lnTo>
                      <a:close/>
                      <a:moveTo>
                        <a:pt x="1632" y="51185"/>
                      </a:moveTo>
                      <a:lnTo>
                        <a:pt x="1632" y="1701"/>
                      </a:lnTo>
                      <a:lnTo>
                        <a:pt x="5526" y="3962"/>
                      </a:lnTo>
                      <a:cubicBezTo>
                        <a:pt x="15699" y="9865"/>
                        <a:pt x="23989" y="24182"/>
                        <a:pt x="23989" y="35863"/>
                      </a:cubicBezTo>
                      <a:lnTo>
                        <a:pt x="23989" y="63996"/>
                      </a:lnTo>
                      <a:lnTo>
                        <a:pt x="1632" y="51185"/>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2" name="Freeform: Shape 1491">
                  <a:extLst>
                    <a:ext uri="{FF2B5EF4-FFF2-40B4-BE49-F238E27FC236}">
                      <a16:creationId xmlns:a16="http://schemas.microsoft.com/office/drawing/2014/main" id="{A5C55199-27E6-4499-8FDF-2F18F2DF25BB}"/>
                    </a:ext>
                  </a:extLst>
                </p:cNvPr>
                <p:cNvSpPr/>
                <p:nvPr/>
              </p:nvSpPr>
              <p:spPr>
                <a:xfrm>
                  <a:off x="3446576" y="1641440"/>
                  <a:ext cx="25244" cy="63484"/>
                </a:xfrm>
                <a:custGeom>
                  <a:avLst/>
                  <a:gdLst>
                    <a:gd name="connsiteX0" fmla="*/ 1382 w 25244"/>
                    <a:gd name="connsiteY0" fmla="*/ 1817 h 63484"/>
                    <a:gd name="connsiteX1" fmla="*/ 0 w 25244"/>
                    <a:gd name="connsiteY1" fmla="*/ 561 h 63484"/>
                    <a:gd name="connsiteX2" fmla="*/ 2010 w 25244"/>
                    <a:gd name="connsiteY2" fmla="*/ 310 h 63484"/>
                    <a:gd name="connsiteX3" fmla="*/ 6029 w 25244"/>
                    <a:gd name="connsiteY3" fmla="*/ 2571 h 63484"/>
                    <a:gd name="connsiteX4" fmla="*/ 25245 w 25244"/>
                    <a:gd name="connsiteY4" fmla="*/ 35853 h 63484"/>
                    <a:gd name="connsiteX5" fmla="*/ 25245 w 25244"/>
                    <a:gd name="connsiteY5" fmla="*/ 63484 h 63484"/>
                    <a:gd name="connsiteX6" fmla="*/ 23612 w 25244"/>
                    <a:gd name="connsiteY6" fmla="*/ 62605 h 63484"/>
                    <a:gd name="connsiteX7" fmla="*/ 23612 w 25244"/>
                    <a:gd name="connsiteY7" fmla="*/ 35979 h 63484"/>
                    <a:gd name="connsiteX8" fmla="*/ 5149 w 25244"/>
                    <a:gd name="connsiteY8" fmla="*/ 4078 h 63484"/>
                    <a:gd name="connsiteX9" fmla="*/ 1382 w 25244"/>
                    <a:gd name="connsiteY9" fmla="*/ 1817 h 63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244" h="63484">
                      <a:moveTo>
                        <a:pt x="1382" y="1817"/>
                      </a:moveTo>
                      <a:cubicBezTo>
                        <a:pt x="1005" y="1189"/>
                        <a:pt x="502" y="812"/>
                        <a:pt x="0" y="561"/>
                      </a:cubicBezTo>
                      <a:cubicBezTo>
                        <a:pt x="377" y="-67"/>
                        <a:pt x="1130" y="-192"/>
                        <a:pt x="2010" y="310"/>
                      </a:cubicBezTo>
                      <a:lnTo>
                        <a:pt x="6029" y="2571"/>
                      </a:lnTo>
                      <a:cubicBezTo>
                        <a:pt x="16579" y="8725"/>
                        <a:pt x="25245" y="23545"/>
                        <a:pt x="25245" y="35853"/>
                      </a:cubicBezTo>
                      <a:lnTo>
                        <a:pt x="25245" y="63484"/>
                      </a:lnTo>
                      <a:cubicBezTo>
                        <a:pt x="24742" y="63233"/>
                        <a:pt x="24240" y="62856"/>
                        <a:pt x="23612" y="62605"/>
                      </a:cubicBezTo>
                      <a:lnTo>
                        <a:pt x="23612" y="35979"/>
                      </a:lnTo>
                      <a:cubicBezTo>
                        <a:pt x="23612" y="24299"/>
                        <a:pt x="15323" y="9981"/>
                        <a:pt x="5149" y="4078"/>
                      </a:cubicBezTo>
                      <a:lnTo>
                        <a:pt x="1382" y="1817"/>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3" name="Freeform: Shape 1492">
                  <a:extLst>
                    <a:ext uri="{FF2B5EF4-FFF2-40B4-BE49-F238E27FC236}">
                      <a16:creationId xmlns:a16="http://schemas.microsoft.com/office/drawing/2014/main" id="{B870F909-F19F-4ACF-812E-EB849FA4A07D}"/>
                    </a:ext>
                  </a:extLst>
                </p:cNvPr>
                <p:cNvSpPr/>
                <p:nvPr/>
              </p:nvSpPr>
              <p:spPr>
                <a:xfrm>
                  <a:off x="3420703" y="1641433"/>
                  <a:ext cx="39939" cy="24431"/>
                </a:xfrm>
                <a:custGeom>
                  <a:avLst/>
                  <a:gdLst>
                    <a:gd name="connsiteX0" fmla="*/ 0 w 39939"/>
                    <a:gd name="connsiteY0" fmla="*/ 15264 h 24431"/>
                    <a:gd name="connsiteX1" fmla="*/ 251 w 39939"/>
                    <a:gd name="connsiteY1" fmla="*/ 15138 h 24431"/>
                    <a:gd name="connsiteX2" fmla="*/ 1633 w 39939"/>
                    <a:gd name="connsiteY2" fmla="*/ 15389 h 24431"/>
                    <a:gd name="connsiteX3" fmla="*/ 5652 w 39939"/>
                    <a:gd name="connsiteY3" fmla="*/ 17650 h 24431"/>
                    <a:gd name="connsiteX4" fmla="*/ 13816 w 39939"/>
                    <a:gd name="connsiteY4" fmla="*/ 24432 h 24431"/>
                    <a:gd name="connsiteX5" fmla="*/ 25621 w 39939"/>
                    <a:gd name="connsiteY5" fmla="*/ 17650 h 24431"/>
                    <a:gd name="connsiteX6" fmla="*/ 39939 w 39939"/>
                    <a:gd name="connsiteY6" fmla="*/ 9361 h 24431"/>
                    <a:gd name="connsiteX7" fmla="*/ 31775 w 39939"/>
                    <a:gd name="connsiteY7" fmla="*/ 2578 h 24431"/>
                    <a:gd name="connsiteX8" fmla="*/ 27756 w 39939"/>
                    <a:gd name="connsiteY8" fmla="*/ 318 h 24431"/>
                    <a:gd name="connsiteX9" fmla="*/ 26124 w 39939"/>
                    <a:gd name="connsiteY9" fmla="*/ 192 h 24431"/>
                    <a:gd name="connsiteX10" fmla="*/ 0 w 39939"/>
                    <a:gd name="connsiteY10" fmla="*/ 15264 h 2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939" h="24431">
                      <a:moveTo>
                        <a:pt x="0" y="15264"/>
                      </a:moveTo>
                      <a:cubicBezTo>
                        <a:pt x="0" y="15264"/>
                        <a:pt x="251" y="15138"/>
                        <a:pt x="251" y="15138"/>
                      </a:cubicBezTo>
                      <a:cubicBezTo>
                        <a:pt x="628" y="15012"/>
                        <a:pt x="1130" y="15012"/>
                        <a:pt x="1633" y="15389"/>
                      </a:cubicBezTo>
                      <a:lnTo>
                        <a:pt x="5652" y="17650"/>
                      </a:lnTo>
                      <a:cubicBezTo>
                        <a:pt x="8540" y="19283"/>
                        <a:pt x="11303" y="21669"/>
                        <a:pt x="13816" y="24432"/>
                      </a:cubicBezTo>
                      <a:lnTo>
                        <a:pt x="25621" y="17650"/>
                      </a:lnTo>
                      <a:lnTo>
                        <a:pt x="39939" y="9361"/>
                      </a:lnTo>
                      <a:cubicBezTo>
                        <a:pt x="37427" y="6597"/>
                        <a:pt x="34664" y="4211"/>
                        <a:pt x="31775" y="2578"/>
                      </a:cubicBezTo>
                      <a:lnTo>
                        <a:pt x="27756" y="318"/>
                      </a:lnTo>
                      <a:cubicBezTo>
                        <a:pt x="27380" y="67"/>
                        <a:pt x="26752" y="-185"/>
                        <a:pt x="26124" y="192"/>
                      </a:cubicBezTo>
                      <a:lnTo>
                        <a:pt x="0" y="15264"/>
                      </a:lnTo>
                      <a:close/>
                    </a:path>
                  </a:pathLst>
                </a:custGeom>
                <a:solidFill>
                  <a:srgbClr val="FFDB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94" name="Graphic 4">
                  <a:extLst>
                    <a:ext uri="{FF2B5EF4-FFF2-40B4-BE49-F238E27FC236}">
                      <a16:creationId xmlns:a16="http://schemas.microsoft.com/office/drawing/2014/main" id="{84FB7ED1-A2DF-40A1-A747-5F7CF3F14040}"/>
                    </a:ext>
                  </a:extLst>
                </p:cNvPr>
                <p:cNvGrpSpPr/>
                <p:nvPr/>
              </p:nvGrpSpPr>
              <p:grpSpPr>
                <a:xfrm>
                  <a:off x="3445320" y="1690356"/>
                  <a:ext cx="31524" cy="35794"/>
                  <a:chOff x="3445320" y="1690356"/>
                  <a:chExt cx="31524" cy="35794"/>
                </a:xfrm>
                <a:solidFill>
                  <a:schemeClr val="accent1"/>
                </a:solidFill>
              </p:grpSpPr>
              <p:sp>
                <p:nvSpPr>
                  <p:cNvPr id="1495" name="Freeform: Shape 1494">
                    <a:extLst>
                      <a:ext uri="{FF2B5EF4-FFF2-40B4-BE49-F238E27FC236}">
                        <a16:creationId xmlns:a16="http://schemas.microsoft.com/office/drawing/2014/main" id="{FC5A3AC4-340A-4949-A490-C1422D025D02}"/>
                      </a:ext>
                    </a:extLst>
                  </p:cNvPr>
                  <p:cNvSpPr/>
                  <p:nvPr/>
                </p:nvSpPr>
                <p:spPr>
                  <a:xfrm>
                    <a:off x="3445320" y="1705552"/>
                    <a:ext cx="4395" cy="20597"/>
                  </a:xfrm>
                  <a:custGeom>
                    <a:avLst/>
                    <a:gdLst>
                      <a:gd name="connsiteX0" fmla="*/ 0 w 4395"/>
                      <a:gd name="connsiteY0" fmla="*/ 18086 h 20597"/>
                      <a:gd name="connsiteX1" fmla="*/ 4396 w 4395"/>
                      <a:gd name="connsiteY1" fmla="*/ 20598 h 20597"/>
                      <a:gd name="connsiteX2" fmla="*/ 4396 w 4395"/>
                      <a:gd name="connsiteY2" fmla="*/ 2386 h 20597"/>
                      <a:gd name="connsiteX3" fmla="*/ 0 w 4395"/>
                      <a:gd name="connsiteY3" fmla="*/ 0 h 20597"/>
                    </a:gdLst>
                    <a:ahLst/>
                    <a:cxnLst>
                      <a:cxn ang="0">
                        <a:pos x="connsiteX0" y="connsiteY0"/>
                      </a:cxn>
                      <a:cxn ang="0">
                        <a:pos x="connsiteX1" y="connsiteY1"/>
                      </a:cxn>
                      <a:cxn ang="0">
                        <a:pos x="connsiteX2" y="connsiteY2"/>
                      </a:cxn>
                      <a:cxn ang="0">
                        <a:pos x="connsiteX3" y="connsiteY3"/>
                      </a:cxn>
                    </a:cxnLst>
                    <a:rect l="l" t="t" r="r" b="b"/>
                    <a:pathLst>
                      <a:path w="4395" h="20597">
                        <a:moveTo>
                          <a:pt x="0" y="18086"/>
                        </a:moveTo>
                        <a:lnTo>
                          <a:pt x="4396" y="20598"/>
                        </a:lnTo>
                        <a:lnTo>
                          <a:pt x="4396" y="2386"/>
                        </a:lnTo>
                        <a:lnTo>
                          <a:pt x="0" y="0"/>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6" name="Freeform: Shape 1495">
                    <a:extLst>
                      <a:ext uri="{FF2B5EF4-FFF2-40B4-BE49-F238E27FC236}">
                        <a16:creationId xmlns:a16="http://schemas.microsoft.com/office/drawing/2014/main" id="{943D4D6B-C52B-43AA-8AC7-64A9B443CADD}"/>
                      </a:ext>
                    </a:extLst>
                  </p:cNvPr>
                  <p:cNvSpPr/>
                  <p:nvPr/>
                </p:nvSpPr>
                <p:spPr>
                  <a:xfrm>
                    <a:off x="3449716" y="1692742"/>
                    <a:ext cx="26374" cy="32277"/>
                  </a:xfrm>
                  <a:custGeom>
                    <a:avLst/>
                    <a:gdLst>
                      <a:gd name="connsiteX0" fmla="*/ 26375 w 26374"/>
                      <a:gd name="connsiteY0" fmla="*/ 0 h 32277"/>
                      <a:gd name="connsiteX1" fmla="*/ 26375 w 26374"/>
                      <a:gd name="connsiteY1" fmla="*/ 16955 h 32277"/>
                      <a:gd name="connsiteX2" fmla="*/ 0 w 26374"/>
                      <a:gd name="connsiteY2" fmla="*/ 32278 h 32277"/>
                      <a:gd name="connsiteX3" fmla="*/ 0 w 26374"/>
                      <a:gd name="connsiteY3" fmla="*/ 15323 h 32277"/>
                      <a:gd name="connsiteX4" fmla="*/ 12308 w 26374"/>
                      <a:gd name="connsiteY4" fmla="*/ 7285 h 32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4" h="32277">
                        <a:moveTo>
                          <a:pt x="26375" y="0"/>
                        </a:moveTo>
                        <a:lnTo>
                          <a:pt x="26375" y="16955"/>
                        </a:lnTo>
                        <a:lnTo>
                          <a:pt x="0" y="32278"/>
                        </a:lnTo>
                        <a:lnTo>
                          <a:pt x="0" y="15323"/>
                        </a:lnTo>
                        <a:lnTo>
                          <a:pt x="12308" y="7285"/>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97" name="Graphic 4">
                    <a:extLst>
                      <a:ext uri="{FF2B5EF4-FFF2-40B4-BE49-F238E27FC236}">
                        <a16:creationId xmlns:a16="http://schemas.microsoft.com/office/drawing/2014/main" id="{84FB7ED1-A2DF-40A1-A747-5F7CF3F14040}"/>
                      </a:ext>
                    </a:extLst>
                  </p:cNvPr>
                  <p:cNvGrpSpPr/>
                  <p:nvPr/>
                </p:nvGrpSpPr>
                <p:grpSpPr>
                  <a:xfrm>
                    <a:off x="3450469" y="1709823"/>
                    <a:ext cx="7158" cy="11680"/>
                    <a:chOff x="3450469" y="1709823"/>
                    <a:chExt cx="7158" cy="11680"/>
                  </a:xfrm>
                  <a:solidFill>
                    <a:schemeClr val="accent1"/>
                  </a:solidFill>
                </p:grpSpPr>
                <p:sp>
                  <p:nvSpPr>
                    <p:cNvPr id="1498" name="Freeform: Shape 1497">
                      <a:extLst>
                        <a:ext uri="{FF2B5EF4-FFF2-40B4-BE49-F238E27FC236}">
                          <a16:creationId xmlns:a16="http://schemas.microsoft.com/office/drawing/2014/main" id="{ECD7FCD1-3E73-4A70-BD85-F11AF9E382EC}"/>
                        </a:ext>
                      </a:extLst>
                    </p:cNvPr>
                    <p:cNvSpPr/>
                    <p:nvPr/>
                  </p:nvSpPr>
                  <p:spPr>
                    <a:xfrm>
                      <a:off x="3450469" y="1709823"/>
                      <a:ext cx="7158" cy="11680"/>
                    </a:xfrm>
                    <a:custGeom>
                      <a:avLst/>
                      <a:gdLst>
                        <a:gd name="connsiteX0" fmla="*/ 0 w 7158"/>
                        <a:gd name="connsiteY0" fmla="*/ 11304 h 11680"/>
                        <a:gd name="connsiteX1" fmla="*/ 502 w 7158"/>
                        <a:gd name="connsiteY1" fmla="*/ 11680 h 11680"/>
                        <a:gd name="connsiteX2" fmla="*/ 6657 w 7158"/>
                        <a:gd name="connsiteY2" fmla="*/ 7536 h 11680"/>
                        <a:gd name="connsiteX3" fmla="*/ 7159 w 7158"/>
                        <a:gd name="connsiteY3" fmla="*/ 377 h 11680"/>
                        <a:gd name="connsiteX4" fmla="*/ 6657 w 7158"/>
                        <a:gd name="connsiteY4" fmla="*/ 0 h 11680"/>
                        <a:gd name="connsiteX5" fmla="*/ 0 w 7158"/>
                        <a:gd name="connsiteY5" fmla="*/ 3768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58" h="11680">
                          <a:moveTo>
                            <a:pt x="0" y="11304"/>
                          </a:moveTo>
                          <a:lnTo>
                            <a:pt x="502" y="11680"/>
                          </a:lnTo>
                          <a:lnTo>
                            <a:pt x="6657" y="7536"/>
                          </a:lnTo>
                          <a:lnTo>
                            <a:pt x="7159" y="377"/>
                          </a:lnTo>
                          <a:lnTo>
                            <a:pt x="6657" y="0"/>
                          </a:lnTo>
                          <a:lnTo>
                            <a:pt x="0" y="3768"/>
                          </a:lnTo>
                          <a:close/>
                        </a:path>
                      </a:pathLst>
                    </a:custGeom>
                    <a:solidFill>
                      <a:srgbClr val="B0BC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9" name="Freeform: Shape 1498">
                      <a:extLst>
                        <a:ext uri="{FF2B5EF4-FFF2-40B4-BE49-F238E27FC236}">
                          <a16:creationId xmlns:a16="http://schemas.microsoft.com/office/drawing/2014/main" id="{8F18C226-F935-4B3B-BEB4-1239E1ADAA4D}"/>
                        </a:ext>
                      </a:extLst>
                    </p:cNvPr>
                    <p:cNvSpPr/>
                    <p:nvPr/>
                  </p:nvSpPr>
                  <p:spPr>
                    <a:xfrm>
                      <a:off x="3450972" y="1710200"/>
                      <a:ext cx="6656" cy="11303"/>
                    </a:xfrm>
                    <a:custGeom>
                      <a:avLst/>
                      <a:gdLst>
                        <a:gd name="connsiteX0" fmla="*/ 0 w 6656"/>
                        <a:gd name="connsiteY0" fmla="*/ 11304 h 11303"/>
                        <a:gd name="connsiteX1" fmla="*/ 6657 w 6656"/>
                        <a:gd name="connsiteY1" fmla="*/ 7536 h 11303"/>
                        <a:gd name="connsiteX2" fmla="*/ 6657 w 6656"/>
                        <a:gd name="connsiteY2" fmla="*/ 0 h 11303"/>
                        <a:gd name="connsiteX3" fmla="*/ 0 w 6656"/>
                        <a:gd name="connsiteY3" fmla="*/ 3768 h 11303"/>
                      </a:gdLst>
                      <a:ahLst/>
                      <a:cxnLst>
                        <a:cxn ang="0">
                          <a:pos x="connsiteX0" y="connsiteY0"/>
                        </a:cxn>
                        <a:cxn ang="0">
                          <a:pos x="connsiteX1" y="connsiteY1"/>
                        </a:cxn>
                        <a:cxn ang="0">
                          <a:pos x="connsiteX2" y="connsiteY2"/>
                        </a:cxn>
                        <a:cxn ang="0">
                          <a:pos x="connsiteX3" y="connsiteY3"/>
                        </a:cxn>
                      </a:cxnLst>
                      <a:rect l="l" t="t" r="r" b="b"/>
                      <a:pathLst>
                        <a:path w="6656" h="11303">
                          <a:moveTo>
                            <a:pt x="0" y="11304"/>
                          </a:moveTo>
                          <a:lnTo>
                            <a:pt x="6657" y="7536"/>
                          </a:lnTo>
                          <a:lnTo>
                            <a:pt x="6657" y="0"/>
                          </a:lnTo>
                          <a:lnTo>
                            <a:pt x="0" y="3768"/>
                          </a:lnTo>
                          <a:close/>
                        </a:path>
                      </a:pathLst>
                    </a:custGeom>
                    <a:solidFill>
                      <a:srgbClr val="CAD1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0" name="Freeform: Shape 1499">
                      <a:extLst>
                        <a:ext uri="{FF2B5EF4-FFF2-40B4-BE49-F238E27FC236}">
                          <a16:creationId xmlns:a16="http://schemas.microsoft.com/office/drawing/2014/main" id="{45704BF6-537A-49F6-BC78-C8DDEBD8CAF2}"/>
                        </a:ext>
                      </a:extLst>
                    </p:cNvPr>
                    <p:cNvSpPr/>
                    <p:nvPr/>
                  </p:nvSpPr>
                  <p:spPr>
                    <a:xfrm>
                      <a:off x="3451599" y="1711079"/>
                      <a:ext cx="5526" cy="9545"/>
                    </a:xfrm>
                    <a:custGeom>
                      <a:avLst/>
                      <a:gdLst>
                        <a:gd name="connsiteX0" fmla="*/ 0 w 5526"/>
                        <a:gd name="connsiteY0" fmla="*/ 9545 h 9545"/>
                        <a:gd name="connsiteX1" fmla="*/ 5526 w 5526"/>
                        <a:gd name="connsiteY1" fmla="*/ 6280 h 9545"/>
                        <a:gd name="connsiteX2" fmla="*/ 5526 w 5526"/>
                        <a:gd name="connsiteY2" fmla="*/ 0 h 9545"/>
                        <a:gd name="connsiteX3" fmla="*/ 0 w 5526"/>
                        <a:gd name="connsiteY3" fmla="*/ 3140 h 9545"/>
                      </a:gdLst>
                      <a:ahLst/>
                      <a:cxnLst>
                        <a:cxn ang="0">
                          <a:pos x="connsiteX0" y="connsiteY0"/>
                        </a:cxn>
                        <a:cxn ang="0">
                          <a:pos x="connsiteX1" y="connsiteY1"/>
                        </a:cxn>
                        <a:cxn ang="0">
                          <a:pos x="connsiteX2" y="connsiteY2"/>
                        </a:cxn>
                        <a:cxn ang="0">
                          <a:pos x="connsiteX3" y="connsiteY3"/>
                        </a:cxn>
                      </a:cxnLst>
                      <a:rect l="l" t="t" r="r" b="b"/>
                      <a:pathLst>
                        <a:path w="5526" h="9545">
                          <a:moveTo>
                            <a:pt x="0" y="9545"/>
                          </a:moveTo>
                          <a:lnTo>
                            <a:pt x="5526" y="6280"/>
                          </a:lnTo>
                          <a:lnTo>
                            <a:pt x="5526" y="0"/>
                          </a:lnTo>
                          <a:lnTo>
                            <a:pt x="0" y="3140"/>
                          </a:lnTo>
                          <a:close/>
                        </a:path>
                      </a:pathLst>
                    </a:custGeom>
                    <a:solidFill>
                      <a:srgbClr val="F7FBF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01" name="Graphic 4">
                    <a:extLst>
                      <a:ext uri="{FF2B5EF4-FFF2-40B4-BE49-F238E27FC236}">
                        <a16:creationId xmlns:a16="http://schemas.microsoft.com/office/drawing/2014/main" id="{84FB7ED1-A2DF-40A1-A747-5F7CF3F14040}"/>
                      </a:ext>
                    </a:extLst>
                  </p:cNvPr>
                  <p:cNvGrpSpPr/>
                  <p:nvPr/>
                </p:nvGrpSpPr>
                <p:grpSpPr>
                  <a:xfrm>
                    <a:off x="3469685" y="1699147"/>
                    <a:ext cx="7158" cy="11680"/>
                    <a:chOff x="3469685" y="1699147"/>
                    <a:chExt cx="7158" cy="11680"/>
                  </a:xfrm>
                  <a:solidFill>
                    <a:schemeClr val="accent1"/>
                  </a:solidFill>
                </p:grpSpPr>
                <p:sp>
                  <p:nvSpPr>
                    <p:cNvPr id="1502" name="Freeform: Shape 1501">
                      <a:extLst>
                        <a:ext uri="{FF2B5EF4-FFF2-40B4-BE49-F238E27FC236}">
                          <a16:creationId xmlns:a16="http://schemas.microsoft.com/office/drawing/2014/main" id="{932B7F1D-8007-4281-9DCE-77D274547D36}"/>
                        </a:ext>
                      </a:extLst>
                    </p:cNvPr>
                    <p:cNvSpPr/>
                    <p:nvPr/>
                  </p:nvSpPr>
                  <p:spPr>
                    <a:xfrm>
                      <a:off x="3469685" y="1699147"/>
                      <a:ext cx="7158" cy="11680"/>
                    </a:xfrm>
                    <a:custGeom>
                      <a:avLst/>
                      <a:gdLst>
                        <a:gd name="connsiteX0" fmla="*/ 0 w 7158"/>
                        <a:gd name="connsiteY0" fmla="*/ 11304 h 11680"/>
                        <a:gd name="connsiteX1" fmla="*/ 628 w 7158"/>
                        <a:gd name="connsiteY1" fmla="*/ 11680 h 11680"/>
                        <a:gd name="connsiteX2" fmla="*/ 6657 w 7158"/>
                        <a:gd name="connsiteY2" fmla="*/ 7536 h 11680"/>
                        <a:gd name="connsiteX3" fmla="*/ 7159 w 7158"/>
                        <a:gd name="connsiteY3" fmla="*/ 251 h 11680"/>
                        <a:gd name="connsiteX4" fmla="*/ 6657 w 7158"/>
                        <a:gd name="connsiteY4" fmla="*/ 0 h 11680"/>
                        <a:gd name="connsiteX5" fmla="*/ 0 w 7158"/>
                        <a:gd name="connsiteY5" fmla="*/ 3768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58" h="11680">
                          <a:moveTo>
                            <a:pt x="0" y="11304"/>
                          </a:moveTo>
                          <a:lnTo>
                            <a:pt x="628" y="11680"/>
                          </a:lnTo>
                          <a:lnTo>
                            <a:pt x="6657" y="7536"/>
                          </a:lnTo>
                          <a:lnTo>
                            <a:pt x="7159" y="251"/>
                          </a:lnTo>
                          <a:lnTo>
                            <a:pt x="6657" y="0"/>
                          </a:lnTo>
                          <a:lnTo>
                            <a:pt x="0" y="3768"/>
                          </a:lnTo>
                          <a:close/>
                        </a:path>
                      </a:pathLst>
                    </a:custGeom>
                    <a:solidFill>
                      <a:srgbClr val="B0BC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3" name="Freeform: Shape 1502">
                      <a:extLst>
                        <a:ext uri="{FF2B5EF4-FFF2-40B4-BE49-F238E27FC236}">
                          <a16:creationId xmlns:a16="http://schemas.microsoft.com/office/drawing/2014/main" id="{2785CA2A-8937-4832-80E2-01481162FC1D}"/>
                        </a:ext>
                      </a:extLst>
                    </p:cNvPr>
                    <p:cNvSpPr/>
                    <p:nvPr/>
                  </p:nvSpPr>
                  <p:spPr>
                    <a:xfrm>
                      <a:off x="3470313" y="1699398"/>
                      <a:ext cx="6530" cy="11429"/>
                    </a:xfrm>
                    <a:custGeom>
                      <a:avLst/>
                      <a:gdLst>
                        <a:gd name="connsiteX0" fmla="*/ 0 w 6530"/>
                        <a:gd name="connsiteY0" fmla="*/ 11429 h 11429"/>
                        <a:gd name="connsiteX1" fmla="*/ 6531 w 6530"/>
                        <a:gd name="connsiteY1" fmla="*/ 7661 h 11429"/>
                        <a:gd name="connsiteX2" fmla="*/ 6531 w 6530"/>
                        <a:gd name="connsiteY2" fmla="*/ 0 h 11429"/>
                        <a:gd name="connsiteX3" fmla="*/ 0 w 6530"/>
                        <a:gd name="connsiteY3" fmla="*/ 3893 h 11429"/>
                      </a:gdLst>
                      <a:ahLst/>
                      <a:cxnLst>
                        <a:cxn ang="0">
                          <a:pos x="connsiteX0" y="connsiteY0"/>
                        </a:cxn>
                        <a:cxn ang="0">
                          <a:pos x="connsiteX1" y="connsiteY1"/>
                        </a:cxn>
                        <a:cxn ang="0">
                          <a:pos x="connsiteX2" y="connsiteY2"/>
                        </a:cxn>
                        <a:cxn ang="0">
                          <a:pos x="connsiteX3" y="connsiteY3"/>
                        </a:cxn>
                      </a:cxnLst>
                      <a:rect l="l" t="t" r="r" b="b"/>
                      <a:pathLst>
                        <a:path w="6530" h="11429">
                          <a:moveTo>
                            <a:pt x="0" y="11429"/>
                          </a:moveTo>
                          <a:lnTo>
                            <a:pt x="6531" y="7661"/>
                          </a:lnTo>
                          <a:lnTo>
                            <a:pt x="6531" y="0"/>
                          </a:lnTo>
                          <a:lnTo>
                            <a:pt x="0" y="3893"/>
                          </a:lnTo>
                          <a:close/>
                        </a:path>
                      </a:pathLst>
                    </a:custGeom>
                    <a:solidFill>
                      <a:srgbClr val="CAD1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4" name="Freeform: Shape 1503">
                      <a:extLst>
                        <a:ext uri="{FF2B5EF4-FFF2-40B4-BE49-F238E27FC236}">
                          <a16:creationId xmlns:a16="http://schemas.microsoft.com/office/drawing/2014/main" id="{9B12118A-8C0D-4B05-A2FC-3AF4B3A23A46}"/>
                        </a:ext>
                      </a:extLst>
                    </p:cNvPr>
                    <p:cNvSpPr/>
                    <p:nvPr/>
                  </p:nvSpPr>
                  <p:spPr>
                    <a:xfrm>
                      <a:off x="3470815" y="1700403"/>
                      <a:ext cx="5526" cy="9545"/>
                    </a:xfrm>
                    <a:custGeom>
                      <a:avLst/>
                      <a:gdLst>
                        <a:gd name="connsiteX0" fmla="*/ 0 w 5526"/>
                        <a:gd name="connsiteY0" fmla="*/ 9545 h 9545"/>
                        <a:gd name="connsiteX1" fmla="*/ 5526 w 5526"/>
                        <a:gd name="connsiteY1" fmla="*/ 6280 h 9545"/>
                        <a:gd name="connsiteX2" fmla="*/ 5526 w 5526"/>
                        <a:gd name="connsiteY2" fmla="*/ 0 h 9545"/>
                        <a:gd name="connsiteX3" fmla="*/ 0 w 5526"/>
                        <a:gd name="connsiteY3" fmla="*/ 3140 h 9545"/>
                      </a:gdLst>
                      <a:ahLst/>
                      <a:cxnLst>
                        <a:cxn ang="0">
                          <a:pos x="connsiteX0" y="connsiteY0"/>
                        </a:cxn>
                        <a:cxn ang="0">
                          <a:pos x="connsiteX1" y="connsiteY1"/>
                        </a:cxn>
                        <a:cxn ang="0">
                          <a:pos x="connsiteX2" y="connsiteY2"/>
                        </a:cxn>
                        <a:cxn ang="0">
                          <a:pos x="connsiteX3" y="connsiteY3"/>
                        </a:cxn>
                      </a:cxnLst>
                      <a:rect l="l" t="t" r="r" b="b"/>
                      <a:pathLst>
                        <a:path w="5526" h="9545">
                          <a:moveTo>
                            <a:pt x="0" y="9545"/>
                          </a:moveTo>
                          <a:lnTo>
                            <a:pt x="5526" y="6280"/>
                          </a:lnTo>
                          <a:lnTo>
                            <a:pt x="5526" y="0"/>
                          </a:lnTo>
                          <a:lnTo>
                            <a:pt x="0" y="3140"/>
                          </a:lnTo>
                          <a:close/>
                        </a:path>
                      </a:pathLst>
                    </a:custGeom>
                    <a:solidFill>
                      <a:srgbClr val="F7FBF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505" name="Freeform: Shape 1504">
                    <a:extLst>
                      <a:ext uri="{FF2B5EF4-FFF2-40B4-BE49-F238E27FC236}">
                        <a16:creationId xmlns:a16="http://schemas.microsoft.com/office/drawing/2014/main" id="{004EB639-2FD6-4892-9064-4AB684595203}"/>
                      </a:ext>
                    </a:extLst>
                  </p:cNvPr>
                  <p:cNvSpPr/>
                  <p:nvPr/>
                </p:nvSpPr>
                <p:spPr>
                  <a:xfrm>
                    <a:off x="3445445" y="1690356"/>
                    <a:ext cx="30645" cy="17583"/>
                  </a:xfrm>
                  <a:custGeom>
                    <a:avLst/>
                    <a:gdLst>
                      <a:gd name="connsiteX0" fmla="*/ 30645 w 30645"/>
                      <a:gd name="connsiteY0" fmla="*/ 2386 h 17583"/>
                      <a:gd name="connsiteX1" fmla="*/ 26375 w 30645"/>
                      <a:gd name="connsiteY1" fmla="*/ 0 h 17583"/>
                      <a:gd name="connsiteX2" fmla="*/ 0 w 30645"/>
                      <a:gd name="connsiteY2" fmla="*/ 15197 h 17583"/>
                      <a:gd name="connsiteX3" fmla="*/ 4270 w 30645"/>
                      <a:gd name="connsiteY3" fmla="*/ 17583 h 17583"/>
                    </a:gdLst>
                    <a:ahLst/>
                    <a:cxnLst>
                      <a:cxn ang="0">
                        <a:pos x="connsiteX0" y="connsiteY0"/>
                      </a:cxn>
                      <a:cxn ang="0">
                        <a:pos x="connsiteX1" y="connsiteY1"/>
                      </a:cxn>
                      <a:cxn ang="0">
                        <a:pos x="connsiteX2" y="connsiteY2"/>
                      </a:cxn>
                      <a:cxn ang="0">
                        <a:pos x="connsiteX3" y="connsiteY3"/>
                      </a:cxn>
                    </a:cxnLst>
                    <a:rect l="l" t="t" r="r" b="b"/>
                    <a:pathLst>
                      <a:path w="30645" h="17583">
                        <a:moveTo>
                          <a:pt x="30645" y="2386"/>
                        </a:moveTo>
                        <a:lnTo>
                          <a:pt x="26375" y="0"/>
                        </a:lnTo>
                        <a:lnTo>
                          <a:pt x="0" y="15197"/>
                        </a:lnTo>
                        <a:lnTo>
                          <a:pt x="4270" y="17583"/>
                        </a:lnTo>
                        <a:close/>
                      </a:path>
                    </a:pathLst>
                  </a:custGeom>
                  <a:solidFill>
                    <a:srgbClr val="46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506" name="Freeform: Shape 1505">
                  <a:extLst>
                    <a:ext uri="{FF2B5EF4-FFF2-40B4-BE49-F238E27FC236}">
                      <a16:creationId xmlns:a16="http://schemas.microsoft.com/office/drawing/2014/main" id="{ED4CDC81-A5AE-49F1-BD87-31DEED711DFA}"/>
                    </a:ext>
                  </a:extLst>
                </p:cNvPr>
                <p:cNvSpPr/>
                <p:nvPr/>
              </p:nvSpPr>
              <p:spPr>
                <a:xfrm>
                  <a:off x="3438161" y="1656319"/>
                  <a:ext cx="30393" cy="25746"/>
                </a:xfrm>
                <a:custGeom>
                  <a:avLst/>
                  <a:gdLst>
                    <a:gd name="connsiteX0" fmla="*/ 0 w 30393"/>
                    <a:gd name="connsiteY0" fmla="*/ 14318 h 25746"/>
                    <a:gd name="connsiteX1" fmla="*/ 5652 w 30393"/>
                    <a:gd name="connsiteY1" fmla="*/ 25747 h 25746"/>
                    <a:gd name="connsiteX2" fmla="*/ 30394 w 30393"/>
                    <a:gd name="connsiteY2" fmla="*/ 11429 h 25746"/>
                    <a:gd name="connsiteX3" fmla="*/ 24742 w 30393"/>
                    <a:gd name="connsiteY3" fmla="*/ 0 h 25746"/>
                    <a:gd name="connsiteX4" fmla="*/ 0 w 30393"/>
                    <a:gd name="connsiteY4" fmla="*/ 14318 h 25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93" h="25746">
                      <a:moveTo>
                        <a:pt x="0" y="14318"/>
                      </a:moveTo>
                      <a:cubicBezTo>
                        <a:pt x="2386" y="17834"/>
                        <a:pt x="4396" y="21728"/>
                        <a:pt x="5652" y="25747"/>
                      </a:cubicBezTo>
                      <a:lnTo>
                        <a:pt x="30394" y="11429"/>
                      </a:lnTo>
                      <a:cubicBezTo>
                        <a:pt x="29138" y="7410"/>
                        <a:pt x="27254" y="3517"/>
                        <a:pt x="24742" y="0"/>
                      </a:cubicBezTo>
                      <a:lnTo>
                        <a:pt x="0" y="14318"/>
                      </a:ln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7" name="Freeform: Shape 1506">
                  <a:extLst>
                    <a:ext uri="{FF2B5EF4-FFF2-40B4-BE49-F238E27FC236}">
                      <a16:creationId xmlns:a16="http://schemas.microsoft.com/office/drawing/2014/main" id="{AC0D6C89-CAA6-4C14-8789-CB4D6EE70235}"/>
                    </a:ext>
                  </a:extLst>
                </p:cNvPr>
                <p:cNvSpPr/>
                <p:nvPr/>
              </p:nvSpPr>
              <p:spPr>
                <a:xfrm>
                  <a:off x="3444189" y="1669130"/>
                  <a:ext cx="24993" cy="15196"/>
                </a:xfrm>
                <a:custGeom>
                  <a:avLst/>
                  <a:gdLst>
                    <a:gd name="connsiteX0" fmla="*/ 24742 w 24993"/>
                    <a:gd name="connsiteY0" fmla="*/ 0 h 15196"/>
                    <a:gd name="connsiteX1" fmla="*/ 0 w 24993"/>
                    <a:gd name="connsiteY1" fmla="*/ 14318 h 15196"/>
                    <a:gd name="connsiteX2" fmla="*/ 251 w 24993"/>
                    <a:gd name="connsiteY2" fmla="*/ 15197 h 15196"/>
                    <a:gd name="connsiteX3" fmla="*/ 24994 w 24993"/>
                    <a:gd name="connsiteY3" fmla="*/ 879 h 15196"/>
                    <a:gd name="connsiteX4" fmla="*/ 24742 w 24993"/>
                    <a:gd name="connsiteY4" fmla="*/ 0 h 1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93" h="15196">
                      <a:moveTo>
                        <a:pt x="24742" y="0"/>
                      </a:moveTo>
                      <a:lnTo>
                        <a:pt x="0" y="14318"/>
                      </a:lnTo>
                      <a:cubicBezTo>
                        <a:pt x="126" y="14695"/>
                        <a:pt x="126" y="14946"/>
                        <a:pt x="251" y="15197"/>
                      </a:cubicBezTo>
                      <a:lnTo>
                        <a:pt x="24994" y="879"/>
                      </a:lnTo>
                      <a:cubicBezTo>
                        <a:pt x="24868" y="628"/>
                        <a:pt x="24868" y="251"/>
                        <a:pt x="24742" y="0"/>
                      </a:cubicBez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8" name="Freeform: Shape 1507">
                  <a:extLst>
                    <a:ext uri="{FF2B5EF4-FFF2-40B4-BE49-F238E27FC236}">
                      <a16:creationId xmlns:a16="http://schemas.microsoft.com/office/drawing/2014/main" id="{F0A81B52-0FCD-4B2F-B462-BF602CE10127}"/>
                    </a:ext>
                  </a:extLst>
                </p:cNvPr>
                <p:cNvSpPr/>
                <p:nvPr/>
              </p:nvSpPr>
              <p:spPr>
                <a:xfrm>
                  <a:off x="3444692" y="1671265"/>
                  <a:ext cx="25402" cy="22104"/>
                </a:xfrm>
                <a:custGeom>
                  <a:avLst/>
                  <a:gdLst>
                    <a:gd name="connsiteX0" fmla="*/ 24742 w 25402"/>
                    <a:gd name="connsiteY0" fmla="*/ 0 h 22104"/>
                    <a:gd name="connsiteX1" fmla="*/ 0 w 25402"/>
                    <a:gd name="connsiteY1" fmla="*/ 14318 h 22104"/>
                    <a:gd name="connsiteX2" fmla="*/ 754 w 25402"/>
                    <a:gd name="connsiteY2" fmla="*/ 21226 h 22104"/>
                    <a:gd name="connsiteX3" fmla="*/ 754 w 25402"/>
                    <a:gd name="connsiteY3" fmla="*/ 22105 h 22104"/>
                    <a:gd name="connsiteX4" fmla="*/ 25370 w 25402"/>
                    <a:gd name="connsiteY4" fmla="*/ 7912 h 22104"/>
                    <a:gd name="connsiteX5" fmla="*/ 25370 w 25402"/>
                    <a:gd name="connsiteY5" fmla="*/ 6154 h 22104"/>
                    <a:gd name="connsiteX6" fmla="*/ 24742 w 25402"/>
                    <a:gd name="connsiteY6" fmla="*/ 0 h 2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02" h="22104">
                      <a:moveTo>
                        <a:pt x="24742" y="0"/>
                      </a:moveTo>
                      <a:lnTo>
                        <a:pt x="0" y="14318"/>
                      </a:lnTo>
                      <a:cubicBezTo>
                        <a:pt x="502" y="16579"/>
                        <a:pt x="754" y="18965"/>
                        <a:pt x="754" y="21226"/>
                      </a:cubicBezTo>
                      <a:lnTo>
                        <a:pt x="754" y="22105"/>
                      </a:lnTo>
                      <a:lnTo>
                        <a:pt x="25370" y="7912"/>
                      </a:lnTo>
                      <a:lnTo>
                        <a:pt x="25370" y="6154"/>
                      </a:lnTo>
                      <a:cubicBezTo>
                        <a:pt x="25496" y="4145"/>
                        <a:pt x="25245" y="2010"/>
                        <a:pt x="24742" y="0"/>
                      </a:cubicBez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9" name="Freeform: Shape 1508">
                  <a:extLst>
                    <a:ext uri="{FF2B5EF4-FFF2-40B4-BE49-F238E27FC236}">
                      <a16:creationId xmlns:a16="http://schemas.microsoft.com/office/drawing/2014/main" id="{BB6B893A-6116-408E-86D9-2EE5AE2726A3}"/>
                    </a:ext>
                  </a:extLst>
                </p:cNvPr>
                <p:cNvSpPr/>
                <p:nvPr/>
              </p:nvSpPr>
              <p:spPr>
                <a:xfrm>
                  <a:off x="3421708" y="1662976"/>
                  <a:ext cx="22356" cy="45716"/>
                </a:xfrm>
                <a:custGeom>
                  <a:avLst/>
                  <a:gdLst>
                    <a:gd name="connsiteX0" fmla="*/ 0 w 22356"/>
                    <a:gd name="connsiteY0" fmla="*/ 0 h 45716"/>
                    <a:gd name="connsiteX1" fmla="*/ 0 w 22356"/>
                    <a:gd name="connsiteY1" fmla="*/ 16704 h 45716"/>
                    <a:gd name="connsiteX2" fmla="*/ 22356 w 22356"/>
                    <a:gd name="connsiteY2" fmla="*/ 45716 h 45716"/>
                    <a:gd name="connsiteX3" fmla="*/ 22356 w 22356"/>
                    <a:gd name="connsiteY3" fmla="*/ 29389 h 45716"/>
                    <a:gd name="connsiteX4" fmla="*/ 22356 w 22356"/>
                    <a:gd name="connsiteY4" fmla="*/ 29012 h 45716"/>
                    <a:gd name="connsiteX5" fmla="*/ 0 w 22356"/>
                    <a:gd name="connsiteY5" fmla="*/ 0 h 4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56" h="45716">
                      <a:moveTo>
                        <a:pt x="0" y="0"/>
                      </a:moveTo>
                      <a:lnTo>
                        <a:pt x="0" y="16704"/>
                      </a:lnTo>
                      <a:lnTo>
                        <a:pt x="22356" y="45716"/>
                      </a:lnTo>
                      <a:lnTo>
                        <a:pt x="22356" y="29389"/>
                      </a:lnTo>
                      <a:cubicBezTo>
                        <a:pt x="22356" y="29264"/>
                        <a:pt x="22356" y="29138"/>
                        <a:pt x="22356" y="29012"/>
                      </a:cubicBezTo>
                      <a:lnTo>
                        <a:pt x="0" y="0"/>
                      </a:ln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0" name="Freeform: Shape 1509">
                  <a:extLst>
                    <a:ext uri="{FF2B5EF4-FFF2-40B4-BE49-F238E27FC236}">
                      <a16:creationId xmlns:a16="http://schemas.microsoft.com/office/drawing/2014/main" id="{B365B30D-A515-4D7D-B5E8-BBE287579CA5}"/>
                    </a:ext>
                  </a:extLst>
                </p:cNvPr>
                <p:cNvSpPr/>
                <p:nvPr/>
              </p:nvSpPr>
              <p:spPr>
                <a:xfrm>
                  <a:off x="3421708" y="1681062"/>
                  <a:ext cx="22230" cy="36799"/>
                </a:xfrm>
                <a:custGeom>
                  <a:avLst/>
                  <a:gdLst>
                    <a:gd name="connsiteX0" fmla="*/ 0 w 22230"/>
                    <a:gd name="connsiteY0" fmla="*/ 7787 h 36799"/>
                    <a:gd name="connsiteX1" fmla="*/ 22231 w 22230"/>
                    <a:gd name="connsiteY1" fmla="*/ 36799 h 36799"/>
                    <a:gd name="connsiteX2" fmla="*/ 22231 w 22230"/>
                    <a:gd name="connsiteY2" fmla="*/ 29012 h 36799"/>
                    <a:gd name="connsiteX3" fmla="*/ 0 w 22230"/>
                    <a:gd name="connsiteY3" fmla="*/ 0 h 36799"/>
                  </a:gdLst>
                  <a:ahLst/>
                  <a:cxnLst>
                    <a:cxn ang="0">
                      <a:pos x="connsiteX0" y="connsiteY0"/>
                    </a:cxn>
                    <a:cxn ang="0">
                      <a:pos x="connsiteX1" y="connsiteY1"/>
                    </a:cxn>
                    <a:cxn ang="0">
                      <a:pos x="connsiteX2" y="connsiteY2"/>
                    </a:cxn>
                    <a:cxn ang="0">
                      <a:pos x="connsiteX3" y="connsiteY3"/>
                    </a:cxn>
                  </a:cxnLst>
                  <a:rect l="l" t="t" r="r" b="b"/>
                  <a:pathLst>
                    <a:path w="22230" h="36799">
                      <a:moveTo>
                        <a:pt x="0" y="7787"/>
                      </a:moveTo>
                      <a:lnTo>
                        <a:pt x="22231" y="36799"/>
                      </a:lnTo>
                      <a:lnTo>
                        <a:pt x="22231" y="29012"/>
                      </a:lnTo>
                      <a:lnTo>
                        <a:pt x="0" y="0"/>
                      </a:ln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11" name="Graphic 4">
                  <a:extLst>
                    <a:ext uri="{FF2B5EF4-FFF2-40B4-BE49-F238E27FC236}">
                      <a16:creationId xmlns:a16="http://schemas.microsoft.com/office/drawing/2014/main" id="{84FB7ED1-A2DF-40A1-A747-5F7CF3F14040}"/>
                    </a:ext>
                  </a:extLst>
                </p:cNvPr>
                <p:cNvGrpSpPr/>
                <p:nvPr/>
              </p:nvGrpSpPr>
              <p:grpSpPr>
                <a:xfrm>
                  <a:off x="3408646" y="1687005"/>
                  <a:ext cx="43832" cy="57355"/>
                  <a:chOff x="3408646" y="1687005"/>
                  <a:chExt cx="43832" cy="57355"/>
                </a:xfrm>
                <a:solidFill>
                  <a:schemeClr val="accent1"/>
                </a:solidFill>
              </p:grpSpPr>
              <p:sp>
                <p:nvSpPr>
                  <p:cNvPr id="1512" name="Freeform: Shape 1511">
                    <a:extLst>
                      <a:ext uri="{FF2B5EF4-FFF2-40B4-BE49-F238E27FC236}">
                        <a16:creationId xmlns:a16="http://schemas.microsoft.com/office/drawing/2014/main" id="{E63E128E-C41C-45C7-B3E2-27565B75F5BB}"/>
                      </a:ext>
                    </a:extLst>
                  </p:cNvPr>
                  <p:cNvSpPr/>
                  <p:nvPr/>
                </p:nvSpPr>
                <p:spPr>
                  <a:xfrm>
                    <a:off x="3418066" y="1697752"/>
                    <a:ext cx="24742" cy="26653"/>
                  </a:xfrm>
                  <a:custGeom>
                    <a:avLst/>
                    <a:gdLst>
                      <a:gd name="connsiteX0" fmla="*/ 0 w 24742"/>
                      <a:gd name="connsiteY0" fmla="*/ 9057 h 26653"/>
                      <a:gd name="connsiteX1" fmla="*/ 4647 w 24742"/>
                      <a:gd name="connsiteY1" fmla="*/ 17095 h 26653"/>
                      <a:gd name="connsiteX2" fmla="*/ 20095 w 24742"/>
                      <a:gd name="connsiteY2" fmla="*/ 26012 h 26653"/>
                      <a:gd name="connsiteX3" fmla="*/ 24742 w 24742"/>
                      <a:gd name="connsiteY3" fmla="*/ 23374 h 26653"/>
                      <a:gd name="connsiteX4" fmla="*/ 24742 w 24742"/>
                      <a:gd name="connsiteY4" fmla="*/ 17597 h 26653"/>
                      <a:gd name="connsiteX5" fmla="*/ 20095 w 24742"/>
                      <a:gd name="connsiteY5" fmla="*/ 9559 h 26653"/>
                      <a:gd name="connsiteX6" fmla="*/ 4647 w 24742"/>
                      <a:gd name="connsiteY6" fmla="*/ 642 h 26653"/>
                      <a:gd name="connsiteX7" fmla="*/ 0 w 24742"/>
                      <a:gd name="connsiteY7" fmla="*/ 3279 h 26653"/>
                      <a:gd name="connsiteX8" fmla="*/ 0 w 24742"/>
                      <a:gd name="connsiteY8" fmla="*/ 9057 h 2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42" h="26653">
                        <a:moveTo>
                          <a:pt x="0" y="9057"/>
                        </a:moveTo>
                        <a:cubicBezTo>
                          <a:pt x="0" y="11945"/>
                          <a:pt x="2010" y="15587"/>
                          <a:pt x="4647" y="17095"/>
                        </a:cubicBezTo>
                        <a:lnTo>
                          <a:pt x="20095" y="26012"/>
                        </a:lnTo>
                        <a:cubicBezTo>
                          <a:pt x="22607" y="27519"/>
                          <a:pt x="24742" y="26263"/>
                          <a:pt x="24742" y="23374"/>
                        </a:cubicBezTo>
                        <a:lnTo>
                          <a:pt x="24742" y="17597"/>
                        </a:lnTo>
                        <a:cubicBezTo>
                          <a:pt x="24742" y="14708"/>
                          <a:pt x="22733" y="11066"/>
                          <a:pt x="20095" y="9559"/>
                        </a:cubicBezTo>
                        <a:lnTo>
                          <a:pt x="4647" y="642"/>
                        </a:lnTo>
                        <a:cubicBezTo>
                          <a:pt x="2135" y="-865"/>
                          <a:pt x="0" y="390"/>
                          <a:pt x="0" y="3279"/>
                        </a:cubicBezTo>
                        <a:lnTo>
                          <a:pt x="0" y="9057"/>
                        </a:lnTo>
                        <a:close/>
                      </a:path>
                    </a:pathLst>
                  </a:custGeom>
                  <a:solidFill>
                    <a:srgbClr val="42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3" name="Freeform: Shape 1512">
                    <a:extLst>
                      <a:ext uri="{FF2B5EF4-FFF2-40B4-BE49-F238E27FC236}">
                        <a16:creationId xmlns:a16="http://schemas.microsoft.com/office/drawing/2014/main" id="{C35D61DB-B03B-41C7-8E50-9E2D391DD629}"/>
                      </a:ext>
                    </a:extLst>
                  </p:cNvPr>
                  <p:cNvSpPr/>
                  <p:nvPr/>
                </p:nvSpPr>
                <p:spPr>
                  <a:xfrm>
                    <a:off x="3417061" y="1698757"/>
                    <a:ext cx="24742" cy="26527"/>
                  </a:xfrm>
                  <a:custGeom>
                    <a:avLst/>
                    <a:gdLst>
                      <a:gd name="connsiteX0" fmla="*/ 0 w 24742"/>
                      <a:gd name="connsiteY0" fmla="*/ 8931 h 26527"/>
                      <a:gd name="connsiteX1" fmla="*/ 4647 w 24742"/>
                      <a:gd name="connsiteY1" fmla="*/ 16969 h 26527"/>
                      <a:gd name="connsiteX2" fmla="*/ 20095 w 24742"/>
                      <a:gd name="connsiteY2" fmla="*/ 25886 h 26527"/>
                      <a:gd name="connsiteX3" fmla="*/ 24742 w 24742"/>
                      <a:gd name="connsiteY3" fmla="*/ 23249 h 26527"/>
                      <a:gd name="connsiteX4" fmla="*/ 24742 w 24742"/>
                      <a:gd name="connsiteY4" fmla="*/ 17471 h 26527"/>
                      <a:gd name="connsiteX5" fmla="*/ 20095 w 24742"/>
                      <a:gd name="connsiteY5" fmla="*/ 9559 h 26527"/>
                      <a:gd name="connsiteX6" fmla="*/ 4647 w 24742"/>
                      <a:gd name="connsiteY6" fmla="*/ 642 h 26527"/>
                      <a:gd name="connsiteX7" fmla="*/ 0 w 24742"/>
                      <a:gd name="connsiteY7" fmla="*/ 3279 h 26527"/>
                      <a:gd name="connsiteX8" fmla="*/ 0 w 24742"/>
                      <a:gd name="connsiteY8" fmla="*/ 8931 h 26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42" h="26527">
                        <a:moveTo>
                          <a:pt x="0" y="8931"/>
                        </a:moveTo>
                        <a:cubicBezTo>
                          <a:pt x="0" y="11820"/>
                          <a:pt x="2010" y="15462"/>
                          <a:pt x="4647" y="16969"/>
                        </a:cubicBezTo>
                        <a:lnTo>
                          <a:pt x="20095" y="25886"/>
                        </a:lnTo>
                        <a:cubicBezTo>
                          <a:pt x="22607" y="27393"/>
                          <a:pt x="24742" y="26137"/>
                          <a:pt x="24742" y="23249"/>
                        </a:cubicBezTo>
                        <a:lnTo>
                          <a:pt x="24742" y="17471"/>
                        </a:lnTo>
                        <a:cubicBezTo>
                          <a:pt x="24742" y="14583"/>
                          <a:pt x="22733" y="10940"/>
                          <a:pt x="20095" y="9559"/>
                        </a:cubicBezTo>
                        <a:lnTo>
                          <a:pt x="4647" y="642"/>
                        </a:lnTo>
                        <a:cubicBezTo>
                          <a:pt x="2135" y="-866"/>
                          <a:pt x="0" y="390"/>
                          <a:pt x="0" y="3279"/>
                        </a:cubicBezTo>
                        <a:lnTo>
                          <a:pt x="0" y="8931"/>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14" name="Graphic 4">
                    <a:extLst>
                      <a:ext uri="{FF2B5EF4-FFF2-40B4-BE49-F238E27FC236}">
                        <a16:creationId xmlns:a16="http://schemas.microsoft.com/office/drawing/2014/main" id="{84FB7ED1-A2DF-40A1-A747-5F7CF3F14040}"/>
                      </a:ext>
                    </a:extLst>
                  </p:cNvPr>
                  <p:cNvGrpSpPr/>
                  <p:nvPr/>
                </p:nvGrpSpPr>
                <p:grpSpPr>
                  <a:xfrm>
                    <a:off x="3408646" y="1687005"/>
                    <a:ext cx="43832" cy="57355"/>
                    <a:chOff x="3408646" y="1687005"/>
                    <a:chExt cx="43832" cy="57355"/>
                  </a:xfrm>
                  <a:solidFill>
                    <a:schemeClr val="accent1"/>
                  </a:solidFill>
                </p:grpSpPr>
                <p:sp>
                  <p:nvSpPr>
                    <p:cNvPr id="1515" name="Freeform: Shape 1514">
                      <a:extLst>
                        <a:ext uri="{FF2B5EF4-FFF2-40B4-BE49-F238E27FC236}">
                          <a16:creationId xmlns:a16="http://schemas.microsoft.com/office/drawing/2014/main" id="{A3F6A15B-88E1-4875-BDEE-1AE7C5D13EB2}"/>
                        </a:ext>
                      </a:extLst>
                    </p:cNvPr>
                    <p:cNvSpPr/>
                    <p:nvPr/>
                  </p:nvSpPr>
                  <p:spPr>
                    <a:xfrm>
                      <a:off x="3409023" y="1687310"/>
                      <a:ext cx="43455" cy="56172"/>
                    </a:xfrm>
                    <a:custGeom>
                      <a:avLst/>
                      <a:gdLst>
                        <a:gd name="connsiteX0" fmla="*/ 0 w 43455"/>
                        <a:gd name="connsiteY0" fmla="*/ 1162 h 56172"/>
                        <a:gd name="connsiteX1" fmla="*/ 0 w 43455"/>
                        <a:gd name="connsiteY1" fmla="*/ 31681 h 56172"/>
                        <a:gd name="connsiteX2" fmla="*/ 628 w 43455"/>
                        <a:gd name="connsiteY2" fmla="*/ 32058 h 56172"/>
                        <a:gd name="connsiteX3" fmla="*/ 9671 w 43455"/>
                        <a:gd name="connsiteY3" fmla="*/ 37333 h 56172"/>
                        <a:gd name="connsiteX4" fmla="*/ 11052 w 43455"/>
                        <a:gd name="connsiteY4" fmla="*/ 38086 h 56172"/>
                        <a:gd name="connsiteX5" fmla="*/ 11555 w 43455"/>
                        <a:gd name="connsiteY5" fmla="*/ 38463 h 56172"/>
                        <a:gd name="connsiteX6" fmla="*/ 13062 w 43455"/>
                        <a:gd name="connsiteY6" fmla="*/ 39342 h 56172"/>
                        <a:gd name="connsiteX7" fmla="*/ 43456 w 43455"/>
                        <a:gd name="connsiteY7" fmla="*/ 56172 h 56172"/>
                        <a:gd name="connsiteX8" fmla="*/ 43456 w 43455"/>
                        <a:gd name="connsiteY8" fmla="*/ 39468 h 56172"/>
                        <a:gd name="connsiteX9" fmla="*/ 26500 w 43455"/>
                        <a:gd name="connsiteY9" fmla="*/ 29672 h 56172"/>
                        <a:gd name="connsiteX10" fmla="*/ 18965 w 43455"/>
                        <a:gd name="connsiteY10" fmla="*/ 24397 h 56172"/>
                        <a:gd name="connsiteX11" fmla="*/ 10927 w 43455"/>
                        <a:gd name="connsiteY11" fmla="*/ 9074 h 56172"/>
                        <a:gd name="connsiteX12" fmla="*/ 10927 w 43455"/>
                        <a:gd name="connsiteY12" fmla="*/ 5306 h 56172"/>
                        <a:gd name="connsiteX13" fmla="*/ 10550 w 43455"/>
                        <a:gd name="connsiteY13" fmla="*/ 5557 h 56172"/>
                        <a:gd name="connsiteX14" fmla="*/ 1381 w 43455"/>
                        <a:gd name="connsiteY14" fmla="*/ 659 h 56172"/>
                        <a:gd name="connsiteX15" fmla="*/ 0 w 43455"/>
                        <a:gd name="connsiteY15" fmla="*/ 1162 h 5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455" h="56172">
                          <a:moveTo>
                            <a:pt x="0" y="1162"/>
                          </a:moveTo>
                          <a:cubicBezTo>
                            <a:pt x="0" y="2794"/>
                            <a:pt x="0" y="31681"/>
                            <a:pt x="0" y="31681"/>
                          </a:cubicBezTo>
                          <a:lnTo>
                            <a:pt x="628" y="32058"/>
                          </a:lnTo>
                          <a:lnTo>
                            <a:pt x="9671" y="37333"/>
                          </a:lnTo>
                          <a:lnTo>
                            <a:pt x="11052" y="38086"/>
                          </a:lnTo>
                          <a:lnTo>
                            <a:pt x="11555" y="38463"/>
                          </a:lnTo>
                          <a:lnTo>
                            <a:pt x="13062" y="39342"/>
                          </a:lnTo>
                          <a:lnTo>
                            <a:pt x="43456" y="56172"/>
                          </a:lnTo>
                          <a:lnTo>
                            <a:pt x="43456" y="39468"/>
                          </a:lnTo>
                          <a:lnTo>
                            <a:pt x="26500" y="29672"/>
                          </a:lnTo>
                          <a:cubicBezTo>
                            <a:pt x="24114" y="28164"/>
                            <a:pt x="21351" y="26406"/>
                            <a:pt x="18965" y="24397"/>
                          </a:cubicBezTo>
                          <a:cubicBezTo>
                            <a:pt x="14569" y="20629"/>
                            <a:pt x="10927" y="15605"/>
                            <a:pt x="10927" y="9074"/>
                          </a:cubicBezTo>
                          <a:lnTo>
                            <a:pt x="10927" y="5306"/>
                          </a:lnTo>
                          <a:lnTo>
                            <a:pt x="10550" y="5557"/>
                          </a:lnTo>
                          <a:cubicBezTo>
                            <a:pt x="10550" y="5557"/>
                            <a:pt x="2261" y="1162"/>
                            <a:pt x="1381" y="659"/>
                          </a:cubicBezTo>
                          <a:cubicBezTo>
                            <a:pt x="125" y="-346"/>
                            <a:pt x="0" y="-220"/>
                            <a:pt x="0" y="1162"/>
                          </a:cubicBez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6" name="Freeform: Shape 1515">
                      <a:extLst>
                        <a:ext uri="{FF2B5EF4-FFF2-40B4-BE49-F238E27FC236}">
                          <a16:creationId xmlns:a16="http://schemas.microsoft.com/office/drawing/2014/main" id="{8EBF027D-1EF8-4D29-8A39-82B2FCB3BFAD}"/>
                        </a:ext>
                      </a:extLst>
                    </p:cNvPr>
                    <p:cNvSpPr/>
                    <p:nvPr/>
                  </p:nvSpPr>
                  <p:spPr>
                    <a:xfrm>
                      <a:off x="3408646" y="1687005"/>
                      <a:ext cx="43455" cy="57355"/>
                    </a:xfrm>
                    <a:custGeom>
                      <a:avLst/>
                      <a:gdLst>
                        <a:gd name="connsiteX0" fmla="*/ 0 w 43455"/>
                        <a:gd name="connsiteY0" fmla="*/ 1592 h 57355"/>
                        <a:gd name="connsiteX1" fmla="*/ 0 w 43455"/>
                        <a:gd name="connsiteY1" fmla="*/ 32111 h 57355"/>
                        <a:gd name="connsiteX2" fmla="*/ 628 w 43455"/>
                        <a:gd name="connsiteY2" fmla="*/ 32488 h 57355"/>
                        <a:gd name="connsiteX3" fmla="*/ 9671 w 43455"/>
                        <a:gd name="connsiteY3" fmla="*/ 37763 h 57355"/>
                        <a:gd name="connsiteX4" fmla="*/ 10927 w 43455"/>
                        <a:gd name="connsiteY4" fmla="*/ 38517 h 57355"/>
                        <a:gd name="connsiteX5" fmla="*/ 11555 w 43455"/>
                        <a:gd name="connsiteY5" fmla="*/ 38893 h 57355"/>
                        <a:gd name="connsiteX6" fmla="*/ 13062 w 43455"/>
                        <a:gd name="connsiteY6" fmla="*/ 39773 h 57355"/>
                        <a:gd name="connsiteX7" fmla="*/ 43456 w 43455"/>
                        <a:gd name="connsiteY7" fmla="*/ 57356 h 57355"/>
                        <a:gd name="connsiteX8" fmla="*/ 43456 w 43455"/>
                        <a:gd name="connsiteY8" fmla="*/ 39898 h 57355"/>
                        <a:gd name="connsiteX9" fmla="*/ 26500 w 43455"/>
                        <a:gd name="connsiteY9" fmla="*/ 30102 h 57355"/>
                        <a:gd name="connsiteX10" fmla="*/ 18965 w 43455"/>
                        <a:gd name="connsiteY10" fmla="*/ 24827 h 57355"/>
                        <a:gd name="connsiteX11" fmla="*/ 10927 w 43455"/>
                        <a:gd name="connsiteY11" fmla="*/ 9504 h 57355"/>
                        <a:gd name="connsiteX12" fmla="*/ 10927 w 43455"/>
                        <a:gd name="connsiteY12" fmla="*/ 5862 h 57355"/>
                        <a:gd name="connsiteX13" fmla="*/ 1633 w 43455"/>
                        <a:gd name="connsiteY13" fmla="*/ 461 h 57355"/>
                        <a:gd name="connsiteX14" fmla="*/ 0 w 43455"/>
                        <a:gd name="connsiteY14" fmla="*/ 1592 h 5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455" h="57355">
                          <a:moveTo>
                            <a:pt x="0" y="1592"/>
                          </a:moveTo>
                          <a:cubicBezTo>
                            <a:pt x="0" y="3225"/>
                            <a:pt x="0" y="32111"/>
                            <a:pt x="0" y="32111"/>
                          </a:cubicBezTo>
                          <a:lnTo>
                            <a:pt x="628" y="32488"/>
                          </a:lnTo>
                          <a:lnTo>
                            <a:pt x="9671" y="37763"/>
                          </a:lnTo>
                          <a:lnTo>
                            <a:pt x="10927" y="38517"/>
                          </a:lnTo>
                          <a:lnTo>
                            <a:pt x="11555" y="38893"/>
                          </a:lnTo>
                          <a:lnTo>
                            <a:pt x="13062" y="39773"/>
                          </a:lnTo>
                          <a:lnTo>
                            <a:pt x="43456" y="57356"/>
                          </a:lnTo>
                          <a:lnTo>
                            <a:pt x="43456" y="39898"/>
                          </a:lnTo>
                          <a:lnTo>
                            <a:pt x="26500" y="30102"/>
                          </a:lnTo>
                          <a:cubicBezTo>
                            <a:pt x="24114" y="28595"/>
                            <a:pt x="21351" y="26836"/>
                            <a:pt x="18965" y="24827"/>
                          </a:cubicBezTo>
                          <a:cubicBezTo>
                            <a:pt x="14569" y="20933"/>
                            <a:pt x="10927" y="16035"/>
                            <a:pt x="10927" y="9504"/>
                          </a:cubicBezTo>
                          <a:lnTo>
                            <a:pt x="10927" y="5862"/>
                          </a:lnTo>
                          <a:cubicBezTo>
                            <a:pt x="10927" y="5862"/>
                            <a:pt x="3140" y="1341"/>
                            <a:pt x="1633" y="461"/>
                          </a:cubicBezTo>
                          <a:cubicBezTo>
                            <a:pt x="377" y="-543"/>
                            <a:pt x="0" y="210"/>
                            <a:pt x="0" y="1592"/>
                          </a:cubicBez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7" name="Freeform: Shape 1516">
                      <a:extLst>
                        <a:ext uri="{FF2B5EF4-FFF2-40B4-BE49-F238E27FC236}">
                          <a16:creationId xmlns:a16="http://schemas.microsoft.com/office/drawing/2014/main" id="{B7CF7D05-60DA-4137-9C8E-3FBD196CAABE}"/>
                        </a:ext>
                      </a:extLst>
                    </p:cNvPr>
                    <p:cNvSpPr/>
                    <p:nvPr/>
                  </p:nvSpPr>
                  <p:spPr>
                    <a:xfrm>
                      <a:off x="3429872" y="1724640"/>
                      <a:ext cx="18964" cy="16581"/>
                    </a:xfrm>
                    <a:custGeom>
                      <a:avLst/>
                      <a:gdLst>
                        <a:gd name="connsiteX0" fmla="*/ 1381 w 18964"/>
                        <a:gd name="connsiteY0" fmla="*/ 2012 h 16581"/>
                        <a:gd name="connsiteX1" fmla="*/ 9671 w 18964"/>
                        <a:gd name="connsiteY1" fmla="*/ 1259 h 16581"/>
                        <a:gd name="connsiteX2" fmla="*/ 18965 w 18964"/>
                        <a:gd name="connsiteY2" fmla="*/ 15326 h 16581"/>
                        <a:gd name="connsiteX3" fmla="*/ 17206 w 18964"/>
                        <a:gd name="connsiteY3" fmla="*/ 16581 h 16581"/>
                        <a:gd name="connsiteX4" fmla="*/ 15825 w 18964"/>
                        <a:gd name="connsiteY4" fmla="*/ 15828 h 16581"/>
                        <a:gd name="connsiteX5" fmla="*/ 0 w 18964"/>
                        <a:gd name="connsiteY5" fmla="*/ 6659 h 16581"/>
                        <a:gd name="connsiteX6" fmla="*/ 1381 w 18964"/>
                        <a:gd name="connsiteY6" fmla="*/ 2012 h 1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964" h="16581">
                          <a:moveTo>
                            <a:pt x="1381" y="2012"/>
                          </a:moveTo>
                          <a:cubicBezTo>
                            <a:pt x="3014" y="-248"/>
                            <a:pt x="6154" y="-751"/>
                            <a:pt x="9671" y="1259"/>
                          </a:cubicBezTo>
                          <a:cubicBezTo>
                            <a:pt x="14318" y="3896"/>
                            <a:pt x="18086" y="9799"/>
                            <a:pt x="18965" y="15326"/>
                          </a:cubicBezTo>
                          <a:cubicBezTo>
                            <a:pt x="18211" y="15577"/>
                            <a:pt x="17583" y="15953"/>
                            <a:pt x="17206" y="16581"/>
                          </a:cubicBezTo>
                          <a:lnTo>
                            <a:pt x="15825" y="15828"/>
                          </a:lnTo>
                          <a:lnTo>
                            <a:pt x="0" y="6659"/>
                          </a:lnTo>
                          <a:cubicBezTo>
                            <a:pt x="125" y="4776"/>
                            <a:pt x="502" y="3143"/>
                            <a:pt x="1381" y="2012"/>
                          </a:cubicBez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18" name="Graphic 4">
                      <a:extLst>
                        <a:ext uri="{FF2B5EF4-FFF2-40B4-BE49-F238E27FC236}">
                          <a16:creationId xmlns:a16="http://schemas.microsoft.com/office/drawing/2014/main" id="{84FB7ED1-A2DF-40A1-A747-5F7CF3F14040}"/>
                        </a:ext>
                      </a:extLst>
                    </p:cNvPr>
                    <p:cNvGrpSpPr/>
                    <p:nvPr/>
                  </p:nvGrpSpPr>
                  <p:grpSpPr>
                    <a:xfrm>
                      <a:off x="3430500" y="1724537"/>
                      <a:ext cx="16955" cy="18800"/>
                      <a:chOff x="3430500" y="1724537"/>
                      <a:chExt cx="16955" cy="18800"/>
                    </a:xfrm>
                    <a:solidFill>
                      <a:schemeClr val="accent1"/>
                    </a:solidFill>
                  </p:grpSpPr>
                  <p:sp>
                    <p:nvSpPr>
                      <p:cNvPr id="1519" name="Freeform: Shape 1518">
                        <a:extLst>
                          <a:ext uri="{FF2B5EF4-FFF2-40B4-BE49-F238E27FC236}">
                            <a16:creationId xmlns:a16="http://schemas.microsoft.com/office/drawing/2014/main" id="{03D2A5DE-0284-47D1-BED6-FC45F21F2EA8}"/>
                          </a:ext>
                        </a:extLst>
                      </p:cNvPr>
                      <p:cNvSpPr/>
                      <p:nvPr/>
                    </p:nvSpPr>
                    <p:spPr>
                      <a:xfrm>
                        <a:off x="3432362" y="1724758"/>
                        <a:ext cx="13200" cy="17849"/>
                      </a:xfrm>
                      <a:custGeom>
                        <a:avLst/>
                        <a:gdLst>
                          <a:gd name="connsiteX0" fmla="*/ 0 w 13200"/>
                          <a:gd name="connsiteY0" fmla="*/ 2510 h 17849"/>
                          <a:gd name="connsiteX1" fmla="*/ 4352 w 13200"/>
                          <a:gd name="connsiteY1" fmla="*/ 0 h 17849"/>
                          <a:gd name="connsiteX2" fmla="*/ 13201 w 13200"/>
                          <a:gd name="connsiteY2" fmla="*/ 15339 h 17849"/>
                          <a:gd name="connsiteX3" fmla="*/ 8849 w 13200"/>
                          <a:gd name="connsiteY3" fmla="*/ 17850 h 17849"/>
                        </a:gdLst>
                        <a:ahLst/>
                        <a:cxnLst>
                          <a:cxn ang="0">
                            <a:pos x="connsiteX0" y="connsiteY0"/>
                          </a:cxn>
                          <a:cxn ang="0">
                            <a:pos x="connsiteX1" y="connsiteY1"/>
                          </a:cxn>
                          <a:cxn ang="0">
                            <a:pos x="connsiteX2" y="connsiteY2"/>
                          </a:cxn>
                          <a:cxn ang="0">
                            <a:pos x="connsiteX3" y="connsiteY3"/>
                          </a:cxn>
                        </a:cxnLst>
                        <a:rect l="l" t="t" r="r" b="b"/>
                        <a:pathLst>
                          <a:path w="13200" h="17849">
                            <a:moveTo>
                              <a:pt x="0" y="2510"/>
                            </a:moveTo>
                            <a:lnTo>
                              <a:pt x="4352" y="0"/>
                            </a:lnTo>
                            <a:lnTo>
                              <a:pt x="13201" y="15339"/>
                            </a:lnTo>
                            <a:lnTo>
                              <a:pt x="8849" y="17850"/>
                            </a:ln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20" name="Graphic 4">
                        <a:extLst>
                          <a:ext uri="{FF2B5EF4-FFF2-40B4-BE49-F238E27FC236}">
                            <a16:creationId xmlns:a16="http://schemas.microsoft.com/office/drawing/2014/main" id="{84FB7ED1-A2DF-40A1-A747-5F7CF3F14040}"/>
                          </a:ext>
                        </a:extLst>
                      </p:cNvPr>
                      <p:cNvGrpSpPr/>
                      <p:nvPr/>
                    </p:nvGrpSpPr>
                    <p:grpSpPr>
                      <a:xfrm>
                        <a:off x="3430500" y="1724537"/>
                        <a:ext cx="16955" cy="18800"/>
                        <a:chOff x="3430500" y="1724537"/>
                        <a:chExt cx="16955" cy="18800"/>
                      </a:xfrm>
                      <a:solidFill>
                        <a:schemeClr val="accent1"/>
                      </a:solidFill>
                    </p:grpSpPr>
                    <p:sp>
                      <p:nvSpPr>
                        <p:cNvPr id="1521" name="Freeform: Shape 1520">
                          <a:extLst>
                            <a:ext uri="{FF2B5EF4-FFF2-40B4-BE49-F238E27FC236}">
                              <a16:creationId xmlns:a16="http://schemas.microsoft.com/office/drawing/2014/main" id="{C7491C02-0B18-4F58-8DAA-85D0BB416C37}"/>
                            </a:ext>
                          </a:extLst>
                        </p:cNvPr>
                        <p:cNvSpPr/>
                        <p:nvPr/>
                      </p:nvSpPr>
                      <p:spPr>
                        <a:xfrm>
                          <a:off x="3434895" y="1724537"/>
                          <a:ext cx="12559" cy="16288"/>
                        </a:xfrm>
                        <a:custGeom>
                          <a:avLst/>
                          <a:gdLst>
                            <a:gd name="connsiteX0" fmla="*/ 0 w 12559"/>
                            <a:gd name="connsiteY0" fmla="*/ 4502 h 16288"/>
                            <a:gd name="connsiteX1" fmla="*/ 6280 w 12559"/>
                            <a:gd name="connsiteY1" fmla="*/ 860 h 16288"/>
                            <a:gd name="connsiteX2" fmla="*/ 12559 w 12559"/>
                            <a:gd name="connsiteY2" fmla="*/ 11787 h 16288"/>
                            <a:gd name="connsiteX3" fmla="*/ 6280 w 12559"/>
                            <a:gd name="connsiteY3" fmla="*/ 15429 h 16288"/>
                            <a:gd name="connsiteX4" fmla="*/ 0 w 12559"/>
                            <a:gd name="connsiteY4" fmla="*/ 4502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6288">
                              <a:moveTo>
                                <a:pt x="0" y="4502"/>
                              </a:moveTo>
                              <a:cubicBezTo>
                                <a:pt x="0" y="483"/>
                                <a:pt x="2763" y="-1150"/>
                                <a:pt x="6280" y="860"/>
                              </a:cubicBezTo>
                              <a:cubicBezTo>
                                <a:pt x="9796" y="2869"/>
                                <a:pt x="12559" y="7768"/>
                                <a:pt x="12559" y="11787"/>
                              </a:cubicBezTo>
                              <a:cubicBezTo>
                                <a:pt x="12559" y="15806"/>
                                <a:pt x="9796" y="17438"/>
                                <a:pt x="6280" y="15429"/>
                              </a:cubicBezTo>
                              <a:cubicBezTo>
                                <a:pt x="2763" y="13419"/>
                                <a:pt x="0" y="8521"/>
                                <a:pt x="0" y="4502"/>
                              </a:cubicBez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2" name="Freeform: Shape 1521">
                          <a:extLst>
                            <a:ext uri="{FF2B5EF4-FFF2-40B4-BE49-F238E27FC236}">
                              <a16:creationId xmlns:a16="http://schemas.microsoft.com/office/drawing/2014/main" id="{669689EA-7E25-43B0-91AC-C32ECA5DEC58}"/>
                            </a:ext>
                          </a:extLst>
                        </p:cNvPr>
                        <p:cNvSpPr/>
                        <p:nvPr/>
                      </p:nvSpPr>
                      <p:spPr>
                        <a:xfrm>
                          <a:off x="3430500" y="1727048"/>
                          <a:ext cx="12559" cy="16288"/>
                        </a:xfrm>
                        <a:custGeom>
                          <a:avLst/>
                          <a:gdLst>
                            <a:gd name="connsiteX0" fmla="*/ 0 w 12559"/>
                            <a:gd name="connsiteY0" fmla="*/ 4502 h 16288"/>
                            <a:gd name="connsiteX1" fmla="*/ 6280 w 12559"/>
                            <a:gd name="connsiteY1" fmla="*/ 860 h 16288"/>
                            <a:gd name="connsiteX2" fmla="*/ 12559 w 12559"/>
                            <a:gd name="connsiteY2" fmla="*/ 11787 h 16288"/>
                            <a:gd name="connsiteX3" fmla="*/ 6280 w 12559"/>
                            <a:gd name="connsiteY3" fmla="*/ 15429 h 16288"/>
                            <a:gd name="connsiteX4" fmla="*/ 0 w 12559"/>
                            <a:gd name="connsiteY4" fmla="*/ 4502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6288">
                              <a:moveTo>
                                <a:pt x="0" y="4502"/>
                              </a:moveTo>
                              <a:cubicBezTo>
                                <a:pt x="0" y="483"/>
                                <a:pt x="2763" y="-1150"/>
                                <a:pt x="6280" y="860"/>
                              </a:cubicBezTo>
                              <a:cubicBezTo>
                                <a:pt x="9796" y="2869"/>
                                <a:pt x="12559" y="7768"/>
                                <a:pt x="12559" y="11787"/>
                              </a:cubicBezTo>
                              <a:cubicBezTo>
                                <a:pt x="12559" y="15806"/>
                                <a:pt x="9796" y="17438"/>
                                <a:pt x="6280" y="15429"/>
                              </a:cubicBezTo>
                              <a:cubicBezTo>
                                <a:pt x="2763" y="13419"/>
                                <a:pt x="0" y="8521"/>
                                <a:pt x="0" y="4502"/>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3" name="Freeform: Shape 1522">
                          <a:extLst>
                            <a:ext uri="{FF2B5EF4-FFF2-40B4-BE49-F238E27FC236}">
                              <a16:creationId xmlns:a16="http://schemas.microsoft.com/office/drawing/2014/main" id="{7BB5A854-59BE-4FD9-8E7D-509EBE047310}"/>
                            </a:ext>
                          </a:extLst>
                        </p:cNvPr>
                        <p:cNvSpPr/>
                        <p:nvPr/>
                      </p:nvSpPr>
                      <p:spPr>
                        <a:xfrm>
                          <a:off x="3433012" y="1730379"/>
                          <a:ext cx="7535" cy="9753"/>
                        </a:xfrm>
                        <a:custGeom>
                          <a:avLst/>
                          <a:gdLst>
                            <a:gd name="connsiteX0" fmla="*/ 0 w 7535"/>
                            <a:gd name="connsiteY0" fmla="*/ 2679 h 9753"/>
                            <a:gd name="connsiteX1" fmla="*/ 3768 w 7535"/>
                            <a:gd name="connsiteY1" fmla="*/ 544 h 9753"/>
                            <a:gd name="connsiteX2" fmla="*/ 7535 w 7535"/>
                            <a:gd name="connsiteY2" fmla="*/ 7075 h 9753"/>
                            <a:gd name="connsiteX3" fmla="*/ 3768 w 7535"/>
                            <a:gd name="connsiteY3" fmla="*/ 9210 h 9753"/>
                            <a:gd name="connsiteX4" fmla="*/ 0 w 7535"/>
                            <a:gd name="connsiteY4" fmla="*/ 2679 h 9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5" h="9753">
                              <a:moveTo>
                                <a:pt x="0" y="2679"/>
                              </a:moveTo>
                              <a:cubicBezTo>
                                <a:pt x="0" y="293"/>
                                <a:pt x="1758" y="-712"/>
                                <a:pt x="3768" y="544"/>
                              </a:cubicBezTo>
                              <a:cubicBezTo>
                                <a:pt x="5903" y="1800"/>
                                <a:pt x="7535" y="4689"/>
                                <a:pt x="7535" y="7075"/>
                              </a:cubicBezTo>
                              <a:cubicBezTo>
                                <a:pt x="7535" y="9461"/>
                                <a:pt x="5777" y="10466"/>
                                <a:pt x="3768" y="9210"/>
                              </a:cubicBezTo>
                              <a:cubicBezTo>
                                <a:pt x="1633" y="7954"/>
                                <a:pt x="0" y="5065"/>
                                <a:pt x="0" y="2679"/>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4" name="Freeform: Shape 1523">
                          <a:extLst>
                            <a:ext uri="{FF2B5EF4-FFF2-40B4-BE49-F238E27FC236}">
                              <a16:creationId xmlns:a16="http://schemas.microsoft.com/office/drawing/2014/main" id="{0275A931-5870-4F9E-901A-1FB0D2E18948}"/>
                            </a:ext>
                          </a:extLst>
                        </p:cNvPr>
                        <p:cNvSpPr/>
                        <p:nvPr/>
                      </p:nvSpPr>
                      <p:spPr>
                        <a:xfrm>
                          <a:off x="3433388" y="1730930"/>
                          <a:ext cx="6530" cy="8651"/>
                        </a:xfrm>
                        <a:custGeom>
                          <a:avLst/>
                          <a:gdLst>
                            <a:gd name="connsiteX0" fmla="*/ 0 w 6530"/>
                            <a:gd name="connsiteY0" fmla="*/ 2379 h 8651"/>
                            <a:gd name="connsiteX1" fmla="*/ 3265 w 6530"/>
                            <a:gd name="connsiteY1" fmla="*/ 495 h 8651"/>
                            <a:gd name="connsiteX2" fmla="*/ 6531 w 6530"/>
                            <a:gd name="connsiteY2" fmla="*/ 6272 h 8651"/>
                            <a:gd name="connsiteX3" fmla="*/ 3265 w 6530"/>
                            <a:gd name="connsiteY3" fmla="*/ 8156 h 8651"/>
                            <a:gd name="connsiteX4" fmla="*/ 0 w 6530"/>
                            <a:gd name="connsiteY4" fmla="*/ 2379 h 8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0" h="8651">
                              <a:moveTo>
                                <a:pt x="0" y="2379"/>
                              </a:moveTo>
                              <a:cubicBezTo>
                                <a:pt x="0" y="244"/>
                                <a:pt x="1507" y="-635"/>
                                <a:pt x="3265" y="495"/>
                              </a:cubicBezTo>
                              <a:cubicBezTo>
                                <a:pt x="5149" y="1500"/>
                                <a:pt x="6531" y="4137"/>
                                <a:pt x="6531" y="6272"/>
                              </a:cubicBezTo>
                              <a:cubicBezTo>
                                <a:pt x="6531" y="8408"/>
                                <a:pt x="5024" y="9287"/>
                                <a:pt x="3265" y="8156"/>
                              </a:cubicBezTo>
                              <a:cubicBezTo>
                                <a:pt x="1507" y="7026"/>
                                <a:pt x="0" y="4514"/>
                                <a:pt x="0" y="2379"/>
                              </a:cubicBezTo>
                              <a:close/>
                            </a:path>
                          </a:pathLst>
                        </a:custGeom>
                        <a:solidFill>
                          <a:srgbClr val="5A5E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5" name="Freeform: Shape 1524">
                          <a:extLst>
                            <a:ext uri="{FF2B5EF4-FFF2-40B4-BE49-F238E27FC236}">
                              <a16:creationId xmlns:a16="http://schemas.microsoft.com/office/drawing/2014/main" id="{9E58C1C3-D086-47DE-991B-3CABBD06177B}"/>
                            </a:ext>
                          </a:extLst>
                        </p:cNvPr>
                        <p:cNvSpPr/>
                        <p:nvPr/>
                      </p:nvSpPr>
                      <p:spPr>
                        <a:xfrm>
                          <a:off x="3433765" y="1731256"/>
                          <a:ext cx="6028" cy="7874"/>
                        </a:xfrm>
                        <a:custGeom>
                          <a:avLst/>
                          <a:gdLst>
                            <a:gd name="connsiteX0" fmla="*/ 0 w 6028"/>
                            <a:gd name="connsiteY0" fmla="*/ 2179 h 7874"/>
                            <a:gd name="connsiteX1" fmla="*/ 3014 w 6028"/>
                            <a:gd name="connsiteY1" fmla="*/ 420 h 7874"/>
                            <a:gd name="connsiteX2" fmla="*/ 6028 w 6028"/>
                            <a:gd name="connsiteY2" fmla="*/ 5695 h 7874"/>
                            <a:gd name="connsiteX3" fmla="*/ 3014 w 6028"/>
                            <a:gd name="connsiteY3" fmla="*/ 7454 h 7874"/>
                            <a:gd name="connsiteX4" fmla="*/ 0 w 6028"/>
                            <a:gd name="connsiteY4" fmla="*/ 2179 h 7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7874">
                              <a:moveTo>
                                <a:pt x="0" y="2179"/>
                              </a:moveTo>
                              <a:cubicBezTo>
                                <a:pt x="0" y="295"/>
                                <a:pt x="1381" y="-584"/>
                                <a:pt x="3014" y="420"/>
                              </a:cubicBezTo>
                              <a:cubicBezTo>
                                <a:pt x="4647" y="1425"/>
                                <a:pt x="6028" y="3686"/>
                                <a:pt x="6028" y="5695"/>
                              </a:cubicBezTo>
                              <a:cubicBezTo>
                                <a:pt x="6028" y="7579"/>
                                <a:pt x="4647" y="8458"/>
                                <a:pt x="3014" y="7454"/>
                              </a:cubicBezTo>
                              <a:cubicBezTo>
                                <a:pt x="1381" y="6449"/>
                                <a:pt x="0" y="4188"/>
                                <a:pt x="0" y="2179"/>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6" name="Freeform: Shape 1525">
                          <a:extLst>
                            <a:ext uri="{FF2B5EF4-FFF2-40B4-BE49-F238E27FC236}">
                              <a16:creationId xmlns:a16="http://schemas.microsoft.com/office/drawing/2014/main" id="{E1751867-12D2-43A5-B99C-F41A03AD72F0}"/>
                            </a:ext>
                          </a:extLst>
                        </p:cNvPr>
                        <p:cNvSpPr/>
                        <p:nvPr/>
                      </p:nvSpPr>
                      <p:spPr>
                        <a:xfrm>
                          <a:off x="3434142" y="1731807"/>
                          <a:ext cx="5274" cy="6771"/>
                        </a:xfrm>
                        <a:custGeom>
                          <a:avLst/>
                          <a:gdLst>
                            <a:gd name="connsiteX0" fmla="*/ 0 w 5274"/>
                            <a:gd name="connsiteY0" fmla="*/ 1878 h 6771"/>
                            <a:gd name="connsiteX1" fmla="*/ 2637 w 5274"/>
                            <a:gd name="connsiteY1" fmla="*/ 371 h 6771"/>
                            <a:gd name="connsiteX2" fmla="*/ 5275 w 5274"/>
                            <a:gd name="connsiteY2" fmla="*/ 4893 h 6771"/>
                            <a:gd name="connsiteX3" fmla="*/ 2637 w 5274"/>
                            <a:gd name="connsiteY3" fmla="*/ 6400 h 6771"/>
                            <a:gd name="connsiteX4" fmla="*/ 0 w 5274"/>
                            <a:gd name="connsiteY4" fmla="*/ 1878 h 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771">
                              <a:moveTo>
                                <a:pt x="0" y="1878"/>
                              </a:moveTo>
                              <a:cubicBezTo>
                                <a:pt x="0" y="246"/>
                                <a:pt x="1130" y="-508"/>
                                <a:pt x="2637" y="371"/>
                              </a:cubicBezTo>
                              <a:cubicBezTo>
                                <a:pt x="4019" y="1250"/>
                                <a:pt x="5275" y="3260"/>
                                <a:pt x="5275" y="4893"/>
                              </a:cubicBezTo>
                              <a:cubicBezTo>
                                <a:pt x="5275" y="6525"/>
                                <a:pt x="4144" y="7279"/>
                                <a:pt x="2637" y="6400"/>
                              </a:cubicBezTo>
                              <a:cubicBezTo>
                                <a:pt x="1130" y="5521"/>
                                <a:pt x="0" y="3511"/>
                                <a:pt x="0" y="1878"/>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7" name="Freeform: Shape 1526">
                          <a:extLst>
                            <a:ext uri="{FF2B5EF4-FFF2-40B4-BE49-F238E27FC236}">
                              <a16:creationId xmlns:a16="http://schemas.microsoft.com/office/drawing/2014/main" id="{74B3FE4B-DB5D-4168-AFC3-B912A81F86EE}"/>
                            </a:ext>
                          </a:extLst>
                        </p:cNvPr>
                        <p:cNvSpPr/>
                        <p:nvPr/>
                      </p:nvSpPr>
                      <p:spPr>
                        <a:xfrm>
                          <a:off x="3434519" y="1732359"/>
                          <a:ext cx="4521" cy="5794"/>
                        </a:xfrm>
                        <a:custGeom>
                          <a:avLst/>
                          <a:gdLst>
                            <a:gd name="connsiteX0" fmla="*/ 0 w 4521"/>
                            <a:gd name="connsiteY0" fmla="*/ 1578 h 5794"/>
                            <a:gd name="connsiteX1" fmla="*/ 2261 w 4521"/>
                            <a:gd name="connsiteY1" fmla="*/ 322 h 5794"/>
                            <a:gd name="connsiteX2" fmla="*/ 4521 w 4521"/>
                            <a:gd name="connsiteY2" fmla="*/ 4216 h 5794"/>
                            <a:gd name="connsiteX3" fmla="*/ 2261 w 4521"/>
                            <a:gd name="connsiteY3" fmla="*/ 5472 h 5794"/>
                            <a:gd name="connsiteX4" fmla="*/ 0 w 4521"/>
                            <a:gd name="connsiteY4" fmla="*/ 1578 h 5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1" h="5794">
                              <a:moveTo>
                                <a:pt x="0" y="1578"/>
                              </a:moveTo>
                              <a:cubicBezTo>
                                <a:pt x="0" y="197"/>
                                <a:pt x="1005" y="-431"/>
                                <a:pt x="2261" y="322"/>
                              </a:cubicBezTo>
                              <a:cubicBezTo>
                                <a:pt x="3517" y="1076"/>
                                <a:pt x="4521" y="2834"/>
                                <a:pt x="4521" y="4216"/>
                              </a:cubicBezTo>
                              <a:cubicBezTo>
                                <a:pt x="4521" y="5597"/>
                                <a:pt x="3517" y="6225"/>
                                <a:pt x="2261" y="5472"/>
                              </a:cubicBezTo>
                              <a:cubicBezTo>
                                <a:pt x="1005" y="4718"/>
                                <a:pt x="0" y="2960"/>
                                <a:pt x="0" y="1578"/>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8" name="Freeform: Shape 1527">
                          <a:extLst>
                            <a:ext uri="{FF2B5EF4-FFF2-40B4-BE49-F238E27FC236}">
                              <a16:creationId xmlns:a16="http://schemas.microsoft.com/office/drawing/2014/main" id="{EDC64511-6C2D-424B-8B01-8B28AABEC488}"/>
                            </a:ext>
                          </a:extLst>
                        </p:cNvPr>
                        <p:cNvSpPr/>
                        <p:nvPr/>
                      </p:nvSpPr>
                      <p:spPr>
                        <a:xfrm>
                          <a:off x="3435146" y="1733213"/>
                          <a:ext cx="3265" cy="4085"/>
                        </a:xfrm>
                        <a:custGeom>
                          <a:avLst/>
                          <a:gdLst>
                            <a:gd name="connsiteX0" fmla="*/ 0 w 3265"/>
                            <a:gd name="connsiteY0" fmla="*/ 1101 h 4085"/>
                            <a:gd name="connsiteX1" fmla="*/ 1633 w 3265"/>
                            <a:gd name="connsiteY1" fmla="*/ 222 h 4085"/>
                            <a:gd name="connsiteX2" fmla="*/ 3266 w 3265"/>
                            <a:gd name="connsiteY2" fmla="*/ 2985 h 4085"/>
                            <a:gd name="connsiteX3" fmla="*/ 1633 w 3265"/>
                            <a:gd name="connsiteY3" fmla="*/ 3864 h 4085"/>
                            <a:gd name="connsiteX4" fmla="*/ 0 w 3265"/>
                            <a:gd name="connsiteY4" fmla="*/ 1101 h 4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4085">
                              <a:moveTo>
                                <a:pt x="0" y="1101"/>
                              </a:moveTo>
                              <a:cubicBezTo>
                                <a:pt x="0" y="96"/>
                                <a:pt x="754" y="-281"/>
                                <a:pt x="1633" y="222"/>
                              </a:cubicBezTo>
                              <a:cubicBezTo>
                                <a:pt x="2512" y="724"/>
                                <a:pt x="3266" y="1980"/>
                                <a:pt x="3266" y="2985"/>
                              </a:cubicBezTo>
                              <a:cubicBezTo>
                                <a:pt x="3266" y="3989"/>
                                <a:pt x="2512" y="4366"/>
                                <a:pt x="1633" y="3864"/>
                              </a:cubicBezTo>
                              <a:cubicBezTo>
                                <a:pt x="754" y="3361"/>
                                <a:pt x="0" y="2105"/>
                                <a:pt x="0" y="1101"/>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9" name="Freeform: Shape 1528">
                          <a:extLst>
                            <a:ext uri="{FF2B5EF4-FFF2-40B4-BE49-F238E27FC236}">
                              <a16:creationId xmlns:a16="http://schemas.microsoft.com/office/drawing/2014/main" id="{0D62DB73-3E82-4970-AA5B-84C70685ECA4}"/>
                            </a:ext>
                          </a:extLst>
                        </p:cNvPr>
                        <p:cNvSpPr/>
                        <p:nvPr/>
                      </p:nvSpPr>
                      <p:spPr>
                        <a:xfrm>
                          <a:off x="3436528" y="1736023"/>
                          <a:ext cx="627" cy="852"/>
                        </a:xfrm>
                        <a:custGeom>
                          <a:avLst/>
                          <a:gdLst>
                            <a:gd name="connsiteX0" fmla="*/ 0 w 627"/>
                            <a:gd name="connsiteY0" fmla="*/ 300 h 852"/>
                            <a:gd name="connsiteX1" fmla="*/ 251 w 627"/>
                            <a:gd name="connsiteY1" fmla="*/ 49 h 852"/>
                            <a:gd name="connsiteX2" fmla="*/ 628 w 627"/>
                            <a:gd name="connsiteY2" fmla="*/ 552 h 852"/>
                            <a:gd name="connsiteX3" fmla="*/ 377 w 627"/>
                            <a:gd name="connsiteY3" fmla="*/ 803 h 852"/>
                            <a:gd name="connsiteX4" fmla="*/ 0 w 627"/>
                            <a:gd name="connsiteY4" fmla="*/ 300 h 8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 h="852">
                              <a:moveTo>
                                <a:pt x="0" y="300"/>
                              </a:moveTo>
                              <a:cubicBezTo>
                                <a:pt x="0" y="49"/>
                                <a:pt x="125" y="-76"/>
                                <a:pt x="251" y="49"/>
                              </a:cubicBezTo>
                              <a:cubicBezTo>
                                <a:pt x="377" y="175"/>
                                <a:pt x="628" y="300"/>
                                <a:pt x="628" y="552"/>
                              </a:cubicBezTo>
                              <a:cubicBezTo>
                                <a:pt x="628" y="803"/>
                                <a:pt x="502" y="928"/>
                                <a:pt x="377" y="803"/>
                              </a:cubicBezTo>
                              <a:cubicBezTo>
                                <a:pt x="125" y="803"/>
                                <a:pt x="0" y="552"/>
                                <a:pt x="0" y="30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0" name="Freeform: Shape 1529">
                          <a:extLst>
                            <a:ext uri="{FF2B5EF4-FFF2-40B4-BE49-F238E27FC236}">
                              <a16:creationId xmlns:a16="http://schemas.microsoft.com/office/drawing/2014/main" id="{E95730F2-5584-484A-8CC1-7A87A3A8ABE9}"/>
                            </a:ext>
                          </a:extLst>
                        </p:cNvPr>
                        <p:cNvSpPr/>
                        <p:nvPr/>
                      </p:nvSpPr>
                      <p:spPr>
                        <a:xfrm>
                          <a:off x="3437533" y="1735613"/>
                          <a:ext cx="628" cy="918"/>
                        </a:xfrm>
                        <a:custGeom>
                          <a:avLst/>
                          <a:gdLst>
                            <a:gd name="connsiteX0" fmla="*/ 251 w 628"/>
                            <a:gd name="connsiteY0" fmla="*/ 836 h 918"/>
                            <a:gd name="connsiteX1" fmla="*/ 0 w 628"/>
                            <a:gd name="connsiteY1" fmla="*/ 208 h 918"/>
                            <a:gd name="connsiteX2" fmla="*/ 377 w 628"/>
                            <a:gd name="connsiteY2" fmla="*/ 83 h 918"/>
                            <a:gd name="connsiteX3" fmla="*/ 628 w 628"/>
                            <a:gd name="connsiteY3" fmla="*/ 710 h 918"/>
                            <a:gd name="connsiteX4" fmla="*/ 251 w 628"/>
                            <a:gd name="connsiteY4" fmla="*/ 836 h 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 h="918">
                              <a:moveTo>
                                <a:pt x="251" y="836"/>
                              </a:moveTo>
                              <a:cubicBezTo>
                                <a:pt x="126" y="710"/>
                                <a:pt x="0" y="459"/>
                                <a:pt x="0" y="208"/>
                              </a:cubicBezTo>
                              <a:cubicBezTo>
                                <a:pt x="0" y="-43"/>
                                <a:pt x="251" y="-43"/>
                                <a:pt x="377" y="83"/>
                              </a:cubicBezTo>
                              <a:cubicBezTo>
                                <a:pt x="502" y="208"/>
                                <a:pt x="628" y="459"/>
                                <a:pt x="628" y="710"/>
                              </a:cubicBezTo>
                              <a:cubicBezTo>
                                <a:pt x="628" y="962"/>
                                <a:pt x="377" y="962"/>
                                <a:pt x="251" y="836"/>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1" name="Freeform: Shape 1530">
                          <a:extLst>
                            <a:ext uri="{FF2B5EF4-FFF2-40B4-BE49-F238E27FC236}">
                              <a16:creationId xmlns:a16="http://schemas.microsoft.com/office/drawing/2014/main" id="{6902272F-34DE-48E3-A969-4D82ACBC7956}"/>
                            </a:ext>
                          </a:extLst>
                        </p:cNvPr>
                        <p:cNvSpPr/>
                        <p:nvPr/>
                      </p:nvSpPr>
                      <p:spPr>
                        <a:xfrm>
                          <a:off x="3436978" y="1733980"/>
                          <a:ext cx="732" cy="918"/>
                        </a:xfrm>
                        <a:custGeom>
                          <a:avLst/>
                          <a:gdLst>
                            <a:gd name="connsiteX0" fmla="*/ 680 w 732"/>
                            <a:gd name="connsiteY0" fmla="*/ 836 h 918"/>
                            <a:gd name="connsiteX1" fmla="*/ 178 w 732"/>
                            <a:gd name="connsiteY1" fmla="*/ 710 h 918"/>
                            <a:gd name="connsiteX2" fmla="*/ 52 w 732"/>
                            <a:gd name="connsiteY2" fmla="*/ 82 h 918"/>
                            <a:gd name="connsiteX3" fmla="*/ 554 w 732"/>
                            <a:gd name="connsiteY3" fmla="*/ 208 h 918"/>
                            <a:gd name="connsiteX4" fmla="*/ 680 w 732"/>
                            <a:gd name="connsiteY4" fmla="*/ 836 h 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 h="918">
                              <a:moveTo>
                                <a:pt x="680" y="836"/>
                              </a:moveTo>
                              <a:cubicBezTo>
                                <a:pt x="554" y="962"/>
                                <a:pt x="429" y="962"/>
                                <a:pt x="178" y="710"/>
                              </a:cubicBezTo>
                              <a:cubicBezTo>
                                <a:pt x="52" y="585"/>
                                <a:pt x="-73" y="208"/>
                                <a:pt x="52" y="82"/>
                              </a:cubicBezTo>
                              <a:cubicBezTo>
                                <a:pt x="178" y="-43"/>
                                <a:pt x="303" y="-43"/>
                                <a:pt x="554" y="208"/>
                              </a:cubicBezTo>
                              <a:cubicBezTo>
                                <a:pt x="680" y="459"/>
                                <a:pt x="806" y="710"/>
                                <a:pt x="680" y="836"/>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2" name="Freeform: Shape 1531">
                          <a:extLst>
                            <a:ext uri="{FF2B5EF4-FFF2-40B4-BE49-F238E27FC236}">
                              <a16:creationId xmlns:a16="http://schemas.microsoft.com/office/drawing/2014/main" id="{99A7C156-37A4-4D7B-9FAC-2D1FD5C9BA07}"/>
                            </a:ext>
                          </a:extLst>
                        </p:cNvPr>
                        <p:cNvSpPr/>
                        <p:nvPr/>
                      </p:nvSpPr>
                      <p:spPr>
                        <a:xfrm>
                          <a:off x="3435680" y="1733385"/>
                          <a:ext cx="690" cy="852"/>
                        </a:xfrm>
                        <a:custGeom>
                          <a:avLst/>
                          <a:gdLst>
                            <a:gd name="connsiteX0" fmla="*/ 596 w 690"/>
                            <a:gd name="connsiteY0" fmla="*/ 300 h 852"/>
                            <a:gd name="connsiteX1" fmla="*/ 596 w 690"/>
                            <a:gd name="connsiteY1" fmla="*/ 803 h 852"/>
                            <a:gd name="connsiteX2" fmla="*/ 94 w 690"/>
                            <a:gd name="connsiteY2" fmla="*/ 552 h 852"/>
                            <a:gd name="connsiteX3" fmla="*/ 94 w 690"/>
                            <a:gd name="connsiteY3" fmla="*/ 49 h 852"/>
                            <a:gd name="connsiteX4" fmla="*/ 596 w 690"/>
                            <a:gd name="connsiteY4" fmla="*/ 300 h 8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852">
                              <a:moveTo>
                                <a:pt x="596" y="300"/>
                              </a:moveTo>
                              <a:cubicBezTo>
                                <a:pt x="722" y="552"/>
                                <a:pt x="722" y="803"/>
                                <a:pt x="596" y="803"/>
                              </a:cubicBezTo>
                              <a:cubicBezTo>
                                <a:pt x="471" y="928"/>
                                <a:pt x="220" y="803"/>
                                <a:pt x="94" y="552"/>
                              </a:cubicBezTo>
                              <a:cubicBezTo>
                                <a:pt x="-31" y="300"/>
                                <a:pt x="-31" y="49"/>
                                <a:pt x="94" y="49"/>
                              </a:cubicBezTo>
                              <a:cubicBezTo>
                                <a:pt x="345" y="-76"/>
                                <a:pt x="471" y="49"/>
                                <a:pt x="596" y="30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3" name="Freeform: Shape 1532">
                          <a:extLst>
                            <a:ext uri="{FF2B5EF4-FFF2-40B4-BE49-F238E27FC236}">
                              <a16:creationId xmlns:a16="http://schemas.microsoft.com/office/drawing/2014/main" id="{C89AF42B-2DD8-4665-A2AD-645B84082900}"/>
                            </a:ext>
                          </a:extLst>
                        </p:cNvPr>
                        <p:cNvSpPr/>
                        <p:nvPr/>
                      </p:nvSpPr>
                      <p:spPr>
                        <a:xfrm>
                          <a:off x="3435471" y="1734565"/>
                          <a:ext cx="732" cy="753"/>
                        </a:xfrm>
                        <a:custGeom>
                          <a:avLst/>
                          <a:gdLst>
                            <a:gd name="connsiteX0" fmla="*/ 178 w 732"/>
                            <a:gd name="connsiteY0" fmla="*/ 0 h 753"/>
                            <a:gd name="connsiteX1" fmla="*/ 680 w 732"/>
                            <a:gd name="connsiteY1" fmla="*/ 377 h 753"/>
                            <a:gd name="connsiteX2" fmla="*/ 554 w 732"/>
                            <a:gd name="connsiteY2" fmla="*/ 754 h 753"/>
                            <a:gd name="connsiteX3" fmla="*/ 52 w 732"/>
                            <a:gd name="connsiteY3" fmla="*/ 377 h 753"/>
                            <a:gd name="connsiteX4" fmla="*/ 178 w 732"/>
                            <a:gd name="connsiteY4" fmla="*/ 0 h 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 h="753">
                              <a:moveTo>
                                <a:pt x="178" y="0"/>
                              </a:moveTo>
                              <a:cubicBezTo>
                                <a:pt x="303" y="0"/>
                                <a:pt x="554" y="251"/>
                                <a:pt x="680" y="377"/>
                              </a:cubicBezTo>
                              <a:cubicBezTo>
                                <a:pt x="805" y="628"/>
                                <a:pt x="680" y="754"/>
                                <a:pt x="554" y="754"/>
                              </a:cubicBezTo>
                              <a:cubicBezTo>
                                <a:pt x="429" y="754"/>
                                <a:pt x="178" y="502"/>
                                <a:pt x="52" y="377"/>
                              </a:cubicBezTo>
                              <a:cubicBezTo>
                                <a:pt x="-73" y="251"/>
                                <a:pt x="52" y="0"/>
                                <a:pt x="178" y="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534" name="Freeform: Shape 1533">
                      <a:extLst>
                        <a:ext uri="{FF2B5EF4-FFF2-40B4-BE49-F238E27FC236}">
                          <a16:creationId xmlns:a16="http://schemas.microsoft.com/office/drawing/2014/main" id="{828D5057-8747-4804-B50E-F3F372E49DA1}"/>
                        </a:ext>
                      </a:extLst>
                    </p:cNvPr>
                    <p:cNvSpPr/>
                    <p:nvPr/>
                  </p:nvSpPr>
                  <p:spPr>
                    <a:xfrm>
                      <a:off x="3409274" y="1715632"/>
                      <a:ext cx="10926" cy="10267"/>
                    </a:xfrm>
                    <a:custGeom>
                      <a:avLst/>
                      <a:gdLst>
                        <a:gd name="connsiteX0" fmla="*/ 0 w 10926"/>
                        <a:gd name="connsiteY0" fmla="*/ 3862 h 10267"/>
                        <a:gd name="connsiteX1" fmla="*/ 9043 w 10926"/>
                        <a:gd name="connsiteY1" fmla="*/ 9137 h 10267"/>
                        <a:gd name="connsiteX2" fmla="*/ 10299 w 10926"/>
                        <a:gd name="connsiteY2" fmla="*/ 9890 h 10267"/>
                        <a:gd name="connsiteX3" fmla="*/ 10927 w 10926"/>
                        <a:gd name="connsiteY3" fmla="*/ 10267 h 10267"/>
                        <a:gd name="connsiteX4" fmla="*/ 5400 w 10926"/>
                        <a:gd name="connsiteY4" fmla="*/ 722 h 10267"/>
                        <a:gd name="connsiteX5" fmla="*/ 628 w 10926"/>
                        <a:gd name="connsiteY5" fmla="*/ 1099 h 10267"/>
                        <a:gd name="connsiteX6" fmla="*/ 0 w 10926"/>
                        <a:gd name="connsiteY6" fmla="*/ 3862 h 1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267">
                          <a:moveTo>
                            <a:pt x="0" y="3862"/>
                          </a:moveTo>
                          <a:lnTo>
                            <a:pt x="9043" y="9137"/>
                          </a:lnTo>
                          <a:lnTo>
                            <a:pt x="10299" y="9890"/>
                          </a:lnTo>
                          <a:lnTo>
                            <a:pt x="10927" y="10267"/>
                          </a:lnTo>
                          <a:cubicBezTo>
                            <a:pt x="10927" y="6750"/>
                            <a:pt x="8540" y="2480"/>
                            <a:pt x="5400" y="722"/>
                          </a:cubicBezTo>
                          <a:cubicBezTo>
                            <a:pt x="3391" y="-408"/>
                            <a:pt x="1633" y="-157"/>
                            <a:pt x="628" y="1099"/>
                          </a:cubicBezTo>
                          <a:cubicBezTo>
                            <a:pt x="377" y="1727"/>
                            <a:pt x="0" y="2606"/>
                            <a:pt x="0" y="3862"/>
                          </a:cubicBez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35" name="Graphic 4">
                      <a:extLst>
                        <a:ext uri="{FF2B5EF4-FFF2-40B4-BE49-F238E27FC236}">
                          <a16:creationId xmlns:a16="http://schemas.microsoft.com/office/drawing/2014/main" id="{84FB7ED1-A2DF-40A1-A747-5F7CF3F14040}"/>
                        </a:ext>
                      </a:extLst>
                    </p:cNvPr>
                    <p:cNvGrpSpPr/>
                    <p:nvPr/>
                  </p:nvGrpSpPr>
                  <p:grpSpPr>
                    <a:xfrm>
                      <a:off x="3408646" y="1716392"/>
                      <a:ext cx="11554" cy="12859"/>
                      <a:chOff x="3408646" y="1716392"/>
                      <a:chExt cx="11554" cy="12859"/>
                    </a:xfrm>
                    <a:solidFill>
                      <a:schemeClr val="accent1"/>
                    </a:solidFill>
                  </p:grpSpPr>
                  <p:sp>
                    <p:nvSpPr>
                      <p:cNvPr id="1536" name="Freeform: Shape 1535">
                        <a:extLst>
                          <a:ext uri="{FF2B5EF4-FFF2-40B4-BE49-F238E27FC236}">
                            <a16:creationId xmlns:a16="http://schemas.microsoft.com/office/drawing/2014/main" id="{DABF1354-1AC6-492A-B824-973C1DD2F5AF}"/>
                          </a:ext>
                        </a:extLst>
                      </p:cNvPr>
                      <p:cNvSpPr/>
                      <p:nvPr/>
                    </p:nvSpPr>
                    <p:spPr>
                      <a:xfrm>
                        <a:off x="3409804" y="1716716"/>
                        <a:ext cx="9030" cy="12244"/>
                      </a:xfrm>
                      <a:custGeom>
                        <a:avLst/>
                        <a:gdLst>
                          <a:gd name="connsiteX0" fmla="*/ 0 w 9030"/>
                          <a:gd name="connsiteY0" fmla="*/ 1697 h 12244"/>
                          <a:gd name="connsiteX1" fmla="*/ 2936 w 9030"/>
                          <a:gd name="connsiteY1" fmla="*/ 0 h 12244"/>
                          <a:gd name="connsiteX2" fmla="*/ 9031 w 9030"/>
                          <a:gd name="connsiteY2" fmla="*/ 10548 h 12244"/>
                          <a:gd name="connsiteX3" fmla="*/ 6095 w 9030"/>
                          <a:gd name="connsiteY3" fmla="*/ 12244 h 12244"/>
                        </a:gdLst>
                        <a:ahLst/>
                        <a:cxnLst>
                          <a:cxn ang="0">
                            <a:pos x="connsiteX0" y="connsiteY0"/>
                          </a:cxn>
                          <a:cxn ang="0">
                            <a:pos x="connsiteX1" y="connsiteY1"/>
                          </a:cxn>
                          <a:cxn ang="0">
                            <a:pos x="connsiteX2" y="connsiteY2"/>
                          </a:cxn>
                          <a:cxn ang="0">
                            <a:pos x="connsiteX3" y="connsiteY3"/>
                          </a:cxn>
                        </a:cxnLst>
                        <a:rect l="l" t="t" r="r" b="b"/>
                        <a:pathLst>
                          <a:path w="9030" h="12244">
                            <a:moveTo>
                              <a:pt x="0" y="1697"/>
                            </a:moveTo>
                            <a:lnTo>
                              <a:pt x="2936" y="0"/>
                            </a:lnTo>
                            <a:lnTo>
                              <a:pt x="9031" y="10548"/>
                            </a:lnTo>
                            <a:lnTo>
                              <a:pt x="6095" y="12244"/>
                            </a:ln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37" name="Graphic 4">
                        <a:extLst>
                          <a:ext uri="{FF2B5EF4-FFF2-40B4-BE49-F238E27FC236}">
                            <a16:creationId xmlns:a16="http://schemas.microsoft.com/office/drawing/2014/main" id="{84FB7ED1-A2DF-40A1-A747-5F7CF3F14040}"/>
                          </a:ext>
                        </a:extLst>
                      </p:cNvPr>
                      <p:cNvGrpSpPr/>
                      <p:nvPr/>
                    </p:nvGrpSpPr>
                    <p:grpSpPr>
                      <a:xfrm>
                        <a:off x="3408646" y="1716392"/>
                        <a:ext cx="11554" cy="12859"/>
                        <a:chOff x="3408646" y="1716392"/>
                        <a:chExt cx="11554" cy="12859"/>
                      </a:xfrm>
                      <a:solidFill>
                        <a:schemeClr val="accent1"/>
                      </a:solidFill>
                    </p:grpSpPr>
                    <p:sp>
                      <p:nvSpPr>
                        <p:cNvPr id="1538" name="Freeform: Shape 1537">
                          <a:extLst>
                            <a:ext uri="{FF2B5EF4-FFF2-40B4-BE49-F238E27FC236}">
                              <a16:creationId xmlns:a16="http://schemas.microsoft.com/office/drawing/2014/main" id="{D90D9432-A723-42C1-95C6-5CE7609256FD}"/>
                            </a:ext>
                          </a:extLst>
                        </p:cNvPr>
                        <p:cNvSpPr/>
                        <p:nvPr/>
                      </p:nvSpPr>
                      <p:spPr>
                        <a:xfrm>
                          <a:off x="3411660" y="1716392"/>
                          <a:ext cx="8540" cy="11101"/>
                        </a:xfrm>
                        <a:custGeom>
                          <a:avLst/>
                          <a:gdLst>
                            <a:gd name="connsiteX0" fmla="*/ 0 w 8540"/>
                            <a:gd name="connsiteY0" fmla="*/ 3102 h 11101"/>
                            <a:gd name="connsiteX1" fmla="*/ 4270 w 8540"/>
                            <a:gd name="connsiteY1" fmla="*/ 590 h 11101"/>
                            <a:gd name="connsiteX2" fmla="*/ 8540 w 8540"/>
                            <a:gd name="connsiteY2" fmla="*/ 8000 h 11101"/>
                            <a:gd name="connsiteX3" fmla="*/ 4270 w 8540"/>
                            <a:gd name="connsiteY3" fmla="*/ 10512 h 11101"/>
                            <a:gd name="connsiteX4" fmla="*/ 0 w 8540"/>
                            <a:gd name="connsiteY4" fmla="*/ 3102 h 11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0" h="11101">
                              <a:moveTo>
                                <a:pt x="0" y="3102"/>
                              </a:moveTo>
                              <a:cubicBezTo>
                                <a:pt x="0" y="338"/>
                                <a:pt x="1884" y="-792"/>
                                <a:pt x="4270" y="590"/>
                              </a:cubicBezTo>
                              <a:cubicBezTo>
                                <a:pt x="6657" y="1971"/>
                                <a:pt x="8540" y="5237"/>
                                <a:pt x="8540" y="8000"/>
                              </a:cubicBezTo>
                              <a:cubicBezTo>
                                <a:pt x="8540" y="10763"/>
                                <a:pt x="6657" y="11893"/>
                                <a:pt x="4270" y="10512"/>
                              </a:cubicBezTo>
                              <a:cubicBezTo>
                                <a:pt x="1884" y="9130"/>
                                <a:pt x="0" y="5865"/>
                                <a:pt x="0" y="3102"/>
                              </a:cubicBez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9" name="Freeform: Shape 1538">
                          <a:extLst>
                            <a:ext uri="{FF2B5EF4-FFF2-40B4-BE49-F238E27FC236}">
                              <a16:creationId xmlns:a16="http://schemas.microsoft.com/office/drawing/2014/main" id="{61961485-1C2C-4A87-A1E6-B423AE000830}"/>
                            </a:ext>
                          </a:extLst>
                        </p:cNvPr>
                        <p:cNvSpPr/>
                        <p:nvPr/>
                      </p:nvSpPr>
                      <p:spPr>
                        <a:xfrm>
                          <a:off x="3408646" y="1718150"/>
                          <a:ext cx="8540" cy="11101"/>
                        </a:xfrm>
                        <a:custGeom>
                          <a:avLst/>
                          <a:gdLst>
                            <a:gd name="connsiteX0" fmla="*/ 0 w 8540"/>
                            <a:gd name="connsiteY0" fmla="*/ 3101 h 11101"/>
                            <a:gd name="connsiteX1" fmla="*/ 4270 w 8540"/>
                            <a:gd name="connsiteY1" fmla="*/ 590 h 11101"/>
                            <a:gd name="connsiteX2" fmla="*/ 8540 w 8540"/>
                            <a:gd name="connsiteY2" fmla="*/ 8000 h 11101"/>
                            <a:gd name="connsiteX3" fmla="*/ 4270 w 8540"/>
                            <a:gd name="connsiteY3" fmla="*/ 10512 h 11101"/>
                            <a:gd name="connsiteX4" fmla="*/ 0 w 8540"/>
                            <a:gd name="connsiteY4" fmla="*/ 3101 h 11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0" h="11101">
                              <a:moveTo>
                                <a:pt x="0" y="3101"/>
                              </a:moveTo>
                              <a:cubicBezTo>
                                <a:pt x="0" y="338"/>
                                <a:pt x="1884" y="-792"/>
                                <a:pt x="4270" y="590"/>
                              </a:cubicBezTo>
                              <a:cubicBezTo>
                                <a:pt x="6657" y="1971"/>
                                <a:pt x="8540" y="5237"/>
                                <a:pt x="8540" y="8000"/>
                              </a:cubicBezTo>
                              <a:cubicBezTo>
                                <a:pt x="8540" y="10763"/>
                                <a:pt x="6657" y="11893"/>
                                <a:pt x="4270" y="10512"/>
                              </a:cubicBezTo>
                              <a:cubicBezTo>
                                <a:pt x="2010" y="9130"/>
                                <a:pt x="0" y="5865"/>
                                <a:pt x="0" y="3101"/>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0" name="Freeform: Shape 1539">
                          <a:extLst>
                            <a:ext uri="{FF2B5EF4-FFF2-40B4-BE49-F238E27FC236}">
                              <a16:creationId xmlns:a16="http://schemas.microsoft.com/office/drawing/2014/main" id="{0A16643F-BAA2-40A7-909C-163D36C6D955}"/>
                            </a:ext>
                          </a:extLst>
                        </p:cNvPr>
                        <p:cNvSpPr/>
                        <p:nvPr/>
                      </p:nvSpPr>
                      <p:spPr>
                        <a:xfrm>
                          <a:off x="3410404" y="1720378"/>
                          <a:ext cx="5275" cy="6716"/>
                        </a:xfrm>
                        <a:custGeom>
                          <a:avLst/>
                          <a:gdLst>
                            <a:gd name="connsiteX0" fmla="*/ 0 w 5275"/>
                            <a:gd name="connsiteY0" fmla="*/ 1878 h 6716"/>
                            <a:gd name="connsiteX1" fmla="*/ 2638 w 5275"/>
                            <a:gd name="connsiteY1" fmla="*/ 371 h 6716"/>
                            <a:gd name="connsiteX2" fmla="*/ 5275 w 5275"/>
                            <a:gd name="connsiteY2" fmla="*/ 4893 h 6716"/>
                            <a:gd name="connsiteX3" fmla="*/ 2638 w 5275"/>
                            <a:gd name="connsiteY3" fmla="*/ 6400 h 6716"/>
                            <a:gd name="connsiteX4" fmla="*/ 0 w 5275"/>
                            <a:gd name="connsiteY4" fmla="*/ 1878 h 6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716">
                              <a:moveTo>
                                <a:pt x="0" y="1878"/>
                              </a:moveTo>
                              <a:cubicBezTo>
                                <a:pt x="0" y="246"/>
                                <a:pt x="1130" y="-508"/>
                                <a:pt x="2638" y="371"/>
                              </a:cubicBezTo>
                              <a:cubicBezTo>
                                <a:pt x="4019" y="1251"/>
                                <a:pt x="5275" y="3260"/>
                                <a:pt x="5275" y="4893"/>
                              </a:cubicBezTo>
                              <a:cubicBezTo>
                                <a:pt x="5275" y="6525"/>
                                <a:pt x="4145" y="7153"/>
                                <a:pt x="2638" y="6400"/>
                              </a:cubicBezTo>
                              <a:cubicBezTo>
                                <a:pt x="1130" y="5521"/>
                                <a:pt x="0" y="3511"/>
                                <a:pt x="0" y="1878"/>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1" name="Freeform: Shape 1540">
                          <a:extLst>
                            <a:ext uri="{FF2B5EF4-FFF2-40B4-BE49-F238E27FC236}">
                              <a16:creationId xmlns:a16="http://schemas.microsoft.com/office/drawing/2014/main" id="{11FFD295-681A-4074-8099-6E68EB766D1C}"/>
                            </a:ext>
                          </a:extLst>
                        </p:cNvPr>
                        <p:cNvSpPr/>
                        <p:nvPr/>
                      </p:nvSpPr>
                      <p:spPr>
                        <a:xfrm>
                          <a:off x="3410656" y="1720804"/>
                          <a:ext cx="4521" cy="5817"/>
                        </a:xfrm>
                        <a:custGeom>
                          <a:avLst/>
                          <a:gdLst>
                            <a:gd name="connsiteX0" fmla="*/ 0 w 4521"/>
                            <a:gd name="connsiteY0" fmla="*/ 1578 h 5817"/>
                            <a:gd name="connsiteX1" fmla="*/ 2261 w 4521"/>
                            <a:gd name="connsiteY1" fmla="*/ 322 h 5817"/>
                            <a:gd name="connsiteX2" fmla="*/ 4521 w 4521"/>
                            <a:gd name="connsiteY2" fmla="*/ 4216 h 5817"/>
                            <a:gd name="connsiteX3" fmla="*/ 2261 w 4521"/>
                            <a:gd name="connsiteY3" fmla="*/ 5472 h 5817"/>
                            <a:gd name="connsiteX4" fmla="*/ 0 w 4521"/>
                            <a:gd name="connsiteY4" fmla="*/ 1578 h 5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1" h="5817">
                              <a:moveTo>
                                <a:pt x="0" y="1578"/>
                              </a:moveTo>
                              <a:cubicBezTo>
                                <a:pt x="0" y="197"/>
                                <a:pt x="1005" y="-431"/>
                                <a:pt x="2261" y="322"/>
                              </a:cubicBezTo>
                              <a:cubicBezTo>
                                <a:pt x="3517" y="1076"/>
                                <a:pt x="4521" y="2834"/>
                                <a:pt x="4521" y="4216"/>
                              </a:cubicBezTo>
                              <a:cubicBezTo>
                                <a:pt x="4521" y="5723"/>
                                <a:pt x="3517" y="6225"/>
                                <a:pt x="2261" y="5472"/>
                              </a:cubicBezTo>
                              <a:cubicBezTo>
                                <a:pt x="1130" y="4844"/>
                                <a:pt x="0" y="3085"/>
                                <a:pt x="0" y="1578"/>
                              </a:cubicBezTo>
                              <a:close/>
                            </a:path>
                          </a:pathLst>
                        </a:custGeom>
                        <a:solidFill>
                          <a:srgbClr val="5A5E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2" name="Freeform: Shape 1541">
                          <a:extLst>
                            <a:ext uri="{FF2B5EF4-FFF2-40B4-BE49-F238E27FC236}">
                              <a16:creationId xmlns:a16="http://schemas.microsoft.com/office/drawing/2014/main" id="{FE0109D1-E26C-4850-B21D-37E892E95BD8}"/>
                            </a:ext>
                          </a:extLst>
                        </p:cNvPr>
                        <p:cNvSpPr/>
                        <p:nvPr/>
                      </p:nvSpPr>
                      <p:spPr>
                        <a:xfrm>
                          <a:off x="3410907" y="1721052"/>
                          <a:ext cx="4019" cy="5298"/>
                        </a:xfrm>
                        <a:custGeom>
                          <a:avLst/>
                          <a:gdLst>
                            <a:gd name="connsiteX0" fmla="*/ 0 w 4019"/>
                            <a:gd name="connsiteY0" fmla="*/ 1456 h 5298"/>
                            <a:gd name="connsiteX1" fmla="*/ 2010 w 4019"/>
                            <a:gd name="connsiteY1" fmla="*/ 326 h 5298"/>
                            <a:gd name="connsiteX2" fmla="*/ 4019 w 4019"/>
                            <a:gd name="connsiteY2" fmla="*/ 3842 h 5298"/>
                            <a:gd name="connsiteX3" fmla="*/ 2010 w 4019"/>
                            <a:gd name="connsiteY3" fmla="*/ 4973 h 5298"/>
                            <a:gd name="connsiteX4" fmla="*/ 0 w 4019"/>
                            <a:gd name="connsiteY4" fmla="*/ 1456 h 5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5298">
                              <a:moveTo>
                                <a:pt x="0" y="1456"/>
                              </a:moveTo>
                              <a:cubicBezTo>
                                <a:pt x="0" y="200"/>
                                <a:pt x="879" y="-428"/>
                                <a:pt x="2010" y="326"/>
                              </a:cubicBezTo>
                              <a:cubicBezTo>
                                <a:pt x="3140" y="954"/>
                                <a:pt x="4019" y="2586"/>
                                <a:pt x="4019" y="3842"/>
                              </a:cubicBezTo>
                              <a:cubicBezTo>
                                <a:pt x="4019" y="5098"/>
                                <a:pt x="3140" y="5726"/>
                                <a:pt x="2010" y="4973"/>
                              </a:cubicBezTo>
                              <a:cubicBezTo>
                                <a:pt x="879" y="4345"/>
                                <a:pt x="0" y="2837"/>
                                <a:pt x="0" y="1456"/>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3" name="Freeform: Shape 1542">
                          <a:extLst>
                            <a:ext uri="{FF2B5EF4-FFF2-40B4-BE49-F238E27FC236}">
                              <a16:creationId xmlns:a16="http://schemas.microsoft.com/office/drawing/2014/main" id="{2F03E336-FC9F-4461-9B00-5012E3AEBC29}"/>
                            </a:ext>
                          </a:extLst>
                        </p:cNvPr>
                        <p:cNvSpPr/>
                        <p:nvPr/>
                      </p:nvSpPr>
                      <p:spPr>
                        <a:xfrm>
                          <a:off x="3411158" y="1721355"/>
                          <a:ext cx="3516" cy="4691"/>
                        </a:xfrm>
                        <a:custGeom>
                          <a:avLst/>
                          <a:gdLst>
                            <a:gd name="connsiteX0" fmla="*/ 0 w 3516"/>
                            <a:gd name="connsiteY0" fmla="*/ 1278 h 4691"/>
                            <a:gd name="connsiteX1" fmla="*/ 1759 w 3516"/>
                            <a:gd name="connsiteY1" fmla="*/ 274 h 4691"/>
                            <a:gd name="connsiteX2" fmla="*/ 3517 w 3516"/>
                            <a:gd name="connsiteY2" fmla="*/ 3413 h 4691"/>
                            <a:gd name="connsiteX3" fmla="*/ 1759 w 3516"/>
                            <a:gd name="connsiteY3" fmla="*/ 4418 h 4691"/>
                            <a:gd name="connsiteX4" fmla="*/ 0 w 3516"/>
                            <a:gd name="connsiteY4" fmla="*/ 1278 h 4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6" h="4691">
                              <a:moveTo>
                                <a:pt x="0" y="1278"/>
                              </a:moveTo>
                              <a:cubicBezTo>
                                <a:pt x="0" y="148"/>
                                <a:pt x="754" y="-354"/>
                                <a:pt x="1759" y="274"/>
                              </a:cubicBezTo>
                              <a:cubicBezTo>
                                <a:pt x="2763" y="902"/>
                                <a:pt x="3517" y="2283"/>
                                <a:pt x="3517" y="3413"/>
                              </a:cubicBezTo>
                              <a:cubicBezTo>
                                <a:pt x="3517" y="4544"/>
                                <a:pt x="2763" y="5046"/>
                                <a:pt x="1759" y="4418"/>
                              </a:cubicBezTo>
                              <a:cubicBezTo>
                                <a:pt x="879" y="3790"/>
                                <a:pt x="0" y="2409"/>
                                <a:pt x="0" y="1278"/>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4" name="Freeform: Shape 1543">
                          <a:extLst>
                            <a:ext uri="{FF2B5EF4-FFF2-40B4-BE49-F238E27FC236}">
                              <a16:creationId xmlns:a16="http://schemas.microsoft.com/office/drawing/2014/main" id="{53653C90-349A-4D42-86F5-4C9B5635260B}"/>
                            </a:ext>
                          </a:extLst>
                        </p:cNvPr>
                        <p:cNvSpPr/>
                        <p:nvPr/>
                      </p:nvSpPr>
                      <p:spPr>
                        <a:xfrm>
                          <a:off x="3411409" y="1721784"/>
                          <a:ext cx="3014" cy="3959"/>
                        </a:xfrm>
                        <a:custGeom>
                          <a:avLst/>
                          <a:gdLst>
                            <a:gd name="connsiteX0" fmla="*/ 0 w 3014"/>
                            <a:gd name="connsiteY0" fmla="*/ 1101 h 3959"/>
                            <a:gd name="connsiteX1" fmla="*/ 1507 w 3014"/>
                            <a:gd name="connsiteY1" fmla="*/ 222 h 3959"/>
                            <a:gd name="connsiteX2" fmla="*/ 3014 w 3014"/>
                            <a:gd name="connsiteY2" fmla="*/ 2859 h 3959"/>
                            <a:gd name="connsiteX3" fmla="*/ 1507 w 3014"/>
                            <a:gd name="connsiteY3" fmla="*/ 3738 h 3959"/>
                            <a:gd name="connsiteX4" fmla="*/ 0 w 3014"/>
                            <a:gd name="connsiteY4" fmla="*/ 1101 h 3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4" h="3959">
                              <a:moveTo>
                                <a:pt x="0" y="1101"/>
                              </a:moveTo>
                              <a:cubicBezTo>
                                <a:pt x="0" y="96"/>
                                <a:pt x="628" y="-281"/>
                                <a:pt x="1507" y="222"/>
                              </a:cubicBezTo>
                              <a:cubicBezTo>
                                <a:pt x="2386" y="724"/>
                                <a:pt x="3014" y="1854"/>
                                <a:pt x="3014" y="2859"/>
                              </a:cubicBezTo>
                              <a:cubicBezTo>
                                <a:pt x="3014" y="3864"/>
                                <a:pt x="2261" y="4241"/>
                                <a:pt x="1507" y="3738"/>
                              </a:cubicBezTo>
                              <a:cubicBezTo>
                                <a:pt x="754" y="3236"/>
                                <a:pt x="0" y="1980"/>
                                <a:pt x="0" y="1101"/>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5" name="Freeform: Shape 1544">
                          <a:extLst>
                            <a:ext uri="{FF2B5EF4-FFF2-40B4-BE49-F238E27FC236}">
                              <a16:creationId xmlns:a16="http://schemas.microsoft.com/office/drawing/2014/main" id="{82F24A5F-B70A-440B-A114-5657704D1E2C}"/>
                            </a:ext>
                          </a:extLst>
                        </p:cNvPr>
                        <p:cNvSpPr/>
                        <p:nvPr/>
                      </p:nvSpPr>
                      <p:spPr>
                        <a:xfrm>
                          <a:off x="3411911" y="1722357"/>
                          <a:ext cx="2260" cy="2835"/>
                        </a:xfrm>
                        <a:custGeom>
                          <a:avLst/>
                          <a:gdLst>
                            <a:gd name="connsiteX0" fmla="*/ 0 w 2260"/>
                            <a:gd name="connsiteY0" fmla="*/ 778 h 2835"/>
                            <a:gd name="connsiteX1" fmla="*/ 1131 w 2260"/>
                            <a:gd name="connsiteY1" fmla="*/ 150 h 2835"/>
                            <a:gd name="connsiteX2" fmla="*/ 2261 w 2260"/>
                            <a:gd name="connsiteY2" fmla="*/ 2034 h 2835"/>
                            <a:gd name="connsiteX3" fmla="*/ 1131 w 2260"/>
                            <a:gd name="connsiteY3" fmla="*/ 2662 h 2835"/>
                            <a:gd name="connsiteX4" fmla="*/ 0 w 2260"/>
                            <a:gd name="connsiteY4" fmla="*/ 778 h 2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0" h="2835">
                              <a:moveTo>
                                <a:pt x="0" y="778"/>
                              </a:moveTo>
                              <a:cubicBezTo>
                                <a:pt x="0" y="150"/>
                                <a:pt x="502" y="-226"/>
                                <a:pt x="1131" y="150"/>
                              </a:cubicBezTo>
                              <a:cubicBezTo>
                                <a:pt x="1759" y="527"/>
                                <a:pt x="2261" y="1281"/>
                                <a:pt x="2261" y="2034"/>
                              </a:cubicBezTo>
                              <a:cubicBezTo>
                                <a:pt x="2261" y="2788"/>
                                <a:pt x="1759" y="3039"/>
                                <a:pt x="1131" y="2662"/>
                              </a:cubicBezTo>
                              <a:cubicBezTo>
                                <a:pt x="502" y="2285"/>
                                <a:pt x="0" y="1406"/>
                                <a:pt x="0" y="778"/>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6" name="Freeform: Shape 1545">
                          <a:extLst>
                            <a:ext uri="{FF2B5EF4-FFF2-40B4-BE49-F238E27FC236}">
                              <a16:creationId xmlns:a16="http://schemas.microsoft.com/office/drawing/2014/main" id="{4B8E7EAB-9D22-45B0-BBE0-095A35FD5B8A}"/>
                            </a:ext>
                          </a:extLst>
                        </p:cNvPr>
                        <p:cNvSpPr/>
                        <p:nvPr/>
                      </p:nvSpPr>
                      <p:spPr>
                        <a:xfrm>
                          <a:off x="3412791" y="1724340"/>
                          <a:ext cx="502" cy="606"/>
                        </a:xfrm>
                        <a:custGeom>
                          <a:avLst/>
                          <a:gdLst>
                            <a:gd name="connsiteX0" fmla="*/ 0 w 502"/>
                            <a:gd name="connsiteY0" fmla="*/ 178 h 606"/>
                            <a:gd name="connsiteX1" fmla="*/ 251 w 502"/>
                            <a:gd name="connsiteY1" fmla="*/ 52 h 606"/>
                            <a:gd name="connsiteX2" fmla="*/ 502 w 502"/>
                            <a:gd name="connsiteY2" fmla="*/ 429 h 606"/>
                            <a:gd name="connsiteX3" fmla="*/ 251 w 502"/>
                            <a:gd name="connsiteY3" fmla="*/ 554 h 606"/>
                            <a:gd name="connsiteX4" fmla="*/ 0 w 502"/>
                            <a:gd name="connsiteY4" fmla="*/ 178 h 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 h="606">
                              <a:moveTo>
                                <a:pt x="0" y="178"/>
                              </a:moveTo>
                              <a:cubicBezTo>
                                <a:pt x="0" y="52"/>
                                <a:pt x="126" y="-74"/>
                                <a:pt x="251" y="52"/>
                              </a:cubicBezTo>
                              <a:cubicBezTo>
                                <a:pt x="377" y="52"/>
                                <a:pt x="502" y="303"/>
                                <a:pt x="502" y="429"/>
                              </a:cubicBezTo>
                              <a:cubicBezTo>
                                <a:pt x="502" y="554"/>
                                <a:pt x="377" y="680"/>
                                <a:pt x="251" y="554"/>
                              </a:cubicBezTo>
                              <a:cubicBezTo>
                                <a:pt x="126" y="429"/>
                                <a:pt x="0" y="303"/>
                                <a:pt x="0" y="178"/>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7" name="Freeform: Shape 1546">
                          <a:extLst>
                            <a:ext uri="{FF2B5EF4-FFF2-40B4-BE49-F238E27FC236}">
                              <a16:creationId xmlns:a16="http://schemas.microsoft.com/office/drawing/2014/main" id="{00074D4D-C9E8-4F1A-92EC-28E174C41DCB}"/>
                            </a:ext>
                          </a:extLst>
                        </p:cNvPr>
                        <p:cNvSpPr/>
                        <p:nvPr/>
                      </p:nvSpPr>
                      <p:spPr>
                        <a:xfrm>
                          <a:off x="3413419" y="1724015"/>
                          <a:ext cx="428" cy="584"/>
                        </a:xfrm>
                        <a:custGeom>
                          <a:avLst/>
                          <a:gdLst>
                            <a:gd name="connsiteX0" fmla="*/ 251 w 428"/>
                            <a:gd name="connsiteY0" fmla="*/ 502 h 584"/>
                            <a:gd name="connsiteX1" fmla="*/ 0 w 428"/>
                            <a:gd name="connsiteY1" fmla="*/ 126 h 584"/>
                            <a:gd name="connsiteX2" fmla="*/ 251 w 428"/>
                            <a:gd name="connsiteY2" fmla="*/ 0 h 584"/>
                            <a:gd name="connsiteX3" fmla="*/ 377 w 428"/>
                            <a:gd name="connsiteY3" fmla="*/ 377 h 584"/>
                            <a:gd name="connsiteX4" fmla="*/ 251 w 428"/>
                            <a:gd name="connsiteY4" fmla="*/ 502 h 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 h="584">
                              <a:moveTo>
                                <a:pt x="251" y="502"/>
                              </a:moveTo>
                              <a:cubicBezTo>
                                <a:pt x="125" y="377"/>
                                <a:pt x="0" y="251"/>
                                <a:pt x="0" y="126"/>
                              </a:cubicBezTo>
                              <a:cubicBezTo>
                                <a:pt x="0" y="0"/>
                                <a:pt x="125" y="0"/>
                                <a:pt x="251" y="0"/>
                              </a:cubicBezTo>
                              <a:cubicBezTo>
                                <a:pt x="377" y="126"/>
                                <a:pt x="502" y="251"/>
                                <a:pt x="377" y="377"/>
                              </a:cubicBezTo>
                              <a:cubicBezTo>
                                <a:pt x="502" y="628"/>
                                <a:pt x="377" y="628"/>
                                <a:pt x="251" y="502"/>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8" name="Freeform: Shape 1547">
                          <a:extLst>
                            <a:ext uri="{FF2B5EF4-FFF2-40B4-BE49-F238E27FC236}">
                              <a16:creationId xmlns:a16="http://schemas.microsoft.com/office/drawing/2014/main" id="{058749D9-D1F4-4673-8992-3A04AA2F94DA}"/>
                            </a:ext>
                          </a:extLst>
                        </p:cNvPr>
                        <p:cNvSpPr/>
                        <p:nvPr/>
                      </p:nvSpPr>
                      <p:spPr>
                        <a:xfrm>
                          <a:off x="3413167" y="1723053"/>
                          <a:ext cx="428" cy="553"/>
                        </a:xfrm>
                        <a:custGeom>
                          <a:avLst/>
                          <a:gdLst>
                            <a:gd name="connsiteX0" fmla="*/ 377 w 428"/>
                            <a:gd name="connsiteY0" fmla="*/ 459 h 553"/>
                            <a:gd name="connsiteX1" fmla="*/ 126 w 428"/>
                            <a:gd name="connsiteY1" fmla="*/ 459 h 553"/>
                            <a:gd name="connsiteX2" fmla="*/ 0 w 428"/>
                            <a:gd name="connsiteY2" fmla="*/ 83 h 553"/>
                            <a:gd name="connsiteX3" fmla="*/ 251 w 428"/>
                            <a:gd name="connsiteY3" fmla="*/ 208 h 553"/>
                            <a:gd name="connsiteX4" fmla="*/ 377 w 428"/>
                            <a:gd name="connsiteY4" fmla="*/ 459 h 5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 h="553">
                              <a:moveTo>
                                <a:pt x="377" y="459"/>
                              </a:moveTo>
                              <a:cubicBezTo>
                                <a:pt x="251" y="585"/>
                                <a:pt x="126" y="585"/>
                                <a:pt x="126" y="459"/>
                              </a:cubicBezTo>
                              <a:cubicBezTo>
                                <a:pt x="0" y="334"/>
                                <a:pt x="0" y="83"/>
                                <a:pt x="0" y="83"/>
                              </a:cubicBezTo>
                              <a:cubicBezTo>
                                <a:pt x="0" y="-43"/>
                                <a:pt x="126" y="-43"/>
                                <a:pt x="251" y="208"/>
                              </a:cubicBezTo>
                              <a:cubicBezTo>
                                <a:pt x="377" y="83"/>
                                <a:pt x="502" y="334"/>
                                <a:pt x="377" y="459"/>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9" name="Freeform: Shape 1548">
                          <a:extLst>
                            <a:ext uri="{FF2B5EF4-FFF2-40B4-BE49-F238E27FC236}">
                              <a16:creationId xmlns:a16="http://schemas.microsoft.com/office/drawing/2014/main" id="{B866258C-0811-446B-9A33-EBABA7BB61E3}"/>
                            </a:ext>
                          </a:extLst>
                        </p:cNvPr>
                        <p:cNvSpPr/>
                        <p:nvPr/>
                      </p:nvSpPr>
                      <p:spPr>
                        <a:xfrm>
                          <a:off x="3412194" y="1722382"/>
                          <a:ext cx="565" cy="627"/>
                        </a:xfrm>
                        <a:custGeom>
                          <a:avLst/>
                          <a:gdLst>
                            <a:gd name="connsiteX0" fmla="*/ 471 w 565"/>
                            <a:gd name="connsiteY0" fmla="*/ 251 h 627"/>
                            <a:gd name="connsiteX1" fmla="*/ 471 w 565"/>
                            <a:gd name="connsiteY1" fmla="*/ 628 h 627"/>
                            <a:gd name="connsiteX2" fmla="*/ 94 w 565"/>
                            <a:gd name="connsiteY2" fmla="*/ 377 h 627"/>
                            <a:gd name="connsiteX3" fmla="*/ 94 w 565"/>
                            <a:gd name="connsiteY3" fmla="*/ 0 h 627"/>
                            <a:gd name="connsiteX4" fmla="*/ 471 w 565"/>
                            <a:gd name="connsiteY4" fmla="*/ 251 h 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 h="627">
                              <a:moveTo>
                                <a:pt x="471" y="251"/>
                              </a:moveTo>
                              <a:cubicBezTo>
                                <a:pt x="596" y="377"/>
                                <a:pt x="596" y="628"/>
                                <a:pt x="471" y="628"/>
                              </a:cubicBezTo>
                              <a:cubicBezTo>
                                <a:pt x="345" y="628"/>
                                <a:pt x="220" y="628"/>
                                <a:pt x="94" y="377"/>
                              </a:cubicBezTo>
                              <a:cubicBezTo>
                                <a:pt x="-31" y="251"/>
                                <a:pt x="-31" y="0"/>
                                <a:pt x="94" y="0"/>
                              </a:cubicBezTo>
                              <a:cubicBezTo>
                                <a:pt x="220" y="126"/>
                                <a:pt x="471" y="126"/>
                                <a:pt x="471" y="251"/>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0" name="Freeform: Shape 1549">
                          <a:extLst>
                            <a:ext uri="{FF2B5EF4-FFF2-40B4-BE49-F238E27FC236}">
                              <a16:creationId xmlns:a16="http://schemas.microsoft.com/office/drawing/2014/main" id="{56DF8AD8-0AEE-4B98-AD73-F9C4D0A8E2DF}"/>
                            </a:ext>
                          </a:extLst>
                        </p:cNvPr>
                        <p:cNvSpPr/>
                        <p:nvPr/>
                      </p:nvSpPr>
                      <p:spPr>
                        <a:xfrm>
                          <a:off x="3412037" y="1723261"/>
                          <a:ext cx="376" cy="502"/>
                        </a:xfrm>
                        <a:custGeom>
                          <a:avLst/>
                          <a:gdLst>
                            <a:gd name="connsiteX0" fmla="*/ 126 w 376"/>
                            <a:gd name="connsiteY0" fmla="*/ 0 h 502"/>
                            <a:gd name="connsiteX1" fmla="*/ 377 w 376"/>
                            <a:gd name="connsiteY1" fmla="*/ 251 h 502"/>
                            <a:gd name="connsiteX2" fmla="*/ 251 w 376"/>
                            <a:gd name="connsiteY2" fmla="*/ 502 h 502"/>
                            <a:gd name="connsiteX3" fmla="*/ 0 w 376"/>
                            <a:gd name="connsiteY3" fmla="*/ 251 h 502"/>
                            <a:gd name="connsiteX4" fmla="*/ 126 w 376"/>
                            <a:gd name="connsiteY4" fmla="*/ 0 h 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 h="502">
                              <a:moveTo>
                                <a:pt x="126" y="0"/>
                              </a:moveTo>
                              <a:cubicBezTo>
                                <a:pt x="251" y="0"/>
                                <a:pt x="377" y="126"/>
                                <a:pt x="377" y="251"/>
                              </a:cubicBezTo>
                              <a:cubicBezTo>
                                <a:pt x="377" y="377"/>
                                <a:pt x="377" y="502"/>
                                <a:pt x="251" y="502"/>
                              </a:cubicBezTo>
                              <a:cubicBezTo>
                                <a:pt x="126" y="502"/>
                                <a:pt x="0" y="377"/>
                                <a:pt x="0" y="251"/>
                              </a:cubicBezTo>
                              <a:cubicBezTo>
                                <a:pt x="0" y="126"/>
                                <a:pt x="126" y="0"/>
                                <a:pt x="126" y="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551" name="Freeform: Shape 1550">
                      <a:extLst>
                        <a:ext uri="{FF2B5EF4-FFF2-40B4-BE49-F238E27FC236}">
                          <a16:creationId xmlns:a16="http://schemas.microsoft.com/office/drawing/2014/main" id="{42616341-40EA-4942-BCA4-7ACB463ED933}"/>
                        </a:ext>
                      </a:extLst>
                    </p:cNvPr>
                    <p:cNvSpPr/>
                    <p:nvPr/>
                  </p:nvSpPr>
                  <p:spPr>
                    <a:xfrm>
                      <a:off x="3410017" y="1713323"/>
                      <a:ext cx="11815" cy="13455"/>
                    </a:xfrm>
                    <a:custGeom>
                      <a:avLst/>
                      <a:gdLst>
                        <a:gd name="connsiteX0" fmla="*/ 10 w 11815"/>
                        <a:gd name="connsiteY0" fmla="*/ 3408 h 13455"/>
                        <a:gd name="connsiteX1" fmla="*/ 9179 w 11815"/>
                        <a:gd name="connsiteY1" fmla="*/ 11948 h 13455"/>
                        <a:gd name="connsiteX2" fmla="*/ 9681 w 11815"/>
                        <a:gd name="connsiteY2" fmla="*/ 12199 h 13455"/>
                        <a:gd name="connsiteX3" fmla="*/ 10309 w 11815"/>
                        <a:gd name="connsiteY3" fmla="*/ 12576 h 13455"/>
                        <a:gd name="connsiteX4" fmla="*/ 11816 w 11815"/>
                        <a:gd name="connsiteY4" fmla="*/ 13455 h 13455"/>
                        <a:gd name="connsiteX5" fmla="*/ 11816 w 11815"/>
                        <a:gd name="connsiteY5" fmla="*/ 13204 h 13455"/>
                        <a:gd name="connsiteX6" fmla="*/ 5411 w 11815"/>
                        <a:gd name="connsiteY6" fmla="*/ 519 h 13455"/>
                        <a:gd name="connsiteX7" fmla="*/ 10 w 11815"/>
                        <a:gd name="connsiteY7" fmla="*/ 3408 h 1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 h="13455">
                          <a:moveTo>
                            <a:pt x="10" y="3408"/>
                          </a:moveTo>
                          <a:cubicBezTo>
                            <a:pt x="2396" y="770"/>
                            <a:pt x="8048" y="6045"/>
                            <a:pt x="9179" y="11948"/>
                          </a:cubicBezTo>
                          <a:lnTo>
                            <a:pt x="9681" y="12199"/>
                          </a:lnTo>
                          <a:lnTo>
                            <a:pt x="10309" y="12576"/>
                          </a:lnTo>
                          <a:lnTo>
                            <a:pt x="11816" y="13455"/>
                          </a:lnTo>
                          <a:cubicBezTo>
                            <a:pt x="11816" y="13330"/>
                            <a:pt x="11816" y="13204"/>
                            <a:pt x="11816" y="13204"/>
                          </a:cubicBezTo>
                          <a:cubicBezTo>
                            <a:pt x="11816" y="9688"/>
                            <a:pt x="8676" y="1901"/>
                            <a:pt x="5411" y="519"/>
                          </a:cubicBezTo>
                          <a:cubicBezTo>
                            <a:pt x="889" y="-1616"/>
                            <a:pt x="-115" y="3533"/>
                            <a:pt x="10" y="3408"/>
                          </a:cubicBez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2" name="Freeform: Shape 1551">
                      <a:extLst>
                        <a:ext uri="{FF2B5EF4-FFF2-40B4-BE49-F238E27FC236}">
                          <a16:creationId xmlns:a16="http://schemas.microsoft.com/office/drawing/2014/main" id="{C63A613E-5311-40F7-9D26-721E321FC39D}"/>
                        </a:ext>
                      </a:extLst>
                    </p:cNvPr>
                    <p:cNvSpPr/>
                    <p:nvPr/>
                  </p:nvSpPr>
                  <p:spPr>
                    <a:xfrm>
                      <a:off x="3431208" y="1720489"/>
                      <a:ext cx="20517" cy="23369"/>
                    </a:xfrm>
                    <a:custGeom>
                      <a:avLst/>
                      <a:gdLst>
                        <a:gd name="connsiteX0" fmla="*/ 45 w 20517"/>
                        <a:gd name="connsiteY0" fmla="*/ 6037 h 23369"/>
                        <a:gd name="connsiteX1" fmla="*/ 15996 w 20517"/>
                        <a:gd name="connsiteY1" fmla="*/ 20732 h 23369"/>
                        <a:gd name="connsiteX2" fmla="*/ 16875 w 20517"/>
                        <a:gd name="connsiteY2" fmla="*/ 21234 h 23369"/>
                        <a:gd name="connsiteX3" fmla="*/ 17880 w 20517"/>
                        <a:gd name="connsiteY3" fmla="*/ 21862 h 23369"/>
                        <a:gd name="connsiteX4" fmla="*/ 20391 w 20517"/>
                        <a:gd name="connsiteY4" fmla="*/ 23369 h 23369"/>
                        <a:gd name="connsiteX5" fmla="*/ 20517 w 20517"/>
                        <a:gd name="connsiteY5" fmla="*/ 22867 h 23369"/>
                        <a:gd name="connsiteX6" fmla="*/ 9465 w 20517"/>
                        <a:gd name="connsiteY6" fmla="*/ 762 h 23369"/>
                        <a:gd name="connsiteX7" fmla="*/ 45 w 20517"/>
                        <a:gd name="connsiteY7" fmla="*/ 6037 h 2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7" h="23369">
                          <a:moveTo>
                            <a:pt x="45" y="6037"/>
                          </a:moveTo>
                          <a:cubicBezTo>
                            <a:pt x="4315" y="1516"/>
                            <a:pt x="13986" y="10559"/>
                            <a:pt x="15996" y="20732"/>
                          </a:cubicBezTo>
                          <a:lnTo>
                            <a:pt x="16875" y="21234"/>
                          </a:lnTo>
                          <a:lnTo>
                            <a:pt x="17880" y="21862"/>
                          </a:lnTo>
                          <a:lnTo>
                            <a:pt x="20391" y="23369"/>
                          </a:lnTo>
                          <a:cubicBezTo>
                            <a:pt x="20391" y="23244"/>
                            <a:pt x="20517" y="22993"/>
                            <a:pt x="20517" y="22867"/>
                          </a:cubicBezTo>
                          <a:cubicBezTo>
                            <a:pt x="20517" y="16839"/>
                            <a:pt x="14991" y="3149"/>
                            <a:pt x="9465" y="762"/>
                          </a:cubicBezTo>
                          <a:cubicBezTo>
                            <a:pt x="1552" y="-2629"/>
                            <a:pt x="-332" y="6414"/>
                            <a:pt x="45" y="6037"/>
                          </a:cubicBez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3" name="Freeform: Shape 1552">
                      <a:extLst>
                        <a:ext uri="{FF2B5EF4-FFF2-40B4-BE49-F238E27FC236}">
                          <a16:creationId xmlns:a16="http://schemas.microsoft.com/office/drawing/2014/main" id="{FB0FBBDD-7491-406D-8A24-BC2B097A4F39}"/>
                        </a:ext>
                      </a:extLst>
                    </p:cNvPr>
                    <p:cNvSpPr/>
                    <p:nvPr/>
                  </p:nvSpPr>
                  <p:spPr>
                    <a:xfrm>
                      <a:off x="3408646" y="1700654"/>
                      <a:ext cx="43455" cy="33031"/>
                    </a:xfrm>
                    <a:custGeom>
                      <a:avLst/>
                      <a:gdLst>
                        <a:gd name="connsiteX0" fmla="*/ 0 w 43455"/>
                        <a:gd name="connsiteY0" fmla="*/ 0 h 33031"/>
                        <a:gd name="connsiteX1" fmla="*/ 0 w 43455"/>
                        <a:gd name="connsiteY1" fmla="*/ 7912 h 33031"/>
                        <a:gd name="connsiteX2" fmla="*/ 43456 w 43455"/>
                        <a:gd name="connsiteY2" fmla="*/ 33031 h 33031"/>
                        <a:gd name="connsiteX3" fmla="*/ 43456 w 43455"/>
                        <a:gd name="connsiteY3" fmla="*/ 25998 h 33031"/>
                        <a:gd name="connsiteX4" fmla="*/ 26500 w 43455"/>
                        <a:gd name="connsiteY4" fmla="*/ 16202 h 33031"/>
                        <a:gd name="connsiteX5" fmla="*/ 18965 w 43455"/>
                        <a:gd name="connsiteY5" fmla="*/ 10927 h 33031"/>
                        <a:gd name="connsiteX6" fmla="*/ 0 w 43455"/>
                        <a:gd name="connsiteY6" fmla="*/ 0 h 3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55" h="33031">
                          <a:moveTo>
                            <a:pt x="0" y="0"/>
                          </a:moveTo>
                          <a:lnTo>
                            <a:pt x="0" y="7912"/>
                          </a:lnTo>
                          <a:lnTo>
                            <a:pt x="43456" y="33031"/>
                          </a:lnTo>
                          <a:lnTo>
                            <a:pt x="43456" y="25998"/>
                          </a:lnTo>
                          <a:lnTo>
                            <a:pt x="26500" y="16202"/>
                          </a:lnTo>
                          <a:cubicBezTo>
                            <a:pt x="24114" y="14695"/>
                            <a:pt x="21351" y="12936"/>
                            <a:pt x="18965" y="10927"/>
                          </a:cubicBezTo>
                          <a:lnTo>
                            <a:pt x="0" y="0"/>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54" name="Graphic 4">
                      <a:extLst>
                        <a:ext uri="{FF2B5EF4-FFF2-40B4-BE49-F238E27FC236}">
                          <a16:creationId xmlns:a16="http://schemas.microsoft.com/office/drawing/2014/main" id="{84FB7ED1-A2DF-40A1-A747-5F7CF3F14040}"/>
                        </a:ext>
                      </a:extLst>
                    </p:cNvPr>
                    <p:cNvGrpSpPr/>
                    <p:nvPr/>
                  </p:nvGrpSpPr>
                  <p:grpSpPr>
                    <a:xfrm>
                      <a:off x="3410656" y="1693446"/>
                      <a:ext cx="6279" cy="8136"/>
                      <a:chOff x="3410656" y="1693446"/>
                      <a:chExt cx="6279" cy="8136"/>
                    </a:xfrm>
                    <a:solidFill>
                      <a:schemeClr val="accent1"/>
                    </a:solidFill>
                  </p:grpSpPr>
                  <p:grpSp>
                    <p:nvGrpSpPr>
                      <p:cNvPr id="1555" name="Graphic 4">
                        <a:extLst>
                          <a:ext uri="{FF2B5EF4-FFF2-40B4-BE49-F238E27FC236}">
                            <a16:creationId xmlns:a16="http://schemas.microsoft.com/office/drawing/2014/main" id="{84FB7ED1-A2DF-40A1-A747-5F7CF3F14040}"/>
                          </a:ext>
                        </a:extLst>
                      </p:cNvPr>
                      <p:cNvGrpSpPr/>
                      <p:nvPr/>
                    </p:nvGrpSpPr>
                    <p:grpSpPr>
                      <a:xfrm>
                        <a:off x="3410656" y="1693446"/>
                        <a:ext cx="6154" cy="8136"/>
                        <a:chOff x="3410656" y="1693446"/>
                        <a:chExt cx="6154" cy="8136"/>
                      </a:xfrm>
                      <a:solidFill>
                        <a:srgbClr val="F9EB3E"/>
                      </a:solidFill>
                    </p:grpSpPr>
                    <p:sp>
                      <p:nvSpPr>
                        <p:cNvPr id="1556" name="Freeform: Shape 1555">
                          <a:extLst>
                            <a:ext uri="{FF2B5EF4-FFF2-40B4-BE49-F238E27FC236}">
                              <a16:creationId xmlns:a16="http://schemas.microsoft.com/office/drawing/2014/main" id="{40FEB6CC-1ADF-4D01-97EA-FA834FD31B80}"/>
                            </a:ext>
                          </a:extLst>
                        </p:cNvPr>
                        <p:cNvSpPr/>
                        <p:nvPr/>
                      </p:nvSpPr>
                      <p:spPr>
                        <a:xfrm>
                          <a:off x="3410656" y="1693446"/>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5" y="4822"/>
                                <a:pt x="0" y="4571"/>
                                <a:pt x="0" y="4319"/>
                              </a:cubicBezTo>
                              <a:lnTo>
                                <a:pt x="0" y="300"/>
                              </a:lnTo>
                              <a:cubicBezTo>
                                <a:pt x="0" y="49"/>
                                <a:pt x="125"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7" name="Freeform: Shape 1556">
                          <a:extLst>
                            <a:ext uri="{FF2B5EF4-FFF2-40B4-BE49-F238E27FC236}">
                              <a16:creationId xmlns:a16="http://schemas.microsoft.com/office/drawing/2014/main" id="{F122B729-C8B1-4C14-A50C-2E31ED592351}"/>
                            </a:ext>
                          </a:extLst>
                        </p:cNvPr>
                        <p:cNvSpPr/>
                        <p:nvPr/>
                      </p:nvSpPr>
                      <p:spPr>
                        <a:xfrm>
                          <a:off x="3411911" y="1694200"/>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20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20"/>
                              </a:cubicBezTo>
                              <a:lnTo>
                                <a:pt x="0" y="300"/>
                              </a:lnTo>
                              <a:cubicBezTo>
                                <a:pt x="0" y="49"/>
                                <a:pt x="126"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8" name="Freeform: Shape 1557">
                          <a:extLst>
                            <a:ext uri="{FF2B5EF4-FFF2-40B4-BE49-F238E27FC236}">
                              <a16:creationId xmlns:a16="http://schemas.microsoft.com/office/drawing/2014/main" id="{DEEEB427-6673-4A83-9D4D-6D78B13BDF6D}"/>
                            </a:ext>
                          </a:extLst>
                        </p:cNvPr>
                        <p:cNvSpPr/>
                        <p:nvPr/>
                      </p:nvSpPr>
                      <p:spPr>
                        <a:xfrm>
                          <a:off x="3413293" y="1695079"/>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20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20"/>
                              </a:cubicBezTo>
                              <a:lnTo>
                                <a:pt x="0" y="300"/>
                              </a:lnTo>
                              <a:cubicBezTo>
                                <a:pt x="0" y="49"/>
                                <a:pt x="126"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9" name="Freeform: Shape 1558">
                          <a:extLst>
                            <a:ext uri="{FF2B5EF4-FFF2-40B4-BE49-F238E27FC236}">
                              <a16:creationId xmlns:a16="http://schemas.microsoft.com/office/drawing/2014/main" id="{2F2D30D7-3B47-4B1F-927A-B13658B4C4EE}"/>
                            </a:ext>
                          </a:extLst>
                        </p:cNvPr>
                        <p:cNvSpPr/>
                        <p:nvPr/>
                      </p:nvSpPr>
                      <p:spPr>
                        <a:xfrm>
                          <a:off x="3414674" y="1695832"/>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19"/>
                              </a:cubicBezTo>
                              <a:lnTo>
                                <a:pt x="0" y="300"/>
                              </a:lnTo>
                              <a:cubicBezTo>
                                <a:pt x="0" y="49"/>
                                <a:pt x="126"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0" name="Freeform: Shape 1559">
                          <a:extLst>
                            <a:ext uri="{FF2B5EF4-FFF2-40B4-BE49-F238E27FC236}">
                              <a16:creationId xmlns:a16="http://schemas.microsoft.com/office/drawing/2014/main" id="{787A8E90-0A09-4DDD-BDFF-B4F03A84E4E6}"/>
                            </a:ext>
                          </a:extLst>
                        </p:cNvPr>
                        <p:cNvSpPr/>
                        <p:nvPr/>
                      </p:nvSpPr>
                      <p:spPr>
                        <a:xfrm>
                          <a:off x="3416056" y="1696586"/>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19"/>
                              </a:cubicBezTo>
                              <a:lnTo>
                                <a:pt x="0" y="300"/>
                              </a:lnTo>
                              <a:cubicBezTo>
                                <a:pt x="0" y="49"/>
                                <a:pt x="126"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61" name="Graphic 4">
                        <a:extLst>
                          <a:ext uri="{FF2B5EF4-FFF2-40B4-BE49-F238E27FC236}">
                            <a16:creationId xmlns:a16="http://schemas.microsoft.com/office/drawing/2014/main" id="{84FB7ED1-A2DF-40A1-A747-5F7CF3F14040}"/>
                          </a:ext>
                        </a:extLst>
                      </p:cNvPr>
                      <p:cNvGrpSpPr/>
                      <p:nvPr/>
                    </p:nvGrpSpPr>
                    <p:grpSpPr>
                      <a:xfrm>
                        <a:off x="3410781" y="1693446"/>
                        <a:ext cx="6154" cy="8136"/>
                        <a:chOff x="3410781" y="1693446"/>
                        <a:chExt cx="6154" cy="8136"/>
                      </a:xfrm>
                      <a:solidFill>
                        <a:srgbClr val="E9A100"/>
                      </a:solidFill>
                    </p:grpSpPr>
                    <p:sp>
                      <p:nvSpPr>
                        <p:cNvPr id="1562" name="Freeform: Shape 1561">
                          <a:extLst>
                            <a:ext uri="{FF2B5EF4-FFF2-40B4-BE49-F238E27FC236}">
                              <a16:creationId xmlns:a16="http://schemas.microsoft.com/office/drawing/2014/main" id="{F142CC8C-6DE6-4853-B28C-19F938AF0429}"/>
                            </a:ext>
                          </a:extLst>
                        </p:cNvPr>
                        <p:cNvSpPr/>
                        <p:nvPr/>
                      </p:nvSpPr>
                      <p:spPr>
                        <a:xfrm>
                          <a:off x="3410781" y="1693446"/>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19"/>
                              </a:cubicBezTo>
                              <a:lnTo>
                                <a:pt x="0" y="300"/>
                              </a:lnTo>
                              <a:cubicBezTo>
                                <a:pt x="0" y="49"/>
                                <a:pt x="126"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3" name="Freeform: Shape 1562">
                          <a:extLst>
                            <a:ext uri="{FF2B5EF4-FFF2-40B4-BE49-F238E27FC236}">
                              <a16:creationId xmlns:a16="http://schemas.microsoft.com/office/drawing/2014/main" id="{6A69660A-D3E9-4F1B-B567-6DDBF01EEA31}"/>
                            </a:ext>
                          </a:extLst>
                        </p:cNvPr>
                        <p:cNvSpPr/>
                        <p:nvPr/>
                      </p:nvSpPr>
                      <p:spPr>
                        <a:xfrm>
                          <a:off x="3412163" y="1694200"/>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20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5" y="4822"/>
                                <a:pt x="0" y="4571"/>
                                <a:pt x="0" y="4320"/>
                              </a:cubicBezTo>
                              <a:lnTo>
                                <a:pt x="0" y="300"/>
                              </a:lnTo>
                              <a:cubicBezTo>
                                <a:pt x="0" y="49"/>
                                <a:pt x="125"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4" name="Freeform: Shape 1563">
                          <a:extLst>
                            <a:ext uri="{FF2B5EF4-FFF2-40B4-BE49-F238E27FC236}">
                              <a16:creationId xmlns:a16="http://schemas.microsoft.com/office/drawing/2014/main" id="{73E030E1-9B4E-45D6-AB0D-A1CAD14FADFD}"/>
                            </a:ext>
                          </a:extLst>
                        </p:cNvPr>
                        <p:cNvSpPr/>
                        <p:nvPr/>
                      </p:nvSpPr>
                      <p:spPr>
                        <a:xfrm>
                          <a:off x="3413419" y="1694953"/>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5" y="4822"/>
                                <a:pt x="0" y="4571"/>
                                <a:pt x="0" y="4319"/>
                              </a:cubicBezTo>
                              <a:lnTo>
                                <a:pt x="0" y="300"/>
                              </a:lnTo>
                              <a:cubicBezTo>
                                <a:pt x="0" y="49"/>
                                <a:pt x="125"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5" name="Freeform: Shape 1564">
                          <a:extLst>
                            <a:ext uri="{FF2B5EF4-FFF2-40B4-BE49-F238E27FC236}">
                              <a16:creationId xmlns:a16="http://schemas.microsoft.com/office/drawing/2014/main" id="{600123AF-23BA-4F74-BC5F-95D9F0D8C5FE}"/>
                            </a:ext>
                          </a:extLst>
                        </p:cNvPr>
                        <p:cNvSpPr/>
                        <p:nvPr/>
                      </p:nvSpPr>
                      <p:spPr>
                        <a:xfrm>
                          <a:off x="3414800" y="1695707"/>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19"/>
                              </a:cubicBezTo>
                              <a:lnTo>
                                <a:pt x="0" y="300"/>
                              </a:lnTo>
                              <a:cubicBezTo>
                                <a:pt x="0" y="49"/>
                                <a:pt x="126"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6" name="Freeform: Shape 1565">
                          <a:extLst>
                            <a:ext uri="{FF2B5EF4-FFF2-40B4-BE49-F238E27FC236}">
                              <a16:creationId xmlns:a16="http://schemas.microsoft.com/office/drawing/2014/main" id="{374AC838-A4FE-4CD9-99DA-D9BBC05CB067}"/>
                            </a:ext>
                          </a:extLst>
                        </p:cNvPr>
                        <p:cNvSpPr/>
                        <p:nvPr/>
                      </p:nvSpPr>
                      <p:spPr>
                        <a:xfrm>
                          <a:off x="3416182" y="1696586"/>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5" y="4822"/>
                                <a:pt x="0" y="4571"/>
                                <a:pt x="0" y="4319"/>
                              </a:cubicBezTo>
                              <a:lnTo>
                                <a:pt x="0" y="300"/>
                              </a:lnTo>
                              <a:cubicBezTo>
                                <a:pt x="0" y="49"/>
                                <a:pt x="125"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1567" name="Graphic 4">
                  <a:extLst>
                    <a:ext uri="{FF2B5EF4-FFF2-40B4-BE49-F238E27FC236}">
                      <a16:creationId xmlns:a16="http://schemas.microsoft.com/office/drawing/2014/main" id="{84FB7ED1-A2DF-40A1-A747-5F7CF3F14040}"/>
                    </a:ext>
                  </a:extLst>
                </p:cNvPr>
                <p:cNvGrpSpPr/>
                <p:nvPr/>
              </p:nvGrpSpPr>
              <p:grpSpPr>
                <a:xfrm>
                  <a:off x="3452102" y="1711079"/>
                  <a:ext cx="27254" cy="33157"/>
                  <a:chOff x="3452102" y="1711079"/>
                  <a:chExt cx="27254" cy="33157"/>
                </a:xfrm>
                <a:solidFill>
                  <a:schemeClr val="accent1"/>
                </a:solidFill>
              </p:grpSpPr>
              <p:sp>
                <p:nvSpPr>
                  <p:cNvPr id="1568" name="Freeform: Shape 1567">
                    <a:extLst>
                      <a:ext uri="{FF2B5EF4-FFF2-40B4-BE49-F238E27FC236}">
                        <a16:creationId xmlns:a16="http://schemas.microsoft.com/office/drawing/2014/main" id="{901C3EEB-7EE6-4D74-879C-A12B85740697}"/>
                      </a:ext>
                    </a:extLst>
                  </p:cNvPr>
                  <p:cNvSpPr/>
                  <p:nvPr/>
                </p:nvSpPr>
                <p:spPr>
                  <a:xfrm>
                    <a:off x="3452102" y="1711079"/>
                    <a:ext cx="27254" cy="33157"/>
                  </a:xfrm>
                  <a:custGeom>
                    <a:avLst/>
                    <a:gdLst>
                      <a:gd name="connsiteX0" fmla="*/ 27254 w 27254"/>
                      <a:gd name="connsiteY0" fmla="*/ 0 h 33157"/>
                      <a:gd name="connsiteX1" fmla="*/ 27254 w 27254"/>
                      <a:gd name="connsiteY1" fmla="*/ 17332 h 33157"/>
                      <a:gd name="connsiteX2" fmla="*/ 0 w 27254"/>
                      <a:gd name="connsiteY2" fmla="*/ 33157 h 33157"/>
                      <a:gd name="connsiteX3" fmla="*/ 0 w 27254"/>
                      <a:gd name="connsiteY3" fmla="*/ 15699 h 33157"/>
                    </a:gdLst>
                    <a:ahLst/>
                    <a:cxnLst>
                      <a:cxn ang="0">
                        <a:pos x="connsiteX0" y="connsiteY0"/>
                      </a:cxn>
                      <a:cxn ang="0">
                        <a:pos x="connsiteX1" y="connsiteY1"/>
                      </a:cxn>
                      <a:cxn ang="0">
                        <a:pos x="connsiteX2" y="connsiteY2"/>
                      </a:cxn>
                      <a:cxn ang="0">
                        <a:pos x="connsiteX3" y="connsiteY3"/>
                      </a:cxn>
                    </a:cxnLst>
                    <a:rect l="l" t="t" r="r" b="b"/>
                    <a:pathLst>
                      <a:path w="27254" h="33157">
                        <a:moveTo>
                          <a:pt x="27254" y="0"/>
                        </a:moveTo>
                        <a:lnTo>
                          <a:pt x="27254" y="17332"/>
                        </a:lnTo>
                        <a:lnTo>
                          <a:pt x="0" y="33157"/>
                        </a:lnTo>
                        <a:lnTo>
                          <a:pt x="0" y="15699"/>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69" name="Graphic 4">
                    <a:extLst>
                      <a:ext uri="{FF2B5EF4-FFF2-40B4-BE49-F238E27FC236}">
                        <a16:creationId xmlns:a16="http://schemas.microsoft.com/office/drawing/2014/main" id="{84FB7ED1-A2DF-40A1-A747-5F7CF3F14040}"/>
                      </a:ext>
                    </a:extLst>
                  </p:cNvPr>
                  <p:cNvGrpSpPr/>
                  <p:nvPr/>
                </p:nvGrpSpPr>
                <p:grpSpPr>
                  <a:xfrm>
                    <a:off x="3457754" y="1718489"/>
                    <a:ext cx="17206" cy="18462"/>
                    <a:chOff x="3457754" y="1718489"/>
                    <a:chExt cx="17206" cy="18462"/>
                  </a:xfrm>
                  <a:solidFill>
                    <a:schemeClr val="accent1"/>
                  </a:solidFill>
                </p:grpSpPr>
                <p:grpSp>
                  <p:nvGrpSpPr>
                    <p:cNvPr id="1570" name="Graphic 4">
                      <a:extLst>
                        <a:ext uri="{FF2B5EF4-FFF2-40B4-BE49-F238E27FC236}">
                          <a16:creationId xmlns:a16="http://schemas.microsoft.com/office/drawing/2014/main" id="{84FB7ED1-A2DF-40A1-A747-5F7CF3F14040}"/>
                        </a:ext>
                      </a:extLst>
                    </p:cNvPr>
                    <p:cNvGrpSpPr/>
                    <p:nvPr/>
                  </p:nvGrpSpPr>
                  <p:grpSpPr>
                    <a:xfrm>
                      <a:off x="3458005" y="1718489"/>
                      <a:ext cx="16955" cy="18462"/>
                      <a:chOff x="3458005" y="1718489"/>
                      <a:chExt cx="16955" cy="18462"/>
                    </a:xfrm>
                    <a:solidFill>
                      <a:srgbClr val="3A3A3A"/>
                    </a:solidFill>
                  </p:grpSpPr>
                  <p:sp>
                    <p:nvSpPr>
                      <p:cNvPr id="1571" name="Freeform: Shape 1570">
                        <a:extLst>
                          <a:ext uri="{FF2B5EF4-FFF2-40B4-BE49-F238E27FC236}">
                            <a16:creationId xmlns:a16="http://schemas.microsoft.com/office/drawing/2014/main" id="{862AF735-EB1C-4AF2-8C5A-9F8CFA87DB95}"/>
                          </a:ext>
                        </a:extLst>
                      </p:cNvPr>
                      <p:cNvSpPr/>
                      <p:nvPr/>
                    </p:nvSpPr>
                    <p:spPr>
                      <a:xfrm>
                        <a:off x="3473453" y="1718489"/>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2" name="Freeform: Shape 1571">
                        <a:extLst>
                          <a:ext uri="{FF2B5EF4-FFF2-40B4-BE49-F238E27FC236}">
                            <a16:creationId xmlns:a16="http://schemas.microsoft.com/office/drawing/2014/main" id="{C1B392C8-D196-4CF3-8720-9C3D0B545BFE}"/>
                          </a:ext>
                        </a:extLst>
                      </p:cNvPr>
                      <p:cNvSpPr/>
                      <p:nvPr/>
                    </p:nvSpPr>
                    <p:spPr>
                      <a:xfrm>
                        <a:off x="3470815" y="1719996"/>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3" name="Freeform: Shape 1572">
                        <a:extLst>
                          <a:ext uri="{FF2B5EF4-FFF2-40B4-BE49-F238E27FC236}">
                            <a16:creationId xmlns:a16="http://schemas.microsoft.com/office/drawing/2014/main" id="{6C2AD8F5-2BC9-4E8B-9449-9E2750F34546}"/>
                          </a:ext>
                        </a:extLst>
                      </p:cNvPr>
                      <p:cNvSpPr/>
                      <p:nvPr/>
                    </p:nvSpPr>
                    <p:spPr>
                      <a:xfrm>
                        <a:off x="3468304" y="1721503"/>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4" name="Freeform: Shape 1573">
                        <a:extLst>
                          <a:ext uri="{FF2B5EF4-FFF2-40B4-BE49-F238E27FC236}">
                            <a16:creationId xmlns:a16="http://schemas.microsoft.com/office/drawing/2014/main" id="{82B0E2EE-D5D5-42C5-9EA7-7D7A8362719C}"/>
                          </a:ext>
                        </a:extLst>
                      </p:cNvPr>
                      <p:cNvSpPr/>
                      <p:nvPr/>
                    </p:nvSpPr>
                    <p:spPr>
                      <a:xfrm>
                        <a:off x="3465792" y="1723010"/>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5" name="Freeform: Shape 1574">
                        <a:extLst>
                          <a:ext uri="{FF2B5EF4-FFF2-40B4-BE49-F238E27FC236}">
                            <a16:creationId xmlns:a16="http://schemas.microsoft.com/office/drawing/2014/main" id="{1BB3DA9E-D863-45A9-AA30-2B33EE9B1999}"/>
                          </a:ext>
                        </a:extLst>
                      </p:cNvPr>
                      <p:cNvSpPr/>
                      <p:nvPr/>
                    </p:nvSpPr>
                    <p:spPr>
                      <a:xfrm>
                        <a:off x="3463154" y="1724517"/>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6" name="Freeform: Shape 1575">
                        <a:extLst>
                          <a:ext uri="{FF2B5EF4-FFF2-40B4-BE49-F238E27FC236}">
                            <a16:creationId xmlns:a16="http://schemas.microsoft.com/office/drawing/2014/main" id="{BB41973F-1081-43B4-A82E-7629C33A4C08}"/>
                          </a:ext>
                        </a:extLst>
                      </p:cNvPr>
                      <p:cNvSpPr/>
                      <p:nvPr/>
                    </p:nvSpPr>
                    <p:spPr>
                      <a:xfrm>
                        <a:off x="3460642" y="1725899"/>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7" name="Freeform: Shape 1576">
                        <a:extLst>
                          <a:ext uri="{FF2B5EF4-FFF2-40B4-BE49-F238E27FC236}">
                            <a16:creationId xmlns:a16="http://schemas.microsoft.com/office/drawing/2014/main" id="{CE95D0FF-8F35-473D-A020-F7AD647FE068}"/>
                          </a:ext>
                        </a:extLst>
                      </p:cNvPr>
                      <p:cNvSpPr/>
                      <p:nvPr/>
                    </p:nvSpPr>
                    <p:spPr>
                      <a:xfrm>
                        <a:off x="3458005" y="1727406"/>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251"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78" name="Graphic 4">
                      <a:extLst>
                        <a:ext uri="{FF2B5EF4-FFF2-40B4-BE49-F238E27FC236}">
                          <a16:creationId xmlns:a16="http://schemas.microsoft.com/office/drawing/2014/main" id="{84FB7ED1-A2DF-40A1-A747-5F7CF3F14040}"/>
                        </a:ext>
                      </a:extLst>
                    </p:cNvPr>
                    <p:cNvGrpSpPr/>
                    <p:nvPr/>
                  </p:nvGrpSpPr>
                  <p:grpSpPr>
                    <a:xfrm>
                      <a:off x="3457754" y="1718489"/>
                      <a:ext cx="16954" cy="18336"/>
                      <a:chOff x="3457754" y="1718489"/>
                      <a:chExt cx="16954" cy="18336"/>
                    </a:xfrm>
                    <a:solidFill>
                      <a:srgbClr val="000000"/>
                    </a:solidFill>
                  </p:grpSpPr>
                  <p:sp>
                    <p:nvSpPr>
                      <p:cNvPr id="1579" name="Freeform: Shape 1578">
                        <a:extLst>
                          <a:ext uri="{FF2B5EF4-FFF2-40B4-BE49-F238E27FC236}">
                            <a16:creationId xmlns:a16="http://schemas.microsoft.com/office/drawing/2014/main" id="{56728140-6DAF-4C05-B6E1-6C6D696CBEDB}"/>
                          </a:ext>
                        </a:extLst>
                      </p:cNvPr>
                      <p:cNvSpPr/>
                      <p:nvPr/>
                    </p:nvSpPr>
                    <p:spPr>
                      <a:xfrm>
                        <a:off x="3473202" y="1718489"/>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251"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0" name="Freeform: Shape 1579">
                        <a:extLst>
                          <a:ext uri="{FF2B5EF4-FFF2-40B4-BE49-F238E27FC236}">
                            <a16:creationId xmlns:a16="http://schemas.microsoft.com/office/drawing/2014/main" id="{31805E2E-FBB4-4B48-874B-B3482A5E895B}"/>
                          </a:ext>
                        </a:extLst>
                      </p:cNvPr>
                      <p:cNvSpPr/>
                      <p:nvPr/>
                    </p:nvSpPr>
                    <p:spPr>
                      <a:xfrm>
                        <a:off x="3470690" y="1719870"/>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1" name="Freeform: Shape 1580">
                        <a:extLst>
                          <a:ext uri="{FF2B5EF4-FFF2-40B4-BE49-F238E27FC236}">
                            <a16:creationId xmlns:a16="http://schemas.microsoft.com/office/drawing/2014/main" id="{EBFF338E-E204-43D5-B69E-8EB810A278AD}"/>
                          </a:ext>
                        </a:extLst>
                      </p:cNvPr>
                      <p:cNvSpPr/>
                      <p:nvPr/>
                    </p:nvSpPr>
                    <p:spPr>
                      <a:xfrm>
                        <a:off x="3468052" y="1721377"/>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1" y="9168"/>
                              <a:pt x="1507" y="8666"/>
                              <a:pt x="1507" y="8164"/>
                            </a:cubicBezTo>
                            <a:lnTo>
                              <a:pt x="1507" y="502"/>
                            </a:lnTo>
                            <a:cubicBezTo>
                              <a:pt x="1507" y="0"/>
                              <a:pt x="1131"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2" name="Freeform: Shape 1581">
                        <a:extLst>
                          <a:ext uri="{FF2B5EF4-FFF2-40B4-BE49-F238E27FC236}">
                            <a16:creationId xmlns:a16="http://schemas.microsoft.com/office/drawing/2014/main" id="{716E4CE3-525A-49FB-903C-A712BFACBE91}"/>
                          </a:ext>
                        </a:extLst>
                      </p:cNvPr>
                      <p:cNvSpPr/>
                      <p:nvPr/>
                    </p:nvSpPr>
                    <p:spPr>
                      <a:xfrm>
                        <a:off x="3465541" y="1722885"/>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3" name="Freeform: Shape 1582">
                        <a:extLst>
                          <a:ext uri="{FF2B5EF4-FFF2-40B4-BE49-F238E27FC236}">
                            <a16:creationId xmlns:a16="http://schemas.microsoft.com/office/drawing/2014/main" id="{A7C86DB4-9773-4C64-8C55-946484915575}"/>
                          </a:ext>
                        </a:extLst>
                      </p:cNvPr>
                      <p:cNvSpPr/>
                      <p:nvPr/>
                    </p:nvSpPr>
                    <p:spPr>
                      <a:xfrm>
                        <a:off x="3462903" y="1724392"/>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4" name="Freeform: Shape 1583">
                        <a:extLst>
                          <a:ext uri="{FF2B5EF4-FFF2-40B4-BE49-F238E27FC236}">
                            <a16:creationId xmlns:a16="http://schemas.microsoft.com/office/drawing/2014/main" id="{F3290A87-5C7F-4BE4-B732-FB8D3C6389E1}"/>
                          </a:ext>
                        </a:extLst>
                      </p:cNvPr>
                      <p:cNvSpPr/>
                      <p:nvPr/>
                    </p:nvSpPr>
                    <p:spPr>
                      <a:xfrm>
                        <a:off x="3460391" y="1725899"/>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5" name="Freeform: Shape 1584">
                        <a:extLst>
                          <a:ext uri="{FF2B5EF4-FFF2-40B4-BE49-F238E27FC236}">
                            <a16:creationId xmlns:a16="http://schemas.microsoft.com/office/drawing/2014/main" id="{CCA4F771-FD0C-49BC-8368-18FD21BE3226}"/>
                          </a:ext>
                        </a:extLst>
                      </p:cNvPr>
                      <p:cNvSpPr/>
                      <p:nvPr/>
                    </p:nvSpPr>
                    <p:spPr>
                      <a:xfrm>
                        <a:off x="3457754" y="1727280"/>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1586" name="Freeform: Shape 1585">
                  <a:extLst>
                    <a:ext uri="{FF2B5EF4-FFF2-40B4-BE49-F238E27FC236}">
                      <a16:creationId xmlns:a16="http://schemas.microsoft.com/office/drawing/2014/main" id="{5764F7B5-B3CE-4F45-840A-17AF571555B8}"/>
                    </a:ext>
                  </a:extLst>
                </p:cNvPr>
                <p:cNvSpPr/>
                <p:nvPr/>
              </p:nvSpPr>
              <p:spPr>
                <a:xfrm>
                  <a:off x="3434016" y="1651170"/>
                  <a:ext cx="25998" cy="18211"/>
                </a:xfrm>
                <a:custGeom>
                  <a:avLst/>
                  <a:gdLst>
                    <a:gd name="connsiteX0" fmla="*/ 25998 w 25998"/>
                    <a:gd name="connsiteY0" fmla="*/ 0 h 18211"/>
                    <a:gd name="connsiteX1" fmla="*/ 879 w 25998"/>
                    <a:gd name="connsiteY1" fmla="*/ 14443 h 18211"/>
                    <a:gd name="connsiteX2" fmla="*/ 3266 w 25998"/>
                    <a:gd name="connsiteY2" fmla="*/ 18211 h 18211"/>
                    <a:gd name="connsiteX3" fmla="*/ 0 w 25998"/>
                    <a:gd name="connsiteY3" fmla="*/ 14067 h 18211"/>
                  </a:gdLst>
                  <a:ahLst/>
                  <a:cxnLst>
                    <a:cxn ang="0">
                      <a:pos x="connsiteX0" y="connsiteY0"/>
                    </a:cxn>
                    <a:cxn ang="0">
                      <a:pos x="connsiteX1" y="connsiteY1"/>
                    </a:cxn>
                    <a:cxn ang="0">
                      <a:pos x="connsiteX2" y="connsiteY2"/>
                    </a:cxn>
                    <a:cxn ang="0">
                      <a:pos x="connsiteX3" y="connsiteY3"/>
                    </a:cxn>
                  </a:cxnLst>
                  <a:rect l="l" t="t" r="r" b="b"/>
                  <a:pathLst>
                    <a:path w="25998" h="18211">
                      <a:moveTo>
                        <a:pt x="25998" y="0"/>
                      </a:moveTo>
                      <a:lnTo>
                        <a:pt x="879" y="14443"/>
                      </a:lnTo>
                      <a:lnTo>
                        <a:pt x="3266" y="18211"/>
                      </a:lnTo>
                      <a:lnTo>
                        <a:pt x="0" y="14067"/>
                      </a:lnTo>
                      <a:close/>
                    </a:path>
                  </a:pathLst>
                </a:custGeom>
                <a:solidFill>
                  <a:srgbClr val="F4F4F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87" name="Graphic 4">
                  <a:extLst>
                    <a:ext uri="{FF2B5EF4-FFF2-40B4-BE49-F238E27FC236}">
                      <a16:creationId xmlns:a16="http://schemas.microsoft.com/office/drawing/2014/main" id="{84FB7ED1-A2DF-40A1-A747-5F7CF3F14040}"/>
                    </a:ext>
                  </a:extLst>
                </p:cNvPr>
                <p:cNvGrpSpPr/>
                <p:nvPr/>
              </p:nvGrpSpPr>
              <p:grpSpPr>
                <a:xfrm>
                  <a:off x="3452981" y="1723764"/>
                  <a:ext cx="31524" cy="22481"/>
                  <a:chOff x="3452981" y="1723764"/>
                  <a:chExt cx="31524" cy="22481"/>
                </a:xfrm>
                <a:solidFill>
                  <a:schemeClr val="accent1"/>
                </a:solidFill>
              </p:grpSpPr>
              <p:sp>
                <p:nvSpPr>
                  <p:cNvPr id="1588" name="Freeform: Shape 1587">
                    <a:extLst>
                      <a:ext uri="{FF2B5EF4-FFF2-40B4-BE49-F238E27FC236}">
                        <a16:creationId xmlns:a16="http://schemas.microsoft.com/office/drawing/2014/main" id="{AB973578-C9B7-4731-B322-E9B1FCA16172}"/>
                      </a:ext>
                    </a:extLst>
                  </p:cNvPr>
                  <p:cNvSpPr/>
                  <p:nvPr/>
                </p:nvSpPr>
                <p:spPr>
                  <a:xfrm>
                    <a:off x="3455367" y="1725145"/>
                    <a:ext cx="29137" cy="21099"/>
                  </a:xfrm>
                  <a:custGeom>
                    <a:avLst/>
                    <a:gdLst>
                      <a:gd name="connsiteX0" fmla="*/ 29138 w 29137"/>
                      <a:gd name="connsiteY0" fmla="*/ 4396 h 21099"/>
                      <a:gd name="connsiteX1" fmla="*/ 0 w 29137"/>
                      <a:gd name="connsiteY1" fmla="*/ 21100 h 21099"/>
                      <a:gd name="connsiteX2" fmla="*/ 0 w 29137"/>
                      <a:gd name="connsiteY2" fmla="*/ 16704 h 21099"/>
                      <a:gd name="connsiteX3" fmla="*/ 29012 w 29137"/>
                      <a:gd name="connsiteY3" fmla="*/ 0 h 21099"/>
                    </a:gdLst>
                    <a:ahLst/>
                    <a:cxnLst>
                      <a:cxn ang="0">
                        <a:pos x="connsiteX0" y="connsiteY0"/>
                      </a:cxn>
                      <a:cxn ang="0">
                        <a:pos x="connsiteX1" y="connsiteY1"/>
                      </a:cxn>
                      <a:cxn ang="0">
                        <a:pos x="connsiteX2" y="connsiteY2"/>
                      </a:cxn>
                      <a:cxn ang="0">
                        <a:pos x="connsiteX3" y="connsiteY3"/>
                      </a:cxn>
                    </a:cxnLst>
                    <a:rect l="l" t="t" r="r" b="b"/>
                    <a:pathLst>
                      <a:path w="29137" h="21099">
                        <a:moveTo>
                          <a:pt x="29138" y="4396"/>
                        </a:moveTo>
                        <a:lnTo>
                          <a:pt x="0" y="21100"/>
                        </a:lnTo>
                        <a:lnTo>
                          <a:pt x="0" y="16704"/>
                        </a:lnTo>
                        <a:lnTo>
                          <a:pt x="29012" y="0"/>
                        </a:lnTo>
                        <a:close/>
                      </a:path>
                    </a:pathLst>
                  </a:custGeom>
                  <a:solidFill>
                    <a:srgbClr val="20242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9" name="Freeform: Shape 1588">
                    <a:extLst>
                      <a:ext uri="{FF2B5EF4-FFF2-40B4-BE49-F238E27FC236}">
                        <a16:creationId xmlns:a16="http://schemas.microsoft.com/office/drawing/2014/main" id="{9014B285-758E-4B20-906D-7372092E3AA3}"/>
                      </a:ext>
                    </a:extLst>
                  </p:cNvPr>
                  <p:cNvSpPr/>
                  <p:nvPr/>
                </p:nvSpPr>
                <p:spPr>
                  <a:xfrm>
                    <a:off x="3452981" y="1723764"/>
                    <a:ext cx="31398" cy="18085"/>
                  </a:xfrm>
                  <a:custGeom>
                    <a:avLst/>
                    <a:gdLst>
                      <a:gd name="connsiteX0" fmla="*/ 29012 w 31398"/>
                      <a:gd name="connsiteY0" fmla="*/ 0 h 18085"/>
                      <a:gd name="connsiteX1" fmla="*/ 0 w 31398"/>
                      <a:gd name="connsiteY1" fmla="*/ 16579 h 18085"/>
                      <a:gd name="connsiteX2" fmla="*/ 2386 w 31398"/>
                      <a:gd name="connsiteY2" fmla="*/ 18086 h 18085"/>
                      <a:gd name="connsiteX3" fmla="*/ 31399 w 31398"/>
                      <a:gd name="connsiteY3" fmla="*/ 1382 h 18085"/>
                    </a:gdLst>
                    <a:ahLst/>
                    <a:cxnLst>
                      <a:cxn ang="0">
                        <a:pos x="connsiteX0" y="connsiteY0"/>
                      </a:cxn>
                      <a:cxn ang="0">
                        <a:pos x="connsiteX1" y="connsiteY1"/>
                      </a:cxn>
                      <a:cxn ang="0">
                        <a:pos x="connsiteX2" y="connsiteY2"/>
                      </a:cxn>
                      <a:cxn ang="0">
                        <a:pos x="connsiteX3" y="connsiteY3"/>
                      </a:cxn>
                    </a:cxnLst>
                    <a:rect l="l" t="t" r="r" b="b"/>
                    <a:pathLst>
                      <a:path w="31398" h="18085">
                        <a:moveTo>
                          <a:pt x="29012" y="0"/>
                        </a:moveTo>
                        <a:lnTo>
                          <a:pt x="0" y="16579"/>
                        </a:lnTo>
                        <a:lnTo>
                          <a:pt x="2386" y="18086"/>
                        </a:lnTo>
                        <a:lnTo>
                          <a:pt x="31399" y="1382"/>
                        </a:lnTo>
                        <a:close/>
                      </a:path>
                    </a:pathLst>
                  </a:custGeom>
                  <a:solidFill>
                    <a:srgbClr val="4142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0" name="Freeform: Shape 1589">
                    <a:extLst>
                      <a:ext uri="{FF2B5EF4-FFF2-40B4-BE49-F238E27FC236}">
                        <a16:creationId xmlns:a16="http://schemas.microsoft.com/office/drawing/2014/main" id="{3F92AD27-DDF5-4E0C-9396-862CDE4E55F1}"/>
                      </a:ext>
                    </a:extLst>
                  </p:cNvPr>
                  <p:cNvSpPr/>
                  <p:nvPr/>
                </p:nvSpPr>
                <p:spPr>
                  <a:xfrm>
                    <a:off x="3452981" y="1740468"/>
                    <a:ext cx="2386" cy="5777"/>
                  </a:xfrm>
                  <a:custGeom>
                    <a:avLst/>
                    <a:gdLst>
                      <a:gd name="connsiteX0" fmla="*/ 0 w 2386"/>
                      <a:gd name="connsiteY0" fmla="*/ 0 h 5777"/>
                      <a:gd name="connsiteX1" fmla="*/ 2386 w 2386"/>
                      <a:gd name="connsiteY1" fmla="*/ 1382 h 5777"/>
                      <a:gd name="connsiteX2" fmla="*/ 2386 w 2386"/>
                      <a:gd name="connsiteY2" fmla="*/ 5777 h 5777"/>
                      <a:gd name="connsiteX3" fmla="*/ 0 w 2386"/>
                      <a:gd name="connsiteY3" fmla="*/ 4521 h 5777"/>
                    </a:gdLst>
                    <a:ahLst/>
                    <a:cxnLst>
                      <a:cxn ang="0">
                        <a:pos x="connsiteX0" y="connsiteY0"/>
                      </a:cxn>
                      <a:cxn ang="0">
                        <a:pos x="connsiteX1" y="connsiteY1"/>
                      </a:cxn>
                      <a:cxn ang="0">
                        <a:pos x="connsiteX2" y="connsiteY2"/>
                      </a:cxn>
                      <a:cxn ang="0">
                        <a:pos x="connsiteX3" y="connsiteY3"/>
                      </a:cxn>
                    </a:cxnLst>
                    <a:rect l="l" t="t" r="r" b="b"/>
                    <a:pathLst>
                      <a:path w="2386" h="5777">
                        <a:moveTo>
                          <a:pt x="0" y="0"/>
                        </a:moveTo>
                        <a:lnTo>
                          <a:pt x="2386" y="1382"/>
                        </a:lnTo>
                        <a:lnTo>
                          <a:pt x="2386" y="5777"/>
                        </a:lnTo>
                        <a:lnTo>
                          <a:pt x="0" y="4521"/>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91" name="Graphic 4">
                  <a:extLst>
                    <a:ext uri="{FF2B5EF4-FFF2-40B4-BE49-F238E27FC236}">
                      <a16:creationId xmlns:a16="http://schemas.microsoft.com/office/drawing/2014/main" id="{84FB7ED1-A2DF-40A1-A747-5F7CF3F14040}"/>
                    </a:ext>
                  </a:extLst>
                </p:cNvPr>
                <p:cNvGrpSpPr/>
                <p:nvPr/>
              </p:nvGrpSpPr>
              <p:grpSpPr>
                <a:xfrm>
                  <a:off x="3454362" y="1669507"/>
                  <a:ext cx="6405" cy="71212"/>
                  <a:chOff x="3454362" y="1669507"/>
                  <a:chExt cx="6405" cy="71212"/>
                </a:xfrm>
                <a:solidFill>
                  <a:schemeClr val="accent1"/>
                </a:solidFill>
              </p:grpSpPr>
              <p:sp>
                <p:nvSpPr>
                  <p:cNvPr id="1592" name="Freeform: Shape 1591">
                    <a:extLst>
                      <a:ext uri="{FF2B5EF4-FFF2-40B4-BE49-F238E27FC236}">
                        <a16:creationId xmlns:a16="http://schemas.microsoft.com/office/drawing/2014/main" id="{E7E7F1DA-8183-4122-90E0-DD24230B7C0D}"/>
                      </a:ext>
                    </a:extLst>
                  </p:cNvPr>
                  <p:cNvSpPr/>
                  <p:nvPr/>
                </p:nvSpPr>
                <p:spPr>
                  <a:xfrm>
                    <a:off x="3454362" y="1671767"/>
                    <a:ext cx="3768" cy="68951"/>
                  </a:xfrm>
                  <a:custGeom>
                    <a:avLst/>
                    <a:gdLst>
                      <a:gd name="connsiteX0" fmla="*/ 126 w 3768"/>
                      <a:gd name="connsiteY0" fmla="*/ 67570 h 68951"/>
                      <a:gd name="connsiteX1" fmla="*/ 0 w 3768"/>
                      <a:gd name="connsiteY1" fmla="*/ 0 h 68951"/>
                      <a:gd name="connsiteX2" fmla="*/ 2386 w 3768"/>
                      <a:gd name="connsiteY2" fmla="*/ 1382 h 68951"/>
                      <a:gd name="connsiteX3" fmla="*/ 3768 w 3768"/>
                      <a:gd name="connsiteY3" fmla="*/ 36925 h 68951"/>
                      <a:gd name="connsiteX4" fmla="*/ 2512 w 3768"/>
                      <a:gd name="connsiteY4" fmla="*/ 68952 h 68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8" h="68951">
                        <a:moveTo>
                          <a:pt x="126" y="67570"/>
                        </a:moveTo>
                        <a:lnTo>
                          <a:pt x="0" y="0"/>
                        </a:lnTo>
                        <a:lnTo>
                          <a:pt x="2386" y="1382"/>
                        </a:lnTo>
                        <a:lnTo>
                          <a:pt x="3768" y="36925"/>
                        </a:lnTo>
                        <a:lnTo>
                          <a:pt x="2512" y="68952"/>
                        </a:lnTo>
                        <a:close/>
                      </a:path>
                    </a:pathLst>
                  </a:custGeom>
                  <a:solidFill>
                    <a:srgbClr val="4142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3" name="Freeform: Shape 1592">
                    <a:extLst>
                      <a:ext uri="{FF2B5EF4-FFF2-40B4-BE49-F238E27FC236}">
                        <a16:creationId xmlns:a16="http://schemas.microsoft.com/office/drawing/2014/main" id="{5AA8BC09-DFCD-46E3-8751-75BF93816A49}"/>
                      </a:ext>
                    </a:extLst>
                  </p:cNvPr>
                  <p:cNvSpPr/>
                  <p:nvPr/>
                </p:nvSpPr>
                <p:spPr>
                  <a:xfrm>
                    <a:off x="3456749" y="1671014"/>
                    <a:ext cx="4019" cy="69705"/>
                  </a:xfrm>
                  <a:custGeom>
                    <a:avLst/>
                    <a:gdLst>
                      <a:gd name="connsiteX0" fmla="*/ 4019 w 4019"/>
                      <a:gd name="connsiteY0" fmla="*/ 67570 h 69705"/>
                      <a:gd name="connsiteX1" fmla="*/ 3893 w 4019"/>
                      <a:gd name="connsiteY1" fmla="*/ 0 h 69705"/>
                      <a:gd name="connsiteX2" fmla="*/ 0 w 4019"/>
                      <a:gd name="connsiteY2" fmla="*/ 2135 h 69705"/>
                      <a:gd name="connsiteX3" fmla="*/ 126 w 4019"/>
                      <a:gd name="connsiteY3" fmla="*/ 69705 h 69705"/>
                    </a:gdLst>
                    <a:ahLst/>
                    <a:cxnLst>
                      <a:cxn ang="0">
                        <a:pos x="connsiteX0" y="connsiteY0"/>
                      </a:cxn>
                      <a:cxn ang="0">
                        <a:pos x="connsiteX1" y="connsiteY1"/>
                      </a:cxn>
                      <a:cxn ang="0">
                        <a:pos x="connsiteX2" y="connsiteY2"/>
                      </a:cxn>
                      <a:cxn ang="0">
                        <a:pos x="connsiteX3" y="connsiteY3"/>
                      </a:cxn>
                    </a:cxnLst>
                    <a:rect l="l" t="t" r="r" b="b"/>
                    <a:pathLst>
                      <a:path w="4019" h="69705">
                        <a:moveTo>
                          <a:pt x="4019" y="67570"/>
                        </a:moveTo>
                        <a:lnTo>
                          <a:pt x="3893" y="0"/>
                        </a:lnTo>
                        <a:lnTo>
                          <a:pt x="0" y="2135"/>
                        </a:lnTo>
                        <a:lnTo>
                          <a:pt x="126" y="69705"/>
                        </a:lnTo>
                        <a:close/>
                      </a:path>
                    </a:pathLst>
                  </a:custGeom>
                  <a:solidFill>
                    <a:srgbClr val="20242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4" name="Freeform: Shape 1593">
                    <a:extLst>
                      <a:ext uri="{FF2B5EF4-FFF2-40B4-BE49-F238E27FC236}">
                        <a16:creationId xmlns:a16="http://schemas.microsoft.com/office/drawing/2014/main" id="{F070CDEA-5718-4FA1-9AAD-E7A8564A500A}"/>
                      </a:ext>
                    </a:extLst>
                  </p:cNvPr>
                  <p:cNvSpPr/>
                  <p:nvPr/>
                </p:nvSpPr>
                <p:spPr>
                  <a:xfrm>
                    <a:off x="3458131" y="1671642"/>
                    <a:ext cx="1381" cy="68449"/>
                  </a:xfrm>
                  <a:custGeom>
                    <a:avLst/>
                    <a:gdLst>
                      <a:gd name="connsiteX0" fmla="*/ 1381 w 1381"/>
                      <a:gd name="connsiteY0" fmla="*/ 0 h 68449"/>
                      <a:gd name="connsiteX1" fmla="*/ 1381 w 1381"/>
                      <a:gd name="connsiteY1" fmla="*/ 67570 h 68449"/>
                      <a:gd name="connsiteX2" fmla="*/ 0 w 1381"/>
                      <a:gd name="connsiteY2" fmla="*/ 68449 h 68449"/>
                      <a:gd name="connsiteX3" fmla="*/ 0 w 1381"/>
                      <a:gd name="connsiteY3" fmla="*/ 879 h 68449"/>
                    </a:gdLst>
                    <a:ahLst/>
                    <a:cxnLst>
                      <a:cxn ang="0">
                        <a:pos x="connsiteX0" y="connsiteY0"/>
                      </a:cxn>
                      <a:cxn ang="0">
                        <a:pos x="connsiteX1" y="connsiteY1"/>
                      </a:cxn>
                      <a:cxn ang="0">
                        <a:pos x="connsiteX2" y="connsiteY2"/>
                      </a:cxn>
                      <a:cxn ang="0">
                        <a:pos x="connsiteX3" y="connsiteY3"/>
                      </a:cxn>
                    </a:cxnLst>
                    <a:rect l="l" t="t" r="r" b="b"/>
                    <a:pathLst>
                      <a:path w="1381" h="68449">
                        <a:moveTo>
                          <a:pt x="1381" y="0"/>
                        </a:moveTo>
                        <a:lnTo>
                          <a:pt x="1381" y="67570"/>
                        </a:lnTo>
                        <a:lnTo>
                          <a:pt x="0" y="68449"/>
                        </a:lnTo>
                        <a:lnTo>
                          <a:pt x="0" y="87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5" name="Freeform: Shape 1594">
                    <a:extLst>
                      <a:ext uri="{FF2B5EF4-FFF2-40B4-BE49-F238E27FC236}">
                        <a16:creationId xmlns:a16="http://schemas.microsoft.com/office/drawing/2014/main" id="{9406B9E4-EB2B-4094-ADA7-1B940512CCDA}"/>
                      </a:ext>
                    </a:extLst>
                  </p:cNvPr>
                  <p:cNvSpPr/>
                  <p:nvPr/>
                </p:nvSpPr>
                <p:spPr>
                  <a:xfrm>
                    <a:off x="3454488" y="1669507"/>
                    <a:ext cx="6154" cy="3642"/>
                  </a:xfrm>
                  <a:custGeom>
                    <a:avLst/>
                    <a:gdLst>
                      <a:gd name="connsiteX0" fmla="*/ 0 w 6154"/>
                      <a:gd name="connsiteY0" fmla="*/ 2386 h 3642"/>
                      <a:gd name="connsiteX1" fmla="*/ 2261 w 6154"/>
                      <a:gd name="connsiteY1" fmla="*/ 3642 h 3642"/>
                      <a:gd name="connsiteX2" fmla="*/ 6154 w 6154"/>
                      <a:gd name="connsiteY2" fmla="*/ 1507 h 3642"/>
                      <a:gd name="connsiteX3" fmla="*/ 3893 w 6154"/>
                      <a:gd name="connsiteY3" fmla="*/ 0 h 3642"/>
                    </a:gdLst>
                    <a:ahLst/>
                    <a:cxnLst>
                      <a:cxn ang="0">
                        <a:pos x="connsiteX0" y="connsiteY0"/>
                      </a:cxn>
                      <a:cxn ang="0">
                        <a:pos x="connsiteX1" y="connsiteY1"/>
                      </a:cxn>
                      <a:cxn ang="0">
                        <a:pos x="connsiteX2" y="connsiteY2"/>
                      </a:cxn>
                      <a:cxn ang="0">
                        <a:pos x="connsiteX3" y="connsiteY3"/>
                      </a:cxn>
                    </a:cxnLst>
                    <a:rect l="l" t="t" r="r" b="b"/>
                    <a:pathLst>
                      <a:path w="6154" h="3642">
                        <a:moveTo>
                          <a:pt x="0" y="2386"/>
                        </a:moveTo>
                        <a:lnTo>
                          <a:pt x="2261" y="3642"/>
                        </a:lnTo>
                        <a:lnTo>
                          <a:pt x="6154" y="1507"/>
                        </a:lnTo>
                        <a:lnTo>
                          <a:pt x="3893" y="0"/>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96" name="Graphic 4">
                  <a:extLst>
                    <a:ext uri="{FF2B5EF4-FFF2-40B4-BE49-F238E27FC236}">
                      <a16:creationId xmlns:a16="http://schemas.microsoft.com/office/drawing/2014/main" id="{84FB7ED1-A2DF-40A1-A747-5F7CF3F14040}"/>
                    </a:ext>
                  </a:extLst>
                </p:cNvPr>
                <p:cNvGrpSpPr/>
                <p:nvPr/>
              </p:nvGrpSpPr>
              <p:grpSpPr>
                <a:xfrm>
                  <a:off x="3475463" y="1657450"/>
                  <a:ext cx="6279" cy="71212"/>
                  <a:chOff x="3475463" y="1657450"/>
                  <a:chExt cx="6279" cy="71212"/>
                </a:xfrm>
                <a:solidFill>
                  <a:schemeClr val="accent1"/>
                </a:solidFill>
              </p:grpSpPr>
              <p:sp>
                <p:nvSpPr>
                  <p:cNvPr id="1597" name="Freeform: Shape 1596">
                    <a:extLst>
                      <a:ext uri="{FF2B5EF4-FFF2-40B4-BE49-F238E27FC236}">
                        <a16:creationId xmlns:a16="http://schemas.microsoft.com/office/drawing/2014/main" id="{1930501E-1D1B-495F-8DC1-536684354905}"/>
                      </a:ext>
                    </a:extLst>
                  </p:cNvPr>
                  <p:cNvSpPr/>
                  <p:nvPr/>
                </p:nvSpPr>
                <p:spPr>
                  <a:xfrm>
                    <a:off x="3475463" y="1659710"/>
                    <a:ext cx="3641" cy="68951"/>
                  </a:xfrm>
                  <a:custGeom>
                    <a:avLst/>
                    <a:gdLst>
                      <a:gd name="connsiteX0" fmla="*/ 0 w 3641"/>
                      <a:gd name="connsiteY0" fmla="*/ 67570 h 68951"/>
                      <a:gd name="connsiteX1" fmla="*/ 0 w 3641"/>
                      <a:gd name="connsiteY1" fmla="*/ 0 h 68951"/>
                      <a:gd name="connsiteX2" fmla="*/ 2386 w 3641"/>
                      <a:gd name="connsiteY2" fmla="*/ 1382 h 68951"/>
                      <a:gd name="connsiteX3" fmla="*/ 3642 w 3641"/>
                      <a:gd name="connsiteY3" fmla="*/ 36925 h 68951"/>
                      <a:gd name="connsiteX4" fmla="*/ 2386 w 3641"/>
                      <a:gd name="connsiteY4" fmla="*/ 68952 h 68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1" h="68951">
                        <a:moveTo>
                          <a:pt x="0" y="67570"/>
                        </a:moveTo>
                        <a:lnTo>
                          <a:pt x="0" y="0"/>
                        </a:lnTo>
                        <a:lnTo>
                          <a:pt x="2386" y="1382"/>
                        </a:lnTo>
                        <a:lnTo>
                          <a:pt x="3642" y="36925"/>
                        </a:lnTo>
                        <a:lnTo>
                          <a:pt x="2386" y="68952"/>
                        </a:lnTo>
                        <a:close/>
                      </a:path>
                    </a:pathLst>
                  </a:custGeom>
                  <a:solidFill>
                    <a:srgbClr val="4142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8" name="Freeform: Shape 1597">
                    <a:extLst>
                      <a:ext uri="{FF2B5EF4-FFF2-40B4-BE49-F238E27FC236}">
                        <a16:creationId xmlns:a16="http://schemas.microsoft.com/office/drawing/2014/main" id="{191DE4B1-C662-4E25-A8C4-99878968C219}"/>
                      </a:ext>
                    </a:extLst>
                  </p:cNvPr>
                  <p:cNvSpPr/>
                  <p:nvPr/>
                </p:nvSpPr>
                <p:spPr>
                  <a:xfrm>
                    <a:off x="3477849" y="1658957"/>
                    <a:ext cx="3893" cy="69705"/>
                  </a:xfrm>
                  <a:custGeom>
                    <a:avLst/>
                    <a:gdLst>
                      <a:gd name="connsiteX0" fmla="*/ 3894 w 3893"/>
                      <a:gd name="connsiteY0" fmla="*/ 67570 h 69705"/>
                      <a:gd name="connsiteX1" fmla="*/ 3768 w 3893"/>
                      <a:gd name="connsiteY1" fmla="*/ 0 h 69705"/>
                      <a:gd name="connsiteX2" fmla="*/ 0 w 3893"/>
                      <a:gd name="connsiteY2" fmla="*/ 2135 h 69705"/>
                      <a:gd name="connsiteX3" fmla="*/ 0 w 3893"/>
                      <a:gd name="connsiteY3" fmla="*/ 69705 h 69705"/>
                    </a:gdLst>
                    <a:ahLst/>
                    <a:cxnLst>
                      <a:cxn ang="0">
                        <a:pos x="connsiteX0" y="connsiteY0"/>
                      </a:cxn>
                      <a:cxn ang="0">
                        <a:pos x="connsiteX1" y="connsiteY1"/>
                      </a:cxn>
                      <a:cxn ang="0">
                        <a:pos x="connsiteX2" y="connsiteY2"/>
                      </a:cxn>
                      <a:cxn ang="0">
                        <a:pos x="connsiteX3" y="connsiteY3"/>
                      </a:cxn>
                    </a:cxnLst>
                    <a:rect l="l" t="t" r="r" b="b"/>
                    <a:pathLst>
                      <a:path w="3893" h="69705">
                        <a:moveTo>
                          <a:pt x="3894" y="67570"/>
                        </a:moveTo>
                        <a:lnTo>
                          <a:pt x="3768" y="0"/>
                        </a:lnTo>
                        <a:lnTo>
                          <a:pt x="0" y="2135"/>
                        </a:lnTo>
                        <a:lnTo>
                          <a:pt x="0" y="69705"/>
                        </a:lnTo>
                        <a:close/>
                      </a:path>
                    </a:pathLst>
                  </a:custGeom>
                  <a:solidFill>
                    <a:srgbClr val="20242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9" name="Freeform: Shape 1598">
                    <a:extLst>
                      <a:ext uri="{FF2B5EF4-FFF2-40B4-BE49-F238E27FC236}">
                        <a16:creationId xmlns:a16="http://schemas.microsoft.com/office/drawing/2014/main" id="{E9D45699-0A72-4369-B803-4F012A12DE99}"/>
                      </a:ext>
                    </a:extLst>
                  </p:cNvPr>
                  <p:cNvSpPr/>
                  <p:nvPr/>
                </p:nvSpPr>
                <p:spPr>
                  <a:xfrm>
                    <a:off x="3479105" y="1659585"/>
                    <a:ext cx="1381" cy="68449"/>
                  </a:xfrm>
                  <a:custGeom>
                    <a:avLst/>
                    <a:gdLst>
                      <a:gd name="connsiteX0" fmla="*/ 1382 w 1381"/>
                      <a:gd name="connsiteY0" fmla="*/ 0 h 68449"/>
                      <a:gd name="connsiteX1" fmla="*/ 1382 w 1381"/>
                      <a:gd name="connsiteY1" fmla="*/ 67570 h 68449"/>
                      <a:gd name="connsiteX2" fmla="*/ 0 w 1381"/>
                      <a:gd name="connsiteY2" fmla="*/ 68449 h 68449"/>
                      <a:gd name="connsiteX3" fmla="*/ 0 w 1381"/>
                      <a:gd name="connsiteY3" fmla="*/ 754 h 68449"/>
                    </a:gdLst>
                    <a:ahLst/>
                    <a:cxnLst>
                      <a:cxn ang="0">
                        <a:pos x="connsiteX0" y="connsiteY0"/>
                      </a:cxn>
                      <a:cxn ang="0">
                        <a:pos x="connsiteX1" y="connsiteY1"/>
                      </a:cxn>
                      <a:cxn ang="0">
                        <a:pos x="connsiteX2" y="connsiteY2"/>
                      </a:cxn>
                      <a:cxn ang="0">
                        <a:pos x="connsiteX3" y="connsiteY3"/>
                      </a:cxn>
                    </a:cxnLst>
                    <a:rect l="l" t="t" r="r" b="b"/>
                    <a:pathLst>
                      <a:path w="1381" h="68449">
                        <a:moveTo>
                          <a:pt x="1382" y="0"/>
                        </a:moveTo>
                        <a:lnTo>
                          <a:pt x="1382" y="67570"/>
                        </a:lnTo>
                        <a:lnTo>
                          <a:pt x="0" y="68449"/>
                        </a:lnTo>
                        <a:lnTo>
                          <a:pt x="0" y="75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00" name="Freeform: Shape 1599">
                    <a:extLst>
                      <a:ext uri="{FF2B5EF4-FFF2-40B4-BE49-F238E27FC236}">
                        <a16:creationId xmlns:a16="http://schemas.microsoft.com/office/drawing/2014/main" id="{6A200C78-9AA7-4D7E-87EC-69C28183A0E5}"/>
                      </a:ext>
                    </a:extLst>
                  </p:cNvPr>
                  <p:cNvSpPr/>
                  <p:nvPr/>
                </p:nvSpPr>
                <p:spPr>
                  <a:xfrm>
                    <a:off x="3475463" y="1657450"/>
                    <a:ext cx="6154" cy="3642"/>
                  </a:xfrm>
                  <a:custGeom>
                    <a:avLst/>
                    <a:gdLst>
                      <a:gd name="connsiteX0" fmla="*/ 0 w 6154"/>
                      <a:gd name="connsiteY0" fmla="*/ 2261 h 3642"/>
                      <a:gd name="connsiteX1" fmla="*/ 2386 w 6154"/>
                      <a:gd name="connsiteY1" fmla="*/ 3642 h 3642"/>
                      <a:gd name="connsiteX2" fmla="*/ 6154 w 6154"/>
                      <a:gd name="connsiteY2" fmla="*/ 1507 h 3642"/>
                      <a:gd name="connsiteX3" fmla="*/ 3893 w 6154"/>
                      <a:gd name="connsiteY3" fmla="*/ 0 h 3642"/>
                    </a:gdLst>
                    <a:ahLst/>
                    <a:cxnLst>
                      <a:cxn ang="0">
                        <a:pos x="connsiteX0" y="connsiteY0"/>
                      </a:cxn>
                      <a:cxn ang="0">
                        <a:pos x="connsiteX1" y="connsiteY1"/>
                      </a:cxn>
                      <a:cxn ang="0">
                        <a:pos x="connsiteX2" y="connsiteY2"/>
                      </a:cxn>
                      <a:cxn ang="0">
                        <a:pos x="connsiteX3" y="connsiteY3"/>
                      </a:cxn>
                    </a:cxnLst>
                    <a:rect l="l" t="t" r="r" b="b"/>
                    <a:pathLst>
                      <a:path w="6154" h="3642">
                        <a:moveTo>
                          <a:pt x="0" y="2261"/>
                        </a:moveTo>
                        <a:lnTo>
                          <a:pt x="2386" y="3642"/>
                        </a:lnTo>
                        <a:lnTo>
                          <a:pt x="6154" y="1507"/>
                        </a:lnTo>
                        <a:lnTo>
                          <a:pt x="3893" y="0"/>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01" name="Graphic 4">
                  <a:extLst>
                    <a:ext uri="{FF2B5EF4-FFF2-40B4-BE49-F238E27FC236}">
                      <a16:creationId xmlns:a16="http://schemas.microsoft.com/office/drawing/2014/main" id="{84FB7ED1-A2DF-40A1-A747-5F7CF3F14040}"/>
                    </a:ext>
                  </a:extLst>
                </p:cNvPr>
                <p:cNvGrpSpPr/>
                <p:nvPr/>
              </p:nvGrpSpPr>
              <p:grpSpPr>
                <a:xfrm>
                  <a:off x="3456623" y="1716605"/>
                  <a:ext cx="27504" cy="31021"/>
                  <a:chOff x="3456623" y="1716605"/>
                  <a:chExt cx="27504" cy="31021"/>
                </a:xfrm>
                <a:solidFill>
                  <a:schemeClr val="accent1"/>
                </a:solidFill>
              </p:grpSpPr>
              <p:grpSp>
                <p:nvGrpSpPr>
                  <p:cNvPr id="1602" name="Graphic 4">
                    <a:extLst>
                      <a:ext uri="{FF2B5EF4-FFF2-40B4-BE49-F238E27FC236}">
                        <a16:creationId xmlns:a16="http://schemas.microsoft.com/office/drawing/2014/main" id="{84FB7ED1-A2DF-40A1-A747-5F7CF3F14040}"/>
                      </a:ext>
                    </a:extLst>
                  </p:cNvPr>
                  <p:cNvGrpSpPr/>
                  <p:nvPr/>
                </p:nvGrpSpPr>
                <p:grpSpPr>
                  <a:xfrm>
                    <a:off x="3456623" y="1716605"/>
                    <a:ext cx="27504" cy="31021"/>
                    <a:chOff x="3456623" y="1716605"/>
                    <a:chExt cx="27504" cy="31021"/>
                  </a:xfrm>
                  <a:solidFill>
                    <a:schemeClr val="accent1"/>
                  </a:solidFill>
                </p:grpSpPr>
                <p:sp>
                  <p:nvSpPr>
                    <p:cNvPr id="1603" name="Freeform: Shape 1602">
                      <a:extLst>
                        <a:ext uri="{FF2B5EF4-FFF2-40B4-BE49-F238E27FC236}">
                          <a16:creationId xmlns:a16="http://schemas.microsoft.com/office/drawing/2014/main" id="{9BF26F45-3EC1-400B-8734-52537896F92F}"/>
                        </a:ext>
                      </a:extLst>
                    </p:cNvPr>
                    <p:cNvSpPr/>
                    <p:nvPr/>
                  </p:nvSpPr>
                  <p:spPr>
                    <a:xfrm>
                      <a:off x="3456623" y="1716605"/>
                      <a:ext cx="27504" cy="31021"/>
                    </a:xfrm>
                    <a:custGeom>
                      <a:avLst/>
                      <a:gdLst>
                        <a:gd name="connsiteX0" fmla="*/ 0 w 27504"/>
                        <a:gd name="connsiteY0" fmla="*/ 15197 h 31021"/>
                        <a:gd name="connsiteX1" fmla="*/ 26375 w 27504"/>
                        <a:gd name="connsiteY1" fmla="*/ 0 h 31021"/>
                        <a:gd name="connsiteX2" fmla="*/ 27505 w 27504"/>
                        <a:gd name="connsiteY2" fmla="*/ 628 h 31021"/>
                        <a:gd name="connsiteX3" fmla="*/ 26375 w 27504"/>
                        <a:gd name="connsiteY3" fmla="*/ 15197 h 31021"/>
                        <a:gd name="connsiteX4" fmla="*/ 1130 w 27504"/>
                        <a:gd name="connsiteY4" fmla="*/ 31022 h 31021"/>
                        <a:gd name="connsiteX5" fmla="*/ 0 w 27504"/>
                        <a:gd name="connsiteY5" fmla="*/ 30394 h 31021"/>
                        <a:gd name="connsiteX6" fmla="*/ 0 w 27504"/>
                        <a:gd name="connsiteY6" fmla="*/ 15197 h 31021"/>
                        <a:gd name="connsiteX7" fmla="*/ 24993 w 27504"/>
                        <a:gd name="connsiteY7" fmla="*/ 2261 h 31021"/>
                        <a:gd name="connsiteX8" fmla="*/ 1256 w 27504"/>
                        <a:gd name="connsiteY8" fmla="*/ 15951 h 31021"/>
                        <a:gd name="connsiteX9" fmla="*/ 1256 w 27504"/>
                        <a:gd name="connsiteY9" fmla="*/ 28133 h 31021"/>
                        <a:gd name="connsiteX10" fmla="*/ 24993 w 27504"/>
                        <a:gd name="connsiteY10" fmla="*/ 14443 h 31021"/>
                        <a:gd name="connsiteX11" fmla="*/ 24993 w 27504"/>
                        <a:gd name="connsiteY11" fmla="*/ 2261 h 3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504" h="31021">
                          <a:moveTo>
                            <a:pt x="0" y="15197"/>
                          </a:moveTo>
                          <a:lnTo>
                            <a:pt x="26375" y="0"/>
                          </a:lnTo>
                          <a:lnTo>
                            <a:pt x="27505" y="628"/>
                          </a:lnTo>
                          <a:lnTo>
                            <a:pt x="26375" y="15197"/>
                          </a:lnTo>
                          <a:lnTo>
                            <a:pt x="1130" y="31022"/>
                          </a:lnTo>
                          <a:lnTo>
                            <a:pt x="0" y="30394"/>
                          </a:lnTo>
                          <a:lnTo>
                            <a:pt x="0" y="15197"/>
                          </a:lnTo>
                          <a:close/>
                          <a:moveTo>
                            <a:pt x="24993" y="2261"/>
                          </a:moveTo>
                          <a:lnTo>
                            <a:pt x="1256" y="15951"/>
                          </a:lnTo>
                          <a:lnTo>
                            <a:pt x="1256" y="28133"/>
                          </a:lnTo>
                          <a:lnTo>
                            <a:pt x="24993" y="14443"/>
                          </a:lnTo>
                          <a:lnTo>
                            <a:pt x="24993" y="2261"/>
                          </a:lnTo>
                          <a:close/>
                        </a:path>
                      </a:pathLst>
                    </a:custGeom>
                    <a:solidFill>
                      <a:srgbClr val="211D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04" name="Freeform: Shape 1603">
                      <a:extLst>
                        <a:ext uri="{FF2B5EF4-FFF2-40B4-BE49-F238E27FC236}">
                          <a16:creationId xmlns:a16="http://schemas.microsoft.com/office/drawing/2014/main" id="{54379A53-2F55-42C6-A720-9D8B58A8DE73}"/>
                        </a:ext>
                      </a:extLst>
                    </p:cNvPr>
                    <p:cNvSpPr/>
                    <p:nvPr/>
                  </p:nvSpPr>
                  <p:spPr>
                    <a:xfrm>
                      <a:off x="3457628" y="1717233"/>
                      <a:ext cx="26374" cy="30393"/>
                    </a:xfrm>
                    <a:custGeom>
                      <a:avLst/>
                      <a:gdLst>
                        <a:gd name="connsiteX0" fmla="*/ 0 w 26374"/>
                        <a:gd name="connsiteY0" fmla="*/ 15197 h 30393"/>
                        <a:gd name="connsiteX1" fmla="*/ 26375 w 26374"/>
                        <a:gd name="connsiteY1" fmla="*/ 0 h 30393"/>
                        <a:gd name="connsiteX2" fmla="*/ 26375 w 26374"/>
                        <a:gd name="connsiteY2" fmla="*/ 15197 h 30393"/>
                        <a:gd name="connsiteX3" fmla="*/ 0 w 26374"/>
                        <a:gd name="connsiteY3" fmla="*/ 30394 h 30393"/>
                        <a:gd name="connsiteX4" fmla="*/ 0 w 26374"/>
                        <a:gd name="connsiteY4" fmla="*/ 15197 h 30393"/>
                        <a:gd name="connsiteX5" fmla="*/ 24993 w 26374"/>
                        <a:gd name="connsiteY5" fmla="*/ 2261 h 30393"/>
                        <a:gd name="connsiteX6" fmla="*/ 1256 w 26374"/>
                        <a:gd name="connsiteY6" fmla="*/ 15951 h 30393"/>
                        <a:gd name="connsiteX7" fmla="*/ 1256 w 26374"/>
                        <a:gd name="connsiteY7" fmla="*/ 28133 h 30393"/>
                        <a:gd name="connsiteX8" fmla="*/ 24993 w 26374"/>
                        <a:gd name="connsiteY8" fmla="*/ 14443 h 30393"/>
                        <a:gd name="connsiteX9" fmla="*/ 24993 w 26374"/>
                        <a:gd name="connsiteY9" fmla="*/ 2261 h 30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74" h="30393">
                          <a:moveTo>
                            <a:pt x="0" y="15197"/>
                          </a:moveTo>
                          <a:lnTo>
                            <a:pt x="26375" y="0"/>
                          </a:lnTo>
                          <a:lnTo>
                            <a:pt x="26375" y="15197"/>
                          </a:lnTo>
                          <a:lnTo>
                            <a:pt x="0" y="30394"/>
                          </a:lnTo>
                          <a:lnTo>
                            <a:pt x="0" y="15197"/>
                          </a:lnTo>
                          <a:close/>
                          <a:moveTo>
                            <a:pt x="24993" y="2261"/>
                          </a:moveTo>
                          <a:lnTo>
                            <a:pt x="1256" y="15951"/>
                          </a:lnTo>
                          <a:lnTo>
                            <a:pt x="1256" y="28133"/>
                          </a:lnTo>
                          <a:lnTo>
                            <a:pt x="24993" y="14443"/>
                          </a:lnTo>
                          <a:lnTo>
                            <a:pt x="24993" y="2261"/>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05" name="Freeform: Shape 1604">
                    <a:extLst>
                      <a:ext uri="{FF2B5EF4-FFF2-40B4-BE49-F238E27FC236}">
                        <a16:creationId xmlns:a16="http://schemas.microsoft.com/office/drawing/2014/main" id="{07FA0446-D96D-4BA9-BECF-E493E620F91A}"/>
                      </a:ext>
                    </a:extLst>
                  </p:cNvPr>
                  <p:cNvSpPr/>
                  <p:nvPr/>
                </p:nvSpPr>
                <p:spPr>
                  <a:xfrm>
                    <a:off x="3456623" y="1731802"/>
                    <a:ext cx="1004" cy="15824"/>
                  </a:xfrm>
                  <a:custGeom>
                    <a:avLst/>
                    <a:gdLst>
                      <a:gd name="connsiteX0" fmla="*/ 1005 w 1004"/>
                      <a:gd name="connsiteY0" fmla="*/ 628 h 15824"/>
                      <a:gd name="connsiteX1" fmla="*/ 0 w 1004"/>
                      <a:gd name="connsiteY1" fmla="*/ 0 h 15824"/>
                      <a:gd name="connsiteX2" fmla="*/ 0 w 1004"/>
                      <a:gd name="connsiteY2" fmla="*/ 15197 h 15824"/>
                      <a:gd name="connsiteX3" fmla="*/ 1005 w 1004"/>
                      <a:gd name="connsiteY3" fmla="*/ 15825 h 15824"/>
                    </a:gdLst>
                    <a:ahLst/>
                    <a:cxnLst>
                      <a:cxn ang="0">
                        <a:pos x="connsiteX0" y="connsiteY0"/>
                      </a:cxn>
                      <a:cxn ang="0">
                        <a:pos x="connsiteX1" y="connsiteY1"/>
                      </a:cxn>
                      <a:cxn ang="0">
                        <a:pos x="connsiteX2" y="connsiteY2"/>
                      </a:cxn>
                      <a:cxn ang="0">
                        <a:pos x="connsiteX3" y="connsiteY3"/>
                      </a:cxn>
                    </a:cxnLst>
                    <a:rect l="l" t="t" r="r" b="b"/>
                    <a:pathLst>
                      <a:path w="1004" h="15824">
                        <a:moveTo>
                          <a:pt x="1005" y="628"/>
                        </a:moveTo>
                        <a:lnTo>
                          <a:pt x="0" y="0"/>
                        </a:lnTo>
                        <a:lnTo>
                          <a:pt x="0" y="15197"/>
                        </a:lnTo>
                        <a:lnTo>
                          <a:pt x="1005" y="15825"/>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06" name="Graphic 4">
                  <a:extLst>
                    <a:ext uri="{FF2B5EF4-FFF2-40B4-BE49-F238E27FC236}">
                      <a16:creationId xmlns:a16="http://schemas.microsoft.com/office/drawing/2014/main" id="{84FB7ED1-A2DF-40A1-A747-5F7CF3F14040}"/>
                    </a:ext>
                  </a:extLst>
                </p:cNvPr>
                <p:cNvGrpSpPr/>
                <p:nvPr/>
              </p:nvGrpSpPr>
              <p:grpSpPr>
                <a:xfrm>
                  <a:off x="3462652" y="1722885"/>
                  <a:ext cx="35292" cy="42953"/>
                  <a:chOff x="3462652" y="1722885"/>
                  <a:chExt cx="35292" cy="42953"/>
                </a:xfrm>
                <a:solidFill>
                  <a:schemeClr val="accent1"/>
                </a:solidFill>
              </p:grpSpPr>
              <p:grpSp>
                <p:nvGrpSpPr>
                  <p:cNvPr id="1607" name="Graphic 4">
                    <a:extLst>
                      <a:ext uri="{FF2B5EF4-FFF2-40B4-BE49-F238E27FC236}">
                        <a16:creationId xmlns:a16="http://schemas.microsoft.com/office/drawing/2014/main" id="{84FB7ED1-A2DF-40A1-A747-5F7CF3F14040}"/>
                      </a:ext>
                    </a:extLst>
                  </p:cNvPr>
                  <p:cNvGrpSpPr/>
                  <p:nvPr/>
                </p:nvGrpSpPr>
                <p:grpSpPr>
                  <a:xfrm>
                    <a:off x="3462652" y="1722885"/>
                    <a:ext cx="4270" cy="24993"/>
                    <a:chOff x="3462652" y="1722885"/>
                    <a:chExt cx="4270" cy="24993"/>
                  </a:xfrm>
                  <a:solidFill>
                    <a:schemeClr val="accent1"/>
                  </a:solidFill>
                </p:grpSpPr>
                <p:sp>
                  <p:nvSpPr>
                    <p:cNvPr id="1608" name="Freeform: Shape 1607">
                      <a:extLst>
                        <a:ext uri="{FF2B5EF4-FFF2-40B4-BE49-F238E27FC236}">
                          <a16:creationId xmlns:a16="http://schemas.microsoft.com/office/drawing/2014/main" id="{4496777A-EE6F-482F-A4AC-BCCF6A9798E8}"/>
                        </a:ext>
                      </a:extLst>
                    </p:cNvPr>
                    <p:cNvSpPr/>
                    <p:nvPr/>
                  </p:nvSpPr>
                  <p:spPr>
                    <a:xfrm>
                      <a:off x="3462652" y="1722885"/>
                      <a:ext cx="4144" cy="24993"/>
                    </a:xfrm>
                    <a:custGeom>
                      <a:avLst/>
                      <a:gdLst>
                        <a:gd name="connsiteX0" fmla="*/ 3391 w 4144"/>
                        <a:gd name="connsiteY0" fmla="*/ 0 h 24993"/>
                        <a:gd name="connsiteX1" fmla="*/ 4145 w 4144"/>
                        <a:gd name="connsiteY1" fmla="*/ 377 h 24993"/>
                        <a:gd name="connsiteX2" fmla="*/ 879 w 4144"/>
                        <a:gd name="connsiteY2" fmla="*/ 24993 h 24993"/>
                        <a:gd name="connsiteX3" fmla="*/ 126 w 4144"/>
                        <a:gd name="connsiteY3" fmla="*/ 24491 h 24993"/>
                        <a:gd name="connsiteX4" fmla="*/ 0 w 4144"/>
                        <a:gd name="connsiteY4" fmla="*/ 2010 h 24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4" h="24993">
                          <a:moveTo>
                            <a:pt x="3391" y="0"/>
                          </a:moveTo>
                          <a:lnTo>
                            <a:pt x="4145" y="377"/>
                          </a:lnTo>
                          <a:lnTo>
                            <a:pt x="879" y="24993"/>
                          </a:lnTo>
                          <a:lnTo>
                            <a:pt x="126" y="24491"/>
                          </a:lnTo>
                          <a:lnTo>
                            <a:pt x="0" y="2010"/>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09" name="Freeform: Shape 1608">
                      <a:extLst>
                        <a:ext uri="{FF2B5EF4-FFF2-40B4-BE49-F238E27FC236}">
                          <a16:creationId xmlns:a16="http://schemas.microsoft.com/office/drawing/2014/main" id="{BC33E5CB-DC62-4541-A624-2EBF37AFC158}"/>
                        </a:ext>
                      </a:extLst>
                    </p:cNvPr>
                    <p:cNvSpPr/>
                    <p:nvPr/>
                  </p:nvSpPr>
                  <p:spPr>
                    <a:xfrm>
                      <a:off x="3463405" y="1723261"/>
                      <a:ext cx="3516" cy="24616"/>
                    </a:xfrm>
                    <a:custGeom>
                      <a:avLst/>
                      <a:gdLst>
                        <a:gd name="connsiteX0" fmla="*/ 3391 w 3516"/>
                        <a:gd name="connsiteY0" fmla="*/ 0 h 24616"/>
                        <a:gd name="connsiteX1" fmla="*/ 3517 w 3516"/>
                        <a:gd name="connsiteY1" fmla="*/ 22607 h 24616"/>
                        <a:gd name="connsiteX2" fmla="*/ 126 w 3516"/>
                        <a:gd name="connsiteY2" fmla="*/ 24617 h 24616"/>
                        <a:gd name="connsiteX3" fmla="*/ 0 w 3516"/>
                        <a:gd name="connsiteY3" fmla="*/ 1884 h 24616"/>
                      </a:gdLst>
                      <a:ahLst/>
                      <a:cxnLst>
                        <a:cxn ang="0">
                          <a:pos x="connsiteX0" y="connsiteY0"/>
                        </a:cxn>
                        <a:cxn ang="0">
                          <a:pos x="connsiteX1" y="connsiteY1"/>
                        </a:cxn>
                        <a:cxn ang="0">
                          <a:pos x="connsiteX2" y="connsiteY2"/>
                        </a:cxn>
                        <a:cxn ang="0">
                          <a:pos x="connsiteX3" y="connsiteY3"/>
                        </a:cxn>
                      </a:cxnLst>
                      <a:rect l="l" t="t" r="r" b="b"/>
                      <a:pathLst>
                        <a:path w="3516" h="24616">
                          <a:moveTo>
                            <a:pt x="3391" y="0"/>
                          </a:moveTo>
                          <a:lnTo>
                            <a:pt x="3517" y="22607"/>
                          </a:lnTo>
                          <a:lnTo>
                            <a:pt x="126" y="24617"/>
                          </a:lnTo>
                          <a:lnTo>
                            <a:pt x="0" y="1884"/>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10" name="Graphic 4">
                    <a:extLst>
                      <a:ext uri="{FF2B5EF4-FFF2-40B4-BE49-F238E27FC236}">
                        <a16:creationId xmlns:a16="http://schemas.microsoft.com/office/drawing/2014/main" id="{84FB7ED1-A2DF-40A1-A747-5F7CF3F14040}"/>
                      </a:ext>
                    </a:extLst>
                  </p:cNvPr>
                  <p:cNvGrpSpPr/>
                  <p:nvPr/>
                </p:nvGrpSpPr>
                <p:grpSpPr>
                  <a:xfrm>
                    <a:off x="3463531" y="1744989"/>
                    <a:ext cx="34412" cy="20848"/>
                    <a:chOff x="3463531" y="1744989"/>
                    <a:chExt cx="34412" cy="20848"/>
                  </a:xfrm>
                  <a:solidFill>
                    <a:schemeClr val="accent1"/>
                  </a:solidFill>
                </p:grpSpPr>
                <p:sp>
                  <p:nvSpPr>
                    <p:cNvPr id="1611" name="Freeform: Shape 1610">
                      <a:extLst>
                        <a:ext uri="{FF2B5EF4-FFF2-40B4-BE49-F238E27FC236}">
                          <a16:creationId xmlns:a16="http://schemas.microsoft.com/office/drawing/2014/main" id="{A12071ED-4257-423C-BA6E-C58ABF848C08}"/>
                        </a:ext>
                      </a:extLst>
                    </p:cNvPr>
                    <p:cNvSpPr/>
                    <p:nvPr/>
                  </p:nvSpPr>
                  <p:spPr>
                    <a:xfrm>
                      <a:off x="3463531" y="1746873"/>
                      <a:ext cx="34412" cy="18964"/>
                    </a:xfrm>
                    <a:custGeom>
                      <a:avLst/>
                      <a:gdLst>
                        <a:gd name="connsiteX0" fmla="*/ 0 w 34412"/>
                        <a:gd name="connsiteY0" fmla="*/ 0 h 18964"/>
                        <a:gd name="connsiteX1" fmla="*/ 0 w 34412"/>
                        <a:gd name="connsiteY1" fmla="*/ 1005 h 18964"/>
                        <a:gd name="connsiteX2" fmla="*/ 31022 w 34412"/>
                        <a:gd name="connsiteY2" fmla="*/ 18965 h 18964"/>
                        <a:gd name="connsiteX3" fmla="*/ 34413 w 34412"/>
                        <a:gd name="connsiteY3" fmla="*/ 17081 h 18964"/>
                        <a:gd name="connsiteX4" fmla="*/ 33785 w 34412"/>
                        <a:gd name="connsiteY4" fmla="*/ 16579 h 18964"/>
                        <a:gd name="connsiteX5" fmla="*/ 31650 w 34412"/>
                        <a:gd name="connsiteY5" fmla="*/ 14946 h 18964"/>
                        <a:gd name="connsiteX6" fmla="*/ 29640 w 34412"/>
                        <a:gd name="connsiteY6" fmla="*/ 13941 h 1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12" h="18964">
                          <a:moveTo>
                            <a:pt x="0" y="0"/>
                          </a:moveTo>
                          <a:lnTo>
                            <a:pt x="0" y="1005"/>
                          </a:lnTo>
                          <a:lnTo>
                            <a:pt x="31022" y="18965"/>
                          </a:lnTo>
                          <a:lnTo>
                            <a:pt x="34413" y="17081"/>
                          </a:lnTo>
                          <a:lnTo>
                            <a:pt x="33785" y="16579"/>
                          </a:lnTo>
                          <a:lnTo>
                            <a:pt x="31650" y="14946"/>
                          </a:lnTo>
                          <a:lnTo>
                            <a:pt x="29640" y="13941"/>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12" name="Freeform: Shape 1611">
                      <a:extLst>
                        <a:ext uri="{FF2B5EF4-FFF2-40B4-BE49-F238E27FC236}">
                          <a16:creationId xmlns:a16="http://schemas.microsoft.com/office/drawing/2014/main" id="{3FF7E4E7-EC4B-40F5-9F8B-B89114FBCEBB}"/>
                        </a:ext>
                      </a:extLst>
                    </p:cNvPr>
                    <p:cNvSpPr/>
                    <p:nvPr/>
                  </p:nvSpPr>
                  <p:spPr>
                    <a:xfrm>
                      <a:off x="3463531" y="1744989"/>
                      <a:ext cx="33785" cy="20095"/>
                    </a:xfrm>
                    <a:custGeom>
                      <a:avLst/>
                      <a:gdLst>
                        <a:gd name="connsiteX0" fmla="*/ 0 w 33785"/>
                        <a:gd name="connsiteY0" fmla="*/ 1884 h 20095"/>
                        <a:gd name="connsiteX1" fmla="*/ 26752 w 33785"/>
                        <a:gd name="connsiteY1" fmla="*/ 17583 h 20095"/>
                        <a:gd name="connsiteX2" fmla="*/ 31022 w 33785"/>
                        <a:gd name="connsiteY2" fmla="*/ 20095 h 20095"/>
                        <a:gd name="connsiteX3" fmla="*/ 33785 w 33785"/>
                        <a:gd name="connsiteY3" fmla="*/ 18462 h 20095"/>
                        <a:gd name="connsiteX4" fmla="*/ 31650 w 33785"/>
                        <a:gd name="connsiteY4" fmla="*/ 16830 h 20095"/>
                        <a:gd name="connsiteX5" fmla="*/ 30143 w 33785"/>
                        <a:gd name="connsiteY5" fmla="*/ 15699 h 20095"/>
                        <a:gd name="connsiteX6" fmla="*/ 30017 w 33785"/>
                        <a:gd name="connsiteY6" fmla="*/ 15574 h 20095"/>
                        <a:gd name="connsiteX7" fmla="*/ 3266 w 33785"/>
                        <a:gd name="connsiteY7" fmla="*/ 0 h 2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85" h="20095">
                          <a:moveTo>
                            <a:pt x="0" y="1884"/>
                          </a:moveTo>
                          <a:lnTo>
                            <a:pt x="26752" y="17583"/>
                          </a:lnTo>
                          <a:lnTo>
                            <a:pt x="31022" y="20095"/>
                          </a:lnTo>
                          <a:lnTo>
                            <a:pt x="33785" y="18462"/>
                          </a:lnTo>
                          <a:lnTo>
                            <a:pt x="31650" y="16830"/>
                          </a:lnTo>
                          <a:lnTo>
                            <a:pt x="30143" y="15699"/>
                          </a:lnTo>
                          <a:lnTo>
                            <a:pt x="30017" y="15574"/>
                          </a:lnTo>
                          <a:lnTo>
                            <a:pt x="3266" y="0"/>
                          </a:lnTo>
                          <a:close/>
                        </a:path>
                      </a:pathLst>
                    </a:custGeom>
                    <a:solidFill>
                      <a:srgbClr val="FFDB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13" name="Freeform: Shape 1612">
                      <a:extLst>
                        <a:ext uri="{FF2B5EF4-FFF2-40B4-BE49-F238E27FC236}">
                          <a16:creationId xmlns:a16="http://schemas.microsoft.com/office/drawing/2014/main" id="{5850F090-611A-4085-86D3-9CBCF24A4377}"/>
                        </a:ext>
                      </a:extLst>
                    </p:cNvPr>
                    <p:cNvSpPr/>
                    <p:nvPr/>
                  </p:nvSpPr>
                  <p:spPr>
                    <a:xfrm>
                      <a:off x="3490157" y="1760563"/>
                      <a:ext cx="7786" cy="5275"/>
                    </a:xfrm>
                    <a:custGeom>
                      <a:avLst/>
                      <a:gdLst>
                        <a:gd name="connsiteX0" fmla="*/ 0 w 7786"/>
                        <a:gd name="connsiteY0" fmla="*/ 1884 h 5275"/>
                        <a:gd name="connsiteX1" fmla="*/ 126 w 7786"/>
                        <a:gd name="connsiteY1" fmla="*/ 2010 h 5275"/>
                        <a:gd name="connsiteX2" fmla="*/ 4396 w 7786"/>
                        <a:gd name="connsiteY2" fmla="*/ 5275 h 5275"/>
                        <a:gd name="connsiteX3" fmla="*/ 7787 w 7786"/>
                        <a:gd name="connsiteY3" fmla="*/ 3391 h 5275"/>
                        <a:gd name="connsiteX4" fmla="*/ 7159 w 7786"/>
                        <a:gd name="connsiteY4" fmla="*/ 2889 h 5275"/>
                        <a:gd name="connsiteX5" fmla="*/ 5024 w 7786"/>
                        <a:gd name="connsiteY5" fmla="*/ 1256 h 5275"/>
                        <a:gd name="connsiteX6" fmla="*/ 3517 w 7786"/>
                        <a:gd name="connsiteY6" fmla="*/ 126 h 5275"/>
                        <a:gd name="connsiteX7" fmla="*/ 3391 w 7786"/>
                        <a:gd name="connsiteY7" fmla="*/ 0 h 5275"/>
                        <a:gd name="connsiteX8" fmla="*/ 3391 w 7786"/>
                        <a:gd name="connsiteY8" fmla="*/ 0 h 5275"/>
                        <a:gd name="connsiteX9" fmla="*/ 3014 w 7786"/>
                        <a:gd name="connsiteY9" fmla="*/ 251 h 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6" h="5275">
                          <a:moveTo>
                            <a:pt x="0" y="1884"/>
                          </a:moveTo>
                          <a:lnTo>
                            <a:pt x="126" y="2010"/>
                          </a:lnTo>
                          <a:lnTo>
                            <a:pt x="4396" y="5275"/>
                          </a:lnTo>
                          <a:lnTo>
                            <a:pt x="7787" y="3391"/>
                          </a:lnTo>
                          <a:lnTo>
                            <a:pt x="7159" y="2889"/>
                          </a:lnTo>
                          <a:lnTo>
                            <a:pt x="5024" y="1256"/>
                          </a:lnTo>
                          <a:lnTo>
                            <a:pt x="3517" y="126"/>
                          </a:lnTo>
                          <a:lnTo>
                            <a:pt x="3391" y="0"/>
                          </a:lnTo>
                          <a:lnTo>
                            <a:pt x="3391" y="0"/>
                          </a:lnTo>
                          <a:lnTo>
                            <a:pt x="3014" y="251"/>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614" name="Graphic 4">
                  <a:extLst>
                    <a:ext uri="{FF2B5EF4-FFF2-40B4-BE49-F238E27FC236}">
                      <a16:creationId xmlns:a16="http://schemas.microsoft.com/office/drawing/2014/main" id="{84FB7ED1-A2DF-40A1-A747-5F7CF3F14040}"/>
                    </a:ext>
                  </a:extLst>
                </p:cNvPr>
                <p:cNvGrpSpPr/>
                <p:nvPr/>
              </p:nvGrpSpPr>
              <p:grpSpPr>
                <a:xfrm>
                  <a:off x="3475965" y="1714972"/>
                  <a:ext cx="35292" cy="42953"/>
                  <a:chOff x="3475965" y="1714972"/>
                  <a:chExt cx="35292" cy="42953"/>
                </a:xfrm>
                <a:solidFill>
                  <a:schemeClr val="accent1"/>
                </a:solidFill>
              </p:grpSpPr>
              <p:grpSp>
                <p:nvGrpSpPr>
                  <p:cNvPr id="1615" name="Graphic 4">
                    <a:extLst>
                      <a:ext uri="{FF2B5EF4-FFF2-40B4-BE49-F238E27FC236}">
                        <a16:creationId xmlns:a16="http://schemas.microsoft.com/office/drawing/2014/main" id="{84FB7ED1-A2DF-40A1-A747-5F7CF3F14040}"/>
                      </a:ext>
                    </a:extLst>
                  </p:cNvPr>
                  <p:cNvGrpSpPr/>
                  <p:nvPr/>
                </p:nvGrpSpPr>
                <p:grpSpPr>
                  <a:xfrm>
                    <a:off x="3475965" y="1714972"/>
                    <a:ext cx="4144" cy="24993"/>
                    <a:chOff x="3475965" y="1714972"/>
                    <a:chExt cx="4144" cy="24993"/>
                  </a:xfrm>
                  <a:solidFill>
                    <a:schemeClr val="accent1"/>
                  </a:solidFill>
                </p:grpSpPr>
                <p:sp>
                  <p:nvSpPr>
                    <p:cNvPr id="1616" name="Freeform: Shape 1615">
                      <a:extLst>
                        <a:ext uri="{FF2B5EF4-FFF2-40B4-BE49-F238E27FC236}">
                          <a16:creationId xmlns:a16="http://schemas.microsoft.com/office/drawing/2014/main" id="{446F3C1A-7678-472F-85F1-88CB0F0C6C39}"/>
                        </a:ext>
                      </a:extLst>
                    </p:cNvPr>
                    <p:cNvSpPr/>
                    <p:nvPr/>
                  </p:nvSpPr>
                  <p:spPr>
                    <a:xfrm>
                      <a:off x="3475965" y="1714972"/>
                      <a:ext cx="4144" cy="24993"/>
                    </a:xfrm>
                    <a:custGeom>
                      <a:avLst/>
                      <a:gdLst>
                        <a:gd name="connsiteX0" fmla="*/ 3391 w 4144"/>
                        <a:gd name="connsiteY0" fmla="*/ 0 h 24993"/>
                        <a:gd name="connsiteX1" fmla="*/ 4145 w 4144"/>
                        <a:gd name="connsiteY1" fmla="*/ 377 h 24993"/>
                        <a:gd name="connsiteX2" fmla="*/ 879 w 4144"/>
                        <a:gd name="connsiteY2" fmla="*/ 24993 h 24993"/>
                        <a:gd name="connsiteX3" fmla="*/ 126 w 4144"/>
                        <a:gd name="connsiteY3" fmla="*/ 24491 h 24993"/>
                        <a:gd name="connsiteX4" fmla="*/ 0 w 4144"/>
                        <a:gd name="connsiteY4" fmla="*/ 1884 h 24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4" h="24993">
                          <a:moveTo>
                            <a:pt x="3391" y="0"/>
                          </a:moveTo>
                          <a:lnTo>
                            <a:pt x="4145" y="377"/>
                          </a:lnTo>
                          <a:lnTo>
                            <a:pt x="879" y="24993"/>
                          </a:lnTo>
                          <a:lnTo>
                            <a:pt x="126" y="24491"/>
                          </a:lnTo>
                          <a:lnTo>
                            <a:pt x="0" y="1884"/>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17" name="Freeform: Shape 1616">
                      <a:extLst>
                        <a:ext uri="{FF2B5EF4-FFF2-40B4-BE49-F238E27FC236}">
                          <a16:creationId xmlns:a16="http://schemas.microsoft.com/office/drawing/2014/main" id="{AA9D23A1-67DF-48A0-80F5-CD404E7ADC3F}"/>
                        </a:ext>
                      </a:extLst>
                    </p:cNvPr>
                    <p:cNvSpPr/>
                    <p:nvPr/>
                  </p:nvSpPr>
                  <p:spPr>
                    <a:xfrm>
                      <a:off x="3476718" y="1715349"/>
                      <a:ext cx="3391" cy="24616"/>
                    </a:xfrm>
                    <a:custGeom>
                      <a:avLst/>
                      <a:gdLst>
                        <a:gd name="connsiteX0" fmla="*/ 3391 w 3391"/>
                        <a:gd name="connsiteY0" fmla="*/ 0 h 24616"/>
                        <a:gd name="connsiteX1" fmla="*/ 3391 w 3391"/>
                        <a:gd name="connsiteY1" fmla="*/ 22607 h 24616"/>
                        <a:gd name="connsiteX2" fmla="*/ 126 w 3391"/>
                        <a:gd name="connsiteY2" fmla="*/ 24617 h 24616"/>
                        <a:gd name="connsiteX3" fmla="*/ 0 w 3391"/>
                        <a:gd name="connsiteY3" fmla="*/ 1884 h 24616"/>
                      </a:gdLst>
                      <a:ahLst/>
                      <a:cxnLst>
                        <a:cxn ang="0">
                          <a:pos x="connsiteX0" y="connsiteY0"/>
                        </a:cxn>
                        <a:cxn ang="0">
                          <a:pos x="connsiteX1" y="connsiteY1"/>
                        </a:cxn>
                        <a:cxn ang="0">
                          <a:pos x="connsiteX2" y="connsiteY2"/>
                        </a:cxn>
                        <a:cxn ang="0">
                          <a:pos x="connsiteX3" y="connsiteY3"/>
                        </a:cxn>
                      </a:cxnLst>
                      <a:rect l="l" t="t" r="r" b="b"/>
                      <a:pathLst>
                        <a:path w="3391" h="24616">
                          <a:moveTo>
                            <a:pt x="3391" y="0"/>
                          </a:moveTo>
                          <a:lnTo>
                            <a:pt x="3391" y="22607"/>
                          </a:lnTo>
                          <a:lnTo>
                            <a:pt x="126" y="24617"/>
                          </a:lnTo>
                          <a:lnTo>
                            <a:pt x="0" y="1884"/>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18" name="Graphic 4">
                    <a:extLst>
                      <a:ext uri="{FF2B5EF4-FFF2-40B4-BE49-F238E27FC236}">
                        <a16:creationId xmlns:a16="http://schemas.microsoft.com/office/drawing/2014/main" id="{84FB7ED1-A2DF-40A1-A747-5F7CF3F14040}"/>
                      </a:ext>
                    </a:extLst>
                  </p:cNvPr>
                  <p:cNvGrpSpPr/>
                  <p:nvPr/>
                </p:nvGrpSpPr>
                <p:grpSpPr>
                  <a:xfrm>
                    <a:off x="3476718" y="1737077"/>
                    <a:ext cx="34538" cy="20848"/>
                    <a:chOff x="3476718" y="1737077"/>
                    <a:chExt cx="34538" cy="20848"/>
                  </a:xfrm>
                  <a:solidFill>
                    <a:schemeClr val="accent1"/>
                  </a:solidFill>
                </p:grpSpPr>
                <p:sp>
                  <p:nvSpPr>
                    <p:cNvPr id="1619" name="Freeform: Shape 1618">
                      <a:extLst>
                        <a:ext uri="{FF2B5EF4-FFF2-40B4-BE49-F238E27FC236}">
                          <a16:creationId xmlns:a16="http://schemas.microsoft.com/office/drawing/2014/main" id="{A12F0707-A06D-4512-91BD-47CA5A7C01C8}"/>
                        </a:ext>
                      </a:extLst>
                    </p:cNvPr>
                    <p:cNvSpPr/>
                    <p:nvPr/>
                  </p:nvSpPr>
                  <p:spPr>
                    <a:xfrm>
                      <a:off x="3476718" y="1738961"/>
                      <a:ext cx="34538" cy="18964"/>
                    </a:xfrm>
                    <a:custGeom>
                      <a:avLst/>
                      <a:gdLst>
                        <a:gd name="connsiteX0" fmla="*/ 0 w 34538"/>
                        <a:gd name="connsiteY0" fmla="*/ 0 h 18964"/>
                        <a:gd name="connsiteX1" fmla="*/ 0 w 34538"/>
                        <a:gd name="connsiteY1" fmla="*/ 879 h 18964"/>
                        <a:gd name="connsiteX2" fmla="*/ 31148 w 34538"/>
                        <a:gd name="connsiteY2" fmla="*/ 18965 h 18964"/>
                        <a:gd name="connsiteX3" fmla="*/ 34539 w 34538"/>
                        <a:gd name="connsiteY3" fmla="*/ 17081 h 18964"/>
                        <a:gd name="connsiteX4" fmla="*/ 33911 w 34538"/>
                        <a:gd name="connsiteY4" fmla="*/ 16579 h 18964"/>
                        <a:gd name="connsiteX5" fmla="*/ 31775 w 34538"/>
                        <a:gd name="connsiteY5" fmla="*/ 14946 h 18964"/>
                        <a:gd name="connsiteX6" fmla="*/ 29641 w 34538"/>
                        <a:gd name="connsiteY6" fmla="*/ 13941 h 1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38" h="18964">
                          <a:moveTo>
                            <a:pt x="0" y="0"/>
                          </a:moveTo>
                          <a:lnTo>
                            <a:pt x="0" y="879"/>
                          </a:lnTo>
                          <a:lnTo>
                            <a:pt x="31148" y="18965"/>
                          </a:lnTo>
                          <a:lnTo>
                            <a:pt x="34539" y="17081"/>
                          </a:lnTo>
                          <a:lnTo>
                            <a:pt x="33911" y="16579"/>
                          </a:lnTo>
                          <a:lnTo>
                            <a:pt x="31775" y="14946"/>
                          </a:lnTo>
                          <a:lnTo>
                            <a:pt x="29641" y="13941"/>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0" name="Freeform: Shape 1619">
                      <a:extLst>
                        <a:ext uri="{FF2B5EF4-FFF2-40B4-BE49-F238E27FC236}">
                          <a16:creationId xmlns:a16="http://schemas.microsoft.com/office/drawing/2014/main" id="{69E27A4B-C84C-4938-BCDC-AD65AFB8ED02}"/>
                        </a:ext>
                      </a:extLst>
                    </p:cNvPr>
                    <p:cNvSpPr/>
                    <p:nvPr/>
                  </p:nvSpPr>
                  <p:spPr>
                    <a:xfrm>
                      <a:off x="3476718" y="1737077"/>
                      <a:ext cx="33910" cy="19969"/>
                    </a:xfrm>
                    <a:custGeom>
                      <a:avLst/>
                      <a:gdLst>
                        <a:gd name="connsiteX0" fmla="*/ 0 w 33910"/>
                        <a:gd name="connsiteY0" fmla="*/ 1884 h 19969"/>
                        <a:gd name="connsiteX1" fmla="*/ 26877 w 33910"/>
                        <a:gd name="connsiteY1" fmla="*/ 17583 h 19969"/>
                        <a:gd name="connsiteX2" fmla="*/ 31148 w 33910"/>
                        <a:gd name="connsiteY2" fmla="*/ 19970 h 19969"/>
                        <a:gd name="connsiteX3" fmla="*/ 33911 w 33910"/>
                        <a:gd name="connsiteY3" fmla="*/ 18462 h 19969"/>
                        <a:gd name="connsiteX4" fmla="*/ 31775 w 33910"/>
                        <a:gd name="connsiteY4" fmla="*/ 16830 h 19969"/>
                        <a:gd name="connsiteX5" fmla="*/ 30268 w 33910"/>
                        <a:gd name="connsiteY5" fmla="*/ 15574 h 19969"/>
                        <a:gd name="connsiteX6" fmla="*/ 30143 w 33910"/>
                        <a:gd name="connsiteY6" fmla="*/ 15574 h 19969"/>
                        <a:gd name="connsiteX7" fmla="*/ 3391 w 33910"/>
                        <a:gd name="connsiteY7" fmla="*/ 0 h 1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10" h="19969">
                          <a:moveTo>
                            <a:pt x="0" y="1884"/>
                          </a:moveTo>
                          <a:lnTo>
                            <a:pt x="26877" y="17583"/>
                          </a:lnTo>
                          <a:lnTo>
                            <a:pt x="31148" y="19970"/>
                          </a:lnTo>
                          <a:lnTo>
                            <a:pt x="33911" y="18462"/>
                          </a:lnTo>
                          <a:lnTo>
                            <a:pt x="31775" y="16830"/>
                          </a:lnTo>
                          <a:lnTo>
                            <a:pt x="30268" y="15574"/>
                          </a:lnTo>
                          <a:lnTo>
                            <a:pt x="30143" y="15574"/>
                          </a:lnTo>
                          <a:lnTo>
                            <a:pt x="3391" y="0"/>
                          </a:lnTo>
                          <a:close/>
                        </a:path>
                      </a:pathLst>
                    </a:custGeom>
                    <a:solidFill>
                      <a:srgbClr val="FFDB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1" name="Freeform: Shape 1620">
                      <a:extLst>
                        <a:ext uri="{FF2B5EF4-FFF2-40B4-BE49-F238E27FC236}">
                          <a16:creationId xmlns:a16="http://schemas.microsoft.com/office/drawing/2014/main" id="{63D72CD9-1D6B-4E07-B7EC-6882FB2493FE}"/>
                        </a:ext>
                      </a:extLst>
                    </p:cNvPr>
                    <p:cNvSpPr/>
                    <p:nvPr/>
                  </p:nvSpPr>
                  <p:spPr>
                    <a:xfrm>
                      <a:off x="3503470" y="1752651"/>
                      <a:ext cx="7786" cy="5275"/>
                    </a:xfrm>
                    <a:custGeom>
                      <a:avLst/>
                      <a:gdLst>
                        <a:gd name="connsiteX0" fmla="*/ 0 w 7786"/>
                        <a:gd name="connsiteY0" fmla="*/ 1884 h 5275"/>
                        <a:gd name="connsiteX1" fmla="*/ 126 w 7786"/>
                        <a:gd name="connsiteY1" fmla="*/ 2010 h 5275"/>
                        <a:gd name="connsiteX2" fmla="*/ 4396 w 7786"/>
                        <a:gd name="connsiteY2" fmla="*/ 5275 h 5275"/>
                        <a:gd name="connsiteX3" fmla="*/ 7787 w 7786"/>
                        <a:gd name="connsiteY3" fmla="*/ 3391 h 5275"/>
                        <a:gd name="connsiteX4" fmla="*/ 7159 w 7786"/>
                        <a:gd name="connsiteY4" fmla="*/ 2889 h 5275"/>
                        <a:gd name="connsiteX5" fmla="*/ 5024 w 7786"/>
                        <a:gd name="connsiteY5" fmla="*/ 1256 h 5275"/>
                        <a:gd name="connsiteX6" fmla="*/ 3517 w 7786"/>
                        <a:gd name="connsiteY6" fmla="*/ 0 h 5275"/>
                        <a:gd name="connsiteX7" fmla="*/ 3391 w 7786"/>
                        <a:gd name="connsiteY7" fmla="*/ 0 h 5275"/>
                        <a:gd name="connsiteX8" fmla="*/ 3391 w 7786"/>
                        <a:gd name="connsiteY8" fmla="*/ 0 h 5275"/>
                        <a:gd name="connsiteX9" fmla="*/ 2889 w 7786"/>
                        <a:gd name="connsiteY9" fmla="*/ 251 h 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6" h="5275">
                          <a:moveTo>
                            <a:pt x="0" y="1884"/>
                          </a:moveTo>
                          <a:lnTo>
                            <a:pt x="126" y="2010"/>
                          </a:lnTo>
                          <a:lnTo>
                            <a:pt x="4396" y="5275"/>
                          </a:lnTo>
                          <a:lnTo>
                            <a:pt x="7787" y="3391"/>
                          </a:lnTo>
                          <a:lnTo>
                            <a:pt x="7159" y="2889"/>
                          </a:lnTo>
                          <a:lnTo>
                            <a:pt x="5024" y="1256"/>
                          </a:lnTo>
                          <a:lnTo>
                            <a:pt x="3517" y="0"/>
                          </a:lnTo>
                          <a:lnTo>
                            <a:pt x="3391" y="0"/>
                          </a:lnTo>
                          <a:lnTo>
                            <a:pt x="3391" y="0"/>
                          </a:lnTo>
                          <a:lnTo>
                            <a:pt x="2889" y="251"/>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622" name="Graphic 4">
                  <a:extLst>
                    <a:ext uri="{FF2B5EF4-FFF2-40B4-BE49-F238E27FC236}">
                      <a16:creationId xmlns:a16="http://schemas.microsoft.com/office/drawing/2014/main" id="{84FB7ED1-A2DF-40A1-A747-5F7CF3F14040}"/>
                    </a:ext>
                  </a:extLst>
                </p:cNvPr>
                <p:cNvGrpSpPr/>
                <p:nvPr/>
              </p:nvGrpSpPr>
              <p:grpSpPr>
                <a:xfrm>
                  <a:off x="3453484" y="1652300"/>
                  <a:ext cx="30016" cy="21476"/>
                  <a:chOff x="3453484" y="1652300"/>
                  <a:chExt cx="30016" cy="21476"/>
                </a:xfrm>
                <a:solidFill>
                  <a:schemeClr val="accent1"/>
                </a:solidFill>
              </p:grpSpPr>
              <p:sp>
                <p:nvSpPr>
                  <p:cNvPr id="1623" name="Freeform: Shape 1622">
                    <a:extLst>
                      <a:ext uri="{FF2B5EF4-FFF2-40B4-BE49-F238E27FC236}">
                        <a16:creationId xmlns:a16="http://schemas.microsoft.com/office/drawing/2014/main" id="{6B549808-BF14-48EA-97C4-1ECE4E8206DD}"/>
                      </a:ext>
                    </a:extLst>
                  </p:cNvPr>
                  <p:cNvSpPr/>
                  <p:nvPr/>
                </p:nvSpPr>
                <p:spPr>
                  <a:xfrm>
                    <a:off x="3455744" y="1653556"/>
                    <a:ext cx="27756" cy="20220"/>
                  </a:xfrm>
                  <a:custGeom>
                    <a:avLst/>
                    <a:gdLst>
                      <a:gd name="connsiteX0" fmla="*/ 27756 w 27756"/>
                      <a:gd name="connsiteY0" fmla="*/ 4270 h 20220"/>
                      <a:gd name="connsiteX1" fmla="*/ 125 w 27756"/>
                      <a:gd name="connsiteY1" fmla="*/ 20221 h 20220"/>
                      <a:gd name="connsiteX2" fmla="*/ 0 w 27756"/>
                      <a:gd name="connsiteY2" fmla="*/ 15951 h 20220"/>
                      <a:gd name="connsiteX3" fmla="*/ 27756 w 27756"/>
                      <a:gd name="connsiteY3" fmla="*/ 0 h 20220"/>
                    </a:gdLst>
                    <a:ahLst/>
                    <a:cxnLst>
                      <a:cxn ang="0">
                        <a:pos x="connsiteX0" y="connsiteY0"/>
                      </a:cxn>
                      <a:cxn ang="0">
                        <a:pos x="connsiteX1" y="connsiteY1"/>
                      </a:cxn>
                      <a:cxn ang="0">
                        <a:pos x="connsiteX2" y="connsiteY2"/>
                      </a:cxn>
                      <a:cxn ang="0">
                        <a:pos x="connsiteX3" y="connsiteY3"/>
                      </a:cxn>
                    </a:cxnLst>
                    <a:rect l="l" t="t" r="r" b="b"/>
                    <a:pathLst>
                      <a:path w="27756" h="20220">
                        <a:moveTo>
                          <a:pt x="27756" y="4270"/>
                        </a:moveTo>
                        <a:lnTo>
                          <a:pt x="125" y="20221"/>
                        </a:lnTo>
                        <a:lnTo>
                          <a:pt x="0" y="15951"/>
                        </a:lnTo>
                        <a:lnTo>
                          <a:pt x="27756" y="0"/>
                        </a:lnTo>
                        <a:close/>
                      </a:path>
                    </a:pathLst>
                  </a:custGeom>
                  <a:solidFill>
                    <a:srgbClr val="20242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4" name="Freeform: Shape 1623">
                    <a:extLst>
                      <a:ext uri="{FF2B5EF4-FFF2-40B4-BE49-F238E27FC236}">
                        <a16:creationId xmlns:a16="http://schemas.microsoft.com/office/drawing/2014/main" id="{01AEA629-829D-449D-B08B-AD5AC085CAB5}"/>
                      </a:ext>
                    </a:extLst>
                  </p:cNvPr>
                  <p:cNvSpPr/>
                  <p:nvPr/>
                </p:nvSpPr>
                <p:spPr>
                  <a:xfrm>
                    <a:off x="3453484" y="1652300"/>
                    <a:ext cx="30016" cy="17206"/>
                  </a:xfrm>
                  <a:custGeom>
                    <a:avLst/>
                    <a:gdLst>
                      <a:gd name="connsiteX0" fmla="*/ 27756 w 30016"/>
                      <a:gd name="connsiteY0" fmla="*/ 0 h 17206"/>
                      <a:gd name="connsiteX1" fmla="*/ 0 w 30016"/>
                      <a:gd name="connsiteY1" fmla="*/ 15825 h 17206"/>
                      <a:gd name="connsiteX2" fmla="*/ 2261 w 30016"/>
                      <a:gd name="connsiteY2" fmla="*/ 17206 h 17206"/>
                      <a:gd name="connsiteX3" fmla="*/ 30017 w 30016"/>
                      <a:gd name="connsiteY3" fmla="*/ 1256 h 17206"/>
                    </a:gdLst>
                    <a:ahLst/>
                    <a:cxnLst>
                      <a:cxn ang="0">
                        <a:pos x="connsiteX0" y="connsiteY0"/>
                      </a:cxn>
                      <a:cxn ang="0">
                        <a:pos x="connsiteX1" y="connsiteY1"/>
                      </a:cxn>
                      <a:cxn ang="0">
                        <a:pos x="connsiteX2" y="connsiteY2"/>
                      </a:cxn>
                      <a:cxn ang="0">
                        <a:pos x="connsiteX3" y="connsiteY3"/>
                      </a:cxn>
                    </a:cxnLst>
                    <a:rect l="l" t="t" r="r" b="b"/>
                    <a:pathLst>
                      <a:path w="30016" h="17206">
                        <a:moveTo>
                          <a:pt x="27756" y="0"/>
                        </a:moveTo>
                        <a:lnTo>
                          <a:pt x="0" y="15825"/>
                        </a:lnTo>
                        <a:lnTo>
                          <a:pt x="2261" y="17206"/>
                        </a:lnTo>
                        <a:lnTo>
                          <a:pt x="30017" y="1256"/>
                        </a:lnTo>
                        <a:close/>
                      </a:path>
                    </a:pathLst>
                  </a:custGeom>
                  <a:solidFill>
                    <a:srgbClr val="4142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5" name="Freeform: Shape 1624">
                    <a:extLst>
                      <a:ext uri="{FF2B5EF4-FFF2-40B4-BE49-F238E27FC236}">
                        <a16:creationId xmlns:a16="http://schemas.microsoft.com/office/drawing/2014/main" id="{376498ED-52A6-4469-BDE8-83BB8690C705}"/>
                      </a:ext>
                    </a:extLst>
                  </p:cNvPr>
                  <p:cNvSpPr/>
                  <p:nvPr/>
                </p:nvSpPr>
                <p:spPr>
                  <a:xfrm>
                    <a:off x="3453609" y="1668125"/>
                    <a:ext cx="2260" cy="5651"/>
                  </a:xfrm>
                  <a:custGeom>
                    <a:avLst/>
                    <a:gdLst>
                      <a:gd name="connsiteX0" fmla="*/ 0 w 2260"/>
                      <a:gd name="connsiteY0" fmla="*/ 0 h 5651"/>
                      <a:gd name="connsiteX1" fmla="*/ 2135 w 2260"/>
                      <a:gd name="connsiteY1" fmla="*/ 1382 h 5651"/>
                      <a:gd name="connsiteX2" fmla="*/ 2261 w 2260"/>
                      <a:gd name="connsiteY2" fmla="*/ 5652 h 5651"/>
                      <a:gd name="connsiteX3" fmla="*/ 0 w 2260"/>
                      <a:gd name="connsiteY3" fmla="*/ 4396 h 5651"/>
                    </a:gdLst>
                    <a:ahLst/>
                    <a:cxnLst>
                      <a:cxn ang="0">
                        <a:pos x="connsiteX0" y="connsiteY0"/>
                      </a:cxn>
                      <a:cxn ang="0">
                        <a:pos x="connsiteX1" y="connsiteY1"/>
                      </a:cxn>
                      <a:cxn ang="0">
                        <a:pos x="connsiteX2" y="connsiteY2"/>
                      </a:cxn>
                      <a:cxn ang="0">
                        <a:pos x="connsiteX3" y="connsiteY3"/>
                      </a:cxn>
                    </a:cxnLst>
                    <a:rect l="l" t="t" r="r" b="b"/>
                    <a:pathLst>
                      <a:path w="2260" h="5651">
                        <a:moveTo>
                          <a:pt x="0" y="0"/>
                        </a:moveTo>
                        <a:lnTo>
                          <a:pt x="2135" y="1382"/>
                        </a:lnTo>
                        <a:lnTo>
                          <a:pt x="2261" y="5652"/>
                        </a:lnTo>
                        <a:lnTo>
                          <a:pt x="0" y="4396"/>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626" name="Freeform: Shape 1625">
                <a:extLst>
                  <a:ext uri="{FF2B5EF4-FFF2-40B4-BE49-F238E27FC236}">
                    <a16:creationId xmlns:a16="http://schemas.microsoft.com/office/drawing/2014/main" id="{78DB26A9-3842-447E-BB3E-3051263CD527}"/>
                  </a:ext>
                </a:extLst>
              </p:cNvPr>
              <p:cNvSpPr/>
              <p:nvPr/>
            </p:nvSpPr>
            <p:spPr>
              <a:xfrm>
                <a:off x="3458131" y="1735946"/>
                <a:ext cx="73221" cy="42199"/>
              </a:xfrm>
              <a:custGeom>
                <a:avLst/>
                <a:gdLst>
                  <a:gd name="connsiteX0" fmla="*/ 0 w 73221"/>
                  <a:gd name="connsiteY0" fmla="*/ 20849 h 42199"/>
                  <a:gd name="connsiteX1" fmla="*/ 37176 w 73221"/>
                  <a:gd name="connsiteY1" fmla="*/ 42200 h 42199"/>
                  <a:gd name="connsiteX2" fmla="*/ 38809 w 73221"/>
                  <a:gd name="connsiteY2" fmla="*/ 41321 h 42199"/>
                  <a:gd name="connsiteX3" fmla="*/ 41446 w 73221"/>
                  <a:gd name="connsiteY3" fmla="*/ 39814 h 42199"/>
                  <a:gd name="connsiteX4" fmla="*/ 46219 w 73221"/>
                  <a:gd name="connsiteY4" fmla="*/ 37050 h 42199"/>
                  <a:gd name="connsiteX5" fmla="*/ 51494 w 73221"/>
                  <a:gd name="connsiteY5" fmla="*/ 33911 h 42199"/>
                  <a:gd name="connsiteX6" fmla="*/ 54131 w 73221"/>
                  <a:gd name="connsiteY6" fmla="*/ 32403 h 42199"/>
                  <a:gd name="connsiteX7" fmla="*/ 58904 w 73221"/>
                  <a:gd name="connsiteY7" fmla="*/ 29640 h 42199"/>
                  <a:gd name="connsiteX8" fmla="*/ 64053 w 73221"/>
                  <a:gd name="connsiteY8" fmla="*/ 26626 h 42199"/>
                  <a:gd name="connsiteX9" fmla="*/ 66691 w 73221"/>
                  <a:gd name="connsiteY9" fmla="*/ 25119 h 42199"/>
                  <a:gd name="connsiteX10" fmla="*/ 71463 w 73221"/>
                  <a:gd name="connsiteY10" fmla="*/ 22356 h 42199"/>
                  <a:gd name="connsiteX11" fmla="*/ 73222 w 73221"/>
                  <a:gd name="connsiteY11" fmla="*/ 21477 h 42199"/>
                  <a:gd name="connsiteX12" fmla="*/ 71463 w 73221"/>
                  <a:gd name="connsiteY12" fmla="*/ 20472 h 42199"/>
                  <a:gd name="connsiteX13" fmla="*/ 66691 w 73221"/>
                  <a:gd name="connsiteY13" fmla="*/ 17709 h 42199"/>
                  <a:gd name="connsiteX14" fmla="*/ 64053 w 73221"/>
                  <a:gd name="connsiteY14" fmla="*/ 16202 h 42199"/>
                  <a:gd name="connsiteX15" fmla="*/ 36046 w 73221"/>
                  <a:gd name="connsiteY15" fmla="*/ 0 h 42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221" h="42199">
                    <a:moveTo>
                      <a:pt x="0" y="20849"/>
                    </a:moveTo>
                    <a:lnTo>
                      <a:pt x="37176" y="42200"/>
                    </a:lnTo>
                    <a:lnTo>
                      <a:pt x="38809" y="41321"/>
                    </a:lnTo>
                    <a:lnTo>
                      <a:pt x="41446" y="39814"/>
                    </a:lnTo>
                    <a:lnTo>
                      <a:pt x="46219" y="37050"/>
                    </a:lnTo>
                    <a:lnTo>
                      <a:pt x="51494" y="33911"/>
                    </a:lnTo>
                    <a:lnTo>
                      <a:pt x="54131" y="32403"/>
                    </a:lnTo>
                    <a:lnTo>
                      <a:pt x="58904" y="29640"/>
                    </a:lnTo>
                    <a:lnTo>
                      <a:pt x="64053" y="26626"/>
                    </a:lnTo>
                    <a:lnTo>
                      <a:pt x="66691" y="25119"/>
                    </a:lnTo>
                    <a:lnTo>
                      <a:pt x="71463" y="22356"/>
                    </a:lnTo>
                    <a:lnTo>
                      <a:pt x="73222" y="21477"/>
                    </a:lnTo>
                    <a:lnTo>
                      <a:pt x="71463" y="20472"/>
                    </a:lnTo>
                    <a:lnTo>
                      <a:pt x="66691" y="17709"/>
                    </a:lnTo>
                    <a:lnTo>
                      <a:pt x="64053" y="16202"/>
                    </a:lnTo>
                    <a:lnTo>
                      <a:pt x="36046"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27" name="Graphic 4">
                <a:extLst>
                  <a:ext uri="{FF2B5EF4-FFF2-40B4-BE49-F238E27FC236}">
                    <a16:creationId xmlns:a16="http://schemas.microsoft.com/office/drawing/2014/main" id="{84FB7ED1-A2DF-40A1-A747-5F7CF3F14040}"/>
                  </a:ext>
                </a:extLst>
              </p:cNvPr>
              <p:cNvGrpSpPr/>
              <p:nvPr/>
            </p:nvGrpSpPr>
            <p:grpSpPr>
              <a:xfrm>
                <a:off x="3455493" y="1687090"/>
                <a:ext cx="73975" cy="86283"/>
                <a:chOff x="3455493" y="1687090"/>
                <a:chExt cx="73975" cy="86283"/>
              </a:xfrm>
              <a:solidFill>
                <a:schemeClr val="accent1"/>
              </a:solidFill>
            </p:grpSpPr>
            <p:sp>
              <p:nvSpPr>
                <p:cNvPr id="1628" name="Freeform: Shape 1627">
                  <a:extLst>
                    <a:ext uri="{FF2B5EF4-FFF2-40B4-BE49-F238E27FC236}">
                      <a16:creationId xmlns:a16="http://schemas.microsoft.com/office/drawing/2014/main" id="{CED992D6-14EF-47AA-87A1-6B46B86527E1}"/>
                    </a:ext>
                  </a:extLst>
                </p:cNvPr>
                <p:cNvSpPr/>
                <p:nvPr/>
              </p:nvSpPr>
              <p:spPr>
                <a:xfrm>
                  <a:off x="3455493" y="1730546"/>
                  <a:ext cx="73975" cy="42827"/>
                </a:xfrm>
                <a:custGeom>
                  <a:avLst/>
                  <a:gdLst>
                    <a:gd name="connsiteX0" fmla="*/ 0 w 73975"/>
                    <a:gd name="connsiteY0" fmla="*/ 21100 h 42827"/>
                    <a:gd name="connsiteX1" fmla="*/ 37553 w 73975"/>
                    <a:gd name="connsiteY1" fmla="*/ 42828 h 42827"/>
                    <a:gd name="connsiteX2" fmla="*/ 73976 w 73975"/>
                    <a:gd name="connsiteY2" fmla="*/ 21728 h 42827"/>
                    <a:gd name="connsiteX3" fmla="*/ 73976 w 73975"/>
                    <a:gd name="connsiteY3" fmla="*/ 20849 h 42827"/>
                    <a:gd name="connsiteX4" fmla="*/ 36423 w 73975"/>
                    <a:gd name="connsiteY4" fmla="*/ 0 h 42827"/>
                    <a:gd name="connsiteX5" fmla="*/ 0 w 73975"/>
                    <a:gd name="connsiteY5" fmla="*/ 20221 h 4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975" h="42827">
                      <a:moveTo>
                        <a:pt x="0" y="21100"/>
                      </a:moveTo>
                      <a:lnTo>
                        <a:pt x="37553" y="42828"/>
                      </a:lnTo>
                      <a:lnTo>
                        <a:pt x="73976" y="21728"/>
                      </a:lnTo>
                      <a:lnTo>
                        <a:pt x="73976" y="20849"/>
                      </a:lnTo>
                      <a:lnTo>
                        <a:pt x="36423" y="0"/>
                      </a:lnTo>
                      <a:lnTo>
                        <a:pt x="0" y="20221"/>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9" name="Freeform: Shape 1628">
                  <a:extLst>
                    <a:ext uri="{FF2B5EF4-FFF2-40B4-BE49-F238E27FC236}">
                      <a16:creationId xmlns:a16="http://schemas.microsoft.com/office/drawing/2014/main" id="{129BD222-AA28-424F-A5FD-E7F6B0599CFE}"/>
                    </a:ext>
                  </a:extLst>
                </p:cNvPr>
                <p:cNvSpPr/>
                <p:nvPr/>
              </p:nvSpPr>
              <p:spPr>
                <a:xfrm>
                  <a:off x="3455493" y="1729667"/>
                  <a:ext cx="73975" cy="42827"/>
                </a:xfrm>
                <a:custGeom>
                  <a:avLst/>
                  <a:gdLst>
                    <a:gd name="connsiteX0" fmla="*/ 0 w 73975"/>
                    <a:gd name="connsiteY0" fmla="*/ 21100 h 42827"/>
                    <a:gd name="connsiteX1" fmla="*/ 37553 w 73975"/>
                    <a:gd name="connsiteY1" fmla="*/ 42828 h 42827"/>
                    <a:gd name="connsiteX2" fmla="*/ 39186 w 73975"/>
                    <a:gd name="connsiteY2" fmla="*/ 41823 h 42827"/>
                    <a:gd name="connsiteX3" fmla="*/ 41823 w 73975"/>
                    <a:gd name="connsiteY3" fmla="*/ 40316 h 42827"/>
                    <a:gd name="connsiteX4" fmla="*/ 46721 w 73975"/>
                    <a:gd name="connsiteY4" fmla="*/ 37553 h 42827"/>
                    <a:gd name="connsiteX5" fmla="*/ 52122 w 73975"/>
                    <a:gd name="connsiteY5" fmla="*/ 34413 h 42827"/>
                    <a:gd name="connsiteX6" fmla="*/ 54760 w 73975"/>
                    <a:gd name="connsiteY6" fmla="*/ 32906 h 42827"/>
                    <a:gd name="connsiteX7" fmla="*/ 59658 w 73975"/>
                    <a:gd name="connsiteY7" fmla="*/ 30017 h 42827"/>
                    <a:gd name="connsiteX8" fmla="*/ 64807 w 73975"/>
                    <a:gd name="connsiteY8" fmla="*/ 27128 h 42827"/>
                    <a:gd name="connsiteX9" fmla="*/ 67570 w 73975"/>
                    <a:gd name="connsiteY9" fmla="*/ 25496 h 42827"/>
                    <a:gd name="connsiteX10" fmla="*/ 72343 w 73975"/>
                    <a:gd name="connsiteY10" fmla="*/ 22733 h 42827"/>
                    <a:gd name="connsiteX11" fmla="*/ 73976 w 73975"/>
                    <a:gd name="connsiteY11" fmla="*/ 21728 h 42827"/>
                    <a:gd name="connsiteX12" fmla="*/ 72343 w 73975"/>
                    <a:gd name="connsiteY12" fmla="*/ 20723 h 42827"/>
                    <a:gd name="connsiteX13" fmla="*/ 67570 w 73975"/>
                    <a:gd name="connsiteY13" fmla="*/ 17960 h 42827"/>
                    <a:gd name="connsiteX14" fmla="*/ 64807 w 73975"/>
                    <a:gd name="connsiteY14" fmla="*/ 16453 h 42827"/>
                    <a:gd name="connsiteX15" fmla="*/ 36423 w 73975"/>
                    <a:gd name="connsiteY15" fmla="*/ 0 h 4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975" h="42827">
                      <a:moveTo>
                        <a:pt x="0" y="21100"/>
                      </a:moveTo>
                      <a:lnTo>
                        <a:pt x="37553" y="42828"/>
                      </a:lnTo>
                      <a:lnTo>
                        <a:pt x="39186" y="41823"/>
                      </a:lnTo>
                      <a:lnTo>
                        <a:pt x="41823" y="40316"/>
                      </a:lnTo>
                      <a:lnTo>
                        <a:pt x="46721" y="37553"/>
                      </a:lnTo>
                      <a:lnTo>
                        <a:pt x="52122" y="34413"/>
                      </a:lnTo>
                      <a:lnTo>
                        <a:pt x="54760" y="32906"/>
                      </a:lnTo>
                      <a:lnTo>
                        <a:pt x="59658" y="30017"/>
                      </a:lnTo>
                      <a:lnTo>
                        <a:pt x="64807" y="27128"/>
                      </a:lnTo>
                      <a:lnTo>
                        <a:pt x="67570" y="25496"/>
                      </a:lnTo>
                      <a:lnTo>
                        <a:pt x="72343" y="22733"/>
                      </a:lnTo>
                      <a:lnTo>
                        <a:pt x="73976" y="21728"/>
                      </a:lnTo>
                      <a:lnTo>
                        <a:pt x="72343" y="20723"/>
                      </a:lnTo>
                      <a:lnTo>
                        <a:pt x="67570" y="17960"/>
                      </a:lnTo>
                      <a:lnTo>
                        <a:pt x="64807" y="16453"/>
                      </a:lnTo>
                      <a:lnTo>
                        <a:pt x="36423"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0" name="Freeform: Shape 1629">
                  <a:extLst>
                    <a:ext uri="{FF2B5EF4-FFF2-40B4-BE49-F238E27FC236}">
                      <a16:creationId xmlns:a16="http://schemas.microsoft.com/office/drawing/2014/main" id="{1A70A3AB-782A-4E6E-B46A-3970484A5709}"/>
                    </a:ext>
                  </a:extLst>
                </p:cNvPr>
                <p:cNvSpPr/>
                <p:nvPr/>
              </p:nvSpPr>
              <p:spPr>
                <a:xfrm>
                  <a:off x="3487268" y="1732304"/>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1" name="Freeform: Shape 1630">
                  <a:extLst>
                    <a:ext uri="{FF2B5EF4-FFF2-40B4-BE49-F238E27FC236}">
                      <a16:creationId xmlns:a16="http://schemas.microsoft.com/office/drawing/2014/main" id="{E61A295D-D8C7-4334-9047-2586746B1A68}"/>
                    </a:ext>
                  </a:extLst>
                </p:cNvPr>
                <p:cNvSpPr/>
                <p:nvPr/>
              </p:nvSpPr>
              <p:spPr>
                <a:xfrm>
                  <a:off x="3482747" y="1734942"/>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2" name="Freeform: Shape 1631">
                  <a:extLst>
                    <a:ext uri="{FF2B5EF4-FFF2-40B4-BE49-F238E27FC236}">
                      <a16:creationId xmlns:a16="http://schemas.microsoft.com/office/drawing/2014/main" id="{B0ECFE4D-1414-4C26-867A-B38DC6BBDAE8}"/>
                    </a:ext>
                  </a:extLst>
                </p:cNvPr>
                <p:cNvSpPr/>
                <p:nvPr/>
              </p:nvSpPr>
              <p:spPr>
                <a:xfrm>
                  <a:off x="3478225" y="1737579"/>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3" name="Freeform: Shape 1632">
                  <a:extLst>
                    <a:ext uri="{FF2B5EF4-FFF2-40B4-BE49-F238E27FC236}">
                      <a16:creationId xmlns:a16="http://schemas.microsoft.com/office/drawing/2014/main" id="{160F6C92-06D5-494B-88FC-0777729A079E}"/>
                    </a:ext>
                  </a:extLst>
                </p:cNvPr>
                <p:cNvSpPr/>
                <p:nvPr/>
              </p:nvSpPr>
              <p:spPr>
                <a:xfrm>
                  <a:off x="3473704" y="1740217"/>
                  <a:ext cx="37552" cy="21727"/>
                </a:xfrm>
                <a:custGeom>
                  <a:avLst/>
                  <a:gdLst>
                    <a:gd name="connsiteX0" fmla="*/ 0 w 37552"/>
                    <a:gd name="connsiteY0" fmla="*/ 126 h 21727"/>
                    <a:gd name="connsiteX1" fmla="*/ 37553 w 37552"/>
                    <a:gd name="connsiteY1" fmla="*/ 21728 h 21727"/>
                    <a:gd name="connsiteX2" fmla="*/ 37553 w 37552"/>
                    <a:gd name="connsiteY2" fmla="*/ 21728 h 21727"/>
                    <a:gd name="connsiteX3" fmla="*/ 0 w 37552"/>
                    <a:gd name="connsiteY3" fmla="*/ 0 h 21727"/>
                  </a:gdLst>
                  <a:ahLst/>
                  <a:cxnLst>
                    <a:cxn ang="0">
                      <a:pos x="connsiteX0" y="connsiteY0"/>
                    </a:cxn>
                    <a:cxn ang="0">
                      <a:pos x="connsiteX1" y="connsiteY1"/>
                    </a:cxn>
                    <a:cxn ang="0">
                      <a:pos x="connsiteX2" y="connsiteY2"/>
                    </a:cxn>
                    <a:cxn ang="0">
                      <a:pos x="connsiteX3" y="connsiteY3"/>
                    </a:cxn>
                  </a:cxnLst>
                  <a:rect l="l" t="t" r="r" b="b"/>
                  <a:pathLst>
                    <a:path w="37552" h="21727">
                      <a:moveTo>
                        <a:pt x="0" y="126"/>
                      </a:moveTo>
                      <a:lnTo>
                        <a:pt x="37553" y="21728"/>
                      </a:lnTo>
                      <a:lnTo>
                        <a:pt x="37553" y="21728"/>
                      </a:lnTo>
                      <a:lnTo>
                        <a:pt x="0"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4" name="Freeform: Shape 1633">
                  <a:extLst>
                    <a:ext uri="{FF2B5EF4-FFF2-40B4-BE49-F238E27FC236}">
                      <a16:creationId xmlns:a16="http://schemas.microsoft.com/office/drawing/2014/main" id="{E9731D02-75B4-4792-841A-2F360D3B385F}"/>
                    </a:ext>
                  </a:extLst>
                </p:cNvPr>
                <p:cNvSpPr/>
                <p:nvPr/>
              </p:nvSpPr>
              <p:spPr>
                <a:xfrm>
                  <a:off x="3469057" y="1742854"/>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5" name="Freeform: Shape 1634">
                  <a:extLst>
                    <a:ext uri="{FF2B5EF4-FFF2-40B4-BE49-F238E27FC236}">
                      <a16:creationId xmlns:a16="http://schemas.microsoft.com/office/drawing/2014/main" id="{4D77FE80-7A76-4BF2-86BB-E7A25309C5D0}"/>
                    </a:ext>
                  </a:extLst>
                </p:cNvPr>
                <p:cNvSpPr/>
                <p:nvPr/>
              </p:nvSpPr>
              <p:spPr>
                <a:xfrm>
                  <a:off x="3464536" y="1745492"/>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6" name="Freeform: Shape 1635">
                  <a:extLst>
                    <a:ext uri="{FF2B5EF4-FFF2-40B4-BE49-F238E27FC236}">
                      <a16:creationId xmlns:a16="http://schemas.microsoft.com/office/drawing/2014/main" id="{E06CC0C6-F41A-446F-9DD8-AAC0116044C5}"/>
                    </a:ext>
                  </a:extLst>
                </p:cNvPr>
                <p:cNvSpPr/>
                <p:nvPr/>
              </p:nvSpPr>
              <p:spPr>
                <a:xfrm>
                  <a:off x="3460014" y="1748129"/>
                  <a:ext cx="37678" cy="21727"/>
                </a:xfrm>
                <a:custGeom>
                  <a:avLst/>
                  <a:gdLst>
                    <a:gd name="connsiteX0" fmla="*/ 0 w 37678"/>
                    <a:gd name="connsiteY0" fmla="*/ 0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0"/>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7" name="Freeform: Shape 1636">
                  <a:extLst>
                    <a:ext uri="{FF2B5EF4-FFF2-40B4-BE49-F238E27FC236}">
                      <a16:creationId xmlns:a16="http://schemas.microsoft.com/office/drawing/2014/main" id="{A804025A-6A3A-41E0-812D-B02AB16134C8}"/>
                    </a:ext>
                  </a:extLst>
                </p:cNvPr>
                <p:cNvSpPr/>
                <p:nvPr/>
              </p:nvSpPr>
              <p:spPr>
                <a:xfrm>
                  <a:off x="3521681" y="1746120"/>
                  <a:ext cx="4772" cy="9796"/>
                </a:xfrm>
                <a:custGeom>
                  <a:avLst/>
                  <a:gdLst>
                    <a:gd name="connsiteX0" fmla="*/ 0 w 4772"/>
                    <a:gd name="connsiteY0" fmla="*/ 0 h 9796"/>
                    <a:gd name="connsiteX1" fmla="*/ 0 w 4772"/>
                    <a:gd name="connsiteY1" fmla="*/ 9796 h 9796"/>
                    <a:gd name="connsiteX2" fmla="*/ 4773 w 4772"/>
                    <a:gd name="connsiteY2" fmla="*/ 7033 h 9796"/>
                    <a:gd name="connsiteX3" fmla="*/ 4773 w 4772"/>
                    <a:gd name="connsiteY3" fmla="*/ 2638 h 9796"/>
                    <a:gd name="connsiteX4" fmla="*/ 0 w 4772"/>
                    <a:gd name="connsiteY4" fmla="*/ 0 h 9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2" h="9796">
                      <a:moveTo>
                        <a:pt x="0" y="0"/>
                      </a:moveTo>
                      <a:lnTo>
                        <a:pt x="0" y="9796"/>
                      </a:lnTo>
                      <a:lnTo>
                        <a:pt x="4773" y="7033"/>
                      </a:lnTo>
                      <a:lnTo>
                        <a:pt x="4773" y="2638"/>
                      </a:lnTo>
                      <a:cubicBezTo>
                        <a:pt x="3265" y="1758"/>
                        <a:pt x="1633" y="879"/>
                        <a:pt x="0"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8" name="Freeform: Shape 1637">
                  <a:extLst>
                    <a:ext uri="{FF2B5EF4-FFF2-40B4-BE49-F238E27FC236}">
                      <a16:creationId xmlns:a16="http://schemas.microsoft.com/office/drawing/2014/main" id="{6A1E1F9A-D9CB-4FD4-8244-42CD37467A15}"/>
                    </a:ext>
                  </a:extLst>
                </p:cNvPr>
                <p:cNvSpPr/>
                <p:nvPr/>
              </p:nvSpPr>
              <p:spPr>
                <a:xfrm>
                  <a:off x="3519044" y="1746120"/>
                  <a:ext cx="2637" cy="9796"/>
                </a:xfrm>
                <a:custGeom>
                  <a:avLst/>
                  <a:gdLst>
                    <a:gd name="connsiteX0" fmla="*/ 0 w 2637"/>
                    <a:gd name="connsiteY0" fmla="*/ 0 h 9796"/>
                    <a:gd name="connsiteX1" fmla="*/ 0 w 2637"/>
                    <a:gd name="connsiteY1" fmla="*/ 8164 h 9796"/>
                    <a:gd name="connsiteX2" fmla="*/ 2638 w 2637"/>
                    <a:gd name="connsiteY2" fmla="*/ 9796 h 9796"/>
                    <a:gd name="connsiteX3" fmla="*/ 2638 w 2637"/>
                    <a:gd name="connsiteY3" fmla="*/ 0 h 9796"/>
                  </a:gdLst>
                  <a:ahLst/>
                  <a:cxnLst>
                    <a:cxn ang="0">
                      <a:pos x="connsiteX0" y="connsiteY0"/>
                    </a:cxn>
                    <a:cxn ang="0">
                      <a:pos x="connsiteX1" y="connsiteY1"/>
                    </a:cxn>
                    <a:cxn ang="0">
                      <a:pos x="connsiteX2" y="connsiteY2"/>
                    </a:cxn>
                    <a:cxn ang="0">
                      <a:pos x="connsiteX3" y="connsiteY3"/>
                    </a:cxn>
                  </a:cxnLst>
                  <a:rect l="l" t="t" r="r" b="b"/>
                  <a:pathLst>
                    <a:path w="2637" h="9796">
                      <a:moveTo>
                        <a:pt x="0" y="0"/>
                      </a:moveTo>
                      <a:lnTo>
                        <a:pt x="0" y="8164"/>
                      </a:lnTo>
                      <a:lnTo>
                        <a:pt x="2638" y="9796"/>
                      </a:lnTo>
                      <a:lnTo>
                        <a:pt x="2638"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9" name="Freeform: Shape 1638">
                  <a:extLst>
                    <a:ext uri="{FF2B5EF4-FFF2-40B4-BE49-F238E27FC236}">
                      <a16:creationId xmlns:a16="http://schemas.microsoft.com/office/drawing/2014/main" id="{3284DFBD-7E19-4A41-B9C4-DEA382B644B7}"/>
                    </a:ext>
                  </a:extLst>
                </p:cNvPr>
                <p:cNvSpPr/>
                <p:nvPr/>
              </p:nvSpPr>
              <p:spPr>
                <a:xfrm>
                  <a:off x="3508996" y="1753655"/>
                  <a:ext cx="4772" cy="9670"/>
                </a:xfrm>
                <a:custGeom>
                  <a:avLst/>
                  <a:gdLst>
                    <a:gd name="connsiteX0" fmla="*/ 0 w 4772"/>
                    <a:gd name="connsiteY0" fmla="*/ 0 h 9670"/>
                    <a:gd name="connsiteX1" fmla="*/ 0 w 4772"/>
                    <a:gd name="connsiteY1" fmla="*/ 9671 h 9670"/>
                    <a:gd name="connsiteX2" fmla="*/ 4773 w 4772"/>
                    <a:gd name="connsiteY2" fmla="*/ 6908 h 9670"/>
                    <a:gd name="connsiteX3" fmla="*/ 4773 w 4772"/>
                    <a:gd name="connsiteY3" fmla="*/ 0 h 9670"/>
                  </a:gdLst>
                  <a:ahLst/>
                  <a:cxnLst>
                    <a:cxn ang="0">
                      <a:pos x="connsiteX0" y="connsiteY0"/>
                    </a:cxn>
                    <a:cxn ang="0">
                      <a:pos x="connsiteX1" y="connsiteY1"/>
                    </a:cxn>
                    <a:cxn ang="0">
                      <a:pos x="connsiteX2" y="connsiteY2"/>
                    </a:cxn>
                    <a:cxn ang="0">
                      <a:pos x="connsiteX3" y="connsiteY3"/>
                    </a:cxn>
                  </a:cxnLst>
                  <a:rect l="l" t="t" r="r" b="b"/>
                  <a:pathLst>
                    <a:path w="4772" h="9670">
                      <a:moveTo>
                        <a:pt x="0" y="0"/>
                      </a:moveTo>
                      <a:lnTo>
                        <a:pt x="0" y="9671"/>
                      </a:lnTo>
                      <a:lnTo>
                        <a:pt x="4773" y="6908"/>
                      </a:lnTo>
                      <a:lnTo>
                        <a:pt x="4773"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0" name="Freeform: Shape 1639">
                  <a:extLst>
                    <a:ext uri="{FF2B5EF4-FFF2-40B4-BE49-F238E27FC236}">
                      <a16:creationId xmlns:a16="http://schemas.microsoft.com/office/drawing/2014/main" id="{871333C8-1257-44F2-8956-444B58460457}"/>
                    </a:ext>
                  </a:extLst>
                </p:cNvPr>
                <p:cNvSpPr/>
                <p:nvPr/>
              </p:nvSpPr>
              <p:spPr>
                <a:xfrm>
                  <a:off x="3506233" y="1753655"/>
                  <a:ext cx="2763" cy="9670"/>
                </a:xfrm>
                <a:custGeom>
                  <a:avLst/>
                  <a:gdLst>
                    <a:gd name="connsiteX0" fmla="*/ 0 w 2763"/>
                    <a:gd name="connsiteY0" fmla="*/ 0 h 9670"/>
                    <a:gd name="connsiteX1" fmla="*/ 0 w 2763"/>
                    <a:gd name="connsiteY1" fmla="*/ 8038 h 9670"/>
                    <a:gd name="connsiteX2" fmla="*/ 2763 w 2763"/>
                    <a:gd name="connsiteY2" fmla="*/ 9671 h 9670"/>
                    <a:gd name="connsiteX3" fmla="*/ 2763 w 2763"/>
                    <a:gd name="connsiteY3" fmla="*/ 0 h 9670"/>
                  </a:gdLst>
                  <a:ahLst/>
                  <a:cxnLst>
                    <a:cxn ang="0">
                      <a:pos x="connsiteX0" y="connsiteY0"/>
                    </a:cxn>
                    <a:cxn ang="0">
                      <a:pos x="connsiteX1" y="connsiteY1"/>
                    </a:cxn>
                    <a:cxn ang="0">
                      <a:pos x="connsiteX2" y="connsiteY2"/>
                    </a:cxn>
                    <a:cxn ang="0">
                      <a:pos x="connsiteX3" y="connsiteY3"/>
                    </a:cxn>
                  </a:cxnLst>
                  <a:rect l="l" t="t" r="r" b="b"/>
                  <a:pathLst>
                    <a:path w="2763" h="9670">
                      <a:moveTo>
                        <a:pt x="0" y="0"/>
                      </a:moveTo>
                      <a:lnTo>
                        <a:pt x="0" y="8038"/>
                      </a:lnTo>
                      <a:lnTo>
                        <a:pt x="2763" y="9671"/>
                      </a:lnTo>
                      <a:lnTo>
                        <a:pt x="2763"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1" name="Freeform: Shape 1640">
                  <a:extLst>
                    <a:ext uri="{FF2B5EF4-FFF2-40B4-BE49-F238E27FC236}">
                      <a16:creationId xmlns:a16="http://schemas.microsoft.com/office/drawing/2014/main" id="{0AFB4F49-3A61-4809-B25E-BB8BF331F409}"/>
                    </a:ext>
                  </a:extLst>
                </p:cNvPr>
                <p:cNvSpPr/>
                <p:nvPr/>
              </p:nvSpPr>
              <p:spPr>
                <a:xfrm>
                  <a:off x="3475965" y="1753279"/>
                  <a:ext cx="4898" cy="9419"/>
                </a:xfrm>
                <a:custGeom>
                  <a:avLst/>
                  <a:gdLst>
                    <a:gd name="connsiteX0" fmla="*/ 0 w 4898"/>
                    <a:gd name="connsiteY0" fmla="*/ 0 h 9419"/>
                    <a:gd name="connsiteX1" fmla="*/ 0 w 4898"/>
                    <a:gd name="connsiteY1" fmla="*/ 9420 h 9419"/>
                    <a:gd name="connsiteX2" fmla="*/ 4898 w 4898"/>
                    <a:gd name="connsiteY2" fmla="*/ 6657 h 9419"/>
                    <a:gd name="connsiteX3" fmla="*/ 4898 w 4898"/>
                    <a:gd name="connsiteY3" fmla="*/ 0 h 9419"/>
                  </a:gdLst>
                  <a:ahLst/>
                  <a:cxnLst>
                    <a:cxn ang="0">
                      <a:pos x="connsiteX0" y="connsiteY0"/>
                    </a:cxn>
                    <a:cxn ang="0">
                      <a:pos x="connsiteX1" y="connsiteY1"/>
                    </a:cxn>
                    <a:cxn ang="0">
                      <a:pos x="connsiteX2" y="connsiteY2"/>
                    </a:cxn>
                    <a:cxn ang="0">
                      <a:pos x="connsiteX3" y="connsiteY3"/>
                    </a:cxn>
                  </a:cxnLst>
                  <a:rect l="l" t="t" r="r" b="b"/>
                  <a:pathLst>
                    <a:path w="4898" h="9419">
                      <a:moveTo>
                        <a:pt x="0" y="0"/>
                      </a:moveTo>
                      <a:lnTo>
                        <a:pt x="0" y="9420"/>
                      </a:lnTo>
                      <a:lnTo>
                        <a:pt x="4898" y="6657"/>
                      </a:lnTo>
                      <a:lnTo>
                        <a:pt x="4898"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2" name="Freeform: Shape 1641">
                  <a:extLst>
                    <a:ext uri="{FF2B5EF4-FFF2-40B4-BE49-F238E27FC236}">
                      <a16:creationId xmlns:a16="http://schemas.microsoft.com/office/drawing/2014/main" id="{BB581089-AC84-409A-AE47-86AD650C98D6}"/>
                    </a:ext>
                  </a:extLst>
                </p:cNvPr>
                <p:cNvSpPr/>
                <p:nvPr/>
              </p:nvSpPr>
              <p:spPr>
                <a:xfrm>
                  <a:off x="3473327" y="1753279"/>
                  <a:ext cx="2637" cy="9419"/>
                </a:xfrm>
                <a:custGeom>
                  <a:avLst/>
                  <a:gdLst>
                    <a:gd name="connsiteX0" fmla="*/ 0 w 2637"/>
                    <a:gd name="connsiteY0" fmla="*/ 0 h 9419"/>
                    <a:gd name="connsiteX1" fmla="*/ 0 w 2637"/>
                    <a:gd name="connsiteY1" fmla="*/ 7912 h 9419"/>
                    <a:gd name="connsiteX2" fmla="*/ 2637 w 2637"/>
                    <a:gd name="connsiteY2" fmla="*/ 9420 h 9419"/>
                    <a:gd name="connsiteX3" fmla="*/ 2637 w 2637"/>
                    <a:gd name="connsiteY3" fmla="*/ 0 h 9419"/>
                  </a:gdLst>
                  <a:ahLst/>
                  <a:cxnLst>
                    <a:cxn ang="0">
                      <a:pos x="connsiteX0" y="connsiteY0"/>
                    </a:cxn>
                    <a:cxn ang="0">
                      <a:pos x="connsiteX1" y="connsiteY1"/>
                    </a:cxn>
                    <a:cxn ang="0">
                      <a:pos x="connsiteX2" y="connsiteY2"/>
                    </a:cxn>
                    <a:cxn ang="0">
                      <a:pos x="connsiteX3" y="connsiteY3"/>
                    </a:cxn>
                  </a:cxnLst>
                  <a:rect l="l" t="t" r="r" b="b"/>
                  <a:pathLst>
                    <a:path w="2637" h="9419">
                      <a:moveTo>
                        <a:pt x="0" y="0"/>
                      </a:moveTo>
                      <a:lnTo>
                        <a:pt x="0" y="7912"/>
                      </a:lnTo>
                      <a:lnTo>
                        <a:pt x="2637" y="9420"/>
                      </a:lnTo>
                      <a:lnTo>
                        <a:pt x="2637"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3" name="Freeform: Shape 1642">
                  <a:extLst>
                    <a:ext uri="{FF2B5EF4-FFF2-40B4-BE49-F238E27FC236}">
                      <a16:creationId xmlns:a16="http://schemas.microsoft.com/office/drawing/2014/main" id="{7E162F79-17B1-44D8-9961-FD7C3B5E1423}"/>
                    </a:ext>
                  </a:extLst>
                </p:cNvPr>
                <p:cNvSpPr/>
                <p:nvPr/>
              </p:nvSpPr>
              <p:spPr>
                <a:xfrm>
                  <a:off x="3493046" y="1763200"/>
                  <a:ext cx="4897" cy="9419"/>
                </a:xfrm>
                <a:custGeom>
                  <a:avLst/>
                  <a:gdLst>
                    <a:gd name="connsiteX0" fmla="*/ 0 w 4897"/>
                    <a:gd name="connsiteY0" fmla="*/ 0 h 9419"/>
                    <a:gd name="connsiteX1" fmla="*/ 0 w 4897"/>
                    <a:gd name="connsiteY1" fmla="*/ 9420 h 9419"/>
                    <a:gd name="connsiteX2" fmla="*/ 4898 w 4897"/>
                    <a:gd name="connsiteY2" fmla="*/ 6657 h 9419"/>
                    <a:gd name="connsiteX3" fmla="*/ 4898 w 4897"/>
                    <a:gd name="connsiteY3" fmla="*/ 0 h 9419"/>
                  </a:gdLst>
                  <a:ahLst/>
                  <a:cxnLst>
                    <a:cxn ang="0">
                      <a:pos x="connsiteX0" y="connsiteY0"/>
                    </a:cxn>
                    <a:cxn ang="0">
                      <a:pos x="connsiteX1" y="connsiteY1"/>
                    </a:cxn>
                    <a:cxn ang="0">
                      <a:pos x="connsiteX2" y="connsiteY2"/>
                    </a:cxn>
                    <a:cxn ang="0">
                      <a:pos x="connsiteX3" y="connsiteY3"/>
                    </a:cxn>
                  </a:cxnLst>
                  <a:rect l="l" t="t" r="r" b="b"/>
                  <a:pathLst>
                    <a:path w="4897" h="9419">
                      <a:moveTo>
                        <a:pt x="0" y="0"/>
                      </a:moveTo>
                      <a:lnTo>
                        <a:pt x="0" y="9420"/>
                      </a:lnTo>
                      <a:lnTo>
                        <a:pt x="4898" y="6657"/>
                      </a:lnTo>
                      <a:lnTo>
                        <a:pt x="4898"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4" name="Freeform: Shape 1643">
                  <a:extLst>
                    <a:ext uri="{FF2B5EF4-FFF2-40B4-BE49-F238E27FC236}">
                      <a16:creationId xmlns:a16="http://schemas.microsoft.com/office/drawing/2014/main" id="{8FF7C05E-158C-4338-B125-8EB8FD2CDB7B}"/>
                    </a:ext>
                  </a:extLst>
                </p:cNvPr>
                <p:cNvSpPr/>
                <p:nvPr/>
              </p:nvSpPr>
              <p:spPr>
                <a:xfrm>
                  <a:off x="3490408" y="1763200"/>
                  <a:ext cx="2637" cy="9419"/>
                </a:xfrm>
                <a:custGeom>
                  <a:avLst/>
                  <a:gdLst>
                    <a:gd name="connsiteX0" fmla="*/ 0 w 2637"/>
                    <a:gd name="connsiteY0" fmla="*/ 0 h 9419"/>
                    <a:gd name="connsiteX1" fmla="*/ 0 w 2637"/>
                    <a:gd name="connsiteY1" fmla="*/ 7912 h 9419"/>
                    <a:gd name="connsiteX2" fmla="*/ 2638 w 2637"/>
                    <a:gd name="connsiteY2" fmla="*/ 9420 h 9419"/>
                    <a:gd name="connsiteX3" fmla="*/ 2638 w 2637"/>
                    <a:gd name="connsiteY3" fmla="*/ 0 h 9419"/>
                  </a:gdLst>
                  <a:ahLst/>
                  <a:cxnLst>
                    <a:cxn ang="0">
                      <a:pos x="connsiteX0" y="connsiteY0"/>
                    </a:cxn>
                    <a:cxn ang="0">
                      <a:pos x="connsiteX1" y="connsiteY1"/>
                    </a:cxn>
                    <a:cxn ang="0">
                      <a:pos x="connsiteX2" y="connsiteY2"/>
                    </a:cxn>
                    <a:cxn ang="0">
                      <a:pos x="connsiteX3" y="connsiteY3"/>
                    </a:cxn>
                  </a:cxnLst>
                  <a:rect l="l" t="t" r="r" b="b"/>
                  <a:pathLst>
                    <a:path w="2637" h="9419">
                      <a:moveTo>
                        <a:pt x="0" y="0"/>
                      </a:moveTo>
                      <a:lnTo>
                        <a:pt x="0" y="7912"/>
                      </a:lnTo>
                      <a:lnTo>
                        <a:pt x="2638" y="9420"/>
                      </a:lnTo>
                      <a:lnTo>
                        <a:pt x="2638"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5" name="Freeform: Shape 1644">
                  <a:extLst>
                    <a:ext uri="{FF2B5EF4-FFF2-40B4-BE49-F238E27FC236}">
                      <a16:creationId xmlns:a16="http://schemas.microsoft.com/office/drawing/2014/main" id="{0476D3A9-5939-476B-9816-904232770DFE}"/>
                    </a:ext>
                  </a:extLst>
                </p:cNvPr>
                <p:cNvSpPr/>
                <p:nvPr/>
              </p:nvSpPr>
              <p:spPr>
                <a:xfrm>
                  <a:off x="3459638" y="1747627"/>
                  <a:ext cx="4897" cy="5651"/>
                </a:xfrm>
                <a:custGeom>
                  <a:avLst/>
                  <a:gdLst>
                    <a:gd name="connsiteX0" fmla="*/ 4898 w 4897"/>
                    <a:gd name="connsiteY0" fmla="*/ 0 h 5651"/>
                    <a:gd name="connsiteX1" fmla="*/ 4898 w 4897"/>
                    <a:gd name="connsiteY1" fmla="*/ 2763 h 5651"/>
                    <a:gd name="connsiteX2" fmla="*/ 0 w 4897"/>
                    <a:gd name="connsiteY2" fmla="*/ 5652 h 5651"/>
                    <a:gd name="connsiteX3" fmla="*/ 0 w 4897"/>
                    <a:gd name="connsiteY3" fmla="*/ 0 h 5651"/>
                  </a:gdLst>
                  <a:ahLst/>
                  <a:cxnLst>
                    <a:cxn ang="0">
                      <a:pos x="connsiteX0" y="connsiteY0"/>
                    </a:cxn>
                    <a:cxn ang="0">
                      <a:pos x="connsiteX1" y="connsiteY1"/>
                    </a:cxn>
                    <a:cxn ang="0">
                      <a:pos x="connsiteX2" y="connsiteY2"/>
                    </a:cxn>
                    <a:cxn ang="0">
                      <a:pos x="connsiteX3" y="connsiteY3"/>
                    </a:cxn>
                  </a:cxnLst>
                  <a:rect l="l" t="t" r="r" b="b"/>
                  <a:pathLst>
                    <a:path w="4897" h="5651">
                      <a:moveTo>
                        <a:pt x="4898" y="0"/>
                      </a:moveTo>
                      <a:lnTo>
                        <a:pt x="4898" y="2763"/>
                      </a:lnTo>
                      <a:lnTo>
                        <a:pt x="0" y="565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6" name="Freeform: Shape 1645">
                  <a:extLst>
                    <a:ext uri="{FF2B5EF4-FFF2-40B4-BE49-F238E27FC236}">
                      <a16:creationId xmlns:a16="http://schemas.microsoft.com/office/drawing/2014/main" id="{9CF4898C-BB43-41B3-8E28-28894ACF3A7F}"/>
                    </a:ext>
                  </a:extLst>
                </p:cNvPr>
                <p:cNvSpPr/>
                <p:nvPr/>
              </p:nvSpPr>
              <p:spPr>
                <a:xfrm>
                  <a:off x="3457000" y="1747627"/>
                  <a:ext cx="2637" cy="5651"/>
                </a:xfrm>
                <a:custGeom>
                  <a:avLst/>
                  <a:gdLst>
                    <a:gd name="connsiteX0" fmla="*/ 2637 w 2637"/>
                    <a:gd name="connsiteY0" fmla="*/ 0 h 5651"/>
                    <a:gd name="connsiteX1" fmla="*/ 2637 w 2637"/>
                    <a:gd name="connsiteY1" fmla="*/ 5652 h 5651"/>
                    <a:gd name="connsiteX2" fmla="*/ 0 w 2637"/>
                    <a:gd name="connsiteY2" fmla="*/ 4019 h 5651"/>
                    <a:gd name="connsiteX3" fmla="*/ 0 w 2637"/>
                    <a:gd name="connsiteY3" fmla="*/ 0 h 5651"/>
                  </a:gdLst>
                  <a:ahLst/>
                  <a:cxnLst>
                    <a:cxn ang="0">
                      <a:pos x="connsiteX0" y="connsiteY0"/>
                    </a:cxn>
                    <a:cxn ang="0">
                      <a:pos x="connsiteX1" y="connsiteY1"/>
                    </a:cxn>
                    <a:cxn ang="0">
                      <a:pos x="connsiteX2" y="connsiteY2"/>
                    </a:cxn>
                    <a:cxn ang="0">
                      <a:pos x="connsiteX3" y="connsiteY3"/>
                    </a:cxn>
                  </a:cxnLst>
                  <a:rect l="l" t="t" r="r" b="b"/>
                  <a:pathLst>
                    <a:path w="2637" h="5651">
                      <a:moveTo>
                        <a:pt x="2637" y="0"/>
                      </a:moveTo>
                      <a:lnTo>
                        <a:pt x="2637" y="5652"/>
                      </a:lnTo>
                      <a:lnTo>
                        <a:pt x="0" y="4019"/>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7" name="Freeform: Shape 1646">
                  <a:extLst>
                    <a:ext uri="{FF2B5EF4-FFF2-40B4-BE49-F238E27FC236}">
                      <a16:creationId xmlns:a16="http://schemas.microsoft.com/office/drawing/2014/main" id="{FC44451E-EEAE-4068-9515-2923FE4F7E54}"/>
                    </a:ext>
                  </a:extLst>
                </p:cNvPr>
                <p:cNvSpPr/>
                <p:nvPr/>
              </p:nvSpPr>
              <p:spPr>
                <a:xfrm>
                  <a:off x="3455493" y="1726904"/>
                  <a:ext cx="73975" cy="42702"/>
                </a:xfrm>
                <a:custGeom>
                  <a:avLst/>
                  <a:gdLst>
                    <a:gd name="connsiteX0" fmla="*/ 0 w 73975"/>
                    <a:gd name="connsiteY0" fmla="*/ 20974 h 42702"/>
                    <a:gd name="connsiteX1" fmla="*/ 37553 w 73975"/>
                    <a:gd name="connsiteY1" fmla="*/ 42702 h 42702"/>
                    <a:gd name="connsiteX2" fmla="*/ 73976 w 73975"/>
                    <a:gd name="connsiteY2" fmla="*/ 21728 h 42702"/>
                    <a:gd name="connsiteX3" fmla="*/ 73976 w 73975"/>
                    <a:gd name="connsiteY3" fmla="*/ 20849 h 42702"/>
                    <a:gd name="connsiteX4" fmla="*/ 36423 w 73975"/>
                    <a:gd name="connsiteY4" fmla="*/ 0 h 42702"/>
                    <a:gd name="connsiteX5" fmla="*/ 0 w 73975"/>
                    <a:gd name="connsiteY5" fmla="*/ 20221 h 4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975" h="42702">
                      <a:moveTo>
                        <a:pt x="0" y="20974"/>
                      </a:moveTo>
                      <a:lnTo>
                        <a:pt x="37553" y="42702"/>
                      </a:lnTo>
                      <a:lnTo>
                        <a:pt x="73976" y="21728"/>
                      </a:lnTo>
                      <a:lnTo>
                        <a:pt x="73976" y="20849"/>
                      </a:lnTo>
                      <a:lnTo>
                        <a:pt x="36423" y="0"/>
                      </a:lnTo>
                      <a:lnTo>
                        <a:pt x="0" y="20221"/>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48" name="Graphic 4">
                  <a:extLst>
                    <a:ext uri="{FF2B5EF4-FFF2-40B4-BE49-F238E27FC236}">
                      <a16:creationId xmlns:a16="http://schemas.microsoft.com/office/drawing/2014/main" id="{84FB7ED1-A2DF-40A1-A747-5F7CF3F14040}"/>
                    </a:ext>
                  </a:extLst>
                </p:cNvPr>
                <p:cNvGrpSpPr/>
                <p:nvPr/>
              </p:nvGrpSpPr>
              <p:grpSpPr>
                <a:xfrm>
                  <a:off x="3455493" y="1726150"/>
                  <a:ext cx="73975" cy="42702"/>
                  <a:chOff x="3455493" y="1726150"/>
                  <a:chExt cx="73975" cy="42702"/>
                </a:xfrm>
                <a:solidFill>
                  <a:schemeClr val="accent1"/>
                </a:solidFill>
              </p:grpSpPr>
              <p:sp>
                <p:nvSpPr>
                  <p:cNvPr id="1649" name="Freeform: Shape 1648">
                    <a:extLst>
                      <a:ext uri="{FF2B5EF4-FFF2-40B4-BE49-F238E27FC236}">
                        <a16:creationId xmlns:a16="http://schemas.microsoft.com/office/drawing/2014/main" id="{DD6AD0E3-D02D-4D73-921D-55F93B81558F}"/>
                      </a:ext>
                    </a:extLst>
                  </p:cNvPr>
                  <p:cNvSpPr/>
                  <p:nvPr/>
                </p:nvSpPr>
                <p:spPr>
                  <a:xfrm>
                    <a:off x="3455493" y="1726150"/>
                    <a:ext cx="73975" cy="42702"/>
                  </a:xfrm>
                  <a:custGeom>
                    <a:avLst/>
                    <a:gdLst>
                      <a:gd name="connsiteX0" fmla="*/ 0 w 73975"/>
                      <a:gd name="connsiteY0" fmla="*/ 20974 h 42702"/>
                      <a:gd name="connsiteX1" fmla="*/ 37553 w 73975"/>
                      <a:gd name="connsiteY1" fmla="*/ 42702 h 42702"/>
                      <a:gd name="connsiteX2" fmla="*/ 73976 w 73975"/>
                      <a:gd name="connsiteY2" fmla="*/ 21602 h 42702"/>
                      <a:gd name="connsiteX3" fmla="*/ 36423 w 73975"/>
                      <a:gd name="connsiteY3" fmla="*/ 0 h 42702"/>
                    </a:gdLst>
                    <a:ahLst/>
                    <a:cxnLst>
                      <a:cxn ang="0">
                        <a:pos x="connsiteX0" y="connsiteY0"/>
                      </a:cxn>
                      <a:cxn ang="0">
                        <a:pos x="connsiteX1" y="connsiteY1"/>
                      </a:cxn>
                      <a:cxn ang="0">
                        <a:pos x="connsiteX2" y="connsiteY2"/>
                      </a:cxn>
                      <a:cxn ang="0">
                        <a:pos x="connsiteX3" y="connsiteY3"/>
                      </a:cxn>
                    </a:cxnLst>
                    <a:rect l="l" t="t" r="r" b="b"/>
                    <a:pathLst>
                      <a:path w="73975" h="42702">
                        <a:moveTo>
                          <a:pt x="0" y="20974"/>
                        </a:moveTo>
                        <a:lnTo>
                          <a:pt x="37553" y="42702"/>
                        </a:lnTo>
                        <a:lnTo>
                          <a:pt x="73976" y="21602"/>
                        </a:lnTo>
                        <a:lnTo>
                          <a:pt x="36423"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0" name="Freeform: Shape 1649">
                    <a:extLst>
                      <a:ext uri="{FF2B5EF4-FFF2-40B4-BE49-F238E27FC236}">
                        <a16:creationId xmlns:a16="http://schemas.microsoft.com/office/drawing/2014/main" id="{D103FB16-AD96-4925-8E25-A2E8067EBEAC}"/>
                      </a:ext>
                    </a:extLst>
                  </p:cNvPr>
                  <p:cNvSpPr/>
                  <p:nvPr/>
                </p:nvSpPr>
                <p:spPr>
                  <a:xfrm>
                    <a:off x="3487268" y="1728662"/>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1" name="Freeform: Shape 1650">
                    <a:extLst>
                      <a:ext uri="{FF2B5EF4-FFF2-40B4-BE49-F238E27FC236}">
                        <a16:creationId xmlns:a16="http://schemas.microsoft.com/office/drawing/2014/main" id="{574C33DC-9740-4454-A0F9-F0BA6332B521}"/>
                      </a:ext>
                    </a:extLst>
                  </p:cNvPr>
                  <p:cNvSpPr/>
                  <p:nvPr/>
                </p:nvSpPr>
                <p:spPr>
                  <a:xfrm>
                    <a:off x="3482747" y="1731299"/>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2" name="Freeform: Shape 1651">
                    <a:extLst>
                      <a:ext uri="{FF2B5EF4-FFF2-40B4-BE49-F238E27FC236}">
                        <a16:creationId xmlns:a16="http://schemas.microsoft.com/office/drawing/2014/main" id="{16AE14A1-C7FF-427F-9978-76FA6B435F93}"/>
                      </a:ext>
                    </a:extLst>
                  </p:cNvPr>
                  <p:cNvSpPr/>
                  <p:nvPr/>
                </p:nvSpPr>
                <p:spPr>
                  <a:xfrm>
                    <a:off x="3478225" y="1733937"/>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3" name="Freeform: Shape 1652">
                    <a:extLst>
                      <a:ext uri="{FF2B5EF4-FFF2-40B4-BE49-F238E27FC236}">
                        <a16:creationId xmlns:a16="http://schemas.microsoft.com/office/drawing/2014/main" id="{2332F455-99D0-4117-BD7F-42EEC378AEC7}"/>
                      </a:ext>
                    </a:extLst>
                  </p:cNvPr>
                  <p:cNvSpPr/>
                  <p:nvPr/>
                </p:nvSpPr>
                <p:spPr>
                  <a:xfrm>
                    <a:off x="3473704" y="1736574"/>
                    <a:ext cx="37552" cy="21727"/>
                  </a:xfrm>
                  <a:custGeom>
                    <a:avLst/>
                    <a:gdLst>
                      <a:gd name="connsiteX0" fmla="*/ 0 w 37552"/>
                      <a:gd name="connsiteY0" fmla="*/ 126 h 21727"/>
                      <a:gd name="connsiteX1" fmla="*/ 37553 w 37552"/>
                      <a:gd name="connsiteY1" fmla="*/ 21728 h 21727"/>
                      <a:gd name="connsiteX2" fmla="*/ 37553 w 37552"/>
                      <a:gd name="connsiteY2" fmla="*/ 21728 h 21727"/>
                      <a:gd name="connsiteX3" fmla="*/ 0 w 37552"/>
                      <a:gd name="connsiteY3" fmla="*/ 0 h 21727"/>
                    </a:gdLst>
                    <a:ahLst/>
                    <a:cxnLst>
                      <a:cxn ang="0">
                        <a:pos x="connsiteX0" y="connsiteY0"/>
                      </a:cxn>
                      <a:cxn ang="0">
                        <a:pos x="connsiteX1" y="connsiteY1"/>
                      </a:cxn>
                      <a:cxn ang="0">
                        <a:pos x="connsiteX2" y="connsiteY2"/>
                      </a:cxn>
                      <a:cxn ang="0">
                        <a:pos x="connsiteX3" y="connsiteY3"/>
                      </a:cxn>
                    </a:cxnLst>
                    <a:rect l="l" t="t" r="r" b="b"/>
                    <a:pathLst>
                      <a:path w="37552" h="21727">
                        <a:moveTo>
                          <a:pt x="0" y="126"/>
                        </a:moveTo>
                        <a:lnTo>
                          <a:pt x="37553" y="21728"/>
                        </a:lnTo>
                        <a:lnTo>
                          <a:pt x="37553" y="21728"/>
                        </a:lnTo>
                        <a:lnTo>
                          <a:pt x="0"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4" name="Freeform: Shape 1653">
                    <a:extLst>
                      <a:ext uri="{FF2B5EF4-FFF2-40B4-BE49-F238E27FC236}">
                        <a16:creationId xmlns:a16="http://schemas.microsoft.com/office/drawing/2014/main" id="{74198153-5592-462C-8A2C-EE1AFE0419CE}"/>
                      </a:ext>
                    </a:extLst>
                  </p:cNvPr>
                  <p:cNvSpPr/>
                  <p:nvPr/>
                </p:nvSpPr>
                <p:spPr>
                  <a:xfrm>
                    <a:off x="3469057" y="1739212"/>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5" name="Freeform: Shape 1654">
                    <a:extLst>
                      <a:ext uri="{FF2B5EF4-FFF2-40B4-BE49-F238E27FC236}">
                        <a16:creationId xmlns:a16="http://schemas.microsoft.com/office/drawing/2014/main" id="{095A7368-AE88-4FB1-A8F8-D6A967DA34B2}"/>
                      </a:ext>
                    </a:extLst>
                  </p:cNvPr>
                  <p:cNvSpPr/>
                  <p:nvPr/>
                </p:nvSpPr>
                <p:spPr>
                  <a:xfrm>
                    <a:off x="3464536" y="1741849"/>
                    <a:ext cx="37678" cy="21727"/>
                  </a:xfrm>
                  <a:custGeom>
                    <a:avLst/>
                    <a:gdLst>
                      <a:gd name="connsiteX0" fmla="*/ 0 w 37678"/>
                      <a:gd name="connsiteY0" fmla="*/ 0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0"/>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6" name="Freeform: Shape 1655">
                    <a:extLst>
                      <a:ext uri="{FF2B5EF4-FFF2-40B4-BE49-F238E27FC236}">
                        <a16:creationId xmlns:a16="http://schemas.microsoft.com/office/drawing/2014/main" id="{BE0430EB-F175-414E-AF7A-9BC23B120D7D}"/>
                      </a:ext>
                    </a:extLst>
                  </p:cNvPr>
                  <p:cNvSpPr/>
                  <p:nvPr/>
                </p:nvSpPr>
                <p:spPr>
                  <a:xfrm>
                    <a:off x="3460014" y="1744487"/>
                    <a:ext cx="37678" cy="21727"/>
                  </a:xfrm>
                  <a:custGeom>
                    <a:avLst/>
                    <a:gdLst>
                      <a:gd name="connsiteX0" fmla="*/ 0 w 37678"/>
                      <a:gd name="connsiteY0" fmla="*/ 0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0"/>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57" name="Freeform: Shape 1656">
                  <a:extLst>
                    <a:ext uri="{FF2B5EF4-FFF2-40B4-BE49-F238E27FC236}">
                      <a16:creationId xmlns:a16="http://schemas.microsoft.com/office/drawing/2014/main" id="{92B8DE52-C9CB-4DEC-ABF5-0C62AFD9A984}"/>
                    </a:ext>
                  </a:extLst>
                </p:cNvPr>
                <p:cNvSpPr/>
                <p:nvPr/>
              </p:nvSpPr>
              <p:spPr>
                <a:xfrm>
                  <a:off x="3493046" y="1751395"/>
                  <a:ext cx="36422" cy="21979"/>
                </a:xfrm>
                <a:custGeom>
                  <a:avLst/>
                  <a:gdLst>
                    <a:gd name="connsiteX0" fmla="*/ 0 w 36422"/>
                    <a:gd name="connsiteY0" fmla="*/ 21979 h 21979"/>
                    <a:gd name="connsiteX1" fmla="*/ 0 w 36422"/>
                    <a:gd name="connsiteY1" fmla="*/ 21100 h 21979"/>
                    <a:gd name="connsiteX2" fmla="*/ 36422 w 36422"/>
                    <a:gd name="connsiteY2" fmla="*/ 0 h 21979"/>
                    <a:gd name="connsiteX3" fmla="*/ 36422 w 36422"/>
                    <a:gd name="connsiteY3" fmla="*/ 879 h 21979"/>
                  </a:gdLst>
                  <a:ahLst/>
                  <a:cxnLst>
                    <a:cxn ang="0">
                      <a:pos x="connsiteX0" y="connsiteY0"/>
                    </a:cxn>
                    <a:cxn ang="0">
                      <a:pos x="connsiteX1" y="connsiteY1"/>
                    </a:cxn>
                    <a:cxn ang="0">
                      <a:pos x="connsiteX2" y="connsiteY2"/>
                    </a:cxn>
                    <a:cxn ang="0">
                      <a:pos x="connsiteX3" y="connsiteY3"/>
                    </a:cxn>
                  </a:cxnLst>
                  <a:rect l="l" t="t" r="r" b="b"/>
                  <a:pathLst>
                    <a:path w="36422" h="21979">
                      <a:moveTo>
                        <a:pt x="0" y="21979"/>
                      </a:moveTo>
                      <a:lnTo>
                        <a:pt x="0" y="21100"/>
                      </a:lnTo>
                      <a:lnTo>
                        <a:pt x="36422" y="0"/>
                      </a:lnTo>
                      <a:lnTo>
                        <a:pt x="36422" y="879"/>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8" name="Freeform: Shape 1657">
                  <a:extLst>
                    <a:ext uri="{FF2B5EF4-FFF2-40B4-BE49-F238E27FC236}">
                      <a16:creationId xmlns:a16="http://schemas.microsoft.com/office/drawing/2014/main" id="{E6E165EE-04DA-4439-B5CB-E77EDB8AD2E9}"/>
                    </a:ext>
                  </a:extLst>
                </p:cNvPr>
                <p:cNvSpPr/>
                <p:nvPr/>
              </p:nvSpPr>
              <p:spPr>
                <a:xfrm>
                  <a:off x="3459261" y="1736700"/>
                  <a:ext cx="69328" cy="31398"/>
                </a:xfrm>
                <a:custGeom>
                  <a:avLst/>
                  <a:gdLst>
                    <a:gd name="connsiteX0" fmla="*/ 31399 w 69328"/>
                    <a:gd name="connsiteY0" fmla="*/ 11052 h 31398"/>
                    <a:gd name="connsiteX1" fmla="*/ 31273 w 69328"/>
                    <a:gd name="connsiteY1" fmla="*/ 11052 h 31398"/>
                    <a:gd name="connsiteX2" fmla="*/ 50363 w 69328"/>
                    <a:gd name="connsiteY2" fmla="*/ 0 h 31398"/>
                    <a:gd name="connsiteX3" fmla="*/ 69328 w 69328"/>
                    <a:gd name="connsiteY3" fmla="*/ 10927 h 31398"/>
                    <a:gd name="connsiteX4" fmla="*/ 53252 w 69328"/>
                    <a:gd name="connsiteY4" fmla="*/ 20221 h 31398"/>
                    <a:gd name="connsiteX5" fmla="*/ 53378 w 69328"/>
                    <a:gd name="connsiteY5" fmla="*/ 20221 h 31398"/>
                    <a:gd name="connsiteX6" fmla="*/ 34287 w 69328"/>
                    <a:gd name="connsiteY6" fmla="*/ 31399 h 31398"/>
                    <a:gd name="connsiteX7" fmla="*/ 0 w 69328"/>
                    <a:gd name="connsiteY7" fmla="*/ 10801 h 31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28" h="31398">
                      <a:moveTo>
                        <a:pt x="31399" y="11052"/>
                      </a:moveTo>
                      <a:lnTo>
                        <a:pt x="31273" y="11052"/>
                      </a:lnTo>
                      <a:lnTo>
                        <a:pt x="50363" y="0"/>
                      </a:lnTo>
                      <a:lnTo>
                        <a:pt x="69328" y="10927"/>
                      </a:lnTo>
                      <a:lnTo>
                        <a:pt x="53252" y="20221"/>
                      </a:lnTo>
                      <a:lnTo>
                        <a:pt x="53378" y="20221"/>
                      </a:lnTo>
                      <a:lnTo>
                        <a:pt x="34287" y="31399"/>
                      </a:lnTo>
                      <a:lnTo>
                        <a:pt x="0" y="10801"/>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59" name="Graphic 4">
                  <a:extLst>
                    <a:ext uri="{FF2B5EF4-FFF2-40B4-BE49-F238E27FC236}">
                      <a16:creationId xmlns:a16="http://schemas.microsoft.com/office/drawing/2014/main" id="{84FB7ED1-A2DF-40A1-A747-5F7CF3F14040}"/>
                    </a:ext>
                  </a:extLst>
                </p:cNvPr>
                <p:cNvGrpSpPr/>
                <p:nvPr/>
              </p:nvGrpSpPr>
              <p:grpSpPr>
                <a:xfrm>
                  <a:off x="3459261" y="1708316"/>
                  <a:ext cx="65058" cy="58527"/>
                  <a:chOff x="3459261" y="1708316"/>
                  <a:chExt cx="65058" cy="58527"/>
                </a:xfrm>
                <a:solidFill>
                  <a:schemeClr val="accent1"/>
                </a:solidFill>
              </p:grpSpPr>
              <p:grpSp>
                <p:nvGrpSpPr>
                  <p:cNvPr id="1660" name="Graphic 4">
                    <a:extLst>
                      <a:ext uri="{FF2B5EF4-FFF2-40B4-BE49-F238E27FC236}">
                        <a16:creationId xmlns:a16="http://schemas.microsoft.com/office/drawing/2014/main" id="{84FB7ED1-A2DF-40A1-A747-5F7CF3F14040}"/>
                      </a:ext>
                    </a:extLst>
                  </p:cNvPr>
                  <p:cNvGrpSpPr/>
                  <p:nvPr/>
                </p:nvGrpSpPr>
                <p:grpSpPr>
                  <a:xfrm>
                    <a:off x="3475211" y="1708316"/>
                    <a:ext cx="39688" cy="41697"/>
                    <a:chOff x="3475211" y="1708316"/>
                    <a:chExt cx="39688" cy="41697"/>
                  </a:xfrm>
                  <a:solidFill>
                    <a:schemeClr val="accent1"/>
                  </a:solidFill>
                </p:grpSpPr>
                <p:sp>
                  <p:nvSpPr>
                    <p:cNvPr id="1661" name="Freeform: Shape 1660">
                      <a:extLst>
                        <a:ext uri="{FF2B5EF4-FFF2-40B4-BE49-F238E27FC236}">
                          <a16:creationId xmlns:a16="http://schemas.microsoft.com/office/drawing/2014/main" id="{4C47C956-3D43-4466-BD68-D30BBD2D7BC9}"/>
                        </a:ext>
                      </a:extLst>
                    </p:cNvPr>
                    <p:cNvSpPr/>
                    <p:nvPr/>
                  </p:nvSpPr>
                  <p:spPr>
                    <a:xfrm>
                      <a:off x="3476718" y="1728034"/>
                      <a:ext cx="38180" cy="21979"/>
                    </a:xfrm>
                    <a:custGeom>
                      <a:avLst/>
                      <a:gdLst>
                        <a:gd name="connsiteX0" fmla="*/ 38181 w 38180"/>
                        <a:gd name="connsiteY0" fmla="*/ 10927 h 21979"/>
                        <a:gd name="connsiteX1" fmla="*/ 18965 w 38180"/>
                        <a:gd name="connsiteY1" fmla="*/ 21979 h 21979"/>
                        <a:gd name="connsiteX2" fmla="*/ 0 w 38180"/>
                        <a:gd name="connsiteY2" fmla="*/ 11052 h 21979"/>
                        <a:gd name="connsiteX3" fmla="*/ 19216 w 38180"/>
                        <a:gd name="connsiteY3" fmla="*/ 0 h 21979"/>
                      </a:gdLst>
                      <a:ahLst/>
                      <a:cxnLst>
                        <a:cxn ang="0">
                          <a:pos x="connsiteX0" y="connsiteY0"/>
                        </a:cxn>
                        <a:cxn ang="0">
                          <a:pos x="connsiteX1" y="connsiteY1"/>
                        </a:cxn>
                        <a:cxn ang="0">
                          <a:pos x="connsiteX2" y="connsiteY2"/>
                        </a:cxn>
                        <a:cxn ang="0">
                          <a:pos x="connsiteX3" y="connsiteY3"/>
                        </a:cxn>
                      </a:cxnLst>
                      <a:rect l="l" t="t" r="r" b="b"/>
                      <a:pathLst>
                        <a:path w="38180" h="21979">
                          <a:moveTo>
                            <a:pt x="38181" y="10927"/>
                          </a:moveTo>
                          <a:lnTo>
                            <a:pt x="18965" y="21979"/>
                          </a:lnTo>
                          <a:lnTo>
                            <a:pt x="0" y="11052"/>
                          </a:lnTo>
                          <a:lnTo>
                            <a:pt x="19216"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62" name="Graphic 4">
                      <a:extLst>
                        <a:ext uri="{FF2B5EF4-FFF2-40B4-BE49-F238E27FC236}">
                          <a16:creationId xmlns:a16="http://schemas.microsoft.com/office/drawing/2014/main" id="{84FB7ED1-A2DF-40A1-A747-5F7CF3F14040}"/>
                        </a:ext>
                      </a:extLst>
                    </p:cNvPr>
                    <p:cNvGrpSpPr/>
                    <p:nvPr/>
                  </p:nvGrpSpPr>
                  <p:grpSpPr>
                    <a:xfrm>
                      <a:off x="3475211" y="1708316"/>
                      <a:ext cx="31901" cy="39311"/>
                      <a:chOff x="3475211" y="1708316"/>
                      <a:chExt cx="31901" cy="39311"/>
                    </a:xfrm>
                    <a:solidFill>
                      <a:schemeClr val="accent1"/>
                    </a:solidFill>
                  </p:grpSpPr>
                  <p:sp>
                    <p:nvSpPr>
                      <p:cNvPr id="1663" name="Freeform: Shape 1662">
                        <a:extLst>
                          <a:ext uri="{FF2B5EF4-FFF2-40B4-BE49-F238E27FC236}">
                            <a16:creationId xmlns:a16="http://schemas.microsoft.com/office/drawing/2014/main" id="{3236D9CA-3A5F-4F0E-A8B8-AA5DB9E13BAE}"/>
                          </a:ext>
                        </a:extLst>
                      </p:cNvPr>
                      <p:cNvSpPr/>
                      <p:nvPr/>
                    </p:nvSpPr>
                    <p:spPr>
                      <a:xfrm>
                        <a:off x="3475211" y="1708316"/>
                        <a:ext cx="31775" cy="18211"/>
                      </a:xfrm>
                      <a:custGeom>
                        <a:avLst/>
                        <a:gdLst>
                          <a:gd name="connsiteX0" fmla="*/ 0 w 31775"/>
                          <a:gd name="connsiteY0" fmla="*/ 8792 h 18211"/>
                          <a:gd name="connsiteX1" fmla="*/ 0 w 31775"/>
                          <a:gd name="connsiteY1" fmla="*/ 8792 h 18211"/>
                          <a:gd name="connsiteX2" fmla="*/ 16328 w 31775"/>
                          <a:gd name="connsiteY2" fmla="*/ 18211 h 18211"/>
                          <a:gd name="connsiteX3" fmla="*/ 23361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7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8" y="18211"/>
                            </a:lnTo>
                            <a:lnTo>
                              <a:pt x="23361" y="14192"/>
                            </a:lnTo>
                            <a:lnTo>
                              <a:pt x="25370" y="13062"/>
                            </a:lnTo>
                            <a:lnTo>
                              <a:pt x="31775" y="9420"/>
                            </a:lnTo>
                            <a:lnTo>
                              <a:pt x="15323" y="0"/>
                            </a:lnTo>
                            <a:lnTo>
                              <a:pt x="8917"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4" name="Freeform: Shape 1663">
                        <a:extLst>
                          <a:ext uri="{FF2B5EF4-FFF2-40B4-BE49-F238E27FC236}">
                            <a16:creationId xmlns:a16="http://schemas.microsoft.com/office/drawing/2014/main" id="{4A1FB2F1-963A-46C1-8364-A8BF462B3121}"/>
                          </a:ext>
                        </a:extLst>
                      </p:cNvPr>
                      <p:cNvSpPr/>
                      <p:nvPr/>
                    </p:nvSpPr>
                    <p:spPr>
                      <a:xfrm>
                        <a:off x="3475839" y="1708441"/>
                        <a:ext cx="30770" cy="17708"/>
                      </a:xfrm>
                      <a:custGeom>
                        <a:avLst/>
                        <a:gdLst>
                          <a:gd name="connsiteX0" fmla="*/ 0 w 30770"/>
                          <a:gd name="connsiteY0" fmla="*/ 8666 h 17708"/>
                          <a:gd name="connsiteX1" fmla="*/ 15825 w 30770"/>
                          <a:gd name="connsiteY1" fmla="*/ 17709 h 17708"/>
                          <a:gd name="connsiteX2" fmla="*/ 30770 w 30770"/>
                          <a:gd name="connsiteY2" fmla="*/ 9168 h 17708"/>
                          <a:gd name="connsiteX3" fmla="*/ 14945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0" y="9168"/>
                            </a:lnTo>
                            <a:lnTo>
                              <a:pt x="14945"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5" name="Freeform: Shape 1664">
                        <a:extLst>
                          <a:ext uri="{FF2B5EF4-FFF2-40B4-BE49-F238E27FC236}">
                            <a16:creationId xmlns:a16="http://schemas.microsoft.com/office/drawing/2014/main" id="{89DABE5E-7264-4C92-8549-DDAF8881CBE8}"/>
                          </a:ext>
                        </a:extLst>
                      </p:cNvPr>
                      <p:cNvSpPr/>
                      <p:nvPr/>
                    </p:nvSpPr>
                    <p:spPr>
                      <a:xfrm>
                        <a:off x="3491539" y="1717610"/>
                        <a:ext cx="15573" cy="30017"/>
                      </a:xfrm>
                      <a:custGeom>
                        <a:avLst/>
                        <a:gdLst>
                          <a:gd name="connsiteX0" fmla="*/ 0 w 15573"/>
                          <a:gd name="connsiteY0" fmla="*/ 8917 h 30017"/>
                          <a:gd name="connsiteX1" fmla="*/ 125 w 15573"/>
                          <a:gd name="connsiteY1" fmla="*/ 30017 h 30017"/>
                          <a:gd name="connsiteX2" fmla="*/ 7159 w 15573"/>
                          <a:gd name="connsiteY2" fmla="*/ 25998 h 30017"/>
                          <a:gd name="connsiteX3" fmla="*/ 9168 w 15573"/>
                          <a:gd name="connsiteY3" fmla="*/ 24742 h 30017"/>
                          <a:gd name="connsiteX4" fmla="*/ 15574 w 15573"/>
                          <a:gd name="connsiteY4" fmla="*/ 21100 h 30017"/>
                          <a:gd name="connsiteX5" fmla="*/ 15574 w 15573"/>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73" h="30017">
                            <a:moveTo>
                              <a:pt x="0" y="8917"/>
                            </a:moveTo>
                            <a:lnTo>
                              <a:pt x="125" y="30017"/>
                            </a:lnTo>
                            <a:lnTo>
                              <a:pt x="7159" y="25998"/>
                            </a:lnTo>
                            <a:lnTo>
                              <a:pt x="9168" y="24742"/>
                            </a:lnTo>
                            <a:lnTo>
                              <a:pt x="15574" y="21100"/>
                            </a:lnTo>
                            <a:lnTo>
                              <a:pt x="15574"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6" name="Freeform: Shape 1665">
                        <a:extLst>
                          <a:ext uri="{FF2B5EF4-FFF2-40B4-BE49-F238E27FC236}">
                            <a16:creationId xmlns:a16="http://schemas.microsoft.com/office/drawing/2014/main" id="{3123A234-36A8-4E55-8B0D-DEACC1E80F70}"/>
                          </a:ext>
                        </a:extLst>
                      </p:cNvPr>
                      <p:cNvSpPr/>
                      <p:nvPr/>
                    </p:nvSpPr>
                    <p:spPr>
                      <a:xfrm>
                        <a:off x="3475211" y="1717107"/>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67" name="Freeform: Shape 1666">
                      <a:extLst>
                        <a:ext uri="{FF2B5EF4-FFF2-40B4-BE49-F238E27FC236}">
                          <a16:creationId xmlns:a16="http://schemas.microsoft.com/office/drawing/2014/main" id="{B1F1990E-0865-4F1C-B4C6-18700271A4D0}"/>
                        </a:ext>
                      </a:extLst>
                    </p:cNvPr>
                    <p:cNvSpPr/>
                    <p:nvPr/>
                  </p:nvSpPr>
                  <p:spPr>
                    <a:xfrm>
                      <a:off x="3498697" y="1721252"/>
                      <a:ext cx="2009" cy="22355"/>
                    </a:xfrm>
                    <a:custGeom>
                      <a:avLst/>
                      <a:gdLst>
                        <a:gd name="connsiteX0" fmla="*/ 0 w 2009"/>
                        <a:gd name="connsiteY0" fmla="*/ 1256 h 22355"/>
                        <a:gd name="connsiteX1" fmla="*/ 0 w 2009"/>
                        <a:gd name="connsiteY1" fmla="*/ 22356 h 22355"/>
                        <a:gd name="connsiteX2" fmla="*/ 2010 w 2009"/>
                        <a:gd name="connsiteY2" fmla="*/ 21100 h 22355"/>
                        <a:gd name="connsiteX3" fmla="*/ 2010 w 2009"/>
                        <a:gd name="connsiteY3" fmla="*/ 0 h 22355"/>
                      </a:gdLst>
                      <a:ahLst/>
                      <a:cxnLst>
                        <a:cxn ang="0">
                          <a:pos x="connsiteX0" y="connsiteY0"/>
                        </a:cxn>
                        <a:cxn ang="0">
                          <a:pos x="connsiteX1" y="connsiteY1"/>
                        </a:cxn>
                        <a:cxn ang="0">
                          <a:pos x="connsiteX2" y="connsiteY2"/>
                        </a:cxn>
                        <a:cxn ang="0">
                          <a:pos x="connsiteX3" y="connsiteY3"/>
                        </a:cxn>
                      </a:cxnLst>
                      <a:rect l="l" t="t" r="r" b="b"/>
                      <a:pathLst>
                        <a:path w="2009" h="22355">
                          <a:moveTo>
                            <a:pt x="0" y="1256"/>
                          </a:moveTo>
                          <a:lnTo>
                            <a:pt x="0" y="22356"/>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8" name="Freeform: Shape 1667">
                      <a:extLst>
                        <a:ext uri="{FF2B5EF4-FFF2-40B4-BE49-F238E27FC236}">
                          <a16:creationId xmlns:a16="http://schemas.microsoft.com/office/drawing/2014/main" id="{0F9BD362-E884-46DE-B1F8-4A849680FB28}"/>
                        </a:ext>
                      </a:extLst>
                    </p:cNvPr>
                    <p:cNvSpPr/>
                    <p:nvPr/>
                  </p:nvSpPr>
                  <p:spPr>
                    <a:xfrm>
                      <a:off x="3482245" y="1711832"/>
                      <a:ext cx="18462" cy="10675"/>
                    </a:xfrm>
                    <a:custGeom>
                      <a:avLst/>
                      <a:gdLst>
                        <a:gd name="connsiteX0" fmla="*/ 0 w 18462"/>
                        <a:gd name="connsiteY0" fmla="*/ 1130 h 10675"/>
                        <a:gd name="connsiteX1" fmla="*/ 5652 w 18462"/>
                        <a:gd name="connsiteY1" fmla="*/ 4521 h 10675"/>
                        <a:gd name="connsiteX2" fmla="*/ 7787 w 18462"/>
                        <a:gd name="connsiteY2" fmla="*/ 5652 h 10675"/>
                        <a:gd name="connsiteX3" fmla="*/ 16453 w 18462"/>
                        <a:gd name="connsiteY3" fmla="*/ 10676 h 10675"/>
                        <a:gd name="connsiteX4" fmla="*/ 16453 w 18462"/>
                        <a:gd name="connsiteY4" fmla="*/ 10676 h 10675"/>
                        <a:gd name="connsiteX5" fmla="*/ 18462 w 18462"/>
                        <a:gd name="connsiteY5" fmla="*/ 9420 h 10675"/>
                        <a:gd name="connsiteX6" fmla="*/ 18462 w 18462"/>
                        <a:gd name="connsiteY6" fmla="*/ 9420 h 10675"/>
                        <a:gd name="connsiteX7" fmla="*/ 9796 w 18462"/>
                        <a:gd name="connsiteY7" fmla="*/ 4521 h 10675"/>
                        <a:gd name="connsiteX8" fmla="*/ 7787 w 18462"/>
                        <a:gd name="connsiteY8" fmla="*/ 3265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130"/>
                          </a:moveTo>
                          <a:lnTo>
                            <a:pt x="5652" y="4521"/>
                          </a:lnTo>
                          <a:lnTo>
                            <a:pt x="7787" y="5652"/>
                          </a:lnTo>
                          <a:lnTo>
                            <a:pt x="16453" y="10676"/>
                          </a:lnTo>
                          <a:lnTo>
                            <a:pt x="16453" y="10676"/>
                          </a:lnTo>
                          <a:lnTo>
                            <a:pt x="18462" y="9420"/>
                          </a:lnTo>
                          <a:lnTo>
                            <a:pt x="18462" y="9420"/>
                          </a:lnTo>
                          <a:lnTo>
                            <a:pt x="9796" y="4521"/>
                          </a:lnTo>
                          <a:lnTo>
                            <a:pt x="7787" y="3265"/>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69" name="Graphic 4">
                    <a:extLst>
                      <a:ext uri="{FF2B5EF4-FFF2-40B4-BE49-F238E27FC236}">
                        <a16:creationId xmlns:a16="http://schemas.microsoft.com/office/drawing/2014/main" id="{84FB7ED1-A2DF-40A1-A747-5F7CF3F14040}"/>
                      </a:ext>
                    </a:extLst>
                  </p:cNvPr>
                  <p:cNvGrpSpPr/>
                  <p:nvPr/>
                </p:nvGrpSpPr>
                <p:grpSpPr>
                  <a:xfrm>
                    <a:off x="3492418" y="1718238"/>
                    <a:ext cx="31901" cy="39311"/>
                    <a:chOff x="3492418" y="1718238"/>
                    <a:chExt cx="31901" cy="39311"/>
                  </a:xfrm>
                  <a:solidFill>
                    <a:schemeClr val="accent1"/>
                  </a:solidFill>
                </p:grpSpPr>
                <p:grpSp>
                  <p:nvGrpSpPr>
                    <p:cNvPr id="1670" name="Graphic 4">
                      <a:extLst>
                        <a:ext uri="{FF2B5EF4-FFF2-40B4-BE49-F238E27FC236}">
                          <a16:creationId xmlns:a16="http://schemas.microsoft.com/office/drawing/2014/main" id="{84FB7ED1-A2DF-40A1-A747-5F7CF3F14040}"/>
                        </a:ext>
                      </a:extLst>
                    </p:cNvPr>
                    <p:cNvGrpSpPr/>
                    <p:nvPr/>
                  </p:nvGrpSpPr>
                  <p:grpSpPr>
                    <a:xfrm>
                      <a:off x="3492418" y="1718238"/>
                      <a:ext cx="31901" cy="39311"/>
                      <a:chOff x="3492418" y="1718238"/>
                      <a:chExt cx="31901" cy="39311"/>
                    </a:xfrm>
                    <a:solidFill>
                      <a:schemeClr val="accent1"/>
                    </a:solidFill>
                  </p:grpSpPr>
                  <p:sp>
                    <p:nvSpPr>
                      <p:cNvPr id="1671" name="Freeform: Shape 1670">
                        <a:extLst>
                          <a:ext uri="{FF2B5EF4-FFF2-40B4-BE49-F238E27FC236}">
                            <a16:creationId xmlns:a16="http://schemas.microsoft.com/office/drawing/2014/main" id="{A31FA1C6-7465-46F1-B126-3B0F46E6774E}"/>
                          </a:ext>
                        </a:extLst>
                      </p:cNvPr>
                      <p:cNvSpPr/>
                      <p:nvPr/>
                    </p:nvSpPr>
                    <p:spPr>
                      <a:xfrm>
                        <a:off x="3492418" y="1718238"/>
                        <a:ext cx="31775" cy="18211"/>
                      </a:xfrm>
                      <a:custGeom>
                        <a:avLst/>
                        <a:gdLst>
                          <a:gd name="connsiteX0" fmla="*/ 0 w 31775"/>
                          <a:gd name="connsiteY0" fmla="*/ 8792 h 18211"/>
                          <a:gd name="connsiteX1" fmla="*/ 0 w 31775"/>
                          <a:gd name="connsiteY1" fmla="*/ 8792 h 18211"/>
                          <a:gd name="connsiteX2" fmla="*/ 16328 w 31775"/>
                          <a:gd name="connsiteY2" fmla="*/ 18211 h 18211"/>
                          <a:gd name="connsiteX3" fmla="*/ 23361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8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8" y="18211"/>
                            </a:lnTo>
                            <a:lnTo>
                              <a:pt x="23361" y="14192"/>
                            </a:lnTo>
                            <a:lnTo>
                              <a:pt x="25370" y="13062"/>
                            </a:lnTo>
                            <a:lnTo>
                              <a:pt x="31775" y="9420"/>
                            </a:lnTo>
                            <a:lnTo>
                              <a:pt x="15323" y="0"/>
                            </a:lnTo>
                            <a:lnTo>
                              <a:pt x="8918"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2" name="Freeform: Shape 1671">
                        <a:extLst>
                          <a:ext uri="{FF2B5EF4-FFF2-40B4-BE49-F238E27FC236}">
                            <a16:creationId xmlns:a16="http://schemas.microsoft.com/office/drawing/2014/main" id="{2DBA077F-6292-456D-8030-ABD075ACEB3D}"/>
                          </a:ext>
                        </a:extLst>
                      </p:cNvPr>
                      <p:cNvSpPr/>
                      <p:nvPr/>
                    </p:nvSpPr>
                    <p:spPr>
                      <a:xfrm>
                        <a:off x="3492920" y="1718363"/>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3" name="Freeform: Shape 1672">
                        <a:extLst>
                          <a:ext uri="{FF2B5EF4-FFF2-40B4-BE49-F238E27FC236}">
                            <a16:creationId xmlns:a16="http://schemas.microsoft.com/office/drawing/2014/main" id="{9BDD0C11-F7A8-4BF4-848B-5CAA575E0ABB}"/>
                          </a:ext>
                        </a:extLst>
                      </p:cNvPr>
                      <p:cNvSpPr/>
                      <p:nvPr/>
                    </p:nvSpPr>
                    <p:spPr>
                      <a:xfrm>
                        <a:off x="3508745" y="1727532"/>
                        <a:ext cx="15573" cy="30017"/>
                      </a:xfrm>
                      <a:custGeom>
                        <a:avLst/>
                        <a:gdLst>
                          <a:gd name="connsiteX0" fmla="*/ 0 w 15573"/>
                          <a:gd name="connsiteY0" fmla="*/ 8917 h 30017"/>
                          <a:gd name="connsiteX1" fmla="*/ 125 w 15573"/>
                          <a:gd name="connsiteY1" fmla="*/ 30017 h 30017"/>
                          <a:gd name="connsiteX2" fmla="*/ 7159 w 15573"/>
                          <a:gd name="connsiteY2" fmla="*/ 25998 h 30017"/>
                          <a:gd name="connsiteX3" fmla="*/ 9168 w 15573"/>
                          <a:gd name="connsiteY3" fmla="*/ 24742 h 30017"/>
                          <a:gd name="connsiteX4" fmla="*/ 15574 w 15573"/>
                          <a:gd name="connsiteY4" fmla="*/ 21226 h 30017"/>
                          <a:gd name="connsiteX5" fmla="*/ 15574 w 15573"/>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73" h="30017">
                            <a:moveTo>
                              <a:pt x="0" y="8917"/>
                            </a:moveTo>
                            <a:lnTo>
                              <a:pt x="125" y="30017"/>
                            </a:lnTo>
                            <a:lnTo>
                              <a:pt x="7159" y="25998"/>
                            </a:lnTo>
                            <a:lnTo>
                              <a:pt x="9168" y="24742"/>
                            </a:lnTo>
                            <a:lnTo>
                              <a:pt x="15574" y="21226"/>
                            </a:lnTo>
                            <a:lnTo>
                              <a:pt x="15574"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4" name="Freeform: Shape 1673">
                        <a:extLst>
                          <a:ext uri="{FF2B5EF4-FFF2-40B4-BE49-F238E27FC236}">
                            <a16:creationId xmlns:a16="http://schemas.microsoft.com/office/drawing/2014/main" id="{D8673137-19C0-4B54-B2AA-DA7A60254B02}"/>
                          </a:ext>
                        </a:extLst>
                      </p:cNvPr>
                      <p:cNvSpPr/>
                      <p:nvPr/>
                    </p:nvSpPr>
                    <p:spPr>
                      <a:xfrm>
                        <a:off x="3492418" y="1727029"/>
                        <a:ext cx="16452" cy="30519"/>
                      </a:xfrm>
                      <a:custGeom>
                        <a:avLst/>
                        <a:gdLst>
                          <a:gd name="connsiteX0" fmla="*/ 0 w 16452"/>
                          <a:gd name="connsiteY0" fmla="*/ 0 h 30519"/>
                          <a:gd name="connsiteX1" fmla="*/ 0 w 16452"/>
                          <a:gd name="connsiteY1" fmla="*/ 21100 h 30519"/>
                          <a:gd name="connsiteX2" fmla="*/ 16453 w 16452"/>
                          <a:gd name="connsiteY2" fmla="*/ 30519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19"/>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75" name="Freeform: Shape 1674">
                      <a:extLst>
                        <a:ext uri="{FF2B5EF4-FFF2-40B4-BE49-F238E27FC236}">
                          <a16:creationId xmlns:a16="http://schemas.microsoft.com/office/drawing/2014/main" id="{0762E87F-45B8-4743-878B-F3671452A013}"/>
                        </a:ext>
                      </a:extLst>
                    </p:cNvPr>
                    <p:cNvSpPr/>
                    <p:nvPr/>
                  </p:nvSpPr>
                  <p:spPr>
                    <a:xfrm>
                      <a:off x="3515904" y="1731299"/>
                      <a:ext cx="2009" cy="22230"/>
                    </a:xfrm>
                    <a:custGeom>
                      <a:avLst/>
                      <a:gdLst>
                        <a:gd name="connsiteX0" fmla="*/ 0 w 2009"/>
                        <a:gd name="connsiteY0" fmla="*/ 1130 h 22230"/>
                        <a:gd name="connsiteX1" fmla="*/ 0 w 2009"/>
                        <a:gd name="connsiteY1" fmla="*/ 22230 h 22230"/>
                        <a:gd name="connsiteX2" fmla="*/ 2010 w 2009"/>
                        <a:gd name="connsiteY2" fmla="*/ 20974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0974"/>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6" name="Freeform: Shape 1675">
                      <a:extLst>
                        <a:ext uri="{FF2B5EF4-FFF2-40B4-BE49-F238E27FC236}">
                          <a16:creationId xmlns:a16="http://schemas.microsoft.com/office/drawing/2014/main" id="{705B672B-4343-4DF6-BF28-BEEC3BA32716}"/>
                        </a:ext>
                      </a:extLst>
                    </p:cNvPr>
                    <p:cNvSpPr/>
                    <p:nvPr/>
                  </p:nvSpPr>
                  <p:spPr>
                    <a:xfrm>
                      <a:off x="3499451" y="1721754"/>
                      <a:ext cx="18462" cy="10675"/>
                    </a:xfrm>
                    <a:custGeom>
                      <a:avLst/>
                      <a:gdLst>
                        <a:gd name="connsiteX0" fmla="*/ 0 w 18462"/>
                        <a:gd name="connsiteY0" fmla="*/ 1130 h 10675"/>
                        <a:gd name="connsiteX1" fmla="*/ 5652 w 18462"/>
                        <a:gd name="connsiteY1" fmla="*/ 4521 h 10675"/>
                        <a:gd name="connsiteX2" fmla="*/ 7787 w 18462"/>
                        <a:gd name="connsiteY2" fmla="*/ 5652 h 10675"/>
                        <a:gd name="connsiteX3" fmla="*/ 16328 w 18462"/>
                        <a:gd name="connsiteY3" fmla="*/ 10676 h 10675"/>
                        <a:gd name="connsiteX4" fmla="*/ 16453 w 18462"/>
                        <a:gd name="connsiteY4" fmla="*/ 10676 h 10675"/>
                        <a:gd name="connsiteX5" fmla="*/ 18462 w 18462"/>
                        <a:gd name="connsiteY5" fmla="*/ 9545 h 10675"/>
                        <a:gd name="connsiteX6" fmla="*/ 18462 w 18462"/>
                        <a:gd name="connsiteY6" fmla="*/ 9420 h 10675"/>
                        <a:gd name="connsiteX7" fmla="*/ 9796 w 18462"/>
                        <a:gd name="connsiteY7" fmla="*/ 4521 h 10675"/>
                        <a:gd name="connsiteX8" fmla="*/ 7787 w 18462"/>
                        <a:gd name="connsiteY8" fmla="*/ 3265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130"/>
                          </a:moveTo>
                          <a:lnTo>
                            <a:pt x="5652" y="4521"/>
                          </a:lnTo>
                          <a:lnTo>
                            <a:pt x="7787" y="5652"/>
                          </a:lnTo>
                          <a:lnTo>
                            <a:pt x="16328" y="10676"/>
                          </a:lnTo>
                          <a:lnTo>
                            <a:pt x="16453" y="10676"/>
                          </a:lnTo>
                          <a:lnTo>
                            <a:pt x="18462" y="9545"/>
                          </a:lnTo>
                          <a:lnTo>
                            <a:pt x="18462" y="9420"/>
                          </a:lnTo>
                          <a:lnTo>
                            <a:pt x="9796" y="4521"/>
                          </a:lnTo>
                          <a:lnTo>
                            <a:pt x="7787" y="3265"/>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77" name="Graphic 4">
                    <a:extLst>
                      <a:ext uri="{FF2B5EF4-FFF2-40B4-BE49-F238E27FC236}">
                        <a16:creationId xmlns:a16="http://schemas.microsoft.com/office/drawing/2014/main" id="{84FB7ED1-A2DF-40A1-A747-5F7CF3F14040}"/>
                      </a:ext>
                    </a:extLst>
                  </p:cNvPr>
                  <p:cNvGrpSpPr/>
                  <p:nvPr/>
                </p:nvGrpSpPr>
                <p:grpSpPr>
                  <a:xfrm>
                    <a:off x="3459261" y="1717610"/>
                    <a:ext cx="39688" cy="41697"/>
                    <a:chOff x="3459261" y="1717610"/>
                    <a:chExt cx="39688" cy="41697"/>
                  </a:xfrm>
                  <a:solidFill>
                    <a:schemeClr val="accent1"/>
                  </a:solidFill>
                </p:grpSpPr>
                <p:sp>
                  <p:nvSpPr>
                    <p:cNvPr id="1678" name="Freeform: Shape 1677">
                      <a:extLst>
                        <a:ext uri="{FF2B5EF4-FFF2-40B4-BE49-F238E27FC236}">
                          <a16:creationId xmlns:a16="http://schemas.microsoft.com/office/drawing/2014/main" id="{2B96D12E-1A6D-418E-B728-147B90E20AA3}"/>
                        </a:ext>
                      </a:extLst>
                    </p:cNvPr>
                    <p:cNvSpPr/>
                    <p:nvPr/>
                  </p:nvSpPr>
                  <p:spPr>
                    <a:xfrm>
                      <a:off x="3460768" y="1737328"/>
                      <a:ext cx="38180" cy="21979"/>
                    </a:xfrm>
                    <a:custGeom>
                      <a:avLst/>
                      <a:gdLst>
                        <a:gd name="connsiteX0" fmla="*/ 38181 w 38180"/>
                        <a:gd name="connsiteY0" fmla="*/ 10927 h 21979"/>
                        <a:gd name="connsiteX1" fmla="*/ 18965 w 38180"/>
                        <a:gd name="connsiteY1" fmla="*/ 21979 h 21979"/>
                        <a:gd name="connsiteX2" fmla="*/ 0 w 38180"/>
                        <a:gd name="connsiteY2" fmla="*/ 11052 h 21979"/>
                        <a:gd name="connsiteX3" fmla="*/ 19216 w 38180"/>
                        <a:gd name="connsiteY3" fmla="*/ 0 h 21979"/>
                      </a:gdLst>
                      <a:ahLst/>
                      <a:cxnLst>
                        <a:cxn ang="0">
                          <a:pos x="connsiteX0" y="connsiteY0"/>
                        </a:cxn>
                        <a:cxn ang="0">
                          <a:pos x="connsiteX1" y="connsiteY1"/>
                        </a:cxn>
                        <a:cxn ang="0">
                          <a:pos x="connsiteX2" y="connsiteY2"/>
                        </a:cxn>
                        <a:cxn ang="0">
                          <a:pos x="connsiteX3" y="connsiteY3"/>
                        </a:cxn>
                      </a:cxnLst>
                      <a:rect l="l" t="t" r="r" b="b"/>
                      <a:pathLst>
                        <a:path w="38180" h="21979">
                          <a:moveTo>
                            <a:pt x="38181" y="10927"/>
                          </a:moveTo>
                          <a:lnTo>
                            <a:pt x="18965" y="21979"/>
                          </a:lnTo>
                          <a:lnTo>
                            <a:pt x="0" y="11052"/>
                          </a:lnTo>
                          <a:lnTo>
                            <a:pt x="19216"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79" name="Graphic 4">
                      <a:extLst>
                        <a:ext uri="{FF2B5EF4-FFF2-40B4-BE49-F238E27FC236}">
                          <a16:creationId xmlns:a16="http://schemas.microsoft.com/office/drawing/2014/main" id="{84FB7ED1-A2DF-40A1-A747-5F7CF3F14040}"/>
                        </a:ext>
                      </a:extLst>
                    </p:cNvPr>
                    <p:cNvGrpSpPr/>
                    <p:nvPr/>
                  </p:nvGrpSpPr>
                  <p:grpSpPr>
                    <a:xfrm>
                      <a:off x="3459261" y="1717610"/>
                      <a:ext cx="31901" cy="39311"/>
                      <a:chOff x="3459261" y="1717610"/>
                      <a:chExt cx="31901" cy="39311"/>
                    </a:xfrm>
                    <a:solidFill>
                      <a:schemeClr val="accent1"/>
                    </a:solidFill>
                  </p:grpSpPr>
                  <p:sp>
                    <p:nvSpPr>
                      <p:cNvPr id="1680" name="Freeform: Shape 1679">
                        <a:extLst>
                          <a:ext uri="{FF2B5EF4-FFF2-40B4-BE49-F238E27FC236}">
                            <a16:creationId xmlns:a16="http://schemas.microsoft.com/office/drawing/2014/main" id="{A49F2C40-1503-4043-A3EF-EDB457EDD120}"/>
                          </a:ext>
                        </a:extLst>
                      </p:cNvPr>
                      <p:cNvSpPr/>
                      <p:nvPr/>
                    </p:nvSpPr>
                    <p:spPr>
                      <a:xfrm>
                        <a:off x="3459261" y="1717610"/>
                        <a:ext cx="31775" cy="18211"/>
                      </a:xfrm>
                      <a:custGeom>
                        <a:avLst/>
                        <a:gdLst>
                          <a:gd name="connsiteX0" fmla="*/ 0 w 31775"/>
                          <a:gd name="connsiteY0" fmla="*/ 8792 h 18211"/>
                          <a:gd name="connsiteX1" fmla="*/ 0 w 31775"/>
                          <a:gd name="connsiteY1" fmla="*/ 8792 h 18211"/>
                          <a:gd name="connsiteX2" fmla="*/ 16327 w 31775"/>
                          <a:gd name="connsiteY2" fmla="*/ 18211 h 18211"/>
                          <a:gd name="connsiteX3" fmla="*/ 23360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7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7" y="18211"/>
                            </a:lnTo>
                            <a:lnTo>
                              <a:pt x="23360" y="14192"/>
                            </a:lnTo>
                            <a:lnTo>
                              <a:pt x="25370" y="13062"/>
                            </a:lnTo>
                            <a:lnTo>
                              <a:pt x="31775" y="9420"/>
                            </a:lnTo>
                            <a:lnTo>
                              <a:pt x="15323" y="0"/>
                            </a:lnTo>
                            <a:lnTo>
                              <a:pt x="8917"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1" name="Freeform: Shape 1680">
                        <a:extLst>
                          <a:ext uri="{FF2B5EF4-FFF2-40B4-BE49-F238E27FC236}">
                            <a16:creationId xmlns:a16="http://schemas.microsoft.com/office/drawing/2014/main" id="{365E7DE9-4385-4C50-8059-B5F3D866F915}"/>
                          </a:ext>
                        </a:extLst>
                      </p:cNvPr>
                      <p:cNvSpPr/>
                      <p:nvPr/>
                    </p:nvSpPr>
                    <p:spPr>
                      <a:xfrm>
                        <a:off x="3459889" y="1717735"/>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2" name="Freeform: Shape 1681">
                        <a:extLst>
                          <a:ext uri="{FF2B5EF4-FFF2-40B4-BE49-F238E27FC236}">
                            <a16:creationId xmlns:a16="http://schemas.microsoft.com/office/drawing/2014/main" id="{F3B2F7D8-EAEE-499D-BB6C-44398AC376EC}"/>
                          </a:ext>
                        </a:extLst>
                      </p:cNvPr>
                      <p:cNvSpPr/>
                      <p:nvPr/>
                    </p:nvSpPr>
                    <p:spPr>
                      <a:xfrm>
                        <a:off x="3475714" y="1726904"/>
                        <a:ext cx="15448" cy="30017"/>
                      </a:xfrm>
                      <a:custGeom>
                        <a:avLst/>
                        <a:gdLst>
                          <a:gd name="connsiteX0" fmla="*/ 0 w 15448"/>
                          <a:gd name="connsiteY0" fmla="*/ 8917 h 30017"/>
                          <a:gd name="connsiteX1" fmla="*/ 0 w 15448"/>
                          <a:gd name="connsiteY1" fmla="*/ 30017 h 30017"/>
                          <a:gd name="connsiteX2" fmla="*/ 7033 w 15448"/>
                          <a:gd name="connsiteY2" fmla="*/ 25998 h 30017"/>
                          <a:gd name="connsiteX3" fmla="*/ 9043 w 15448"/>
                          <a:gd name="connsiteY3" fmla="*/ 24868 h 30017"/>
                          <a:gd name="connsiteX4" fmla="*/ 15448 w 15448"/>
                          <a:gd name="connsiteY4" fmla="*/ 21226 h 30017"/>
                          <a:gd name="connsiteX5" fmla="*/ 15448 w 15448"/>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48" h="30017">
                            <a:moveTo>
                              <a:pt x="0" y="8917"/>
                            </a:moveTo>
                            <a:lnTo>
                              <a:pt x="0" y="30017"/>
                            </a:lnTo>
                            <a:lnTo>
                              <a:pt x="7033" y="25998"/>
                            </a:lnTo>
                            <a:lnTo>
                              <a:pt x="9043" y="24868"/>
                            </a:lnTo>
                            <a:lnTo>
                              <a:pt x="15448" y="21226"/>
                            </a:lnTo>
                            <a:lnTo>
                              <a:pt x="15448"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3" name="Freeform: Shape 1682">
                        <a:extLst>
                          <a:ext uri="{FF2B5EF4-FFF2-40B4-BE49-F238E27FC236}">
                            <a16:creationId xmlns:a16="http://schemas.microsoft.com/office/drawing/2014/main" id="{1DEE19B0-EE9A-4C67-A989-E2C5627C7175}"/>
                          </a:ext>
                        </a:extLst>
                      </p:cNvPr>
                      <p:cNvSpPr/>
                      <p:nvPr/>
                    </p:nvSpPr>
                    <p:spPr>
                      <a:xfrm>
                        <a:off x="3459261" y="1726401"/>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84" name="Freeform: Shape 1683">
                      <a:extLst>
                        <a:ext uri="{FF2B5EF4-FFF2-40B4-BE49-F238E27FC236}">
                          <a16:creationId xmlns:a16="http://schemas.microsoft.com/office/drawing/2014/main" id="{E0E00EEB-6678-46E4-9F7D-5763B26DD5BE}"/>
                        </a:ext>
                      </a:extLst>
                    </p:cNvPr>
                    <p:cNvSpPr/>
                    <p:nvPr/>
                  </p:nvSpPr>
                  <p:spPr>
                    <a:xfrm>
                      <a:off x="3482747" y="1730671"/>
                      <a:ext cx="2009" cy="22230"/>
                    </a:xfrm>
                    <a:custGeom>
                      <a:avLst/>
                      <a:gdLst>
                        <a:gd name="connsiteX0" fmla="*/ 0 w 2009"/>
                        <a:gd name="connsiteY0" fmla="*/ 1130 h 22230"/>
                        <a:gd name="connsiteX1" fmla="*/ 0 w 2009"/>
                        <a:gd name="connsiteY1" fmla="*/ 22230 h 22230"/>
                        <a:gd name="connsiteX2" fmla="*/ 2010 w 2009"/>
                        <a:gd name="connsiteY2" fmla="*/ 21100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5" name="Freeform: Shape 1684">
                      <a:extLst>
                        <a:ext uri="{FF2B5EF4-FFF2-40B4-BE49-F238E27FC236}">
                          <a16:creationId xmlns:a16="http://schemas.microsoft.com/office/drawing/2014/main" id="{14C5E440-E608-4D42-88E9-9C3E21F4AFA6}"/>
                        </a:ext>
                      </a:extLst>
                    </p:cNvPr>
                    <p:cNvSpPr/>
                    <p:nvPr/>
                  </p:nvSpPr>
                  <p:spPr>
                    <a:xfrm>
                      <a:off x="3466294" y="1721126"/>
                      <a:ext cx="18462" cy="10675"/>
                    </a:xfrm>
                    <a:custGeom>
                      <a:avLst/>
                      <a:gdLst>
                        <a:gd name="connsiteX0" fmla="*/ 0 w 18462"/>
                        <a:gd name="connsiteY0" fmla="*/ 1256 h 10675"/>
                        <a:gd name="connsiteX1" fmla="*/ 5777 w 18462"/>
                        <a:gd name="connsiteY1" fmla="*/ 4521 h 10675"/>
                        <a:gd name="connsiteX2" fmla="*/ 7787 w 18462"/>
                        <a:gd name="connsiteY2" fmla="*/ 5652 h 10675"/>
                        <a:gd name="connsiteX3" fmla="*/ 16453 w 18462"/>
                        <a:gd name="connsiteY3" fmla="*/ 10676 h 10675"/>
                        <a:gd name="connsiteX4" fmla="*/ 16453 w 18462"/>
                        <a:gd name="connsiteY4" fmla="*/ 10676 h 10675"/>
                        <a:gd name="connsiteX5" fmla="*/ 18462 w 18462"/>
                        <a:gd name="connsiteY5" fmla="*/ 9545 h 10675"/>
                        <a:gd name="connsiteX6" fmla="*/ 18462 w 18462"/>
                        <a:gd name="connsiteY6" fmla="*/ 9545 h 10675"/>
                        <a:gd name="connsiteX7" fmla="*/ 9796 w 18462"/>
                        <a:gd name="connsiteY7" fmla="*/ 4521 h 10675"/>
                        <a:gd name="connsiteX8" fmla="*/ 7787 w 18462"/>
                        <a:gd name="connsiteY8" fmla="*/ 3391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256"/>
                          </a:moveTo>
                          <a:lnTo>
                            <a:pt x="5777" y="4521"/>
                          </a:lnTo>
                          <a:lnTo>
                            <a:pt x="7787" y="5652"/>
                          </a:lnTo>
                          <a:lnTo>
                            <a:pt x="16453" y="10676"/>
                          </a:lnTo>
                          <a:lnTo>
                            <a:pt x="16453" y="10676"/>
                          </a:lnTo>
                          <a:lnTo>
                            <a:pt x="18462" y="9545"/>
                          </a:lnTo>
                          <a:lnTo>
                            <a:pt x="18462" y="9545"/>
                          </a:lnTo>
                          <a:lnTo>
                            <a:pt x="9796" y="4521"/>
                          </a:lnTo>
                          <a:lnTo>
                            <a:pt x="7787" y="3391"/>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86" name="Graphic 4">
                    <a:extLst>
                      <a:ext uri="{FF2B5EF4-FFF2-40B4-BE49-F238E27FC236}">
                        <a16:creationId xmlns:a16="http://schemas.microsoft.com/office/drawing/2014/main" id="{84FB7ED1-A2DF-40A1-A747-5F7CF3F14040}"/>
                      </a:ext>
                    </a:extLst>
                  </p:cNvPr>
                  <p:cNvGrpSpPr/>
                  <p:nvPr/>
                </p:nvGrpSpPr>
                <p:grpSpPr>
                  <a:xfrm>
                    <a:off x="3476467" y="1727532"/>
                    <a:ext cx="31901" cy="39311"/>
                    <a:chOff x="3476467" y="1727532"/>
                    <a:chExt cx="31901" cy="39311"/>
                  </a:xfrm>
                  <a:solidFill>
                    <a:schemeClr val="accent1"/>
                  </a:solidFill>
                </p:grpSpPr>
                <p:sp>
                  <p:nvSpPr>
                    <p:cNvPr id="1687" name="Freeform: Shape 1686">
                      <a:extLst>
                        <a:ext uri="{FF2B5EF4-FFF2-40B4-BE49-F238E27FC236}">
                          <a16:creationId xmlns:a16="http://schemas.microsoft.com/office/drawing/2014/main" id="{6357A0BF-D11E-473B-8D5F-625A1B6AC72B}"/>
                        </a:ext>
                      </a:extLst>
                    </p:cNvPr>
                    <p:cNvSpPr/>
                    <p:nvPr/>
                  </p:nvSpPr>
                  <p:spPr>
                    <a:xfrm>
                      <a:off x="3476467" y="1727532"/>
                      <a:ext cx="31901" cy="18211"/>
                    </a:xfrm>
                    <a:custGeom>
                      <a:avLst/>
                      <a:gdLst>
                        <a:gd name="connsiteX0" fmla="*/ 0 w 31901"/>
                        <a:gd name="connsiteY0" fmla="*/ 8792 h 18211"/>
                        <a:gd name="connsiteX1" fmla="*/ 0 w 31901"/>
                        <a:gd name="connsiteY1" fmla="*/ 8792 h 18211"/>
                        <a:gd name="connsiteX2" fmla="*/ 16453 w 31901"/>
                        <a:gd name="connsiteY2" fmla="*/ 18211 h 18211"/>
                        <a:gd name="connsiteX3" fmla="*/ 23486 w 31901"/>
                        <a:gd name="connsiteY3" fmla="*/ 14192 h 18211"/>
                        <a:gd name="connsiteX4" fmla="*/ 25496 w 31901"/>
                        <a:gd name="connsiteY4" fmla="*/ 13062 h 18211"/>
                        <a:gd name="connsiteX5" fmla="*/ 31901 w 31901"/>
                        <a:gd name="connsiteY5" fmla="*/ 9420 h 18211"/>
                        <a:gd name="connsiteX6" fmla="*/ 15448 w 31901"/>
                        <a:gd name="connsiteY6" fmla="*/ 0 h 18211"/>
                        <a:gd name="connsiteX7" fmla="*/ 9043 w 31901"/>
                        <a:gd name="connsiteY7" fmla="*/ 3642 h 18211"/>
                        <a:gd name="connsiteX8" fmla="*/ 7033 w 31901"/>
                        <a:gd name="connsiteY8" fmla="*/ 4773 h 18211"/>
                        <a:gd name="connsiteX9" fmla="*/ 0 w 31901"/>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01" h="18211">
                          <a:moveTo>
                            <a:pt x="0" y="8792"/>
                          </a:moveTo>
                          <a:lnTo>
                            <a:pt x="0" y="8792"/>
                          </a:lnTo>
                          <a:lnTo>
                            <a:pt x="16453" y="18211"/>
                          </a:lnTo>
                          <a:lnTo>
                            <a:pt x="23486" y="14192"/>
                          </a:lnTo>
                          <a:lnTo>
                            <a:pt x="25496" y="13062"/>
                          </a:lnTo>
                          <a:lnTo>
                            <a:pt x="31901" y="9420"/>
                          </a:lnTo>
                          <a:lnTo>
                            <a:pt x="15448" y="0"/>
                          </a:lnTo>
                          <a:lnTo>
                            <a:pt x="9043" y="3642"/>
                          </a:lnTo>
                          <a:lnTo>
                            <a:pt x="7033"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8" name="Freeform: Shape 1687">
                      <a:extLst>
                        <a:ext uri="{FF2B5EF4-FFF2-40B4-BE49-F238E27FC236}">
                          <a16:creationId xmlns:a16="http://schemas.microsoft.com/office/drawing/2014/main" id="{79680655-3FC4-4033-9513-29AE38754A07}"/>
                        </a:ext>
                      </a:extLst>
                    </p:cNvPr>
                    <p:cNvSpPr/>
                    <p:nvPr/>
                  </p:nvSpPr>
                  <p:spPr>
                    <a:xfrm>
                      <a:off x="3477095" y="1727657"/>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9" name="Freeform: Shape 1688">
                      <a:extLst>
                        <a:ext uri="{FF2B5EF4-FFF2-40B4-BE49-F238E27FC236}">
                          <a16:creationId xmlns:a16="http://schemas.microsoft.com/office/drawing/2014/main" id="{7D41AB9A-101D-40DC-9F86-3AAC2F5F80E9}"/>
                        </a:ext>
                      </a:extLst>
                    </p:cNvPr>
                    <p:cNvSpPr/>
                    <p:nvPr/>
                  </p:nvSpPr>
                  <p:spPr>
                    <a:xfrm>
                      <a:off x="3492920" y="1736826"/>
                      <a:ext cx="15448" cy="30017"/>
                    </a:xfrm>
                    <a:custGeom>
                      <a:avLst/>
                      <a:gdLst>
                        <a:gd name="connsiteX0" fmla="*/ 0 w 15448"/>
                        <a:gd name="connsiteY0" fmla="*/ 8917 h 30017"/>
                        <a:gd name="connsiteX1" fmla="*/ 0 w 15448"/>
                        <a:gd name="connsiteY1" fmla="*/ 30017 h 30017"/>
                        <a:gd name="connsiteX2" fmla="*/ 7033 w 15448"/>
                        <a:gd name="connsiteY2" fmla="*/ 25998 h 30017"/>
                        <a:gd name="connsiteX3" fmla="*/ 9043 w 15448"/>
                        <a:gd name="connsiteY3" fmla="*/ 24868 h 30017"/>
                        <a:gd name="connsiteX4" fmla="*/ 15448 w 15448"/>
                        <a:gd name="connsiteY4" fmla="*/ 21226 h 30017"/>
                        <a:gd name="connsiteX5" fmla="*/ 15448 w 15448"/>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48" h="30017">
                          <a:moveTo>
                            <a:pt x="0" y="8917"/>
                          </a:moveTo>
                          <a:lnTo>
                            <a:pt x="0" y="30017"/>
                          </a:lnTo>
                          <a:lnTo>
                            <a:pt x="7033" y="25998"/>
                          </a:lnTo>
                          <a:lnTo>
                            <a:pt x="9043" y="24868"/>
                          </a:lnTo>
                          <a:lnTo>
                            <a:pt x="15448" y="21226"/>
                          </a:lnTo>
                          <a:lnTo>
                            <a:pt x="15448"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0" name="Freeform: Shape 1689">
                      <a:extLst>
                        <a:ext uri="{FF2B5EF4-FFF2-40B4-BE49-F238E27FC236}">
                          <a16:creationId xmlns:a16="http://schemas.microsoft.com/office/drawing/2014/main" id="{78F0E239-548A-4C36-8FB0-0B1EED02F1EE}"/>
                        </a:ext>
                      </a:extLst>
                    </p:cNvPr>
                    <p:cNvSpPr/>
                    <p:nvPr/>
                  </p:nvSpPr>
                  <p:spPr>
                    <a:xfrm>
                      <a:off x="3476467" y="1736323"/>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91" name="Freeform: Shape 1690">
                    <a:extLst>
                      <a:ext uri="{FF2B5EF4-FFF2-40B4-BE49-F238E27FC236}">
                        <a16:creationId xmlns:a16="http://schemas.microsoft.com/office/drawing/2014/main" id="{598AB737-7F73-4EEC-9B66-232E34ADD374}"/>
                      </a:ext>
                    </a:extLst>
                  </p:cNvPr>
                  <p:cNvSpPr/>
                  <p:nvPr/>
                </p:nvSpPr>
                <p:spPr>
                  <a:xfrm>
                    <a:off x="3499953" y="1740593"/>
                    <a:ext cx="2009" cy="22230"/>
                  </a:xfrm>
                  <a:custGeom>
                    <a:avLst/>
                    <a:gdLst>
                      <a:gd name="connsiteX0" fmla="*/ 0 w 2009"/>
                      <a:gd name="connsiteY0" fmla="*/ 1130 h 22230"/>
                      <a:gd name="connsiteX1" fmla="*/ 0 w 2009"/>
                      <a:gd name="connsiteY1" fmla="*/ 22230 h 22230"/>
                      <a:gd name="connsiteX2" fmla="*/ 2010 w 2009"/>
                      <a:gd name="connsiteY2" fmla="*/ 21100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2" name="Freeform: Shape 1691">
                    <a:extLst>
                      <a:ext uri="{FF2B5EF4-FFF2-40B4-BE49-F238E27FC236}">
                        <a16:creationId xmlns:a16="http://schemas.microsoft.com/office/drawing/2014/main" id="{34D6C491-912B-4384-A4A5-AD2548B8A60D}"/>
                      </a:ext>
                    </a:extLst>
                  </p:cNvPr>
                  <p:cNvSpPr/>
                  <p:nvPr/>
                </p:nvSpPr>
                <p:spPr>
                  <a:xfrm>
                    <a:off x="3483501" y="1731048"/>
                    <a:ext cx="18462" cy="10675"/>
                  </a:xfrm>
                  <a:custGeom>
                    <a:avLst/>
                    <a:gdLst>
                      <a:gd name="connsiteX0" fmla="*/ 0 w 18462"/>
                      <a:gd name="connsiteY0" fmla="*/ 1256 h 10675"/>
                      <a:gd name="connsiteX1" fmla="*/ 5777 w 18462"/>
                      <a:gd name="connsiteY1" fmla="*/ 4521 h 10675"/>
                      <a:gd name="connsiteX2" fmla="*/ 7787 w 18462"/>
                      <a:gd name="connsiteY2" fmla="*/ 5777 h 10675"/>
                      <a:gd name="connsiteX3" fmla="*/ 16453 w 18462"/>
                      <a:gd name="connsiteY3" fmla="*/ 10676 h 10675"/>
                      <a:gd name="connsiteX4" fmla="*/ 16453 w 18462"/>
                      <a:gd name="connsiteY4" fmla="*/ 10676 h 10675"/>
                      <a:gd name="connsiteX5" fmla="*/ 18462 w 18462"/>
                      <a:gd name="connsiteY5" fmla="*/ 9545 h 10675"/>
                      <a:gd name="connsiteX6" fmla="*/ 18462 w 18462"/>
                      <a:gd name="connsiteY6" fmla="*/ 9545 h 10675"/>
                      <a:gd name="connsiteX7" fmla="*/ 9796 w 18462"/>
                      <a:gd name="connsiteY7" fmla="*/ 4521 h 10675"/>
                      <a:gd name="connsiteX8" fmla="*/ 7787 w 18462"/>
                      <a:gd name="connsiteY8" fmla="*/ 3391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256"/>
                        </a:moveTo>
                        <a:lnTo>
                          <a:pt x="5777" y="4521"/>
                        </a:lnTo>
                        <a:lnTo>
                          <a:pt x="7787" y="5777"/>
                        </a:lnTo>
                        <a:lnTo>
                          <a:pt x="16453" y="10676"/>
                        </a:lnTo>
                        <a:lnTo>
                          <a:pt x="16453" y="10676"/>
                        </a:lnTo>
                        <a:lnTo>
                          <a:pt x="18462" y="9545"/>
                        </a:lnTo>
                        <a:lnTo>
                          <a:pt x="18462" y="9545"/>
                        </a:lnTo>
                        <a:lnTo>
                          <a:pt x="9796" y="4521"/>
                        </a:lnTo>
                        <a:lnTo>
                          <a:pt x="7787" y="3391"/>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93" name="Graphic 4">
                    <a:extLst>
                      <a:ext uri="{FF2B5EF4-FFF2-40B4-BE49-F238E27FC236}">
                        <a16:creationId xmlns:a16="http://schemas.microsoft.com/office/drawing/2014/main" id="{84FB7ED1-A2DF-40A1-A747-5F7CF3F14040}"/>
                      </a:ext>
                    </a:extLst>
                  </p:cNvPr>
                  <p:cNvGrpSpPr/>
                  <p:nvPr/>
                </p:nvGrpSpPr>
                <p:grpSpPr>
                  <a:xfrm>
                    <a:off x="3478979" y="1738709"/>
                    <a:ext cx="7535" cy="10801"/>
                    <a:chOff x="3478979" y="1738709"/>
                    <a:chExt cx="7535" cy="10801"/>
                  </a:xfrm>
                  <a:solidFill>
                    <a:schemeClr val="accent1"/>
                  </a:solidFill>
                </p:grpSpPr>
                <p:sp>
                  <p:nvSpPr>
                    <p:cNvPr id="1694" name="Freeform: Shape 1693">
                      <a:extLst>
                        <a:ext uri="{FF2B5EF4-FFF2-40B4-BE49-F238E27FC236}">
                          <a16:creationId xmlns:a16="http://schemas.microsoft.com/office/drawing/2014/main" id="{212B1462-FC48-4764-8525-D2C1EC88FE99}"/>
                        </a:ext>
                      </a:extLst>
                    </p:cNvPr>
                    <p:cNvSpPr/>
                    <p:nvPr/>
                  </p:nvSpPr>
                  <p:spPr>
                    <a:xfrm>
                      <a:off x="3478979" y="1738709"/>
                      <a:ext cx="7535" cy="10801"/>
                    </a:xfrm>
                    <a:custGeom>
                      <a:avLst/>
                      <a:gdLst>
                        <a:gd name="connsiteX0" fmla="*/ 0 w 7535"/>
                        <a:gd name="connsiteY0" fmla="*/ 6405 h 10801"/>
                        <a:gd name="connsiteX1" fmla="*/ 7535 w 7535"/>
                        <a:gd name="connsiteY1" fmla="*/ 10801 h 10801"/>
                        <a:gd name="connsiteX2" fmla="*/ 7535 w 7535"/>
                        <a:gd name="connsiteY2" fmla="*/ 4396 h 10801"/>
                        <a:gd name="connsiteX3" fmla="*/ 0 w 7535"/>
                        <a:gd name="connsiteY3" fmla="*/ 0 h 10801"/>
                      </a:gdLst>
                      <a:ahLst/>
                      <a:cxnLst>
                        <a:cxn ang="0">
                          <a:pos x="connsiteX0" y="connsiteY0"/>
                        </a:cxn>
                        <a:cxn ang="0">
                          <a:pos x="connsiteX1" y="connsiteY1"/>
                        </a:cxn>
                        <a:cxn ang="0">
                          <a:pos x="connsiteX2" y="connsiteY2"/>
                        </a:cxn>
                        <a:cxn ang="0">
                          <a:pos x="connsiteX3" y="connsiteY3"/>
                        </a:cxn>
                      </a:cxnLst>
                      <a:rect l="l" t="t" r="r" b="b"/>
                      <a:pathLst>
                        <a:path w="7535" h="10801">
                          <a:moveTo>
                            <a:pt x="0" y="6405"/>
                          </a:moveTo>
                          <a:lnTo>
                            <a:pt x="7535" y="10801"/>
                          </a:lnTo>
                          <a:lnTo>
                            <a:pt x="7535" y="4396"/>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5" name="Freeform: Shape 1694">
                      <a:extLst>
                        <a:ext uri="{FF2B5EF4-FFF2-40B4-BE49-F238E27FC236}">
                          <a16:creationId xmlns:a16="http://schemas.microsoft.com/office/drawing/2014/main" id="{82B8BBAB-63BF-4616-AD6F-B1E8EBDFB233}"/>
                        </a:ext>
                      </a:extLst>
                    </p:cNvPr>
                    <p:cNvSpPr/>
                    <p:nvPr/>
                  </p:nvSpPr>
                  <p:spPr>
                    <a:xfrm>
                      <a:off x="3479733" y="1739965"/>
                      <a:ext cx="6154" cy="4144"/>
                    </a:xfrm>
                    <a:custGeom>
                      <a:avLst/>
                      <a:gdLst>
                        <a:gd name="connsiteX0" fmla="*/ 0 w 6154"/>
                        <a:gd name="connsiteY0" fmla="*/ 628 h 4144"/>
                        <a:gd name="connsiteX1" fmla="*/ 6154 w 6154"/>
                        <a:gd name="connsiteY1" fmla="*/ 4145 h 4144"/>
                        <a:gd name="connsiteX2" fmla="*/ 6154 w 6154"/>
                        <a:gd name="connsiteY2" fmla="*/ 3517 h 4144"/>
                        <a:gd name="connsiteX3" fmla="*/ 0 w 6154"/>
                        <a:gd name="connsiteY3" fmla="*/ 0 h 4144"/>
                      </a:gdLst>
                      <a:ahLst/>
                      <a:cxnLst>
                        <a:cxn ang="0">
                          <a:pos x="connsiteX0" y="connsiteY0"/>
                        </a:cxn>
                        <a:cxn ang="0">
                          <a:pos x="connsiteX1" y="connsiteY1"/>
                        </a:cxn>
                        <a:cxn ang="0">
                          <a:pos x="connsiteX2" y="connsiteY2"/>
                        </a:cxn>
                        <a:cxn ang="0">
                          <a:pos x="connsiteX3" y="connsiteY3"/>
                        </a:cxn>
                      </a:cxnLst>
                      <a:rect l="l" t="t" r="r" b="b"/>
                      <a:pathLst>
                        <a:path w="6154" h="4144">
                          <a:moveTo>
                            <a:pt x="0" y="628"/>
                          </a:moveTo>
                          <a:lnTo>
                            <a:pt x="6154" y="4145"/>
                          </a:lnTo>
                          <a:lnTo>
                            <a:pt x="6154" y="3517"/>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6" name="Freeform: Shape 1695">
                      <a:extLst>
                        <a:ext uri="{FF2B5EF4-FFF2-40B4-BE49-F238E27FC236}">
                          <a16:creationId xmlns:a16="http://schemas.microsoft.com/office/drawing/2014/main" id="{EEF9F431-5D00-4156-B725-8833BBD33FFB}"/>
                        </a:ext>
                      </a:extLst>
                    </p:cNvPr>
                    <p:cNvSpPr/>
                    <p:nvPr/>
                  </p:nvSpPr>
                  <p:spPr>
                    <a:xfrm>
                      <a:off x="3479733" y="1741598"/>
                      <a:ext cx="6154" cy="3893"/>
                    </a:xfrm>
                    <a:custGeom>
                      <a:avLst/>
                      <a:gdLst>
                        <a:gd name="connsiteX0" fmla="*/ 0 w 6154"/>
                        <a:gd name="connsiteY0" fmla="*/ 377 h 3893"/>
                        <a:gd name="connsiteX1" fmla="*/ 6154 w 6154"/>
                        <a:gd name="connsiteY1" fmla="*/ 3893 h 3893"/>
                        <a:gd name="connsiteX2" fmla="*/ 6154 w 6154"/>
                        <a:gd name="connsiteY2" fmla="*/ 3517 h 3893"/>
                        <a:gd name="connsiteX3" fmla="*/ 0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0" y="377"/>
                          </a:moveTo>
                          <a:lnTo>
                            <a:pt x="6154" y="3893"/>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7" name="Freeform: Shape 1696">
                      <a:extLst>
                        <a:ext uri="{FF2B5EF4-FFF2-40B4-BE49-F238E27FC236}">
                          <a16:creationId xmlns:a16="http://schemas.microsoft.com/office/drawing/2014/main" id="{1524401B-E682-4384-B393-1C93F1DE4D94}"/>
                        </a:ext>
                      </a:extLst>
                    </p:cNvPr>
                    <p:cNvSpPr/>
                    <p:nvPr/>
                  </p:nvSpPr>
                  <p:spPr>
                    <a:xfrm>
                      <a:off x="3479733" y="1742477"/>
                      <a:ext cx="6154" cy="3767"/>
                    </a:xfrm>
                    <a:custGeom>
                      <a:avLst/>
                      <a:gdLst>
                        <a:gd name="connsiteX0" fmla="*/ 0 w 6154"/>
                        <a:gd name="connsiteY0" fmla="*/ 377 h 3767"/>
                        <a:gd name="connsiteX1" fmla="*/ 6154 w 6154"/>
                        <a:gd name="connsiteY1" fmla="*/ 3768 h 3767"/>
                        <a:gd name="connsiteX2" fmla="*/ 6154 w 6154"/>
                        <a:gd name="connsiteY2" fmla="*/ 3517 h 3767"/>
                        <a:gd name="connsiteX3" fmla="*/ 0 w 6154"/>
                        <a:gd name="connsiteY3" fmla="*/ 0 h 3767"/>
                      </a:gdLst>
                      <a:ahLst/>
                      <a:cxnLst>
                        <a:cxn ang="0">
                          <a:pos x="connsiteX0" y="connsiteY0"/>
                        </a:cxn>
                        <a:cxn ang="0">
                          <a:pos x="connsiteX1" y="connsiteY1"/>
                        </a:cxn>
                        <a:cxn ang="0">
                          <a:pos x="connsiteX2" y="connsiteY2"/>
                        </a:cxn>
                        <a:cxn ang="0">
                          <a:pos x="connsiteX3" y="connsiteY3"/>
                        </a:cxn>
                      </a:cxnLst>
                      <a:rect l="l" t="t" r="r" b="b"/>
                      <a:pathLst>
                        <a:path w="6154" h="3767">
                          <a:moveTo>
                            <a:pt x="0" y="377"/>
                          </a:moveTo>
                          <a:lnTo>
                            <a:pt x="6154" y="3768"/>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8" name="Freeform: Shape 1697">
                      <a:extLst>
                        <a:ext uri="{FF2B5EF4-FFF2-40B4-BE49-F238E27FC236}">
                          <a16:creationId xmlns:a16="http://schemas.microsoft.com/office/drawing/2014/main" id="{DA91136E-A47E-4670-A717-6F9BFCF9E1F9}"/>
                        </a:ext>
                      </a:extLst>
                    </p:cNvPr>
                    <p:cNvSpPr/>
                    <p:nvPr/>
                  </p:nvSpPr>
                  <p:spPr>
                    <a:xfrm>
                      <a:off x="3479733" y="1743357"/>
                      <a:ext cx="6154" cy="3893"/>
                    </a:xfrm>
                    <a:custGeom>
                      <a:avLst/>
                      <a:gdLst>
                        <a:gd name="connsiteX0" fmla="*/ 0 w 6154"/>
                        <a:gd name="connsiteY0" fmla="*/ 377 h 3893"/>
                        <a:gd name="connsiteX1" fmla="*/ 6154 w 6154"/>
                        <a:gd name="connsiteY1" fmla="*/ 3893 h 3893"/>
                        <a:gd name="connsiteX2" fmla="*/ 6154 w 6154"/>
                        <a:gd name="connsiteY2" fmla="*/ 3517 h 3893"/>
                        <a:gd name="connsiteX3" fmla="*/ 0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0" y="377"/>
                          </a:moveTo>
                          <a:lnTo>
                            <a:pt x="6154" y="3893"/>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9" name="Freeform: Shape 1698">
                      <a:extLst>
                        <a:ext uri="{FF2B5EF4-FFF2-40B4-BE49-F238E27FC236}">
                          <a16:creationId xmlns:a16="http://schemas.microsoft.com/office/drawing/2014/main" id="{D067A047-54C7-4E19-9194-A5A51CBF4978}"/>
                        </a:ext>
                      </a:extLst>
                    </p:cNvPr>
                    <p:cNvSpPr/>
                    <p:nvPr/>
                  </p:nvSpPr>
                  <p:spPr>
                    <a:xfrm>
                      <a:off x="3479733" y="1744236"/>
                      <a:ext cx="6154" cy="3767"/>
                    </a:xfrm>
                    <a:custGeom>
                      <a:avLst/>
                      <a:gdLst>
                        <a:gd name="connsiteX0" fmla="*/ 0 w 6154"/>
                        <a:gd name="connsiteY0" fmla="*/ 251 h 3767"/>
                        <a:gd name="connsiteX1" fmla="*/ 6154 w 6154"/>
                        <a:gd name="connsiteY1" fmla="*/ 3768 h 3767"/>
                        <a:gd name="connsiteX2" fmla="*/ 6154 w 6154"/>
                        <a:gd name="connsiteY2" fmla="*/ 3517 h 3767"/>
                        <a:gd name="connsiteX3" fmla="*/ 0 w 6154"/>
                        <a:gd name="connsiteY3" fmla="*/ 0 h 3767"/>
                      </a:gdLst>
                      <a:ahLst/>
                      <a:cxnLst>
                        <a:cxn ang="0">
                          <a:pos x="connsiteX0" y="connsiteY0"/>
                        </a:cxn>
                        <a:cxn ang="0">
                          <a:pos x="connsiteX1" y="connsiteY1"/>
                        </a:cxn>
                        <a:cxn ang="0">
                          <a:pos x="connsiteX2" y="connsiteY2"/>
                        </a:cxn>
                        <a:cxn ang="0">
                          <a:pos x="connsiteX3" y="connsiteY3"/>
                        </a:cxn>
                      </a:cxnLst>
                      <a:rect l="l" t="t" r="r" b="b"/>
                      <a:pathLst>
                        <a:path w="6154" h="3767">
                          <a:moveTo>
                            <a:pt x="0" y="251"/>
                          </a:moveTo>
                          <a:lnTo>
                            <a:pt x="6154" y="3768"/>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00" name="Graphic 4">
                    <a:extLst>
                      <a:ext uri="{FF2B5EF4-FFF2-40B4-BE49-F238E27FC236}">
                        <a16:creationId xmlns:a16="http://schemas.microsoft.com/office/drawing/2014/main" id="{84FB7ED1-A2DF-40A1-A747-5F7CF3F14040}"/>
                      </a:ext>
                    </a:extLst>
                  </p:cNvPr>
                  <p:cNvGrpSpPr/>
                  <p:nvPr/>
                </p:nvGrpSpPr>
                <p:grpSpPr>
                  <a:xfrm>
                    <a:off x="3460894" y="1729039"/>
                    <a:ext cx="7535" cy="10801"/>
                    <a:chOff x="3460894" y="1729039"/>
                    <a:chExt cx="7535" cy="10801"/>
                  </a:xfrm>
                  <a:solidFill>
                    <a:schemeClr val="accent1"/>
                  </a:solidFill>
                </p:grpSpPr>
                <p:sp>
                  <p:nvSpPr>
                    <p:cNvPr id="1701" name="Freeform: Shape 1700">
                      <a:extLst>
                        <a:ext uri="{FF2B5EF4-FFF2-40B4-BE49-F238E27FC236}">
                          <a16:creationId xmlns:a16="http://schemas.microsoft.com/office/drawing/2014/main" id="{1AB30276-0B19-4300-9160-62199F481E08}"/>
                        </a:ext>
                      </a:extLst>
                    </p:cNvPr>
                    <p:cNvSpPr/>
                    <p:nvPr/>
                  </p:nvSpPr>
                  <p:spPr>
                    <a:xfrm>
                      <a:off x="3460894" y="1729039"/>
                      <a:ext cx="7535" cy="10801"/>
                    </a:xfrm>
                    <a:custGeom>
                      <a:avLst/>
                      <a:gdLst>
                        <a:gd name="connsiteX0" fmla="*/ 0 w 7535"/>
                        <a:gd name="connsiteY0" fmla="*/ 6405 h 10801"/>
                        <a:gd name="connsiteX1" fmla="*/ 7535 w 7535"/>
                        <a:gd name="connsiteY1" fmla="*/ 10801 h 10801"/>
                        <a:gd name="connsiteX2" fmla="*/ 7535 w 7535"/>
                        <a:gd name="connsiteY2" fmla="*/ 4270 h 10801"/>
                        <a:gd name="connsiteX3" fmla="*/ 0 w 7535"/>
                        <a:gd name="connsiteY3" fmla="*/ 0 h 10801"/>
                      </a:gdLst>
                      <a:ahLst/>
                      <a:cxnLst>
                        <a:cxn ang="0">
                          <a:pos x="connsiteX0" y="connsiteY0"/>
                        </a:cxn>
                        <a:cxn ang="0">
                          <a:pos x="connsiteX1" y="connsiteY1"/>
                        </a:cxn>
                        <a:cxn ang="0">
                          <a:pos x="connsiteX2" y="connsiteY2"/>
                        </a:cxn>
                        <a:cxn ang="0">
                          <a:pos x="connsiteX3" y="connsiteY3"/>
                        </a:cxn>
                      </a:cxnLst>
                      <a:rect l="l" t="t" r="r" b="b"/>
                      <a:pathLst>
                        <a:path w="7535" h="10801">
                          <a:moveTo>
                            <a:pt x="0" y="6405"/>
                          </a:moveTo>
                          <a:lnTo>
                            <a:pt x="7535" y="10801"/>
                          </a:lnTo>
                          <a:lnTo>
                            <a:pt x="7535" y="4270"/>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2" name="Freeform: Shape 1701">
                      <a:extLst>
                        <a:ext uri="{FF2B5EF4-FFF2-40B4-BE49-F238E27FC236}">
                          <a16:creationId xmlns:a16="http://schemas.microsoft.com/office/drawing/2014/main" id="{0BE2445B-1787-4C28-8E24-E12197BC2E6F}"/>
                        </a:ext>
                      </a:extLst>
                    </p:cNvPr>
                    <p:cNvSpPr/>
                    <p:nvPr/>
                  </p:nvSpPr>
                  <p:spPr>
                    <a:xfrm>
                      <a:off x="3461647" y="1730295"/>
                      <a:ext cx="6028" cy="4144"/>
                    </a:xfrm>
                    <a:custGeom>
                      <a:avLst/>
                      <a:gdLst>
                        <a:gd name="connsiteX0" fmla="*/ 0 w 6028"/>
                        <a:gd name="connsiteY0" fmla="*/ 628 h 4144"/>
                        <a:gd name="connsiteX1" fmla="*/ 6028 w 6028"/>
                        <a:gd name="connsiteY1" fmla="*/ 4145 h 4144"/>
                        <a:gd name="connsiteX2" fmla="*/ 6028 w 6028"/>
                        <a:gd name="connsiteY2" fmla="*/ 3391 h 4144"/>
                        <a:gd name="connsiteX3" fmla="*/ 0 w 6028"/>
                        <a:gd name="connsiteY3" fmla="*/ 0 h 4144"/>
                      </a:gdLst>
                      <a:ahLst/>
                      <a:cxnLst>
                        <a:cxn ang="0">
                          <a:pos x="connsiteX0" y="connsiteY0"/>
                        </a:cxn>
                        <a:cxn ang="0">
                          <a:pos x="connsiteX1" y="connsiteY1"/>
                        </a:cxn>
                        <a:cxn ang="0">
                          <a:pos x="connsiteX2" y="connsiteY2"/>
                        </a:cxn>
                        <a:cxn ang="0">
                          <a:pos x="connsiteX3" y="connsiteY3"/>
                        </a:cxn>
                      </a:cxnLst>
                      <a:rect l="l" t="t" r="r" b="b"/>
                      <a:pathLst>
                        <a:path w="6028" h="4144">
                          <a:moveTo>
                            <a:pt x="0" y="628"/>
                          </a:moveTo>
                          <a:lnTo>
                            <a:pt x="6028" y="4145"/>
                          </a:lnTo>
                          <a:lnTo>
                            <a:pt x="6028" y="3391"/>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3" name="Freeform: Shape 1702">
                      <a:extLst>
                        <a:ext uri="{FF2B5EF4-FFF2-40B4-BE49-F238E27FC236}">
                          <a16:creationId xmlns:a16="http://schemas.microsoft.com/office/drawing/2014/main" id="{729B2668-EB76-49F6-AEC9-99ED41AF1946}"/>
                        </a:ext>
                      </a:extLst>
                    </p:cNvPr>
                    <p:cNvSpPr/>
                    <p:nvPr/>
                  </p:nvSpPr>
                  <p:spPr>
                    <a:xfrm>
                      <a:off x="3461647" y="1731927"/>
                      <a:ext cx="6028" cy="3893"/>
                    </a:xfrm>
                    <a:custGeom>
                      <a:avLst/>
                      <a:gdLst>
                        <a:gd name="connsiteX0" fmla="*/ 0 w 6028"/>
                        <a:gd name="connsiteY0" fmla="*/ 377 h 3893"/>
                        <a:gd name="connsiteX1" fmla="*/ 6028 w 6028"/>
                        <a:gd name="connsiteY1" fmla="*/ 3893 h 3893"/>
                        <a:gd name="connsiteX2" fmla="*/ 6028 w 6028"/>
                        <a:gd name="connsiteY2" fmla="*/ 3517 h 3893"/>
                        <a:gd name="connsiteX3" fmla="*/ 0 w 6028"/>
                        <a:gd name="connsiteY3" fmla="*/ 0 h 3893"/>
                      </a:gdLst>
                      <a:ahLst/>
                      <a:cxnLst>
                        <a:cxn ang="0">
                          <a:pos x="connsiteX0" y="connsiteY0"/>
                        </a:cxn>
                        <a:cxn ang="0">
                          <a:pos x="connsiteX1" y="connsiteY1"/>
                        </a:cxn>
                        <a:cxn ang="0">
                          <a:pos x="connsiteX2" y="connsiteY2"/>
                        </a:cxn>
                        <a:cxn ang="0">
                          <a:pos x="connsiteX3" y="connsiteY3"/>
                        </a:cxn>
                      </a:cxnLst>
                      <a:rect l="l" t="t" r="r" b="b"/>
                      <a:pathLst>
                        <a:path w="6028" h="3893">
                          <a:moveTo>
                            <a:pt x="0" y="377"/>
                          </a:moveTo>
                          <a:lnTo>
                            <a:pt x="6028" y="3893"/>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4" name="Freeform: Shape 1703">
                      <a:extLst>
                        <a:ext uri="{FF2B5EF4-FFF2-40B4-BE49-F238E27FC236}">
                          <a16:creationId xmlns:a16="http://schemas.microsoft.com/office/drawing/2014/main" id="{C1EE5F9D-3F37-4620-989C-20C28AA44FDD}"/>
                        </a:ext>
                      </a:extLst>
                    </p:cNvPr>
                    <p:cNvSpPr/>
                    <p:nvPr/>
                  </p:nvSpPr>
                  <p:spPr>
                    <a:xfrm>
                      <a:off x="3461647" y="1732807"/>
                      <a:ext cx="6028" cy="3767"/>
                    </a:xfrm>
                    <a:custGeom>
                      <a:avLst/>
                      <a:gdLst>
                        <a:gd name="connsiteX0" fmla="*/ 0 w 6028"/>
                        <a:gd name="connsiteY0" fmla="*/ 251 h 3767"/>
                        <a:gd name="connsiteX1" fmla="*/ 6028 w 6028"/>
                        <a:gd name="connsiteY1" fmla="*/ 3768 h 3767"/>
                        <a:gd name="connsiteX2" fmla="*/ 6028 w 6028"/>
                        <a:gd name="connsiteY2" fmla="*/ 3517 h 3767"/>
                        <a:gd name="connsiteX3" fmla="*/ 0 w 6028"/>
                        <a:gd name="connsiteY3" fmla="*/ 0 h 3767"/>
                      </a:gdLst>
                      <a:ahLst/>
                      <a:cxnLst>
                        <a:cxn ang="0">
                          <a:pos x="connsiteX0" y="connsiteY0"/>
                        </a:cxn>
                        <a:cxn ang="0">
                          <a:pos x="connsiteX1" y="connsiteY1"/>
                        </a:cxn>
                        <a:cxn ang="0">
                          <a:pos x="connsiteX2" y="connsiteY2"/>
                        </a:cxn>
                        <a:cxn ang="0">
                          <a:pos x="connsiteX3" y="connsiteY3"/>
                        </a:cxn>
                      </a:cxnLst>
                      <a:rect l="l" t="t" r="r" b="b"/>
                      <a:pathLst>
                        <a:path w="6028" h="3767">
                          <a:moveTo>
                            <a:pt x="0" y="251"/>
                          </a:moveTo>
                          <a:lnTo>
                            <a:pt x="6028" y="3768"/>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5" name="Freeform: Shape 1704">
                      <a:extLst>
                        <a:ext uri="{FF2B5EF4-FFF2-40B4-BE49-F238E27FC236}">
                          <a16:creationId xmlns:a16="http://schemas.microsoft.com/office/drawing/2014/main" id="{772FCDBC-38FB-4915-B47B-E3B0AB50D451}"/>
                        </a:ext>
                      </a:extLst>
                    </p:cNvPr>
                    <p:cNvSpPr/>
                    <p:nvPr/>
                  </p:nvSpPr>
                  <p:spPr>
                    <a:xfrm>
                      <a:off x="3461647" y="1733686"/>
                      <a:ext cx="6028" cy="3893"/>
                    </a:xfrm>
                    <a:custGeom>
                      <a:avLst/>
                      <a:gdLst>
                        <a:gd name="connsiteX0" fmla="*/ 0 w 6028"/>
                        <a:gd name="connsiteY0" fmla="*/ 377 h 3893"/>
                        <a:gd name="connsiteX1" fmla="*/ 6028 w 6028"/>
                        <a:gd name="connsiteY1" fmla="*/ 3893 h 3893"/>
                        <a:gd name="connsiteX2" fmla="*/ 6028 w 6028"/>
                        <a:gd name="connsiteY2" fmla="*/ 3517 h 3893"/>
                        <a:gd name="connsiteX3" fmla="*/ 0 w 6028"/>
                        <a:gd name="connsiteY3" fmla="*/ 0 h 3893"/>
                      </a:gdLst>
                      <a:ahLst/>
                      <a:cxnLst>
                        <a:cxn ang="0">
                          <a:pos x="connsiteX0" y="connsiteY0"/>
                        </a:cxn>
                        <a:cxn ang="0">
                          <a:pos x="connsiteX1" y="connsiteY1"/>
                        </a:cxn>
                        <a:cxn ang="0">
                          <a:pos x="connsiteX2" y="connsiteY2"/>
                        </a:cxn>
                        <a:cxn ang="0">
                          <a:pos x="connsiteX3" y="connsiteY3"/>
                        </a:cxn>
                      </a:cxnLst>
                      <a:rect l="l" t="t" r="r" b="b"/>
                      <a:pathLst>
                        <a:path w="6028" h="3893">
                          <a:moveTo>
                            <a:pt x="0" y="377"/>
                          </a:moveTo>
                          <a:lnTo>
                            <a:pt x="6028" y="3893"/>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6" name="Freeform: Shape 1705">
                      <a:extLst>
                        <a:ext uri="{FF2B5EF4-FFF2-40B4-BE49-F238E27FC236}">
                          <a16:creationId xmlns:a16="http://schemas.microsoft.com/office/drawing/2014/main" id="{307A0DEE-5069-479A-B5DE-4186175E7AFD}"/>
                        </a:ext>
                      </a:extLst>
                    </p:cNvPr>
                    <p:cNvSpPr/>
                    <p:nvPr/>
                  </p:nvSpPr>
                  <p:spPr>
                    <a:xfrm>
                      <a:off x="3461647" y="1734565"/>
                      <a:ext cx="6028" cy="3767"/>
                    </a:xfrm>
                    <a:custGeom>
                      <a:avLst/>
                      <a:gdLst>
                        <a:gd name="connsiteX0" fmla="*/ 0 w 6028"/>
                        <a:gd name="connsiteY0" fmla="*/ 251 h 3767"/>
                        <a:gd name="connsiteX1" fmla="*/ 6028 w 6028"/>
                        <a:gd name="connsiteY1" fmla="*/ 3768 h 3767"/>
                        <a:gd name="connsiteX2" fmla="*/ 6028 w 6028"/>
                        <a:gd name="connsiteY2" fmla="*/ 3517 h 3767"/>
                        <a:gd name="connsiteX3" fmla="*/ 0 w 6028"/>
                        <a:gd name="connsiteY3" fmla="*/ 0 h 3767"/>
                      </a:gdLst>
                      <a:ahLst/>
                      <a:cxnLst>
                        <a:cxn ang="0">
                          <a:pos x="connsiteX0" y="connsiteY0"/>
                        </a:cxn>
                        <a:cxn ang="0">
                          <a:pos x="connsiteX1" y="connsiteY1"/>
                        </a:cxn>
                        <a:cxn ang="0">
                          <a:pos x="connsiteX2" y="connsiteY2"/>
                        </a:cxn>
                        <a:cxn ang="0">
                          <a:pos x="connsiteX3" y="connsiteY3"/>
                        </a:cxn>
                      </a:cxnLst>
                      <a:rect l="l" t="t" r="r" b="b"/>
                      <a:pathLst>
                        <a:path w="6028" h="3767">
                          <a:moveTo>
                            <a:pt x="0" y="251"/>
                          </a:moveTo>
                          <a:lnTo>
                            <a:pt x="6028" y="3768"/>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707" name="Graphic 4">
                  <a:extLst>
                    <a:ext uri="{FF2B5EF4-FFF2-40B4-BE49-F238E27FC236}">
                      <a16:creationId xmlns:a16="http://schemas.microsoft.com/office/drawing/2014/main" id="{84FB7ED1-A2DF-40A1-A747-5F7CF3F14040}"/>
                    </a:ext>
                  </a:extLst>
                </p:cNvPr>
                <p:cNvGrpSpPr/>
                <p:nvPr/>
              </p:nvGrpSpPr>
              <p:grpSpPr>
                <a:xfrm>
                  <a:off x="3459261" y="1687090"/>
                  <a:ext cx="65058" cy="58527"/>
                  <a:chOff x="3459261" y="1687090"/>
                  <a:chExt cx="65058" cy="58527"/>
                </a:xfrm>
                <a:solidFill>
                  <a:schemeClr val="accent1"/>
                </a:solidFill>
              </p:grpSpPr>
              <p:grpSp>
                <p:nvGrpSpPr>
                  <p:cNvPr id="1708" name="Graphic 4">
                    <a:extLst>
                      <a:ext uri="{FF2B5EF4-FFF2-40B4-BE49-F238E27FC236}">
                        <a16:creationId xmlns:a16="http://schemas.microsoft.com/office/drawing/2014/main" id="{84FB7ED1-A2DF-40A1-A747-5F7CF3F14040}"/>
                      </a:ext>
                    </a:extLst>
                  </p:cNvPr>
                  <p:cNvGrpSpPr/>
                  <p:nvPr/>
                </p:nvGrpSpPr>
                <p:grpSpPr>
                  <a:xfrm>
                    <a:off x="3475211" y="1687090"/>
                    <a:ext cx="39688" cy="41697"/>
                    <a:chOff x="3475211" y="1687090"/>
                    <a:chExt cx="39688" cy="41697"/>
                  </a:xfrm>
                  <a:solidFill>
                    <a:schemeClr val="accent1"/>
                  </a:solidFill>
                </p:grpSpPr>
                <p:sp>
                  <p:nvSpPr>
                    <p:cNvPr id="1709" name="Freeform: Shape 1708">
                      <a:extLst>
                        <a:ext uri="{FF2B5EF4-FFF2-40B4-BE49-F238E27FC236}">
                          <a16:creationId xmlns:a16="http://schemas.microsoft.com/office/drawing/2014/main" id="{C1CB41FD-95BD-4AAD-A294-93C92282BC6C}"/>
                        </a:ext>
                      </a:extLst>
                    </p:cNvPr>
                    <p:cNvSpPr/>
                    <p:nvPr/>
                  </p:nvSpPr>
                  <p:spPr>
                    <a:xfrm>
                      <a:off x="3476718" y="1706808"/>
                      <a:ext cx="38180" cy="21979"/>
                    </a:xfrm>
                    <a:custGeom>
                      <a:avLst/>
                      <a:gdLst>
                        <a:gd name="connsiteX0" fmla="*/ 38181 w 38180"/>
                        <a:gd name="connsiteY0" fmla="*/ 10927 h 21979"/>
                        <a:gd name="connsiteX1" fmla="*/ 18965 w 38180"/>
                        <a:gd name="connsiteY1" fmla="*/ 21979 h 21979"/>
                        <a:gd name="connsiteX2" fmla="*/ 0 w 38180"/>
                        <a:gd name="connsiteY2" fmla="*/ 11052 h 21979"/>
                        <a:gd name="connsiteX3" fmla="*/ 19216 w 38180"/>
                        <a:gd name="connsiteY3" fmla="*/ 0 h 21979"/>
                      </a:gdLst>
                      <a:ahLst/>
                      <a:cxnLst>
                        <a:cxn ang="0">
                          <a:pos x="connsiteX0" y="connsiteY0"/>
                        </a:cxn>
                        <a:cxn ang="0">
                          <a:pos x="connsiteX1" y="connsiteY1"/>
                        </a:cxn>
                        <a:cxn ang="0">
                          <a:pos x="connsiteX2" y="connsiteY2"/>
                        </a:cxn>
                        <a:cxn ang="0">
                          <a:pos x="connsiteX3" y="connsiteY3"/>
                        </a:cxn>
                      </a:cxnLst>
                      <a:rect l="l" t="t" r="r" b="b"/>
                      <a:pathLst>
                        <a:path w="38180" h="21979">
                          <a:moveTo>
                            <a:pt x="38181" y="10927"/>
                          </a:moveTo>
                          <a:lnTo>
                            <a:pt x="18965" y="21979"/>
                          </a:lnTo>
                          <a:lnTo>
                            <a:pt x="0" y="11052"/>
                          </a:lnTo>
                          <a:lnTo>
                            <a:pt x="19216"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10" name="Graphic 4">
                      <a:extLst>
                        <a:ext uri="{FF2B5EF4-FFF2-40B4-BE49-F238E27FC236}">
                          <a16:creationId xmlns:a16="http://schemas.microsoft.com/office/drawing/2014/main" id="{84FB7ED1-A2DF-40A1-A747-5F7CF3F14040}"/>
                        </a:ext>
                      </a:extLst>
                    </p:cNvPr>
                    <p:cNvGrpSpPr/>
                    <p:nvPr/>
                  </p:nvGrpSpPr>
                  <p:grpSpPr>
                    <a:xfrm>
                      <a:off x="3475211" y="1687090"/>
                      <a:ext cx="31901" cy="39311"/>
                      <a:chOff x="3475211" y="1687090"/>
                      <a:chExt cx="31901" cy="39311"/>
                    </a:xfrm>
                    <a:solidFill>
                      <a:schemeClr val="accent1"/>
                    </a:solidFill>
                  </p:grpSpPr>
                  <p:sp>
                    <p:nvSpPr>
                      <p:cNvPr id="1711" name="Freeform: Shape 1710">
                        <a:extLst>
                          <a:ext uri="{FF2B5EF4-FFF2-40B4-BE49-F238E27FC236}">
                            <a16:creationId xmlns:a16="http://schemas.microsoft.com/office/drawing/2014/main" id="{AAB86DE6-2F2D-4B19-B804-C7C5899B399D}"/>
                          </a:ext>
                        </a:extLst>
                      </p:cNvPr>
                      <p:cNvSpPr/>
                      <p:nvPr/>
                    </p:nvSpPr>
                    <p:spPr>
                      <a:xfrm>
                        <a:off x="3475211" y="1687090"/>
                        <a:ext cx="31775" cy="18211"/>
                      </a:xfrm>
                      <a:custGeom>
                        <a:avLst/>
                        <a:gdLst>
                          <a:gd name="connsiteX0" fmla="*/ 0 w 31775"/>
                          <a:gd name="connsiteY0" fmla="*/ 8792 h 18211"/>
                          <a:gd name="connsiteX1" fmla="*/ 0 w 31775"/>
                          <a:gd name="connsiteY1" fmla="*/ 8792 h 18211"/>
                          <a:gd name="connsiteX2" fmla="*/ 16328 w 31775"/>
                          <a:gd name="connsiteY2" fmla="*/ 18211 h 18211"/>
                          <a:gd name="connsiteX3" fmla="*/ 23361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7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8" y="18211"/>
                            </a:lnTo>
                            <a:lnTo>
                              <a:pt x="23361" y="14192"/>
                            </a:lnTo>
                            <a:lnTo>
                              <a:pt x="25370" y="13062"/>
                            </a:lnTo>
                            <a:lnTo>
                              <a:pt x="31775" y="9420"/>
                            </a:lnTo>
                            <a:lnTo>
                              <a:pt x="15323" y="0"/>
                            </a:lnTo>
                            <a:lnTo>
                              <a:pt x="8917"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2" name="Freeform: Shape 1711">
                        <a:extLst>
                          <a:ext uri="{FF2B5EF4-FFF2-40B4-BE49-F238E27FC236}">
                            <a16:creationId xmlns:a16="http://schemas.microsoft.com/office/drawing/2014/main" id="{70C720EF-04EF-4CB9-9E85-7E64251A9C8B}"/>
                          </a:ext>
                        </a:extLst>
                      </p:cNvPr>
                      <p:cNvSpPr/>
                      <p:nvPr/>
                    </p:nvSpPr>
                    <p:spPr>
                      <a:xfrm>
                        <a:off x="3475839" y="1687216"/>
                        <a:ext cx="30770" cy="17708"/>
                      </a:xfrm>
                      <a:custGeom>
                        <a:avLst/>
                        <a:gdLst>
                          <a:gd name="connsiteX0" fmla="*/ 0 w 30770"/>
                          <a:gd name="connsiteY0" fmla="*/ 8666 h 17708"/>
                          <a:gd name="connsiteX1" fmla="*/ 15825 w 30770"/>
                          <a:gd name="connsiteY1" fmla="*/ 17709 h 17708"/>
                          <a:gd name="connsiteX2" fmla="*/ 30770 w 30770"/>
                          <a:gd name="connsiteY2" fmla="*/ 9168 h 17708"/>
                          <a:gd name="connsiteX3" fmla="*/ 14945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0" y="9168"/>
                            </a:lnTo>
                            <a:lnTo>
                              <a:pt x="14945"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3" name="Freeform: Shape 1712">
                        <a:extLst>
                          <a:ext uri="{FF2B5EF4-FFF2-40B4-BE49-F238E27FC236}">
                            <a16:creationId xmlns:a16="http://schemas.microsoft.com/office/drawing/2014/main" id="{A5D43E05-D118-4BD5-95C4-BA00426D1165}"/>
                          </a:ext>
                        </a:extLst>
                      </p:cNvPr>
                      <p:cNvSpPr/>
                      <p:nvPr/>
                    </p:nvSpPr>
                    <p:spPr>
                      <a:xfrm>
                        <a:off x="3491539" y="1696384"/>
                        <a:ext cx="15573" cy="30017"/>
                      </a:xfrm>
                      <a:custGeom>
                        <a:avLst/>
                        <a:gdLst>
                          <a:gd name="connsiteX0" fmla="*/ 0 w 15573"/>
                          <a:gd name="connsiteY0" fmla="*/ 8917 h 30017"/>
                          <a:gd name="connsiteX1" fmla="*/ 125 w 15573"/>
                          <a:gd name="connsiteY1" fmla="*/ 30017 h 30017"/>
                          <a:gd name="connsiteX2" fmla="*/ 7159 w 15573"/>
                          <a:gd name="connsiteY2" fmla="*/ 25998 h 30017"/>
                          <a:gd name="connsiteX3" fmla="*/ 9168 w 15573"/>
                          <a:gd name="connsiteY3" fmla="*/ 24742 h 30017"/>
                          <a:gd name="connsiteX4" fmla="*/ 15574 w 15573"/>
                          <a:gd name="connsiteY4" fmla="*/ 21100 h 30017"/>
                          <a:gd name="connsiteX5" fmla="*/ 15574 w 15573"/>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73" h="30017">
                            <a:moveTo>
                              <a:pt x="0" y="8917"/>
                            </a:moveTo>
                            <a:lnTo>
                              <a:pt x="125" y="30017"/>
                            </a:lnTo>
                            <a:lnTo>
                              <a:pt x="7159" y="25998"/>
                            </a:lnTo>
                            <a:lnTo>
                              <a:pt x="9168" y="24742"/>
                            </a:lnTo>
                            <a:lnTo>
                              <a:pt x="15574" y="21100"/>
                            </a:lnTo>
                            <a:lnTo>
                              <a:pt x="15574"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4" name="Freeform: Shape 1713">
                        <a:extLst>
                          <a:ext uri="{FF2B5EF4-FFF2-40B4-BE49-F238E27FC236}">
                            <a16:creationId xmlns:a16="http://schemas.microsoft.com/office/drawing/2014/main" id="{531CACB5-2955-45C6-A4BB-D08B2436E866}"/>
                          </a:ext>
                        </a:extLst>
                      </p:cNvPr>
                      <p:cNvSpPr/>
                      <p:nvPr/>
                    </p:nvSpPr>
                    <p:spPr>
                      <a:xfrm>
                        <a:off x="3475211" y="1695882"/>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15" name="Freeform: Shape 1714">
                      <a:extLst>
                        <a:ext uri="{FF2B5EF4-FFF2-40B4-BE49-F238E27FC236}">
                          <a16:creationId xmlns:a16="http://schemas.microsoft.com/office/drawing/2014/main" id="{0E34FA43-C21E-4E80-AD45-34E062C7E59D}"/>
                        </a:ext>
                      </a:extLst>
                    </p:cNvPr>
                    <p:cNvSpPr/>
                    <p:nvPr/>
                  </p:nvSpPr>
                  <p:spPr>
                    <a:xfrm>
                      <a:off x="3498697" y="1700026"/>
                      <a:ext cx="2009" cy="22355"/>
                    </a:xfrm>
                    <a:custGeom>
                      <a:avLst/>
                      <a:gdLst>
                        <a:gd name="connsiteX0" fmla="*/ 0 w 2009"/>
                        <a:gd name="connsiteY0" fmla="*/ 1256 h 22355"/>
                        <a:gd name="connsiteX1" fmla="*/ 0 w 2009"/>
                        <a:gd name="connsiteY1" fmla="*/ 22356 h 22355"/>
                        <a:gd name="connsiteX2" fmla="*/ 2010 w 2009"/>
                        <a:gd name="connsiteY2" fmla="*/ 21100 h 22355"/>
                        <a:gd name="connsiteX3" fmla="*/ 2010 w 2009"/>
                        <a:gd name="connsiteY3" fmla="*/ 0 h 22355"/>
                      </a:gdLst>
                      <a:ahLst/>
                      <a:cxnLst>
                        <a:cxn ang="0">
                          <a:pos x="connsiteX0" y="connsiteY0"/>
                        </a:cxn>
                        <a:cxn ang="0">
                          <a:pos x="connsiteX1" y="connsiteY1"/>
                        </a:cxn>
                        <a:cxn ang="0">
                          <a:pos x="connsiteX2" y="connsiteY2"/>
                        </a:cxn>
                        <a:cxn ang="0">
                          <a:pos x="connsiteX3" y="connsiteY3"/>
                        </a:cxn>
                      </a:cxnLst>
                      <a:rect l="l" t="t" r="r" b="b"/>
                      <a:pathLst>
                        <a:path w="2009" h="22355">
                          <a:moveTo>
                            <a:pt x="0" y="1256"/>
                          </a:moveTo>
                          <a:lnTo>
                            <a:pt x="0" y="22356"/>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6" name="Freeform: Shape 1715">
                      <a:extLst>
                        <a:ext uri="{FF2B5EF4-FFF2-40B4-BE49-F238E27FC236}">
                          <a16:creationId xmlns:a16="http://schemas.microsoft.com/office/drawing/2014/main" id="{E9AA9FEE-071C-4911-8C5E-86C3ED184F8B}"/>
                        </a:ext>
                      </a:extLst>
                    </p:cNvPr>
                    <p:cNvSpPr/>
                    <p:nvPr/>
                  </p:nvSpPr>
                  <p:spPr>
                    <a:xfrm>
                      <a:off x="3482245" y="1690607"/>
                      <a:ext cx="18462" cy="10675"/>
                    </a:xfrm>
                    <a:custGeom>
                      <a:avLst/>
                      <a:gdLst>
                        <a:gd name="connsiteX0" fmla="*/ 0 w 18462"/>
                        <a:gd name="connsiteY0" fmla="*/ 1130 h 10675"/>
                        <a:gd name="connsiteX1" fmla="*/ 5652 w 18462"/>
                        <a:gd name="connsiteY1" fmla="*/ 4521 h 10675"/>
                        <a:gd name="connsiteX2" fmla="*/ 7787 w 18462"/>
                        <a:gd name="connsiteY2" fmla="*/ 5652 h 10675"/>
                        <a:gd name="connsiteX3" fmla="*/ 16453 w 18462"/>
                        <a:gd name="connsiteY3" fmla="*/ 10676 h 10675"/>
                        <a:gd name="connsiteX4" fmla="*/ 16453 w 18462"/>
                        <a:gd name="connsiteY4" fmla="*/ 10676 h 10675"/>
                        <a:gd name="connsiteX5" fmla="*/ 18462 w 18462"/>
                        <a:gd name="connsiteY5" fmla="*/ 9420 h 10675"/>
                        <a:gd name="connsiteX6" fmla="*/ 18462 w 18462"/>
                        <a:gd name="connsiteY6" fmla="*/ 9420 h 10675"/>
                        <a:gd name="connsiteX7" fmla="*/ 9796 w 18462"/>
                        <a:gd name="connsiteY7" fmla="*/ 4521 h 10675"/>
                        <a:gd name="connsiteX8" fmla="*/ 7787 w 18462"/>
                        <a:gd name="connsiteY8" fmla="*/ 3265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130"/>
                          </a:moveTo>
                          <a:lnTo>
                            <a:pt x="5652" y="4521"/>
                          </a:lnTo>
                          <a:lnTo>
                            <a:pt x="7787" y="5652"/>
                          </a:lnTo>
                          <a:lnTo>
                            <a:pt x="16453" y="10676"/>
                          </a:lnTo>
                          <a:lnTo>
                            <a:pt x="16453" y="10676"/>
                          </a:lnTo>
                          <a:lnTo>
                            <a:pt x="18462" y="9420"/>
                          </a:lnTo>
                          <a:lnTo>
                            <a:pt x="18462" y="9420"/>
                          </a:lnTo>
                          <a:lnTo>
                            <a:pt x="9796" y="4521"/>
                          </a:lnTo>
                          <a:lnTo>
                            <a:pt x="7787" y="3265"/>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17" name="Graphic 4">
                    <a:extLst>
                      <a:ext uri="{FF2B5EF4-FFF2-40B4-BE49-F238E27FC236}">
                        <a16:creationId xmlns:a16="http://schemas.microsoft.com/office/drawing/2014/main" id="{84FB7ED1-A2DF-40A1-A747-5F7CF3F14040}"/>
                      </a:ext>
                    </a:extLst>
                  </p:cNvPr>
                  <p:cNvGrpSpPr/>
                  <p:nvPr/>
                </p:nvGrpSpPr>
                <p:grpSpPr>
                  <a:xfrm>
                    <a:off x="3492418" y="1697012"/>
                    <a:ext cx="31901" cy="39311"/>
                    <a:chOff x="3492418" y="1697012"/>
                    <a:chExt cx="31901" cy="39311"/>
                  </a:xfrm>
                  <a:solidFill>
                    <a:schemeClr val="accent1"/>
                  </a:solidFill>
                </p:grpSpPr>
                <p:grpSp>
                  <p:nvGrpSpPr>
                    <p:cNvPr id="1718" name="Graphic 4">
                      <a:extLst>
                        <a:ext uri="{FF2B5EF4-FFF2-40B4-BE49-F238E27FC236}">
                          <a16:creationId xmlns:a16="http://schemas.microsoft.com/office/drawing/2014/main" id="{84FB7ED1-A2DF-40A1-A747-5F7CF3F14040}"/>
                        </a:ext>
                      </a:extLst>
                    </p:cNvPr>
                    <p:cNvGrpSpPr/>
                    <p:nvPr/>
                  </p:nvGrpSpPr>
                  <p:grpSpPr>
                    <a:xfrm>
                      <a:off x="3492418" y="1697012"/>
                      <a:ext cx="31901" cy="39311"/>
                      <a:chOff x="3492418" y="1697012"/>
                      <a:chExt cx="31901" cy="39311"/>
                    </a:xfrm>
                    <a:solidFill>
                      <a:schemeClr val="accent1"/>
                    </a:solidFill>
                  </p:grpSpPr>
                  <p:sp>
                    <p:nvSpPr>
                      <p:cNvPr id="1719" name="Freeform: Shape 1718">
                        <a:extLst>
                          <a:ext uri="{FF2B5EF4-FFF2-40B4-BE49-F238E27FC236}">
                            <a16:creationId xmlns:a16="http://schemas.microsoft.com/office/drawing/2014/main" id="{4EE50083-9F68-4A3A-A0D2-8834A8D69598}"/>
                          </a:ext>
                        </a:extLst>
                      </p:cNvPr>
                      <p:cNvSpPr/>
                      <p:nvPr/>
                    </p:nvSpPr>
                    <p:spPr>
                      <a:xfrm>
                        <a:off x="3492418" y="1697012"/>
                        <a:ext cx="31775" cy="18211"/>
                      </a:xfrm>
                      <a:custGeom>
                        <a:avLst/>
                        <a:gdLst>
                          <a:gd name="connsiteX0" fmla="*/ 0 w 31775"/>
                          <a:gd name="connsiteY0" fmla="*/ 8792 h 18211"/>
                          <a:gd name="connsiteX1" fmla="*/ 0 w 31775"/>
                          <a:gd name="connsiteY1" fmla="*/ 8792 h 18211"/>
                          <a:gd name="connsiteX2" fmla="*/ 16328 w 31775"/>
                          <a:gd name="connsiteY2" fmla="*/ 18211 h 18211"/>
                          <a:gd name="connsiteX3" fmla="*/ 23361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8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8" y="18211"/>
                            </a:lnTo>
                            <a:lnTo>
                              <a:pt x="23361" y="14192"/>
                            </a:lnTo>
                            <a:lnTo>
                              <a:pt x="25370" y="13062"/>
                            </a:lnTo>
                            <a:lnTo>
                              <a:pt x="31775" y="9420"/>
                            </a:lnTo>
                            <a:lnTo>
                              <a:pt x="15323" y="0"/>
                            </a:lnTo>
                            <a:lnTo>
                              <a:pt x="8918"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0" name="Freeform: Shape 1719">
                        <a:extLst>
                          <a:ext uri="{FF2B5EF4-FFF2-40B4-BE49-F238E27FC236}">
                            <a16:creationId xmlns:a16="http://schemas.microsoft.com/office/drawing/2014/main" id="{E5C9C73C-4BA1-4A06-84CF-AEFE8363A53F}"/>
                          </a:ext>
                        </a:extLst>
                      </p:cNvPr>
                      <p:cNvSpPr/>
                      <p:nvPr/>
                    </p:nvSpPr>
                    <p:spPr>
                      <a:xfrm>
                        <a:off x="3492920" y="1697138"/>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1" name="Freeform: Shape 1720">
                        <a:extLst>
                          <a:ext uri="{FF2B5EF4-FFF2-40B4-BE49-F238E27FC236}">
                            <a16:creationId xmlns:a16="http://schemas.microsoft.com/office/drawing/2014/main" id="{E4D69327-F331-4A7B-878F-F3968F0A50D0}"/>
                          </a:ext>
                        </a:extLst>
                      </p:cNvPr>
                      <p:cNvSpPr/>
                      <p:nvPr/>
                    </p:nvSpPr>
                    <p:spPr>
                      <a:xfrm>
                        <a:off x="3508745" y="1706306"/>
                        <a:ext cx="15573" cy="30017"/>
                      </a:xfrm>
                      <a:custGeom>
                        <a:avLst/>
                        <a:gdLst>
                          <a:gd name="connsiteX0" fmla="*/ 0 w 15573"/>
                          <a:gd name="connsiteY0" fmla="*/ 8917 h 30017"/>
                          <a:gd name="connsiteX1" fmla="*/ 125 w 15573"/>
                          <a:gd name="connsiteY1" fmla="*/ 30017 h 30017"/>
                          <a:gd name="connsiteX2" fmla="*/ 7159 w 15573"/>
                          <a:gd name="connsiteY2" fmla="*/ 25998 h 30017"/>
                          <a:gd name="connsiteX3" fmla="*/ 9168 w 15573"/>
                          <a:gd name="connsiteY3" fmla="*/ 24742 h 30017"/>
                          <a:gd name="connsiteX4" fmla="*/ 15574 w 15573"/>
                          <a:gd name="connsiteY4" fmla="*/ 21226 h 30017"/>
                          <a:gd name="connsiteX5" fmla="*/ 15574 w 15573"/>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73" h="30017">
                            <a:moveTo>
                              <a:pt x="0" y="8917"/>
                            </a:moveTo>
                            <a:lnTo>
                              <a:pt x="125" y="30017"/>
                            </a:lnTo>
                            <a:lnTo>
                              <a:pt x="7159" y="25998"/>
                            </a:lnTo>
                            <a:lnTo>
                              <a:pt x="9168" y="24742"/>
                            </a:lnTo>
                            <a:lnTo>
                              <a:pt x="15574" y="21226"/>
                            </a:lnTo>
                            <a:lnTo>
                              <a:pt x="15574"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2" name="Freeform: Shape 1721">
                        <a:extLst>
                          <a:ext uri="{FF2B5EF4-FFF2-40B4-BE49-F238E27FC236}">
                            <a16:creationId xmlns:a16="http://schemas.microsoft.com/office/drawing/2014/main" id="{E8FDE730-2238-44F3-B57B-C113325466E8}"/>
                          </a:ext>
                        </a:extLst>
                      </p:cNvPr>
                      <p:cNvSpPr/>
                      <p:nvPr/>
                    </p:nvSpPr>
                    <p:spPr>
                      <a:xfrm>
                        <a:off x="3492418" y="1705804"/>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23" name="Freeform: Shape 1722">
                      <a:extLst>
                        <a:ext uri="{FF2B5EF4-FFF2-40B4-BE49-F238E27FC236}">
                          <a16:creationId xmlns:a16="http://schemas.microsoft.com/office/drawing/2014/main" id="{7D0E784A-877C-42F5-9B7B-65797AD5B1AF}"/>
                        </a:ext>
                      </a:extLst>
                    </p:cNvPr>
                    <p:cNvSpPr/>
                    <p:nvPr/>
                  </p:nvSpPr>
                  <p:spPr>
                    <a:xfrm>
                      <a:off x="3515904" y="1710074"/>
                      <a:ext cx="2009" cy="22230"/>
                    </a:xfrm>
                    <a:custGeom>
                      <a:avLst/>
                      <a:gdLst>
                        <a:gd name="connsiteX0" fmla="*/ 0 w 2009"/>
                        <a:gd name="connsiteY0" fmla="*/ 1130 h 22230"/>
                        <a:gd name="connsiteX1" fmla="*/ 0 w 2009"/>
                        <a:gd name="connsiteY1" fmla="*/ 22230 h 22230"/>
                        <a:gd name="connsiteX2" fmla="*/ 2010 w 2009"/>
                        <a:gd name="connsiteY2" fmla="*/ 20974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0974"/>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4" name="Freeform: Shape 1723">
                      <a:extLst>
                        <a:ext uri="{FF2B5EF4-FFF2-40B4-BE49-F238E27FC236}">
                          <a16:creationId xmlns:a16="http://schemas.microsoft.com/office/drawing/2014/main" id="{E253FAED-3E6D-4467-98B5-690A378C4247}"/>
                        </a:ext>
                      </a:extLst>
                    </p:cNvPr>
                    <p:cNvSpPr/>
                    <p:nvPr/>
                  </p:nvSpPr>
                  <p:spPr>
                    <a:xfrm>
                      <a:off x="3499451" y="1700529"/>
                      <a:ext cx="18462" cy="10675"/>
                    </a:xfrm>
                    <a:custGeom>
                      <a:avLst/>
                      <a:gdLst>
                        <a:gd name="connsiteX0" fmla="*/ 0 w 18462"/>
                        <a:gd name="connsiteY0" fmla="*/ 1130 h 10675"/>
                        <a:gd name="connsiteX1" fmla="*/ 5652 w 18462"/>
                        <a:gd name="connsiteY1" fmla="*/ 4521 h 10675"/>
                        <a:gd name="connsiteX2" fmla="*/ 7787 w 18462"/>
                        <a:gd name="connsiteY2" fmla="*/ 5652 h 10675"/>
                        <a:gd name="connsiteX3" fmla="*/ 16328 w 18462"/>
                        <a:gd name="connsiteY3" fmla="*/ 10676 h 10675"/>
                        <a:gd name="connsiteX4" fmla="*/ 16453 w 18462"/>
                        <a:gd name="connsiteY4" fmla="*/ 10676 h 10675"/>
                        <a:gd name="connsiteX5" fmla="*/ 18462 w 18462"/>
                        <a:gd name="connsiteY5" fmla="*/ 9545 h 10675"/>
                        <a:gd name="connsiteX6" fmla="*/ 18462 w 18462"/>
                        <a:gd name="connsiteY6" fmla="*/ 9420 h 10675"/>
                        <a:gd name="connsiteX7" fmla="*/ 9796 w 18462"/>
                        <a:gd name="connsiteY7" fmla="*/ 4521 h 10675"/>
                        <a:gd name="connsiteX8" fmla="*/ 7787 w 18462"/>
                        <a:gd name="connsiteY8" fmla="*/ 3265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130"/>
                          </a:moveTo>
                          <a:lnTo>
                            <a:pt x="5652" y="4521"/>
                          </a:lnTo>
                          <a:lnTo>
                            <a:pt x="7787" y="5652"/>
                          </a:lnTo>
                          <a:lnTo>
                            <a:pt x="16328" y="10676"/>
                          </a:lnTo>
                          <a:lnTo>
                            <a:pt x="16453" y="10676"/>
                          </a:lnTo>
                          <a:lnTo>
                            <a:pt x="18462" y="9545"/>
                          </a:lnTo>
                          <a:lnTo>
                            <a:pt x="18462" y="9420"/>
                          </a:lnTo>
                          <a:lnTo>
                            <a:pt x="9796" y="4521"/>
                          </a:lnTo>
                          <a:lnTo>
                            <a:pt x="7787" y="3265"/>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25" name="Graphic 4">
                    <a:extLst>
                      <a:ext uri="{FF2B5EF4-FFF2-40B4-BE49-F238E27FC236}">
                        <a16:creationId xmlns:a16="http://schemas.microsoft.com/office/drawing/2014/main" id="{84FB7ED1-A2DF-40A1-A747-5F7CF3F14040}"/>
                      </a:ext>
                    </a:extLst>
                  </p:cNvPr>
                  <p:cNvGrpSpPr/>
                  <p:nvPr/>
                </p:nvGrpSpPr>
                <p:grpSpPr>
                  <a:xfrm>
                    <a:off x="3459261" y="1696384"/>
                    <a:ext cx="39688" cy="41697"/>
                    <a:chOff x="3459261" y="1696384"/>
                    <a:chExt cx="39688" cy="41697"/>
                  </a:xfrm>
                  <a:solidFill>
                    <a:schemeClr val="accent1"/>
                  </a:solidFill>
                </p:grpSpPr>
                <p:sp>
                  <p:nvSpPr>
                    <p:cNvPr id="1726" name="Freeform: Shape 1725">
                      <a:extLst>
                        <a:ext uri="{FF2B5EF4-FFF2-40B4-BE49-F238E27FC236}">
                          <a16:creationId xmlns:a16="http://schemas.microsoft.com/office/drawing/2014/main" id="{ACA3C64E-D5EB-449C-AEEB-6EF7CDAC5DDD}"/>
                        </a:ext>
                      </a:extLst>
                    </p:cNvPr>
                    <p:cNvSpPr/>
                    <p:nvPr/>
                  </p:nvSpPr>
                  <p:spPr>
                    <a:xfrm>
                      <a:off x="3460768" y="1716102"/>
                      <a:ext cx="38180" cy="21979"/>
                    </a:xfrm>
                    <a:custGeom>
                      <a:avLst/>
                      <a:gdLst>
                        <a:gd name="connsiteX0" fmla="*/ 38181 w 38180"/>
                        <a:gd name="connsiteY0" fmla="*/ 10927 h 21979"/>
                        <a:gd name="connsiteX1" fmla="*/ 18965 w 38180"/>
                        <a:gd name="connsiteY1" fmla="*/ 21979 h 21979"/>
                        <a:gd name="connsiteX2" fmla="*/ 0 w 38180"/>
                        <a:gd name="connsiteY2" fmla="*/ 11052 h 21979"/>
                        <a:gd name="connsiteX3" fmla="*/ 19216 w 38180"/>
                        <a:gd name="connsiteY3" fmla="*/ 0 h 21979"/>
                      </a:gdLst>
                      <a:ahLst/>
                      <a:cxnLst>
                        <a:cxn ang="0">
                          <a:pos x="connsiteX0" y="connsiteY0"/>
                        </a:cxn>
                        <a:cxn ang="0">
                          <a:pos x="connsiteX1" y="connsiteY1"/>
                        </a:cxn>
                        <a:cxn ang="0">
                          <a:pos x="connsiteX2" y="connsiteY2"/>
                        </a:cxn>
                        <a:cxn ang="0">
                          <a:pos x="connsiteX3" y="connsiteY3"/>
                        </a:cxn>
                      </a:cxnLst>
                      <a:rect l="l" t="t" r="r" b="b"/>
                      <a:pathLst>
                        <a:path w="38180" h="21979">
                          <a:moveTo>
                            <a:pt x="38181" y="10927"/>
                          </a:moveTo>
                          <a:lnTo>
                            <a:pt x="18965" y="21979"/>
                          </a:lnTo>
                          <a:lnTo>
                            <a:pt x="0" y="11052"/>
                          </a:lnTo>
                          <a:lnTo>
                            <a:pt x="19216"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27" name="Graphic 4">
                      <a:extLst>
                        <a:ext uri="{FF2B5EF4-FFF2-40B4-BE49-F238E27FC236}">
                          <a16:creationId xmlns:a16="http://schemas.microsoft.com/office/drawing/2014/main" id="{84FB7ED1-A2DF-40A1-A747-5F7CF3F14040}"/>
                        </a:ext>
                      </a:extLst>
                    </p:cNvPr>
                    <p:cNvGrpSpPr/>
                    <p:nvPr/>
                  </p:nvGrpSpPr>
                  <p:grpSpPr>
                    <a:xfrm>
                      <a:off x="3459261" y="1696384"/>
                      <a:ext cx="31901" cy="39311"/>
                      <a:chOff x="3459261" y="1696384"/>
                      <a:chExt cx="31901" cy="39311"/>
                    </a:xfrm>
                    <a:solidFill>
                      <a:schemeClr val="accent1"/>
                    </a:solidFill>
                  </p:grpSpPr>
                  <p:sp>
                    <p:nvSpPr>
                      <p:cNvPr id="1728" name="Freeform: Shape 1727">
                        <a:extLst>
                          <a:ext uri="{FF2B5EF4-FFF2-40B4-BE49-F238E27FC236}">
                            <a16:creationId xmlns:a16="http://schemas.microsoft.com/office/drawing/2014/main" id="{D2F1DB54-5259-4B50-AED2-8B011E4F4963}"/>
                          </a:ext>
                        </a:extLst>
                      </p:cNvPr>
                      <p:cNvSpPr/>
                      <p:nvPr/>
                    </p:nvSpPr>
                    <p:spPr>
                      <a:xfrm>
                        <a:off x="3459261" y="1696384"/>
                        <a:ext cx="31775" cy="18211"/>
                      </a:xfrm>
                      <a:custGeom>
                        <a:avLst/>
                        <a:gdLst>
                          <a:gd name="connsiteX0" fmla="*/ 0 w 31775"/>
                          <a:gd name="connsiteY0" fmla="*/ 8792 h 18211"/>
                          <a:gd name="connsiteX1" fmla="*/ 0 w 31775"/>
                          <a:gd name="connsiteY1" fmla="*/ 8792 h 18211"/>
                          <a:gd name="connsiteX2" fmla="*/ 16327 w 31775"/>
                          <a:gd name="connsiteY2" fmla="*/ 18211 h 18211"/>
                          <a:gd name="connsiteX3" fmla="*/ 23360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7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7" y="18211"/>
                            </a:lnTo>
                            <a:lnTo>
                              <a:pt x="23360" y="14192"/>
                            </a:lnTo>
                            <a:lnTo>
                              <a:pt x="25370" y="13062"/>
                            </a:lnTo>
                            <a:lnTo>
                              <a:pt x="31775" y="9420"/>
                            </a:lnTo>
                            <a:lnTo>
                              <a:pt x="15323" y="0"/>
                            </a:lnTo>
                            <a:lnTo>
                              <a:pt x="8917"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9" name="Freeform: Shape 1728">
                        <a:extLst>
                          <a:ext uri="{FF2B5EF4-FFF2-40B4-BE49-F238E27FC236}">
                            <a16:creationId xmlns:a16="http://schemas.microsoft.com/office/drawing/2014/main" id="{36BCD673-18F6-4C3B-A325-973CC7F42E93}"/>
                          </a:ext>
                        </a:extLst>
                      </p:cNvPr>
                      <p:cNvSpPr/>
                      <p:nvPr/>
                    </p:nvSpPr>
                    <p:spPr>
                      <a:xfrm>
                        <a:off x="3459889" y="1696510"/>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0" name="Freeform: Shape 1729">
                        <a:extLst>
                          <a:ext uri="{FF2B5EF4-FFF2-40B4-BE49-F238E27FC236}">
                            <a16:creationId xmlns:a16="http://schemas.microsoft.com/office/drawing/2014/main" id="{67D3A1C9-08AA-46D9-AAB1-9E7724A52A22}"/>
                          </a:ext>
                        </a:extLst>
                      </p:cNvPr>
                      <p:cNvSpPr/>
                      <p:nvPr/>
                    </p:nvSpPr>
                    <p:spPr>
                      <a:xfrm>
                        <a:off x="3475714" y="1705678"/>
                        <a:ext cx="15448" cy="30017"/>
                      </a:xfrm>
                      <a:custGeom>
                        <a:avLst/>
                        <a:gdLst>
                          <a:gd name="connsiteX0" fmla="*/ 0 w 15448"/>
                          <a:gd name="connsiteY0" fmla="*/ 8917 h 30017"/>
                          <a:gd name="connsiteX1" fmla="*/ 0 w 15448"/>
                          <a:gd name="connsiteY1" fmla="*/ 30017 h 30017"/>
                          <a:gd name="connsiteX2" fmla="*/ 7033 w 15448"/>
                          <a:gd name="connsiteY2" fmla="*/ 25998 h 30017"/>
                          <a:gd name="connsiteX3" fmla="*/ 9043 w 15448"/>
                          <a:gd name="connsiteY3" fmla="*/ 24868 h 30017"/>
                          <a:gd name="connsiteX4" fmla="*/ 15448 w 15448"/>
                          <a:gd name="connsiteY4" fmla="*/ 21226 h 30017"/>
                          <a:gd name="connsiteX5" fmla="*/ 15448 w 15448"/>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48" h="30017">
                            <a:moveTo>
                              <a:pt x="0" y="8917"/>
                            </a:moveTo>
                            <a:lnTo>
                              <a:pt x="0" y="30017"/>
                            </a:lnTo>
                            <a:lnTo>
                              <a:pt x="7033" y="25998"/>
                            </a:lnTo>
                            <a:lnTo>
                              <a:pt x="9043" y="24868"/>
                            </a:lnTo>
                            <a:lnTo>
                              <a:pt x="15448" y="21226"/>
                            </a:lnTo>
                            <a:lnTo>
                              <a:pt x="15448"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1" name="Freeform: Shape 1730">
                        <a:extLst>
                          <a:ext uri="{FF2B5EF4-FFF2-40B4-BE49-F238E27FC236}">
                            <a16:creationId xmlns:a16="http://schemas.microsoft.com/office/drawing/2014/main" id="{DA64DC21-0F64-430E-A996-1E0CA7354DB1}"/>
                          </a:ext>
                        </a:extLst>
                      </p:cNvPr>
                      <p:cNvSpPr/>
                      <p:nvPr/>
                    </p:nvSpPr>
                    <p:spPr>
                      <a:xfrm>
                        <a:off x="3459261" y="1705176"/>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32" name="Freeform: Shape 1731">
                      <a:extLst>
                        <a:ext uri="{FF2B5EF4-FFF2-40B4-BE49-F238E27FC236}">
                          <a16:creationId xmlns:a16="http://schemas.microsoft.com/office/drawing/2014/main" id="{8BE9BE4C-A766-4ED6-B09A-6A19CD8A8D3E}"/>
                        </a:ext>
                      </a:extLst>
                    </p:cNvPr>
                    <p:cNvSpPr/>
                    <p:nvPr/>
                  </p:nvSpPr>
                  <p:spPr>
                    <a:xfrm>
                      <a:off x="3482747" y="1709446"/>
                      <a:ext cx="2009" cy="22230"/>
                    </a:xfrm>
                    <a:custGeom>
                      <a:avLst/>
                      <a:gdLst>
                        <a:gd name="connsiteX0" fmla="*/ 0 w 2009"/>
                        <a:gd name="connsiteY0" fmla="*/ 1130 h 22230"/>
                        <a:gd name="connsiteX1" fmla="*/ 0 w 2009"/>
                        <a:gd name="connsiteY1" fmla="*/ 22230 h 22230"/>
                        <a:gd name="connsiteX2" fmla="*/ 2010 w 2009"/>
                        <a:gd name="connsiteY2" fmla="*/ 21100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3" name="Freeform: Shape 1732">
                      <a:extLst>
                        <a:ext uri="{FF2B5EF4-FFF2-40B4-BE49-F238E27FC236}">
                          <a16:creationId xmlns:a16="http://schemas.microsoft.com/office/drawing/2014/main" id="{8B929B48-C41E-4F6A-A90D-42692433F889}"/>
                        </a:ext>
                      </a:extLst>
                    </p:cNvPr>
                    <p:cNvSpPr/>
                    <p:nvPr/>
                  </p:nvSpPr>
                  <p:spPr>
                    <a:xfrm>
                      <a:off x="3466294" y="1699901"/>
                      <a:ext cx="18462" cy="10675"/>
                    </a:xfrm>
                    <a:custGeom>
                      <a:avLst/>
                      <a:gdLst>
                        <a:gd name="connsiteX0" fmla="*/ 0 w 18462"/>
                        <a:gd name="connsiteY0" fmla="*/ 1256 h 10675"/>
                        <a:gd name="connsiteX1" fmla="*/ 5777 w 18462"/>
                        <a:gd name="connsiteY1" fmla="*/ 4521 h 10675"/>
                        <a:gd name="connsiteX2" fmla="*/ 7787 w 18462"/>
                        <a:gd name="connsiteY2" fmla="*/ 5777 h 10675"/>
                        <a:gd name="connsiteX3" fmla="*/ 16453 w 18462"/>
                        <a:gd name="connsiteY3" fmla="*/ 10676 h 10675"/>
                        <a:gd name="connsiteX4" fmla="*/ 16453 w 18462"/>
                        <a:gd name="connsiteY4" fmla="*/ 10676 h 10675"/>
                        <a:gd name="connsiteX5" fmla="*/ 18462 w 18462"/>
                        <a:gd name="connsiteY5" fmla="*/ 9545 h 10675"/>
                        <a:gd name="connsiteX6" fmla="*/ 18462 w 18462"/>
                        <a:gd name="connsiteY6" fmla="*/ 9545 h 10675"/>
                        <a:gd name="connsiteX7" fmla="*/ 9796 w 18462"/>
                        <a:gd name="connsiteY7" fmla="*/ 4521 h 10675"/>
                        <a:gd name="connsiteX8" fmla="*/ 7787 w 18462"/>
                        <a:gd name="connsiteY8" fmla="*/ 3391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256"/>
                          </a:moveTo>
                          <a:lnTo>
                            <a:pt x="5777" y="4521"/>
                          </a:lnTo>
                          <a:lnTo>
                            <a:pt x="7787" y="5777"/>
                          </a:lnTo>
                          <a:lnTo>
                            <a:pt x="16453" y="10676"/>
                          </a:lnTo>
                          <a:lnTo>
                            <a:pt x="16453" y="10676"/>
                          </a:lnTo>
                          <a:lnTo>
                            <a:pt x="18462" y="9545"/>
                          </a:lnTo>
                          <a:lnTo>
                            <a:pt x="18462" y="9545"/>
                          </a:lnTo>
                          <a:lnTo>
                            <a:pt x="9796" y="4521"/>
                          </a:lnTo>
                          <a:lnTo>
                            <a:pt x="7787" y="3391"/>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34" name="Graphic 4">
                    <a:extLst>
                      <a:ext uri="{FF2B5EF4-FFF2-40B4-BE49-F238E27FC236}">
                        <a16:creationId xmlns:a16="http://schemas.microsoft.com/office/drawing/2014/main" id="{84FB7ED1-A2DF-40A1-A747-5F7CF3F14040}"/>
                      </a:ext>
                    </a:extLst>
                  </p:cNvPr>
                  <p:cNvGrpSpPr/>
                  <p:nvPr/>
                </p:nvGrpSpPr>
                <p:grpSpPr>
                  <a:xfrm>
                    <a:off x="3476467" y="1706306"/>
                    <a:ext cx="31901" cy="39311"/>
                    <a:chOff x="3476467" y="1706306"/>
                    <a:chExt cx="31901" cy="39311"/>
                  </a:xfrm>
                  <a:solidFill>
                    <a:schemeClr val="accent1"/>
                  </a:solidFill>
                </p:grpSpPr>
                <p:sp>
                  <p:nvSpPr>
                    <p:cNvPr id="1735" name="Freeform: Shape 1734">
                      <a:extLst>
                        <a:ext uri="{FF2B5EF4-FFF2-40B4-BE49-F238E27FC236}">
                          <a16:creationId xmlns:a16="http://schemas.microsoft.com/office/drawing/2014/main" id="{C735D7F4-43CD-4D84-8D7B-EA70B0296085}"/>
                        </a:ext>
                      </a:extLst>
                    </p:cNvPr>
                    <p:cNvSpPr/>
                    <p:nvPr/>
                  </p:nvSpPr>
                  <p:spPr>
                    <a:xfrm>
                      <a:off x="3476467" y="1706306"/>
                      <a:ext cx="31901" cy="18211"/>
                    </a:xfrm>
                    <a:custGeom>
                      <a:avLst/>
                      <a:gdLst>
                        <a:gd name="connsiteX0" fmla="*/ 0 w 31901"/>
                        <a:gd name="connsiteY0" fmla="*/ 8792 h 18211"/>
                        <a:gd name="connsiteX1" fmla="*/ 0 w 31901"/>
                        <a:gd name="connsiteY1" fmla="*/ 8792 h 18211"/>
                        <a:gd name="connsiteX2" fmla="*/ 16453 w 31901"/>
                        <a:gd name="connsiteY2" fmla="*/ 18211 h 18211"/>
                        <a:gd name="connsiteX3" fmla="*/ 23486 w 31901"/>
                        <a:gd name="connsiteY3" fmla="*/ 14192 h 18211"/>
                        <a:gd name="connsiteX4" fmla="*/ 25496 w 31901"/>
                        <a:gd name="connsiteY4" fmla="*/ 13062 h 18211"/>
                        <a:gd name="connsiteX5" fmla="*/ 31901 w 31901"/>
                        <a:gd name="connsiteY5" fmla="*/ 9420 h 18211"/>
                        <a:gd name="connsiteX6" fmla="*/ 15448 w 31901"/>
                        <a:gd name="connsiteY6" fmla="*/ 0 h 18211"/>
                        <a:gd name="connsiteX7" fmla="*/ 9043 w 31901"/>
                        <a:gd name="connsiteY7" fmla="*/ 3642 h 18211"/>
                        <a:gd name="connsiteX8" fmla="*/ 7033 w 31901"/>
                        <a:gd name="connsiteY8" fmla="*/ 4773 h 18211"/>
                        <a:gd name="connsiteX9" fmla="*/ 0 w 31901"/>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01" h="18211">
                          <a:moveTo>
                            <a:pt x="0" y="8792"/>
                          </a:moveTo>
                          <a:lnTo>
                            <a:pt x="0" y="8792"/>
                          </a:lnTo>
                          <a:lnTo>
                            <a:pt x="16453" y="18211"/>
                          </a:lnTo>
                          <a:lnTo>
                            <a:pt x="23486" y="14192"/>
                          </a:lnTo>
                          <a:lnTo>
                            <a:pt x="25496" y="13062"/>
                          </a:lnTo>
                          <a:lnTo>
                            <a:pt x="31901" y="9420"/>
                          </a:lnTo>
                          <a:lnTo>
                            <a:pt x="15448" y="0"/>
                          </a:lnTo>
                          <a:lnTo>
                            <a:pt x="9043" y="3642"/>
                          </a:lnTo>
                          <a:lnTo>
                            <a:pt x="7033"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6" name="Freeform: Shape 1735">
                      <a:extLst>
                        <a:ext uri="{FF2B5EF4-FFF2-40B4-BE49-F238E27FC236}">
                          <a16:creationId xmlns:a16="http://schemas.microsoft.com/office/drawing/2014/main" id="{5E16EAF1-D2DD-45FC-9C35-A1C7C021B304}"/>
                        </a:ext>
                      </a:extLst>
                    </p:cNvPr>
                    <p:cNvSpPr/>
                    <p:nvPr/>
                  </p:nvSpPr>
                  <p:spPr>
                    <a:xfrm>
                      <a:off x="3477095" y="1706432"/>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7" name="Freeform: Shape 1736">
                      <a:extLst>
                        <a:ext uri="{FF2B5EF4-FFF2-40B4-BE49-F238E27FC236}">
                          <a16:creationId xmlns:a16="http://schemas.microsoft.com/office/drawing/2014/main" id="{C63E67FC-EE20-4DDD-AF19-432A7A302259}"/>
                        </a:ext>
                      </a:extLst>
                    </p:cNvPr>
                    <p:cNvSpPr/>
                    <p:nvPr/>
                  </p:nvSpPr>
                  <p:spPr>
                    <a:xfrm>
                      <a:off x="3492920" y="1715600"/>
                      <a:ext cx="15448" cy="30017"/>
                    </a:xfrm>
                    <a:custGeom>
                      <a:avLst/>
                      <a:gdLst>
                        <a:gd name="connsiteX0" fmla="*/ 0 w 15448"/>
                        <a:gd name="connsiteY0" fmla="*/ 8917 h 30017"/>
                        <a:gd name="connsiteX1" fmla="*/ 0 w 15448"/>
                        <a:gd name="connsiteY1" fmla="*/ 30017 h 30017"/>
                        <a:gd name="connsiteX2" fmla="*/ 7033 w 15448"/>
                        <a:gd name="connsiteY2" fmla="*/ 25998 h 30017"/>
                        <a:gd name="connsiteX3" fmla="*/ 9043 w 15448"/>
                        <a:gd name="connsiteY3" fmla="*/ 24868 h 30017"/>
                        <a:gd name="connsiteX4" fmla="*/ 15448 w 15448"/>
                        <a:gd name="connsiteY4" fmla="*/ 21226 h 30017"/>
                        <a:gd name="connsiteX5" fmla="*/ 15448 w 15448"/>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48" h="30017">
                          <a:moveTo>
                            <a:pt x="0" y="8917"/>
                          </a:moveTo>
                          <a:lnTo>
                            <a:pt x="0" y="30017"/>
                          </a:lnTo>
                          <a:lnTo>
                            <a:pt x="7033" y="25998"/>
                          </a:lnTo>
                          <a:lnTo>
                            <a:pt x="9043" y="24868"/>
                          </a:lnTo>
                          <a:lnTo>
                            <a:pt x="15448" y="21226"/>
                          </a:lnTo>
                          <a:lnTo>
                            <a:pt x="15448"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8" name="Freeform: Shape 1737">
                      <a:extLst>
                        <a:ext uri="{FF2B5EF4-FFF2-40B4-BE49-F238E27FC236}">
                          <a16:creationId xmlns:a16="http://schemas.microsoft.com/office/drawing/2014/main" id="{A4DBC525-EB0C-42B8-9CCF-EAFEDD7E84DF}"/>
                        </a:ext>
                      </a:extLst>
                    </p:cNvPr>
                    <p:cNvSpPr/>
                    <p:nvPr/>
                  </p:nvSpPr>
                  <p:spPr>
                    <a:xfrm>
                      <a:off x="3476467" y="1715098"/>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39" name="Freeform: Shape 1738">
                    <a:extLst>
                      <a:ext uri="{FF2B5EF4-FFF2-40B4-BE49-F238E27FC236}">
                        <a16:creationId xmlns:a16="http://schemas.microsoft.com/office/drawing/2014/main" id="{4A90A234-0A46-4E04-A1A6-A2EA30D20A43}"/>
                      </a:ext>
                    </a:extLst>
                  </p:cNvPr>
                  <p:cNvSpPr/>
                  <p:nvPr/>
                </p:nvSpPr>
                <p:spPr>
                  <a:xfrm>
                    <a:off x="3499953" y="1719368"/>
                    <a:ext cx="2009" cy="22230"/>
                  </a:xfrm>
                  <a:custGeom>
                    <a:avLst/>
                    <a:gdLst>
                      <a:gd name="connsiteX0" fmla="*/ 0 w 2009"/>
                      <a:gd name="connsiteY0" fmla="*/ 1130 h 22230"/>
                      <a:gd name="connsiteX1" fmla="*/ 0 w 2009"/>
                      <a:gd name="connsiteY1" fmla="*/ 22230 h 22230"/>
                      <a:gd name="connsiteX2" fmla="*/ 2010 w 2009"/>
                      <a:gd name="connsiteY2" fmla="*/ 21100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0" name="Freeform: Shape 1739">
                    <a:extLst>
                      <a:ext uri="{FF2B5EF4-FFF2-40B4-BE49-F238E27FC236}">
                        <a16:creationId xmlns:a16="http://schemas.microsoft.com/office/drawing/2014/main" id="{102837AD-BDA6-4141-A0F0-FA8B79CC85B3}"/>
                      </a:ext>
                    </a:extLst>
                  </p:cNvPr>
                  <p:cNvSpPr/>
                  <p:nvPr/>
                </p:nvSpPr>
                <p:spPr>
                  <a:xfrm>
                    <a:off x="3483501" y="1709823"/>
                    <a:ext cx="18462" cy="10675"/>
                  </a:xfrm>
                  <a:custGeom>
                    <a:avLst/>
                    <a:gdLst>
                      <a:gd name="connsiteX0" fmla="*/ 0 w 18462"/>
                      <a:gd name="connsiteY0" fmla="*/ 1256 h 10675"/>
                      <a:gd name="connsiteX1" fmla="*/ 5777 w 18462"/>
                      <a:gd name="connsiteY1" fmla="*/ 4521 h 10675"/>
                      <a:gd name="connsiteX2" fmla="*/ 7787 w 18462"/>
                      <a:gd name="connsiteY2" fmla="*/ 5777 h 10675"/>
                      <a:gd name="connsiteX3" fmla="*/ 16453 w 18462"/>
                      <a:gd name="connsiteY3" fmla="*/ 10676 h 10675"/>
                      <a:gd name="connsiteX4" fmla="*/ 16453 w 18462"/>
                      <a:gd name="connsiteY4" fmla="*/ 10676 h 10675"/>
                      <a:gd name="connsiteX5" fmla="*/ 18462 w 18462"/>
                      <a:gd name="connsiteY5" fmla="*/ 9545 h 10675"/>
                      <a:gd name="connsiteX6" fmla="*/ 18462 w 18462"/>
                      <a:gd name="connsiteY6" fmla="*/ 9545 h 10675"/>
                      <a:gd name="connsiteX7" fmla="*/ 9796 w 18462"/>
                      <a:gd name="connsiteY7" fmla="*/ 4521 h 10675"/>
                      <a:gd name="connsiteX8" fmla="*/ 7787 w 18462"/>
                      <a:gd name="connsiteY8" fmla="*/ 3391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256"/>
                        </a:moveTo>
                        <a:lnTo>
                          <a:pt x="5777" y="4521"/>
                        </a:lnTo>
                        <a:lnTo>
                          <a:pt x="7787" y="5777"/>
                        </a:lnTo>
                        <a:lnTo>
                          <a:pt x="16453" y="10676"/>
                        </a:lnTo>
                        <a:lnTo>
                          <a:pt x="16453" y="10676"/>
                        </a:lnTo>
                        <a:lnTo>
                          <a:pt x="18462" y="9545"/>
                        </a:lnTo>
                        <a:lnTo>
                          <a:pt x="18462" y="9545"/>
                        </a:lnTo>
                        <a:lnTo>
                          <a:pt x="9796" y="4521"/>
                        </a:lnTo>
                        <a:lnTo>
                          <a:pt x="7787" y="3391"/>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41" name="Graphic 4">
                    <a:extLst>
                      <a:ext uri="{FF2B5EF4-FFF2-40B4-BE49-F238E27FC236}">
                        <a16:creationId xmlns:a16="http://schemas.microsoft.com/office/drawing/2014/main" id="{84FB7ED1-A2DF-40A1-A747-5F7CF3F14040}"/>
                      </a:ext>
                    </a:extLst>
                  </p:cNvPr>
                  <p:cNvGrpSpPr/>
                  <p:nvPr/>
                </p:nvGrpSpPr>
                <p:grpSpPr>
                  <a:xfrm>
                    <a:off x="3478979" y="1717484"/>
                    <a:ext cx="7535" cy="10801"/>
                    <a:chOff x="3478979" y="1717484"/>
                    <a:chExt cx="7535" cy="10801"/>
                  </a:xfrm>
                  <a:solidFill>
                    <a:schemeClr val="accent1"/>
                  </a:solidFill>
                </p:grpSpPr>
                <p:sp>
                  <p:nvSpPr>
                    <p:cNvPr id="1742" name="Freeform: Shape 1741">
                      <a:extLst>
                        <a:ext uri="{FF2B5EF4-FFF2-40B4-BE49-F238E27FC236}">
                          <a16:creationId xmlns:a16="http://schemas.microsoft.com/office/drawing/2014/main" id="{7BC89584-C077-4964-B2DD-BAE62710E8E8}"/>
                        </a:ext>
                      </a:extLst>
                    </p:cNvPr>
                    <p:cNvSpPr/>
                    <p:nvPr/>
                  </p:nvSpPr>
                  <p:spPr>
                    <a:xfrm>
                      <a:off x="3478979" y="1717484"/>
                      <a:ext cx="7535" cy="10801"/>
                    </a:xfrm>
                    <a:custGeom>
                      <a:avLst/>
                      <a:gdLst>
                        <a:gd name="connsiteX0" fmla="*/ 0 w 7535"/>
                        <a:gd name="connsiteY0" fmla="*/ 6405 h 10801"/>
                        <a:gd name="connsiteX1" fmla="*/ 7535 w 7535"/>
                        <a:gd name="connsiteY1" fmla="*/ 10801 h 10801"/>
                        <a:gd name="connsiteX2" fmla="*/ 7535 w 7535"/>
                        <a:gd name="connsiteY2" fmla="*/ 4270 h 10801"/>
                        <a:gd name="connsiteX3" fmla="*/ 0 w 7535"/>
                        <a:gd name="connsiteY3" fmla="*/ 0 h 10801"/>
                      </a:gdLst>
                      <a:ahLst/>
                      <a:cxnLst>
                        <a:cxn ang="0">
                          <a:pos x="connsiteX0" y="connsiteY0"/>
                        </a:cxn>
                        <a:cxn ang="0">
                          <a:pos x="connsiteX1" y="connsiteY1"/>
                        </a:cxn>
                        <a:cxn ang="0">
                          <a:pos x="connsiteX2" y="connsiteY2"/>
                        </a:cxn>
                        <a:cxn ang="0">
                          <a:pos x="connsiteX3" y="connsiteY3"/>
                        </a:cxn>
                      </a:cxnLst>
                      <a:rect l="l" t="t" r="r" b="b"/>
                      <a:pathLst>
                        <a:path w="7535" h="10801">
                          <a:moveTo>
                            <a:pt x="0" y="6405"/>
                          </a:moveTo>
                          <a:lnTo>
                            <a:pt x="7535" y="10801"/>
                          </a:lnTo>
                          <a:lnTo>
                            <a:pt x="7535" y="4270"/>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3" name="Freeform: Shape 1742">
                      <a:extLst>
                        <a:ext uri="{FF2B5EF4-FFF2-40B4-BE49-F238E27FC236}">
                          <a16:creationId xmlns:a16="http://schemas.microsoft.com/office/drawing/2014/main" id="{83FEFAF9-FAC5-4105-812E-00713E125458}"/>
                        </a:ext>
                      </a:extLst>
                    </p:cNvPr>
                    <p:cNvSpPr/>
                    <p:nvPr/>
                  </p:nvSpPr>
                  <p:spPr>
                    <a:xfrm>
                      <a:off x="3479733" y="1718740"/>
                      <a:ext cx="6154" cy="4144"/>
                    </a:xfrm>
                    <a:custGeom>
                      <a:avLst/>
                      <a:gdLst>
                        <a:gd name="connsiteX0" fmla="*/ 0 w 6154"/>
                        <a:gd name="connsiteY0" fmla="*/ 628 h 4144"/>
                        <a:gd name="connsiteX1" fmla="*/ 6154 w 6154"/>
                        <a:gd name="connsiteY1" fmla="*/ 4145 h 4144"/>
                        <a:gd name="connsiteX2" fmla="*/ 6154 w 6154"/>
                        <a:gd name="connsiteY2" fmla="*/ 3517 h 4144"/>
                        <a:gd name="connsiteX3" fmla="*/ 0 w 6154"/>
                        <a:gd name="connsiteY3" fmla="*/ 0 h 4144"/>
                      </a:gdLst>
                      <a:ahLst/>
                      <a:cxnLst>
                        <a:cxn ang="0">
                          <a:pos x="connsiteX0" y="connsiteY0"/>
                        </a:cxn>
                        <a:cxn ang="0">
                          <a:pos x="connsiteX1" y="connsiteY1"/>
                        </a:cxn>
                        <a:cxn ang="0">
                          <a:pos x="connsiteX2" y="connsiteY2"/>
                        </a:cxn>
                        <a:cxn ang="0">
                          <a:pos x="connsiteX3" y="connsiteY3"/>
                        </a:cxn>
                      </a:cxnLst>
                      <a:rect l="l" t="t" r="r" b="b"/>
                      <a:pathLst>
                        <a:path w="6154" h="4144">
                          <a:moveTo>
                            <a:pt x="0" y="628"/>
                          </a:moveTo>
                          <a:lnTo>
                            <a:pt x="6154" y="4145"/>
                          </a:lnTo>
                          <a:lnTo>
                            <a:pt x="6154" y="3517"/>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4" name="Freeform: Shape 1743">
                      <a:extLst>
                        <a:ext uri="{FF2B5EF4-FFF2-40B4-BE49-F238E27FC236}">
                          <a16:creationId xmlns:a16="http://schemas.microsoft.com/office/drawing/2014/main" id="{151BCDF3-BB11-48E4-8AB0-FFB04B46EB2E}"/>
                        </a:ext>
                      </a:extLst>
                    </p:cNvPr>
                    <p:cNvSpPr/>
                    <p:nvPr/>
                  </p:nvSpPr>
                  <p:spPr>
                    <a:xfrm>
                      <a:off x="3479733" y="1720373"/>
                      <a:ext cx="6154" cy="3893"/>
                    </a:xfrm>
                    <a:custGeom>
                      <a:avLst/>
                      <a:gdLst>
                        <a:gd name="connsiteX0" fmla="*/ 0 w 6154"/>
                        <a:gd name="connsiteY0" fmla="*/ 377 h 3893"/>
                        <a:gd name="connsiteX1" fmla="*/ 6154 w 6154"/>
                        <a:gd name="connsiteY1" fmla="*/ 3893 h 3893"/>
                        <a:gd name="connsiteX2" fmla="*/ 6154 w 6154"/>
                        <a:gd name="connsiteY2" fmla="*/ 3517 h 3893"/>
                        <a:gd name="connsiteX3" fmla="*/ 0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0" y="377"/>
                          </a:moveTo>
                          <a:lnTo>
                            <a:pt x="6154" y="3893"/>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5" name="Freeform: Shape 1744">
                      <a:extLst>
                        <a:ext uri="{FF2B5EF4-FFF2-40B4-BE49-F238E27FC236}">
                          <a16:creationId xmlns:a16="http://schemas.microsoft.com/office/drawing/2014/main" id="{D03A21EC-29E6-462C-8F5F-5149C9A00B7C}"/>
                        </a:ext>
                      </a:extLst>
                    </p:cNvPr>
                    <p:cNvSpPr/>
                    <p:nvPr/>
                  </p:nvSpPr>
                  <p:spPr>
                    <a:xfrm>
                      <a:off x="3479733" y="1721252"/>
                      <a:ext cx="6154" cy="3767"/>
                    </a:xfrm>
                    <a:custGeom>
                      <a:avLst/>
                      <a:gdLst>
                        <a:gd name="connsiteX0" fmla="*/ 0 w 6154"/>
                        <a:gd name="connsiteY0" fmla="*/ 251 h 3767"/>
                        <a:gd name="connsiteX1" fmla="*/ 6154 w 6154"/>
                        <a:gd name="connsiteY1" fmla="*/ 3768 h 3767"/>
                        <a:gd name="connsiteX2" fmla="*/ 6154 w 6154"/>
                        <a:gd name="connsiteY2" fmla="*/ 3517 h 3767"/>
                        <a:gd name="connsiteX3" fmla="*/ 0 w 6154"/>
                        <a:gd name="connsiteY3" fmla="*/ 0 h 3767"/>
                      </a:gdLst>
                      <a:ahLst/>
                      <a:cxnLst>
                        <a:cxn ang="0">
                          <a:pos x="connsiteX0" y="connsiteY0"/>
                        </a:cxn>
                        <a:cxn ang="0">
                          <a:pos x="connsiteX1" y="connsiteY1"/>
                        </a:cxn>
                        <a:cxn ang="0">
                          <a:pos x="connsiteX2" y="connsiteY2"/>
                        </a:cxn>
                        <a:cxn ang="0">
                          <a:pos x="connsiteX3" y="connsiteY3"/>
                        </a:cxn>
                      </a:cxnLst>
                      <a:rect l="l" t="t" r="r" b="b"/>
                      <a:pathLst>
                        <a:path w="6154" h="3767">
                          <a:moveTo>
                            <a:pt x="0" y="251"/>
                          </a:moveTo>
                          <a:lnTo>
                            <a:pt x="6154" y="3768"/>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6" name="Freeform: Shape 1745">
                      <a:extLst>
                        <a:ext uri="{FF2B5EF4-FFF2-40B4-BE49-F238E27FC236}">
                          <a16:creationId xmlns:a16="http://schemas.microsoft.com/office/drawing/2014/main" id="{37327B47-D8F7-4F16-A245-145B20461827}"/>
                        </a:ext>
                      </a:extLst>
                    </p:cNvPr>
                    <p:cNvSpPr/>
                    <p:nvPr/>
                  </p:nvSpPr>
                  <p:spPr>
                    <a:xfrm>
                      <a:off x="3479733" y="1722131"/>
                      <a:ext cx="6154" cy="3893"/>
                    </a:xfrm>
                    <a:custGeom>
                      <a:avLst/>
                      <a:gdLst>
                        <a:gd name="connsiteX0" fmla="*/ 0 w 6154"/>
                        <a:gd name="connsiteY0" fmla="*/ 377 h 3893"/>
                        <a:gd name="connsiteX1" fmla="*/ 6154 w 6154"/>
                        <a:gd name="connsiteY1" fmla="*/ 3893 h 3893"/>
                        <a:gd name="connsiteX2" fmla="*/ 6154 w 6154"/>
                        <a:gd name="connsiteY2" fmla="*/ 3517 h 3893"/>
                        <a:gd name="connsiteX3" fmla="*/ 0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0" y="377"/>
                          </a:moveTo>
                          <a:lnTo>
                            <a:pt x="6154" y="3893"/>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7" name="Freeform: Shape 1746">
                      <a:extLst>
                        <a:ext uri="{FF2B5EF4-FFF2-40B4-BE49-F238E27FC236}">
                          <a16:creationId xmlns:a16="http://schemas.microsoft.com/office/drawing/2014/main" id="{6BDB6B10-366D-48BB-AA9C-AF29509B17CE}"/>
                        </a:ext>
                      </a:extLst>
                    </p:cNvPr>
                    <p:cNvSpPr/>
                    <p:nvPr/>
                  </p:nvSpPr>
                  <p:spPr>
                    <a:xfrm>
                      <a:off x="3479733" y="1723010"/>
                      <a:ext cx="6154" cy="3767"/>
                    </a:xfrm>
                    <a:custGeom>
                      <a:avLst/>
                      <a:gdLst>
                        <a:gd name="connsiteX0" fmla="*/ 0 w 6154"/>
                        <a:gd name="connsiteY0" fmla="*/ 251 h 3767"/>
                        <a:gd name="connsiteX1" fmla="*/ 6154 w 6154"/>
                        <a:gd name="connsiteY1" fmla="*/ 3768 h 3767"/>
                        <a:gd name="connsiteX2" fmla="*/ 6154 w 6154"/>
                        <a:gd name="connsiteY2" fmla="*/ 3517 h 3767"/>
                        <a:gd name="connsiteX3" fmla="*/ 0 w 6154"/>
                        <a:gd name="connsiteY3" fmla="*/ 0 h 3767"/>
                      </a:gdLst>
                      <a:ahLst/>
                      <a:cxnLst>
                        <a:cxn ang="0">
                          <a:pos x="connsiteX0" y="connsiteY0"/>
                        </a:cxn>
                        <a:cxn ang="0">
                          <a:pos x="connsiteX1" y="connsiteY1"/>
                        </a:cxn>
                        <a:cxn ang="0">
                          <a:pos x="connsiteX2" y="connsiteY2"/>
                        </a:cxn>
                        <a:cxn ang="0">
                          <a:pos x="connsiteX3" y="connsiteY3"/>
                        </a:cxn>
                      </a:cxnLst>
                      <a:rect l="l" t="t" r="r" b="b"/>
                      <a:pathLst>
                        <a:path w="6154" h="3767">
                          <a:moveTo>
                            <a:pt x="0" y="251"/>
                          </a:moveTo>
                          <a:lnTo>
                            <a:pt x="6154" y="3768"/>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48" name="Graphic 4">
                    <a:extLst>
                      <a:ext uri="{FF2B5EF4-FFF2-40B4-BE49-F238E27FC236}">
                        <a16:creationId xmlns:a16="http://schemas.microsoft.com/office/drawing/2014/main" id="{84FB7ED1-A2DF-40A1-A747-5F7CF3F14040}"/>
                      </a:ext>
                    </a:extLst>
                  </p:cNvPr>
                  <p:cNvGrpSpPr/>
                  <p:nvPr/>
                </p:nvGrpSpPr>
                <p:grpSpPr>
                  <a:xfrm>
                    <a:off x="3460894" y="1707813"/>
                    <a:ext cx="7535" cy="10801"/>
                    <a:chOff x="3460894" y="1707813"/>
                    <a:chExt cx="7535" cy="10801"/>
                  </a:xfrm>
                  <a:solidFill>
                    <a:schemeClr val="accent1"/>
                  </a:solidFill>
                </p:grpSpPr>
                <p:sp>
                  <p:nvSpPr>
                    <p:cNvPr id="1749" name="Freeform: Shape 1748">
                      <a:extLst>
                        <a:ext uri="{FF2B5EF4-FFF2-40B4-BE49-F238E27FC236}">
                          <a16:creationId xmlns:a16="http://schemas.microsoft.com/office/drawing/2014/main" id="{F0F0E230-E3F7-4B90-BEEE-454D57B48E5A}"/>
                        </a:ext>
                      </a:extLst>
                    </p:cNvPr>
                    <p:cNvSpPr/>
                    <p:nvPr/>
                  </p:nvSpPr>
                  <p:spPr>
                    <a:xfrm>
                      <a:off x="3460894" y="1707813"/>
                      <a:ext cx="7535" cy="10801"/>
                    </a:xfrm>
                    <a:custGeom>
                      <a:avLst/>
                      <a:gdLst>
                        <a:gd name="connsiteX0" fmla="*/ 0 w 7535"/>
                        <a:gd name="connsiteY0" fmla="*/ 6405 h 10801"/>
                        <a:gd name="connsiteX1" fmla="*/ 7535 w 7535"/>
                        <a:gd name="connsiteY1" fmla="*/ 10801 h 10801"/>
                        <a:gd name="connsiteX2" fmla="*/ 7535 w 7535"/>
                        <a:gd name="connsiteY2" fmla="*/ 4270 h 10801"/>
                        <a:gd name="connsiteX3" fmla="*/ 0 w 7535"/>
                        <a:gd name="connsiteY3" fmla="*/ 0 h 10801"/>
                      </a:gdLst>
                      <a:ahLst/>
                      <a:cxnLst>
                        <a:cxn ang="0">
                          <a:pos x="connsiteX0" y="connsiteY0"/>
                        </a:cxn>
                        <a:cxn ang="0">
                          <a:pos x="connsiteX1" y="connsiteY1"/>
                        </a:cxn>
                        <a:cxn ang="0">
                          <a:pos x="connsiteX2" y="connsiteY2"/>
                        </a:cxn>
                        <a:cxn ang="0">
                          <a:pos x="connsiteX3" y="connsiteY3"/>
                        </a:cxn>
                      </a:cxnLst>
                      <a:rect l="l" t="t" r="r" b="b"/>
                      <a:pathLst>
                        <a:path w="7535" h="10801">
                          <a:moveTo>
                            <a:pt x="0" y="6405"/>
                          </a:moveTo>
                          <a:lnTo>
                            <a:pt x="7535" y="10801"/>
                          </a:lnTo>
                          <a:lnTo>
                            <a:pt x="7535" y="4270"/>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0" name="Freeform: Shape 1749">
                      <a:extLst>
                        <a:ext uri="{FF2B5EF4-FFF2-40B4-BE49-F238E27FC236}">
                          <a16:creationId xmlns:a16="http://schemas.microsoft.com/office/drawing/2014/main" id="{BBDA9371-035D-4FDB-BAAA-C887025829B8}"/>
                        </a:ext>
                      </a:extLst>
                    </p:cNvPr>
                    <p:cNvSpPr/>
                    <p:nvPr/>
                  </p:nvSpPr>
                  <p:spPr>
                    <a:xfrm>
                      <a:off x="3461647" y="1709069"/>
                      <a:ext cx="6028" cy="4144"/>
                    </a:xfrm>
                    <a:custGeom>
                      <a:avLst/>
                      <a:gdLst>
                        <a:gd name="connsiteX0" fmla="*/ 0 w 6028"/>
                        <a:gd name="connsiteY0" fmla="*/ 628 h 4144"/>
                        <a:gd name="connsiteX1" fmla="*/ 6028 w 6028"/>
                        <a:gd name="connsiteY1" fmla="*/ 4145 h 4144"/>
                        <a:gd name="connsiteX2" fmla="*/ 6028 w 6028"/>
                        <a:gd name="connsiteY2" fmla="*/ 3391 h 4144"/>
                        <a:gd name="connsiteX3" fmla="*/ 0 w 6028"/>
                        <a:gd name="connsiteY3" fmla="*/ 0 h 4144"/>
                      </a:gdLst>
                      <a:ahLst/>
                      <a:cxnLst>
                        <a:cxn ang="0">
                          <a:pos x="connsiteX0" y="connsiteY0"/>
                        </a:cxn>
                        <a:cxn ang="0">
                          <a:pos x="connsiteX1" y="connsiteY1"/>
                        </a:cxn>
                        <a:cxn ang="0">
                          <a:pos x="connsiteX2" y="connsiteY2"/>
                        </a:cxn>
                        <a:cxn ang="0">
                          <a:pos x="connsiteX3" y="connsiteY3"/>
                        </a:cxn>
                      </a:cxnLst>
                      <a:rect l="l" t="t" r="r" b="b"/>
                      <a:pathLst>
                        <a:path w="6028" h="4144">
                          <a:moveTo>
                            <a:pt x="0" y="628"/>
                          </a:moveTo>
                          <a:lnTo>
                            <a:pt x="6028" y="4145"/>
                          </a:lnTo>
                          <a:lnTo>
                            <a:pt x="6028" y="3391"/>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1" name="Freeform: Shape 1750">
                      <a:extLst>
                        <a:ext uri="{FF2B5EF4-FFF2-40B4-BE49-F238E27FC236}">
                          <a16:creationId xmlns:a16="http://schemas.microsoft.com/office/drawing/2014/main" id="{D6A66220-07AC-46B4-AC6D-F9A9302DA389}"/>
                        </a:ext>
                      </a:extLst>
                    </p:cNvPr>
                    <p:cNvSpPr/>
                    <p:nvPr/>
                  </p:nvSpPr>
                  <p:spPr>
                    <a:xfrm>
                      <a:off x="3461647" y="1710702"/>
                      <a:ext cx="6028" cy="3893"/>
                    </a:xfrm>
                    <a:custGeom>
                      <a:avLst/>
                      <a:gdLst>
                        <a:gd name="connsiteX0" fmla="*/ 0 w 6028"/>
                        <a:gd name="connsiteY0" fmla="*/ 377 h 3893"/>
                        <a:gd name="connsiteX1" fmla="*/ 6028 w 6028"/>
                        <a:gd name="connsiteY1" fmla="*/ 3893 h 3893"/>
                        <a:gd name="connsiteX2" fmla="*/ 6028 w 6028"/>
                        <a:gd name="connsiteY2" fmla="*/ 3517 h 3893"/>
                        <a:gd name="connsiteX3" fmla="*/ 0 w 6028"/>
                        <a:gd name="connsiteY3" fmla="*/ 0 h 3893"/>
                      </a:gdLst>
                      <a:ahLst/>
                      <a:cxnLst>
                        <a:cxn ang="0">
                          <a:pos x="connsiteX0" y="connsiteY0"/>
                        </a:cxn>
                        <a:cxn ang="0">
                          <a:pos x="connsiteX1" y="connsiteY1"/>
                        </a:cxn>
                        <a:cxn ang="0">
                          <a:pos x="connsiteX2" y="connsiteY2"/>
                        </a:cxn>
                        <a:cxn ang="0">
                          <a:pos x="connsiteX3" y="connsiteY3"/>
                        </a:cxn>
                      </a:cxnLst>
                      <a:rect l="l" t="t" r="r" b="b"/>
                      <a:pathLst>
                        <a:path w="6028" h="3893">
                          <a:moveTo>
                            <a:pt x="0" y="377"/>
                          </a:moveTo>
                          <a:lnTo>
                            <a:pt x="6028" y="3893"/>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2" name="Freeform: Shape 1751">
                      <a:extLst>
                        <a:ext uri="{FF2B5EF4-FFF2-40B4-BE49-F238E27FC236}">
                          <a16:creationId xmlns:a16="http://schemas.microsoft.com/office/drawing/2014/main" id="{2E501B93-E482-466E-BDAB-0DB7FFCF57A0}"/>
                        </a:ext>
                      </a:extLst>
                    </p:cNvPr>
                    <p:cNvSpPr/>
                    <p:nvPr/>
                  </p:nvSpPr>
                  <p:spPr>
                    <a:xfrm>
                      <a:off x="3461647" y="1711581"/>
                      <a:ext cx="6028" cy="3767"/>
                    </a:xfrm>
                    <a:custGeom>
                      <a:avLst/>
                      <a:gdLst>
                        <a:gd name="connsiteX0" fmla="*/ 0 w 6028"/>
                        <a:gd name="connsiteY0" fmla="*/ 251 h 3767"/>
                        <a:gd name="connsiteX1" fmla="*/ 6028 w 6028"/>
                        <a:gd name="connsiteY1" fmla="*/ 3768 h 3767"/>
                        <a:gd name="connsiteX2" fmla="*/ 6028 w 6028"/>
                        <a:gd name="connsiteY2" fmla="*/ 3517 h 3767"/>
                        <a:gd name="connsiteX3" fmla="*/ 0 w 6028"/>
                        <a:gd name="connsiteY3" fmla="*/ 0 h 3767"/>
                      </a:gdLst>
                      <a:ahLst/>
                      <a:cxnLst>
                        <a:cxn ang="0">
                          <a:pos x="connsiteX0" y="connsiteY0"/>
                        </a:cxn>
                        <a:cxn ang="0">
                          <a:pos x="connsiteX1" y="connsiteY1"/>
                        </a:cxn>
                        <a:cxn ang="0">
                          <a:pos x="connsiteX2" y="connsiteY2"/>
                        </a:cxn>
                        <a:cxn ang="0">
                          <a:pos x="connsiteX3" y="connsiteY3"/>
                        </a:cxn>
                      </a:cxnLst>
                      <a:rect l="l" t="t" r="r" b="b"/>
                      <a:pathLst>
                        <a:path w="6028" h="3767">
                          <a:moveTo>
                            <a:pt x="0" y="251"/>
                          </a:moveTo>
                          <a:lnTo>
                            <a:pt x="6028" y="3768"/>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3" name="Freeform: Shape 1752">
                      <a:extLst>
                        <a:ext uri="{FF2B5EF4-FFF2-40B4-BE49-F238E27FC236}">
                          <a16:creationId xmlns:a16="http://schemas.microsoft.com/office/drawing/2014/main" id="{E003E87E-B28A-433B-923B-9CFAFCF75D67}"/>
                        </a:ext>
                      </a:extLst>
                    </p:cNvPr>
                    <p:cNvSpPr/>
                    <p:nvPr/>
                  </p:nvSpPr>
                  <p:spPr>
                    <a:xfrm>
                      <a:off x="3461647" y="1712460"/>
                      <a:ext cx="6028" cy="3893"/>
                    </a:xfrm>
                    <a:custGeom>
                      <a:avLst/>
                      <a:gdLst>
                        <a:gd name="connsiteX0" fmla="*/ 0 w 6028"/>
                        <a:gd name="connsiteY0" fmla="*/ 377 h 3893"/>
                        <a:gd name="connsiteX1" fmla="*/ 6028 w 6028"/>
                        <a:gd name="connsiteY1" fmla="*/ 3893 h 3893"/>
                        <a:gd name="connsiteX2" fmla="*/ 6028 w 6028"/>
                        <a:gd name="connsiteY2" fmla="*/ 3517 h 3893"/>
                        <a:gd name="connsiteX3" fmla="*/ 0 w 6028"/>
                        <a:gd name="connsiteY3" fmla="*/ 0 h 3893"/>
                      </a:gdLst>
                      <a:ahLst/>
                      <a:cxnLst>
                        <a:cxn ang="0">
                          <a:pos x="connsiteX0" y="connsiteY0"/>
                        </a:cxn>
                        <a:cxn ang="0">
                          <a:pos x="connsiteX1" y="connsiteY1"/>
                        </a:cxn>
                        <a:cxn ang="0">
                          <a:pos x="connsiteX2" y="connsiteY2"/>
                        </a:cxn>
                        <a:cxn ang="0">
                          <a:pos x="connsiteX3" y="connsiteY3"/>
                        </a:cxn>
                      </a:cxnLst>
                      <a:rect l="l" t="t" r="r" b="b"/>
                      <a:pathLst>
                        <a:path w="6028" h="3893">
                          <a:moveTo>
                            <a:pt x="0" y="377"/>
                          </a:moveTo>
                          <a:lnTo>
                            <a:pt x="6028" y="3893"/>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4" name="Freeform: Shape 1753">
                      <a:extLst>
                        <a:ext uri="{FF2B5EF4-FFF2-40B4-BE49-F238E27FC236}">
                          <a16:creationId xmlns:a16="http://schemas.microsoft.com/office/drawing/2014/main" id="{5C8A7D37-8F71-48D1-8BD6-046AE10D3580}"/>
                        </a:ext>
                      </a:extLst>
                    </p:cNvPr>
                    <p:cNvSpPr/>
                    <p:nvPr/>
                  </p:nvSpPr>
                  <p:spPr>
                    <a:xfrm>
                      <a:off x="3461647" y="1713339"/>
                      <a:ext cx="6028" cy="3767"/>
                    </a:xfrm>
                    <a:custGeom>
                      <a:avLst/>
                      <a:gdLst>
                        <a:gd name="connsiteX0" fmla="*/ 0 w 6028"/>
                        <a:gd name="connsiteY0" fmla="*/ 251 h 3767"/>
                        <a:gd name="connsiteX1" fmla="*/ 6028 w 6028"/>
                        <a:gd name="connsiteY1" fmla="*/ 3768 h 3767"/>
                        <a:gd name="connsiteX2" fmla="*/ 6028 w 6028"/>
                        <a:gd name="connsiteY2" fmla="*/ 3517 h 3767"/>
                        <a:gd name="connsiteX3" fmla="*/ 0 w 6028"/>
                        <a:gd name="connsiteY3" fmla="*/ 0 h 3767"/>
                      </a:gdLst>
                      <a:ahLst/>
                      <a:cxnLst>
                        <a:cxn ang="0">
                          <a:pos x="connsiteX0" y="connsiteY0"/>
                        </a:cxn>
                        <a:cxn ang="0">
                          <a:pos x="connsiteX1" y="connsiteY1"/>
                        </a:cxn>
                        <a:cxn ang="0">
                          <a:pos x="connsiteX2" y="connsiteY2"/>
                        </a:cxn>
                        <a:cxn ang="0">
                          <a:pos x="connsiteX3" y="connsiteY3"/>
                        </a:cxn>
                      </a:cxnLst>
                      <a:rect l="l" t="t" r="r" b="b"/>
                      <a:pathLst>
                        <a:path w="6028" h="3767">
                          <a:moveTo>
                            <a:pt x="0" y="251"/>
                          </a:moveTo>
                          <a:lnTo>
                            <a:pt x="6028" y="3768"/>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755" name="Freeform: Shape 1754">
                  <a:extLst>
                    <a:ext uri="{FF2B5EF4-FFF2-40B4-BE49-F238E27FC236}">
                      <a16:creationId xmlns:a16="http://schemas.microsoft.com/office/drawing/2014/main" id="{2D9F9E79-A74A-4948-A0D6-5B24CE700596}"/>
                    </a:ext>
                  </a:extLst>
                </p:cNvPr>
                <p:cNvSpPr/>
                <p:nvPr/>
              </p:nvSpPr>
              <p:spPr>
                <a:xfrm>
                  <a:off x="3492794" y="1711204"/>
                  <a:ext cx="31524" cy="49986"/>
                </a:xfrm>
                <a:custGeom>
                  <a:avLst/>
                  <a:gdLst>
                    <a:gd name="connsiteX0" fmla="*/ 0 w 31524"/>
                    <a:gd name="connsiteY0" fmla="*/ 18211 h 49986"/>
                    <a:gd name="connsiteX1" fmla="*/ 31524 w 31524"/>
                    <a:gd name="connsiteY1" fmla="*/ 0 h 49986"/>
                    <a:gd name="connsiteX2" fmla="*/ 31524 w 31524"/>
                    <a:gd name="connsiteY2" fmla="*/ 31775 h 49986"/>
                    <a:gd name="connsiteX3" fmla="*/ 0 w 31524"/>
                    <a:gd name="connsiteY3" fmla="*/ 49987 h 49986"/>
                  </a:gdLst>
                  <a:ahLst/>
                  <a:cxnLst>
                    <a:cxn ang="0">
                      <a:pos x="connsiteX0" y="connsiteY0"/>
                    </a:cxn>
                    <a:cxn ang="0">
                      <a:pos x="connsiteX1" y="connsiteY1"/>
                    </a:cxn>
                    <a:cxn ang="0">
                      <a:pos x="connsiteX2" y="connsiteY2"/>
                    </a:cxn>
                    <a:cxn ang="0">
                      <a:pos x="connsiteX3" y="connsiteY3"/>
                    </a:cxn>
                  </a:cxnLst>
                  <a:rect l="l" t="t" r="r" b="b"/>
                  <a:pathLst>
                    <a:path w="31524" h="49986">
                      <a:moveTo>
                        <a:pt x="0" y="18211"/>
                      </a:moveTo>
                      <a:lnTo>
                        <a:pt x="31524" y="0"/>
                      </a:lnTo>
                      <a:lnTo>
                        <a:pt x="31524" y="31775"/>
                      </a:lnTo>
                      <a:lnTo>
                        <a:pt x="0" y="4998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6" name="Freeform: Shape 1755">
                  <a:extLst>
                    <a:ext uri="{FF2B5EF4-FFF2-40B4-BE49-F238E27FC236}">
                      <a16:creationId xmlns:a16="http://schemas.microsoft.com/office/drawing/2014/main" id="{EA759A1A-DF7A-47C0-856A-A1D88C9B787E}"/>
                    </a:ext>
                  </a:extLst>
                </p:cNvPr>
                <p:cNvSpPr/>
                <p:nvPr/>
              </p:nvSpPr>
              <p:spPr>
                <a:xfrm>
                  <a:off x="3459261" y="1710074"/>
                  <a:ext cx="33533" cy="51117"/>
                </a:xfrm>
                <a:custGeom>
                  <a:avLst/>
                  <a:gdLst>
                    <a:gd name="connsiteX0" fmla="*/ 33534 w 33533"/>
                    <a:gd name="connsiteY0" fmla="*/ 19342 h 51117"/>
                    <a:gd name="connsiteX1" fmla="*/ 0 w 33533"/>
                    <a:gd name="connsiteY1" fmla="*/ 0 h 51117"/>
                    <a:gd name="connsiteX2" fmla="*/ 0 w 33533"/>
                    <a:gd name="connsiteY2" fmla="*/ 31775 h 51117"/>
                    <a:gd name="connsiteX3" fmla="*/ 33534 w 33533"/>
                    <a:gd name="connsiteY3" fmla="*/ 51117 h 51117"/>
                  </a:gdLst>
                  <a:ahLst/>
                  <a:cxnLst>
                    <a:cxn ang="0">
                      <a:pos x="connsiteX0" y="connsiteY0"/>
                    </a:cxn>
                    <a:cxn ang="0">
                      <a:pos x="connsiteX1" y="connsiteY1"/>
                    </a:cxn>
                    <a:cxn ang="0">
                      <a:pos x="connsiteX2" y="connsiteY2"/>
                    </a:cxn>
                    <a:cxn ang="0">
                      <a:pos x="connsiteX3" y="connsiteY3"/>
                    </a:cxn>
                  </a:cxnLst>
                  <a:rect l="l" t="t" r="r" b="b"/>
                  <a:pathLst>
                    <a:path w="33533" h="51117">
                      <a:moveTo>
                        <a:pt x="33534" y="19342"/>
                      </a:moveTo>
                      <a:lnTo>
                        <a:pt x="0" y="0"/>
                      </a:lnTo>
                      <a:lnTo>
                        <a:pt x="0" y="31775"/>
                      </a:lnTo>
                      <a:lnTo>
                        <a:pt x="33534" y="5111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757" name="Graphic 4">
              <a:extLst>
                <a:ext uri="{FF2B5EF4-FFF2-40B4-BE49-F238E27FC236}">
                  <a16:creationId xmlns:a16="http://schemas.microsoft.com/office/drawing/2014/main" id="{84FB7ED1-A2DF-40A1-A747-5F7CF3F14040}"/>
                </a:ext>
              </a:extLst>
            </p:cNvPr>
            <p:cNvGrpSpPr/>
            <p:nvPr/>
          </p:nvGrpSpPr>
          <p:grpSpPr>
            <a:xfrm>
              <a:off x="3792087" y="1583726"/>
              <a:ext cx="132879" cy="120319"/>
              <a:chOff x="3792087" y="1583726"/>
              <a:chExt cx="132879" cy="120319"/>
            </a:xfrm>
            <a:solidFill>
              <a:schemeClr val="accent1"/>
            </a:solidFill>
          </p:grpSpPr>
          <p:grpSp>
            <p:nvGrpSpPr>
              <p:cNvPr id="1758" name="Graphic 4">
                <a:extLst>
                  <a:ext uri="{FF2B5EF4-FFF2-40B4-BE49-F238E27FC236}">
                    <a16:creationId xmlns:a16="http://schemas.microsoft.com/office/drawing/2014/main" id="{84FB7ED1-A2DF-40A1-A747-5F7CF3F14040}"/>
                  </a:ext>
                </a:extLst>
              </p:cNvPr>
              <p:cNvGrpSpPr/>
              <p:nvPr/>
            </p:nvGrpSpPr>
            <p:grpSpPr>
              <a:xfrm>
                <a:off x="3801632" y="1583726"/>
                <a:ext cx="79627" cy="90051"/>
                <a:chOff x="3801632" y="1583726"/>
                <a:chExt cx="79627" cy="90051"/>
              </a:xfrm>
              <a:solidFill>
                <a:schemeClr val="accent1"/>
              </a:solidFill>
            </p:grpSpPr>
            <p:grpSp>
              <p:nvGrpSpPr>
                <p:cNvPr id="1759" name="Graphic 4">
                  <a:extLst>
                    <a:ext uri="{FF2B5EF4-FFF2-40B4-BE49-F238E27FC236}">
                      <a16:creationId xmlns:a16="http://schemas.microsoft.com/office/drawing/2014/main" id="{84FB7ED1-A2DF-40A1-A747-5F7CF3F14040}"/>
                    </a:ext>
                  </a:extLst>
                </p:cNvPr>
                <p:cNvGrpSpPr/>
                <p:nvPr/>
              </p:nvGrpSpPr>
              <p:grpSpPr>
                <a:xfrm>
                  <a:off x="3801632" y="1623916"/>
                  <a:ext cx="79627" cy="49861"/>
                  <a:chOff x="3801632" y="1623916"/>
                  <a:chExt cx="79627" cy="49861"/>
                </a:xfrm>
                <a:solidFill>
                  <a:schemeClr val="accent1"/>
                </a:solidFill>
              </p:grpSpPr>
              <p:sp>
                <p:nvSpPr>
                  <p:cNvPr id="1760" name="Freeform: Shape 1759">
                    <a:extLst>
                      <a:ext uri="{FF2B5EF4-FFF2-40B4-BE49-F238E27FC236}">
                        <a16:creationId xmlns:a16="http://schemas.microsoft.com/office/drawing/2014/main" id="{EA473BDE-F70A-4EBD-9895-E0A9BF7C7ED9}"/>
                      </a:ext>
                    </a:extLst>
                  </p:cNvPr>
                  <p:cNvSpPr/>
                  <p:nvPr/>
                </p:nvSpPr>
                <p:spPr>
                  <a:xfrm>
                    <a:off x="3801632" y="1627809"/>
                    <a:ext cx="79627" cy="45967"/>
                  </a:xfrm>
                  <a:custGeom>
                    <a:avLst/>
                    <a:gdLst>
                      <a:gd name="connsiteX0" fmla="*/ 79627 w 79627"/>
                      <a:gd name="connsiteY0" fmla="*/ 22607 h 45967"/>
                      <a:gd name="connsiteX1" fmla="*/ 39186 w 79627"/>
                      <a:gd name="connsiteY1" fmla="*/ 45968 h 45967"/>
                      <a:gd name="connsiteX2" fmla="*/ 37427 w 79627"/>
                      <a:gd name="connsiteY2" fmla="*/ 44963 h 45967"/>
                      <a:gd name="connsiteX3" fmla="*/ 34539 w 79627"/>
                      <a:gd name="connsiteY3" fmla="*/ 43330 h 45967"/>
                      <a:gd name="connsiteX4" fmla="*/ 29390 w 79627"/>
                      <a:gd name="connsiteY4" fmla="*/ 40316 h 45967"/>
                      <a:gd name="connsiteX5" fmla="*/ 23612 w 79627"/>
                      <a:gd name="connsiteY5" fmla="*/ 36925 h 45967"/>
                      <a:gd name="connsiteX6" fmla="*/ 20723 w 79627"/>
                      <a:gd name="connsiteY6" fmla="*/ 35292 h 45967"/>
                      <a:gd name="connsiteX7" fmla="*/ 15448 w 79627"/>
                      <a:gd name="connsiteY7" fmla="*/ 32278 h 45967"/>
                      <a:gd name="connsiteX8" fmla="*/ 9922 w 79627"/>
                      <a:gd name="connsiteY8" fmla="*/ 29012 h 45967"/>
                      <a:gd name="connsiteX9" fmla="*/ 7034 w 79627"/>
                      <a:gd name="connsiteY9" fmla="*/ 27380 h 45967"/>
                      <a:gd name="connsiteX10" fmla="*/ 1759 w 79627"/>
                      <a:gd name="connsiteY10" fmla="*/ 24365 h 45967"/>
                      <a:gd name="connsiteX11" fmla="*/ 0 w 79627"/>
                      <a:gd name="connsiteY11" fmla="*/ 23361 h 45967"/>
                      <a:gd name="connsiteX12" fmla="*/ 1759 w 79627"/>
                      <a:gd name="connsiteY12" fmla="*/ 22230 h 45967"/>
                      <a:gd name="connsiteX13" fmla="*/ 7034 w 79627"/>
                      <a:gd name="connsiteY13" fmla="*/ 19216 h 45967"/>
                      <a:gd name="connsiteX14" fmla="*/ 9922 w 79627"/>
                      <a:gd name="connsiteY14" fmla="*/ 17583 h 45967"/>
                      <a:gd name="connsiteX15" fmla="*/ 40442 w 79627"/>
                      <a:gd name="connsiteY15" fmla="*/ 0 h 45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627" h="45967">
                        <a:moveTo>
                          <a:pt x="79627" y="22607"/>
                        </a:moveTo>
                        <a:lnTo>
                          <a:pt x="39186" y="45968"/>
                        </a:lnTo>
                        <a:lnTo>
                          <a:pt x="37427" y="44963"/>
                        </a:lnTo>
                        <a:lnTo>
                          <a:pt x="34539" y="43330"/>
                        </a:lnTo>
                        <a:lnTo>
                          <a:pt x="29390" y="40316"/>
                        </a:lnTo>
                        <a:lnTo>
                          <a:pt x="23612" y="36925"/>
                        </a:lnTo>
                        <a:lnTo>
                          <a:pt x="20723" y="35292"/>
                        </a:lnTo>
                        <a:lnTo>
                          <a:pt x="15448" y="32278"/>
                        </a:lnTo>
                        <a:lnTo>
                          <a:pt x="9922" y="29012"/>
                        </a:lnTo>
                        <a:lnTo>
                          <a:pt x="7034" y="27380"/>
                        </a:lnTo>
                        <a:lnTo>
                          <a:pt x="1759" y="24365"/>
                        </a:lnTo>
                        <a:lnTo>
                          <a:pt x="0" y="23361"/>
                        </a:lnTo>
                        <a:lnTo>
                          <a:pt x="1759" y="22230"/>
                        </a:lnTo>
                        <a:lnTo>
                          <a:pt x="7034" y="19216"/>
                        </a:lnTo>
                        <a:lnTo>
                          <a:pt x="9922" y="17583"/>
                        </a:lnTo>
                        <a:lnTo>
                          <a:pt x="40442"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1" name="Freeform: Shape 1760">
                    <a:extLst>
                      <a:ext uri="{FF2B5EF4-FFF2-40B4-BE49-F238E27FC236}">
                        <a16:creationId xmlns:a16="http://schemas.microsoft.com/office/drawing/2014/main" id="{288AFD2E-C2EA-4FBC-817E-08DC76FF15F8}"/>
                      </a:ext>
                    </a:extLst>
                  </p:cNvPr>
                  <p:cNvSpPr/>
                  <p:nvPr/>
                </p:nvSpPr>
                <p:spPr>
                  <a:xfrm>
                    <a:off x="3805526" y="1628563"/>
                    <a:ext cx="75733" cy="43706"/>
                  </a:xfrm>
                  <a:custGeom>
                    <a:avLst/>
                    <a:gdLst>
                      <a:gd name="connsiteX0" fmla="*/ 75734 w 75733"/>
                      <a:gd name="connsiteY0" fmla="*/ 21477 h 43706"/>
                      <a:gd name="connsiteX1" fmla="*/ 37302 w 75733"/>
                      <a:gd name="connsiteY1" fmla="*/ 43707 h 43706"/>
                      <a:gd name="connsiteX2" fmla="*/ 0 w 75733"/>
                      <a:gd name="connsiteY2" fmla="*/ 22105 h 43706"/>
                      <a:gd name="connsiteX3" fmla="*/ 0 w 75733"/>
                      <a:gd name="connsiteY3" fmla="*/ 21226 h 43706"/>
                      <a:gd name="connsiteX4" fmla="*/ 38432 w 75733"/>
                      <a:gd name="connsiteY4" fmla="*/ 0 h 43706"/>
                      <a:gd name="connsiteX5" fmla="*/ 75734 w 75733"/>
                      <a:gd name="connsiteY5" fmla="*/ 20598 h 4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33" h="43706">
                        <a:moveTo>
                          <a:pt x="75734" y="21477"/>
                        </a:moveTo>
                        <a:lnTo>
                          <a:pt x="37302" y="43707"/>
                        </a:lnTo>
                        <a:lnTo>
                          <a:pt x="0" y="22105"/>
                        </a:lnTo>
                        <a:lnTo>
                          <a:pt x="0" y="21226"/>
                        </a:lnTo>
                        <a:lnTo>
                          <a:pt x="38432" y="0"/>
                        </a:lnTo>
                        <a:lnTo>
                          <a:pt x="75734" y="20598"/>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2" name="Freeform: Shape 1761">
                    <a:extLst>
                      <a:ext uri="{FF2B5EF4-FFF2-40B4-BE49-F238E27FC236}">
                        <a16:creationId xmlns:a16="http://schemas.microsoft.com/office/drawing/2014/main" id="{877F5FBB-6FB4-402A-B357-FBC83E58C12D}"/>
                      </a:ext>
                    </a:extLst>
                  </p:cNvPr>
                  <p:cNvSpPr/>
                  <p:nvPr/>
                </p:nvSpPr>
                <p:spPr>
                  <a:xfrm>
                    <a:off x="3805526" y="1627684"/>
                    <a:ext cx="75733" cy="43706"/>
                  </a:xfrm>
                  <a:custGeom>
                    <a:avLst/>
                    <a:gdLst>
                      <a:gd name="connsiteX0" fmla="*/ 75734 w 75733"/>
                      <a:gd name="connsiteY0" fmla="*/ 21477 h 43706"/>
                      <a:gd name="connsiteX1" fmla="*/ 37302 w 75733"/>
                      <a:gd name="connsiteY1" fmla="*/ 43707 h 43706"/>
                      <a:gd name="connsiteX2" fmla="*/ 35669 w 75733"/>
                      <a:gd name="connsiteY2" fmla="*/ 42702 h 43706"/>
                      <a:gd name="connsiteX3" fmla="*/ 32906 w 75733"/>
                      <a:gd name="connsiteY3" fmla="*/ 41069 h 43706"/>
                      <a:gd name="connsiteX4" fmla="*/ 27882 w 75733"/>
                      <a:gd name="connsiteY4" fmla="*/ 38306 h 43706"/>
                      <a:gd name="connsiteX5" fmla="*/ 22481 w 75733"/>
                      <a:gd name="connsiteY5" fmla="*/ 35167 h 43706"/>
                      <a:gd name="connsiteX6" fmla="*/ 19718 w 75733"/>
                      <a:gd name="connsiteY6" fmla="*/ 33534 h 43706"/>
                      <a:gd name="connsiteX7" fmla="*/ 14694 w 75733"/>
                      <a:gd name="connsiteY7" fmla="*/ 30645 h 43706"/>
                      <a:gd name="connsiteX8" fmla="*/ 9420 w 75733"/>
                      <a:gd name="connsiteY8" fmla="*/ 27631 h 43706"/>
                      <a:gd name="connsiteX9" fmla="*/ 6657 w 75733"/>
                      <a:gd name="connsiteY9" fmla="*/ 25998 h 43706"/>
                      <a:gd name="connsiteX10" fmla="*/ 1758 w 75733"/>
                      <a:gd name="connsiteY10" fmla="*/ 23109 h 43706"/>
                      <a:gd name="connsiteX11" fmla="*/ 0 w 75733"/>
                      <a:gd name="connsiteY11" fmla="*/ 22105 h 43706"/>
                      <a:gd name="connsiteX12" fmla="*/ 1758 w 75733"/>
                      <a:gd name="connsiteY12" fmla="*/ 21100 h 43706"/>
                      <a:gd name="connsiteX13" fmla="*/ 6657 w 75733"/>
                      <a:gd name="connsiteY13" fmla="*/ 18337 h 43706"/>
                      <a:gd name="connsiteX14" fmla="*/ 9420 w 75733"/>
                      <a:gd name="connsiteY14" fmla="*/ 16704 h 43706"/>
                      <a:gd name="connsiteX15" fmla="*/ 38432 w 75733"/>
                      <a:gd name="connsiteY15" fmla="*/ 0 h 4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5733" h="43706">
                        <a:moveTo>
                          <a:pt x="75734" y="21477"/>
                        </a:moveTo>
                        <a:lnTo>
                          <a:pt x="37302" y="43707"/>
                        </a:lnTo>
                        <a:lnTo>
                          <a:pt x="35669" y="42702"/>
                        </a:lnTo>
                        <a:lnTo>
                          <a:pt x="32906" y="41069"/>
                        </a:lnTo>
                        <a:lnTo>
                          <a:pt x="27882" y="38306"/>
                        </a:lnTo>
                        <a:lnTo>
                          <a:pt x="22481" y="35167"/>
                        </a:lnTo>
                        <a:lnTo>
                          <a:pt x="19718" y="33534"/>
                        </a:lnTo>
                        <a:lnTo>
                          <a:pt x="14694" y="30645"/>
                        </a:lnTo>
                        <a:lnTo>
                          <a:pt x="9420" y="27631"/>
                        </a:lnTo>
                        <a:lnTo>
                          <a:pt x="6657" y="25998"/>
                        </a:lnTo>
                        <a:lnTo>
                          <a:pt x="1758" y="23109"/>
                        </a:lnTo>
                        <a:lnTo>
                          <a:pt x="0" y="22105"/>
                        </a:lnTo>
                        <a:lnTo>
                          <a:pt x="1758" y="21100"/>
                        </a:lnTo>
                        <a:lnTo>
                          <a:pt x="6657" y="18337"/>
                        </a:lnTo>
                        <a:lnTo>
                          <a:pt x="9420" y="16704"/>
                        </a:lnTo>
                        <a:lnTo>
                          <a:pt x="38432"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3" name="Freeform: Shape 1762">
                    <a:extLst>
                      <a:ext uri="{FF2B5EF4-FFF2-40B4-BE49-F238E27FC236}">
                        <a16:creationId xmlns:a16="http://schemas.microsoft.com/office/drawing/2014/main" id="{6A813784-DDB0-491D-A054-64DAF6145379}"/>
                      </a:ext>
                    </a:extLst>
                  </p:cNvPr>
                  <p:cNvSpPr/>
                  <p:nvPr/>
                </p:nvSpPr>
                <p:spPr>
                  <a:xfrm>
                    <a:off x="3810173" y="1630321"/>
                    <a:ext cx="38557" cy="22230"/>
                  </a:xfrm>
                  <a:custGeom>
                    <a:avLst/>
                    <a:gdLst>
                      <a:gd name="connsiteX0" fmla="*/ 38557 w 38557"/>
                      <a:gd name="connsiteY0" fmla="*/ 0 h 22230"/>
                      <a:gd name="connsiteX1" fmla="*/ 125 w 38557"/>
                      <a:gd name="connsiteY1" fmla="*/ 22230 h 22230"/>
                      <a:gd name="connsiteX2" fmla="*/ 0 w 38557"/>
                      <a:gd name="connsiteY2" fmla="*/ 22105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7" y="0"/>
                        </a:moveTo>
                        <a:lnTo>
                          <a:pt x="125" y="22230"/>
                        </a:lnTo>
                        <a:lnTo>
                          <a:pt x="0" y="22105"/>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4" name="Freeform: Shape 1763">
                    <a:extLst>
                      <a:ext uri="{FF2B5EF4-FFF2-40B4-BE49-F238E27FC236}">
                        <a16:creationId xmlns:a16="http://schemas.microsoft.com/office/drawing/2014/main" id="{8E8961AE-A823-43B3-80DD-947C1BA2C1F9}"/>
                      </a:ext>
                    </a:extLst>
                  </p:cNvPr>
                  <p:cNvSpPr/>
                  <p:nvPr/>
                </p:nvSpPr>
                <p:spPr>
                  <a:xfrm>
                    <a:off x="3814820" y="1632959"/>
                    <a:ext cx="38557" cy="22230"/>
                  </a:xfrm>
                  <a:custGeom>
                    <a:avLst/>
                    <a:gdLst>
                      <a:gd name="connsiteX0" fmla="*/ 38558 w 38557"/>
                      <a:gd name="connsiteY0" fmla="*/ 126 h 22230"/>
                      <a:gd name="connsiteX1" fmla="*/ 126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126"/>
                        </a:moveTo>
                        <a:lnTo>
                          <a:pt x="126" y="22230"/>
                        </a:lnTo>
                        <a:lnTo>
                          <a:pt x="0" y="22230"/>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5" name="Freeform: Shape 1764">
                    <a:extLst>
                      <a:ext uri="{FF2B5EF4-FFF2-40B4-BE49-F238E27FC236}">
                        <a16:creationId xmlns:a16="http://schemas.microsoft.com/office/drawing/2014/main" id="{B3FDFC03-7F31-4B10-A4BE-C4AABC8F2A86}"/>
                      </a:ext>
                    </a:extLst>
                  </p:cNvPr>
                  <p:cNvSpPr/>
                  <p:nvPr/>
                </p:nvSpPr>
                <p:spPr>
                  <a:xfrm>
                    <a:off x="3819467" y="1635722"/>
                    <a:ext cx="38557" cy="22230"/>
                  </a:xfrm>
                  <a:custGeom>
                    <a:avLst/>
                    <a:gdLst>
                      <a:gd name="connsiteX0" fmla="*/ 38558 w 38557"/>
                      <a:gd name="connsiteY0" fmla="*/ 0 h 22230"/>
                      <a:gd name="connsiteX1" fmla="*/ 126 w 38557"/>
                      <a:gd name="connsiteY1" fmla="*/ 22230 h 22230"/>
                      <a:gd name="connsiteX2" fmla="*/ 0 w 38557"/>
                      <a:gd name="connsiteY2" fmla="*/ 22105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0"/>
                        </a:moveTo>
                        <a:lnTo>
                          <a:pt x="126" y="22230"/>
                        </a:lnTo>
                        <a:lnTo>
                          <a:pt x="0" y="22105"/>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6" name="Freeform: Shape 1765">
                    <a:extLst>
                      <a:ext uri="{FF2B5EF4-FFF2-40B4-BE49-F238E27FC236}">
                        <a16:creationId xmlns:a16="http://schemas.microsoft.com/office/drawing/2014/main" id="{3750227E-F142-4DAB-93CF-56AC439BB8B2}"/>
                      </a:ext>
                    </a:extLst>
                  </p:cNvPr>
                  <p:cNvSpPr/>
                  <p:nvPr/>
                </p:nvSpPr>
                <p:spPr>
                  <a:xfrm>
                    <a:off x="3824114" y="1638359"/>
                    <a:ext cx="38557" cy="22230"/>
                  </a:xfrm>
                  <a:custGeom>
                    <a:avLst/>
                    <a:gdLst>
                      <a:gd name="connsiteX0" fmla="*/ 38558 w 38557"/>
                      <a:gd name="connsiteY0" fmla="*/ 126 h 22230"/>
                      <a:gd name="connsiteX1" fmla="*/ 126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126"/>
                        </a:moveTo>
                        <a:lnTo>
                          <a:pt x="126" y="22230"/>
                        </a:lnTo>
                        <a:lnTo>
                          <a:pt x="0" y="22230"/>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7" name="Freeform: Shape 1766">
                    <a:extLst>
                      <a:ext uri="{FF2B5EF4-FFF2-40B4-BE49-F238E27FC236}">
                        <a16:creationId xmlns:a16="http://schemas.microsoft.com/office/drawing/2014/main" id="{D4B46ED0-04EF-4DB0-9428-D47C418072F2}"/>
                      </a:ext>
                    </a:extLst>
                  </p:cNvPr>
                  <p:cNvSpPr/>
                  <p:nvPr/>
                </p:nvSpPr>
                <p:spPr>
                  <a:xfrm>
                    <a:off x="3828761" y="1641122"/>
                    <a:ext cx="38557" cy="22230"/>
                  </a:xfrm>
                  <a:custGeom>
                    <a:avLst/>
                    <a:gdLst>
                      <a:gd name="connsiteX0" fmla="*/ 38558 w 38557"/>
                      <a:gd name="connsiteY0" fmla="*/ 0 h 22230"/>
                      <a:gd name="connsiteX1" fmla="*/ 126 w 38557"/>
                      <a:gd name="connsiteY1" fmla="*/ 22230 h 22230"/>
                      <a:gd name="connsiteX2" fmla="*/ 0 w 38557"/>
                      <a:gd name="connsiteY2" fmla="*/ 22105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0"/>
                        </a:moveTo>
                        <a:lnTo>
                          <a:pt x="126" y="22230"/>
                        </a:lnTo>
                        <a:lnTo>
                          <a:pt x="0" y="22105"/>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8" name="Freeform: Shape 1767">
                    <a:extLst>
                      <a:ext uri="{FF2B5EF4-FFF2-40B4-BE49-F238E27FC236}">
                        <a16:creationId xmlns:a16="http://schemas.microsoft.com/office/drawing/2014/main" id="{CB3697AF-C975-4701-BCC3-C7A5972F7CA1}"/>
                      </a:ext>
                    </a:extLst>
                  </p:cNvPr>
                  <p:cNvSpPr/>
                  <p:nvPr/>
                </p:nvSpPr>
                <p:spPr>
                  <a:xfrm>
                    <a:off x="3833408" y="1643760"/>
                    <a:ext cx="38557" cy="22230"/>
                  </a:xfrm>
                  <a:custGeom>
                    <a:avLst/>
                    <a:gdLst>
                      <a:gd name="connsiteX0" fmla="*/ 38557 w 38557"/>
                      <a:gd name="connsiteY0" fmla="*/ 126 h 22230"/>
                      <a:gd name="connsiteX1" fmla="*/ 125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7" y="126"/>
                        </a:moveTo>
                        <a:lnTo>
                          <a:pt x="125" y="22230"/>
                        </a:lnTo>
                        <a:lnTo>
                          <a:pt x="0" y="22230"/>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9" name="Freeform: Shape 1768">
                    <a:extLst>
                      <a:ext uri="{FF2B5EF4-FFF2-40B4-BE49-F238E27FC236}">
                        <a16:creationId xmlns:a16="http://schemas.microsoft.com/office/drawing/2014/main" id="{49A13657-A18F-4898-87DB-EB0C68263EA9}"/>
                      </a:ext>
                    </a:extLst>
                  </p:cNvPr>
                  <p:cNvSpPr/>
                  <p:nvPr/>
                </p:nvSpPr>
                <p:spPr>
                  <a:xfrm>
                    <a:off x="3838180" y="1646397"/>
                    <a:ext cx="38431" cy="22355"/>
                  </a:xfrm>
                  <a:custGeom>
                    <a:avLst/>
                    <a:gdLst>
                      <a:gd name="connsiteX0" fmla="*/ 38432 w 38431"/>
                      <a:gd name="connsiteY0" fmla="*/ 126 h 22355"/>
                      <a:gd name="connsiteX1" fmla="*/ 0 w 38431"/>
                      <a:gd name="connsiteY1" fmla="*/ 22356 h 22355"/>
                      <a:gd name="connsiteX2" fmla="*/ 0 w 38431"/>
                      <a:gd name="connsiteY2" fmla="*/ 22230 h 22355"/>
                      <a:gd name="connsiteX3" fmla="*/ 38307 w 38431"/>
                      <a:gd name="connsiteY3" fmla="*/ 0 h 22355"/>
                    </a:gdLst>
                    <a:ahLst/>
                    <a:cxnLst>
                      <a:cxn ang="0">
                        <a:pos x="connsiteX0" y="connsiteY0"/>
                      </a:cxn>
                      <a:cxn ang="0">
                        <a:pos x="connsiteX1" y="connsiteY1"/>
                      </a:cxn>
                      <a:cxn ang="0">
                        <a:pos x="connsiteX2" y="connsiteY2"/>
                      </a:cxn>
                      <a:cxn ang="0">
                        <a:pos x="connsiteX3" y="connsiteY3"/>
                      </a:cxn>
                    </a:cxnLst>
                    <a:rect l="l" t="t" r="r" b="b"/>
                    <a:pathLst>
                      <a:path w="38431" h="22355">
                        <a:moveTo>
                          <a:pt x="38432" y="126"/>
                        </a:moveTo>
                        <a:lnTo>
                          <a:pt x="0" y="22356"/>
                        </a:lnTo>
                        <a:lnTo>
                          <a:pt x="0" y="22230"/>
                        </a:lnTo>
                        <a:lnTo>
                          <a:pt x="3830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0" name="Freeform: Shape 1769">
                    <a:extLst>
                      <a:ext uri="{FF2B5EF4-FFF2-40B4-BE49-F238E27FC236}">
                        <a16:creationId xmlns:a16="http://schemas.microsoft.com/office/drawing/2014/main" id="{C3E3E7F4-83E8-4DBB-9C0B-F489F1C68330}"/>
                      </a:ext>
                    </a:extLst>
                  </p:cNvPr>
                  <p:cNvSpPr/>
                  <p:nvPr/>
                </p:nvSpPr>
                <p:spPr>
                  <a:xfrm>
                    <a:off x="3808666" y="1644513"/>
                    <a:ext cx="4897" cy="9921"/>
                  </a:xfrm>
                  <a:custGeom>
                    <a:avLst/>
                    <a:gdLst>
                      <a:gd name="connsiteX0" fmla="*/ 4898 w 4897"/>
                      <a:gd name="connsiteY0" fmla="*/ 0 h 9921"/>
                      <a:gd name="connsiteX1" fmla="*/ 4898 w 4897"/>
                      <a:gd name="connsiteY1" fmla="*/ 9922 h 9921"/>
                      <a:gd name="connsiteX2" fmla="*/ 0 w 4897"/>
                      <a:gd name="connsiteY2" fmla="*/ 7033 h 9921"/>
                      <a:gd name="connsiteX3" fmla="*/ 0 w 4897"/>
                      <a:gd name="connsiteY3" fmla="*/ 2512 h 9921"/>
                      <a:gd name="connsiteX4" fmla="*/ 4898 w 4897"/>
                      <a:gd name="connsiteY4" fmla="*/ 0 h 9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97" h="9921">
                        <a:moveTo>
                          <a:pt x="4898" y="0"/>
                        </a:moveTo>
                        <a:lnTo>
                          <a:pt x="4898" y="9922"/>
                        </a:lnTo>
                        <a:lnTo>
                          <a:pt x="0" y="7033"/>
                        </a:lnTo>
                        <a:lnTo>
                          <a:pt x="0" y="2512"/>
                        </a:lnTo>
                        <a:cubicBezTo>
                          <a:pt x="1507" y="1633"/>
                          <a:pt x="3140" y="754"/>
                          <a:pt x="4898"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1" name="Freeform: Shape 1770">
                    <a:extLst>
                      <a:ext uri="{FF2B5EF4-FFF2-40B4-BE49-F238E27FC236}">
                        <a16:creationId xmlns:a16="http://schemas.microsoft.com/office/drawing/2014/main" id="{A03DA936-6999-4230-B47D-342547831278}"/>
                      </a:ext>
                    </a:extLst>
                  </p:cNvPr>
                  <p:cNvSpPr/>
                  <p:nvPr/>
                </p:nvSpPr>
                <p:spPr>
                  <a:xfrm>
                    <a:off x="3813564" y="1644388"/>
                    <a:ext cx="2763" cy="10047"/>
                  </a:xfrm>
                  <a:custGeom>
                    <a:avLst/>
                    <a:gdLst>
                      <a:gd name="connsiteX0" fmla="*/ 2763 w 2763"/>
                      <a:gd name="connsiteY0" fmla="*/ 0 h 10047"/>
                      <a:gd name="connsiteX1" fmla="*/ 2763 w 2763"/>
                      <a:gd name="connsiteY1" fmla="*/ 8415 h 10047"/>
                      <a:gd name="connsiteX2" fmla="*/ 0 w 2763"/>
                      <a:gd name="connsiteY2" fmla="*/ 10048 h 10047"/>
                      <a:gd name="connsiteX3" fmla="*/ 0 w 2763"/>
                      <a:gd name="connsiteY3" fmla="*/ 0 h 10047"/>
                    </a:gdLst>
                    <a:ahLst/>
                    <a:cxnLst>
                      <a:cxn ang="0">
                        <a:pos x="connsiteX0" y="connsiteY0"/>
                      </a:cxn>
                      <a:cxn ang="0">
                        <a:pos x="connsiteX1" y="connsiteY1"/>
                      </a:cxn>
                      <a:cxn ang="0">
                        <a:pos x="connsiteX2" y="connsiteY2"/>
                      </a:cxn>
                      <a:cxn ang="0">
                        <a:pos x="connsiteX3" y="connsiteY3"/>
                      </a:cxn>
                    </a:cxnLst>
                    <a:rect l="l" t="t" r="r" b="b"/>
                    <a:pathLst>
                      <a:path w="2763" h="10047">
                        <a:moveTo>
                          <a:pt x="2763" y="0"/>
                        </a:moveTo>
                        <a:lnTo>
                          <a:pt x="2763" y="8415"/>
                        </a:lnTo>
                        <a:lnTo>
                          <a:pt x="0" y="10048"/>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2" name="Freeform: Shape 1771">
                    <a:extLst>
                      <a:ext uri="{FF2B5EF4-FFF2-40B4-BE49-F238E27FC236}">
                        <a16:creationId xmlns:a16="http://schemas.microsoft.com/office/drawing/2014/main" id="{962CB13F-F62A-49AA-8D72-ECF3129C26A1}"/>
                      </a:ext>
                    </a:extLst>
                  </p:cNvPr>
                  <p:cNvSpPr/>
                  <p:nvPr/>
                </p:nvSpPr>
                <p:spPr>
                  <a:xfrm>
                    <a:off x="3821602" y="1652049"/>
                    <a:ext cx="4897" cy="9921"/>
                  </a:xfrm>
                  <a:custGeom>
                    <a:avLst/>
                    <a:gdLst>
                      <a:gd name="connsiteX0" fmla="*/ 4898 w 4897"/>
                      <a:gd name="connsiteY0" fmla="*/ 0 h 9921"/>
                      <a:gd name="connsiteX1" fmla="*/ 4898 w 4897"/>
                      <a:gd name="connsiteY1" fmla="*/ 9922 h 9921"/>
                      <a:gd name="connsiteX2" fmla="*/ 0 w 4897"/>
                      <a:gd name="connsiteY2" fmla="*/ 7033 h 9921"/>
                      <a:gd name="connsiteX3" fmla="*/ 0 w 4897"/>
                      <a:gd name="connsiteY3" fmla="*/ 0 h 9921"/>
                    </a:gdLst>
                    <a:ahLst/>
                    <a:cxnLst>
                      <a:cxn ang="0">
                        <a:pos x="connsiteX0" y="connsiteY0"/>
                      </a:cxn>
                      <a:cxn ang="0">
                        <a:pos x="connsiteX1" y="connsiteY1"/>
                      </a:cxn>
                      <a:cxn ang="0">
                        <a:pos x="connsiteX2" y="connsiteY2"/>
                      </a:cxn>
                      <a:cxn ang="0">
                        <a:pos x="connsiteX3" y="connsiteY3"/>
                      </a:cxn>
                    </a:cxnLst>
                    <a:rect l="l" t="t" r="r" b="b"/>
                    <a:pathLst>
                      <a:path w="4897" h="9921">
                        <a:moveTo>
                          <a:pt x="4898" y="0"/>
                        </a:moveTo>
                        <a:lnTo>
                          <a:pt x="4898" y="9922"/>
                        </a:lnTo>
                        <a:lnTo>
                          <a:pt x="0" y="7033"/>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3" name="Freeform: Shape 1772">
                    <a:extLst>
                      <a:ext uri="{FF2B5EF4-FFF2-40B4-BE49-F238E27FC236}">
                        <a16:creationId xmlns:a16="http://schemas.microsoft.com/office/drawing/2014/main" id="{0B997A28-9D33-488F-AC3A-65A333391CCD}"/>
                      </a:ext>
                    </a:extLst>
                  </p:cNvPr>
                  <p:cNvSpPr/>
                  <p:nvPr/>
                </p:nvSpPr>
                <p:spPr>
                  <a:xfrm>
                    <a:off x="3826500" y="1652049"/>
                    <a:ext cx="2763" cy="9921"/>
                  </a:xfrm>
                  <a:custGeom>
                    <a:avLst/>
                    <a:gdLst>
                      <a:gd name="connsiteX0" fmla="*/ 2763 w 2763"/>
                      <a:gd name="connsiteY0" fmla="*/ 0 h 9921"/>
                      <a:gd name="connsiteX1" fmla="*/ 2763 w 2763"/>
                      <a:gd name="connsiteY1" fmla="*/ 8289 h 9921"/>
                      <a:gd name="connsiteX2" fmla="*/ 0 w 2763"/>
                      <a:gd name="connsiteY2" fmla="*/ 9922 h 9921"/>
                      <a:gd name="connsiteX3" fmla="*/ 0 w 2763"/>
                      <a:gd name="connsiteY3" fmla="*/ 0 h 9921"/>
                    </a:gdLst>
                    <a:ahLst/>
                    <a:cxnLst>
                      <a:cxn ang="0">
                        <a:pos x="connsiteX0" y="connsiteY0"/>
                      </a:cxn>
                      <a:cxn ang="0">
                        <a:pos x="connsiteX1" y="connsiteY1"/>
                      </a:cxn>
                      <a:cxn ang="0">
                        <a:pos x="connsiteX2" y="connsiteY2"/>
                      </a:cxn>
                      <a:cxn ang="0">
                        <a:pos x="connsiteX3" y="connsiteY3"/>
                      </a:cxn>
                    </a:cxnLst>
                    <a:rect l="l" t="t" r="r" b="b"/>
                    <a:pathLst>
                      <a:path w="2763" h="9921">
                        <a:moveTo>
                          <a:pt x="2763" y="0"/>
                        </a:moveTo>
                        <a:lnTo>
                          <a:pt x="2763" y="8289"/>
                        </a:lnTo>
                        <a:lnTo>
                          <a:pt x="0" y="9922"/>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4" name="Freeform: Shape 1773">
                    <a:extLst>
                      <a:ext uri="{FF2B5EF4-FFF2-40B4-BE49-F238E27FC236}">
                        <a16:creationId xmlns:a16="http://schemas.microsoft.com/office/drawing/2014/main" id="{BC22CFD5-7694-4F53-932D-AD7F7A5CBFEA}"/>
                      </a:ext>
                    </a:extLst>
                  </p:cNvPr>
                  <p:cNvSpPr/>
                  <p:nvPr/>
                </p:nvSpPr>
                <p:spPr>
                  <a:xfrm>
                    <a:off x="3855387" y="1651672"/>
                    <a:ext cx="4897" cy="9670"/>
                  </a:xfrm>
                  <a:custGeom>
                    <a:avLst/>
                    <a:gdLst>
                      <a:gd name="connsiteX0" fmla="*/ 4898 w 4897"/>
                      <a:gd name="connsiteY0" fmla="*/ 0 h 9670"/>
                      <a:gd name="connsiteX1" fmla="*/ 4898 w 4897"/>
                      <a:gd name="connsiteY1" fmla="*/ 9671 h 9670"/>
                      <a:gd name="connsiteX2" fmla="*/ 0 w 4897"/>
                      <a:gd name="connsiteY2" fmla="*/ 6908 h 9670"/>
                      <a:gd name="connsiteX3" fmla="*/ 0 w 4897"/>
                      <a:gd name="connsiteY3" fmla="*/ 0 h 9670"/>
                    </a:gdLst>
                    <a:ahLst/>
                    <a:cxnLst>
                      <a:cxn ang="0">
                        <a:pos x="connsiteX0" y="connsiteY0"/>
                      </a:cxn>
                      <a:cxn ang="0">
                        <a:pos x="connsiteX1" y="connsiteY1"/>
                      </a:cxn>
                      <a:cxn ang="0">
                        <a:pos x="connsiteX2" y="connsiteY2"/>
                      </a:cxn>
                      <a:cxn ang="0">
                        <a:pos x="connsiteX3" y="connsiteY3"/>
                      </a:cxn>
                    </a:cxnLst>
                    <a:rect l="l" t="t" r="r" b="b"/>
                    <a:pathLst>
                      <a:path w="4897" h="9670">
                        <a:moveTo>
                          <a:pt x="4898" y="0"/>
                        </a:moveTo>
                        <a:lnTo>
                          <a:pt x="4898" y="9671"/>
                        </a:lnTo>
                        <a:lnTo>
                          <a:pt x="0" y="6908"/>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5" name="Freeform: Shape 1774">
                    <a:extLst>
                      <a:ext uri="{FF2B5EF4-FFF2-40B4-BE49-F238E27FC236}">
                        <a16:creationId xmlns:a16="http://schemas.microsoft.com/office/drawing/2014/main" id="{6D7DB9C5-EDFE-4314-8563-AA9AFF63E83D}"/>
                      </a:ext>
                    </a:extLst>
                  </p:cNvPr>
                  <p:cNvSpPr/>
                  <p:nvPr/>
                </p:nvSpPr>
                <p:spPr>
                  <a:xfrm>
                    <a:off x="3860285" y="1651672"/>
                    <a:ext cx="2763" cy="9670"/>
                  </a:xfrm>
                  <a:custGeom>
                    <a:avLst/>
                    <a:gdLst>
                      <a:gd name="connsiteX0" fmla="*/ 2763 w 2763"/>
                      <a:gd name="connsiteY0" fmla="*/ 0 h 9670"/>
                      <a:gd name="connsiteX1" fmla="*/ 2763 w 2763"/>
                      <a:gd name="connsiteY1" fmla="*/ 8038 h 9670"/>
                      <a:gd name="connsiteX2" fmla="*/ 0 w 2763"/>
                      <a:gd name="connsiteY2" fmla="*/ 9671 h 9670"/>
                      <a:gd name="connsiteX3" fmla="*/ 0 w 2763"/>
                      <a:gd name="connsiteY3" fmla="*/ 0 h 9670"/>
                    </a:gdLst>
                    <a:ahLst/>
                    <a:cxnLst>
                      <a:cxn ang="0">
                        <a:pos x="connsiteX0" y="connsiteY0"/>
                      </a:cxn>
                      <a:cxn ang="0">
                        <a:pos x="connsiteX1" y="connsiteY1"/>
                      </a:cxn>
                      <a:cxn ang="0">
                        <a:pos x="connsiteX2" y="connsiteY2"/>
                      </a:cxn>
                      <a:cxn ang="0">
                        <a:pos x="connsiteX3" y="connsiteY3"/>
                      </a:cxn>
                    </a:cxnLst>
                    <a:rect l="l" t="t" r="r" b="b"/>
                    <a:pathLst>
                      <a:path w="2763" h="9670">
                        <a:moveTo>
                          <a:pt x="2763" y="0"/>
                        </a:moveTo>
                        <a:lnTo>
                          <a:pt x="2763" y="8038"/>
                        </a:lnTo>
                        <a:lnTo>
                          <a:pt x="0" y="9671"/>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6" name="Freeform: Shape 1775">
                    <a:extLst>
                      <a:ext uri="{FF2B5EF4-FFF2-40B4-BE49-F238E27FC236}">
                        <a16:creationId xmlns:a16="http://schemas.microsoft.com/office/drawing/2014/main" id="{C9C5684D-6F9A-43FC-8712-6CD888BD38BA}"/>
                      </a:ext>
                    </a:extLst>
                  </p:cNvPr>
                  <p:cNvSpPr/>
                  <p:nvPr/>
                </p:nvSpPr>
                <p:spPr>
                  <a:xfrm>
                    <a:off x="3837803" y="1661845"/>
                    <a:ext cx="5024" cy="9670"/>
                  </a:xfrm>
                  <a:custGeom>
                    <a:avLst/>
                    <a:gdLst>
                      <a:gd name="connsiteX0" fmla="*/ 5024 w 5024"/>
                      <a:gd name="connsiteY0" fmla="*/ 0 h 9670"/>
                      <a:gd name="connsiteX1" fmla="*/ 5024 w 5024"/>
                      <a:gd name="connsiteY1" fmla="*/ 9671 h 9670"/>
                      <a:gd name="connsiteX2" fmla="*/ 0 w 5024"/>
                      <a:gd name="connsiteY2" fmla="*/ 6908 h 9670"/>
                      <a:gd name="connsiteX3" fmla="*/ 0 w 5024"/>
                      <a:gd name="connsiteY3" fmla="*/ 0 h 9670"/>
                    </a:gdLst>
                    <a:ahLst/>
                    <a:cxnLst>
                      <a:cxn ang="0">
                        <a:pos x="connsiteX0" y="connsiteY0"/>
                      </a:cxn>
                      <a:cxn ang="0">
                        <a:pos x="connsiteX1" y="connsiteY1"/>
                      </a:cxn>
                      <a:cxn ang="0">
                        <a:pos x="connsiteX2" y="connsiteY2"/>
                      </a:cxn>
                      <a:cxn ang="0">
                        <a:pos x="connsiteX3" y="connsiteY3"/>
                      </a:cxn>
                    </a:cxnLst>
                    <a:rect l="l" t="t" r="r" b="b"/>
                    <a:pathLst>
                      <a:path w="5024" h="9670">
                        <a:moveTo>
                          <a:pt x="5024" y="0"/>
                        </a:moveTo>
                        <a:lnTo>
                          <a:pt x="5024" y="9671"/>
                        </a:lnTo>
                        <a:lnTo>
                          <a:pt x="0" y="6908"/>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7" name="Freeform: Shape 1776">
                    <a:extLst>
                      <a:ext uri="{FF2B5EF4-FFF2-40B4-BE49-F238E27FC236}">
                        <a16:creationId xmlns:a16="http://schemas.microsoft.com/office/drawing/2014/main" id="{0DFC5CDC-7543-4C1C-A96C-D48ACE2E7EC8}"/>
                      </a:ext>
                    </a:extLst>
                  </p:cNvPr>
                  <p:cNvSpPr/>
                  <p:nvPr/>
                </p:nvSpPr>
                <p:spPr>
                  <a:xfrm>
                    <a:off x="3842827" y="1661845"/>
                    <a:ext cx="2762" cy="9670"/>
                  </a:xfrm>
                  <a:custGeom>
                    <a:avLst/>
                    <a:gdLst>
                      <a:gd name="connsiteX0" fmla="*/ 2763 w 2762"/>
                      <a:gd name="connsiteY0" fmla="*/ 0 h 9670"/>
                      <a:gd name="connsiteX1" fmla="*/ 2763 w 2762"/>
                      <a:gd name="connsiteY1" fmla="*/ 8038 h 9670"/>
                      <a:gd name="connsiteX2" fmla="*/ 0 w 2762"/>
                      <a:gd name="connsiteY2" fmla="*/ 9671 h 9670"/>
                      <a:gd name="connsiteX3" fmla="*/ 0 w 2762"/>
                      <a:gd name="connsiteY3" fmla="*/ 0 h 9670"/>
                    </a:gdLst>
                    <a:ahLst/>
                    <a:cxnLst>
                      <a:cxn ang="0">
                        <a:pos x="connsiteX0" y="connsiteY0"/>
                      </a:cxn>
                      <a:cxn ang="0">
                        <a:pos x="connsiteX1" y="connsiteY1"/>
                      </a:cxn>
                      <a:cxn ang="0">
                        <a:pos x="connsiteX2" y="connsiteY2"/>
                      </a:cxn>
                      <a:cxn ang="0">
                        <a:pos x="connsiteX3" y="connsiteY3"/>
                      </a:cxn>
                    </a:cxnLst>
                    <a:rect l="l" t="t" r="r" b="b"/>
                    <a:pathLst>
                      <a:path w="2762" h="9670">
                        <a:moveTo>
                          <a:pt x="2763" y="0"/>
                        </a:moveTo>
                        <a:lnTo>
                          <a:pt x="2763" y="8038"/>
                        </a:lnTo>
                        <a:lnTo>
                          <a:pt x="0" y="9671"/>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8" name="Freeform: Shape 1777">
                    <a:extLst>
                      <a:ext uri="{FF2B5EF4-FFF2-40B4-BE49-F238E27FC236}">
                        <a16:creationId xmlns:a16="http://schemas.microsoft.com/office/drawing/2014/main" id="{FBA921BA-E118-428F-B997-5BEBE210B3D3}"/>
                      </a:ext>
                    </a:extLst>
                  </p:cNvPr>
                  <p:cNvSpPr/>
                  <p:nvPr/>
                </p:nvSpPr>
                <p:spPr>
                  <a:xfrm>
                    <a:off x="3871965" y="1646021"/>
                    <a:ext cx="5023" cy="5651"/>
                  </a:xfrm>
                  <a:custGeom>
                    <a:avLst/>
                    <a:gdLst>
                      <a:gd name="connsiteX0" fmla="*/ 0 w 5023"/>
                      <a:gd name="connsiteY0" fmla="*/ 0 h 5651"/>
                      <a:gd name="connsiteX1" fmla="*/ 0 w 5023"/>
                      <a:gd name="connsiteY1" fmla="*/ 2763 h 5651"/>
                      <a:gd name="connsiteX2" fmla="*/ 5024 w 5023"/>
                      <a:gd name="connsiteY2" fmla="*/ 5652 h 5651"/>
                      <a:gd name="connsiteX3" fmla="*/ 5024 w 5023"/>
                      <a:gd name="connsiteY3" fmla="*/ 0 h 5651"/>
                    </a:gdLst>
                    <a:ahLst/>
                    <a:cxnLst>
                      <a:cxn ang="0">
                        <a:pos x="connsiteX0" y="connsiteY0"/>
                      </a:cxn>
                      <a:cxn ang="0">
                        <a:pos x="connsiteX1" y="connsiteY1"/>
                      </a:cxn>
                      <a:cxn ang="0">
                        <a:pos x="connsiteX2" y="connsiteY2"/>
                      </a:cxn>
                      <a:cxn ang="0">
                        <a:pos x="connsiteX3" y="connsiteY3"/>
                      </a:cxn>
                    </a:cxnLst>
                    <a:rect l="l" t="t" r="r" b="b"/>
                    <a:pathLst>
                      <a:path w="5023" h="5651">
                        <a:moveTo>
                          <a:pt x="0" y="0"/>
                        </a:moveTo>
                        <a:lnTo>
                          <a:pt x="0" y="2763"/>
                        </a:lnTo>
                        <a:lnTo>
                          <a:pt x="5024" y="5652"/>
                        </a:lnTo>
                        <a:lnTo>
                          <a:pt x="5024"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9" name="Freeform: Shape 1778">
                    <a:extLst>
                      <a:ext uri="{FF2B5EF4-FFF2-40B4-BE49-F238E27FC236}">
                        <a16:creationId xmlns:a16="http://schemas.microsoft.com/office/drawing/2014/main" id="{14E9440C-1008-46D9-B1B0-D35C45C27219}"/>
                      </a:ext>
                    </a:extLst>
                  </p:cNvPr>
                  <p:cNvSpPr/>
                  <p:nvPr/>
                </p:nvSpPr>
                <p:spPr>
                  <a:xfrm>
                    <a:off x="3876989" y="1646021"/>
                    <a:ext cx="2763" cy="5651"/>
                  </a:xfrm>
                  <a:custGeom>
                    <a:avLst/>
                    <a:gdLst>
                      <a:gd name="connsiteX0" fmla="*/ 0 w 2763"/>
                      <a:gd name="connsiteY0" fmla="*/ 0 h 5651"/>
                      <a:gd name="connsiteX1" fmla="*/ 0 w 2763"/>
                      <a:gd name="connsiteY1" fmla="*/ 5652 h 5651"/>
                      <a:gd name="connsiteX2" fmla="*/ 2763 w 2763"/>
                      <a:gd name="connsiteY2" fmla="*/ 4019 h 5651"/>
                      <a:gd name="connsiteX3" fmla="*/ 2763 w 2763"/>
                      <a:gd name="connsiteY3" fmla="*/ 0 h 5651"/>
                    </a:gdLst>
                    <a:ahLst/>
                    <a:cxnLst>
                      <a:cxn ang="0">
                        <a:pos x="connsiteX0" y="connsiteY0"/>
                      </a:cxn>
                      <a:cxn ang="0">
                        <a:pos x="connsiteX1" y="connsiteY1"/>
                      </a:cxn>
                      <a:cxn ang="0">
                        <a:pos x="connsiteX2" y="connsiteY2"/>
                      </a:cxn>
                      <a:cxn ang="0">
                        <a:pos x="connsiteX3" y="connsiteY3"/>
                      </a:cxn>
                    </a:cxnLst>
                    <a:rect l="l" t="t" r="r" b="b"/>
                    <a:pathLst>
                      <a:path w="2763" h="5651">
                        <a:moveTo>
                          <a:pt x="0" y="0"/>
                        </a:moveTo>
                        <a:lnTo>
                          <a:pt x="0" y="5652"/>
                        </a:lnTo>
                        <a:lnTo>
                          <a:pt x="2763" y="4019"/>
                        </a:lnTo>
                        <a:lnTo>
                          <a:pt x="2763"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0" name="Freeform: Shape 1779">
                    <a:extLst>
                      <a:ext uri="{FF2B5EF4-FFF2-40B4-BE49-F238E27FC236}">
                        <a16:creationId xmlns:a16="http://schemas.microsoft.com/office/drawing/2014/main" id="{E76C4360-5F2F-4F0D-81A0-4432929B3D4D}"/>
                      </a:ext>
                    </a:extLst>
                  </p:cNvPr>
                  <p:cNvSpPr/>
                  <p:nvPr/>
                </p:nvSpPr>
                <p:spPr>
                  <a:xfrm>
                    <a:off x="3805526" y="1624669"/>
                    <a:ext cx="75733" cy="43832"/>
                  </a:xfrm>
                  <a:custGeom>
                    <a:avLst/>
                    <a:gdLst>
                      <a:gd name="connsiteX0" fmla="*/ 75734 w 75733"/>
                      <a:gd name="connsiteY0" fmla="*/ 21602 h 43832"/>
                      <a:gd name="connsiteX1" fmla="*/ 37302 w 75733"/>
                      <a:gd name="connsiteY1" fmla="*/ 43833 h 43832"/>
                      <a:gd name="connsiteX2" fmla="*/ 0 w 75733"/>
                      <a:gd name="connsiteY2" fmla="*/ 22230 h 43832"/>
                      <a:gd name="connsiteX3" fmla="*/ 0 w 75733"/>
                      <a:gd name="connsiteY3" fmla="*/ 21477 h 43832"/>
                      <a:gd name="connsiteX4" fmla="*/ 38432 w 75733"/>
                      <a:gd name="connsiteY4" fmla="*/ 0 h 43832"/>
                      <a:gd name="connsiteX5" fmla="*/ 75734 w 75733"/>
                      <a:gd name="connsiteY5" fmla="*/ 20723 h 4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33" h="43832">
                        <a:moveTo>
                          <a:pt x="75734" y="21602"/>
                        </a:moveTo>
                        <a:lnTo>
                          <a:pt x="37302" y="43833"/>
                        </a:lnTo>
                        <a:lnTo>
                          <a:pt x="0" y="22230"/>
                        </a:lnTo>
                        <a:lnTo>
                          <a:pt x="0" y="21477"/>
                        </a:lnTo>
                        <a:lnTo>
                          <a:pt x="38432" y="0"/>
                        </a:lnTo>
                        <a:lnTo>
                          <a:pt x="75734" y="20723"/>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81" name="Graphic 4">
                    <a:extLst>
                      <a:ext uri="{FF2B5EF4-FFF2-40B4-BE49-F238E27FC236}">
                        <a16:creationId xmlns:a16="http://schemas.microsoft.com/office/drawing/2014/main" id="{84FB7ED1-A2DF-40A1-A747-5F7CF3F14040}"/>
                      </a:ext>
                    </a:extLst>
                  </p:cNvPr>
                  <p:cNvGrpSpPr/>
                  <p:nvPr/>
                </p:nvGrpSpPr>
                <p:grpSpPr>
                  <a:xfrm>
                    <a:off x="3805526" y="1623916"/>
                    <a:ext cx="75733" cy="43706"/>
                    <a:chOff x="3805526" y="1623916"/>
                    <a:chExt cx="75733" cy="43706"/>
                  </a:xfrm>
                  <a:solidFill>
                    <a:schemeClr val="accent1"/>
                  </a:solidFill>
                </p:grpSpPr>
                <p:sp>
                  <p:nvSpPr>
                    <p:cNvPr id="1782" name="Freeform: Shape 1781">
                      <a:extLst>
                        <a:ext uri="{FF2B5EF4-FFF2-40B4-BE49-F238E27FC236}">
                          <a16:creationId xmlns:a16="http://schemas.microsoft.com/office/drawing/2014/main" id="{8A4C809D-8236-4A3A-98CB-4A0B35381013}"/>
                        </a:ext>
                      </a:extLst>
                    </p:cNvPr>
                    <p:cNvSpPr/>
                    <p:nvPr/>
                  </p:nvSpPr>
                  <p:spPr>
                    <a:xfrm>
                      <a:off x="3805526" y="1623916"/>
                      <a:ext cx="75733" cy="43706"/>
                    </a:xfrm>
                    <a:custGeom>
                      <a:avLst/>
                      <a:gdLst>
                        <a:gd name="connsiteX0" fmla="*/ 75734 w 75733"/>
                        <a:gd name="connsiteY0" fmla="*/ 21477 h 43706"/>
                        <a:gd name="connsiteX1" fmla="*/ 37302 w 75733"/>
                        <a:gd name="connsiteY1" fmla="*/ 43707 h 43706"/>
                        <a:gd name="connsiteX2" fmla="*/ 0 w 75733"/>
                        <a:gd name="connsiteY2" fmla="*/ 22230 h 43706"/>
                        <a:gd name="connsiteX3" fmla="*/ 38432 w 75733"/>
                        <a:gd name="connsiteY3" fmla="*/ 0 h 43706"/>
                      </a:gdLst>
                      <a:ahLst/>
                      <a:cxnLst>
                        <a:cxn ang="0">
                          <a:pos x="connsiteX0" y="connsiteY0"/>
                        </a:cxn>
                        <a:cxn ang="0">
                          <a:pos x="connsiteX1" y="connsiteY1"/>
                        </a:cxn>
                        <a:cxn ang="0">
                          <a:pos x="connsiteX2" y="connsiteY2"/>
                        </a:cxn>
                        <a:cxn ang="0">
                          <a:pos x="connsiteX3" y="connsiteY3"/>
                        </a:cxn>
                      </a:cxnLst>
                      <a:rect l="l" t="t" r="r" b="b"/>
                      <a:pathLst>
                        <a:path w="75733" h="43706">
                          <a:moveTo>
                            <a:pt x="75734" y="21477"/>
                          </a:moveTo>
                          <a:lnTo>
                            <a:pt x="37302" y="43707"/>
                          </a:lnTo>
                          <a:lnTo>
                            <a:pt x="0" y="22230"/>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3" name="Freeform: Shape 1782">
                      <a:extLst>
                        <a:ext uri="{FF2B5EF4-FFF2-40B4-BE49-F238E27FC236}">
                          <a16:creationId xmlns:a16="http://schemas.microsoft.com/office/drawing/2014/main" id="{EA7B1F47-9D6D-4688-9E4E-BE82AFFA9A1B}"/>
                        </a:ext>
                      </a:extLst>
                    </p:cNvPr>
                    <p:cNvSpPr/>
                    <p:nvPr/>
                  </p:nvSpPr>
                  <p:spPr>
                    <a:xfrm>
                      <a:off x="3810173" y="1626553"/>
                      <a:ext cx="38557" cy="22230"/>
                    </a:xfrm>
                    <a:custGeom>
                      <a:avLst/>
                      <a:gdLst>
                        <a:gd name="connsiteX0" fmla="*/ 38557 w 38557"/>
                        <a:gd name="connsiteY0" fmla="*/ 126 h 22230"/>
                        <a:gd name="connsiteX1" fmla="*/ 125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7" y="126"/>
                          </a:moveTo>
                          <a:lnTo>
                            <a:pt x="125" y="22230"/>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4" name="Freeform: Shape 1783">
                      <a:extLst>
                        <a:ext uri="{FF2B5EF4-FFF2-40B4-BE49-F238E27FC236}">
                          <a16:creationId xmlns:a16="http://schemas.microsoft.com/office/drawing/2014/main" id="{238DA9BC-988F-4433-9A99-D563BB3D5E3C}"/>
                        </a:ext>
                      </a:extLst>
                    </p:cNvPr>
                    <p:cNvSpPr/>
                    <p:nvPr/>
                  </p:nvSpPr>
                  <p:spPr>
                    <a:xfrm>
                      <a:off x="3814820" y="1629316"/>
                      <a:ext cx="38557" cy="22230"/>
                    </a:xfrm>
                    <a:custGeom>
                      <a:avLst/>
                      <a:gdLst>
                        <a:gd name="connsiteX0" fmla="*/ 38558 w 38557"/>
                        <a:gd name="connsiteY0" fmla="*/ 0 h 22230"/>
                        <a:gd name="connsiteX1" fmla="*/ 126 w 38557"/>
                        <a:gd name="connsiteY1" fmla="*/ 22230 h 22230"/>
                        <a:gd name="connsiteX2" fmla="*/ 0 w 38557"/>
                        <a:gd name="connsiteY2" fmla="*/ 22105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0"/>
                          </a:moveTo>
                          <a:lnTo>
                            <a:pt x="126" y="22230"/>
                          </a:lnTo>
                          <a:lnTo>
                            <a:pt x="0" y="22105"/>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5" name="Freeform: Shape 1784">
                      <a:extLst>
                        <a:ext uri="{FF2B5EF4-FFF2-40B4-BE49-F238E27FC236}">
                          <a16:creationId xmlns:a16="http://schemas.microsoft.com/office/drawing/2014/main" id="{63220CA6-9268-4A71-9602-5056B06D6CF7}"/>
                        </a:ext>
                      </a:extLst>
                    </p:cNvPr>
                    <p:cNvSpPr/>
                    <p:nvPr/>
                  </p:nvSpPr>
                  <p:spPr>
                    <a:xfrm>
                      <a:off x="3819467" y="1631954"/>
                      <a:ext cx="38557" cy="22230"/>
                    </a:xfrm>
                    <a:custGeom>
                      <a:avLst/>
                      <a:gdLst>
                        <a:gd name="connsiteX0" fmla="*/ 38558 w 38557"/>
                        <a:gd name="connsiteY0" fmla="*/ 126 h 22230"/>
                        <a:gd name="connsiteX1" fmla="*/ 126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126"/>
                          </a:moveTo>
                          <a:lnTo>
                            <a:pt x="126" y="22230"/>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6" name="Freeform: Shape 1785">
                      <a:extLst>
                        <a:ext uri="{FF2B5EF4-FFF2-40B4-BE49-F238E27FC236}">
                          <a16:creationId xmlns:a16="http://schemas.microsoft.com/office/drawing/2014/main" id="{3C7C2446-2D3A-4E28-AD5C-C6E37B8D16FF}"/>
                        </a:ext>
                      </a:extLst>
                    </p:cNvPr>
                    <p:cNvSpPr/>
                    <p:nvPr/>
                  </p:nvSpPr>
                  <p:spPr>
                    <a:xfrm>
                      <a:off x="3824114" y="1634591"/>
                      <a:ext cx="38557" cy="22355"/>
                    </a:xfrm>
                    <a:custGeom>
                      <a:avLst/>
                      <a:gdLst>
                        <a:gd name="connsiteX0" fmla="*/ 38558 w 38557"/>
                        <a:gd name="connsiteY0" fmla="*/ 126 h 22355"/>
                        <a:gd name="connsiteX1" fmla="*/ 126 w 38557"/>
                        <a:gd name="connsiteY1" fmla="*/ 22356 h 22355"/>
                        <a:gd name="connsiteX2" fmla="*/ 0 w 38557"/>
                        <a:gd name="connsiteY2" fmla="*/ 22230 h 22355"/>
                        <a:gd name="connsiteX3" fmla="*/ 38432 w 38557"/>
                        <a:gd name="connsiteY3" fmla="*/ 0 h 22355"/>
                      </a:gdLst>
                      <a:ahLst/>
                      <a:cxnLst>
                        <a:cxn ang="0">
                          <a:pos x="connsiteX0" y="connsiteY0"/>
                        </a:cxn>
                        <a:cxn ang="0">
                          <a:pos x="connsiteX1" y="connsiteY1"/>
                        </a:cxn>
                        <a:cxn ang="0">
                          <a:pos x="connsiteX2" y="connsiteY2"/>
                        </a:cxn>
                        <a:cxn ang="0">
                          <a:pos x="connsiteX3" y="connsiteY3"/>
                        </a:cxn>
                      </a:cxnLst>
                      <a:rect l="l" t="t" r="r" b="b"/>
                      <a:pathLst>
                        <a:path w="38557" h="22355">
                          <a:moveTo>
                            <a:pt x="38558" y="126"/>
                          </a:moveTo>
                          <a:lnTo>
                            <a:pt x="126" y="22356"/>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7" name="Freeform: Shape 1786">
                      <a:extLst>
                        <a:ext uri="{FF2B5EF4-FFF2-40B4-BE49-F238E27FC236}">
                          <a16:creationId xmlns:a16="http://schemas.microsoft.com/office/drawing/2014/main" id="{6BB0ADAD-3132-419C-8D98-CCE8CCE0528C}"/>
                        </a:ext>
                      </a:extLst>
                    </p:cNvPr>
                    <p:cNvSpPr/>
                    <p:nvPr/>
                  </p:nvSpPr>
                  <p:spPr>
                    <a:xfrm>
                      <a:off x="3828761" y="1637354"/>
                      <a:ext cx="38557" cy="22230"/>
                    </a:xfrm>
                    <a:custGeom>
                      <a:avLst/>
                      <a:gdLst>
                        <a:gd name="connsiteX0" fmla="*/ 38558 w 38557"/>
                        <a:gd name="connsiteY0" fmla="*/ 0 h 22230"/>
                        <a:gd name="connsiteX1" fmla="*/ 126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0"/>
                          </a:moveTo>
                          <a:lnTo>
                            <a:pt x="126" y="22230"/>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8" name="Freeform: Shape 1787">
                      <a:extLst>
                        <a:ext uri="{FF2B5EF4-FFF2-40B4-BE49-F238E27FC236}">
                          <a16:creationId xmlns:a16="http://schemas.microsoft.com/office/drawing/2014/main" id="{6386424C-F8FC-4F5A-8A2C-C70DFC76E84D}"/>
                        </a:ext>
                      </a:extLst>
                    </p:cNvPr>
                    <p:cNvSpPr/>
                    <p:nvPr/>
                  </p:nvSpPr>
                  <p:spPr>
                    <a:xfrm>
                      <a:off x="3833408" y="1639992"/>
                      <a:ext cx="38557" cy="22230"/>
                    </a:xfrm>
                    <a:custGeom>
                      <a:avLst/>
                      <a:gdLst>
                        <a:gd name="connsiteX0" fmla="*/ 38557 w 38557"/>
                        <a:gd name="connsiteY0" fmla="*/ 126 h 22230"/>
                        <a:gd name="connsiteX1" fmla="*/ 125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7" y="126"/>
                          </a:moveTo>
                          <a:lnTo>
                            <a:pt x="125" y="22230"/>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9" name="Freeform: Shape 1788">
                      <a:extLst>
                        <a:ext uri="{FF2B5EF4-FFF2-40B4-BE49-F238E27FC236}">
                          <a16:creationId xmlns:a16="http://schemas.microsoft.com/office/drawing/2014/main" id="{DFB339F5-48B0-4821-B727-F073AD2EB212}"/>
                        </a:ext>
                      </a:extLst>
                    </p:cNvPr>
                    <p:cNvSpPr/>
                    <p:nvPr/>
                  </p:nvSpPr>
                  <p:spPr>
                    <a:xfrm>
                      <a:off x="3838180" y="1642755"/>
                      <a:ext cx="38431" cy="22230"/>
                    </a:xfrm>
                    <a:custGeom>
                      <a:avLst/>
                      <a:gdLst>
                        <a:gd name="connsiteX0" fmla="*/ 38432 w 38431"/>
                        <a:gd name="connsiteY0" fmla="*/ 0 h 22230"/>
                        <a:gd name="connsiteX1" fmla="*/ 0 w 38431"/>
                        <a:gd name="connsiteY1" fmla="*/ 22230 h 22230"/>
                        <a:gd name="connsiteX2" fmla="*/ 0 w 38431"/>
                        <a:gd name="connsiteY2" fmla="*/ 22105 h 22230"/>
                        <a:gd name="connsiteX3" fmla="*/ 38307 w 38431"/>
                        <a:gd name="connsiteY3" fmla="*/ 0 h 22230"/>
                      </a:gdLst>
                      <a:ahLst/>
                      <a:cxnLst>
                        <a:cxn ang="0">
                          <a:pos x="connsiteX0" y="connsiteY0"/>
                        </a:cxn>
                        <a:cxn ang="0">
                          <a:pos x="connsiteX1" y="connsiteY1"/>
                        </a:cxn>
                        <a:cxn ang="0">
                          <a:pos x="connsiteX2" y="connsiteY2"/>
                        </a:cxn>
                        <a:cxn ang="0">
                          <a:pos x="connsiteX3" y="connsiteY3"/>
                        </a:cxn>
                      </a:cxnLst>
                      <a:rect l="l" t="t" r="r" b="b"/>
                      <a:pathLst>
                        <a:path w="38431" h="22230">
                          <a:moveTo>
                            <a:pt x="38432" y="0"/>
                          </a:moveTo>
                          <a:lnTo>
                            <a:pt x="0" y="22230"/>
                          </a:lnTo>
                          <a:lnTo>
                            <a:pt x="0" y="22105"/>
                          </a:lnTo>
                          <a:lnTo>
                            <a:pt x="3830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90" name="Freeform: Shape 1789">
                    <a:extLst>
                      <a:ext uri="{FF2B5EF4-FFF2-40B4-BE49-F238E27FC236}">
                        <a16:creationId xmlns:a16="http://schemas.microsoft.com/office/drawing/2014/main" id="{CC3B6777-EDDA-4086-AA21-79D12EAE617F}"/>
                      </a:ext>
                    </a:extLst>
                  </p:cNvPr>
                  <p:cNvSpPr/>
                  <p:nvPr/>
                </p:nvSpPr>
                <p:spPr>
                  <a:xfrm>
                    <a:off x="3805526" y="1649788"/>
                    <a:ext cx="37301" cy="22481"/>
                  </a:xfrm>
                  <a:custGeom>
                    <a:avLst/>
                    <a:gdLst>
                      <a:gd name="connsiteX0" fmla="*/ 37302 w 37301"/>
                      <a:gd name="connsiteY0" fmla="*/ 22481 h 22481"/>
                      <a:gd name="connsiteX1" fmla="*/ 37302 w 37301"/>
                      <a:gd name="connsiteY1" fmla="*/ 21602 h 22481"/>
                      <a:gd name="connsiteX2" fmla="*/ 0 w 37301"/>
                      <a:gd name="connsiteY2" fmla="*/ 0 h 22481"/>
                      <a:gd name="connsiteX3" fmla="*/ 0 w 37301"/>
                      <a:gd name="connsiteY3" fmla="*/ 879 h 22481"/>
                    </a:gdLst>
                    <a:ahLst/>
                    <a:cxnLst>
                      <a:cxn ang="0">
                        <a:pos x="connsiteX0" y="connsiteY0"/>
                      </a:cxn>
                      <a:cxn ang="0">
                        <a:pos x="connsiteX1" y="connsiteY1"/>
                      </a:cxn>
                      <a:cxn ang="0">
                        <a:pos x="connsiteX2" y="connsiteY2"/>
                      </a:cxn>
                      <a:cxn ang="0">
                        <a:pos x="connsiteX3" y="connsiteY3"/>
                      </a:cxn>
                    </a:cxnLst>
                    <a:rect l="l" t="t" r="r" b="b"/>
                    <a:pathLst>
                      <a:path w="37301" h="22481">
                        <a:moveTo>
                          <a:pt x="37302" y="22481"/>
                        </a:moveTo>
                        <a:lnTo>
                          <a:pt x="37302" y="21602"/>
                        </a:lnTo>
                        <a:lnTo>
                          <a:pt x="0" y="0"/>
                        </a:lnTo>
                        <a:lnTo>
                          <a:pt x="0" y="879"/>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91" name="Freeform: Shape 1790">
                  <a:extLst>
                    <a:ext uri="{FF2B5EF4-FFF2-40B4-BE49-F238E27FC236}">
                      <a16:creationId xmlns:a16="http://schemas.microsoft.com/office/drawing/2014/main" id="{892D0BC7-B53F-4D48-B04F-FDF45515BE93}"/>
                    </a:ext>
                  </a:extLst>
                </p:cNvPr>
                <p:cNvSpPr/>
                <p:nvPr/>
              </p:nvSpPr>
              <p:spPr>
                <a:xfrm>
                  <a:off x="3806405" y="1634717"/>
                  <a:ext cx="70961" cy="32152"/>
                </a:xfrm>
                <a:custGeom>
                  <a:avLst/>
                  <a:gdLst>
                    <a:gd name="connsiteX0" fmla="*/ 38934 w 70961"/>
                    <a:gd name="connsiteY0" fmla="*/ 11429 h 32152"/>
                    <a:gd name="connsiteX1" fmla="*/ 39060 w 70961"/>
                    <a:gd name="connsiteY1" fmla="*/ 11304 h 32152"/>
                    <a:gd name="connsiteX2" fmla="*/ 19467 w 70961"/>
                    <a:gd name="connsiteY2" fmla="*/ 0 h 32152"/>
                    <a:gd name="connsiteX3" fmla="*/ 0 w 70961"/>
                    <a:gd name="connsiteY3" fmla="*/ 11178 h 32152"/>
                    <a:gd name="connsiteX4" fmla="*/ 16453 w 70961"/>
                    <a:gd name="connsiteY4" fmla="*/ 20723 h 32152"/>
                    <a:gd name="connsiteX5" fmla="*/ 16328 w 70961"/>
                    <a:gd name="connsiteY5" fmla="*/ 20723 h 32152"/>
                    <a:gd name="connsiteX6" fmla="*/ 35920 w 70961"/>
                    <a:gd name="connsiteY6" fmla="*/ 32152 h 32152"/>
                    <a:gd name="connsiteX7" fmla="*/ 70961 w 70961"/>
                    <a:gd name="connsiteY7" fmla="*/ 11178 h 32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61" h="32152">
                      <a:moveTo>
                        <a:pt x="38934" y="11429"/>
                      </a:moveTo>
                      <a:lnTo>
                        <a:pt x="39060" y="11304"/>
                      </a:lnTo>
                      <a:lnTo>
                        <a:pt x="19467" y="0"/>
                      </a:lnTo>
                      <a:lnTo>
                        <a:pt x="0" y="11178"/>
                      </a:lnTo>
                      <a:lnTo>
                        <a:pt x="16453" y="20723"/>
                      </a:lnTo>
                      <a:lnTo>
                        <a:pt x="16328" y="20723"/>
                      </a:lnTo>
                      <a:lnTo>
                        <a:pt x="35920" y="32152"/>
                      </a:lnTo>
                      <a:lnTo>
                        <a:pt x="70961" y="11178"/>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92" name="Graphic 4">
                  <a:extLst>
                    <a:ext uri="{FF2B5EF4-FFF2-40B4-BE49-F238E27FC236}">
                      <a16:creationId xmlns:a16="http://schemas.microsoft.com/office/drawing/2014/main" id="{84FB7ED1-A2DF-40A1-A747-5F7CF3F14040}"/>
                    </a:ext>
                  </a:extLst>
                </p:cNvPr>
                <p:cNvGrpSpPr/>
                <p:nvPr/>
              </p:nvGrpSpPr>
              <p:grpSpPr>
                <a:xfrm>
                  <a:off x="3810801" y="1605453"/>
                  <a:ext cx="66690" cy="60285"/>
                  <a:chOff x="3810801" y="1605453"/>
                  <a:chExt cx="66690" cy="60285"/>
                </a:xfrm>
                <a:solidFill>
                  <a:schemeClr val="accent1"/>
                </a:solidFill>
              </p:grpSpPr>
              <p:grpSp>
                <p:nvGrpSpPr>
                  <p:cNvPr id="1793" name="Graphic 4">
                    <a:extLst>
                      <a:ext uri="{FF2B5EF4-FFF2-40B4-BE49-F238E27FC236}">
                        <a16:creationId xmlns:a16="http://schemas.microsoft.com/office/drawing/2014/main" id="{84FB7ED1-A2DF-40A1-A747-5F7CF3F14040}"/>
                      </a:ext>
                    </a:extLst>
                  </p:cNvPr>
                  <p:cNvGrpSpPr/>
                  <p:nvPr/>
                </p:nvGrpSpPr>
                <p:grpSpPr>
                  <a:xfrm>
                    <a:off x="3820597" y="1605453"/>
                    <a:ext cx="40567" cy="42953"/>
                    <a:chOff x="3820597" y="1605453"/>
                    <a:chExt cx="40567" cy="42953"/>
                  </a:xfrm>
                  <a:solidFill>
                    <a:schemeClr val="accent1"/>
                  </a:solidFill>
                </p:grpSpPr>
                <p:sp>
                  <p:nvSpPr>
                    <p:cNvPr id="1794" name="Freeform: Shape 1793">
                      <a:extLst>
                        <a:ext uri="{FF2B5EF4-FFF2-40B4-BE49-F238E27FC236}">
                          <a16:creationId xmlns:a16="http://schemas.microsoft.com/office/drawing/2014/main" id="{25B78CB6-8D99-4429-9CB9-C953B10635AC}"/>
                        </a:ext>
                      </a:extLst>
                    </p:cNvPr>
                    <p:cNvSpPr/>
                    <p:nvPr/>
                  </p:nvSpPr>
                  <p:spPr>
                    <a:xfrm>
                      <a:off x="3820597" y="1625925"/>
                      <a:ext cx="38934" cy="22481"/>
                    </a:xfrm>
                    <a:custGeom>
                      <a:avLst/>
                      <a:gdLst>
                        <a:gd name="connsiteX0" fmla="*/ 0 w 38934"/>
                        <a:gd name="connsiteY0" fmla="*/ 11178 h 22481"/>
                        <a:gd name="connsiteX1" fmla="*/ 19467 w 38934"/>
                        <a:gd name="connsiteY1" fmla="*/ 22481 h 22481"/>
                        <a:gd name="connsiteX2" fmla="*/ 38934 w 38934"/>
                        <a:gd name="connsiteY2" fmla="*/ 11304 h 22481"/>
                        <a:gd name="connsiteX3" fmla="*/ 19342 w 38934"/>
                        <a:gd name="connsiteY3" fmla="*/ 0 h 22481"/>
                      </a:gdLst>
                      <a:ahLst/>
                      <a:cxnLst>
                        <a:cxn ang="0">
                          <a:pos x="connsiteX0" y="connsiteY0"/>
                        </a:cxn>
                        <a:cxn ang="0">
                          <a:pos x="connsiteX1" y="connsiteY1"/>
                        </a:cxn>
                        <a:cxn ang="0">
                          <a:pos x="connsiteX2" y="connsiteY2"/>
                        </a:cxn>
                        <a:cxn ang="0">
                          <a:pos x="connsiteX3" y="connsiteY3"/>
                        </a:cxn>
                      </a:cxnLst>
                      <a:rect l="l" t="t" r="r" b="b"/>
                      <a:pathLst>
                        <a:path w="38934" h="22481">
                          <a:moveTo>
                            <a:pt x="0" y="11178"/>
                          </a:moveTo>
                          <a:lnTo>
                            <a:pt x="19467" y="22481"/>
                          </a:lnTo>
                          <a:lnTo>
                            <a:pt x="38934" y="11304"/>
                          </a:lnTo>
                          <a:lnTo>
                            <a:pt x="19342"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95" name="Graphic 4">
                      <a:extLst>
                        <a:ext uri="{FF2B5EF4-FFF2-40B4-BE49-F238E27FC236}">
                          <a16:creationId xmlns:a16="http://schemas.microsoft.com/office/drawing/2014/main" id="{84FB7ED1-A2DF-40A1-A747-5F7CF3F14040}"/>
                        </a:ext>
                      </a:extLst>
                    </p:cNvPr>
                    <p:cNvGrpSpPr/>
                    <p:nvPr/>
                  </p:nvGrpSpPr>
                  <p:grpSpPr>
                    <a:xfrm>
                      <a:off x="3828509" y="1605453"/>
                      <a:ext cx="32654" cy="40567"/>
                      <a:chOff x="3828509" y="1605453"/>
                      <a:chExt cx="32654" cy="40567"/>
                    </a:xfrm>
                    <a:solidFill>
                      <a:schemeClr val="accent1"/>
                    </a:solidFill>
                  </p:grpSpPr>
                  <p:sp>
                    <p:nvSpPr>
                      <p:cNvPr id="1796" name="Freeform: Shape 1795">
                        <a:extLst>
                          <a:ext uri="{FF2B5EF4-FFF2-40B4-BE49-F238E27FC236}">
                            <a16:creationId xmlns:a16="http://schemas.microsoft.com/office/drawing/2014/main" id="{635AE88D-ACCF-492A-A650-01A8932FF93A}"/>
                          </a:ext>
                        </a:extLst>
                      </p:cNvPr>
                      <p:cNvSpPr/>
                      <p:nvPr/>
                    </p:nvSpPr>
                    <p:spPr>
                      <a:xfrm>
                        <a:off x="3828509" y="1605453"/>
                        <a:ext cx="32529" cy="18964"/>
                      </a:xfrm>
                      <a:custGeom>
                        <a:avLst/>
                        <a:gdLst>
                          <a:gd name="connsiteX0" fmla="*/ 25370 w 32529"/>
                          <a:gd name="connsiteY0" fmla="*/ 5024 h 18964"/>
                          <a:gd name="connsiteX1" fmla="*/ 23235 w 32529"/>
                          <a:gd name="connsiteY1" fmla="*/ 3768 h 18964"/>
                          <a:gd name="connsiteX2" fmla="*/ 16704 w 32529"/>
                          <a:gd name="connsiteY2" fmla="*/ 0 h 18964"/>
                          <a:gd name="connsiteX3" fmla="*/ 0 w 32529"/>
                          <a:gd name="connsiteY3" fmla="*/ 9796 h 18964"/>
                          <a:gd name="connsiteX4" fmla="*/ 6531 w 32529"/>
                          <a:gd name="connsiteY4" fmla="*/ 13564 h 18964"/>
                          <a:gd name="connsiteX5" fmla="*/ 8666 w 32529"/>
                          <a:gd name="connsiteY5" fmla="*/ 14820 h 18964"/>
                          <a:gd name="connsiteX6" fmla="*/ 15825 w 32529"/>
                          <a:gd name="connsiteY6" fmla="*/ 18965 h 18964"/>
                          <a:gd name="connsiteX7" fmla="*/ 32529 w 32529"/>
                          <a:gd name="connsiteY7" fmla="*/ 9294 h 18964"/>
                          <a:gd name="connsiteX8" fmla="*/ 32529 w 32529"/>
                          <a:gd name="connsiteY8" fmla="*/ 9294 h 18964"/>
                          <a:gd name="connsiteX9" fmla="*/ 25370 w 32529"/>
                          <a:gd name="connsiteY9" fmla="*/ 5024 h 1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964">
                            <a:moveTo>
                              <a:pt x="25370" y="5024"/>
                            </a:moveTo>
                            <a:lnTo>
                              <a:pt x="23235" y="3768"/>
                            </a:lnTo>
                            <a:lnTo>
                              <a:pt x="16704" y="0"/>
                            </a:lnTo>
                            <a:lnTo>
                              <a:pt x="0" y="9796"/>
                            </a:lnTo>
                            <a:lnTo>
                              <a:pt x="6531" y="13564"/>
                            </a:lnTo>
                            <a:lnTo>
                              <a:pt x="8666" y="14820"/>
                            </a:lnTo>
                            <a:lnTo>
                              <a:pt x="15825" y="18965"/>
                            </a:lnTo>
                            <a:lnTo>
                              <a:pt x="32529" y="9294"/>
                            </a:lnTo>
                            <a:lnTo>
                              <a:pt x="32529" y="9294"/>
                            </a:lnTo>
                            <a:lnTo>
                              <a:pt x="25370"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97" name="Freeform: Shape 1796">
                        <a:extLst>
                          <a:ext uri="{FF2B5EF4-FFF2-40B4-BE49-F238E27FC236}">
                            <a16:creationId xmlns:a16="http://schemas.microsoft.com/office/drawing/2014/main" id="{35D31320-1236-481D-80B3-AD140FFE3644}"/>
                          </a:ext>
                        </a:extLst>
                      </p:cNvPr>
                      <p:cNvSpPr/>
                      <p:nvPr/>
                    </p:nvSpPr>
                    <p:spPr>
                      <a:xfrm>
                        <a:off x="3829012" y="1605830"/>
                        <a:ext cx="31398" cy="17960"/>
                      </a:xfrm>
                      <a:custGeom>
                        <a:avLst/>
                        <a:gdLst>
                          <a:gd name="connsiteX0" fmla="*/ 16201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1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1" y="0"/>
                            </a:moveTo>
                            <a:lnTo>
                              <a:pt x="0" y="9294"/>
                            </a:lnTo>
                            <a:lnTo>
                              <a:pt x="15197" y="17960"/>
                            </a:lnTo>
                            <a:lnTo>
                              <a:pt x="31399" y="8666"/>
                            </a:lnTo>
                            <a:lnTo>
                              <a:pt x="16201"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98" name="Freeform: Shape 1797">
                        <a:extLst>
                          <a:ext uri="{FF2B5EF4-FFF2-40B4-BE49-F238E27FC236}">
                            <a16:creationId xmlns:a16="http://schemas.microsoft.com/office/drawing/2014/main" id="{04CE5F6E-C02D-47B4-ACB1-53FC0FF504D1}"/>
                          </a:ext>
                        </a:extLst>
                      </p:cNvPr>
                      <p:cNvSpPr/>
                      <p:nvPr/>
                    </p:nvSpPr>
                    <p:spPr>
                      <a:xfrm>
                        <a:off x="3828509" y="1615250"/>
                        <a:ext cx="15825" cy="30645"/>
                      </a:xfrm>
                      <a:custGeom>
                        <a:avLst/>
                        <a:gdLst>
                          <a:gd name="connsiteX0" fmla="*/ 15825 w 15825"/>
                          <a:gd name="connsiteY0" fmla="*/ 9168 h 30645"/>
                          <a:gd name="connsiteX1" fmla="*/ 15825 w 15825"/>
                          <a:gd name="connsiteY1" fmla="*/ 30645 h 30645"/>
                          <a:gd name="connsiteX2" fmla="*/ 8540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825"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99" name="Freeform: Shape 1798">
                        <a:extLst>
                          <a:ext uri="{FF2B5EF4-FFF2-40B4-BE49-F238E27FC236}">
                            <a16:creationId xmlns:a16="http://schemas.microsoft.com/office/drawing/2014/main" id="{6C4B6485-E5D2-4912-BE33-A4A8EF43500C}"/>
                          </a:ext>
                        </a:extLst>
                      </p:cNvPr>
                      <p:cNvSpPr/>
                      <p:nvPr/>
                    </p:nvSpPr>
                    <p:spPr>
                      <a:xfrm>
                        <a:off x="3844335" y="1614873"/>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00" name="Freeform: Shape 1799">
                      <a:extLst>
                        <a:ext uri="{FF2B5EF4-FFF2-40B4-BE49-F238E27FC236}">
                          <a16:creationId xmlns:a16="http://schemas.microsoft.com/office/drawing/2014/main" id="{1BBFB556-9A2C-4388-B423-9B99E52AF8C2}"/>
                        </a:ext>
                      </a:extLst>
                    </p:cNvPr>
                    <p:cNvSpPr/>
                    <p:nvPr/>
                  </p:nvSpPr>
                  <p:spPr>
                    <a:xfrm>
                      <a:off x="3834915" y="1619018"/>
                      <a:ext cx="2134" cy="22732"/>
                    </a:xfrm>
                    <a:custGeom>
                      <a:avLst/>
                      <a:gdLst>
                        <a:gd name="connsiteX0" fmla="*/ 2135 w 2134"/>
                        <a:gd name="connsiteY0" fmla="*/ 1256 h 22732"/>
                        <a:gd name="connsiteX1" fmla="*/ 2135 w 2134"/>
                        <a:gd name="connsiteY1" fmla="*/ 22733 h 22732"/>
                        <a:gd name="connsiteX2" fmla="*/ 0 w 2134"/>
                        <a:gd name="connsiteY2" fmla="*/ 21602 h 22732"/>
                        <a:gd name="connsiteX3" fmla="*/ 0 w 2134"/>
                        <a:gd name="connsiteY3" fmla="*/ 0 h 22732"/>
                      </a:gdLst>
                      <a:ahLst/>
                      <a:cxnLst>
                        <a:cxn ang="0">
                          <a:pos x="connsiteX0" y="connsiteY0"/>
                        </a:cxn>
                        <a:cxn ang="0">
                          <a:pos x="connsiteX1" y="connsiteY1"/>
                        </a:cxn>
                        <a:cxn ang="0">
                          <a:pos x="connsiteX2" y="connsiteY2"/>
                        </a:cxn>
                        <a:cxn ang="0">
                          <a:pos x="connsiteX3" y="connsiteY3"/>
                        </a:cxn>
                      </a:cxnLst>
                      <a:rect l="l" t="t" r="r" b="b"/>
                      <a:pathLst>
                        <a:path w="2134"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1" name="Freeform: Shape 1800">
                      <a:extLst>
                        <a:ext uri="{FF2B5EF4-FFF2-40B4-BE49-F238E27FC236}">
                          <a16:creationId xmlns:a16="http://schemas.microsoft.com/office/drawing/2014/main" id="{482D2AEC-AE00-4FF4-BA7A-B5E9FEDB4339}"/>
                        </a:ext>
                      </a:extLst>
                    </p:cNvPr>
                    <p:cNvSpPr/>
                    <p:nvPr/>
                  </p:nvSpPr>
                  <p:spPr>
                    <a:xfrm>
                      <a:off x="3834915" y="1609347"/>
                      <a:ext cx="18964" cy="10926"/>
                    </a:xfrm>
                    <a:custGeom>
                      <a:avLst/>
                      <a:gdLst>
                        <a:gd name="connsiteX0" fmla="*/ 18965 w 18964"/>
                        <a:gd name="connsiteY0" fmla="*/ 1130 h 10926"/>
                        <a:gd name="connsiteX1" fmla="*/ 13062 w 18964"/>
                        <a:gd name="connsiteY1" fmla="*/ 4521 h 10926"/>
                        <a:gd name="connsiteX2" fmla="*/ 11052 w 18964"/>
                        <a:gd name="connsiteY2" fmla="*/ 5777 h 10926"/>
                        <a:gd name="connsiteX3" fmla="*/ 2261 w 18964"/>
                        <a:gd name="connsiteY3" fmla="*/ 10801 h 10926"/>
                        <a:gd name="connsiteX4" fmla="*/ 2135 w 18964"/>
                        <a:gd name="connsiteY4" fmla="*/ 10927 h 10926"/>
                        <a:gd name="connsiteX5" fmla="*/ 0 w 18964"/>
                        <a:gd name="connsiteY5" fmla="*/ 9671 h 10926"/>
                        <a:gd name="connsiteX6" fmla="*/ 125 w 18964"/>
                        <a:gd name="connsiteY6" fmla="*/ 9671 h 10926"/>
                        <a:gd name="connsiteX7" fmla="*/ 8917 w 18964"/>
                        <a:gd name="connsiteY7" fmla="*/ 4521 h 10926"/>
                        <a:gd name="connsiteX8" fmla="*/ 11052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1052" y="5777"/>
                          </a:lnTo>
                          <a:lnTo>
                            <a:pt x="2261" y="10801"/>
                          </a:lnTo>
                          <a:lnTo>
                            <a:pt x="2135" y="10927"/>
                          </a:lnTo>
                          <a:lnTo>
                            <a:pt x="0" y="9671"/>
                          </a:lnTo>
                          <a:lnTo>
                            <a:pt x="125" y="9671"/>
                          </a:lnTo>
                          <a:lnTo>
                            <a:pt x="8917" y="4521"/>
                          </a:lnTo>
                          <a:lnTo>
                            <a:pt x="11052"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02" name="Graphic 4">
                    <a:extLst>
                      <a:ext uri="{FF2B5EF4-FFF2-40B4-BE49-F238E27FC236}">
                        <a16:creationId xmlns:a16="http://schemas.microsoft.com/office/drawing/2014/main" id="{84FB7ED1-A2DF-40A1-A747-5F7CF3F14040}"/>
                      </a:ext>
                    </a:extLst>
                  </p:cNvPr>
                  <p:cNvGrpSpPr/>
                  <p:nvPr/>
                </p:nvGrpSpPr>
                <p:grpSpPr>
                  <a:xfrm>
                    <a:off x="3810801" y="1615627"/>
                    <a:ext cx="32780" cy="40441"/>
                    <a:chOff x="3810801" y="1615627"/>
                    <a:chExt cx="32780" cy="40441"/>
                  </a:xfrm>
                  <a:solidFill>
                    <a:schemeClr val="accent1"/>
                  </a:solidFill>
                </p:grpSpPr>
                <p:grpSp>
                  <p:nvGrpSpPr>
                    <p:cNvPr id="1803" name="Graphic 4">
                      <a:extLst>
                        <a:ext uri="{FF2B5EF4-FFF2-40B4-BE49-F238E27FC236}">
                          <a16:creationId xmlns:a16="http://schemas.microsoft.com/office/drawing/2014/main" id="{84FB7ED1-A2DF-40A1-A747-5F7CF3F14040}"/>
                        </a:ext>
                      </a:extLst>
                    </p:cNvPr>
                    <p:cNvGrpSpPr/>
                    <p:nvPr/>
                  </p:nvGrpSpPr>
                  <p:grpSpPr>
                    <a:xfrm>
                      <a:off x="3810801" y="1615627"/>
                      <a:ext cx="32780" cy="40441"/>
                      <a:chOff x="3810801" y="1615627"/>
                      <a:chExt cx="32780" cy="40441"/>
                    </a:xfrm>
                    <a:solidFill>
                      <a:schemeClr val="accent1"/>
                    </a:solidFill>
                  </p:grpSpPr>
                  <p:sp>
                    <p:nvSpPr>
                      <p:cNvPr id="1804" name="Freeform: Shape 1803">
                        <a:extLst>
                          <a:ext uri="{FF2B5EF4-FFF2-40B4-BE49-F238E27FC236}">
                            <a16:creationId xmlns:a16="http://schemas.microsoft.com/office/drawing/2014/main" id="{8A271884-62BF-4213-BC56-AE129B68CECC}"/>
                          </a:ext>
                        </a:extLst>
                      </p:cNvPr>
                      <p:cNvSpPr/>
                      <p:nvPr/>
                    </p:nvSpPr>
                    <p:spPr>
                      <a:xfrm>
                        <a:off x="3810801" y="1615627"/>
                        <a:ext cx="32529" cy="18839"/>
                      </a:xfrm>
                      <a:custGeom>
                        <a:avLst/>
                        <a:gdLst>
                          <a:gd name="connsiteX0" fmla="*/ 25496 w 32529"/>
                          <a:gd name="connsiteY0" fmla="*/ 5024 h 18839"/>
                          <a:gd name="connsiteX1" fmla="*/ 23361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1"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5" name="Freeform: Shape 1804">
                        <a:extLst>
                          <a:ext uri="{FF2B5EF4-FFF2-40B4-BE49-F238E27FC236}">
                            <a16:creationId xmlns:a16="http://schemas.microsoft.com/office/drawing/2014/main" id="{554128E1-84CA-4EAF-A883-BD198C17F37A}"/>
                          </a:ext>
                        </a:extLst>
                      </p:cNvPr>
                      <p:cNvSpPr/>
                      <p:nvPr/>
                    </p:nvSpPr>
                    <p:spPr>
                      <a:xfrm>
                        <a:off x="3811429" y="1616003"/>
                        <a:ext cx="31398" cy="17960"/>
                      </a:xfrm>
                      <a:custGeom>
                        <a:avLst/>
                        <a:gdLst>
                          <a:gd name="connsiteX0" fmla="*/ 16201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1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1" y="0"/>
                            </a:moveTo>
                            <a:lnTo>
                              <a:pt x="0" y="9294"/>
                            </a:lnTo>
                            <a:lnTo>
                              <a:pt x="15197" y="17960"/>
                            </a:lnTo>
                            <a:lnTo>
                              <a:pt x="31399" y="8666"/>
                            </a:lnTo>
                            <a:lnTo>
                              <a:pt x="16201"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6" name="Freeform: Shape 1805">
                        <a:extLst>
                          <a:ext uri="{FF2B5EF4-FFF2-40B4-BE49-F238E27FC236}">
                            <a16:creationId xmlns:a16="http://schemas.microsoft.com/office/drawing/2014/main" id="{83F3E191-217B-41E7-93BE-07A07D53DF5F}"/>
                          </a:ext>
                        </a:extLst>
                      </p:cNvPr>
                      <p:cNvSpPr/>
                      <p:nvPr/>
                    </p:nvSpPr>
                    <p:spPr>
                      <a:xfrm>
                        <a:off x="3810926" y="1625423"/>
                        <a:ext cx="15824" cy="30645"/>
                      </a:xfrm>
                      <a:custGeom>
                        <a:avLst/>
                        <a:gdLst>
                          <a:gd name="connsiteX0" fmla="*/ 15825 w 15824"/>
                          <a:gd name="connsiteY0" fmla="*/ 9043 h 30645"/>
                          <a:gd name="connsiteX1" fmla="*/ 15825 w 15824"/>
                          <a:gd name="connsiteY1" fmla="*/ 30645 h 30645"/>
                          <a:gd name="connsiteX2" fmla="*/ 8540 w 15824"/>
                          <a:gd name="connsiteY2" fmla="*/ 26500 h 30645"/>
                          <a:gd name="connsiteX3" fmla="*/ 6405 w 15824"/>
                          <a:gd name="connsiteY3" fmla="*/ 25370 h 30645"/>
                          <a:gd name="connsiteX4" fmla="*/ 0 w 15824"/>
                          <a:gd name="connsiteY4" fmla="*/ 21602 h 30645"/>
                          <a:gd name="connsiteX5" fmla="*/ 0 w 15824"/>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4" h="30645">
                            <a:moveTo>
                              <a:pt x="15825" y="9043"/>
                            </a:moveTo>
                            <a:lnTo>
                              <a:pt x="15825" y="30645"/>
                            </a:lnTo>
                            <a:lnTo>
                              <a:pt x="8540" y="26500"/>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7" name="Freeform: Shape 1806">
                        <a:extLst>
                          <a:ext uri="{FF2B5EF4-FFF2-40B4-BE49-F238E27FC236}">
                            <a16:creationId xmlns:a16="http://schemas.microsoft.com/office/drawing/2014/main" id="{6A369DE9-C09F-4805-96E8-0680B02E44E8}"/>
                          </a:ext>
                        </a:extLst>
                      </p:cNvPr>
                      <p:cNvSpPr/>
                      <p:nvPr/>
                    </p:nvSpPr>
                    <p:spPr>
                      <a:xfrm>
                        <a:off x="3826751" y="1624795"/>
                        <a:ext cx="16830" cy="31147"/>
                      </a:xfrm>
                      <a:custGeom>
                        <a:avLst/>
                        <a:gdLst>
                          <a:gd name="connsiteX0" fmla="*/ 0 w 16830"/>
                          <a:gd name="connsiteY0" fmla="*/ 9671 h 31147"/>
                          <a:gd name="connsiteX1" fmla="*/ 0 w 16830"/>
                          <a:gd name="connsiteY1" fmla="*/ 31148 h 31147"/>
                          <a:gd name="connsiteX2" fmla="*/ 16830 w 16830"/>
                          <a:gd name="connsiteY2" fmla="*/ 21602 h 31147"/>
                          <a:gd name="connsiteX3" fmla="*/ 16830 w 16830"/>
                          <a:gd name="connsiteY3" fmla="*/ 0 h 31147"/>
                          <a:gd name="connsiteX4" fmla="*/ 0 w 16830"/>
                          <a:gd name="connsiteY4" fmla="*/ 9671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0" h="31147">
                            <a:moveTo>
                              <a:pt x="0" y="9671"/>
                            </a:moveTo>
                            <a:lnTo>
                              <a:pt x="0" y="31148"/>
                            </a:lnTo>
                            <a:lnTo>
                              <a:pt x="16830" y="21602"/>
                            </a:lnTo>
                            <a:lnTo>
                              <a:pt x="16830" y="0"/>
                            </a:lnTo>
                            <a:lnTo>
                              <a:pt x="0" y="9671"/>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08" name="Freeform: Shape 1807">
                      <a:extLst>
                        <a:ext uri="{FF2B5EF4-FFF2-40B4-BE49-F238E27FC236}">
                          <a16:creationId xmlns:a16="http://schemas.microsoft.com/office/drawing/2014/main" id="{31E63CE1-C880-46B0-BDD5-82AF3F36A544}"/>
                        </a:ext>
                      </a:extLst>
                    </p:cNvPr>
                    <p:cNvSpPr/>
                    <p:nvPr/>
                  </p:nvSpPr>
                  <p:spPr>
                    <a:xfrm>
                      <a:off x="3817331" y="1629191"/>
                      <a:ext cx="2135" cy="22732"/>
                    </a:xfrm>
                    <a:custGeom>
                      <a:avLst/>
                      <a:gdLst>
                        <a:gd name="connsiteX0" fmla="*/ 2135 w 2135"/>
                        <a:gd name="connsiteY0" fmla="*/ 1256 h 22732"/>
                        <a:gd name="connsiteX1" fmla="*/ 2135 w 2135"/>
                        <a:gd name="connsiteY1" fmla="*/ 22733 h 22732"/>
                        <a:gd name="connsiteX2" fmla="*/ 0 w 2135"/>
                        <a:gd name="connsiteY2" fmla="*/ 21602 h 22732"/>
                        <a:gd name="connsiteX3" fmla="*/ 0 w 2135"/>
                        <a:gd name="connsiteY3" fmla="*/ 0 h 22732"/>
                      </a:gdLst>
                      <a:ahLst/>
                      <a:cxnLst>
                        <a:cxn ang="0">
                          <a:pos x="connsiteX0" y="connsiteY0"/>
                        </a:cxn>
                        <a:cxn ang="0">
                          <a:pos x="connsiteX1" y="connsiteY1"/>
                        </a:cxn>
                        <a:cxn ang="0">
                          <a:pos x="connsiteX2" y="connsiteY2"/>
                        </a:cxn>
                        <a:cxn ang="0">
                          <a:pos x="connsiteX3" y="connsiteY3"/>
                        </a:cxn>
                      </a:cxnLst>
                      <a:rect l="l" t="t" r="r" b="b"/>
                      <a:pathLst>
                        <a:path w="2135"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9" name="Freeform: Shape 1808">
                      <a:extLst>
                        <a:ext uri="{FF2B5EF4-FFF2-40B4-BE49-F238E27FC236}">
                          <a16:creationId xmlns:a16="http://schemas.microsoft.com/office/drawing/2014/main" id="{18BC1016-BC69-49A6-BC30-FBE0FCC700C2}"/>
                        </a:ext>
                      </a:extLst>
                    </p:cNvPr>
                    <p:cNvSpPr/>
                    <p:nvPr/>
                  </p:nvSpPr>
                  <p:spPr>
                    <a:xfrm>
                      <a:off x="3817331" y="1619520"/>
                      <a:ext cx="18964" cy="10926"/>
                    </a:xfrm>
                    <a:custGeom>
                      <a:avLst/>
                      <a:gdLst>
                        <a:gd name="connsiteX0" fmla="*/ 18965 w 18964"/>
                        <a:gd name="connsiteY0" fmla="*/ 1130 h 10926"/>
                        <a:gd name="connsiteX1" fmla="*/ 13062 w 18964"/>
                        <a:gd name="connsiteY1" fmla="*/ 4521 h 10926"/>
                        <a:gd name="connsiteX2" fmla="*/ 11052 w 18964"/>
                        <a:gd name="connsiteY2" fmla="*/ 5777 h 10926"/>
                        <a:gd name="connsiteX3" fmla="*/ 2135 w 18964"/>
                        <a:gd name="connsiteY3" fmla="*/ 10801 h 10926"/>
                        <a:gd name="connsiteX4" fmla="*/ 2135 w 18964"/>
                        <a:gd name="connsiteY4" fmla="*/ 10927 h 10926"/>
                        <a:gd name="connsiteX5" fmla="*/ 0 w 18964"/>
                        <a:gd name="connsiteY5" fmla="*/ 9671 h 10926"/>
                        <a:gd name="connsiteX6" fmla="*/ 126 w 18964"/>
                        <a:gd name="connsiteY6" fmla="*/ 9671 h 10926"/>
                        <a:gd name="connsiteX7" fmla="*/ 8918 w 18964"/>
                        <a:gd name="connsiteY7" fmla="*/ 4521 h 10926"/>
                        <a:gd name="connsiteX8" fmla="*/ 11052 w 18964"/>
                        <a:gd name="connsiteY8" fmla="*/ 3265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1052" y="5777"/>
                          </a:lnTo>
                          <a:lnTo>
                            <a:pt x="2135" y="10801"/>
                          </a:lnTo>
                          <a:lnTo>
                            <a:pt x="2135" y="10927"/>
                          </a:lnTo>
                          <a:lnTo>
                            <a:pt x="0" y="9671"/>
                          </a:lnTo>
                          <a:lnTo>
                            <a:pt x="126" y="9671"/>
                          </a:lnTo>
                          <a:lnTo>
                            <a:pt x="8918" y="4521"/>
                          </a:lnTo>
                          <a:lnTo>
                            <a:pt x="11052" y="3265"/>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10" name="Graphic 4">
                    <a:extLst>
                      <a:ext uri="{FF2B5EF4-FFF2-40B4-BE49-F238E27FC236}">
                        <a16:creationId xmlns:a16="http://schemas.microsoft.com/office/drawing/2014/main" id="{84FB7ED1-A2DF-40A1-A747-5F7CF3F14040}"/>
                      </a:ext>
                    </a:extLst>
                  </p:cNvPr>
                  <p:cNvGrpSpPr/>
                  <p:nvPr/>
                </p:nvGrpSpPr>
                <p:grpSpPr>
                  <a:xfrm>
                    <a:off x="3836799" y="1614999"/>
                    <a:ext cx="40692" cy="42953"/>
                    <a:chOff x="3836799" y="1614999"/>
                    <a:chExt cx="40692" cy="42953"/>
                  </a:xfrm>
                  <a:solidFill>
                    <a:schemeClr val="accent1"/>
                  </a:solidFill>
                </p:grpSpPr>
                <p:sp>
                  <p:nvSpPr>
                    <p:cNvPr id="1811" name="Freeform: Shape 1810">
                      <a:extLst>
                        <a:ext uri="{FF2B5EF4-FFF2-40B4-BE49-F238E27FC236}">
                          <a16:creationId xmlns:a16="http://schemas.microsoft.com/office/drawing/2014/main" id="{103E0DC6-8EB7-4137-AC44-98FC69809120}"/>
                        </a:ext>
                      </a:extLst>
                    </p:cNvPr>
                    <p:cNvSpPr/>
                    <p:nvPr/>
                  </p:nvSpPr>
                  <p:spPr>
                    <a:xfrm>
                      <a:off x="3836799" y="1635471"/>
                      <a:ext cx="38934" cy="22481"/>
                    </a:xfrm>
                    <a:custGeom>
                      <a:avLst/>
                      <a:gdLst>
                        <a:gd name="connsiteX0" fmla="*/ 0 w 38934"/>
                        <a:gd name="connsiteY0" fmla="*/ 11178 h 22481"/>
                        <a:gd name="connsiteX1" fmla="*/ 19593 w 38934"/>
                        <a:gd name="connsiteY1" fmla="*/ 22481 h 22481"/>
                        <a:gd name="connsiteX2" fmla="*/ 38934 w 38934"/>
                        <a:gd name="connsiteY2" fmla="*/ 11304 h 22481"/>
                        <a:gd name="connsiteX3" fmla="*/ 19467 w 38934"/>
                        <a:gd name="connsiteY3" fmla="*/ 0 h 22481"/>
                      </a:gdLst>
                      <a:ahLst/>
                      <a:cxnLst>
                        <a:cxn ang="0">
                          <a:pos x="connsiteX0" y="connsiteY0"/>
                        </a:cxn>
                        <a:cxn ang="0">
                          <a:pos x="connsiteX1" y="connsiteY1"/>
                        </a:cxn>
                        <a:cxn ang="0">
                          <a:pos x="connsiteX2" y="connsiteY2"/>
                        </a:cxn>
                        <a:cxn ang="0">
                          <a:pos x="connsiteX3" y="connsiteY3"/>
                        </a:cxn>
                      </a:cxnLst>
                      <a:rect l="l" t="t" r="r" b="b"/>
                      <a:pathLst>
                        <a:path w="38934" h="22481">
                          <a:moveTo>
                            <a:pt x="0" y="11178"/>
                          </a:moveTo>
                          <a:lnTo>
                            <a:pt x="19593" y="22481"/>
                          </a:lnTo>
                          <a:lnTo>
                            <a:pt x="38934" y="11304"/>
                          </a:lnTo>
                          <a:lnTo>
                            <a:pt x="19467"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12" name="Graphic 4">
                      <a:extLst>
                        <a:ext uri="{FF2B5EF4-FFF2-40B4-BE49-F238E27FC236}">
                          <a16:creationId xmlns:a16="http://schemas.microsoft.com/office/drawing/2014/main" id="{84FB7ED1-A2DF-40A1-A747-5F7CF3F14040}"/>
                        </a:ext>
                      </a:extLst>
                    </p:cNvPr>
                    <p:cNvGrpSpPr/>
                    <p:nvPr/>
                  </p:nvGrpSpPr>
                  <p:grpSpPr>
                    <a:xfrm>
                      <a:off x="3844711" y="1614999"/>
                      <a:ext cx="32780" cy="40567"/>
                      <a:chOff x="3844711" y="1614999"/>
                      <a:chExt cx="32780" cy="40567"/>
                    </a:xfrm>
                    <a:solidFill>
                      <a:schemeClr val="accent1"/>
                    </a:solidFill>
                  </p:grpSpPr>
                  <p:sp>
                    <p:nvSpPr>
                      <p:cNvPr id="1813" name="Freeform: Shape 1812">
                        <a:extLst>
                          <a:ext uri="{FF2B5EF4-FFF2-40B4-BE49-F238E27FC236}">
                            <a16:creationId xmlns:a16="http://schemas.microsoft.com/office/drawing/2014/main" id="{10A67305-F058-419A-9544-B12E426BDF56}"/>
                          </a:ext>
                        </a:extLst>
                      </p:cNvPr>
                      <p:cNvSpPr/>
                      <p:nvPr/>
                    </p:nvSpPr>
                    <p:spPr>
                      <a:xfrm>
                        <a:off x="3844711" y="1614999"/>
                        <a:ext cx="32529" cy="18839"/>
                      </a:xfrm>
                      <a:custGeom>
                        <a:avLst/>
                        <a:gdLst>
                          <a:gd name="connsiteX0" fmla="*/ 25496 w 32529"/>
                          <a:gd name="connsiteY0" fmla="*/ 5024 h 18839"/>
                          <a:gd name="connsiteX1" fmla="*/ 23360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0"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4" name="Freeform: Shape 1813">
                        <a:extLst>
                          <a:ext uri="{FF2B5EF4-FFF2-40B4-BE49-F238E27FC236}">
                            <a16:creationId xmlns:a16="http://schemas.microsoft.com/office/drawing/2014/main" id="{5972C2F9-925A-46A6-B8AC-DD4363A78FA6}"/>
                          </a:ext>
                        </a:extLst>
                      </p:cNvPr>
                      <p:cNvSpPr/>
                      <p:nvPr/>
                    </p:nvSpPr>
                    <p:spPr>
                      <a:xfrm>
                        <a:off x="3845339" y="1615501"/>
                        <a:ext cx="31398" cy="17960"/>
                      </a:xfrm>
                      <a:custGeom>
                        <a:avLst/>
                        <a:gdLst>
                          <a:gd name="connsiteX0" fmla="*/ 16202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2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2" y="0"/>
                            </a:moveTo>
                            <a:lnTo>
                              <a:pt x="0" y="9294"/>
                            </a:lnTo>
                            <a:lnTo>
                              <a:pt x="15197" y="17960"/>
                            </a:lnTo>
                            <a:lnTo>
                              <a:pt x="31399" y="8666"/>
                            </a:lnTo>
                            <a:lnTo>
                              <a:pt x="16202"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5" name="Freeform: Shape 1814">
                        <a:extLst>
                          <a:ext uri="{FF2B5EF4-FFF2-40B4-BE49-F238E27FC236}">
                            <a16:creationId xmlns:a16="http://schemas.microsoft.com/office/drawing/2014/main" id="{58020DD6-94C3-4D46-BAD9-A4E346A66515}"/>
                          </a:ext>
                        </a:extLst>
                      </p:cNvPr>
                      <p:cNvSpPr/>
                      <p:nvPr/>
                    </p:nvSpPr>
                    <p:spPr>
                      <a:xfrm>
                        <a:off x="3844837" y="1624795"/>
                        <a:ext cx="15825" cy="30645"/>
                      </a:xfrm>
                      <a:custGeom>
                        <a:avLst/>
                        <a:gdLst>
                          <a:gd name="connsiteX0" fmla="*/ 15825 w 15825"/>
                          <a:gd name="connsiteY0" fmla="*/ 9168 h 30645"/>
                          <a:gd name="connsiteX1" fmla="*/ 15699 w 15825"/>
                          <a:gd name="connsiteY1" fmla="*/ 30645 h 30645"/>
                          <a:gd name="connsiteX2" fmla="*/ 8541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699" y="30645"/>
                            </a:lnTo>
                            <a:lnTo>
                              <a:pt x="8541"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6" name="Freeform: Shape 1815">
                        <a:extLst>
                          <a:ext uri="{FF2B5EF4-FFF2-40B4-BE49-F238E27FC236}">
                            <a16:creationId xmlns:a16="http://schemas.microsoft.com/office/drawing/2014/main" id="{4FF1AB93-5295-4184-BB8A-DA180F695875}"/>
                          </a:ext>
                        </a:extLst>
                      </p:cNvPr>
                      <p:cNvSpPr/>
                      <p:nvPr/>
                    </p:nvSpPr>
                    <p:spPr>
                      <a:xfrm>
                        <a:off x="3860662" y="1624418"/>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17" name="Freeform: Shape 1816">
                      <a:extLst>
                        <a:ext uri="{FF2B5EF4-FFF2-40B4-BE49-F238E27FC236}">
                          <a16:creationId xmlns:a16="http://schemas.microsoft.com/office/drawing/2014/main" id="{16B19F8F-95CF-476D-90C4-A316FB613181}"/>
                        </a:ext>
                      </a:extLst>
                    </p:cNvPr>
                    <p:cNvSpPr/>
                    <p:nvPr/>
                  </p:nvSpPr>
                  <p:spPr>
                    <a:xfrm>
                      <a:off x="3851242" y="1628563"/>
                      <a:ext cx="2135" cy="22732"/>
                    </a:xfrm>
                    <a:custGeom>
                      <a:avLst/>
                      <a:gdLst>
                        <a:gd name="connsiteX0" fmla="*/ 2135 w 2135"/>
                        <a:gd name="connsiteY0" fmla="*/ 1256 h 22732"/>
                        <a:gd name="connsiteX1" fmla="*/ 2135 w 2135"/>
                        <a:gd name="connsiteY1" fmla="*/ 22733 h 22732"/>
                        <a:gd name="connsiteX2" fmla="*/ 0 w 2135"/>
                        <a:gd name="connsiteY2" fmla="*/ 21602 h 22732"/>
                        <a:gd name="connsiteX3" fmla="*/ 0 w 2135"/>
                        <a:gd name="connsiteY3" fmla="*/ 0 h 22732"/>
                      </a:gdLst>
                      <a:ahLst/>
                      <a:cxnLst>
                        <a:cxn ang="0">
                          <a:pos x="connsiteX0" y="connsiteY0"/>
                        </a:cxn>
                        <a:cxn ang="0">
                          <a:pos x="connsiteX1" y="connsiteY1"/>
                        </a:cxn>
                        <a:cxn ang="0">
                          <a:pos x="connsiteX2" y="connsiteY2"/>
                        </a:cxn>
                        <a:cxn ang="0">
                          <a:pos x="connsiteX3" y="connsiteY3"/>
                        </a:cxn>
                      </a:cxnLst>
                      <a:rect l="l" t="t" r="r" b="b"/>
                      <a:pathLst>
                        <a:path w="2135"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8" name="Freeform: Shape 1817">
                      <a:extLst>
                        <a:ext uri="{FF2B5EF4-FFF2-40B4-BE49-F238E27FC236}">
                          <a16:creationId xmlns:a16="http://schemas.microsoft.com/office/drawing/2014/main" id="{88F77649-C009-4998-9191-39E764B84D1D}"/>
                        </a:ext>
                      </a:extLst>
                    </p:cNvPr>
                    <p:cNvSpPr/>
                    <p:nvPr/>
                  </p:nvSpPr>
                  <p:spPr>
                    <a:xfrm>
                      <a:off x="3851242" y="1618892"/>
                      <a:ext cx="18964" cy="10926"/>
                    </a:xfrm>
                    <a:custGeom>
                      <a:avLst/>
                      <a:gdLst>
                        <a:gd name="connsiteX0" fmla="*/ 18965 w 18964"/>
                        <a:gd name="connsiteY0" fmla="*/ 1130 h 10926"/>
                        <a:gd name="connsiteX1" fmla="*/ 13062 w 18964"/>
                        <a:gd name="connsiteY1" fmla="*/ 4521 h 10926"/>
                        <a:gd name="connsiteX2" fmla="*/ 10927 w 18964"/>
                        <a:gd name="connsiteY2" fmla="*/ 5777 h 10926"/>
                        <a:gd name="connsiteX3" fmla="*/ 2135 w 18964"/>
                        <a:gd name="connsiteY3" fmla="*/ 10927 h 10926"/>
                        <a:gd name="connsiteX4" fmla="*/ 2135 w 18964"/>
                        <a:gd name="connsiteY4" fmla="*/ 10927 h 10926"/>
                        <a:gd name="connsiteX5" fmla="*/ 0 w 18964"/>
                        <a:gd name="connsiteY5" fmla="*/ 9671 h 10926"/>
                        <a:gd name="connsiteX6" fmla="*/ 126 w 18964"/>
                        <a:gd name="connsiteY6" fmla="*/ 9671 h 10926"/>
                        <a:gd name="connsiteX7" fmla="*/ 8917 w 18964"/>
                        <a:gd name="connsiteY7" fmla="*/ 4521 h 10926"/>
                        <a:gd name="connsiteX8" fmla="*/ 10927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0927" y="5777"/>
                          </a:lnTo>
                          <a:lnTo>
                            <a:pt x="2135" y="10927"/>
                          </a:lnTo>
                          <a:lnTo>
                            <a:pt x="2135" y="10927"/>
                          </a:lnTo>
                          <a:lnTo>
                            <a:pt x="0" y="9671"/>
                          </a:lnTo>
                          <a:lnTo>
                            <a:pt x="126" y="9671"/>
                          </a:lnTo>
                          <a:lnTo>
                            <a:pt x="8917" y="4521"/>
                          </a:lnTo>
                          <a:lnTo>
                            <a:pt x="10927"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19" name="Graphic 4">
                    <a:extLst>
                      <a:ext uri="{FF2B5EF4-FFF2-40B4-BE49-F238E27FC236}">
                        <a16:creationId xmlns:a16="http://schemas.microsoft.com/office/drawing/2014/main" id="{84FB7ED1-A2DF-40A1-A747-5F7CF3F14040}"/>
                      </a:ext>
                    </a:extLst>
                  </p:cNvPr>
                  <p:cNvGrpSpPr/>
                  <p:nvPr/>
                </p:nvGrpSpPr>
                <p:grpSpPr>
                  <a:xfrm>
                    <a:off x="3827128" y="1625172"/>
                    <a:ext cx="32780" cy="40567"/>
                    <a:chOff x="3827128" y="1625172"/>
                    <a:chExt cx="32780" cy="40567"/>
                  </a:xfrm>
                  <a:solidFill>
                    <a:schemeClr val="accent1"/>
                  </a:solidFill>
                </p:grpSpPr>
                <p:sp>
                  <p:nvSpPr>
                    <p:cNvPr id="1820" name="Freeform: Shape 1819">
                      <a:extLst>
                        <a:ext uri="{FF2B5EF4-FFF2-40B4-BE49-F238E27FC236}">
                          <a16:creationId xmlns:a16="http://schemas.microsoft.com/office/drawing/2014/main" id="{AAD69E57-CE4C-43F6-8F8C-B6FAC7B31C1D}"/>
                        </a:ext>
                      </a:extLst>
                    </p:cNvPr>
                    <p:cNvSpPr/>
                    <p:nvPr/>
                  </p:nvSpPr>
                  <p:spPr>
                    <a:xfrm>
                      <a:off x="3827128" y="1625172"/>
                      <a:ext cx="32529" cy="18839"/>
                    </a:xfrm>
                    <a:custGeom>
                      <a:avLst/>
                      <a:gdLst>
                        <a:gd name="connsiteX0" fmla="*/ 25496 w 32529"/>
                        <a:gd name="connsiteY0" fmla="*/ 5024 h 18839"/>
                        <a:gd name="connsiteX1" fmla="*/ 23360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0"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1" name="Freeform: Shape 1820">
                      <a:extLst>
                        <a:ext uri="{FF2B5EF4-FFF2-40B4-BE49-F238E27FC236}">
                          <a16:creationId xmlns:a16="http://schemas.microsoft.com/office/drawing/2014/main" id="{FA9B0217-A88D-4F29-9463-9FF2368DE56B}"/>
                        </a:ext>
                      </a:extLst>
                    </p:cNvPr>
                    <p:cNvSpPr/>
                    <p:nvPr/>
                  </p:nvSpPr>
                  <p:spPr>
                    <a:xfrm>
                      <a:off x="3827756" y="1625549"/>
                      <a:ext cx="31398" cy="17960"/>
                    </a:xfrm>
                    <a:custGeom>
                      <a:avLst/>
                      <a:gdLst>
                        <a:gd name="connsiteX0" fmla="*/ 16202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2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2" y="0"/>
                          </a:moveTo>
                          <a:lnTo>
                            <a:pt x="0" y="9294"/>
                          </a:lnTo>
                          <a:lnTo>
                            <a:pt x="15197" y="17960"/>
                          </a:lnTo>
                          <a:lnTo>
                            <a:pt x="31399" y="8666"/>
                          </a:lnTo>
                          <a:lnTo>
                            <a:pt x="16202"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2" name="Freeform: Shape 1821">
                      <a:extLst>
                        <a:ext uri="{FF2B5EF4-FFF2-40B4-BE49-F238E27FC236}">
                          <a16:creationId xmlns:a16="http://schemas.microsoft.com/office/drawing/2014/main" id="{50623769-24BA-4648-9640-820E3731DC4A}"/>
                        </a:ext>
                      </a:extLst>
                    </p:cNvPr>
                    <p:cNvSpPr/>
                    <p:nvPr/>
                  </p:nvSpPr>
                  <p:spPr>
                    <a:xfrm>
                      <a:off x="3827253" y="1634968"/>
                      <a:ext cx="15825" cy="30645"/>
                    </a:xfrm>
                    <a:custGeom>
                      <a:avLst/>
                      <a:gdLst>
                        <a:gd name="connsiteX0" fmla="*/ 15825 w 15825"/>
                        <a:gd name="connsiteY0" fmla="*/ 9168 h 30645"/>
                        <a:gd name="connsiteX1" fmla="*/ 15699 w 15825"/>
                        <a:gd name="connsiteY1" fmla="*/ 30645 h 30645"/>
                        <a:gd name="connsiteX2" fmla="*/ 8540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699"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3" name="Freeform: Shape 1822">
                      <a:extLst>
                        <a:ext uri="{FF2B5EF4-FFF2-40B4-BE49-F238E27FC236}">
                          <a16:creationId xmlns:a16="http://schemas.microsoft.com/office/drawing/2014/main" id="{DD6AA431-5262-44F5-8A3D-809D61A4198C}"/>
                        </a:ext>
                      </a:extLst>
                    </p:cNvPr>
                    <p:cNvSpPr/>
                    <p:nvPr/>
                  </p:nvSpPr>
                  <p:spPr>
                    <a:xfrm>
                      <a:off x="3843079" y="1634591"/>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24" name="Freeform: Shape 1823">
                    <a:extLst>
                      <a:ext uri="{FF2B5EF4-FFF2-40B4-BE49-F238E27FC236}">
                        <a16:creationId xmlns:a16="http://schemas.microsoft.com/office/drawing/2014/main" id="{B6A1D77C-E4DD-40CC-B724-47CCC9434531}"/>
                      </a:ext>
                    </a:extLst>
                  </p:cNvPr>
                  <p:cNvSpPr/>
                  <p:nvPr/>
                </p:nvSpPr>
                <p:spPr>
                  <a:xfrm>
                    <a:off x="3833659" y="1638736"/>
                    <a:ext cx="2134" cy="22732"/>
                  </a:xfrm>
                  <a:custGeom>
                    <a:avLst/>
                    <a:gdLst>
                      <a:gd name="connsiteX0" fmla="*/ 2135 w 2134"/>
                      <a:gd name="connsiteY0" fmla="*/ 1256 h 22732"/>
                      <a:gd name="connsiteX1" fmla="*/ 2135 w 2134"/>
                      <a:gd name="connsiteY1" fmla="*/ 22733 h 22732"/>
                      <a:gd name="connsiteX2" fmla="*/ 0 w 2134"/>
                      <a:gd name="connsiteY2" fmla="*/ 21602 h 22732"/>
                      <a:gd name="connsiteX3" fmla="*/ 0 w 2134"/>
                      <a:gd name="connsiteY3" fmla="*/ 0 h 22732"/>
                    </a:gdLst>
                    <a:ahLst/>
                    <a:cxnLst>
                      <a:cxn ang="0">
                        <a:pos x="connsiteX0" y="connsiteY0"/>
                      </a:cxn>
                      <a:cxn ang="0">
                        <a:pos x="connsiteX1" y="connsiteY1"/>
                      </a:cxn>
                      <a:cxn ang="0">
                        <a:pos x="connsiteX2" y="connsiteY2"/>
                      </a:cxn>
                      <a:cxn ang="0">
                        <a:pos x="connsiteX3" y="connsiteY3"/>
                      </a:cxn>
                    </a:cxnLst>
                    <a:rect l="l" t="t" r="r" b="b"/>
                    <a:pathLst>
                      <a:path w="2134"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5" name="Freeform: Shape 1824">
                    <a:extLst>
                      <a:ext uri="{FF2B5EF4-FFF2-40B4-BE49-F238E27FC236}">
                        <a16:creationId xmlns:a16="http://schemas.microsoft.com/office/drawing/2014/main" id="{B971DBFC-0B8B-48AC-A4E0-6735FD883330}"/>
                      </a:ext>
                    </a:extLst>
                  </p:cNvPr>
                  <p:cNvSpPr/>
                  <p:nvPr/>
                </p:nvSpPr>
                <p:spPr>
                  <a:xfrm>
                    <a:off x="3833659" y="1629065"/>
                    <a:ext cx="18964" cy="10926"/>
                  </a:xfrm>
                  <a:custGeom>
                    <a:avLst/>
                    <a:gdLst>
                      <a:gd name="connsiteX0" fmla="*/ 18965 w 18964"/>
                      <a:gd name="connsiteY0" fmla="*/ 1130 h 10926"/>
                      <a:gd name="connsiteX1" fmla="*/ 13062 w 18964"/>
                      <a:gd name="connsiteY1" fmla="*/ 4521 h 10926"/>
                      <a:gd name="connsiteX2" fmla="*/ 10927 w 18964"/>
                      <a:gd name="connsiteY2" fmla="*/ 5777 h 10926"/>
                      <a:gd name="connsiteX3" fmla="*/ 2135 w 18964"/>
                      <a:gd name="connsiteY3" fmla="*/ 10801 h 10926"/>
                      <a:gd name="connsiteX4" fmla="*/ 2135 w 18964"/>
                      <a:gd name="connsiteY4" fmla="*/ 10927 h 10926"/>
                      <a:gd name="connsiteX5" fmla="*/ 0 w 18964"/>
                      <a:gd name="connsiteY5" fmla="*/ 9671 h 10926"/>
                      <a:gd name="connsiteX6" fmla="*/ 0 w 18964"/>
                      <a:gd name="connsiteY6" fmla="*/ 9671 h 10926"/>
                      <a:gd name="connsiteX7" fmla="*/ 8917 w 18964"/>
                      <a:gd name="connsiteY7" fmla="*/ 4521 h 10926"/>
                      <a:gd name="connsiteX8" fmla="*/ 10927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0927" y="5777"/>
                        </a:lnTo>
                        <a:lnTo>
                          <a:pt x="2135" y="10801"/>
                        </a:lnTo>
                        <a:lnTo>
                          <a:pt x="2135" y="10927"/>
                        </a:lnTo>
                        <a:lnTo>
                          <a:pt x="0" y="9671"/>
                        </a:lnTo>
                        <a:lnTo>
                          <a:pt x="0" y="9671"/>
                        </a:lnTo>
                        <a:lnTo>
                          <a:pt x="8917" y="4521"/>
                        </a:lnTo>
                        <a:lnTo>
                          <a:pt x="10927"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26" name="Graphic 4">
                    <a:extLst>
                      <a:ext uri="{FF2B5EF4-FFF2-40B4-BE49-F238E27FC236}">
                        <a16:creationId xmlns:a16="http://schemas.microsoft.com/office/drawing/2014/main" id="{84FB7ED1-A2DF-40A1-A747-5F7CF3F14040}"/>
                      </a:ext>
                    </a:extLst>
                  </p:cNvPr>
                  <p:cNvGrpSpPr/>
                  <p:nvPr/>
                </p:nvGrpSpPr>
                <p:grpSpPr>
                  <a:xfrm>
                    <a:off x="3849484" y="1636852"/>
                    <a:ext cx="7661" cy="11052"/>
                    <a:chOff x="3849484" y="1636852"/>
                    <a:chExt cx="7661" cy="11052"/>
                  </a:xfrm>
                  <a:solidFill>
                    <a:schemeClr val="accent1"/>
                  </a:solidFill>
                </p:grpSpPr>
                <p:sp>
                  <p:nvSpPr>
                    <p:cNvPr id="1827" name="Freeform: Shape 1826">
                      <a:extLst>
                        <a:ext uri="{FF2B5EF4-FFF2-40B4-BE49-F238E27FC236}">
                          <a16:creationId xmlns:a16="http://schemas.microsoft.com/office/drawing/2014/main" id="{A5EAF95D-3745-46E6-9885-7DA63C8A031A}"/>
                        </a:ext>
                      </a:extLst>
                    </p:cNvPr>
                    <p:cNvSpPr/>
                    <p:nvPr/>
                  </p:nvSpPr>
                  <p:spPr>
                    <a:xfrm>
                      <a:off x="3849484" y="1636852"/>
                      <a:ext cx="7661" cy="11052"/>
                    </a:xfrm>
                    <a:custGeom>
                      <a:avLst/>
                      <a:gdLst>
                        <a:gd name="connsiteX0" fmla="*/ 7661 w 7661"/>
                        <a:gd name="connsiteY0" fmla="*/ 6531 h 11052"/>
                        <a:gd name="connsiteX1" fmla="*/ 0 w 7661"/>
                        <a:gd name="connsiteY1" fmla="*/ 11052 h 11052"/>
                        <a:gd name="connsiteX2" fmla="*/ 0 w 7661"/>
                        <a:gd name="connsiteY2" fmla="*/ 4396 h 11052"/>
                        <a:gd name="connsiteX3" fmla="*/ 7661 w 7661"/>
                        <a:gd name="connsiteY3" fmla="*/ 0 h 11052"/>
                      </a:gdLst>
                      <a:ahLst/>
                      <a:cxnLst>
                        <a:cxn ang="0">
                          <a:pos x="connsiteX0" y="connsiteY0"/>
                        </a:cxn>
                        <a:cxn ang="0">
                          <a:pos x="connsiteX1" y="connsiteY1"/>
                        </a:cxn>
                        <a:cxn ang="0">
                          <a:pos x="connsiteX2" y="connsiteY2"/>
                        </a:cxn>
                        <a:cxn ang="0">
                          <a:pos x="connsiteX3" y="connsiteY3"/>
                        </a:cxn>
                      </a:cxnLst>
                      <a:rect l="l" t="t" r="r" b="b"/>
                      <a:pathLst>
                        <a:path w="7661" h="11052">
                          <a:moveTo>
                            <a:pt x="7661" y="6531"/>
                          </a:moveTo>
                          <a:lnTo>
                            <a:pt x="0" y="11052"/>
                          </a:lnTo>
                          <a:lnTo>
                            <a:pt x="0" y="4396"/>
                          </a:lnTo>
                          <a:lnTo>
                            <a:pt x="7661"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8" name="Freeform: Shape 1827">
                      <a:extLst>
                        <a:ext uri="{FF2B5EF4-FFF2-40B4-BE49-F238E27FC236}">
                          <a16:creationId xmlns:a16="http://schemas.microsoft.com/office/drawing/2014/main" id="{3EA2BA37-2C62-4DF3-806B-4144E85D20E1}"/>
                        </a:ext>
                      </a:extLst>
                    </p:cNvPr>
                    <p:cNvSpPr/>
                    <p:nvPr/>
                  </p:nvSpPr>
                  <p:spPr>
                    <a:xfrm>
                      <a:off x="3850238" y="1638108"/>
                      <a:ext cx="6154" cy="4270"/>
                    </a:xfrm>
                    <a:custGeom>
                      <a:avLst/>
                      <a:gdLst>
                        <a:gd name="connsiteX0" fmla="*/ 6154 w 6154"/>
                        <a:gd name="connsiteY0" fmla="*/ 754 h 4270"/>
                        <a:gd name="connsiteX1" fmla="*/ 0 w 6154"/>
                        <a:gd name="connsiteY1" fmla="*/ 4270 h 4270"/>
                        <a:gd name="connsiteX2" fmla="*/ 0 w 6154"/>
                        <a:gd name="connsiteY2" fmla="*/ 3517 h 4270"/>
                        <a:gd name="connsiteX3" fmla="*/ 6154 w 6154"/>
                        <a:gd name="connsiteY3" fmla="*/ 0 h 4270"/>
                      </a:gdLst>
                      <a:ahLst/>
                      <a:cxnLst>
                        <a:cxn ang="0">
                          <a:pos x="connsiteX0" y="connsiteY0"/>
                        </a:cxn>
                        <a:cxn ang="0">
                          <a:pos x="connsiteX1" y="connsiteY1"/>
                        </a:cxn>
                        <a:cxn ang="0">
                          <a:pos x="connsiteX2" y="connsiteY2"/>
                        </a:cxn>
                        <a:cxn ang="0">
                          <a:pos x="connsiteX3" y="connsiteY3"/>
                        </a:cxn>
                      </a:cxnLst>
                      <a:rect l="l" t="t" r="r" b="b"/>
                      <a:pathLst>
                        <a:path w="6154" h="4270">
                          <a:moveTo>
                            <a:pt x="6154" y="754"/>
                          </a:moveTo>
                          <a:lnTo>
                            <a:pt x="0" y="4270"/>
                          </a:lnTo>
                          <a:lnTo>
                            <a:pt x="0" y="3517"/>
                          </a:lnTo>
                          <a:lnTo>
                            <a:pt x="6154"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9" name="Freeform: Shape 1828">
                      <a:extLst>
                        <a:ext uri="{FF2B5EF4-FFF2-40B4-BE49-F238E27FC236}">
                          <a16:creationId xmlns:a16="http://schemas.microsoft.com/office/drawing/2014/main" id="{4095C37F-58E6-4516-9590-20AF695B563D}"/>
                        </a:ext>
                      </a:extLst>
                    </p:cNvPr>
                    <p:cNvSpPr/>
                    <p:nvPr/>
                  </p:nvSpPr>
                  <p:spPr>
                    <a:xfrm>
                      <a:off x="3850238" y="1639741"/>
                      <a:ext cx="6154" cy="4019"/>
                    </a:xfrm>
                    <a:custGeom>
                      <a:avLst/>
                      <a:gdLst>
                        <a:gd name="connsiteX0" fmla="*/ 6154 w 6154"/>
                        <a:gd name="connsiteY0" fmla="*/ 377 h 4019"/>
                        <a:gd name="connsiteX1" fmla="*/ 0 w 6154"/>
                        <a:gd name="connsiteY1" fmla="*/ 4019 h 4019"/>
                        <a:gd name="connsiteX2" fmla="*/ 0 w 6154"/>
                        <a:gd name="connsiteY2" fmla="*/ 3642 h 4019"/>
                        <a:gd name="connsiteX3" fmla="*/ 6154 w 6154"/>
                        <a:gd name="connsiteY3" fmla="*/ 0 h 4019"/>
                      </a:gdLst>
                      <a:ahLst/>
                      <a:cxnLst>
                        <a:cxn ang="0">
                          <a:pos x="connsiteX0" y="connsiteY0"/>
                        </a:cxn>
                        <a:cxn ang="0">
                          <a:pos x="connsiteX1" y="connsiteY1"/>
                        </a:cxn>
                        <a:cxn ang="0">
                          <a:pos x="connsiteX2" y="connsiteY2"/>
                        </a:cxn>
                        <a:cxn ang="0">
                          <a:pos x="connsiteX3" y="connsiteY3"/>
                        </a:cxn>
                      </a:cxnLst>
                      <a:rect l="l" t="t" r="r" b="b"/>
                      <a:pathLst>
                        <a:path w="6154" h="4019">
                          <a:moveTo>
                            <a:pt x="6154" y="377"/>
                          </a:moveTo>
                          <a:lnTo>
                            <a:pt x="0" y="4019"/>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0" name="Freeform: Shape 1829">
                      <a:extLst>
                        <a:ext uri="{FF2B5EF4-FFF2-40B4-BE49-F238E27FC236}">
                          <a16:creationId xmlns:a16="http://schemas.microsoft.com/office/drawing/2014/main" id="{9B9CD14F-5286-4110-8269-1892C88F512D}"/>
                        </a:ext>
                      </a:extLst>
                    </p:cNvPr>
                    <p:cNvSpPr/>
                    <p:nvPr/>
                  </p:nvSpPr>
                  <p:spPr>
                    <a:xfrm>
                      <a:off x="3850238" y="1640620"/>
                      <a:ext cx="6154" cy="4019"/>
                    </a:xfrm>
                    <a:custGeom>
                      <a:avLst/>
                      <a:gdLst>
                        <a:gd name="connsiteX0" fmla="*/ 6154 w 6154"/>
                        <a:gd name="connsiteY0" fmla="*/ 377 h 4019"/>
                        <a:gd name="connsiteX1" fmla="*/ 0 w 6154"/>
                        <a:gd name="connsiteY1" fmla="*/ 4019 h 4019"/>
                        <a:gd name="connsiteX2" fmla="*/ 0 w 6154"/>
                        <a:gd name="connsiteY2" fmla="*/ 3642 h 4019"/>
                        <a:gd name="connsiteX3" fmla="*/ 6154 w 6154"/>
                        <a:gd name="connsiteY3" fmla="*/ 0 h 4019"/>
                      </a:gdLst>
                      <a:ahLst/>
                      <a:cxnLst>
                        <a:cxn ang="0">
                          <a:pos x="connsiteX0" y="connsiteY0"/>
                        </a:cxn>
                        <a:cxn ang="0">
                          <a:pos x="connsiteX1" y="connsiteY1"/>
                        </a:cxn>
                        <a:cxn ang="0">
                          <a:pos x="connsiteX2" y="connsiteY2"/>
                        </a:cxn>
                        <a:cxn ang="0">
                          <a:pos x="connsiteX3" y="connsiteY3"/>
                        </a:cxn>
                      </a:cxnLst>
                      <a:rect l="l" t="t" r="r" b="b"/>
                      <a:pathLst>
                        <a:path w="6154" h="4019">
                          <a:moveTo>
                            <a:pt x="6154" y="377"/>
                          </a:moveTo>
                          <a:lnTo>
                            <a:pt x="0" y="4019"/>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1" name="Freeform: Shape 1830">
                      <a:extLst>
                        <a:ext uri="{FF2B5EF4-FFF2-40B4-BE49-F238E27FC236}">
                          <a16:creationId xmlns:a16="http://schemas.microsoft.com/office/drawing/2014/main" id="{CF1B53F9-51C2-4BFE-BE7B-3E1C3C206AB6}"/>
                        </a:ext>
                      </a:extLst>
                    </p:cNvPr>
                    <p:cNvSpPr/>
                    <p:nvPr/>
                  </p:nvSpPr>
                  <p:spPr>
                    <a:xfrm>
                      <a:off x="3850238" y="1641625"/>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2" name="Freeform: Shape 1831">
                      <a:extLst>
                        <a:ext uri="{FF2B5EF4-FFF2-40B4-BE49-F238E27FC236}">
                          <a16:creationId xmlns:a16="http://schemas.microsoft.com/office/drawing/2014/main" id="{28D67E82-76BE-4C1D-9141-F0BE4BC861F8}"/>
                        </a:ext>
                      </a:extLst>
                    </p:cNvPr>
                    <p:cNvSpPr/>
                    <p:nvPr/>
                  </p:nvSpPr>
                  <p:spPr>
                    <a:xfrm>
                      <a:off x="3850238" y="1642504"/>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33" name="Graphic 4">
                    <a:extLst>
                      <a:ext uri="{FF2B5EF4-FFF2-40B4-BE49-F238E27FC236}">
                        <a16:creationId xmlns:a16="http://schemas.microsoft.com/office/drawing/2014/main" id="{84FB7ED1-A2DF-40A1-A747-5F7CF3F14040}"/>
                      </a:ext>
                    </a:extLst>
                  </p:cNvPr>
                  <p:cNvGrpSpPr/>
                  <p:nvPr/>
                </p:nvGrpSpPr>
                <p:grpSpPr>
                  <a:xfrm>
                    <a:off x="3868072" y="1626930"/>
                    <a:ext cx="7661" cy="11052"/>
                    <a:chOff x="3868072" y="1626930"/>
                    <a:chExt cx="7661" cy="11052"/>
                  </a:xfrm>
                  <a:solidFill>
                    <a:schemeClr val="accent1"/>
                  </a:solidFill>
                </p:grpSpPr>
                <p:sp>
                  <p:nvSpPr>
                    <p:cNvPr id="1834" name="Freeform: Shape 1833">
                      <a:extLst>
                        <a:ext uri="{FF2B5EF4-FFF2-40B4-BE49-F238E27FC236}">
                          <a16:creationId xmlns:a16="http://schemas.microsoft.com/office/drawing/2014/main" id="{0A672059-621F-4DEE-807C-A75F1B57B4DE}"/>
                        </a:ext>
                      </a:extLst>
                    </p:cNvPr>
                    <p:cNvSpPr/>
                    <p:nvPr/>
                  </p:nvSpPr>
                  <p:spPr>
                    <a:xfrm>
                      <a:off x="3868072" y="1626930"/>
                      <a:ext cx="7661" cy="11052"/>
                    </a:xfrm>
                    <a:custGeom>
                      <a:avLst/>
                      <a:gdLst>
                        <a:gd name="connsiteX0" fmla="*/ 7661 w 7661"/>
                        <a:gd name="connsiteY0" fmla="*/ 6531 h 11052"/>
                        <a:gd name="connsiteX1" fmla="*/ 0 w 7661"/>
                        <a:gd name="connsiteY1" fmla="*/ 11052 h 11052"/>
                        <a:gd name="connsiteX2" fmla="*/ 0 w 7661"/>
                        <a:gd name="connsiteY2" fmla="*/ 4396 h 11052"/>
                        <a:gd name="connsiteX3" fmla="*/ 7661 w 7661"/>
                        <a:gd name="connsiteY3" fmla="*/ 0 h 11052"/>
                      </a:gdLst>
                      <a:ahLst/>
                      <a:cxnLst>
                        <a:cxn ang="0">
                          <a:pos x="connsiteX0" y="connsiteY0"/>
                        </a:cxn>
                        <a:cxn ang="0">
                          <a:pos x="connsiteX1" y="connsiteY1"/>
                        </a:cxn>
                        <a:cxn ang="0">
                          <a:pos x="connsiteX2" y="connsiteY2"/>
                        </a:cxn>
                        <a:cxn ang="0">
                          <a:pos x="connsiteX3" y="connsiteY3"/>
                        </a:cxn>
                      </a:cxnLst>
                      <a:rect l="l" t="t" r="r" b="b"/>
                      <a:pathLst>
                        <a:path w="7661" h="11052">
                          <a:moveTo>
                            <a:pt x="7661" y="6531"/>
                          </a:moveTo>
                          <a:lnTo>
                            <a:pt x="0" y="11052"/>
                          </a:lnTo>
                          <a:lnTo>
                            <a:pt x="0" y="4396"/>
                          </a:lnTo>
                          <a:lnTo>
                            <a:pt x="7661"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5" name="Freeform: Shape 1834">
                      <a:extLst>
                        <a:ext uri="{FF2B5EF4-FFF2-40B4-BE49-F238E27FC236}">
                          <a16:creationId xmlns:a16="http://schemas.microsoft.com/office/drawing/2014/main" id="{CD5CD37B-8B07-4171-AE41-678328802791}"/>
                        </a:ext>
                      </a:extLst>
                    </p:cNvPr>
                    <p:cNvSpPr/>
                    <p:nvPr/>
                  </p:nvSpPr>
                  <p:spPr>
                    <a:xfrm>
                      <a:off x="3868700" y="1628186"/>
                      <a:ext cx="6279" cy="4270"/>
                    </a:xfrm>
                    <a:custGeom>
                      <a:avLst/>
                      <a:gdLst>
                        <a:gd name="connsiteX0" fmla="*/ 6280 w 6279"/>
                        <a:gd name="connsiteY0" fmla="*/ 754 h 4270"/>
                        <a:gd name="connsiteX1" fmla="*/ 0 w 6279"/>
                        <a:gd name="connsiteY1" fmla="*/ 4270 h 4270"/>
                        <a:gd name="connsiteX2" fmla="*/ 0 w 6279"/>
                        <a:gd name="connsiteY2" fmla="*/ 3517 h 4270"/>
                        <a:gd name="connsiteX3" fmla="*/ 6280 w 6279"/>
                        <a:gd name="connsiteY3" fmla="*/ 0 h 4270"/>
                      </a:gdLst>
                      <a:ahLst/>
                      <a:cxnLst>
                        <a:cxn ang="0">
                          <a:pos x="connsiteX0" y="connsiteY0"/>
                        </a:cxn>
                        <a:cxn ang="0">
                          <a:pos x="connsiteX1" y="connsiteY1"/>
                        </a:cxn>
                        <a:cxn ang="0">
                          <a:pos x="connsiteX2" y="connsiteY2"/>
                        </a:cxn>
                        <a:cxn ang="0">
                          <a:pos x="connsiteX3" y="connsiteY3"/>
                        </a:cxn>
                      </a:cxnLst>
                      <a:rect l="l" t="t" r="r" b="b"/>
                      <a:pathLst>
                        <a:path w="6279" h="4270">
                          <a:moveTo>
                            <a:pt x="6280" y="754"/>
                          </a:moveTo>
                          <a:lnTo>
                            <a:pt x="0" y="4270"/>
                          </a:lnTo>
                          <a:lnTo>
                            <a:pt x="0" y="3517"/>
                          </a:lnTo>
                          <a:lnTo>
                            <a:pt x="628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6" name="Freeform: Shape 1835">
                      <a:extLst>
                        <a:ext uri="{FF2B5EF4-FFF2-40B4-BE49-F238E27FC236}">
                          <a16:creationId xmlns:a16="http://schemas.microsoft.com/office/drawing/2014/main" id="{60E0B2BD-D7BC-478B-AC60-C331F1BDA8DC}"/>
                        </a:ext>
                      </a:extLst>
                    </p:cNvPr>
                    <p:cNvSpPr/>
                    <p:nvPr/>
                  </p:nvSpPr>
                  <p:spPr>
                    <a:xfrm>
                      <a:off x="3868700" y="1629944"/>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7" name="Freeform: Shape 1836">
                      <a:extLst>
                        <a:ext uri="{FF2B5EF4-FFF2-40B4-BE49-F238E27FC236}">
                          <a16:creationId xmlns:a16="http://schemas.microsoft.com/office/drawing/2014/main" id="{704EDED1-39D5-40F1-8DFD-AC82FACBE397}"/>
                        </a:ext>
                      </a:extLst>
                    </p:cNvPr>
                    <p:cNvSpPr/>
                    <p:nvPr/>
                  </p:nvSpPr>
                  <p:spPr>
                    <a:xfrm>
                      <a:off x="3868700" y="1630824"/>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8" name="Freeform: Shape 1837">
                      <a:extLst>
                        <a:ext uri="{FF2B5EF4-FFF2-40B4-BE49-F238E27FC236}">
                          <a16:creationId xmlns:a16="http://schemas.microsoft.com/office/drawing/2014/main" id="{41BD9244-5E04-4C66-ACD8-8DE5274F5417}"/>
                        </a:ext>
                      </a:extLst>
                    </p:cNvPr>
                    <p:cNvSpPr/>
                    <p:nvPr/>
                  </p:nvSpPr>
                  <p:spPr>
                    <a:xfrm>
                      <a:off x="3868700" y="1631703"/>
                      <a:ext cx="6279" cy="3893"/>
                    </a:xfrm>
                    <a:custGeom>
                      <a:avLst/>
                      <a:gdLst>
                        <a:gd name="connsiteX0" fmla="*/ 6280 w 6279"/>
                        <a:gd name="connsiteY0" fmla="*/ 377 h 3893"/>
                        <a:gd name="connsiteX1" fmla="*/ 0 w 6279"/>
                        <a:gd name="connsiteY1" fmla="*/ 3893 h 3893"/>
                        <a:gd name="connsiteX2" fmla="*/ 0 w 6279"/>
                        <a:gd name="connsiteY2" fmla="*/ 3642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377"/>
                          </a:moveTo>
                          <a:lnTo>
                            <a:pt x="0" y="3893"/>
                          </a:lnTo>
                          <a:lnTo>
                            <a:pt x="0" y="3642"/>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9" name="Freeform: Shape 1838">
                      <a:extLst>
                        <a:ext uri="{FF2B5EF4-FFF2-40B4-BE49-F238E27FC236}">
                          <a16:creationId xmlns:a16="http://schemas.microsoft.com/office/drawing/2014/main" id="{F16FD7EF-3694-4107-B844-32CA07321A2E}"/>
                        </a:ext>
                      </a:extLst>
                    </p:cNvPr>
                    <p:cNvSpPr/>
                    <p:nvPr/>
                  </p:nvSpPr>
                  <p:spPr>
                    <a:xfrm>
                      <a:off x="3868700" y="1632582"/>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840" name="Graphic 4">
                  <a:extLst>
                    <a:ext uri="{FF2B5EF4-FFF2-40B4-BE49-F238E27FC236}">
                      <a16:creationId xmlns:a16="http://schemas.microsoft.com/office/drawing/2014/main" id="{84FB7ED1-A2DF-40A1-A747-5F7CF3F14040}"/>
                    </a:ext>
                  </a:extLst>
                </p:cNvPr>
                <p:cNvGrpSpPr/>
                <p:nvPr/>
              </p:nvGrpSpPr>
              <p:grpSpPr>
                <a:xfrm>
                  <a:off x="3810801" y="1583726"/>
                  <a:ext cx="66690" cy="60285"/>
                  <a:chOff x="3810801" y="1583726"/>
                  <a:chExt cx="66690" cy="60285"/>
                </a:xfrm>
                <a:solidFill>
                  <a:schemeClr val="accent1"/>
                </a:solidFill>
              </p:grpSpPr>
              <p:grpSp>
                <p:nvGrpSpPr>
                  <p:cNvPr id="1841" name="Graphic 4">
                    <a:extLst>
                      <a:ext uri="{FF2B5EF4-FFF2-40B4-BE49-F238E27FC236}">
                        <a16:creationId xmlns:a16="http://schemas.microsoft.com/office/drawing/2014/main" id="{84FB7ED1-A2DF-40A1-A747-5F7CF3F14040}"/>
                      </a:ext>
                    </a:extLst>
                  </p:cNvPr>
                  <p:cNvGrpSpPr/>
                  <p:nvPr/>
                </p:nvGrpSpPr>
                <p:grpSpPr>
                  <a:xfrm>
                    <a:off x="3820597" y="1583726"/>
                    <a:ext cx="40567" cy="42953"/>
                    <a:chOff x="3820597" y="1583726"/>
                    <a:chExt cx="40567" cy="42953"/>
                  </a:xfrm>
                  <a:solidFill>
                    <a:schemeClr val="accent1"/>
                  </a:solidFill>
                </p:grpSpPr>
                <p:sp>
                  <p:nvSpPr>
                    <p:cNvPr id="1842" name="Freeform: Shape 1841">
                      <a:extLst>
                        <a:ext uri="{FF2B5EF4-FFF2-40B4-BE49-F238E27FC236}">
                          <a16:creationId xmlns:a16="http://schemas.microsoft.com/office/drawing/2014/main" id="{6FA18A5B-BE5C-4D82-8278-0DED2B59854A}"/>
                        </a:ext>
                      </a:extLst>
                    </p:cNvPr>
                    <p:cNvSpPr/>
                    <p:nvPr/>
                  </p:nvSpPr>
                  <p:spPr>
                    <a:xfrm>
                      <a:off x="3820597" y="1604197"/>
                      <a:ext cx="38934" cy="22481"/>
                    </a:xfrm>
                    <a:custGeom>
                      <a:avLst/>
                      <a:gdLst>
                        <a:gd name="connsiteX0" fmla="*/ 0 w 38934"/>
                        <a:gd name="connsiteY0" fmla="*/ 11178 h 22481"/>
                        <a:gd name="connsiteX1" fmla="*/ 19467 w 38934"/>
                        <a:gd name="connsiteY1" fmla="*/ 22481 h 22481"/>
                        <a:gd name="connsiteX2" fmla="*/ 38934 w 38934"/>
                        <a:gd name="connsiteY2" fmla="*/ 11304 h 22481"/>
                        <a:gd name="connsiteX3" fmla="*/ 19342 w 38934"/>
                        <a:gd name="connsiteY3" fmla="*/ 0 h 22481"/>
                      </a:gdLst>
                      <a:ahLst/>
                      <a:cxnLst>
                        <a:cxn ang="0">
                          <a:pos x="connsiteX0" y="connsiteY0"/>
                        </a:cxn>
                        <a:cxn ang="0">
                          <a:pos x="connsiteX1" y="connsiteY1"/>
                        </a:cxn>
                        <a:cxn ang="0">
                          <a:pos x="connsiteX2" y="connsiteY2"/>
                        </a:cxn>
                        <a:cxn ang="0">
                          <a:pos x="connsiteX3" y="connsiteY3"/>
                        </a:cxn>
                      </a:cxnLst>
                      <a:rect l="l" t="t" r="r" b="b"/>
                      <a:pathLst>
                        <a:path w="38934" h="22481">
                          <a:moveTo>
                            <a:pt x="0" y="11178"/>
                          </a:moveTo>
                          <a:lnTo>
                            <a:pt x="19467" y="22481"/>
                          </a:lnTo>
                          <a:lnTo>
                            <a:pt x="38934" y="11304"/>
                          </a:lnTo>
                          <a:lnTo>
                            <a:pt x="19342"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43" name="Graphic 4">
                      <a:extLst>
                        <a:ext uri="{FF2B5EF4-FFF2-40B4-BE49-F238E27FC236}">
                          <a16:creationId xmlns:a16="http://schemas.microsoft.com/office/drawing/2014/main" id="{84FB7ED1-A2DF-40A1-A747-5F7CF3F14040}"/>
                        </a:ext>
                      </a:extLst>
                    </p:cNvPr>
                    <p:cNvGrpSpPr/>
                    <p:nvPr/>
                  </p:nvGrpSpPr>
                  <p:grpSpPr>
                    <a:xfrm>
                      <a:off x="3828509" y="1583726"/>
                      <a:ext cx="32654" cy="40567"/>
                      <a:chOff x="3828509" y="1583726"/>
                      <a:chExt cx="32654" cy="40567"/>
                    </a:xfrm>
                    <a:solidFill>
                      <a:schemeClr val="accent1"/>
                    </a:solidFill>
                  </p:grpSpPr>
                  <p:sp>
                    <p:nvSpPr>
                      <p:cNvPr id="1844" name="Freeform: Shape 1843">
                        <a:extLst>
                          <a:ext uri="{FF2B5EF4-FFF2-40B4-BE49-F238E27FC236}">
                            <a16:creationId xmlns:a16="http://schemas.microsoft.com/office/drawing/2014/main" id="{77F6D38E-7609-40D3-8A21-3B2F2BF630DE}"/>
                          </a:ext>
                        </a:extLst>
                      </p:cNvPr>
                      <p:cNvSpPr/>
                      <p:nvPr/>
                    </p:nvSpPr>
                    <p:spPr>
                      <a:xfrm>
                        <a:off x="3828509" y="1583726"/>
                        <a:ext cx="32529" cy="18964"/>
                      </a:xfrm>
                      <a:custGeom>
                        <a:avLst/>
                        <a:gdLst>
                          <a:gd name="connsiteX0" fmla="*/ 25370 w 32529"/>
                          <a:gd name="connsiteY0" fmla="*/ 5024 h 18964"/>
                          <a:gd name="connsiteX1" fmla="*/ 23235 w 32529"/>
                          <a:gd name="connsiteY1" fmla="*/ 3768 h 18964"/>
                          <a:gd name="connsiteX2" fmla="*/ 16704 w 32529"/>
                          <a:gd name="connsiteY2" fmla="*/ 0 h 18964"/>
                          <a:gd name="connsiteX3" fmla="*/ 0 w 32529"/>
                          <a:gd name="connsiteY3" fmla="*/ 9796 h 18964"/>
                          <a:gd name="connsiteX4" fmla="*/ 6531 w 32529"/>
                          <a:gd name="connsiteY4" fmla="*/ 13564 h 18964"/>
                          <a:gd name="connsiteX5" fmla="*/ 8666 w 32529"/>
                          <a:gd name="connsiteY5" fmla="*/ 14820 h 18964"/>
                          <a:gd name="connsiteX6" fmla="*/ 15825 w 32529"/>
                          <a:gd name="connsiteY6" fmla="*/ 18965 h 18964"/>
                          <a:gd name="connsiteX7" fmla="*/ 32529 w 32529"/>
                          <a:gd name="connsiteY7" fmla="*/ 9294 h 18964"/>
                          <a:gd name="connsiteX8" fmla="*/ 32529 w 32529"/>
                          <a:gd name="connsiteY8" fmla="*/ 9294 h 18964"/>
                          <a:gd name="connsiteX9" fmla="*/ 25370 w 32529"/>
                          <a:gd name="connsiteY9" fmla="*/ 5024 h 1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964">
                            <a:moveTo>
                              <a:pt x="25370" y="5024"/>
                            </a:moveTo>
                            <a:lnTo>
                              <a:pt x="23235" y="3768"/>
                            </a:lnTo>
                            <a:lnTo>
                              <a:pt x="16704" y="0"/>
                            </a:lnTo>
                            <a:lnTo>
                              <a:pt x="0" y="9796"/>
                            </a:lnTo>
                            <a:lnTo>
                              <a:pt x="6531" y="13564"/>
                            </a:lnTo>
                            <a:lnTo>
                              <a:pt x="8666" y="14820"/>
                            </a:lnTo>
                            <a:lnTo>
                              <a:pt x="15825" y="18965"/>
                            </a:lnTo>
                            <a:lnTo>
                              <a:pt x="32529" y="9294"/>
                            </a:lnTo>
                            <a:lnTo>
                              <a:pt x="32529" y="9294"/>
                            </a:lnTo>
                            <a:lnTo>
                              <a:pt x="25370"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45" name="Freeform: Shape 1844">
                        <a:extLst>
                          <a:ext uri="{FF2B5EF4-FFF2-40B4-BE49-F238E27FC236}">
                            <a16:creationId xmlns:a16="http://schemas.microsoft.com/office/drawing/2014/main" id="{5EB470B6-77CD-41A7-B714-94BF27284C02}"/>
                          </a:ext>
                        </a:extLst>
                      </p:cNvPr>
                      <p:cNvSpPr/>
                      <p:nvPr/>
                    </p:nvSpPr>
                    <p:spPr>
                      <a:xfrm>
                        <a:off x="3829012" y="1584228"/>
                        <a:ext cx="31398" cy="17960"/>
                      </a:xfrm>
                      <a:custGeom>
                        <a:avLst/>
                        <a:gdLst>
                          <a:gd name="connsiteX0" fmla="*/ 16201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1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1" y="0"/>
                            </a:moveTo>
                            <a:lnTo>
                              <a:pt x="0" y="9294"/>
                            </a:lnTo>
                            <a:lnTo>
                              <a:pt x="15197" y="17960"/>
                            </a:lnTo>
                            <a:lnTo>
                              <a:pt x="31399" y="8666"/>
                            </a:lnTo>
                            <a:lnTo>
                              <a:pt x="16201"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46" name="Freeform: Shape 1845">
                        <a:extLst>
                          <a:ext uri="{FF2B5EF4-FFF2-40B4-BE49-F238E27FC236}">
                            <a16:creationId xmlns:a16="http://schemas.microsoft.com/office/drawing/2014/main" id="{6630E61C-85BC-41B6-B1FF-71929E2C4089}"/>
                          </a:ext>
                        </a:extLst>
                      </p:cNvPr>
                      <p:cNvSpPr/>
                      <p:nvPr/>
                    </p:nvSpPr>
                    <p:spPr>
                      <a:xfrm>
                        <a:off x="3828509" y="1593522"/>
                        <a:ext cx="15825" cy="30645"/>
                      </a:xfrm>
                      <a:custGeom>
                        <a:avLst/>
                        <a:gdLst>
                          <a:gd name="connsiteX0" fmla="*/ 15825 w 15825"/>
                          <a:gd name="connsiteY0" fmla="*/ 9168 h 30645"/>
                          <a:gd name="connsiteX1" fmla="*/ 15825 w 15825"/>
                          <a:gd name="connsiteY1" fmla="*/ 30645 h 30645"/>
                          <a:gd name="connsiteX2" fmla="*/ 8540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825"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47" name="Freeform: Shape 1846">
                        <a:extLst>
                          <a:ext uri="{FF2B5EF4-FFF2-40B4-BE49-F238E27FC236}">
                            <a16:creationId xmlns:a16="http://schemas.microsoft.com/office/drawing/2014/main" id="{18E7918E-CC03-418C-860C-6C808ABF0583}"/>
                          </a:ext>
                        </a:extLst>
                      </p:cNvPr>
                      <p:cNvSpPr/>
                      <p:nvPr/>
                    </p:nvSpPr>
                    <p:spPr>
                      <a:xfrm>
                        <a:off x="3844335" y="1593145"/>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48" name="Freeform: Shape 1847">
                      <a:extLst>
                        <a:ext uri="{FF2B5EF4-FFF2-40B4-BE49-F238E27FC236}">
                          <a16:creationId xmlns:a16="http://schemas.microsoft.com/office/drawing/2014/main" id="{9562472B-DE48-481A-B6FD-9FD421B9A613}"/>
                        </a:ext>
                      </a:extLst>
                    </p:cNvPr>
                    <p:cNvSpPr/>
                    <p:nvPr/>
                  </p:nvSpPr>
                  <p:spPr>
                    <a:xfrm>
                      <a:off x="3834915" y="1597290"/>
                      <a:ext cx="2134" cy="22732"/>
                    </a:xfrm>
                    <a:custGeom>
                      <a:avLst/>
                      <a:gdLst>
                        <a:gd name="connsiteX0" fmla="*/ 2135 w 2134"/>
                        <a:gd name="connsiteY0" fmla="*/ 1256 h 22732"/>
                        <a:gd name="connsiteX1" fmla="*/ 2135 w 2134"/>
                        <a:gd name="connsiteY1" fmla="*/ 22733 h 22732"/>
                        <a:gd name="connsiteX2" fmla="*/ 0 w 2134"/>
                        <a:gd name="connsiteY2" fmla="*/ 21602 h 22732"/>
                        <a:gd name="connsiteX3" fmla="*/ 0 w 2134"/>
                        <a:gd name="connsiteY3" fmla="*/ 0 h 22732"/>
                      </a:gdLst>
                      <a:ahLst/>
                      <a:cxnLst>
                        <a:cxn ang="0">
                          <a:pos x="connsiteX0" y="connsiteY0"/>
                        </a:cxn>
                        <a:cxn ang="0">
                          <a:pos x="connsiteX1" y="connsiteY1"/>
                        </a:cxn>
                        <a:cxn ang="0">
                          <a:pos x="connsiteX2" y="connsiteY2"/>
                        </a:cxn>
                        <a:cxn ang="0">
                          <a:pos x="connsiteX3" y="connsiteY3"/>
                        </a:cxn>
                      </a:cxnLst>
                      <a:rect l="l" t="t" r="r" b="b"/>
                      <a:pathLst>
                        <a:path w="2134"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49" name="Freeform: Shape 1848">
                      <a:extLst>
                        <a:ext uri="{FF2B5EF4-FFF2-40B4-BE49-F238E27FC236}">
                          <a16:creationId xmlns:a16="http://schemas.microsoft.com/office/drawing/2014/main" id="{03BA16E0-4079-4F0C-93BE-9C04D708D626}"/>
                        </a:ext>
                      </a:extLst>
                    </p:cNvPr>
                    <p:cNvSpPr/>
                    <p:nvPr/>
                  </p:nvSpPr>
                  <p:spPr>
                    <a:xfrm>
                      <a:off x="3834915" y="1587619"/>
                      <a:ext cx="18964" cy="10926"/>
                    </a:xfrm>
                    <a:custGeom>
                      <a:avLst/>
                      <a:gdLst>
                        <a:gd name="connsiteX0" fmla="*/ 18965 w 18964"/>
                        <a:gd name="connsiteY0" fmla="*/ 1130 h 10926"/>
                        <a:gd name="connsiteX1" fmla="*/ 13062 w 18964"/>
                        <a:gd name="connsiteY1" fmla="*/ 4521 h 10926"/>
                        <a:gd name="connsiteX2" fmla="*/ 11052 w 18964"/>
                        <a:gd name="connsiteY2" fmla="*/ 5777 h 10926"/>
                        <a:gd name="connsiteX3" fmla="*/ 2261 w 18964"/>
                        <a:gd name="connsiteY3" fmla="*/ 10927 h 10926"/>
                        <a:gd name="connsiteX4" fmla="*/ 2135 w 18964"/>
                        <a:gd name="connsiteY4" fmla="*/ 10927 h 10926"/>
                        <a:gd name="connsiteX5" fmla="*/ 0 w 18964"/>
                        <a:gd name="connsiteY5" fmla="*/ 9671 h 10926"/>
                        <a:gd name="connsiteX6" fmla="*/ 125 w 18964"/>
                        <a:gd name="connsiteY6" fmla="*/ 9671 h 10926"/>
                        <a:gd name="connsiteX7" fmla="*/ 8917 w 18964"/>
                        <a:gd name="connsiteY7" fmla="*/ 4521 h 10926"/>
                        <a:gd name="connsiteX8" fmla="*/ 11052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1052" y="5777"/>
                          </a:lnTo>
                          <a:lnTo>
                            <a:pt x="2261" y="10927"/>
                          </a:lnTo>
                          <a:lnTo>
                            <a:pt x="2135" y="10927"/>
                          </a:lnTo>
                          <a:lnTo>
                            <a:pt x="0" y="9671"/>
                          </a:lnTo>
                          <a:lnTo>
                            <a:pt x="125" y="9671"/>
                          </a:lnTo>
                          <a:lnTo>
                            <a:pt x="8917" y="4521"/>
                          </a:lnTo>
                          <a:lnTo>
                            <a:pt x="11052"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50" name="Graphic 4">
                    <a:extLst>
                      <a:ext uri="{FF2B5EF4-FFF2-40B4-BE49-F238E27FC236}">
                        <a16:creationId xmlns:a16="http://schemas.microsoft.com/office/drawing/2014/main" id="{84FB7ED1-A2DF-40A1-A747-5F7CF3F14040}"/>
                      </a:ext>
                    </a:extLst>
                  </p:cNvPr>
                  <p:cNvGrpSpPr/>
                  <p:nvPr/>
                </p:nvGrpSpPr>
                <p:grpSpPr>
                  <a:xfrm>
                    <a:off x="3810801" y="1593899"/>
                    <a:ext cx="32780" cy="40567"/>
                    <a:chOff x="3810801" y="1593899"/>
                    <a:chExt cx="32780" cy="40567"/>
                  </a:xfrm>
                  <a:solidFill>
                    <a:schemeClr val="accent1"/>
                  </a:solidFill>
                </p:grpSpPr>
                <p:grpSp>
                  <p:nvGrpSpPr>
                    <p:cNvPr id="1851" name="Graphic 4">
                      <a:extLst>
                        <a:ext uri="{FF2B5EF4-FFF2-40B4-BE49-F238E27FC236}">
                          <a16:creationId xmlns:a16="http://schemas.microsoft.com/office/drawing/2014/main" id="{84FB7ED1-A2DF-40A1-A747-5F7CF3F14040}"/>
                        </a:ext>
                      </a:extLst>
                    </p:cNvPr>
                    <p:cNvGrpSpPr/>
                    <p:nvPr/>
                  </p:nvGrpSpPr>
                  <p:grpSpPr>
                    <a:xfrm>
                      <a:off x="3810801" y="1593899"/>
                      <a:ext cx="32780" cy="40567"/>
                      <a:chOff x="3810801" y="1593899"/>
                      <a:chExt cx="32780" cy="40567"/>
                    </a:xfrm>
                    <a:solidFill>
                      <a:schemeClr val="accent1"/>
                    </a:solidFill>
                  </p:grpSpPr>
                  <p:sp>
                    <p:nvSpPr>
                      <p:cNvPr id="1852" name="Freeform: Shape 1851">
                        <a:extLst>
                          <a:ext uri="{FF2B5EF4-FFF2-40B4-BE49-F238E27FC236}">
                            <a16:creationId xmlns:a16="http://schemas.microsoft.com/office/drawing/2014/main" id="{37D5168F-6C6B-4E88-95A9-AAEFEC6B32C5}"/>
                          </a:ext>
                        </a:extLst>
                      </p:cNvPr>
                      <p:cNvSpPr/>
                      <p:nvPr/>
                    </p:nvSpPr>
                    <p:spPr>
                      <a:xfrm>
                        <a:off x="3810801" y="1593899"/>
                        <a:ext cx="32529" cy="18839"/>
                      </a:xfrm>
                      <a:custGeom>
                        <a:avLst/>
                        <a:gdLst>
                          <a:gd name="connsiteX0" fmla="*/ 25496 w 32529"/>
                          <a:gd name="connsiteY0" fmla="*/ 5024 h 18839"/>
                          <a:gd name="connsiteX1" fmla="*/ 23361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1"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53" name="Freeform: Shape 1852">
                        <a:extLst>
                          <a:ext uri="{FF2B5EF4-FFF2-40B4-BE49-F238E27FC236}">
                            <a16:creationId xmlns:a16="http://schemas.microsoft.com/office/drawing/2014/main" id="{F4B06489-92EC-4817-B190-D94109864041}"/>
                          </a:ext>
                        </a:extLst>
                      </p:cNvPr>
                      <p:cNvSpPr/>
                      <p:nvPr/>
                    </p:nvSpPr>
                    <p:spPr>
                      <a:xfrm>
                        <a:off x="3811429" y="1594275"/>
                        <a:ext cx="31398" cy="17960"/>
                      </a:xfrm>
                      <a:custGeom>
                        <a:avLst/>
                        <a:gdLst>
                          <a:gd name="connsiteX0" fmla="*/ 16201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1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1" y="0"/>
                            </a:moveTo>
                            <a:lnTo>
                              <a:pt x="0" y="9294"/>
                            </a:lnTo>
                            <a:lnTo>
                              <a:pt x="15197" y="17960"/>
                            </a:lnTo>
                            <a:lnTo>
                              <a:pt x="31399" y="8666"/>
                            </a:lnTo>
                            <a:lnTo>
                              <a:pt x="16201"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54" name="Freeform: Shape 1853">
                        <a:extLst>
                          <a:ext uri="{FF2B5EF4-FFF2-40B4-BE49-F238E27FC236}">
                            <a16:creationId xmlns:a16="http://schemas.microsoft.com/office/drawing/2014/main" id="{42E40273-85CD-4DD4-949A-03EBFD71183C}"/>
                          </a:ext>
                        </a:extLst>
                      </p:cNvPr>
                      <p:cNvSpPr/>
                      <p:nvPr/>
                    </p:nvSpPr>
                    <p:spPr>
                      <a:xfrm>
                        <a:off x="3810926" y="1603695"/>
                        <a:ext cx="15824" cy="30645"/>
                      </a:xfrm>
                      <a:custGeom>
                        <a:avLst/>
                        <a:gdLst>
                          <a:gd name="connsiteX0" fmla="*/ 15825 w 15824"/>
                          <a:gd name="connsiteY0" fmla="*/ 9168 h 30645"/>
                          <a:gd name="connsiteX1" fmla="*/ 15825 w 15824"/>
                          <a:gd name="connsiteY1" fmla="*/ 30645 h 30645"/>
                          <a:gd name="connsiteX2" fmla="*/ 8540 w 15824"/>
                          <a:gd name="connsiteY2" fmla="*/ 26501 h 30645"/>
                          <a:gd name="connsiteX3" fmla="*/ 6405 w 15824"/>
                          <a:gd name="connsiteY3" fmla="*/ 25370 h 30645"/>
                          <a:gd name="connsiteX4" fmla="*/ 0 w 15824"/>
                          <a:gd name="connsiteY4" fmla="*/ 21602 h 30645"/>
                          <a:gd name="connsiteX5" fmla="*/ 0 w 15824"/>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4" h="30645">
                            <a:moveTo>
                              <a:pt x="15825" y="9168"/>
                            </a:moveTo>
                            <a:lnTo>
                              <a:pt x="15825"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55" name="Freeform: Shape 1854">
                        <a:extLst>
                          <a:ext uri="{FF2B5EF4-FFF2-40B4-BE49-F238E27FC236}">
                            <a16:creationId xmlns:a16="http://schemas.microsoft.com/office/drawing/2014/main" id="{E02E03B5-0B22-4277-8470-7B01B2F5E1B8}"/>
                          </a:ext>
                        </a:extLst>
                      </p:cNvPr>
                      <p:cNvSpPr/>
                      <p:nvPr/>
                    </p:nvSpPr>
                    <p:spPr>
                      <a:xfrm>
                        <a:off x="3826751" y="1603318"/>
                        <a:ext cx="16830" cy="31147"/>
                      </a:xfrm>
                      <a:custGeom>
                        <a:avLst/>
                        <a:gdLst>
                          <a:gd name="connsiteX0" fmla="*/ 0 w 16830"/>
                          <a:gd name="connsiteY0" fmla="*/ 9545 h 31147"/>
                          <a:gd name="connsiteX1" fmla="*/ 0 w 16830"/>
                          <a:gd name="connsiteY1" fmla="*/ 31148 h 31147"/>
                          <a:gd name="connsiteX2" fmla="*/ 16830 w 16830"/>
                          <a:gd name="connsiteY2" fmla="*/ 21602 h 31147"/>
                          <a:gd name="connsiteX3" fmla="*/ 16830 w 16830"/>
                          <a:gd name="connsiteY3" fmla="*/ 0 h 31147"/>
                          <a:gd name="connsiteX4" fmla="*/ 0 w 16830"/>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0"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56" name="Freeform: Shape 1855">
                      <a:extLst>
                        <a:ext uri="{FF2B5EF4-FFF2-40B4-BE49-F238E27FC236}">
                          <a16:creationId xmlns:a16="http://schemas.microsoft.com/office/drawing/2014/main" id="{42479DE7-DB82-4ADC-80A7-0D552565599C}"/>
                        </a:ext>
                      </a:extLst>
                    </p:cNvPr>
                    <p:cNvSpPr/>
                    <p:nvPr/>
                  </p:nvSpPr>
                  <p:spPr>
                    <a:xfrm>
                      <a:off x="3817331" y="1607463"/>
                      <a:ext cx="2135" cy="22732"/>
                    </a:xfrm>
                    <a:custGeom>
                      <a:avLst/>
                      <a:gdLst>
                        <a:gd name="connsiteX0" fmla="*/ 2135 w 2135"/>
                        <a:gd name="connsiteY0" fmla="*/ 1256 h 22732"/>
                        <a:gd name="connsiteX1" fmla="*/ 2135 w 2135"/>
                        <a:gd name="connsiteY1" fmla="*/ 22733 h 22732"/>
                        <a:gd name="connsiteX2" fmla="*/ 0 w 2135"/>
                        <a:gd name="connsiteY2" fmla="*/ 21602 h 22732"/>
                        <a:gd name="connsiteX3" fmla="*/ 0 w 2135"/>
                        <a:gd name="connsiteY3" fmla="*/ 0 h 22732"/>
                      </a:gdLst>
                      <a:ahLst/>
                      <a:cxnLst>
                        <a:cxn ang="0">
                          <a:pos x="connsiteX0" y="connsiteY0"/>
                        </a:cxn>
                        <a:cxn ang="0">
                          <a:pos x="connsiteX1" y="connsiteY1"/>
                        </a:cxn>
                        <a:cxn ang="0">
                          <a:pos x="connsiteX2" y="connsiteY2"/>
                        </a:cxn>
                        <a:cxn ang="0">
                          <a:pos x="connsiteX3" y="connsiteY3"/>
                        </a:cxn>
                      </a:cxnLst>
                      <a:rect l="l" t="t" r="r" b="b"/>
                      <a:pathLst>
                        <a:path w="2135"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57" name="Freeform: Shape 1856">
                      <a:extLst>
                        <a:ext uri="{FF2B5EF4-FFF2-40B4-BE49-F238E27FC236}">
                          <a16:creationId xmlns:a16="http://schemas.microsoft.com/office/drawing/2014/main" id="{65A0317D-1AF5-44C5-8FF6-01DEF4EF7872}"/>
                        </a:ext>
                      </a:extLst>
                    </p:cNvPr>
                    <p:cNvSpPr/>
                    <p:nvPr/>
                  </p:nvSpPr>
                  <p:spPr>
                    <a:xfrm>
                      <a:off x="3817331" y="1597792"/>
                      <a:ext cx="18964" cy="10926"/>
                    </a:xfrm>
                    <a:custGeom>
                      <a:avLst/>
                      <a:gdLst>
                        <a:gd name="connsiteX0" fmla="*/ 18965 w 18964"/>
                        <a:gd name="connsiteY0" fmla="*/ 1130 h 10926"/>
                        <a:gd name="connsiteX1" fmla="*/ 13062 w 18964"/>
                        <a:gd name="connsiteY1" fmla="*/ 4521 h 10926"/>
                        <a:gd name="connsiteX2" fmla="*/ 11052 w 18964"/>
                        <a:gd name="connsiteY2" fmla="*/ 5777 h 10926"/>
                        <a:gd name="connsiteX3" fmla="*/ 2135 w 18964"/>
                        <a:gd name="connsiteY3" fmla="*/ 10801 h 10926"/>
                        <a:gd name="connsiteX4" fmla="*/ 2135 w 18964"/>
                        <a:gd name="connsiteY4" fmla="*/ 10927 h 10926"/>
                        <a:gd name="connsiteX5" fmla="*/ 0 w 18964"/>
                        <a:gd name="connsiteY5" fmla="*/ 9671 h 10926"/>
                        <a:gd name="connsiteX6" fmla="*/ 126 w 18964"/>
                        <a:gd name="connsiteY6" fmla="*/ 9671 h 10926"/>
                        <a:gd name="connsiteX7" fmla="*/ 8918 w 18964"/>
                        <a:gd name="connsiteY7" fmla="*/ 4521 h 10926"/>
                        <a:gd name="connsiteX8" fmla="*/ 11052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1052" y="5777"/>
                          </a:lnTo>
                          <a:lnTo>
                            <a:pt x="2135" y="10801"/>
                          </a:lnTo>
                          <a:lnTo>
                            <a:pt x="2135" y="10927"/>
                          </a:lnTo>
                          <a:lnTo>
                            <a:pt x="0" y="9671"/>
                          </a:lnTo>
                          <a:lnTo>
                            <a:pt x="126" y="9671"/>
                          </a:lnTo>
                          <a:lnTo>
                            <a:pt x="8918" y="4521"/>
                          </a:lnTo>
                          <a:lnTo>
                            <a:pt x="11052"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58" name="Graphic 4">
                    <a:extLst>
                      <a:ext uri="{FF2B5EF4-FFF2-40B4-BE49-F238E27FC236}">
                        <a16:creationId xmlns:a16="http://schemas.microsoft.com/office/drawing/2014/main" id="{84FB7ED1-A2DF-40A1-A747-5F7CF3F14040}"/>
                      </a:ext>
                    </a:extLst>
                  </p:cNvPr>
                  <p:cNvGrpSpPr/>
                  <p:nvPr/>
                </p:nvGrpSpPr>
                <p:grpSpPr>
                  <a:xfrm>
                    <a:off x="3836799" y="1593396"/>
                    <a:ext cx="40692" cy="42827"/>
                    <a:chOff x="3836799" y="1593396"/>
                    <a:chExt cx="40692" cy="42827"/>
                  </a:xfrm>
                  <a:solidFill>
                    <a:schemeClr val="accent1"/>
                  </a:solidFill>
                </p:grpSpPr>
                <p:sp>
                  <p:nvSpPr>
                    <p:cNvPr id="1859" name="Freeform: Shape 1858">
                      <a:extLst>
                        <a:ext uri="{FF2B5EF4-FFF2-40B4-BE49-F238E27FC236}">
                          <a16:creationId xmlns:a16="http://schemas.microsoft.com/office/drawing/2014/main" id="{C5F4DEA9-C5DF-4BC8-B527-D2A9CF2795E1}"/>
                        </a:ext>
                      </a:extLst>
                    </p:cNvPr>
                    <p:cNvSpPr/>
                    <p:nvPr/>
                  </p:nvSpPr>
                  <p:spPr>
                    <a:xfrm>
                      <a:off x="3836799" y="1613743"/>
                      <a:ext cx="38934" cy="22481"/>
                    </a:xfrm>
                    <a:custGeom>
                      <a:avLst/>
                      <a:gdLst>
                        <a:gd name="connsiteX0" fmla="*/ 0 w 38934"/>
                        <a:gd name="connsiteY0" fmla="*/ 11178 h 22481"/>
                        <a:gd name="connsiteX1" fmla="*/ 19593 w 38934"/>
                        <a:gd name="connsiteY1" fmla="*/ 22481 h 22481"/>
                        <a:gd name="connsiteX2" fmla="*/ 38934 w 38934"/>
                        <a:gd name="connsiteY2" fmla="*/ 11304 h 22481"/>
                        <a:gd name="connsiteX3" fmla="*/ 19467 w 38934"/>
                        <a:gd name="connsiteY3" fmla="*/ 0 h 22481"/>
                      </a:gdLst>
                      <a:ahLst/>
                      <a:cxnLst>
                        <a:cxn ang="0">
                          <a:pos x="connsiteX0" y="connsiteY0"/>
                        </a:cxn>
                        <a:cxn ang="0">
                          <a:pos x="connsiteX1" y="connsiteY1"/>
                        </a:cxn>
                        <a:cxn ang="0">
                          <a:pos x="connsiteX2" y="connsiteY2"/>
                        </a:cxn>
                        <a:cxn ang="0">
                          <a:pos x="connsiteX3" y="connsiteY3"/>
                        </a:cxn>
                      </a:cxnLst>
                      <a:rect l="l" t="t" r="r" b="b"/>
                      <a:pathLst>
                        <a:path w="38934" h="22481">
                          <a:moveTo>
                            <a:pt x="0" y="11178"/>
                          </a:moveTo>
                          <a:lnTo>
                            <a:pt x="19593" y="22481"/>
                          </a:lnTo>
                          <a:lnTo>
                            <a:pt x="38934" y="11304"/>
                          </a:lnTo>
                          <a:lnTo>
                            <a:pt x="19467"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60" name="Graphic 4">
                      <a:extLst>
                        <a:ext uri="{FF2B5EF4-FFF2-40B4-BE49-F238E27FC236}">
                          <a16:creationId xmlns:a16="http://schemas.microsoft.com/office/drawing/2014/main" id="{84FB7ED1-A2DF-40A1-A747-5F7CF3F14040}"/>
                        </a:ext>
                      </a:extLst>
                    </p:cNvPr>
                    <p:cNvGrpSpPr/>
                    <p:nvPr/>
                  </p:nvGrpSpPr>
                  <p:grpSpPr>
                    <a:xfrm>
                      <a:off x="3844711" y="1593396"/>
                      <a:ext cx="32780" cy="40315"/>
                      <a:chOff x="3844711" y="1593396"/>
                      <a:chExt cx="32780" cy="40315"/>
                    </a:xfrm>
                    <a:solidFill>
                      <a:schemeClr val="accent1"/>
                    </a:solidFill>
                  </p:grpSpPr>
                  <p:sp>
                    <p:nvSpPr>
                      <p:cNvPr id="1861" name="Freeform: Shape 1860">
                        <a:extLst>
                          <a:ext uri="{FF2B5EF4-FFF2-40B4-BE49-F238E27FC236}">
                            <a16:creationId xmlns:a16="http://schemas.microsoft.com/office/drawing/2014/main" id="{45404DA1-6A16-41C9-AC02-122D031C0FE7}"/>
                          </a:ext>
                        </a:extLst>
                      </p:cNvPr>
                      <p:cNvSpPr/>
                      <p:nvPr/>
                    </p:nvSpPr>
                    <p:spPr>
                      <a:xfrm>
                        <a:off x="3844711" y="1593396"/>
                        <a:ext cx="32529" cy="18839"/>
                      </a:xfrm>
                      <a:custGeom>
                        <a:avLst/>
                        <a:gdLst>
                          <a:gd name="connsiteX0" fmla="*/ 25496 w 32529"/>
                          <a:gd name="connsiteY0" fmla="*/ 5024 h 18839"/>
                          <a:gd name="connsiteX1" fmla="*/ 23360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0"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2" name="Freeform: Shape 1861">
                        <a:extLst>
                          <a:ext uri="{FF2B5EF4-FFF2-40B4-BE49-F238E27FC236}">
                            <a16:creationId xmlns:a16="http://schemas.microsoft.com/office/drawing/2014/main" id="{A5BF2030-BA68-4713-A698-CBB73AC6678A}"/>
                          </a:ext>
                        </a:extLst>
                      </p:cNvPr>
                      <p:cNvSpPr/>
                      <p:nvPr/>
                    </p:nvSpPr>
                    <p:spPr>
                      <a:xfrm>
                        <a:off x="3845339" y="1593773"/>
                        <a:ext cx="31398" cy="17960"/>
                      </a:xfrm>
                      <a:custGeom>
                        <a:avLst/>
                        <a:gdLst>
                          <a:gd name="connsiteX0" fmla="*/ 16202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2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2" y="0"/>
                            </a:moveTo>
                            <a:lnTo>
                              <a:pt x="0" y="9294"/>
                            </a:lnTo>
                            <a:lnTo>
                              <a:pt x="15197" y="17960"/>
                            </a:lnTo>
                            <a:lnTo>
                              <a:pt x="31399" y="8666"/>
                            </a:lnTo>
                            <a:lnTo>
                              <a:pt x="16202"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3" name="Freeform: Shape 1862">
                        <a:extLst>
                          <a:ext uri="{FF2B5EF4-FFF2-40B4-BE49-F238E27FC236}">
                            <a16:creationId xmlns:a16="http://schemas.microsoft.com/office/drawing/2014/main" id="{BC1F6926-95C5-4AB8-9D82-571A055CEC11}"/>
                          </a:ext>
                        </a:extLst>
                      </p:cNvPr>
                      <p:cNvSpPr/>
                      <p:nvPr/>
                    </p:nvSpPr>
                    <p:spPr>
                      <a:xfrm>
                        <a:off x="3844837" y="1603067"/>
                        <a:ext cx="15825" cy="30645"/>
                      </a:xfrm>
                      <a:custGeom>
                        <a:avLst/>
                        <a:gdLst>
                          <a:gd name="connsiteX0" fmla="*/ 15825 w 15825"/>
                          <a:gd name="connsiteY0" fmla="*/ 9168 h 30645"/>
                          <a:gd name="connsiteX1" fmla="*/ 15699 w 15825"/>
                          <a:gd name="connsiteY1" fmla="*/ 30645 h 30645"/>
                          <a:gd name="connsiteX2" fmla="*/ 8541 w 15825"/>
                          <a:gd name="connsiteY2" fmla="*/ 26626 h 30645"/>
                          <a:gd name="connsiteX3" fmla="*/ 6405 w 15825"/>
                          <a:gd name="connsiteY3" fmla="*/ 25370 h 30645"/>
                          <a:gd name="connsiteX4" fmla="*/ 0 w 15825"/>
                          <a:gd name="connsiteY4" fmla="*/ 21728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699" y="30645"/>
                            </a:lnTo>
                            <a:lnTo>
                              <a:pt x="8541" y="26626"/>
                            </a:lnTo>
                            <a:lnTo>
                              <a:pt x="6405" y="25370"/>
                            </a:lnTo>
                            <a:lnTo>
                              <a:pt x="0" y="21728"/>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4" name="Freeform: Shape 1863">
                        <a:extLst>
                          <a:ext uri="{FF2B5EF4-FFF2-40B4-BE49-F238E27FC236}">
                            <a16:creationId xmlns:a16="http://schemas.microsoft.com/office/drawing/2014/main" id="{3FDD826D-83A4-4751-A771-D391A2A29C9C}"/>
                          </a:ext>
                        </a:extLst>
                      </p:cNvPr>
                      <p:cNvSpPr/>
                      <p:nvPr/>
                    </p:nvSpPr>
                    <p:spPr>
                      <a:xfrm>
                        <a:off x="3860662" y="1602565"/>
                        <a:ext cx="16829" cy="31147"/>
                      </a:xfrm>
                      <a:custGeom>
                        <a:avLst/>
                        <a:gdLst>
                          <a:gd name="connsiteX0" fmla="*/ 0 w 16829"/>
                          <a:gd name="connsiteY0" fmla="*/ 9671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671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671"/>
                            </a:moveTo>
                            <a:lnTo>
                              <a:pt x="0" y="31148"/>
                            </a:lnTo>
                            <a:lnTo>
                              <a:pt x="16830" y="21602"/>
                            </a:lnTo>
                            <a:lnTo>
                              <a:pt x="16830" y="0"/>
                            </a:lnTo>
                            <a:lnTo>
                              <a:pt x="0" y="9671"/>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65" name="Freeform: Shape 1864">
                      <a:extLst>
                        <a:ext uri="{FF2B5EF4-FFF2-40B4-BE49-F238E27FC236}">
                          <a16:creationId xmlns:a16="http://schemas.microsoft.com/office/drawing/2014/main" id="{3504F299-1499-4BAE-BDFF-28E773164446}"/>
                        </a:ext>
                      </a:extLst>
                    </p:cNvPr>
                    <p:cNvSpPr/>
                    <p:nvPr/>
                  </p:nvSpPr>
                  <p:spPr>
                    <a:xfrm>
                      <a:off x="3851242" y="1606835"/>
                      <a:ext cx="2135" cy="22858"/>
                    </a:xfrm>
                    <a:custGeom>
                      <a:avLst/>
                      <a:gdLst>
                        <a:gd name="connsiteX0" fmla="*/ 2135 w 2135"/>
                        <a:gd name="connsiteY0" fmla="*/ 1256 h 22858"/>
                        <a:gd name="connsiteX1" fmla="*/ 2135 w 2135"/>
                        <a:gd name="connsiteY1" fmla="*/ 22858 h 22858"/>
                        <a:gd name="connsiteX2" fmla="*/ 0 w 2135"/>
                        <a:gd name="connsiteY2" fmla="*/ 21602 h 22858"/>
                        <a:gd name="connsiteX3" fmla="*/ 0 w 2135"/>
                        <a:gd name="connsiteY3" fmla="*/ 0 h 22858"/>
                      </a:gdLst>
                      <a:ahLst/>
                      <a:cxnLst>
                        <a:cxn ang="0">
                          <a:pos x="connsiteX0" y="connsiteY0"/>
                        </a:cxn>
                        <a:cxn ang="0">
                          <a:pos x="connsiteX1" y="connsiteY1"/>
                        </a:cxn>
                        <a:cxn ang="0">
                          <a:pos x="connsiteX2" y="connsiteY2"/>
                        </a:cxn>
                        <a:cxn ang="0">
                          <a:pos x="connsiteX3" y="connsiteY3"/>
                        </a:cxn>
                      </a:cxnLst>
                      <a:rect l="l" t="t" r="r" b="b"/>
                      <a:pathLst>
                        <a:path w="2135" h="22858">
                          <a:moveTo>
                            <a:pt x="2135" y="1256"/>
                          </a:moveTo>
                          <a:lnTo>
                            <a:pt x="2135" y="22858"/>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6" name="Freeform: Shape 1865">
                      <a:extLst>
                        <a:ext uri="{FF2B5EF4-FFF2-40B4-BE49-F238E27FC236}">
                          <a16:creationId xmlns:a16="http://schemas.microsoft.com/office/drawing/2014/main" id="{EA527F96-8476-412C-9258-5B8065B3359B}"/>
                        </a:ext>
                      </a:extLst>
                    </p:cNvPr>
                    <p:cNvSpPr/>
                    <p:nvPr/>
                  </p:nvSpPr>
                  <p:spPr>
                    <a:xfrm>
                      <a:off x="3851242" y="1597164"/>
                      <a:ext cx="18964" cy="10926"/>
                    </a:xfrm>
                    <a:custGeom>
                      <a:avLst/>
                      <a:gdLst>
                        <a:gd name="connsiteX0" fmla="*/ 18965 w 18964"/>
                        <a:gd name="connsiteY0" fmla="*/ 1256 h 10926"/>
                        <a:gd name="connsiteX1" fmla="*/ 13062 w 18964"/>
                        <a:gd name="connsiteY1" fmla="*/ 4647 h 10926"/>
                        <a:gd name="connsiteX2" fmla="*/ 10927 w 18964"/>
                        <a:gd name="connsiteY2" fmla="*/ 5777 h 10926"/>
                        <a:gd name="connsiteX3" fmla="*/ 2135 w 18964"/>
                        <a:gd name="connsiteY3" fmla="*/ 10927 h 10926"/>
                        <a:gd name="connsiteX4" fmla="*/ 2135 w 18964"/>
                        <a:gd name="connsiteY4" fmla="*/ 10927 h 10926"/>
                        <a:gd name="connsiteX5" fmla="*/ 0 w 18964"/>
                        <a:gd name="connsiteY5" fmla="*/ 9671 h 10926"/>
                        <a:gd name="connsiteX6" fmla="*/ 126 w 18964"/>
                        <a:gd name="connsiteY6" fmla="*/ 9671 h 10926"/>
                        <a:gd name="connsiteX7" fmla="*/ 8917 w 18964"/>
                        <a:gd name="connsiteY7" fmla="*/ 4647 h 10926"/>
                        <a:gd name="connsiteX8" fmla="*/ 10927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256"/>
                          </a:moveTo>
                          <a:lnTo>
                            <a:pt x="13062" y="4647"/>
                          </a:lnTo>
                          <a:lnTo>
                            <a:pt x="10927" y="5777"/>
                          </a:lnTo>
                          <a:lnTo>
                            <a:pt x="2135" y="10927"/>
                          </a:lnTo>
                          <a:lnTo>
                            <a:pt x="2135" y="10927"/>
                          </a:lnTo>
                          <a:lnTo>
                            <a:pt x="0" y="9671"/>
                          </a:lnTo>
                          <a:lnTo>
                            <a:pt x="126" y="9671"/>
                          </a:lnTo>
                          <a:lnTo>
                            <a:pt x="8917" y="4647"/>
                          </a:lnTo>
                          <a:lnTo>
                            <a:pt x="10927"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67" name="Graphic 4">
                    <a:extLst>
                      <a:ext uri="{FF2B5EF4-FFF2-40B4-BE49-F238E27FC236}">
                        <a16:creationId xmlns:a16="http://schemas.microsoft.com/office/drawing/2014/main" id="{84FB7ED1-A2DF-40A1-A747-5F7CF3F14040}"/>
                      </a:ext>
                    </a:extLst>
                  </p:cNvPr>
                  <p:cNvGrpSpPr/>
                  <p:nvPr/>
                </p:nvGrpSpPr>
                <p:grpSpPr>
                  <a:xfrm>
                    <a:off x="3827128" y="1603570"/>
                    <a:ext cx="32780" cy="40441"/>
                    <a:chOff x="3827128" y="1603570"/>
                    <a:chExt cx="32780" cy="40441"/>
                  </a:xfrm>
                  <a:solidFill>
                    <a:schemeClr val="accent1"/>
                  </a:solidFill>
                </p:grpSpPr>
                <p:sp>
                  <p:nvSpPr>
                    <p:cNvPr id="1868" name="Freeform: Shape 1867">
                      <a:extLst>
                        <a:ext uri="{FF2B5EF4-FFF2-40B4-BE49-F238E27FC236}">
                          <a16:creationId xmlns:a16="http://schemas.microsoft.com/office/drawing/2014/main" id="{B0876539-9ACF-4ABA-BE9A-105464D8F5C6}"/>
                        </a:ext>
                      </a:extLst>
                    </p:cNvPr>
                    <p:cNvSpPr/>
                    <p:nvPr/>
                  </p:nvSpPr>
                  <p:spPr>
                    <a:xfrm>
                      <a:off x="3827128" y="1603570"/>
                      <a:ext cx="32529" cy="18839"/>
                    </a:xfrm>
                    <a:custGeom>
                      <a:avLst/>
                      <a:gdLst>
                        <a:gd name="connsiteX0" fmla="*/ 25496 w 32529"/>
                        <a:gd name="connsiteY0" fmla="*/ 5024 h 18839"/>
                        <a:gd name="connsiteX1" fmla="*/ 23360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0"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9" name="Freeform: Shape 1868">
                      <a:extLst>
                        <a:ext uri="{FF2B5EF4-FFF2-40B4-BE49-F238E27FC236}">
                          <a16:creationId xmlns:a16="http://schemas.microsoft.com/office/drawing/2014/main" id="{6570C017-85A9-49F0-9571-DB4BEC51290C}"/>
                        </a:ext>
                      </a:extLst>
                    </p:cNvPr>
                    <p:cNvSpPr/>
                    <p:nvPr/>
                  </p:nvSpPr>
                  <p:spPr>
                    <a:xfrm>
                      <a:off x="3827756" y="1603946"/>
                      <a:ext cx="31398" cy="18085"/>
                    </a:xfrm>
                    <a:custGeom>
                      <a:avLst/>
                      <a:gdLst>
                        <a:gd name="connsiteX0" fmla="*/ 16202 w 31398"/>
                        <a:gd name="connsiteY0" fmla="*/ 0 h 18085"/>
                        <a:gd name="connsiteX1" fmla="*/ 0 w 31398"/>
                        <a:gd name="connsiteY1" fmla="*/ 9420 h 18085"/>
                        <a:gd name="connsiteX2" fmla="*/ 15197 w 31398"/>
                        <a:gd name="connsiteY2" fmla="*/ 18086 h 18085"/>
                        <a:gd name="connsiteX3" fmla="*/ 31399 w 31398"/>
                        <a:gd name="connsiteY3" fmla="*/ 8792 h 18085"/>
                        <a:gd name="connsiteX4" fmla="*/ 16202 w 31398"/>
                        <a:gd name="connsiteY4" fmla="*/ 0 h 18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8085">
                          <a:moveTo>
                            <a:pt x="16202" y="0"/>
                          </a:moveTo>
                          <a:lnTo>
                            <a:pt x="0" y="9420"/>
                          </a:lnTo>
                          <a:lnTo>
                            <a:pt x="15197" y="18086"/>
                          </a:lnTo>
                          <a:lnTo>
                            <a:pt x="31399" y="8792"/>
                          </a:lnTo>
                          <a:lnTo>
                            <a:pt x="16202"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0" name="Freeform: Shape 1869">
                      <a:extLst>
                        <a:ext uri="{FF2B5EF4-FFF2-40B4-BE49-F238E27FC236}">
                          <a16:creationId xmlns:a16="http://schemas.microsoft.com/office/drawing/2014/main" id="{09BF843A-A6A7-4D22-A806-B454C947915C}"/>
                        </a:ext>
                      </a:extLst>
                    </p:cNvPr>
                    <p:cNvSpPr/>
                    <p:nvPr/>
                  </p:nvSpPr>
                  <p:spPr>
                    <a:xfrm>
                      <a:off x="3827253" y="1613240"/>
                      <a:ext cx="15825" cy="30645"/>
                    </a:xfrm>
                    <a:custGeom>
                      <a:avLst/>
                      <a:gdLst>
                        <a:gd name="connsiteX0" fmla="*/ 15825 w 15825"/>
                        <a:gd name="connsiteY0" fmla="*/ 9168 h 30645"/>
                        <a:gd name="connsiteX1" fmla="*/ 15699 w 15825"/>
                        <a:gd name="connsiteY1" fmla="*/ 30645 h 30645"/>
                        <a:gd name="connsiteX2" fmla="*/ 8540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699"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1" name="Freeform: Shape 1870">
                      <a:extLst>
                        <a:ext uri="{FF2B5EF4-FFF2-40B4-BE49-F238E27FC236}">
                          <a16:creationId xmlns:a16="http://schemas.microsoft.com/office/drawing/2014/main" id="{B9BB5B3A-C233-4342-9B13-74C3A192409F}"/>
                        </a:ext>
                      </a:extLst>
                    </p:cNvPr>
                    <p:cNvSpPr/>
                    <p:nvPr/>
                  </p:nvSpPr>
                  <p:spPr>
                    <a:xfrm>
                      <a:off x="3843079" y="1612864"/>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72" name="Freeform: Shape 1871">
                    <a:extLst>
                      <a:ext uri="{FF2B5EF4-FFF2-40B4-BE49-F238E27FC236}">
                        <a16:creationId xmlns:a16="http://schemas.microsoft.com/office/drawing/2014/main" id="{7FC276F3-3FCB-44BA-A135-BE71E98C2C6E}"/>
                      </a:ext>
                    </a:extLst>
                  </p:cNvPr>
                  <p:cNvSpPr/>
                  <p:nvPr/>
                </p:nvSpPr>
                <p:spPr>
                  <a:xfrm>
                    <a:off x="3833659" y="1617008"/>
                    <a:ext cx="2134" cy="22732"/>
                  </a:xfrm>
                  <a:custGeom>
                    <a:avLst/>
                    <a:gdLst>
                      <a:gd name="connsiteX0" fmla="*/ 2135 w 2134"/>
                      <a:gd name="connsiteY0" fmla="*/ 1256 h 22732"/>
                      <a:gd name="connsiteX1" fmla="*/ 2135 w 2134"/>
                      <a:gd name="connsiteY1" fmla="*/ 22733 h 22732"/>
                      <a:gd name="connsiteX2" fmla="*/ 0 w 2134"/>
                      <a:gd name="connsiteY2" fmla="*/ 21602 h 22732"/>
                      <a:gd name="connsiteX3" fmla="*/ 0 w 2134"/>
                      <a:gd name="connsiteY3" fmla="*/ 0 h 22732"/>
                    </a:gdLst>
                    <a:ahLst/>
                    <a:cxnLst>
                      <a:cxn ang="0">
                        <a:pos x="connsiteX0" y="connsiteY0"/>
                      </a:cxn>
                      <a:cxn ang="0">
                        <a:pos x="connsiteX1" y="connsiteY1"/>
                      </a:cxn>
                      <a:cxn ang="0">
                        <a:pos x="connsiteX2" y="connsiteY2"/>
                      </a:cxn>
                      <a:cxn ang="0">
                        <a:pos x="connsiteX3" y="connsiteY3"/>
                      </a:cxn>
                    </a:cxnLst>
                    <a:rect l="l" t="t" r="r" b="b"/>
                    <a:pathLst>
                      <a:path w="2134"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3" name="Freeform: Shape 1872">
                    <a:extLst>
                      <a:ext uri="{FF2B5EF4-FFF2-40B4-BE49-F238E27FC236}">
                        <a16:creationId xmlns:a16="http://schemas.microsoft.com/office/drawing/2014/main" id="{B88D606A-B5D9-4D21-9300-DA378498F3E5}"/>
                      </a:ext>
                    </a:extLst>
                  </p:cNvPr>
                  <p:cNvSpPr/>
                  <p:nvPr/>
                </p:nvSpPr>
                <p:spPr>
                  <a:xfrm>
                    <a:off x="3833659" y="1607337"/>
                    <a:ext cx="18964" cy="10926"/>
                  </a:xfrm>
                  <a:custGeom>
                    <a:avLst/>
                    <a:gdLst>
                      <a:gd name="connsiteX0" fmla="*/ 18965 w 18964"/>
                      <a:gd name="connsiteY0" fmla="*/ 1256 h 10926"/>
                      <a:gd name="connsiteX1" fmla="*/ 13062 w 18964"/>
                      <a:gd name="connsiteY1" fmla="*/ 4647 h 10926"/>
                      <a:gd name="connsiteX2" fmla="*/ 10927 w 18964"/>
                      <a:gd name="connsiteY2" fmla="*/ 5777 h 10926"/>
                      <a:gd name="connsiteX3" fmla="*/ 2135 w 18964"/>
                      <a:gd name="connsiteY3" fmla="*/ 10927 h 10926"/>
                      <a:gd name="connsiteX4" fmla="*/ 2135 w 18964"/>
                      <a:gd name="connsiteY4" fmla="*/ 10927 h 10926"/>
                      <a:gd name="connsiteX5" fmla="*/ 0 w 18964"/>
                      <a:gd name="connsiteY5" fmla="*/ 9671 h 10926"/>
                      <a:gd name="connsiteX6" fmla="*/ 0 w 18964"/>
                      <a:gd name="connsiteY6" fmla="*/ 9671 h 10926"/>
                      <a:gd name="connsiteX7" fmla="*/ 8917 w 18964"/>
                      <a:gd name="connsiteY7" fmla="*/ 4647 h 10926"/>
                      <a:gd name="connsiteX8" fmla="*/ 10927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256"/>
                        </a:moveTo>
                        <a:lnTo>
                          <a:pt x="13062" y="4647"/>
                        </a:lnTo>
                        <a:lnTo>
                          <a:pt x="10927" y="5777"/>
                        </a:lnTo>
                        <a:lnTo>
                          <a:pt x="2135" y="10927"/>
                        </a:lnTo>
                        <a:lnTo>
                          <a:pt x="2135" y="10927"/>
                        </a:lnTo>
                        <a:lnTo>
                          <a:pt x="0" y="9671"/>
                        </a:lnTo>
                        <a:lnTo>
                          <a:pt x="0" y="9671"/>
                        </a:lnTo>
                        <a:lnTo>
                          <a:pt x="8917" y="4647"/>
                        </a:lnTo>
                        <a:lnTo>
                          <a:pt x="10927"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74" name="Graphic 4">
                    <a:extLst>
                      <a:ext uri="{FF2B5EF4-FFF2-40B4-BE49-F238E27FC236}">
                        <a16:creationId xmlns:a16="http://schemas.microsoft.com/office/drawing/2014/main" id="{84FB7ED1-A2DF-40A1-A747-5F7CF3F14040}"/>
                      </a:ext>
                    </a:extLst>
                  </p:cNvPr>
                  <p:cNvGrpSpPr/>
                  <p:nvPr/>
                </p:nvGrpSpPr>
                <p:grpSpPr>
                  <a:xfrm>
                    <a:off x="3849484" y="1615124"/>
                    <a:ext cx="7661" cy="11052"/>
                    <a:chOff x="3849484" y="1615124"/>
                    <a:chExt cx="7661" cy="11052"/>
                  </a:xfrm>
                  <a:solidFill>
                    <a:schemeClr val="accent1"/>
                  </a:solidFill>
                </p:grpSpPr>
                <p:sp>
                  <p:nvSpPr>
                    <p:cNvPr id="1875" name="Freeform: Shape 1874">
                      <a:extLst>
                        <a:ext uri="{FF2B5EF4-FFF2-40B4-BE49-F238E27FC236}">
                          <a16:creationId xmlns:a16="http://schemas.microsoft.com/office/drawing/2014/main" id="{67D16ECE-E139-4C50-A349-BBDAD80C6990}"/>
                        </a:ext>
                      </a:extLst>
                    </p:cNvPr>
                    <p:cNvSpPr/>
                    <p:nvPr/>
                  </p:nvSpPr>
                  <p:spPr>
                    <a:xfrm>
                      <a:off x="3849484" y="1615124"/>
                      <a:ext cx="7661" cy="11052"/>
                    </a:xfrm>
                    <a:custGeom>
                      <a:avLst/>
                      <a:gdLst>
                        <a:gd name="connsiteX0" fmla="*/ 7661 w 7661"/>
                        <a:gd name="connsiteY0" fmla="*/ 6657 h 11052"/>
                        <a:gd name="connsiteX1" fmla="*/ 0 w 7661"/>
                        <a:gd name="connsiteY1" fmla="*/ 11052 h 11052"/>
                        <a:gd name="connsiteX2" fmla="*/ 0 w 7661"/>
                        <a:gd name="connsiteY2" fmla="*/ 4396 h 11052"/>
                        <a:gd name="connsiteX3" fmla="*/ 7661 w 7661"/>
                        <a:gd name="connsiteY3" fmla="*/ 0 h 11052"/>
                      </a:gdLst>
                      <a:ahLst/>
                      <a:cxnLst>
                        <a:cxn ang="0">
                          <a:pos x="connsiteX0" y="connsiteY0"/>
                        </a:cxn>
                        <a:cxn ang="0">
                          <a:pos x="connsiteX1" y="connsiteY1"/>
                        </a:cxn>
                        <a:cxn ang="0">
                          <a:pos x="connsiteX2" y="connsiteY2"/>
                        </a:cxn>
                        <a:cxn ang="0">
                          <a:pos x="connsiteX3" y="connsiteY3"/>
                        </a:cxn>
                      </a:cxnLst>
                      <a:rect l="l" t="t" r="r" b="b"/>
                      <a:pathLst>
                        <a:path w="7661" h="11052">
                          <a:moveTo>
                            <a:pt x="7661" y="6657"/>
                          </a:moveTo>
                          <a:lnTo>
                            <a:pt x="0" y="11052"/>
                          </a:lnTo>
                          <a:lnTo>
                            <a:pt x="0" y="4396"/>
                          </a:lnTo>
                          <a:lnTo>
                            <a:pt x="7661"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6" name="Freeform: Shape 1875">
                      <a:extLst>
                        <a:ext uri="{FF2B5EF4-FFF2-40B4-BE49-F238E27FC236}">
                          <a16:creationId xmlns:a16="http://schemas.microsoft.com/office/drawing/2014/main" id="{C1D56F43-E42D-44E9-952F-4B9C33F14A60}"/>
                        </a:ext>
                      </a:extLst>
                    </p:cNvPr>
                    <p:cNvSpPr/>
                    <p:nvPr/>
                  </p:nvSpPr>
                  <p:spPr>
                    <a:xfrm>
                      <a:off x="3850238" y="1616380"/>
                      <a:ext cx="6154" cy="4270"/>
                    </a:xfrm>
                    <a:custGeom>
                      <a:avLst/>
                      <a:gdLst>
                        <a:gd name="connsiteX0" fmla="*/ 6154 w 6154"/>
                        <a:gd name="connsiteY0" fmla="*/ 754 h 4270"/>
                        <a:gd name="connsiteX1" fmla="*/ 0 w 6154"/>
                        <a:gd name="connsiteY1" fmla="*/ 4270 h 4270"/>
                        <a:gd name="connsiteX2" fmla="*/ 0 w 6154"/>
                        <a:gd name="connsiteY2" fmla="*/ 3517 h 4270"/>
                        <a:gd name="connsiteX3" fmla="*/ 6154 w 6154"/>
                        <a:gd name="connsiteY3" fmla="*/ 0 h 4270"/>
                      </a:gdLst>
                      <a:ahLst/>
                      <a:cxnLst>
                        <a:cxn ang="0">
                          <a:pos x="connsiteX0" y="connsiteY0"/>
                        </a:cxn>
                        <a:cxn ang="0">
                          <a:pos x="connsiteX1" y="connsiteY1"/>
                        </a:cxn>
                        <a:cxn ang="0">
                          <a:pos x="connsiteX2" y="connsiteY2"/>
                        </a:cxn>
                        <a:cxn ang="0">
                          <a:pos x="connsiteX3" y="connsiteY3"/>
                        </a:cxn>
                      </a:cxnLst>
                      <a:rect l="l" t="t" r="r" b="b"/>
                      <a:pathLst>
                        <a:path w="6154" h="4270">
                          <a:moveTo>
                            <a:pt x="6154" y="754"/>
                          </a:moveTo>
                          <a:lnTo>
                            <a:pt x="0" y="4270"/>
                          </a:lnTo>
                          <a:lnTo>
                            <a:pt x="0" y="3517"/>
                          </a:lnTo>
                          <a:lnTo>
                            <a:pt x="6154"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7" name="Freeform: Shape 1876">
                      <a:extLst>
                        <a:ext uri="{FF2B5EF4-FFF2-40B4-BE49-F238E27FC236}">
                          <a16:creationId xmlns:a16="http://schemas.microsoft.com/office/drawing/2014/main" id="{E67339E0-5F40-4310-85F9-F1BFA973233C}"/>
                        </a:ext>
                      </a:extLst>
                    </p:cNvPr>
                    <p:cNvSpPr/>
                    <p:nvPr/>
                  </p:nvSpPr>
                  <p:spPr>
                    <a:xfrm>
                      <a:off x="3850238" y="1618139"/>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8" name="Freeform: Shape 1877">
                      <a:extLst>
                        <a:ext uri="{FF2B5EF4-FFF2-40B4-BE49-F238E27FC236}">
                          <a16:creationId xmlns:a16="http://schemas.microsoft.com/office/drawing/2014/main" id="{EFB0769A-20D0-41A2-88CE-7AB134BBD6C2}"/>
                        </a:ext>
                      </a:extLst>
                    </p:cNvPr>
                    <p:cNvSpPr/>
                    <p:nvPr/>
                  </p:nvSpPr>
                  <p:spPr>
                    <a:xfrm>
                      <a:off x="3850238" y="1619018"/>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9" name="Freeform: Shape 1878">
                      <a:extLst>
                        <a:ext uri="{FF2B5EF4-FFF2-40B4-BE49-F238E27FC236}">
                          <a16:creationId xmlns:a16="http://schemas.microsoft.com/office/drawing/2014/main" id="{D08AF3CC-9957-427D-B1BF-4FCC96076665}"/>
                        </a:ext>
                      </a:extLst>
                    </p:cNvPr>
                    <p:cNvSpPr/>
                    <p:nvPr/>
                  </p:nvSpPr>
                  <p:spPr>
                    <a:xfrm>
                      <a:off x="3850238" y="1619897"/>
                      <a:ext cx="6154" cy="3893"/>
                    </a:xfrm>
                    <a:custGeom>
                      <a:avLst/>
                      <a:gdLst>
                        <a:gd name="connsiteX0" fmla="*/ 6154 w 6154"/>
                        <a:gd name="connsiteY0" fmla="*/ 377 h 3893"/>
                        <a:gd name="connsiteX1" fmla="*/ 0 w 6154"/>
                        <a:gd name="connsiteY1" fmla="*/ 3893 h 3893"/>
                        <a:gd name="connsiteX2" fmla="*/ 0 w 6154"/>
                        <a:gd name="connsiteY2" fmla="*/ 3642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377"/>
                          </a:moveTo>
                          <a:lnTo>
                            <a:pt x="0" y="3893"/>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0" name="Freeform: Shape 1879">
                      <a:extLst>
                        <a:ext uri="{FF2B5EF4-FFF2-40B4-BE49-F238E27FC236}">
                          <a16:creationId xmlns:a16="http://schemas.microsoft.com/office/drawing/2014/main" id="{7A810576-F9BC-4B25-B1C0-59A15C779BC0}"/>
                        </a:ext>
                      </a:extLst>
                    </p:cNvPr>
                    <p:cNvSpPr/>
                    <p:nvPr/>
                  </p:nvSpPr>
                  <p:spPr>
                    <a:xfrm>
                      <a:off x="3850238" y="1620776"/>
                      <a:ext cx="6154" cy="3893"/>
                    </a:xfrm>
                    <a:custGeom>
                      <a:avLst/>
                      <a:gdLst>
                        <a:gd name="connsiteX0" fmla="*/ 6154 w 6154"/>
                        <a:gd name="connsiteY0" fmla="*/ 377 h 3893"/>
                        <a:gd name="connsiteX1" fmla="*/ 0 w 6154"/>
                        <a:gd name="connsiteY1" fmla="*/ 3893 h 3893"/>
                        <a:gd name="connsiteX2" fmla="*/ 0 w 6154"/>
                        <a:gd name="connsiteY2" fmla="*/ 3642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377"/>
                          </a:moveTo>
                          <a:lnTo>
                            <a:pt x="0" y="3893"/>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81" name="Graphic 4">
                    <a:extLst>
                      <a:ext uri="{FF2B5EF4-FFF2-40B4-BE49-F238E27FC236}">
                        <a16:creationId xmlns:a16="http://schemas.microsoft.com/office/drawing/2014/main" id="{84FB7ED1-A2DF-40A1-A747-5F7CF3F14040}"/>
                      </a:ext>
                    </a:extLst>
                  </p:cNvPr>
                  <p:cNvGrpSpPr/>
                  <p:nvPr/>
                </p:nvGrpSpPr>
                <p:grpSpPr>
                  <a:xfrm>
                    <a:off x="3868072" y="1605202"/>
                    <a:ext cx="7661" cy="11052"/>
                    <a:chOff x="3868072" y="1605202"/>
                    <a:chExt cx="7661" cy="11052"/>
                  </a:xfrm>
                  <a:solidFill>
                    <a:schemeClr val="accent1"/>
                  </a:solidFill>
                </p:grpSpPr>
                <p:sp>
                  <p:nvSpPr>
                    <p:cNvPr id="1882" name="Freeform: Shape 1881">
                      <a:extLst>
                        <a:ext uri="{FF2B5EF4-FFF2-40B4-BE49-F238E27FC236}">
                          <a16:creationId xmlns:a16="http://schemas.microsoft.com/office/drawing/2014/main" id="{D045E968-34DE-4A0B-BC53-3164515D2E56}"/>
                        </a:ext>
                      </a:extLst>
                    </p:cNvPr>
                    <p:cNvSpPr/>
                    <p:nvPr/>
                  </p:nvSpPr>
                  <p:spPr>
                    <a:xfrm>
                      <a:off x="3868072" y="1605202"/>
                      <a:ext cx="7661" cy="11052"/>
                    </a:xfrm>
                    <a:custGeom>
                      <a:avLst/>
                      <a:gdLst>
                        <a:gd name="connsiteX0" fmla="*/ 7661 w 7661"/>
                        <a:gd name="connsiteY0" fmla="*/ 6657 h 11052"/>
                        <a:gd name="connsiteX1" fmla="*/ 0 w 7661"/>
                        <a:gd name="connsiteY1" fmla="*/ 11052 h 11052"/>
                        <a:gd name="connsiteX2" fmla="*/ 0 w 7661"/>
                        <a:gd name="connsiteY2" fmla="*/ 4396 h 11052"/>
                        <a:gd name="connsiteX3" fmla="*/ 7661 w 7661"/>
                        <a:gd name="connsiteY3" fmla="*/ 0 h 11052"/>
                      </a:gdLst>
                      <a:ahLst/>
                      <a:cxnLst>
                        <a:cxn ang="0">
                          <a:pos x="connsiteX0" y="connsiteY0"/>
                        </a:cxn>
                        <a:cxn ang="0">
                          <a:pos x="connsiteX1" y="connsiteY1"/>
                        </a:cxn>
                        <a:cxn ang="0">
                          <a:pos x="connsiteX2" y="connsiteY2"/>
                        </a:cxn>
                        <a:cxn ang="0">
                          <a:pos x="connsiteX3" y="connsiteY3"/>
                        </a:cxn>
                      </a:cxnLst>
                      <a:rect l="l" t="t" r="r" b="b"/>
                      <a:pathLst>
                        <a:path w="7661" h="11052">
                          <a:moveTo>
                            <a:pt x="7661" y="6657"/>
                          </a:moveTo>
                          <a:lnTo>
                            <a:pt x="0" y="11052"/>
                          </a:lnTo>
                          <a:lnTo>
                            <a:pt x="0" y="4396"/>
                          </a:lnTo>
                          <a:lnTo>
                            <a:pt x="7661"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3" name="Freeform: Shape 1882">
                      <a:extLst>
                        <a:ext uri="{FF2B5EF4-FFF2-40B4-BE49-F238E27FC236}">
                          <a16:creationId xmlns:a16="http://schemas.microsoft.com/office/drawing/2014/main" id="{7BAB48E6-6C54-4AF0-A5E9-80CC4E00333B}"/>
                        </a:ext>
                      </a:extLst>
                    </p:cNvPr>
                    <p:cNvSpPr/>
                    <p:nvPr/>
                  </p:nvSpPr>
                  <p:spPr>
                    <a:xfrm>
                      <a:off x="3868700" y="1606458"/>
                      <a:ext cx="6279" cy="4270"/>
                    </a:xfrm>
                    <a:custGeom>
                      <a:avLst/>
                      <a:gdLst>
                        <a:gd name="connsiteX0" fmla="*/ 6280 w 6279"/>
                        <a:gd name="connsiteY0" fmla="*/ 754 h 4270"/>
                        <a:gd name="connsiteX1" fmla="*/ 0 w 6279"/>
                        <a:gd name="connsiteY1" fmla="*/ 4270 h 4270"/>
                        <a:gd name="connsiteX2" fmla="*/ 0 w 6279"/>
                        <a:gd name="connsiteY2" fmla="*/ 3642 h 4270"/>
                        <a:gd name="connsiteX3" fmla="*/ 6280 w 6279"/>
                        <a:gd name="connsiteY3" fmla="*/ 0 h 4270"/>
                      </a:gdLst>
                      <a:ahLst/>
                      <a:cxnLst>
                        <a:cxn ang="0">
                          <a:pos x="connsiteX0" y="connsiteY0"/>
                        </a:cxn>
                        <a:cxn ang="0">
                          <a:pos x="connsiteX1" y="connsiteY1"/>
                        </a:cxn>
                        <a:cxn ang="0">
                          <a:pos x="connsiteX2" y="connsiteY2"/>
                        </a:cxn>
                        <a:cxn ang="0">
                          <a:pos x="connsiteX3" y="connsiteY3"/>
                        </a:cxn>
                      </a:cxnLst>
                      <a:rect l="l" t="t" r="r" b="b"/>
                      <a:pathLst>
                        <a:path w="6279" h="4270">
                          <a:moveTo>
                            <a:pt x="6280" y="754"/>
                          </a:moveTo>
                          <a:lnTo>
                            <a:pt x="0" y="4270"/>
                          </a:lnTo>
                          <a:lnTo>
                            <a:pt x="0" y="3642"/>
                          </a:lnTo>
                          <a:lnTo>
                            <a:pt x="628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4" name="Freeform: Shape 1883">
                      <a:extLst>
                        <a:ext uri="{FF2B5EF4-FFF2-40B4-BE49-F238E27FC236}">
                          <a16:creationId xmlns:a16="http://schemas.microsoft.com/office/drawing/2014/main" id="{F5123EC0-3EA1-48F3-AA1A-A349E90F2117}"/>
                        </a:ext>
                      </a:extLst>
                    </p:cNvPr>
                    <p:cNvSpPr/>
                    <p:nvPr/>
                  </p:nvSpPr>
                  <p:spPr>
                    <a:xfrm>
                      <a:off x="3868700" y="1608217"/>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5" name="Freeform: Shape 1884">
                      <a:extLst>
                        <a:ext uri="{FF2B5EF4-FFF2-40B4-BE49-F238E27FC236}">
                          <a16:creationId xmlns:a16="http://schemas.microsoft.com/office/drawing/2014/main" id="{30C4A102-0B04-4C26-B471-84B082188585}"/>
                        </a:ext>
                      </a:extLst>
                    </p:cNvPr>
                    <p:cNvSpPr/>
                    <p:nvPr/>
                  </p:nvSpPr>
                  <p:spPr>
                    <a:xfrm>
                      <a:off x="3868700" y="1609096"/>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6" name="Freeform: Shape 1885">
                      <a:extLst>
                        <a:ext uri="{FF2B5EF4-FFF2-40B4-BE49-F238E27FC236}">
                          <a16:creationId xmlns:a16="http://schemas.microsoft.com/office/drawing/2014/main" id="{C0805CB7-51BE-4BA6-A07B-F8FF520B39F6}"/>
                        </a:ext>
                      </a:extLst>
                    </p:cNvPr>
                    <p:cNvSpPr/>
                    <p:nvPr/>
                  </p:nvSpPr>
                  <p:spPr>
                    <a:xfrm>
                      <a:off x="3868700" y="1609975"/>
                      <a:ext cx="6279" cy="3893"/>
                    </a:xfrm>
                    <a:custGeom>
                      <a:avLst/>
                      <a:gdLst>
                        <a:gd name="connsiteX0" fmla="*/ 6280 w 6279"/>
                        <a:gd name="connsiteY0" fmla="*/ 377 h 3893"/>
                        <a:gd name="connsiteX1" fmla="*/ 0 w 6279"/>
                        <a:gd name="connsiteY1" fmla="*/ 3893 h 3893"/>
                        <a:gd name="connsiteX2" fmla="*/ 0 w 6279"/>
                        <a:gd name="connsiteY2" fmla="*/ 3642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377"/>
                          </a:moveTo>
                          <a:lnTo>
                            <a:pt x="0" y="3893"/>
                          </a:lnTo>
                          <a:lnTo>
                            <a:pt x="0" y="3642"/>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7" name="Freeform: Shape 1886">
                      <a:extLst>
                        <a:ext uri="{FF2B5EF4-FFF2-40B4-BE49-F238E27FC236}">
                          <a16:creationId xmlns:a16="http://schemas.microsoft.com/office/drawing/2014/main" id="{CE655D6D-8781-488B-8A1B-609F6FB24785}"/>
                        </a:ext>
                      </a:extLst>
                    </p:cNvPr>
                    <p:cNvSpPr/>
                    <p:nvPr/>
                  </p:nvSpPr>
                  <p:spPr>
                    <a:xfrm>
                      <a:off x="3868700" y="1610854"/>
                      <a:ext cx="6279" cy="3893"/>
                    </a:xfrm>
                    <a:custGeom>
                      <a:avLst/>
                      <a:gdLst>
                        <a:gd name="connsiteX0" fmla="*/ 6280 w 6279"/>
                        <a:gd name="connsiteY0" fmla="*/ 377 h 3893"/>
                        <a:gd name="connsiteX1" fmla="*/ 0 w 6279"/>
                        <a:gd name="connsiteY1" fmla="*/ 3893 h 3893"/>
                        <a:gd name="connsiteX2" fmla="*/ 0 w 6279"/>
                        <a:gd name="connsiteY2" fmla="*/ 3642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377"/>
                          </a:moveTo>
                          <a:lnTo>
                            <a:pt x="0" y="3893"/>
                          </a:lnTo>
                          <a:lnTo>
                            <a:pt x="0" y="3642"/>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888" name="Freeform: Shape 1887">
                  <a:extLst>
                    <a:ext uri="{FF2B5EF4-FFF2-40B4-BE49-F238E27FC236}">
                      <a16:creationId xmlns:a16="http://schemas.microsoft.com/office/drawing/2014/main" id="{CB6F947A-10BB-4149-92FD-88C9D02AE562}"/>
                    </a:ext>
                  </a:extLst>
                </p:cNvPr>
                <p:cNvSpPr/>
                <p:nvPr/>
              </p:nvSpPr>
              <p:spPr>
                <a:xfrm>
                  <a:off x="3810801" y="1608719"/>
                  <a:ext cx="32277" cy="51117"/>
                </a:xfrm>
                <a:custGeom>
                  <a:avLst/>
                  <a:gdLst>
                    <a:gd name="connsiteX0" fmla="*/ 32278 w 32277"/>
                    <a:gd name="connsiteY0" fmla="*/ 18588 h 51117"/>
                    <a:gd name="connsiteX1" fmla="*/ 0 w 32277"/>
                    <a:gd name="connsiteY1" fmla="*/ 0 h 51117"/>
                    <a:gd name="connsiteX2" fmla="*/ 0 w 32277"/>
                    <a:gd name="connsiteY2" fmla="*/ 32529 h 51117"/>
                    <a:gd name="connsiteX3" fmla="*/ 32278 w 32277"/>
                    <a:gd name="connsiteY3" fmla="*/ 51117 h 51117"/>
                  </a:gdLst>
                  <a:ahLst/>
                  <a:cxnLst>
                    <a:cxn ang="0">
                      <a:pos x="connsiteX0" y="connsiteY0"/>
                    </a:cxn>
                    <a:cxn ang="0">
                      <a:pos x="connsiteX1" y="connsiteY1"/>
                    </a:cxn>
                    <a:cxn ang="0">
                      <a:pos x="connsiteX2" y="connsiteY2"/>
                    </a:cxn>
                    <a:cxn ang="0">
                      <a:pos x="connsiteX3" y="connsiteY3"/>
                    </a:cxn>
                  </a:cxnLst>
                  <a:rect l="l" t="t" r="r" b="b"/>
                  <a:pathLst>
                    <a:path w="32277" h="51117">
                      <a:moveTo>
                        <a:pt x="32278" y="18588"/>
                      </a:moveTo>
                      <a:lnTo>
                        <a:pt x="0" y="0"/>
                      </a:lnTo>
                      <a:lnTo>
                        <a:pt x="0" y="32529"/>
                      </a:lnTo>
                      <a:lnTo>
                        <a:pt x="32278" y="5111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9" name="Freeform: Shape 1888">
                  <a:extLst>
                    <a:ext uri="{FF2B5EF4-FFF2-40B4-BE49-F238E27FC236}">
                      <a16:creationId xmlns:a16="http://schemas.microsoft.com/office/drawing/2014/main" id="{E54F4216-5704-468E-8151-845C9DFBAA4F}"/>
                    </a:ext>
                  </a:extLst>
                </p:cNvPr>
                <p:cNvSpPr/>
                <p:nvPr/>
              </p:nvSpPr>
              <p:spPr>
                <a:xfrm>
                  <a:off x="3843079" y="1607589"/>
                  <a:ext cx="34287" cy="52247"/>
                </a:xfrm>
                <a:custGeom>
                  <a:avLst/>
                  <a:gdLst>
                    <a:gd name="connsiteX0" fmla="*/ 0 w 34287"/>
                    <a:gd name="connsiteY0" fmla="*/ 19718 h 52247"/>
                    <a:gd name="connsiteX1" fmla="*/ 34288 w 34287"/>
                    <a:gd name="connsiteY1" fmla="*/ 0 h 52247"/>
                    <a:gd name="connsiteX2" fmla="*/ 34288 w 34287"/>
                    <a:gd name="connsiteY2" fmla="*/ 32529 h 52247"/>
                    <a:gd name="connsiteX3" fmla="*/ 0 w 34287"/>
                    <a:gd name="connsiteY3" fmla="*/ 52247 h 52247"/>
                  </a:gdLst>
                  <a:ahLst/>
                  <a:cxnLst>
                    <a:cxn ang="0">
                      <a:pos x="connsiteX0" y="connsiteY0"/>
                    </a:cxn>
                    <a:cxn ang="0">
                      <a:pos x="connsiteX1" y="connsiteY1"/>
                    </a:cxn>
                    <a:cxn ang="0">
                      <a:pos x="connsiteX2" y="connsiteY2"/>
                    </a:cxn>
                    <a:cxn ang="0">
                      <a:pos x="connsiteX3" y="connsiteY3"/>
                    </a:cxn>
                  </a:cxnLst>
                  <a:rect l="l" t="t" r="r" b="b"/>
                  <a:pathLst>
                    <a:path w="34287" h="52247">
                      <a:moveTo>
                        <a:pt x="0" y="19718"/>
                      </a:moveTo>
                      <a:lnTo>
                        <a:pt x="34288" y="0"/>
                      </a:lnTo>
                      <a:lnTo>
                        <a:pt x="34288" y="32529"/>
                      </a:lnTo>
                      <a:lnTo>
                        <a:pt x="0" y="5224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90" name="Graphic 4">
                <a:extLst>
                  <a:ext uri="{FF2B5EF4-FFF2-40B4-BE49-F238E27FC236}">
                    <a16:creationId xmlns:a16="http://schemas.microsoft.com/office/drawing/2014/main" id="{84FB7ED1-A2DF-40A1-A747-5F7CF3F14040}"/>
                  </a:ext>
                </a:extLst>
              </p:cNvPr>
              <p:cNvGrpSpPr/>
              <p:nvPr/>
            </p:nvGrpSpPr>
            <p:grpSpPr>
              <a:xfrm>
                <a:off x="3845716" y="1625046"/>
                <a:ext cx="79250" cy="74352"/>
                <a:chOff x="3845716" y="1625046"/>
                <a:chExt cx="79250" cy="74352"/>
              </a:xfrm>
              <a:solidFill>
                <a:schemeClr val="accent1"/>
              </a:solidFill>
            </p:grpSpPr>
            <p:grpSp>
              <p:nvGrpSpPr>
                <p:cNvPr id="1891" name="Graphic 4">
                  <a:extLst>
                    <a:ext uri="{FF2B5EF4-FFF2-40B4-BE49-F238E27FC236}">
                      <a16:creationId xmlns:a16="http://schemas.microsoft.com/office/drawing/2014/main" id="{84FB7ED1-A2DF-40A1-A747-5F7CF3F14040}"/>
                    </a:ext>
                  </a:extLst>
                </p:cNvPr>
                <p:cNvGrpSpPr/>
                <p:nvPr/>
              </p:nvGrpSpPr>
              <p:grpSpPr>
                <a:xfrm>
                  <a:off x="3845716" y="1625046"/>
                  <a:ext cx="79250" cy="74352"/>
                  <a:chOff x="3845716" y="1625046"/>
                  <a:chExt cx="79250" cy="74352"/>
                </a:xfrm>
                <a:solidFill>
                  <a:schemeClr val="accent1"/>
                </a:solidFill>
              </p:grpSpPr>
              <p:grpSp>
                <p:nvGrpSpPr>
                  <p:cNvPr id="1892" name="Graphic 4">
                    <a:extLst>
                      <a:ext uri="{FF2B5EF4-FFF2-40B4-BE49-F238E27FC236}">
                        <a16:creationId xmlns:a16="http://schemas.microsoft.com/office/drawing/2014/main" id="{84FB7ED1-A2DF-40A1-A747-5F7CF3F14040}"/>
                      </a:ext>
                    </a:extLst>
                  </p:cNvPr>
                  <p:cNvGrpSpPr/>
                  <p:nvPr/>
                </p:nvGrpSpPr>
                <p:grpSpPr>
                  <a:xfrm>
                    <a:off x="3845716" y="1649788"/>
                    <a:ext cx="79250" cy="49609"/>
                    <a:chOff x="3845716" y="1649788"/>
                    <a:chExt cx="79250" cy="49609"/>
                  </a:xfrm>
                  <a:solidFill>
                    <a:schemeClr val="accent1"/>
                  </a:solidFill>
                </p:grpSpPr>
                <p:sp>
                  <p:nvSpPr>
                    <p:cNvPr id="1893" name="Freeform: Shape 1892">
                      <a:extLst>
                        <a:ext uri="{FF2B5EF4-FFF2-40B4-BE49-F238E27FC236}">
                          <a16:creationId xmlns:a16="http://schemas.microsoft.com/office/drawing/2014/main" id="{F122B8E1-4B97-4B1C-B145-46468B04380B}"/>
                        </a:ext>
                      </a:extLst>
                    </p:cNvPr>
                    <p:cNvSpPr/>
                    <p:nvPr/>
                  </p:nvSpPr>
                  <p:spPr>
                    <a:xfrm>
                      <a:off x="3845716" y="1653682"/>
                      <a:ext cx="79250" cy="45716"/>
                    </a:xfrm>
                    <a:custGeom>
                      <a:avLst/>
                      <a:gdLst>
                        <a:gd name="connsiteX0" fmla="*/ 79250 w 79250"/>
                        <a:gd name="connsiteY0" fmla="*/ 22481 h 45716"/>
                        <a:gd name="connsiteX1" fmla="*/ 38934 w 79250"/>
                        <a:gd name="connsiteY1" fmla="*/ 45716 h 45716"/>
                        <a:gd name="connsiteX2" fmla="*/ 37302 w 79250"/>
                        <a:gd name="connsiteY2" fmla="*/ 44712 h 45716"/>
                        <a:gd name="connsiteX3" fmla="*/ 34413 w 79250"/>
                        <a:gd name="connsiteY3" fmla="*/ 43079 h 45716"/>
                        <a:gd name="connsiteX4" fmla="*/ 29138 w 79250"/>
                        <a:gd name="connsiteY4" fmla="*/ 40065 h 45716"/>
                        <a:gd name="connsiteX5" fmla="*/ 23486 w 79250"/>
                        <a:gd name="connsiteY5" fmla="*/ 36799 h 45716"/>
                        <a:gd name="connsiteX6" fmla="*/ 20598 w 79250"/>
                        <a:gd name="connsiteY6" fmla="*/ 35167 h 45716"/>
                        <a:gd name="connsiteX7" fmla="*/ 15448 w 79250"/>
                        <a:gd name="connsiteY7" fmla="*/ 32152 h 45716"/>
                        <a:gd name="connsiteX8" fmla="*/ 9796 w 79250"/>
                        <a:gd name="connsiteY8" fmla="*/ 28887 h 45716"/>
                        <a:gd name="connsiteX9" fmla="*/ 6908 w 79250"/>
                        <a:gd name="connsiteY9" fmla="*/ 27254 h 45716"/>
                        <a:gd name="connsiteX10" fmla="*/ 1759 w 79250"/>
                        <a:gd name="connsiteY10" fmla="*/ 24240 h 45716"/>
                        <a:gd name="connsiteX11" fmla="*/ 0 w 79250"/>
                        <a:gd name="connsiteY11" fmla="*/ 23235 h 45716"/>
                        <a:gd name="connsiteX12" fmla="*/ 1759 w 79250"/>
                        <a:gd name="connsiteY12" fmla="*/ 22230 h 45716"/>
                        <a:gd name="connsiteX13" fmla="*/ 6908 w 79250"/>
                        <a:gd name="connsiteY13" fmla="*/ 19216 h 45716"/>
                        <a:gd name="connsiteX14" fmla="*/ 9796 w 79250"/>
                        <a:gd name="connsiteY14" fmla="*/ 17583 h 45716"/>
                        <a:gd name="connsiteX15" fmla="*/ 40190 w 79250"/>
                        <a:gd name="connsiteY15" fmla="*/ 0 h 4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250" h="45716">
                          <a:moveTo>
                            <a:pt x="79250" y="22481"/>
                          </a:moveTo>
                          <a:lnTo>
                            <a:pt x="38934" y="45716"/>
                          </a:lnTo>
                          <a:lnTo>
                            <a:pt x="37302" y="44712"/>
                          </a:lnTo>
                          <a:lnTo>
                            <a:pt x="34413" y="43079"/>
                          </a:lnTo>
                          <a:lnTo>
                            <a:pt x="29138" y="40065"/>
                          </a:lnTo>
                          <a:lnTo>
                            <a:pt x="23486" y="36799"/>
                          </a:lnTo>
                          <a:lnTo>
                            <a:pt x="20598" y="35167"/>
                          </a:lnTo>
                          <a:lnTo>
                            <a:pt x="15448" y="32152"/>
                          </a:lnTo>
                          <a:lnTo>
                            <a:pt x="9796" y="28887"/>
                          </a:lnTo>
                          <a:lnTo>
                            <a:pt x="6908" y="27254"/>
                          </a:lnTo>
                          <a:lnTo>
                            <a:pt x="1759" y="24240"/>
                          </a:lnTo>
                          <a:lnTo>
                            <a:pt x="0" y="23235"/>
                          </a:lnTo>
                          <a:lnTo>
                            <a:pt x="1759" y="22230"/>
                          </a:lnTo>
                          <a:lnTo>
                            <a:pt x="6908" y="19216"/>
                          </a:lnTo>
                          <a:lnTo>
                            <a:pt x="9796" y="17583"/>
                          </a:lnTo>
                          <a:lnTo>
                            <a:pt x="40190"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4" name="Freeform: Shape 1893">
                      <a:extLst>
                        <a:ext uri="{FF2B5EF4-FFF2-40B4-BE49-F238E27FC236}">
                          <a16:creationId xmlns:a16="http://schemas.microsoft.com/office/drawing/2014/main" id="{CA4ED6DD-E41B-4D0E-858A-7C5A2130A803}"/>
                        </a:ext>
                      </a:extLst>
                    </p:cNvPr>
                    <p:cNvSpPr/>
                    <p:nvPr/>
                  </p:nvSpPr>
                  <p:spPr>
                    <a:xfrm>
                      <a:off x="3849609" y="1654435"/>
                      <a:ext cx="75356" cy="43455"/>
                    </a:xfrm>
                    <a:custGeom>
                      <a:avLst/>
                      <a:gdLst>
                        <a:gd name="connsiteX0" fmla="*/ 75357 w 75356"/>
                        <a:gd name="connsiteY0" fmla="*/ 21351 h 43455"/>
                        <a:gd name="connsiteX1" fmla="*/ 37051 w 75356"/>
                        <a:gd name="connsiteY1" fmla="*/ 43456 h 43455"/>
                        <a:gd name="connsiteX2" fmla="*/ 0 w 75356"/>
                        <a:gd name="connsiteY2" fmla="*/ 22105 h 43455"/>
                        <a:gd name="connsiteX3" fmla="*/ 0 w 75356"/>
                        <a:gd name="connsiteY3" fmla="*/ 21226 h 43455"/>
                        <a:gd name="connsiteX4" fmla="*/ 38181 w 75356"/>
                        <a:gd name="connsiteY4" fmla="*/ 0 h 43455"/>
                        <a:gd name="connsiteX5" fmla="*/ 75357 w 75356"/>
                        <a:gd name="connsiteY5" fmla="*/ 20472 h 4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56" h="43455">
                          <a:moveTo>
                            <a:pt x="75357" y="21351"/>
                          </a:moveTo>
                          <a:lnTo>
                            <a:pt x="37051" y="43456"/>
                          </a:lnTo>
                          <a:lnTo>
                            <a:pt x="0" y="22105"/>
                          </a:lnTo>
                          <a:lnTo>
                            <a:pt x="0" y="21226"/>
                          </a:lnTo>
                          <a:lnTo>
                            <a:pt x="38181" y="0"/>
                          </a:lnTo>
                          <a:lnTo>
                            <a:pt x="75357" y="20472"/>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5" name="Freeform: Shape 1894">
                      <a:extLst>
                        <a:ext uri="{FF2B5EF4-FFF2-40B4-BE49-F238E27FC236}">
                          <a16:creationId xmlns:a16="http://schemas.microsoft.com/office/drawing/2014/main" id="{8B6FC06F-9F2A-40DB-90B1-2030292634C7}"/>
                        </a:ext>
                      </a:extLst>
                    </p:cNvPr>
                    <p:cNvSpPr/>
                    <p:nvPr/>
                  </p:nvSpPr>
                  <p:spPr>
                    <a:xfrm>
                      <a:off x="3849609" y="1653556"/>
                      <a:ext cx="75356" cy="43455"/>
                    </a:xfrm>
                    <a:custGeom>
                      <a:avLst/>
                      <a:gdLst>
                        <a:gd name="connsiteX0" fmla="*/ 75357 w 75356"/>
                        <a:gd name="connsiteY0" fmla="*/ 21351 h 43455"/>
                        <a:gd name="connsiteX1" fmla="*/ 37051 w 75356"/>
                        <a:gd name="connsiteY1" fmla="*/ 43456 h 43455"/>
                        <a:gd name="connsiteX2" fmla="*/ 35418 w 75356"/>
                        <a:gd name="connsiteY2" fmla="*/ 42577 h 43455"/>
                        <a:gd name="connsiteX3" fmla="*/ 32655 w 75356"/>
                        <a:gd name="connsiteY3" fmla="*/ 40944 h 43455"/>
                        <a:gd name="connsiteX4" fmla="*/ 27757 w 75356"/>
                        <a:gd name="connsiteY4" fmla="*/ 38055 h 43455"/>
                        <a:gd name="connsiteX5" fmla="*/ 22356 w 75356"/>
                        <a:gd name="connsiteY5" fmla="*/ 34915 h 43455"/>
                        <a:gd name="connsiteX6" fmla="*/ 19593 w 75356"/>
                        <a:gd name="connsiteY6" fmla="*/ 33408 h 43455"/>
                        <a:gd name="connsiteX7" fmla="*/ 14695 w 75356"/>
                        <a:gd name="connsiteY7" fmla="*/ 30520 h 43455"/>
                        <a:gd name="connsiteX8" fmla="*/ 9420 w 75356"/>
                        <a:gd name="connsiteY8" fmla="*/ 27505 h 43455"/>
                        <a:gd name="connsiteX9" fmla="*/ 6657 w 75356"/>
                        <a:gd name="connsiteY9" fmla="*/ 25873 h 43455"/>
                        <a:gd name="connsiteX10" fmla="*/ 1633 w 75356"/>
                        <a:gd name="connsiteY10" fmla="*/ 22984 h 43455"/>
                        <a:gd name="connsiteX11" fmla="*/ 0 w 75356"/>
                        <a:gd name="connsiteY11" fmla="*/ 22105 h 43455"/>
                        <a:gd name="connsiteX12" fmla="*/ 1633 w 75356"/>
                        <a:gd name="connsiteY12" fmla="*/ 21100 h 43455"/>
                        <a:gd name="connsiteX13" fmla="*/ 6657 w 75356"/>
                        <a:gd name="connsiteY13" fmla="*/ 18211 h 43455"/>
                        <a:gd name="connsiteX14" fmla="*/ 9420 w 75356"/>
                        <a:gd name="connsiteY14" fmla="*/ 16579 h 43455"/>
                        <a:gd name="connsiteX15" fmla="*/ 38181 w 75356"/>
                        <a:gd name="connsiteY15" fmla="*/ 0 h 4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5356" h="43455">
                          <a:moveTo>
                            <a:pt x="75357" y="21351"/>
                          </a:moveTo>
                          <a:lnTo>
                            <a:pt x="37051" y="43456"/>
                          </a:lnTo>
                          <a:lnTo>
                            <a:pt x="35418" y="42577"/>
                          </a:lnTo>
                          <a:lnTo>
                            <a:pt x="32655" y="40944"/>
                          </a:lnTo>
                          <a:lnTo>
                            <a:pt x="27757" y="38055"/>
                          </a:lnTo>
                          <a:lnTo>
                            <a:pt x="22356" y="34915"/>
                          </a:lnTo>
                          <a:lnTo>
                            <a:pt x="19593" y="33408"/>
                          </a:lnTo>
                          <a:lnTo>
                            <a:pt x="14695" y="30520"/>
                          </a:lnTo>
                          <a:lnTo>
                            <a:pt x="9420" y="27505"/>
                          </a:lnTo>
                          <a:lnTo>
                            <a:pt x="6657" y="25873"/>
                          </a:lnTo>
                          <a:lnTo>
                            <a:pt x="1633" y="22984"/>
                          </a:lnTo>
                          <a:lnTo>
                            <a:pt x="0" y="22105"/>
                          </a:lnTo>
                          <a:lnTo>
                            <a:pt x="1633" y="21100"/>
                          </a:lnTo>
                          <a:lnTo>
                            <a:pt x="6657" y="18211"/>
                          </a:lnTo>
                          <a:lnTo>
                            <a:pt x="9420" y="16579"/>
                          </a:lnTo>
                          <a:lnTo>
                            <a:pt x="38181"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6" name="Freeform: Shape 1895">
                      <a:extLst>
                        <a:ext uri="{FF2B5EF4-FFF2-40B4-BE49-F238E27FC236}">
                          <a16:creationId xmlns:a16="http://schemas.microsoft.com/office/drawing/2014/main" id="{C1E6C5AB-38A0-46AA-B737-B887B4DDDCE4}"/>
                        </a:ext>
                      </a:extLst>
                    </p:cNvPr>
                    <p:cNvSpPr/>
                    <p:nvPr/>
                  </p:nvSpPr>
                  <p:spPr>
                    <a:xfrm>
                      <a:off x="3854131" y="1656194"/>
                      <a:ext cx="38431" cy="22104"/>
                    </a:xfrm>
                    <a:custGeom>
                      <a:avLst/>
                      <a:gdLst>
                        <a:gd name="connsiteX0" fmla="*/ 38432 w 38431"/>
                        <a:gd name="connsiteY0" fmla="*/ 126 h 22104"/>
                        <a:gd name="connsiteX1" fmla="*/ 125 w 38431"/>
                        <a:gd name="connsiteY1" fmla="*/ 22105 h 22104"/>
                        <a:gd name="connsiteX2" fmla="*/ 0 w 38431"/>
                        <a:gd name="connsiteY2" fmla="*/ 22105 h 22104"/>
                        <a:gd name="connsiteX3" fmla="*/ 38306 w 38431"/>
                        <a:gd name="connsiteY3" fmla="*/ 0 h 22104"/>
                      </a:gdLst>
                      <a:ahLst/>
                      <a:cxnLst>
                        <a:cxn ang="0">
                          <a:pos x="connsiteX0" y="connsiteY0"/>
                        </a:cxn>
                        <a:cxn ang="0">
                          <a:pos x="connsiteX1" y="connsiteY1"/>
                        </a:cxn>
                        <a:cxn ang="0">
                          <a:pos x="connsiteX2" y="connsiteY2"/>
                        </a:cxn>
                        <a:cxn ang="0">
                          <a:pos x="connsiteX3" y="connsiteY3"/>
                        </a:cxn>
                      </a:cxnLst>
                      <a:rect l="l" t="t" r="r" b="b"/>
                      <a:pathLst>
                        <a:path w="38431" h="22104">
                          <a:moveTo>
                            <a:pt x="38432" y="126"/>
                          </a:moveTo>
                          <a:lnTo>
                            <a:pt x="125" y="22105"/>
                          </a:lnTo>
                          <a:lnTo>
                            <a:pt x="0" y="22105"/>
                          </a:lnTo>
                          <a:lnTo>
                            <a:pt x="3830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7" name="Freeform: Shape 1896">
                      <a:extLst>
                        <a:ext uri="{FF2B5EF4-FFF2-40B4-BE49-F238E27FC236}">
                          <a16:creationId xmlns:a16="http://schemas.microsoft.com/office/drawing/2014/main" id="{6CB4CD97-B3B8-4DA5-BA76-6D94B3847241}"/>
                        </a:ext>
                      </a:extLst>
                    </p:cNvPr>
                    <p:cNvSpPr/>
                    <p:nvPr/>
                  </p:nvSpPr>
                  <p:spPr>
                    <a:xfrm>
                      <a:off x="3858778" y="1658831"/>
                      <a:ext cx="38431" cy="22230"/>
                    </a:xfrm>
                    <a:custGeom>
                      <a:avLst/>
                      <a:gdLst>
                        <a:gd name="connsiteX0" fmla="*/ 38432 w 38431"/>
                        <a:gd name="connsiteY0" fmla="*/ 126 h 22230"/>
                        <a:gd name="connsiteX1" fmla="*/ 126 w 38431"/>
                        <a:gd name="connsiteY1" fmla="*/ 22230 h 22230"/>
                        <a:gd name="connsiteX2" fmla="*/ 0 w 38431"/>
                        <a:gd name="connsiteY2" fmla="*/ 22105 h 22230"/>
                        <a:gd name="connsiteX3" fmla="*/ 38306 w 38431"/>
                        <a:gd name="connsiteY3" fmla="*/ 0 h 22230"/>
                      </a:gdLst>
                      <a:ahLst/>
                      <a:cxnLst>
                        <a:cxn ang="0">
                          <a:pos x="connsiteX0" y="connsiteY0"/>
                        </a:cxn>
                        <a:cxn ang="0">
                          <a:pos x="connsiteX1" y="connsiteY1"/>
                        </a:cxn>
                        <a:cxn ang="0">
                          <a:pos x="connsiteX2" y="connsiteY2"/>
                        </a:cxn>
                        <a:cxn ang="0">
                          <a:pos x="connsiteX3" y="connsiteY3"/>
                        </a:cxn>
                      </a:cxnLst>
                      <a:rect l="l" t="t" r="r" b="b"/>
                      <a:pathLst>
                        <a:path w="38431" h="22230">
                          <a:moveTo>
                            <a:pt x="38432" y="126"/>
                          </a:moveTo>
                          <a:lnTo>
                            <a:pt x="126" y="22230"/>
                          </a:lnTo>
                          <a:lnTo>
                            <a:pt x="0" y="22105"/>
                          </a:lnTo>
                          <a:lnTo>
                            <a:pt x="3830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8" name="Freeform: Shape 1897">
                      <a:extLst>
                        <a:ext uri="{FF2B5EF4-FFF2-40B4-BE49-F238E27FC236}">
                          <a16:creationId xmlns:a16="http://schemas.microsoft.com/office/drawing/2014/main" id="{3A34C43A-4E92-44C3-A34A-C98EE2609B87}"/>
                        </a:ext>
                      </a:extLst>
                    </p:cNvPr>
                    <p:cNvSpPr/>
                    <p:nvPr/>
                  </p:nvSpPr>
                  <p:spPr>
                    <a:xfrm>
                      <a:off x="3863425" y="1661594"/>
                      <a:ext cx="38306" cy="22104"/>
                    </a:xfrm>
                    <a:custGeom>
                      <a:avLst/>
                      <a:gdLst>
                        <a:gd name="connsiteX0" fmla="*/ 38306 w 38306"/>
                        <a:gd name="connsiteY0" fmla="*/ 0 h 22104"/>
                        <a:gd name="connsiteX1" fmla="*/ 126 w 38306"/>
                        <a:gd name="connsiteY1" fmla="*/ 22105 h 22104"/>
                        <a:gd name="connsiteX2" fmla="*/ 0 w 38306"/>
                        <a:gd name="connsiteY2" fmla="*/ 21979 h 22104"/>
                        <a:gd name="connsiteX3" fmla="*/ 38306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0"/>
                          </a:moveTo>
                          <a:lnTo>
                            <a:pt x="126" y="22105"/>
                          </a:lnTo>
                          <a:lnTo>
                            <a:pt x="0" y="21979"/>
                          </a:lnTo>
                          <a:lnTo>
                            <a:pt x="3830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9" name="Freeform: Shape 1898">
                      <a:extLst>
                        <a:ext uri="{FF2B5EF4-FFF2-40B4-BE49-F238E27FC236}">
                          <a16:creationId xmlns:a16="http://schemas.microsoft.com/office/drawing/2014/main" id="{4306A056-8A4F-441A-B026-AB1052BCD514}"/>
                        </a:ext>
                      </a:extLst>
                    </p:cNvPr>
                    <p:cNvSpPr/>
                    <p:nvPr/>
                  </p:nvSpPr>
                  <p:spPr>
                    <a:xfrm>
                      <a:off x="3868072" y="1664232"/>
                      <a:ext cx="38306" cy="22104"/>
                    </a:xfrm>
                    <a:custGeom>
                      <a:avLst/>
                      <a:gdLst>
                        <a:gd name="connsiteX0" fmla="*/ 38307 w 38306"/>
                        <a:gd name="connsiteY0" fmla="*/ 0 h 22104"/>
                        <a:gd name="connsiteX1" fmla="*/ 126 w 38306"/>
                        <a:gd name="connsiteY1" fmla="*/ 22105 h 22104"/>
                        <a:gd name="connsiteX2" fmla="*/ 0 w 38306"/>
                        <a:gd name="connsiteY2" fmla="*/ 22105 h 22104"/>
                        <a:gd name="connsiteX3" fmla="*/ 38307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7" y="0"/>
                          </a:moveTo>
                          <a:lnTo>
                            <a:pt x="126" y="22105"/>
                          </a:lnTo>
                          <a:lnTo>
                            <a:pt x="0" y="22105"/>
                          </a:lnTo>
                          <a:lnTo>
                            <a:pt x="3830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0" name="Freeform: Shape 1899">
                      <a:extLst>
                        <a:ext uri="{FF2B5EF4-FFF2-40B4-BE49-F238E27FC236}">
                          <a16:creationId xmlns:a16="http://schemas.microsoft.com/office/drawing/2014/main" id="{B7E1C774-8268-4950-93F4-DA16E66861B3}"/>
                        </a:ext>
                      </a:extLst>
                    </p:cNvPr>
                    <p:cNvSpPr/>
                    <p:nvPr/>
                  </p:nvSpPr>
                  <p:spPr>
                    <a:xfrm>
                      <a:off x="3872719" y="1666869"/>
                      <a:ext cx="38306" cy="22230"/>
                    </a:xfrm>
                    <a:custGeom>
                      <a:avLst/>
                      <a:gdLst>
                        <a:gd name="connsiteX0" fmla="*/ 38307 w 38306"/>
                        <a:gd name="connsiteY0" fmla="*/ 126 h 22230"/>
                        <a:gd name="connsiteX1" fmla="*/ 126 w 38306"/>
                        <a:gd name="connsiteY1" fmla="*/ 22230 h 22230"/>
                        <a:gd name="connsiteX2" fmla="*/ 0 w 38306"/>
                        <a:gd name="connsiteY2" fmla="*/ 22105 h 22230"/>
                        <a:gd name="connsiteX3" fmla="*/ 38181 w 38306"/>
                        <a:gd name="connsiteY3" fmla="*/ 0 h 22230"/>
                      </a:gdLst>
                      <a:ahLst/>
                      <a:cxnLst>
                        <a:cxn ang="0">
                          <a:pos x="connsiteX0" y="connsiteY0"/>
                        </a:cxn>
                        <a:cxn ang="0">
                          <a:pos x="connsiteX1" y="connsiteY1"/>
                        </a:cxn>
                        <a:cxn ang="0">
                          <a:pos x="connsiteX2" y="connsiteY2"/>
                        </a:cxn>
                        <a:cxn ang="0">
                          <a:pos x="connsiteX3" y="connsiteY3"/>
                        </a:cxn>
                      </a:cxnLst>
                      <a:rect l="l" t="t" r="r" b="b"/>
                      <a:pathLst>
                        <a:path w="38306" h="22230">
                          <a:moveTo>
                            <a:pt x="38307" y="126"/>
                          </a:moveTo>
                          <a:lnTo>
                            <a:pt x="126" y="22230"/>
                          </a:lnTo>
                          <a:lnTo>
                            <a:pt x="0" y="22105"/>
                          </a:lnTo>
                          <a:lnTo>
                            <a:pt x="38181"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1" name="Freeform: Shape 1900">
                      <a:extLst>
                        <a:ext uri="{FF2B5EF4-FFF2-40B4-BE49-F238E27FC236}">
                          <a16:creationId xmlns:a16="http://schemas.microsoft.com/office/drawing/2014/main" id="{E9F111AC-F03A-4B68-B134-83D26A07F64F}"/>
                        </a:ext>
                      </a:extLst>
                    </p:cNvPr>
                    <p:cNvSpPr/>
                    <p:nvPr/>
                  </p:nvSpPr>
                  <p:spPr>
                    <a:xfrm>
                      <a:off x="3877366" y="1669632"/>
                      <a:ext cx="38306" cy="22104"/>
                    </a:xfrm>
                    <a:custGeom>
                      <a:avLst/>
                      <a:gdLst>
                        <a:gd name="connsiteX0" fmla="*/ 38306 w 38306"/>
                        <a:gd name="connsiteY0" fmla="*/ 0 h 22104"/>
                        <a:gd name="connsiteX1" fmla="*/ 125 w 38306"/>
                        <a:gd name="connsiteY1" fmla="*/ 22105 h 22104"/>
                        <a:gd name="connsiteX2" fmla="*/ 0 w 38306"/>
                        <a:gd name="connsiteY2" fmla="*/ 21979 h 22104"/>
                        <a:gd name="connsiteX3" fmla="*/ 38181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0"/>
                          </a:moveTo>
                          <a:lnTo>
                            <a:pt x="125" y="22105"/>
                          </a:lnTo>
                          <a:lnTo>
                            <a:pt x="0" y="21979"/>
                          </a:lnTo>
                          <a:lnTo>
                            <a:pt x="38181"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2" name="Freeform: Shape 1901">
                      <a:extLst>
                        <a:ext uri="{FF2B5EF4-FFF2-40B4-BE49-F238E27FC236}">
                          <a16:creationId xmlns:a16="http://schemas.microsoft.com/office/drawing/2014/main" id="{CBDFDFF7-37A2-49DF-93DC-5A4C1F468B5B}"/>
                        </a:ext>
                      </a:extLst>
                    </p:cNvPr>
                    <p:cNvSpPr/>
                    <p:nvPr/>
                  </p:nvSpPr>
                  <p:spPr>
                    <a:xfrm>
                      <a:off x="3882013" y="1672270"/>
                      <a:ext cx="38306" cy="22104"/>
                    </a:xfrm>
                    <a:custGeom>
                      <a:avLst/>
                      <a:gdLst>
                        <a:gd name="connsiteX0" fmla="*/ 38306 w 38306"/>
                        <a:gd name="connsiteY0" fmla="*/ 0 h 22104"/>
                        <a:gd name="connsiteX1" fmla="*/ 125 w 38306"/>
                        <a:gd name="connsiteY1" fmla="*/ 22105 h 22104"/>
                        <a:gd name="connsiteX2" fmla="*/ 0 w 38306"/>
                        <a:gd name="connsiteY2" fmla="*/ 22105 h 22104"/>
                        <a:gd name="connsiteX3" fmla="*/ 38181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0"/>
                          </a:moveTo>
                          <a:lnTo>
                            <a:pt x="125" y="22105"/>
                          </a:lnTo>
                          <a:lnTo>
                            <a:pt x="0" y="22105"/>
                          </a:lnTo>
                          <a:lnTo>
                            <a:pt x="38181"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3" name="Freeform: Shape 1902">
                      <a:extLst>
                        <a:ext uri="{FF2B5EF4-FFF2-40B4-BE49-F238E27FC236}">
                          <a16:creationId xmlns:a16="http://schemas.microsoft.com/office/drawing/2014/main" id="{BFF76317-5378-4432-BBCA-5B76752E34B5}"/>
                        </a:ext>
                      </a:extLst>
                    </p:cNvPr>
                    <p:cNvSpPr/>
                    <p:nvPr/>
                  </p:nvSpPr>
                  <p:spPr>
                    <a:xfrm>
                      <a:off x="3852624" y="1670260"/>
                      <a:ext cx="4897" cy="9921"/>
                    </a:xfrm>
                    <a:custGeom>
                      <a:avLst/>
                      <a:gdLst>
                        <a:gd name="connsiteX0" fmla="*/ 4898 w 4897"/>
                        <a:gd name="connsiteY0" fmla="*/ 0 h 9921"/>
                        <a:gd name="connsiteX1" fmla="*/ 4898 w 4897"/>
                        <a:gd name="connsiteY1" fmla="*/ 9922 h 9921"/>
                        <a:gd name="connsiteX2" fmla="*/ 0 w 4897"/>
                        <a:gd name="connsiteY2" fmla="*/ 7033 h 9921"/>
                        <a:gd name="connsiteX3" fmla="*/ 0 w 4897"/>
                        <a:gd name="connsiteY3" fmla="*/ 2512 h 9921"/>
                        <a:gd name="connsiteX4" fmla="*/ 4898 w 4897"/>
                        <a:gd name="connsiteY4" fmla="*/ 0 h 9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97" h="9921">
                          <a:moveTo>
                            <a:pt x="4898" y="0"/>
                          </a:moveTo>
                          <a:lnTo>
                            <a:pt x="4898" y="9922"/>
                          </a:lnTo>
                          <a:lnTo>
                            <a:pt x="0" y="7033"/>
                          </a:lnTo>
                          <a:lnTo>
                            <a:pt x="0" y="2512"/>
                          </a:lnTo>
                          <a:cubicBezTo>
                            <a:pt x="1632" y="1758"/>
                            <a:pt x="3265" y="879"/>
                            <a:pt x="4898"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4" name="Freeform: Shape 1903">
                      <a:extLst>
                        <a:ext uri="{FF2B5EF4-FFF2-40B4-BE49-F238E27FC236}">
                          <a16:creationId xmlns:a16="http://schemas.microsoft.com/office/drawing/2014/main" id="{7690C647-84D2-4AA6-923D-4369C2478EB6}"/>
                        </a:ext>
                      </a:extLst>
                    </p:cNvPr>
                    <p:cNvSpPr/>
                    <p:nvPr/>
                  </p:nvSpPr>
                  <p:spPr>
                    <a:xfrm>
                      <a:off x="3857522" y="1670260"/>
                      <a:ext cx="2763" cy="9921"/>
                    </a:xfrm>
                    <a:custGeom>
                      <a:avLst/>
                      <a:gdLst>
                        <a:gd name="connsiteX0" fmla="*/ 2763 w 2763"/>
                        <a:gd name="connsiteY0" fmla="*/ 0 h 9921"/>
                        <a:gd name="connsiteX1" fmla="*/ 2763 w 2763"/>
                        <a:gd name="connsiteY1" fmla="*/ 8289 h 9921"/>
                        <a:gd name="connsiteX2" fmla="*/ 0 w 2763"/>
                        <a:gd name="connsiteY2" fmla="*/ 9922 h 9921"/>
                        <a:gd name="connsiteX3" fmla="*/ 0 w 2763"/>
                        <a:gd name="connsiteY3" fmla="*/ 0 h 9921"/>
                      </a:gdLst>
                      <a:ahLst/>
                      <a:cxnLst>
                        <a:cxn ang="0">
                          <a:pos x="connsiteX0" y="connsiteY0"/>
                        </a:cxn>
                        <a:cxn ang="0">
                          <a:pos x="connsiteX1" y="connsiteY1"/>
                        </a:cxn>
                        <a:cxn ang="0">
                          <a:pos x="connsiteX2" y="connsiteY2"/>
                        </a:cxn>
                        <a:cxn ang="0">
                          <a:pos x="connsiteX3" y="connsiteY3"/>
                        </a:cxn>
                      </a:cxnLst>
                      <a:rect l="l" t="t" r="r" b="b"/>
                      <a:pathLst>
                        <a:path w="2763" h="9921">
                          <a:moveTo>
                            <a:pt x="2763" y="0"/>
                          </a:moveTo>
                          <a:lnTo>
                            <a:pt x="2763" y="8289"/>
                          </a:lnTo>
                          <a:lnTo>
                            <a:pt x="0" y="9922"/>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5" name="Freeform: Shape 1904">
                      <a:extLst>
                        <a:ext uri="{FF2B5EF4-FFF2-40B4-BE49-F238E27FC236}">
                          <a16:creationId xmlns:a16="http://schemas.microsoft.com/office/drawing/2014/main" id="{2A0B6B90-FD92-48C4-B31E-E18D4F4D770D}"/>
                        </a:ext>
                      </a:extLst>
                    </p:cNvPr>
                    <p:cNvSpPr/>
                    <p:nvPr/>
                  </p:nvSpPr>
                  <p:spPr>
                    <a:xfrm>
                      <a:off x="3865560" y="1677922"/>
                      <a:ext cx="4897" cy="9796"/>
                    </a:xfrm>
                    <a:custGeom>
                      <a:avLst/>
                      <a:gdLst>
                        <a:gd name="connsiteX0" fmla="*/ 4898 w 4897"/>
                        <a:gd name="connsiteY0" fmla="*/ 0 h 9796"/>
                        <a:gd name="connsiteX1" fmla="*/ 4898 w 4897"/>
                        <a:gd name="connsiteY1" fmla="*/ 9796 h 9796"/>
                        <a:gd name="connsiteX2" fmla="*/ 0 w 4897"/>
                        <a:gd name="connsiteY2" fmla="*/ 6908 h 9796"/>
                        <a:gd name="connsiteX3" fmla="*/ 0 w 4897"/>
                        <a:gd name="connsiteY3" fmla="*/ 0 h 9796"/>
                      </a:gdLst>
                      <a:ahLst/>
                      <a:cxnLst>
                        <a:cxn ang="0">
                          <a:pos x="connsiteX0" y="connsiteY0"/>
                        </a:cxn>
                        <a:cxn ang="0">
                          <a:pos x="connsiteX1" y="connsiteY1"/>
                        </a:cxn>
                        <a:cxn ang="0">
                          <a:pos x="connsiteX2" y="connsiteY2"/>
                        </a:cxn>
                        <a:cxn ang="0">
                          <a:pos x="connsiteX3" y="connsiteY3"/>
                        </a:cxn>
                      </a:cxnLst>
                      <a:rect l="l" t="t" r="r" b="b"/>
                      <a:pathLst>
                        <a:path w="4897" h="9796">
                          <a:moveTo>
                            <a:pt x="4898" y="0"/>
                          </a:moveTo>
                          <a:lnTo>
                            <a:pt x="4898" y="9796"/>
                          </a:lnTo>
                          <a:lnTo>
                            <a:pt x="0" y="6908"/>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6" name="Freeform: Shape 1905">
                      <a:extLst>
                        <a:ext uri="{FF2B5EF4-FFF2-40B4-BE49-F238E27FC236}">
                          <a16:creationId xmlns:a16="http://schemas.microsoft.com/office/drawing/2014/main" id="{E6F987C0-59E4-4097-95EC-A73AE462FE95}"/>
                        </a:ext>
                      </a:extLst>
                    </p:cNvPr>
                    <p:cNvSpPr/>
                    <p:nvPr/>
                  </p:nvSpPr>
                  <p:spPr>
                    <a:xfrm>
                      <a:off x="3870458" y="1677922"/>
                      <a:ext cx="2763" cy="9796"/>
                    </a:xfrm>
                    <a:custGeom>
                      <a:avLst/>
                      <a:gdLst>
                        <a:gd name="connsiteX0" fmla="*/ 2763 w 2763"/>
                        <a:gd name="connsiteY0" fmla="*/ 0 h 9796"/>
                        <a:gd name="connsiteX1" fmla="*/ 2763 w 2763"/>
                        <a:gd name="connsiteY1" fmla="*/ 8164 h 9796"/>
                        <a:gd name="connsiteX2" fmla="*/ 0 w 2763"/>
                        <a:gd name="connsiteY2" fmla="*/ 9796 h 9796"/>
                        <a:gd name="connsiteX3" fmla="*/ 0 w 2763"/>
                        <a:gd name="connsiteY3" fmla="*/ 0 h 9796"/>
                      </a:gdLst>
                      <a:ahLst/>
                      <a:cxnLst>
                        <a:cxn ang="0">
                          <a:pos x="connsiteX0" y="connsiteY0"/>
                        </a:cxn>
                        <a:cxn ang="0">
                          <a:pos x="connsiteX1" y="connsiteY1"/>
                        </a:cxn>
                        <a:cxn ang="0">
                          <a:pos x="connsiteX2" y="connsiteY2"/>
                        </a:cxn>
                        <a:cxn ang="0">
                          <a:pos x="connsiteX3" y="connsiteY3"/>
                        </a:cxn>
                      </a:cxnLst>
                      <a:rect l="l" t="t" r="r" b="b"/>
                      <a:pathLst>
                        <a:path w="2763" h="9796">
                          <a:moveTo>
                            <a:pt x="2763" y="0"/>
                          </a:moveTo>
                          <a:lnTo>
                            <a:pt x="2763" y="8164"/>
                          </a:lnTo>
                          <a:lnTo>
                            <a:pt x="0" y="9796"/>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7" name="Freeform: Shape 1906">
                      <a:extLst>
                        <a:ext uri="{FF2B5EF4-FFF2-40B4-BE49-F238E27FC236}">
                          <a16:creationId xmlns:a16="http://schemas.microsoft.com/office/drawing/2014/main" id="{D83D9F1A-F423-4639-82EB-54C816A262B6}"/>
                        </a:ext>
                      </a:extLst>
                    </p:cNvPr>
                    <p:cNvSpPr/>
                    <p:nvPr/>
                  </p:nvSpPr>
                  <p:spPr>
                    <a:xfrm>
                      <a:off x="3899094" y="1677419"/>
                      <a:ext cx="5023" cy="9670"/>
                    </a:xfrm>
                    <a:custGeom>
                      <a:avLst/>
                      <a:gdLst>
                        <a:gd name="connsiteX0" fmla="*/ 5024 w 5023"/>
                        <a:gd name="connsiteY0" fmla="*/ 0 h 9670"/>
                        <a:gd name="connsiteX1" fmla="*/ 5024 w 5023"/>
                        <a:gd name="connsiteY1" fmla="*/ 9671 h 9670"/>
                        <a:gd name="connsiteX2" fmla="*/ 0 w 5023"/>
                        <a:gd name="connsiteY2" fmla="*/ 6908 h 9670"/>
                        <a:gd name="connsiteX3" fmla="*/ 0 w 5023"/>
                        <a:gd name="connsiteY3" fmla="*/ 0 h 9670"/>
                      </a:gdLst>
                      <a:ahLst/>
                      <a:cxnLst>
                        <a:cxn ang="0">
                          <a:pos x="connsiteX0" y="connsiteY0"/>
                        </a:cxn>
                        <a:cxn ang="0">
                          <a:pos x="connsiteX1" y="connsiteY1"/>
                        </a:cxn>
                        <a:cxn ang="0">
                          <a:pos x="connsiteX2" y="connsiteY2"/>
                        </a:cxn>
                        <a:cxn ang="0">
                          <a:pos x="connsiteX3" y="connsiteY3"/>
                        </a:cxn>
                      </a:cxnLst>
                      <a:rect l="l" t="t" r="r" b="b"/>
                      <a:pathLst>
                        <a:path w="5023" h="9670">
                          <a:moveTo>
                            <a:pt x="5024" y="0"/>
                          </a:moveTo>
                          <a:lnTo>
                            <a:pt x="5024" y="9671"/>
                          </a:lnTo>
                          <a:lnTo>
                            <a:pt x="0" y="6908"/>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8" name="Freeform: Shape 1907">
                      <a:extLst>
                        <a:ext uri="{FF2B5EF4-FFF2-40B4-BE49-F238E27FC236}">
                          <a16:creationId xmlns:a16="http://schemas.microsoft.com/office/drawing/2014/main" id="{5D89EB28-4E36-43BB-88EF-67AC6068632A}"/>
                        </a:ext>
                      </a:extLst>
                    </p:cNvPr>
                    <p:cNvSpPr/>
                    <p:nvPr/>
                  </p:nvSpPr>
                  <p:spPr>
                    <a:xfrm>
                      <a:off x="3904117" y="1677419"/>
                      <a:ext cx="2637" cy="9670"/>
                    </a:xfrm>
                    <a:custGeom>
                      <a:avLst/>
                      <a:gdLst>
                        <a:gd name="connsiteX0" fmla="*/ 2638 w 2637"/>
                        <a:gd name="connsiteY0" fmla="*/ 0 h 9670"/>
                        <a:gd name="connsiteX1" fmla="*/ 2638 w 2637"/>
                        <a:gd name="connsiteY1" fmla="*/ 8038 h 9670"/>
                        <a:gd name="connsiteX2" fmla="*/ 0 w 2637"/>
                        <a:gd name="connsiteY2" fmla="*/ 9671 h 9670"/>
                        <a:gd name="connsiteX3" fmla="*/ 0 w 2637"/>
                        <a:gd name="connsiteY3" fmla="*/ 0 h 9670"/>
                      </a:gdLst>
                      <a:ahLst/>
                      <a:cxnLst>
                        <a:cxn ang="0">
                          <a:pos x="connsiteX0" y="connsiteY0"/>
                        </a:cxn>
                        <a:cxn ang="0">
                          <a:pos x="connsiteX1" y="connsiteY1"/>
                        </a:cxn>
                        <a:cxn ang="0">
                          <a:pos x="connsiteX2" y="connsiteY2"/>
                        </a:cxn>
                        <a:cxn ang="0">
                          <a:pos x="connsiteX3" y="connsiteY3"/>
                        </a:cxn>
                      </a:cxnLst>
                      <a:rect l="l" t="t" r="r" b="b"/>
                      <a:pathLst>
                        <a:path w="2637" h="9670">
                          <a:moveTo>
                            <a:pt x="2638" y="0"/>
                          </a:moveTo>
                          <a:lnTo>
                            <a:pt x="2638" y="8038"/>
                          </a:lnTo>
                          <a:lnTo>
                            <a:pt x="0" y="9671"/>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9" name="Freeform: Shape 1908">
                      <a:extLst>
                        <a:ext uri="{FF2B5EF4-FFF2-40B4-BE49-F238E27FC236}">
                          <a16:creationId xmlns:a16="http://schemas.microsoft.com/office/drawing/2014/main" id="{DA96CA63-BDA7-40B6-8F2B-E73728A80B57}"/>
                        </a:ext>
                      </a:extLst>
                    </p:cNvPr>
                    <p:cNvSpPr/>
                    <p:nvPr/>
                  </p:nvSpPr>
                  <p:spPr>
                    <a:xfrm>
                      <a:off x="3881762" y="1687592"/>
                      <a:ext cx="4898" cy="9670"/>
                    </a:xfrm>
                    <a:custGeom>
                      <a:avLst/>
                      <a:gdLst>
                        <a:gd name="connsiteX0" fmla="*/ 4898 w 4898"/>
                        <a:gd name="connsiteY0" fmla="*/ 0 h 9670"/>
                        <a:gd name="connsiteX1" fmla="*/ 4898 w 4898"/>
                        <a:gd name="connsiteY1" fmla="*/ 9671 h 9670"/>
                        <a:gd name="connsiteX2" fmla="*/ 0 w 4898"/>
                        <a:gd name="connsiteY2" fmla="*/ 6782 h 9670"/>
                        <a:gd name="connsiteX3" fmla="*/ 0 w 4898"/>
                        <a:gd name="connsiteY3" fmla="*/ 0 h 9670"/>
                      </a:gdLst>
                      <a:ahLst/>
                      <a:cxnLst>
                        <a:cxn ang="0">
                          <a:pos x="connsiteX0" y="connsiteY0"/>
                        </a:cxn>
                        <a:cxn ang="0">
                          <a:pos x="connsiteX1" y="connsiteY1"/>
                        </a:cxn>
                        <a:cxn ang="0">
                          <a:pos x="connsiteX2" y="connsiteY2"/>
                        </a:cxn>
                        <a:cxn ang="0">
                          <a:pos x="connsiteX3" y="connsiteY3"/>
                        </a:cxn>
                      </a:cxnLst>
                      <a:rect l="l" t="t" r="r" b="b"/>
                      <a:pathLst>
                        <a:path w="4898" h="9670">
                          <a:moveTo>
                            <a:pt x="4898" y="0"/>
                          </a:moveTo>
                          <a:lnTo>
                            <a:pt x="4898" y="9671"/>
                          </a:lnTo>
                          <a:lnTo>
                            <a:pt x="0" y="678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0" name="Freeform: Shape 1909">
                      <a:extLst>
                        <a:ext uri="{FF2B5EF4-FFF2-40B4-BE49-F238E27FC236}">
                          <a16:creationId xmlns:a16="http://schemas.microsoft.com/office/drawing/2014/main" id="{233CB5D9-2374-43E4-950D-CB9A5004C257}"/>
                        </a:ext>
                      </a:extLst>
                    </p:cNvPr>
                    <p:cNvSpPr/>
                    <p:nvPr/>
                  </p:nvSpPr>
                  <p:spPr>
                    <a:xfrm>
                      <a:off x="3886660" y="1687592"/>
                      <a:ext cx="2763" cy="9670"/>
                    </a:xfrm>
                    <a:custGeom>
                      <a:avLst/>
                      <a:gdLst>
                        <a:gd name="connsiteX0" fmla="*/ 2763 w 2763"/>
                        <a:gd name="connsiteY0" fmla="*/ 0 h 9670"/>
                        <a:gd name="connsiteX1" fmla="*/ 2763 w 2763"/>
                        <a:gd name="connsiteY1" fmla="*/ 8038 h 9670"/>
                        <a:gd name="connsiteX2" fmla="*/ 0 w 2763"/>
                        <a:gd name="connsiteY2" fmla="*/ 9671 h 9670"/>
                        <a:gd name="connsiteX3" fmla="*/ 0 w 2763"/>
                        <a:gd name="connsiteY3" fmla="*/ 0 h 9670"/>
                      </a:gdLst>
                      <a:ahLst/>
                      <a:cxnLst>
                        <a:cxn ang="0">
                          <a:pos x="connsiteX0" y="connsiteY0"/>
                        </a:cxn>
                        <a:cxn ang="0">
                          <a:pos x="connsiteX1" y="connsiteY1"/>
                        </a:cxn>
                        <a:cxn ang="0">
                          <a:pos x="connsiteX2" y="connsiteY2"/>
                        </a:cxn>
                        <a:cxn ang="0">
                          <a:pos x="connsiteX3" y="connsiteY3"/>
                        </a:cxn>
                      </a:cxnLst>
                      <a:rect l="l" t="t" r="r" b="b"/>
                      <a:pathLst>
                        <a:path w="2763" h="9670">
                          <a:moveTo>
                            <a:pt x="2763" y="0"/>
                          </a:moveTo>
                          <a:lnTo>
                            <a:pt x="2763" y="8038"/>
                          </a:lnTo>
                          <a:lnTo>
                            <a:pt x="0" y="9671"/>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1" name="Freeform: Shape 1910">
                      <a:extLst>
                        <a:ext uri="{FF2B5EF4-FFF2-40B4-BE49-F238E27FC236}">
                          <a16:creationId xmlns:a16="http://schemas.microsoft.com/office/drawing/2014/main" id="{C2A25F49-1812-4CB7-BA6C-AAF1360757C7}"/>
                        </a:ext>
                      </a:extLst>
                    </p:cNvPr>
                    <p:cNvSpPr/>
                    <p:nvPr/>
                  </p:nvSpPr>
                  <p:spPr>
                    <a:xfrm>
                      <a:off x="3915672" y="1671767"/>
                      <a:ext cx="5023" cy="5651"/>
                    </a:xfrm>
                    <a:custGeom>
                      <a:avLst/>
                      <a:gdLst>
                        <a:gd name="connsiteX0" fmla="*/ 0 w 5023"/>
                        <a:gd name="connsiteY0" fmla="*/ 0 h 5651"/>
                        <a:gd name="connsiteX1" fmla="*/ 0 w 5023"/>
                        <a:gd name="connsiteY1" fmla="*/ 2889 h 5651"/>
                        <a:gd name="connsiteX2" fmla="*/ 5024 w 5023"/>
                        <a:gd name="connsiteY2" fmla="*/ 5652 h 5651"/>
                        <a:gd name="connsiteX3" fmla="*/ 5024 w 5023"/>
                        <a:gd name="connsiteY3" fmla="*/ 0 h 5651"/>
                      </a:gdLst>
                      <a:ahLst/>
                      <a:cxnLst>
                        <a:cxn ang="0">
                          <a:pos x="connsiteX0" y="connsiteY0"/>
                        </a:cxn>
                        <a:cxn ang="0">
                          <a:pos x="connsiteX1" y="connsiteY1"/>
                        </a:cxn>
                        <a:cxn ang="0">
                          <a:pos x="connsiteX2" y="connsiteY2"/>
                        </a:cxn>
                        <a:cxn ang="0">
                          <a:pos x="connsiteX3" y="connsiteY3"/>
                        </a:cxn>
                      </a:cxnLst>
                      <a:rect l="l" t="t" r="r" b="b"/>
                      <a:pathLst>
                        <a:path w="5023" h="5651">
                          <a:moveTo>
                            <a:pt x="0" y="0"/>
                          </a:moveTo>
                          <a:lnTo>
                            <a:pt x="0" y="2889"/>
                          </a:lnTo>
                          <a:lnTo>
                            <a:pt x="5024" y="5652"/>
                          </a:lnTo>
                          <a:lnTo>
                            <a:pt x="5024"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2" name="Freeform: Shape 1911">
                      <a:extLst>
                        <a:ext uri="{FF2B5EF4-FFF2-40B4-BE49-F238E27FC236}">
                          <a16:creationId xmlns:a16="http://schemas.microsoft.com/office/drawing/2014/main" id="{3828547C-BE6F-424D-8553-E616D3F8767E}"/>
                        </a:ext>
                      </a:extLst>
                    </p:cNvPr>
                    <p:cNvSpPr/>
                    <p:nvPr/>
                  </p:nvSpPr>
                  <p:spPr>
                    <a:xfrm>
                      <a:off x="3920696" y="1671767"/>
                      <a:ext cx="2637" cy="5651"/>
                    </a:xfrm>
                    <a:custGeom>
                      <a:avLst/>
                      <a:gdLst>
                        <a:gd name="connsiteX0" fmla="*/ 0 w 2637"/>
                        <a:gd name="connsiteY0" fmla="*/ 0 h 5651"/>
                        <a:gd name="connsiteX1" fmla="*/ 0 w 2637"/>
                        <a:gd name="connsiteY1" fmla="*/ 5652 h 5651"/>
                        <a:gd name="connsiteX2" fmla="*/ 2637 w 2637"/>
                        <a:gd name="connsiteY2" fmla="*/ 4019 h 5651"/>
                        <a:gd name="connsiteX3" fmla="*/ 2637 w 2637"/>
                        <a:gd name="connsiteY3" fmla="*/ 0 h 5651"/>
                      </a:gdLst>
                      <a:ahLst/>
                      <a:cxnLst>
                        <a:cxn ang="0">
                          <a:pos x="connsiteX0" y="connsiteY0"/>
                        </a:cxn>
                        <a:cxn ang="0">
                          <a:pos x="connsiteX1" y="connsiteY1"/>
                        </a:cxn>
                        <a:cxn ang="0">
                          <a:pos x="connsiteX2" y="connsiteY2"/>
                        </a:cxn>
                        <a:cxn ang="0">
                          <a:pos x="connsiteX3" y="connsiteY3"/>
                        </a:cxn>
                      </a:cxnLst>
                      <a:rect l="l" t="t" r="r" b="b"/>
                      <a:pathLst>
                        <a:path w="2637" h="5651">
                          <a:moveTo>
                            <a:pt x="0" y="0"/>
                          </a:moveTo>
                          <a:lnTo>
                            <a:pt x="0" y="5652"/>
                          </a:lnTo>
                          <a:lnTo>
                            <a:pt x="2637" y="4019"/>
                          </a:lnTo>
                          <a:lnTo>
                            <a:pt x="2637"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3" name="Freeform: Shape 1912">
                      <a:extLst>
                        <a:ext uri="{FF2B5EF4-FFF2-40B4-BE49-F238E27FC236}">
                          <a16:creationId xmlns:a16="http://schemas.microsoft.com/office/drawing/2014/main" id="{C25A1680-AE88-4992-8683-33F12E534238}"/>
                        </a:ext>
                      </a:extLst>
                    </p:cNvPr>
                    <p:cNvSpPr/>
                    <p:nvPr/>
                  </p:nvSpPr>
                  <p:spPr>
                    <a:xfrm>
                      <a:off x="3849609" y="1650668"/>
                      <a:ext cx="75356" cy="43455"/>
                    </a:xfrm>
                    <a:custGeom>
                      <a:avLst/>
                      <a:gdLst>
                        <a:gd name="connsiteX0" fmla="*/ 75357 w 75356"/>
                        <a:gd name="connsiteY0" fmla="*/ 21351 h 43455"/>
                        <a:gd name="connsiteX1" fmla="*/ 37051 w 75356"/>
                        <a:gd name="connsiteY1" fmla="*/ 43456 h 43455"/>
                        <a:gd name="connsiteX2" fmla="*/ 0 w 75356"/>
                        <a:gd name="connsiteY2" fmla="*/ 22105 h 43455"/>
                        <a:gd name="connsiteX3" fmla="*/ 0 w 75356"/>
                        <a:gd name="connsiteY3" fmla="*/ 21226 h 43455"/>
                        <a:gd name="connsiteX4" fmla="*/ 38181 w 75356"/>
                        <a:gd name="connsiteY4" fmla="*/ 0 h 43455"/>
                        <a:gd name="connsiteX5" fmla="*/ 75357 w 75356"/>
                        <a:gd name="connsiteY5" fmla="*/ 20598 h 4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56" h="43455">
                          <a:moveTo>
                            <a:pt x="75357" y="21351"/>
                          </a:moveTo>
                          <a:lnTo>
                            <a:pt x="37051" y="43456"/>
                          </a:lnTo>
                          <a:lnTo>
                            <a:pt x="0" y="22105"/>
                          </a:lnTo>
                          <a:lnTo>
                            <a:pt x="0" y="21226"/>
                          </a:lnTo>
                          <a:lnTo>
                            <a:pt x="38181" y="0"/>
                          </a:lnTo>
                          <a:lnTo>
                            <a:pt x="75357" y="20598"/>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914" name="Graphic 4">
                      <a:extLst>
                        <a:ext uri="{FF2B5EF4-FFF2-40B4-BE49-F238E27FC236}">
                          <a16:creationId xmlns:a16="http://schemas.microsoft.com/office/drawing/2014/main" id="{84FB7ED1-A2DF-40A1-A747-5F7CF3F14040}"/>
                        </a:ext>
                      </a:extLst>
                    </p:cNvPr>
                    <p:cNvGrpSpPr/>
                    <p:nvPr/>
                  </p:nvGrpSpPr>
                  <p:grpSpPr>
                    <a:xfrm>
                      <a:off x="3849609" y="1649788"/>
                      <a:ext cx="75356" cy="43581"/>
                      <a:chOff x="3849609" y="1649788"/>
                      <a:chExt cx="75356" cy="43581"/>
                    </a:xfrm>
                    <a:solidFill>
                      <a:schemeClr val="accent1"/>
                    </a:solidFill>
                  </p:grpSpPr>
                  <p:sp>
                    <p:nvSpPr>
                      <p:cNvPr id="1915" name="Freeform: Shape 1914">
                        <a:extLst>
                          <a:ext uri="{FF2B5EF4-FFF2-40B4-BE49-F238E27FC236}">
                            <a16:creationId xmlns:a16="http://schemas.microsoft.com/office/drawing/2014/main" id="{919B3C57-368B-42D7-A6CB-24B9E50225BF}"/>
                          </a:ext>
                        </a:extLst>
                      </p:cNvPr>
                      <p:cNvSpPr/>
                      <p:nvPr/>
                    </p:nvSpPr>
                    <p:spPr>
                      <a:xfrm>
                        <a:off x="3849609" y="1649788"/>
                        <a:ext cx="75356" cy="43581"/>
                      </a:xfrm>
                      <a:custGeom>
                        <a:avLst/>
                        <a:gdLst>
                          <a:gd name="connsiteX0" fmla="*/ 75357 w 75356"/>
                          <a:gd name="connsiteY0" fmla="*/ 21477 h 43581"/>
                          <a:gd name="connsiteX1" fmla="*/ 37051 w 75356"/>
                          <a:gd name="connsiteY1" fmla="*/ 43581 h 43581"/>
                          <a:gd name="connsiteX2" fmla="*/ 0 w 75356"/>
                          <a:gd name="connsiteY2" fmla="*/ 22105 h 43581"/>
                          <a:gd name="connsiteX3" fmla="*/ 38181 w 75356"/>
                          <a:gd name="connsiteY3" fmla="*/ 0 h 43581"/>
                        </a:gdLst>
                        <a:ahLst/>
                        <a:cxnLst>
                          <a:cxn ang="0">
                            <a:pos x="connsiteX0" y="connsiteY0"/>
                          </a:cxn>
                          <a:cxn ang="0">
                            <a:pos x="connsiteX1" y="connsiteY1"/>
                          </a:cxn>
                          <a:cxn ang="0">
                            <a:pos x="connsiteX2" y="connsiteY2"/>
                          </a:cxn>
                          <a:cxn ang="0">
                            <a:pos x="connsiteX3" y="connsiteY3"/>
                          </a:cxn>
                        </a:cxnLst>
                        <a:rect l="l" t="t" r="r" b="b"/>
                        <a:pathLst>
                          <a:path w="75356" h="43581">
                            <a:moveTo>
                              <a:pt x="75357" y="21477"/>
                            </a:moveTo>
                            <a:lnTo>
                              <a:pt x="37051" y="43581"/>
                            </a:lnTo>
                            <a:lnTo>
                              <a:pt x="0" y="22105"/>
                            </a:lnTo>
                            <a:lnTo>
                              <a:pt x="38181"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6" name="Freeform: Shape 1915">
                        <a:extLst>
                          <a:ext uri="{FF2B5EF4-FFF2-40B4-BE49-F238E27FC236}">
                            <a16:creationId xmlns:a16="http://schemas.microsoft.com/office/drawing/2014/main" id="{DF43C63D-0D1D-44E6-86DA-9404BDAE5F5E}"/>
                          </a:ext>
                        </a:extLst>
                      </p:cNvPr>
                      <p:cNvSpPr/>
                      <p:nvPr/>
                    </p:nvSpPr>
                    <p:spPr>
                      <a:xfrm>
                        <a:off x="3854131" y="1652552"/>
                        <a:ext cx="38431" cy="22104"/>
                      </a:xfrm>
                      <a:custGeom>
                        <a:avLst/>
                        <a:gdLst>
                          <a:gd name="connsiteX0" fmla="*/ 38432 w 38431"/>
                          <a:gd name="connsiteY0" fmla="*/ 0 h 22104"/>
                          <a:gd name="connsiteX1" fmla="*/ 125 w 38431"/>
                          <a:gd name="connsiteY1" fmla="*/ 22105 h 22104"/>
                          <a:gd name="connsiteX2" fmla="*/ 0 w 38431"/>
                          <a:gd name="connsiteY2" fmla="*/ 21979 h 22104"/>
                          <a:gd name="connsiteX3" fmla="*/ 38306 w 38431"/>
                          <a:gd name="connsiteY3" fmla="*/ 0 h 22104"/>
                        </a:gdLst>
                        <a:ahLst/>
                        <a:cxnLst>
                          <a:cxn ang="0">
                            <a:pos x="connsiteX0" y="connsiteY0"/>
                          </a:cxn>
                          <a:cxn ang="0">
                            <a:pos x="connsiteX1" y="connsiteY1"/>
                          </a:cxn>
                          <a:cxn ang="0">
                            <a:pos x="connsiteX2" y="connsiteY2"/>
                          </a:cxn>
                          <a:cxn ang="0">
                            <a:pos x="connsiteX3" y="connsiteY3"/>
                          </a:cxn>
                        </a:cxnLst>
                        <a:rect l="l" t="t" r="r" b="b"/>
                        <a:pathLst>
                          <a:path w="38431" h="22104">
                            <a:moveTo>
                              <a:pt x="38432" y="0"/>
                            </a:moveTo>
                            <a:lnTo>
                              <a:pt x="125" y="22105"/>
                            </a:lnTo>
                            <a:lnTo>
                              <a:pt x="0" y="21979"/>
                            </a:lnTo>
                            <a:lnTo>
                              <a:pt x="3830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7" name="Freeform: Shape 1916">
                        <a:extLst>
                          <a:ext uri="{FF2B5EF4-FFF2-40B4-BE49-F238E27FC236}">
                            <a16:creationId xmlns:a16="http://schemas.microsoft.com/office/drawing/2014/main" id="{047F1265-E25A-4F04-8675-AA654F003379}"/>
                          </a:ext>
                        </a:extLst>
                      </p:cNvPr>
                      <p:cNvSpPr/>
                      <p:nvPr/>
                    </p:nvSpPr>
                    <p:spPr>
                      <a:xfrm>
                        <a:off x="3858778" y="1655189"/>
                        <a:ext cx="38431" cy="22104"/>
                      </a:xfrm>
                      <a:custGeom>
                        <a:avLst/>
                        <a:gdLst>
                          <a:gd name="connsiteX0" fmla="*/ 38432 w 38431"/>
                          <a:gd name="connsiteY0" fmla="*/ 0 h 22104"/>
                          <a:gd name="connsiteX1" fmla="*/ 126 w 38431"/>
                          <a:gd name="connsiteY1" fmla="*/ 22105 h 22104"/>
                          <a:gd name="connsiteX2" fmla="*/ 0 w 38431"/>
                          <a:gd name="connsiteY2" fmla="*/ 22105 h 22104"/>
                          <a:gd name="connsiteX3" fmla="*/ 38306 w 38431"/>
                          <a:gd name="connsiteY3" fmla="*/ 0 h 22104"/>
                        </a:gdLst>
                        <a:ahLst/>
                        <a:cxnLst>
                          <a:cxn ang="0">
                            <a:pos x="connsiteX0" y="connsiteY0"/>
                          </a:cxn>
                          <a:cxn ang="0">
                            <a:pos x="connsiteX1" y="connsiteY1"/>
                          </a:cxn>
                          <a:cxn ang="0">
                            <a:pos x="connsiteX2" y="connsiteY2"/>
                          </a:cxn>
                          <a:cxn ang="0">
                            <a:pos x="connsiteX3" y="connsiteY3"/>
                          </a:cxn>
                        </a:cxnLst>
                        <a:rect l="l" t="t" r="r" b="b"/>
                        <a:pathLst>
                          <a:path w="38431" h="22104">
                            <a:moveTo>
                              <a:pt x="38432" y="0"/>
                            </a:moveTo>
                            <a:lnTo>
                              <a:pt x="126" y="22105"/>
                            </a:lnTo>
                            <a:lnTo>
                              <a:pt x="0" y="22105"/>
                            </a:lnTo>
                            <a:lnTo>
                              <a:pt x="3830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8" name="Freeform: Shape 1917">
                        <a:extLst>
                          <a:ext uri="{FF2B5EF4-FFF2-40B4-BE49-F238E27FC236}">
                            <a16:creationId xmlns:a16="http://schemas.microsoft.com/office/drawing/2014/main" id="{4E840280-3C88-4CCF-9044-1753C8CADC11}"/>
                          </a:ext>
                        </a:extLst>
                      </p:cNvPr>
                      <p:cNvSpPr/>
                      <p:nvPr/>
                    </p:nvSpPr>
                    <p:spPr>
                      <a:xfrm>
                        <a:off x="3863425" y="1657826"/>
                        <a:ext cx="38306" cy="22104"/>
                      </a:xfrm>
                      <a:custGeom>
                        <a:avLst/>
                        <a:gdLst>
                          <a:gd name="connsiteX0" fmla="*/ 38306 w 38306"/>
                          <a:gd name="connsiteY0" fmla="*/ 126 h 22104"/>
                          <a:gd name="connsiteX1" fmla="*/ 126 w 38306"/>
                          <a:gd name="connsiteY1" fmla="*/ 22105 h 22104"/>
                          <a:gd name="connsiteX2" fmla="*/ 0 w 38306"/>
                          <a:gd name="connsiteY2" fmla="*/ 22105 h 22104"/>
                          <a:gd name="connsiteX3" fmla="*/ 38306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126"/>
                            </a:moveTo>
                            <a:lnTo>
                              <a:pt x="126" y="22105"/>
                            </a:lnTo>
                            <a:lnTo>
                              <a:pt x="0" y="22105"/>
                            </a:lnTo>
                            <a:lnTo>
                              <a:pt x="3830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9" name="Freeform: Shape 1918">
                        <a:extLst>
                          <a:ext uri="{FF2B5EF4-FFF2-40B4-BE49-F238E27FC236}">
                            <a16:creationId xmlns:a16="http://schemas.microsoft.com/office/drawing/2014/main" id="{0FBE64A1-9833-4E19-8199-BDAACD8AE58A}"/>
                          </a:ext>
                        </a:extLst>
                      </p:cNvPr>
                      <p:cNvSpPr/>
                      <p:nvPr/>
                    </p:nvSpPr>
                    <p:spPr>
                      <a:xfrm>
                        <a:off x="3868072" y="1660464"/>
                        <a:ext cx="38306" cy="22230"/>
                      </a:xfrm>
                      <a:custGeom>
                        <a:avLst/>
                        <a:gdLst>
                          <a:gd name="connsiteX0" fmla="*/ 38307 w 38306"/>
                          <a:gd name="connsiteY0" fmla="*/ 126 h 22230"/>
                          <a:gd name="connsiteX1" fmla="*/ 126 w 38306"/>
                          <a:gd name="connsiteY1" fmla="*/ 22230 h 22230"/>
                          <a:gd name="connsiteX2" fmla="*/ 0 w 38306"/>
                          <a:gd name="connsiteY2" fmla="*/ 22105 h 22230"/>
                          <a:gd name="connsiteX3" fmla="*/ 38307 w 38306"/>
                          <a:gd name="connsiteY3" fmla="*/ 0 h 22230"/>
                        </a:gdLst>
                        <a:ahLst/>
                        <a:cxnLst>
                          <a:cxn ang="0">
                            <a:pos x="connsiteX0" y="connsiteY0"/>
                          </a:cxn>
                          <a:cxn ang="0">
                            <a:pos x="connsiteX1" y="connsiteY1"/>
                          </a:cxn>
                          <a:cxn ang="0">
                            <a:pos x="connsiteX2" y="connsiteY2"/>
                          </a:cxn>
                          <a:cxn ang="0">
                            <a:pos x="connsiteX3" y="connsiteY3"/>
                          </a:cxn>
                        </a:cxnLst>
                        <a:rect l="l" t="t" r="r" b="b"/>
                        <a:pathLst>
                          <a:path w="38306" h="22230">
                            <a:moveTo>
                              <a:pt x="38307" y="126"/>
                            </a:moveTo>
                            <a:lnTo>
                              <a:pt x="126" y="22230"/>
                            </a:lnTo>
                            <a:lnTo>
                              <a:pt x="0" y="22105"/>
                            </a:lnTo>
                            <a:lnTo>
                              <a:pt x="3830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20" name="Freeform: Shape 1919">
                        <a:extLst>
                          <a:ext uri="{FF2B5EF4-FFF2-40B4-BE49-F238E27FC236}">
                            <a16:creationId xmlns:a16="http://schemas.microsoft.com/office/drawing/2014/main" id="{55BA9575-5EAA-4D0B-BBA9-275A50D521A2}"/>
                          </a:ext>
                        </a:extLst>
                      </p:cNvPr>
                      <p:cNvSpPr/>
                      <p:nvPr/>
                    </p:nvSpPr>
                    <p:spPr>
                      <a:xfrm>
                        <a:off x="3872719" y="1663227"/>
                        <a:ext cx="38306" cy="22104"/>
                      </a:xfrm>
                      <a:custGeom>
                        <a:avLst/>
                        <a:gdLst>
                          <a:gd name="connsiteX0" fmla="*/ 38307 w 38306"/>
                          <a:gd name="connsiteY0" fmla="*/ 0 h 22104"/>
                          <a:gd name="connsiteX1" fmla="*/ 126 w 38306"/>
                          <a:gd name="connsiteY1" fmla="*/ 22105 h 22104"/>
                          <a:gd name="connsiteX2" fmla="*/ 0 w 38306"/>
                          <a:gd name="connsiteY2" fmla="*/ 21979 h 22104"/>
                          <a:gd name="connsiteX3" fmla="*/ 38181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7" y="0"/>
                            </a:moveTo>
                            <a:lnTo>
                              <a:pt x="126" y="22105"/>
                            </a:lnTo>
                            <a:lnTo>
                              <a:pt x="0" y="21979"/>
                            </a:lnTo>
                            <a:lnTo>
                              <a:pt x="38181"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21" name="Freeform: Shape 1920">
                        <a:extLst>
                          <a:ext uri="{FF2B5EF4-FFF2-40B4-BE49-F238E27FC236}">
                            <a16:creationId xmlns:a16="http://schemas.microsoft.com/office/drawing/2014/main" id="{51572FC3-3FEE-4F3D-8EAD-4190B778D7F1}"/>
                          </a:ext>
                        </a:extLst>
                      </p:cNvPr>
                      <p:cNvSpPr/>
                      <p:nvPr/>
                    </p:nvSpPr>
                    <p:spPr>
                      <a:xfrm>
                        <a:off x="3877366" y="1665865"/>
                        <a:ext cx="38306" cy="22104"/>
                      </a:xfrm>
                      <a:custGeom>
                        <a:avLst/>
                        <a:gdLst>
                          <a:gd name="connsiteX0" fmla="*/ 38306 w 38306"/>
                          <a:gd name="connsiteY0" fmla="*/ 126 h 22104"/>
                          <a:gd name="connsiteX1" fmla="*/ 125 w 38306"/>
                          <a:gd name="connsiteY1" fmla="*/ 22105 h 22104"/>
                          <a:gd name="connsiteX2" fmla="*/ 0 w 38306"/>
                          <a:gd name="connsiteY2" fmla="*/ 22105 h 22104"/>
                          <a:gd name="connsiteX3" fmla="*/ 38181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126"/>
                            </a:moveTo>
                            <a:lnTo>
                              <a:pt x="125" y="22105"/>
                            </a:lnTo>
                            <a:lnTo>
                              <a:pt x="0" y="22105"/>
                            </a:lnTo>
                            <a:lnTo>
                              <a:pt x="38181"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22" name="Freeform: Shape 1921">
                        <a:extLst>
                          <a:ext uri="{FF2B5EF4-FFF2-40B4-BE49-F238E27FC236}">
                            <a16:creationId xmlns:a16="http://schemas.microsoft.com/office/drawing/2014/main" id="{2DD4D7B1-FED1-43A1-9CC7-F2089A05CA96}"/>
                          </a:ext>
                        </a:extLst>
                      </p:cNvPr>
                      <p:cNvSpPr/>
                      <p:nvPr/>
                    </p:nvSpPr>
                    <p:spPr>
                      <a:xfrm>
                        <a:off x="3882013" y="1668502"/>
                        <a:ext cx="38306" cy="22230"/>
                      </a:xfrm>
                      <a:custGeom>
                        <a:avLst/>
                        <a:gdLst>
                          <a:gd name="connsiteX0" fmla="*/ 38306 w 38306"/>
                          <a:gd name="connsiteY0" fmla="*/ 126 h 22230"/>
                          <a:gd name="connsiteX1" fmla="*/ 125 w 38306"/>
                          <a:gd name="connsiteY1" fmla="*/ 22230 h 22230"/>
                          <a:gd name="connsiteX2" fmla="*/ 0 w 38306"/>
                          <a:gd name="connsiteY2" fmla="*/ 22105 h 22230"/>
                          <a:gd name="connsiteX3" fmla="*/ 38181 w 38306"/>
                          <a:gd name="connsiteY3" fmla="*/ 0 h 22230"/>
                        </a:gdLst>
                        <a:ahLst/>
                        <a:cxnLst>
                          <a:cxn ang="0">
                            <a:pos x="connsiteX0" y="connsiteY0"/>
                          </a:cxn>
                          <a:cxn ang="0">
                            <a:pos x="connsiteX1" y="connsiteY1"/>
                          </a:cxn>
                          <a:cxn ang="0">
                            <a:pos x="connsiteX2" y="connsiteY2"/>
                          </a:cxn>
                          <a:cxn ang="0">
                            <a:pos x="connsiteX3" y="connsiteY3"/>
                          </a:cxn>
                        </a:cxnLst>
                        <a:rect l="l" t="t" r="r" b="b"/>
                        <a:pathLst>
                          <a:path w="38306" h="22230">
                            <a:moveTo>
                              <a:pt x="38306" y="126"/>
                            </a:moveTo>
                            <a:lnTo>
                              <a:pt x="125" y="22230"/>
                            </a:lnTo>
                            <a:lnTo>
                              <a:pt x="0" y="22105"/>
                            </a:lnTo>
                            <a:lnTo>
                              <a:pt x="38181"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23" name="Freeform: Shape 1922">
                      <a:extLst>
                        <a:ext uri="{FF2B5EF4-FFF2-40B4-BE49-F238E27FC236}">
                          <a16:creationId xmlns:a16="http://schemas.microsoft.com/office/drawing/2014/main" id="{A1AE3C03-F160-459A-BE4E-E3C9653084E6}"/>
                        </a:ext>
                      </a:extLst>
                    </p:cNvPr>
                    <p:cNvSpPr/>
                    <p:nvPr/>
                  </p:nvSpPr>
                  <p:spPr>
                    <a:xfrm>
                      <a:off x="3849609" y="1675661"/>
                      <a:ext cx="37050" cy="22230"/>
                    </a:xfrm>
                    <a:custGeom>
                      <a:avLst/>
                      <a:gdLst>
                        <a:gd name="connsiteX0" fmla="*/ 37051 w 37050"/>
                        <a:gd name="connsiteY0" fmla="*/ 22230 h 22230"/>
                        <a:gd name="connsiteX1" fmla="*/ 37051 w 37050"/>
                        <a:gd name="connsiteY1" fmla="*/ 21351 h 22230"/>
                        <a:gd name="connsiteX2" fmla="*/ 0 w 37050"/>
                        <a:gd name="connsiteY2" fmla="*/ 0 h 22230"/>
                        <a:gd name="connsiteX3" fmla="*/ 0 w 37050"/>
                        <a:gd name="connsiteY3" fmla="*/ 879 h 22230"/>
                      </a:gdLst>
                      <a:ahLst/>
                      <a:cxnLst>
                        <a:cxn ang="0">
                          <a:pos x="connsiteX0" y="connsiteY0"/>
                        </a:cxn>
                        <a:cxn ang="0">
                          <a:pos x="connsiteX1" y="connsiteY1"/>
                        </a:cxn>
                        <a:cxn ang="0">
                          <a:pos x="connsiteX2" y="connsiteY2"/>
                        </a:cxn>
                        <a:cxn ang="0">
                          <a:pos x="connsiteX3" y="connsiteY3"/>
                        </a:cxn>
                      </a:cxnLst>
                      <a:rect l="l" t="t" r="r" b="b"/>
                      <a:pathLst>
                        <a:path w="37050" h="22230">
                          <a:moveTo>
                            <a:pt x="37051" y="22230"/>
                          </a:moveTo>
                          <a:lnTo>
                            <a:pt x="37051" y="21351"/>
                          </a:lnTo>
                          <a:lnTo>
                            <a:pt x="0" y="0"/>
                          </a:lnTo>
                          <a:lnTo>
                            <a:pt x="0" y="879"/>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24" name="Graphic 4">
                    <a:extLst>
                      <a:ext uri="{FF2B5EF4-FFF2-40B4-BE49-F238E27FC236}">
                        <a16:creationId xmlns:a16="http://schemas.microsoft.com/office/drawing/2014/main" id="{84FB7ED1-A2DF-40A1-A747-5F7CF3F14040}"/>
                      </a:ext>
                    </a:extLst>
                  </p:cNvPr>
                  <p:cNvGrpSpPr/>
                  <p:nvPr/>
                </p:nvGrpSpPr>
                <p:grpSpPr>
                  <a:xfrm>
                    <a:off x="3852498" y="1648658"/>
                    <a:ext cx="54005" cy="33408"/>
                    <a:chOff x="3852498" y="1648658"/>
                    <a:chExt cx="54005" cy="33408"/>
                  </a:xfrm>
                  <a:solidFill>
                    <a:schemeClr val="accent1"/>
                  </a:solidFill>
                </p:grpSpPr>
                <p:grpSp>
                  <p:nvGrpSpPr>
                    <p:cNvPr id="1925" name="Graphic 4">
                      <a:extLst>
                        <a:ext uri="{FF2B5EF4-FFF2-40B4-BE49-F238E27FC236}">
                          <a16:creationId xmlns:a16="http://schemas.microsoft.com/office/drawing/2014/main" id="{84FB7ED1-A2DF-40A1-A747-5F7CF3F14040}"/>
                        </a:ext>
                      </a:extLst>
                    </p:cNvPr>
                    <p:cNvGrpSpPr/>
                    <p:nvPr/>
                  </p:nvGrpSpPr>
                  <p:grpSpPr>
                    <a:xfrm>
                      <a:off x="3852498" y="1648658"/>
                      <a:ext cx="54005" cy="33408"/>
                      <a:chOff x="3852498" y="1648658"/>
                      <a:chExt cx="54005" cy="33408"/>
                    </a:xfrm>
                    <a:solidFill>
                      <a:schemeClr val="accent1"/>
                    </a:solidFill>
                  </p:grpSpPr>
                  <p:sp>
                    <p:nvSpPr>
                      <p:cNvPr id="1926" name="Freeform: Shape 1925">
                        <a:extLst>
                          <a:ext uri="{FF2B5EF4-FFF2-40B4-BE49-F238E27FC236}">
                            <a16:creationId xmlns:a16="http://schemas.microsoft.com/office/drawing/2014/main" id="{DBB7817A-AA67-482F-8286-FBCE2A1D310D}"/>
                          </a:ext>
                        </a:extLst>
                      </p:cNvPr>
                      <p:cNvSpPr/>
                      <p:nvPr/>
                    </p:nvSpPr>
                    <p:spPr>
                      <a:xfrm>
                        <a:off x="3852498" y="1650793"/>
                        <a:ext cx="54005" cy="31273"/>
                      </a:xfrm>
                      <a:custGeom>
                        <a:avLst/>
                        <a:gdLst>
                          <a:gd name="connsiteX0" fmla="*/ 54006 w 54005"/>
                          <a:gd name="connsiteY0" fmla="*/ 8792 h 31273"/>
                          <a:gd name="connsiteX1" fmla="*/ 51745 w 54005"/>
                          <a:gd name="connsiteY1" fmla="*/ 10048 h 31273"/>
                          <a:gd name="connsiteX2" fmla="*/ 51494 w 54005"/>
                          <a:gd name="connsiteY2" fmla="*/ 10173 h 31273"/>
                          <a:gd name="connsiteX3" fmla="*/ 51494 w 54005"/>
                          <a:gd name="connsiteY3" fmla="*/ 10173 h 31273"/>
                          <a:gd name="connsiteX4" fmla="*/ 48103 w 54005"/>
                          <a:gd name="connsiteY4" fmla="*/ 12183 h 31273"/>
                          <a:gd name="connsiteX5" fmla="*/ 48103 w 54005"/>
                          <a:gd name="connsiteY5" fmla="*/ 12183 h 31273"/>
                          <a:gd name="connsiteX6" fmla="*/ 47224 w 54005"/>
                          <a:gd name="connsiteY6" fmla="*/ 12685 h 31273"/>
                          <a:gd name="connsiteX7" fmla="*/ 47098 w 54005"/>
                          <a:gd name="connsiteY7" fmla="*/ 12811 h 31273"/>
                          <a:gd name="connsiteX8" fmla="*/ 46345 w 54005"/>
                          <a:gd name="connsiteY8" fmla="*/ 13187 h 31273"/>
                          <a:gd name="connsiteX9" fmla="*/ 34664 w 54005"/>
                          <a:gd name="connsiteY9" fmla="*/ 19970 h 31273"/>
                          <a:gd name="connsiteX10" fmla="*/ 34664 w 54005"/>
                          <a:gd name="connsiteY10" fmla="*/ 19970 h 31273"/>
                          <a:gd name="connsiteX11" fmla="*/ 34036 w 54005"/>
                          <a:gd name="connsiteY11" fmla="*/ 20346 h 31273"/>
                          <a:gd name="connsiteX12" fmla="*/ 32780 w 54005"/>
                          <a:gd name="connsiteY12" fmla="*/ 21100 h 31273"/>
                          <a:gd name="connsiteX13" fmla="*/ 32655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650 w 54005"/>
                          <a:gd name="connsiteY17" fmla="*/ 21728 h 31273"/>
                          <a:gd name="connsiteX18" fmla="*/ 31650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505 h 31273"/>
                          <a:gd name="connsiteX23" fmla="*/ 21728 w 54005"/>
                          <a:gd name="connsiteY23" fmla="*/ 27505 h 31273"/>
                          <a:gd name="connsiteX24" fmla="*/ 21226 w 54005"/>
                          <a:gd name="connsiteY24" fmla="*/ 27756 h 31273"/>
                          <a:gd name="connsiteX25" fmla="*/ 21226 w 54005"/>
                          <a:gd name="connsiteY25" fmla="*/ 27756 h 31273"/>
                          <a:gd name="connsiteX26" fmla="*/ 15197 w 54005"/>
                          <a:gd name="connsiteY26" fmla="*/ 31273 h 31273"/>
                          <a:gd name="connsiteX27" fmla="*/ 15071 w 54005"/>
                          <a:gd name="connsiteY27" fmla="*/ 31148 h 31273"/>
                          <a:gd name="connsiteX28" fmla="*/ 14946 w 54005"/>
                          <a:gd name="connsiteY28" fmla="*/ 31148 h 31273"/>
                          <a:gd name="connsiteX29" fmla="*/ 14569 w 54005"/>
                          <a:gd name="connsiteY29" fmla="*/ 30896 h 31273"/>
                          <a:gd name="connsiteX30" fmla="*/ 14443 w 54005"/>
                          <a:gd name="connsiteY30" fmla="*/ 30896 h 31273"/>
                          <a:gd name="connsiteX31" fmla="*/ 14443 w 54005"/>
                          <a:gd name="connsiteY31" fmla="*/ 30896 h 31273"/>
                          <a:gd name="connsiteX32" fmla="*/ 13941 w 54005"/>
                          <a:gd name="connsiteY32" fmla="*/ 30520 h 31273"/>
                          <a:gd name="connsiteX33" fmla="*/ 13690 w 54005"/>
                          <a:gd name="connsiteY33" fmla="*/ 30394 h 31273"/>
                          <a:gd name="connsiteX34" fmla="*/ 12434 w 54005"/>
                          <a:gd name="connsiteY34" fmla="*/ 29766 h 31273"/>
                          <a:gd name="connsiteX35" fmla="*/ 12434 w 54005"/>
                          <a:gd name="connsiteY35" fmla="*/ 29640 h 31273"/>
                          <a:gd name="connsiteX36" fmla="*/ 11680 w 54005"/>
                          <a:gd name="connsiteY36" fmla="*/ 29264 h 31273"/>
                          <a:gd name="connsiteX37" fmla="*/ 11303 w 54005"/>
                          <a:gd name="connsiteY37" fmla="*/ 29012 h 31273"/>
                          <a:gd name="connsiteX38" fmla="*/ 10676 w 54005"/>
                          <a:gd name="connsiteY38" fmla="*/ 28636 h 31273"/>
                          <a:gd name="connsiteX39" fmla="*/ 10550 w 54005"/>
                          <a:gd name="connsiteY39" fmla="*/ 28636 h 31273"/>
                          <a:gd name="connsiteX40" fmla="*/ 10047 w 54005"/>
                          <a:gd name="connsiteY40" fmla="*/ 28259 h 31273"/>
                          <a:gd name="connsiteX41" fmla="*/ 9922 w 54005"/>
                          <a:gd name="connsiteY41" fmla="*/ 28259 h 31273"/>
                          <a:gd name="connsiteX42" fmla="*/ 9169 w 54005"/>
                          <a:gd name="connsiteY42" fmla="*/ 27756 h 31273"/>
                          <a:gd name="connsiteX43" fmla="*/ 8917 w 54005"/>
                          <a:gd name="connsiteY43" fmla="*/ 27631 h 31273"/>
                          <a:gd name="connsiteX44" fmla="*/ 8917 w 54005"/>
                          <a:gd name="connsiteY44" fmla="*/ 27631 h 31273"/>
                          <a:gd name="connsiteX45" fmla="*/ 8038 w 54005"/>
                          <a:gd name="connsiteY45" fmla="*/ 27129 h 31273"/>
                          <a:gd name="connsiteX46" fmla="*/ 8038 w 54005"/>
                          <a:gd name="connsiteY46" fmla="*/ 27129 h 31273"/>
                          <a:gd name="connsiteX47" fmla="*/ 7536 w 54005"/>
                          <a:gd name="connsiteY47" fmla="*/ 26877 h 31273"/>
                          <a:gd name="connsiteX48" fmla="*/ 7410 w 54005"/>
                          <a:gd name="connsiteY48" fmla="*/ 26752 h 31273"/>
                          <a:gd name="connsiteX49" fmla="*/ 6782 w 54005"/>
                          <a:gd name="connsiteY49" fmla="*/ 26375 h 31273"/>
                          <a:gd name="connsiteX50" fmla="*/ 6782 w 54005"/>
                          <a:gd name="connsiteY50" fmla="*/ 26375 h 31273"/>
                          <a:gd name="connsiteX51" fmla="*/ 5652 w 54005"/>
                          <a:gd name="connsiteY51" fmla="*/ 25747 h 31273"/>
                          <a:gd name="connsiteX52" fmla="*/ 5400 w 54005"/>
                          <a:gd name="connsiteY52" fmla="*/ 25621 h 31273"/>
                          <a:gd name="connsiteX53" fmla="*/ 4521 w 54005"/>
                          <a:gd name="connsiteY53" fmla="*/ 25119 h 31273"/>
                          <a:gd name="connsiteX54" fmla="*/ 4521 w 54005"/>
                          <a:gd name="connsiteY54" fmla="*/ 25119 h 31273"/>
                          <a:gd name="connsiteX55" fmla="*/ 4144 w 54005"/>
                          <a:gd name="connsiteY55" fmla="*/ 24868 h 31273"/>
                          <a:gd name="connsiteX56" fmla="*/ 4144 w 54005"/>
                          <a:gd name="connsiteY56" fmla="*/ 24868 h 31273"/>
                          <a:gd name="connsiteX57" fmla="*/ 3391 w 54005"/>
                          <a:gd name="connsiteY57" fmla="*/ 24491 h 31273"/>
                          <a:gd name="connsiteX58" fmla="*/ 3391 w 54005"/>
                          <a:gd name="connsiteY58" fmla="*/ 24491 h 31273"/>
                          <a:gd name="connsiteX59" fmla="*/ 3266 w 54005"/>
                          <a:gd name="connsiteY59" fmla="*/ 24365 h 31273"/>
                          <a:gd name="connsiteX60" fmla="*/ 2512 w 54005"/>
                          <a:gd name="connsiteY60" fmla="*/ 23989 h 31273"/>
                          <a:gd name="connsiteX61" fmla="*/ 2512 w 54005"/>
                          <a:gd name="connsiteY61" fmla="*/ 23863 h 31273"/>
                          <a:gd name="connsiteX62" fmla="*/ 1884 w 54005"/>
                          <a:gd name="connsiteY62" fmla="*/ 23612 h 31273"/>
                          <a:gd name="connsiteX63" fmla="*/ 1758 w 54005"/>
                          <a:gd name="connsiteY63" fmla="*/ 23486 h 31273"/>
                          <a:gd name="connsiteX64" fmla="*/ 0 w 54005"/>
                          <a:gd name="connsiteY64" fmla="*/ 22481 h 31273"/>
                          <a:gd name="connsiteX65" fmla="*/ 0 w 54005"/>
                          <a:gd name="connsiteY65" fmla="*/ 20346 h 31273"/>
                          <a:gd name="connsiteX66" fmla="*/ 38809 w 54005"/>
                          <a:gd name="connsiteY66" fmla="*/ 0 h 31273"/>
                          <a:gd name="connsiteX67" fmla="*/ 39688 w 54005"/>
                          <a:gd name="connsiteY67" fmla="*/ 502 h 31273"/>
                          <a:gd name="connsiteX68" fmla="*/ 39939 w 54005"/>
                          <a:gd name="connsiteY68" fmla="*/ 754 h 31273"/>
                          <a:gd name="connsiteX69" fmla="*/ 41195 w 54005"/>
                          <a:gd name="connsiteY69" fmla="*/ 1382 h 31273"/>
                          <a:gd name="connsiteX70" fmla="*/ 41446 w 54005"/>
                          <a:gd name="connsiteY70" fmla="*/ 1507 h 31273"/>
                          <a:gd name="connsiteX71" fmla="*/ 42576 w 54005"/>
                          <a:gd name="connsiteY71" fmla="*/ 2261 h 31273"/>
                          <a:gd name="connsiteX72" fmla="*/ 42828 w 54005"/>
                          <a:gd name="connsiteY72" fmla="*/ 2261 h 31273"/>
                          <a:gd name="connsiteX73" fmla="*/ 43330 w 54005"/>
                          <a:gd name="connsiteY73" fmla="*/ 2638 h 31273"/>
                          <a:gd name="connsiteX74" fmla="*/ 43330 w 54005"/>
                          <a:gd name="connsiteY74" fmla="*/ 2638 h 31273"/>
                          <a:gd name="connsiteX75" fmla="*/ 43330 w 54005"/>
                          <a:gd name="connsiteY75" fmla="*/ 2638 h 31273"/>
                          <a:gd name="connsiteX76" fmla="*/ 44335 w 54005"/>
                          <a:gd name="connsiteY76" fmla="*/ 3265 h 31273"/>
                          <a:gd name="connsiteX77" fmla="*/ 44586 w 54005"/>
                          <a:gd name="connsiteY77" fmla="*/ 3391 h 31273"/>
                          <a:gd name="connsiteX78" fmla="*/ 45340 w 54005"/>
                          <a:gd name="connsiteY78" fmla="*/ 3768 h 31273"/>
                          <a:gd name="connsiteX79" fmla="*/ 45340 w 54005"/>
                          <a:gd name="connsiteY79" fmla="*/ 3768 h 31273"/>
                          <a:gd name="connsiteX80" fmla="*/ 46470 w 54005"/>
                          <a:gd name="connsiteY80" fmla="*/ 4521 h 31273"/>
                          <a:gd name="connsiteX81" fmla="*/ 46721 w 54005"/>
                          <a:gd name="connsiteY81" fmla="*/ 4647 h 31273"/>
                          <a:gd name="connsiteX82" fmla="*/ 46972 w 54005"/>
                          <a:gd name="connsiteY82" fmla="*/ 4773 h 31273"/>
                          <a:gd name="connsiteX83" fmla="*/ 47098 w 54005"/>
                          <a:gd name="connsiteY83" fmla="*/ 4773 h 31273"/>
                          <a:gd name="connsiteX84" fmla="*/ 47852 w 54005"/>
                          <a:gd name="connsiteY84" fmla="*/ 5275 h 31273"/>
                          <a:gd name="connsiteX85" fmla="*/ 47852 w 54005"/>
                          <a:gd name="connsiteY85" fmla="*/ 5275 h 31273"/>
                          <a:gd name="connsiteX86" fmla="*/ 48228 w 54005"/>
                          <a:gd name="connsiteY86" fmla="*/ 5526 h 31273"/>
                          <a:gd name="connsiteX87" fmla="*/ 48354 w 54005"/>
                          <a:gd name="connsiteY87" fmla="*/ 5526 h 31273"/>
                          <a:gd name="connsiteX88" fmla="*/ 48856 w 54005"/>
                          <a:gd name="connsiteY88" fmla="*/ 5777 h 31273"/>
                          <a:gd name="connsiteX89" fmla="*/ 48982 w 54005"/>
                          <a:gd name="connsiteY89" fmla="*/ 5903 h 31273"/>
                          <a:gd name="connsiteX90" fmla="*/ 49610 w 54005"/>
                          <a:gd name="connsiteY90" fmla="*/ 6280 h 31273"/>
                          <a:gd name="connsiteX91" fmla="*/ 49861 w 54005"/>
                          <a:gd name="connsiteY91" fmla="*/ 6405 h 31273"/>
                          <a:gd name="connsiteX92" fmla="*/ 50112 w 54005"/>
                          <a:gd name="connsiteY92" fmla="*/ 6531 h 31273"/>
                          <a:gd name="connsiteX93" fmla="*/ 50112 w 54005"/>
                          <a:gd name="connsiteY93" fmla="*/ 6531 h 31273"/>
                          <a:gd name="connsiteX94" fmla="*/ 50238 w 54005"/>
                          <a:gd name="connsiteY94" fmla="*/ 6657 h 31273"/>
                          <a:gd name="connsiteX95" fmla="*/ 50740 w 54005"/>
                          <a:gd name="connsiteY95" fmla="*/ 6908 h 31273"/>
                          <a:gd name="connsiteX96" fmla="*/ 50991 w 54005"/>
                          <a:gd name="connsiteY96" fmla="*/ 7033 h 31273"/>
                          <a:gd name="connsiteX97" fmla="*/ 51117 w 54005"/>
                          <a:gd name="connsiteY97" fmla="*/ 7159 h 31273"/>
                          <a:gd name="connsiteX98" fmla="*/ 51243 w 54005"/>
                          <a:gd name="connsiteY98" fmla="*/ 7159 h 31273"/>
                          <a:gd name="connsiteX99" fmla="*/ 51368 w 54005"/>
                          <a:gd name="connsiteY99" fmla="*/ 7285 h 31273"/>
                          <a:gd name="connsiteX100" fmla="*/ 51619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745" y="10048"/>
                            </a:lnTo>
                            <a:lnTo>
                              <a:pt x="51494" y="10173"/>
                            </a:lnTo>
                            <a:lnTo>
                              <a:pt x="51494" y="10173"/>
                            </a:lnTo>
                            <a:lnTo>
                              <a:pt x="48103" y="12183"/>
                            </a:lnTo>
                            <a:lnTo>
                              <a:pt x="48103" y="12183"/>
                            </a:lnTo>
                            <a:lnTo>
                              <a:pt x="47224" y="12685"/>
                            </a:lnTo>
                            <a:lnTo>
                              <a:pt x="47098" y="12811"/>
                            </a:lnTo>
                            <a:lnTo>
                              <a:pt x="46345" y="13187"/>
                            </a:lnTo>
                            <a:lnTo>
                              <a:pt x="34664" y="19970"/>
                            </a:lnTo>
                            <a:lnTo>
                              <a:pt x="34664" y="19970"/>
                            </a:lnTo>
                            <a:lnTo>
                              <a:pt x="34036" y="20346"/>
                            </a:lnTo>
                            <a:lnTo>
                              <a:pt x="32780" y="21100"/>
                            </a:lnTo>
                            <a:lnTo>
                              <a:pt x="32655" y="21100"/>
                            </a:lnTo>
                            <a:lnTo>
                              <a:pt x="32152" y="21477"/>
                            </a:lnTo>
                            <a:lnTo>
                              <a:pt x="32027" y="21477"/>
                            </a:lnTo>
                            <a:lnTo>
                              <a:pt x="32027" y="21477"/>
                            </a:lnTo>
                            <a:lnTo>
                              <a:pt x="31650" y="21728"/>
                            </a:lnTo>
                            <a:lnTo>
                              <a:pt x="31650" y="21728"/>
                            </a:lnTo>
                            <a:lnTo>
                              <a:pt x="29892" y="22733"/>
                            </a:lnTo>
                            <a:lnTo>
                              <a:pt x="29892" y="22733"/>
                            </a:lnTo>
                            <a:lnTo>
                              <a:pt x="29515" y="22984"/>
                            </a:lnTo>
                            <a:lnTo>
                              <a:pt x="21728" y="27505"/>
                            </a:lnTo>
                            <a:lnTo>
                              <a:pt x="21728" y="27505"/>
                            </a:lnTo>
                            <a:lnTo>
                              <a:pt x="21226" y="27756"/>
                            </a:lnTo>
                            <a:lnTo>
                              <a:pt x="21226" y="27756"/>
                            </a:lnTo>
                            <a:lnTo>
                              <a:pt x="15197" y="31273"/>
                            </a:lnTo>
                            <a:lnTo>
                              <a:pt x="15071" y="31148"/>
                            </a:lnTo>
                            <a:lnTo>
                              <a:pt x="14946" y="31148"/>
                            </a:lnTo>
                            <a:lnTo>
                              <a:pt x="14569" y="30896"/>
                            </a:lnTo>
                            <a:lnTo>
                              <a:pt x="14443" y="30896"/>
                            </a:lnTo>
                            <a:lnTo>
                              <a:pt x="14443" y="30896"/>
                            </a:lnTo>
                            <a:lnTo>
                              <a:pt x="13941" y="30520"/>
                            </a:lnTo>
                            <a:lnTo>
                              <a:pt x="13690" y="30394"/>
                            </a:lnTo>
                            <a:lnTo>
                              <a:pt x="12434" y="29766"/>
                            </a:lnTo>
                            <a:lnTo>
                              <a:pt x="12434" y="29640"/>
                            </a:lnTo>
                            <a:lnTo>
                              <a:pt x="11680" y="29264"/>
                            </a:lnTo>
                            <a:lnTo>
                              <a:pt x="11303" y="29012"/>
                            </a:lnTo>
                            <a:lnTo>
                              <a:pt x="10676" y="28636"/>
                            </a:lnTo>
                            <a:lnTo>
                              <a:pt x="10550" y="28636"/>
                            </a:lnTo>
                            <a:lnTo>
                              <a:pt x="10047" y="28259"/>
                            </a:lnTo>
                            <a:lnTo>
                              <a:pt x="9922" y="28259"/>
                            </a:lnTo>
                            <a:lnTo>
                              <a:pt x="9169" y="27756"/>
                            </a:lnTo>
                            <a:lnTo>
                              <a:pt x="8917" y="27631"/>
                            </a:lnTo>
                            <a:lnTo>
                              <a:pt x="8917" y="27631"/>
                            </a:lnTo>
                            <a:lnTo>
                              <a:pt x="8038" y="27129"/>
                            </a:lnTo>
                            <a:lnTo>
                              <a:pt x="8038" y="27129"/>
                            </a:lnTo>
                            <a:lnTo>
                              <a:pt x="7536" y="26877"/>
                            </a:lnTo>
                            <a:lnTo>
                              <a:pt x="7410" y="26752"/>
                            </a:lnTo>
                            <a:lnTo>
                              <a:pt x="6782" y="26375"/>
                            </a:lnTo>
                            <a:lnTo>
                              <a:pt x="6782" y="26375"/>
                            </a:lnTo>
                            <a:lnTo>
                              <a:pt x="5652" y="25747"/>
                            </a:lnTo>
                            <a:lnTo>
                              <a:pt x="5400" y="25621"/>
                            </a:lnTo>
                            <a:lnTo>
                              <a:pt x="4521" y="25119"/>
                            </a:lnTo>
                            <a:lnTo>
                              <a:pt x="4521" y="25119"/>
                            </a:lnTo>
                            <a:lnTo>
                              <a:pt x="4144" y="24868"/>
                            </a:lnTo>
                            <a:lnTo>
                              <a:pt x="4144" y="24868"/>
                            </a:lnTo>
                            <a:lnTo>
                              <a:pt x="3391" y="24491"/>
                            </a:lnTo>
                            <a:lnTo>
                              <a:pt x="3391" y="24491"/>
                            </a:lnTo>
                            <a:lnTo>
                              <a:pt x="3266" y="24365"/>
                            </a:lnTo>
                            <a:lnTo>
                              <a:pt x="2512" y="23989"/>
                            </a:lnTo>
                            <a:lnTo>
                              <a:pt x="2512" y="23863"/>
                            </a:lnTo>
                            <a:lnTo>
                              <a:pt x="1884" y="23612"/>
                            </a:lnTo>
                            <a:lnTo>
                              <a:pt x="1758" y="23486"/>
                            </a:lnTo>
                            <a:lnTo>
                              <a:pt x="0" y="22481"/>
                            </a:lnTo>
                            <a:lnTo>
                              <a:pt x="0" y="20346"/>
                            </a:lnTo>
                            <a:lnTo>
                              <a:pt x="38809" y="0"/>
                            </a:lnTo>
                            <a:lnTo>
                              <a:pt x="39688" y="502"/>
                            </a:lnTo>
                            <a:lnTo>
                              <a:pt x="39939" y="754"/>
                            </a:lnTo>
                            <a:lnTo>
                              <a:pt x="41195" y="1382"/>
                            </a:lnTo>
                            <a:lnTo>
                              <a:pt x="41446" y="1507"/>
                            </a:lnTo>
                            <a:lnTo>
                              <a:pt x="42576" y="2261"/>
                            </a:lnTo>
                            <a:lnTo>
                              <a:pt x="42828" y="2261"/>
                            </a:lnTo>
                            <a:lnTo>
                              <a:pt x="43330" y="2638"/>
                            </a:lnTo>
                            <a:lnTo>
                              <a:pt x="43330" y="2638"/>
                            </a:lnTo>
                            <a:lnTo>
                              <a:pt x="43330" y="2638"/>
                            </a:lnTo>
                            <a:lnTo>
                              <a:pt x="44335" y="3265"/>
                            </a:lnTo>
                            <a:lnTo>
                              <a:pt x="44586" y="3391"/>
                            </a:lnTo>
                            <a:lnTo>
                              <a:pt x="45340" y="3768"/>
                            </a:lnTo>
                            <a:lnTo>
                              <a:pt x="45340" y="3768"/>
                            </a:lnTo>
                            <a:lnTo>
                              <a:pt x="46470" y="4521"/>
                            </a:lnTo>
                            <a:lnTo>
                              <a:pt x="46721" y="4647"/>
                            </a:lnTo>
                            <a:lnTo>
                              <a:pt x="46972" y="4773"/>
                            </a:lnTo>
                            <a:lnTo>
                              <a:pt x="47098" y="4773"/>
                            </a:lnTo>
                            <a:lnTo>
                              <a:pt x="47852" y="5275"/>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5"/>
                            </a:lnTo>
                            <a:lnTo>
                              <a:pt x="51619"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27" name="Freeform: Shape 1926">
                        <a:extLst>
                          <a:ext uri="{FF2B5EF4-FFF2-40B4-BE49-F238E27FC236}">
                            <a16:creationId xmlns:a16="http://schemas.microsoft.com/office/drawing/2014/main" id="{08F16B62-E518-43D1-920F-C69CCF4158FA}"/>
                          </a:ext>
                        </a:extLst>
                      </p:cNvPr>
                      <p:cNvSpPr/>
                      <p:nvPr/>
                    </p:nvSpPr>
                    <p:spPr>
                      <a:xfrm>
                        <a:off x="3852498" y="1648658"/>
                        <a:ext cx="54005" cy="31273"/>
                      </a:xfrm>
                      <a:custGeom>
                        <a:avLst/>
                        <a:gdLst>
                          <a:gd name="connsiteX0" fmla="*/ 54006 w 54005"/>
                          <a:gd name="connsiteY0" fmla="*/ 8792 h 31273"/>
                          <a:gd name="connsiteX1" fmla="*/ 51745 w 54005"/>
                          <a:gd name="connsiteY1" fmla="*/ 10048 h 31273"/>
                          <a:gd name="connsiteX2" fmla="*/ 51494 w 54005"/>
                          <a:gd name="connsiteY2" fmla="*/ 10173 h 31273"/>
                          <a:gd name="connsiteX3" fmla="*/ 51494 w 54005"/>
                          <a:gd name="connsiteY3" fmla="*/ 10173 h 31273"/>
                          <a:gd name="connsiteX4" fmla="*/ 48103 w 54005"/>
                          <a:gd name="connsiteY4" fmla="*/ 12183 h 31273"/>
                          <a:gd name="connsiteX5" fmla="*/ 48103 w 54005"/>
                          <a:gd name="connsiteY5" fmla="*/ 12183 h 31273"/>
                          <a:gd name="connsiteX6" fmla="*/ 47224 w 54005"/>
                          <a:gd name="connsiteY6" fmla="*/ 12685 h 31273"/>
                          <a:gd name="connsiteX7" fmla="*/ 47098 w 54005"/>
                          <a:gd name="connsiteY7" fmla="*/ 12811 h 31273"/>
                          <a:gd name="connsiteX8" fmla="*/ 46345 w 54005"/>
                          <a:gd name="connsiteY8" fmla="*/ 13187 h 31273"/>
                          <a:gd name="connsiteX9" fmla="*/ 34664 w 54005"/>
                          <a:gd name="connsiteY9" fmla="*/ 19970 h 31273"/>
                          <a:gd name="connsiteX10" fmla="*/ 34036 w 54005"/>
                          <a:gd name="connsiteY10" fmla="*/ 20346 h 31273"/>
                          <a:gd name="connsiteX11" fmla="*/ 32780 w 54005"/>
                          <a:gd name="connsiteY11" fmla="*/ 21100 h 31273"/>
                          <a:gd name="connsiteX12" fmla="*/ 32152 w 54005"/>
                          <a:gd name="connsiteY12" fmla="*/ 21477 h 31273"/>
                          <a:gd name="connsiteX13" fmla="*/ 32027 w 54005"/>
                          <a:gd name="connsiteY13" fmla="*/ 21477 h 31273"/>
                          <a:gd name="connsiteX14" fmla="*/ 32027 w 54005"/>
                          <a:gd name="connsiteY14" fmla="*/ 21477 h 31273"/>
                          <a:gd name="connsiteX15" fmla="*/ 31650 w 54005"/>
                          <a:gd name="connsiteY15" fmla="*/ 21728 h 31273"/>
                          <a:gd name="connsiteX16" fmla="*/ 29892 w 54005"/>
                          <a:gd name="connsiteY16" fmla="*/ 22733 h 31273"/>
                          <a:gd name="connsiteX17" fmla="*/ 29766 w 54005"/>
                          <a:gd name="connsiteY17" fmla="*/ 22733 h 31273"/>
                          <a:gd name="connsiteX18" fmla="*/ 29515 w 54005"/>
                          <a:gd name="connsiteY18" fmla="*/ 22984 h 31273"/>
                          <a:gd name="connsiteX19" fmla="*/ 21728 w 54005"/>
                          <a:gd name="connsiteY19" fmla="*/ 27505 h 31273"/>
                          <a:gd name="connsiteX20" fmla="*/ 21226 w 54005"/>
                          <a:gd name="connsiteY20" fmla="*/ 27756 h 31273"/>
                          <a:gd name="connsiteX21" fmla="*/ 21226 w 54005"/>
                          <a:gd name="connsiteY21" fmla="*/ 27756 h 31273"/>
                          <a:gd name="connsiteX22" fmla="*/ 15197 w 54005"/>
                          <a:gd name="connsiteY22" fmla="*/ 31273 h 31273"/>
                          <a:gd name="connsiteX23" fmla="*/ 15071 w 54005"/>
                          <a:gd name="connsiteY23" fmla="*/ 31148 h 31273"/>
                          <a:gd name="connsiteX24" fmla="*/ 14946 w 54005"/>
                          <a:gd name="connsiteY24" fmla="*/ 31148 h 31273"/>
                          <a:gd name="connsiteX25" fmla="*/ 14569 w 54005"/>
                          <a:gd name="connsiteY25" fmla="*/ 30896 h 31273"/>
                          <a:gd name="connsiteX26" fmla="*/ 14443 w 54005"/>
                          <a:gd name="connsiteY26" fmla="*/ 30896 h 31273"/>
                          <a:gd name="connsiteX27" fmla="*/ 13941 w 54005"/>
                          <a:gd name="connsiteY27" fmla="*/ 30520 h 31273"/>
                          <a:gd name="connsiteX28" fmla="*/ 13690 w 54005"/>
                          <a:gd name="connsiteY28" fmla="*/ 30394 h 31273"/>
                          <a:gd name="connsiteX29" fmla="*/ 12434 w 54005"/>
                          <a:gd name="connsiteY29" fmla="*/ 29640 h 31273"/>
                          <a:gd name="connsiteX30" fmla="*/ 12434 w 54005"/>
                          <a:gd name="connsiteY30" fmla="*/ 29640 h 31273"/>
                          <a:gd name="connsiteX31" fmla="*/ 11680 w 54005"/>
                          <a:gd name="connsiteY31" fmla="*/ 29264 h 31273"/>
                          <a:gd name="connsiteX32" fmla="*/ 11303 w 54005"/>
                          <a:gd name="connsiteY32" fmla="*/ 29012 h 31273"/>
                          <a:gd name="connsiteX33" fmla="*/ 10676 w 54005"/>
                          <a:gd name="connsiteY33" fmla="*/ 28636 h 31273"/>
                          <a:gd name="connsiteX34" fmla="*/ 10550 w 54005"/>
                          <a:gd name="connsiteY34" fmla="*/ 28636 h 31273"/>
                          <a:gd name="connsiteX35" fmla="*/ 10047 w 54005"/>
                          <a:gd name="connsiteY35" fmla="*/ 28259 h 31273"/>
                          <a:gd name="connsiteX36" fmla="*/ 9922 w 54005"/>
                          <a:gd name="connsiteY36" fmla="*/ 28259 h 31273"/>
                          <a:gd name="connsiteX37" fmla="*/ 9169 w 54005"/>
                          <a:gd name="connsiteY37" fmla="*/ 27756 h 31273"/>
                          <a:gd name="connsiteX38" fmla="*/ 8917 w 54005"/>
                          <a:gd name="connsiteY38" fmla="*/ 27631 h 31273"/>
                          <a:gd name="connsiteX39" fmla="*/ 8917 w 54005"/>
                          <a:gd name="connsiteY39" fmla="*/ 27631 h 31273"/>
                          <a:gd name="connsiteX40" fmla="*/ 8038 w 54005"/>
                          <a:gd name="connsiteY40" fmla="*/ 27128 h 31273"/>
                          <a:gd name="connsiteX41" fmla="*/ 8038 w 54005"/>
                          <a:gd name="connsiteY41" fmla="*/ 27128 h 31273"/>
                          <a:gd name="connsiteX42" fmla="*/ 7536 w 54005"/>
                          <a:gd name="connsiteY42" fmla="*/ 26877 h 31273"/>
                          <a:gd name="connsiteX43" fmla="*/ 7410 w 54005"/>
                          <a:gd name="connsiteY43" fmla="*/ 26752 h 31273"/>
                          <a:gd name="connsiteX44" fmla="*/ 6782 w 54005"/>
                          <a:gd name="connsiteY44" fmla="*/ 26375 h 31273"/>
                          <a:gd name="connsiteX45" fmla="*/ 6782 w 54005"/>
                          <a:gd name="connsiteY45" fmla="*/ 26375 h 31273"/>
                          <a:gd name="connsiteX46" fmla="*/ 5652 w 54005"/>
                          <a:gd name="connsiteY46" fmla="*/ 25747 h 31273"/>
                          <a:gd name="connsiteX47" fmla="*/ 5400 w 54005"/>
                          <a:gd name="connsiteY47" fmla="*/ 25621 h 31273"/>
                          <a:gd name="connsiteX48" fmla="*/ 4521 w 54005"/>
                          <a:gd name="connsiteY48" fmla="*/ 25119 h 31273"/>
                          <a:gd name="connsiteX49" fmla="*/ 4521 w 54005"/>
                          <a:gd name="connsiteY49" fmla="*/ 25119 h 31273"/>
                          <a:gd name="connsiteX50" fmla="*/ 4144 w 54005"/>
                          <a:gd name="connsiteY50" fmla="*/ 24868 h 31273"/>
                          <a:gd name="connsiteX51" fmla="*/ 4144 w 54005"/>
                          <a:gd name="connsiteY51" fmla="*/ 24868 h 31273"/>
                          <a:gd name="connsiteX52" fmla="*/ 3391 w 54005"/>
                          <a:gd name="connsiteY52" fmla="*/ 24491 h 31273"/>
                          <a:gd name="connsiteX53" fmla="*/ 3391 w 54005"/>
                          <a:gd name="connsiteY53" fmla="*/ 24491 h 31273"/>
                          <a:gd name="connsiteX54" fmla="*/ 3140 w 54005"/>
                          <a:gd name="connsiteY54" fmla="*/ 24365 h 31273"/>
                          <a:gd name="connsiteX55" fmla="*/ 2512 w 54005"/>
                          <a:gd name="connsiteY55" fmla="*/ 23989 h 31273"/>
                          <a:gd name="connsiteX56" fmla="*/ 2512 w 54005"/>
                          <a:gd name="connsiteY56" fmla="*/ 23863 h 31273"/>
                          <a:gd name="connsiteX57" fmla="*/ 1884 w 54005"/>
                          <a:gd name="connsiteY57" fmla="*/ 23612 h 31273"/>
                          <a:gd name="connsiteX58" fmla="*/ 1758 w 54005"/>
                          <a:gd name="connsiteY58" fmla="*/ 23486 h 31273"/>
                          <a:gd name="connsiteX59" fmla="*/ 0 w 54005"/>
                          <a:gd name="connsiteY59" fmla="*/ 22481 h 31273"/>
                          <a:gd name="connsiteX60" fmla="*/ 5400 w 54005"/>
                          <a:gd name="connsiteY60" fmla="*/ 19342 h 31273"/>
                          <a:gd name="connsiteX61" fmla="*/ 5400 w 54005"/>
                          <a:gd name="connsiteY61" fmla="*/ 19342 h 31273"/>
                          <a:gd name="connsiteX62" fmla="*/ 5652 w 54005"/>
                          <a:gd name="connsiteY62" fmla="*/ 19216 h 31273"/>
                          <a:gd name="connsiteX63" fmla="*/ 5652 w 54005"/>
                          <a:gd name="connsiteY63" fmla="*/ 19216 h 31273"/>
                          <a:gd name="connsiteX64" fmla="*/ 5903 w 54005"/>
                          <a:gd name="connsiteY64" fmla="*/ 18965 h 31273"/>
                          <a:gd name="connsiteX65" fmla="*/ 6029 w 54005"/>
                          <a:gd name="connsiteY65" fmla="*/ 18965 h 31273"/>
                          <a:gd name="connsiteX66" fmla="*/ 6154 w 54005"/>
                          <a:gd name="connsiteY66" fmla="*/ 18839 h 31273"/>
                          <a:gd name="connsiteX67" fmla="*/ 6154 w 54005"/>
                          <a:gd name="connsiteY67" fmla="*/ 18839 h 31273"/>
                          <a:gd name="connsiteX68" fmla="*/ 21602 w 54005"/>
                          <a:gd name="connsiteY68" fmla="*/ 9922 h 31273"/>
                          <a:gd name="connsiteX69" fmla="*/ 21979 w 54005"/>
                          <a:gd name="connsiteY69" fmla="*/ 9796 h 31273"/>
                          <a:gd name="connsiteX70" fmla="*/ 22356 w 54005"/>
                          <a:gd name="connsiteY70" fmla="*/ 9545 h 31273"/>
                          <a:gd name="connsiteX71" fmla="*/ 22607 w 54005"/>
                          <a:gd name="connsiteY71" fmla="*/ 9420 h 31273"/>
                          <a:gd name="connsiteX72" fmla="*/ 38809 w 54005"/>
                          <a:gd name="connsiteY72" fmla="*/ 0 h 31273"/>
                          <a:gd name="connsiteX73" fmla="*/ 39688 w 54005"/>
                          <a:gd name="connsiteY73" fmla="*/ 502 h 31273"/>
                          <a:gd name="connsiteX74" fmla="*/ 39939 w 54005"/>
                          <a:gd name="connsiteY74" fmla="*/ 628 h 31273"/>
                          <a:gd name="connsiteX75" fmla="*/ 41195 w 54005"/>
                          <a:gd name="connsiteY75" fmla="*/ 1382 h 31273"/>
                          <a:gd name="connsiteX76" fmla="*/ 41446 w 54005"/>
                          <a:gd name="connsiteY76" fmla="*/ 1507 h 31273"/>
                          <a:gd name="connsiteX77" fmla="*/ 42576 w 54005"/>
                          <a:gd name="connsiteY77" fmla="*/ 2261 h 31273"/>
                          <a:gd name="connsiteX78" fmla="*/ 42828 w 54005"/>
                          <a:gd name="connsiteY78" fmla="*/ 2261 h 31273"/>
                          <a:gd name="connsiteX79" fmla="*/ 43330 w 54005"/>
                          <a:gd name="connsiteY79" fmla="*/ 2637 h 31273"/>
                          <a:gd name="connsiteX80" fmla="*/ 43330 w 54005"/>
                          <a:gd name="connsiteY80" fmla="*/ 2637 h 31273"/>
                          <a:gd name="connsiteX81" fmla="*/ 44335 w 54005"/>
                          <a:gd name="connsiteY81" fmla="*/ 3265 h 31273"/>
                          <a:gd name="connsiteX82" fmla="*/ 44586 w 54005"/>
                          <a:gd name="connsiteY82" fmla="*/ 3391 h 31273"/>
                          <a:gd name="connsiteX83" fmla="*/ 45340 w 54005"/>
                          <a:gd name="connsiteY83" fmla="*/ 3768 h 31273"/>
                          <a:gd name="connsiteX84" fmla="*/ 45340 w 54005"/>
                          <a:gd name="connsiteY84" fmla="*/ 3768 h 31273"/>
                          <a:gd name="connsiteX85" fmla="*/ 46470 w 54005"/>
                          <a:gd name="connsiteY85" fmla="*/ 4521 h 31273"/>
                          <a:gd name="connsiteX86" fmla="*/ 46721 w 54005"/>
                          <a:gd name="connsiteY86" fmla="*/ 4647 h 31273"/>
                          <a:gd name="connsiteX87" fmla="*/ 47098 w 54005"/>
                          <a:gd name="connsiteY87" fmla="*/ 4898 h 31273"/>
                          <a:gd name="connsiteX88" fmla="*/ 47852 w 54005"/>
                          <a:gd name="connsiteY88" fmla="*/ 5149 h 31273"/>
                          <a:gd name="connsiteX89" fmla="*/ 47852 w 54005"/>
                          <a:gd name="connsiteY89" fmla="*/ 5275 h 31273"/>
                          <a:gd name="connsiteX90" fmla="*/ 48228 w 54005"/>
                          <a:gd name="connsiteY90" fmla="*/ 5526 h 31273"/>
                          <a:gd name="connsiteX91" fmla="*/ 48354 w 54005"/>
                          <a:gd name="connsiteY91" fmla="*/ 5526 h 31273"/>
                          <a:gd name="connsiteX92" fmla="*/ 48856 w 54005"/>
                          <a:gd name="connsiteY92" fmla="*/ 5777 h 31273"/>
                          <a:gd name="connsiteX93" fmla="*/ 48982 w 54005"/>
                          <a:gd name="connsiteY93" fmla="*/ 5903 h 31273"/>
                          <a:gd name="connsiteX94" fmla="*/ 49610 w 54005"/>
                          <a:gd name="connsiteY94" fmla="*/ 6280 h 31273"/>
                          <a:gd name="connsiteX95" fmla="*/ 49861 w 54005"/>
                          <a:gd name="connsiteY95" fmla="*/ 6405 h 31273"/>
                          <a:gd name="connsiteX96" fmla="*/ 50112 w 54005"/>
                          <a:gd name="connsiteY96" fmla="*/ 6531 h 31273"/>
                          <a:gd name="connsiteX97" fmla="*/ 50112 w 54005"/>
                          <a:gd name="connsiteY97" fmla="*/ 6531 h 31273"/>
                          <a:gd name="connsiteX98" fmla="*/ 50238 w 54005"/>
                          <a:gd name="connsiteY98" fmla="*/ 6657 h 31273"/>
                          <a:gd name="connsiteX99" fmla="*/ 50740 w 54005"/>
                          <a:gd name="connsiteY99" fmla="*/ 6908 h 31273"/>
                          <a:gd name="connsiteX100" fmla="*/ 50991 w 54005"/>
                          <a:gd name="connsiteY100" fmla="*/ 7033 h 31273"/>
                          <a:gd name="connsiteX101" fmla="*/ 51117 w 54005"/>
                          <a:gd name="connsiteY101" fmla="*/ 7159 h 31273"/>
                          <a:gd name="connsiteX102" fmla="*/ 51243 w 54005"/>
                          <a:gd name="connsiteY102" fmla="*/ 7159 h 31273"/>
                          <a:gd name="connsiteX103" fmla="*/ 51368 w 54005"/>
                          <a:gd name="connsiteY103" fmla="*/ 7285 h 31273"/>
                          <a:gd name="connsiteX104" fmla="*/ 51619 w 54005"/>
                          <a:gd name="connsiteY104" fmla="*/ 7410 h 31273"/>
                          <a:gd name="connsiteX105" fmla="*/ 51745 w 54005"/>
                          <a:gd name="connsiteY105" fmla="*/ 7536 h 31273"/>
                          <a:gd name="connsiteX106" fmla="*/ 52247 w 54005"/>
                          <a:gd name="connsiteY106" fmla="*/ 7787 h 31273"/>
                          <a:gd name="connsiteX107" fmla="*/ 52373 w 54005"/>
                          <a:gd name="connsiteY107" fmla="*/ 7912 h 31273"/>
                          <a:gd name="connsiteX108" fmla="*/ 52750 w 54005"/>
                          <a:gd name="connsiteY108" fmla="*/ 8038 h 31273"/>
                          <a:gd name="connsiteX109" fmla="*/ 52875 w 54005"/>
                          <a:gd name="connsiteY109" fmla="*/ 8164 h 31273"/>
                          <a:gd name="connsiteX110" fmla="*/ 53378 w 54005"/>
                          <a:gd name="connsiteY110" fmla="*/ 8415 h 31273"/>
                          <a:gd name="connsiteX111" fmla="*/ 53504 w 54005"/>
                          <a:gd name="connsiteY111"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273">
                            <a:moveTo>
                              <a:pt x="54006" y="8792"/>
                            </a:moveTo>
                            <a:lnTo>
                              <a:pt x="51745" y="10048"/>
                            </a:lnTo>
                            <a:lnTo>
                              <a:pt x="51494" y="10173"/>
                            </a:lnTo>
                            <a:lnTo>
                              <a:pt x="51494" y="10173"/>
                            </a:lnTo>
                            <a:lnTo>
                              <a:pt x="48103" y="12183"/>
                            </a:lnTo>
                            <a:lnTo>
                              <a:pt x="48103" y="12183"/>
                            </a:lnTo>
                            <a:lnTo>
                              <a:pt x="47224" y="12685"/>
                            </a:lnTo>
                            <a:lnTo>
                              <a:pt x="47098" y="12811"/>
                            </a:lnTo>
                            <a:lnTo>
                              <a:pt x="46345" y="13187"/>
                            </a:lnTo>
                            <a:lnTo>
                              <a:pt x="34664" y="19970"/>
                            </a:lnTo>
                            <a:lnTo>
                              <a:pt x="34036" y="20346"/>
                            </a:lnTo>
                            <a:lnTo>
                              <a:pt x="32780" y="21100"/>
                            </a:lnTo>
                            <a:lnTo>
                              <a:pt x="32152" y="21477"/>
                            </a:lnTo>
                            <a:lnTo>
                              <a:pt x="32027" y="21477"/>
                            </a:lnTo>
                            <a:lnTo>
                              <a:pt x="32027" y="21477"/>
                            </a:lnTo>
                            <a:lnTo>
                              <a:pt x="31650" y="21728"/>
                            </a:lnTo>
                            <a:lnTo>
                              <a:pt x="29892" y="22733"/>
                            </a:lnTo>
                            <a:lnTo>
                              <a:pt x="29766" y="22733"/>
                            </a:lnTo>
                            <a:lnTo>
                              <a:pt x="29515" y="22984"/>
                            </a:lnTo>
                            <a:lnTo>
                              <a:pt x="21728" y="27505"/>
                            </a:lnTo>
                            <a:lnTo>
                              <a:pt x="21226" y="27756"/>
                            </a:lnTo>
                            <a:lnTo>
                              <a:pt x="21226" y="27756"/>
                            </a:lnTo>
                            <a:lnTo>
                              <a:pt x="15197" y="31273"/>
                            </a:lnTo>
                            <a:lnTo>
                              <a:pt x="15071" y="31148"/>
                            </a:lnTo>
                            <a:lnTo>
                              <a:pt x="14946" y="31148"/>
                            </a:lnTo>
                            <a:lnTo>
                              <a:pt x="14569" y="30896"/>
                            </a:lnTo>
                            <a:lnTo>
                              <a:pt x="14443" y="30896"/>
                            </a:lnTo>
                            <a:lnTo>
                              <a:pt x="13941" y="30520"/>
                            </a:lnTo>
                            <a:lnTo>
                              <a:pt x="13690" y="30394"/>
                            </a:lnTo>
                            <a:lnTo>
                              <a:pt x="12434" y="29640"/>
                            </a:lnTo>
                            <a:lnTo>
                              <a:pt x="12434" y="29640"/>
                            </a:lnTo>
                            <a:lnTo>
                              <a:pt x="11680" y="29264"/>
                            </a:lnTo>
                            <a:lnTo>
                              <a:pt x="11303" y="29012"/>
                            </a:lnTo>
                            <a:lnTo>
                              <a:pt x="10676" y="28636"/>
                            </a:lnTo>
                            <a:lnTo>
                              <a:pt x="10550" y="28636"/>
                            </a:lnTo>
                            <a:lnTo>
                              <a:pt x="10047" y="28259"/>
                            </a:lnTo>
                            <a:lnTo>
                              <a:pt x="9922" y="28259"/>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5119"/>
                            </a:lnTo>
                            <a:lnTo>
                              <a:pt x="4144" y="24868"/>
                            </a:lnTo>
                            <a:lnTo>
                              <a:pt x="4144" y="24868"/>
                            </a:lnTo>
                            <a:lnTo>
                              <a:pt x="3391" y="24491"/>
                            </a:lnTo>
                            <a:lnTo>
                              <a:pt x="3391" y="24491"/>
                            </a:lnTo>
                            <a:lnTo>
                              <a:pt x="3140" y="24365"/>
                            </a:lnTo>
                            <a:lnTo>
                              <a:pt x="2512" y="23989"/>
                            </a:lnTo>
                            <a:lnTo>
                              <a:pt x="2512" y="23863"/>
                            </a:lnTo>
                            <a:lnTo>
                              <a:pt x="1884" y="23612"/>
                            </a:lnTo>
                            <a:lnTo>
                              <a:pt x="1758" y="23486"/>
                            </a:lnTo>
                            <a:lnTo>
                              <a:pt x="0" y="22481"/>
                            </a:lnTo>
                            <a:lnTo>
                              <a:pt x="5400" y="19342"/>
                            </a:lnTo>
                            <a:lnTo>
                              <a:pt x="5400" y="19342"/>
                            </a:lnTo>
                            <a:lnTo>
                              <a:pt x="5652" y="19216"/>
                            </a:lnTo>
                            <a:lnTo>
                              <a:pt x="5652" y="19216"/>
                            </a:lnTo>
                            <a:lnTo>
                              <a:pt x="5903" y="18965"/>
                            </a:lnTo>
                            <a:lnTo>
                              <a:pt x="6029" y="18965"/>
                            </a:lnTo>
                            <a:lnTo>
                              <a:pt x="6154" y="18839"/>
                            </a:lnTo>
                            <a:lnTo>
                              <a:pt x="6154" y="18839"/>
                            </a:lnTo>
                            <a:lnTo>
                              <a:pt x="21602" y="9922"/>
                            </a:lnTo>
                            <a:lnTo>
                              <a:pt x="21979" y="9796"/>
                            </a:lnTo>
                            <a:lnTo>
                              <a:pt x="22356" y="9545"/>
                            </a:lnTo>
                            <a:lnTo>
                              <a:pt x="22607" y="9420"/>
                            </a:lnTo>
                            <a:lnTo>
                              <a:pt x="38809" y="0"/>
                            </a:lnTo>
                            <a:lnTo>
                              <a:pt x="39688" y="502"/>
                            </a:lnTo>
                            <a:lnTo>
                              <a:pt x="39939" y="628"/>
                            </a:lnTo>
                            <a:lnTo>
                              <a:pt x="41195" y="1382"/>
                            </a:lnTo>
                            <a:lnTo>
                              <a:pt x="41446" y="1507"/>
                            </a:lnTo>
                            <a:lnTo>
                              <a:pt x="42576" y="2261"/>
                            </a:lnTo>
                            <a:lnTo>
                              <a:pt x="42828" y="2261"/>
                            </a:lnTo>
                            <a:lnTo>
                              <a:pt x="43330" y="2637"/>
                            </a:lnTo>
                            <a:lnTo>
                              <a:pt x="43330" y="2637"/>
                            </a:lnTo>
                            <a:lnTo>
                              <a:pt x="44335" y="3265"/>
                            </a:lnTo>
                            <a:lnTo>
                              <a:pt x="44586" y="3391"/>
                            </a:lnTo>
                            <a:lnTo>
                              <a:pt x="45340" y="3768"/>
                            </a:lnTo>
                            <a:lnTo>
                              <a:pt x="45340" y="3768"/>
                            </a:lnTo>
                            <a:lnTo>
                              <a:pt x="46470" y="4521"/>
                            </a:lnTo>
                            <a:lnTo>
                              <a:pt x="46721" y="4647"/>
                            </a:lnTo>
                            <a:lnTo>
                              <a:pt x="47098" y="4898"/>
                            </a:lnTo>
                            <a:lnTo>
                              <a:pt x="47852" y="5149"/>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5"/>
                            </a:lnTo>
                            <a:lnTo>
                              <a:pt x="51619" y="7410"/>
                            </a:lnTo>
                            <a:lnTo>
                              <a:pt x="51745" y="7536"/>
                            </a:lnTo>
                            <a:lnTo>
                              <a:pt x="52247" y="7787"/>
                            </a:lnTo>
                            <a:lnTo>
                              <a:pt x="52373" y="7912"/>
                            </a:lnTo>
                            <a:lnTo>
                              <a:pt x="52750" y="8038"/>
                            </a:lnTo>
                            <a:lnTo>
                              <a:pt x="52875" y="8164"/>
                            </a:lnTo>
                            <a:lnTo>
                              <a:pt x="53378" y="8415"/>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28" name="Freeform: Shape 1927">
                      <a:extLst>
                        <a:ext uri="{FF2B5EF4-FFF2-40B4-BE49-F238E27FC236}">
                          <a16:creationId xmlns:a16="http://schemas.microsoft.com/office/drawing/2014/main" id="{A4CDF02C-3551-4232-B6E4-953A8E7CA663}"/>
                        </a:ext>
                      </a:extLst>
                    </p:cNvPr>
                    <p:cNvSpPr/>
                    <p:nvPr/>
                  </p:nvSpPr>
                  <p:spPr>
                    <a:xfrm>
                      <a:off x="3852498" y="1671140"/>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29" name="Graphic 4">
                    <a:extLst>
                      <a:ext uri="{FF2B5EF4-FFF2-40B4-BE49-F238E27FC236}">
                        <a16:creationId xmlns:a16="http://schemas.microsoft.com/office/drawing/2014/main" id="{84FB7ED1-A2DF-40A1-A747-5F7CF3F14040}"/>
                      </a:ext>
                    </a:extLst>
                  </p:cNvPr>
                  <p:cNvGrpSpPr/>
                  <p:nvPr/>
                </p:nvGrpSpPr>
                <p:grpSpPr>
                  <a:xfrm>
                    <a:off x="3869705" y="1658580"/>
                    <a:ext cx="54005" cy="33282"/>
                    <a:chOff x="3869705" y="1658580"/>
                    <a:chExt cx="54005" cy="33282"/>
                  </a:xfrm>
                  <a:solidFill>
                    <a:schemeClr val="accent1"/>
                  </a:solidFill>
                </p:grpSpPr>
                <p:grpSp>
                  <p:nvGrpSpPr>
                    <p:cNvPr id="1930" name="Graphic 4">
                      <a:extLst>
                        <a:ext uri="{FF2B5EF4-FFF2-40B4-BE49-F238E27FC236}">
                          <a16:creationId xmlns:a16="http://schemas.microsoft.com/office/drawing/2014/main" id="{84FB7ED1-A2DF-40A1-A747-5F7CF3F14040}"/>
                        </a:ext>
                      </a:extLst>
                    </p:cNvPr>
                    <p:cNvGrpSpPr/>
                    <p:nvPr/>
                  </p:nvGrpSpPr>
                  <p:grpSpPr>
                    <a:xfrm>
                      <a:off x="3869705" y="1658580"/>
                      <a:ext cx="54005" cy="33282"/>
                      <a:chOff x="3869705" y="1658580"/>
                      <a:chExt cx="54005" cy="33282"/>
                    </a:xfrm>
                    <a:solidFill>
                      <a:schemeClr val="accent1"/>
                    </a:solidFill>
                  </p:grpSpPr>
                  <p:sp>
                    <p:nvSpPr>
                      <p:cNvPr id="1931" name="Freeform: Shape 1930">
                        <a:extLst>
                          <a:ext uri="{FF2B5EF4-FFF2-40B4-BE49-F238E27FC236}">
                            <a16:creationId xmlns:a16="http://schemas.microsoft.com/office/drawing/2014/main" id="{0EFB0B9A-D261-4253-9F62-EBF442D560FE}"/>
                          </a:ext>
                        </a:extLst>
                      </p:cNvPr>
                      <p:cNvSpPr/>
                      <p:nvPr/>
                    </p:nvSpPr>
                    <p:spPr>
                      <a:xfrm>
                        <a:off x="3869705" y="1660715"/>
                        <a:ext cx="54005" cy="31147"/>
                      </a:xfrm>
                      <a:custGeom>
                        <a:avLst/>
                        <a:gdLst>
                          <a:gd name="connsiteX0" fmla="*/ 54006 w 54005"/>
                          <a:gd name="connsiteY0" fmla="*/ 8666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844 h 31147"/>
                          <a:gd name="connsiteX10" fmla="*/ 34790 w 54005"/>
                          <a:gd name="connsiteY10" fmla="*/ 19844 h 31147"/>
                          <a:gd name="connsiteX11" fmla="*/ 34162 w 54005"/>
                          <a:gd name="connsiteY11" fmla="*/ 20221 h 31147"/>
                          <a:gd name="connsiteX12" fmla="*/ 32780 w 54005"/>
                          <a:gd name="connsiteY12" fmla="*/ 20974 h 31147"/>
                          <a:gd name="connsiteX13" fmla="*/ 32780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197 w 54005"/>
                          <a:gd name="connsiteY27" fmla="*/ 31148 h 31147"/>
                          <a:gd name="connsiteX28" fmla="*/ 15072 w 54005"/>
                          <a:gd name="connsiteY28" fmla="*/ 31022 h 31147"/>
                          <a:gd name="connsiteX29" fmla="*/ 14569 w 54005"/>
                          <a:gd name="connsiteY29" fmla="*/ 30771 h 31147"/>
                          <a:gd name="connsiteX30" fmla="*/ 14569 w 54005"/>
                          <a:gd name="connsiteY30" fmla="*/ 30771 h 31147"/>
                          <a:gd name="connsiteX31" fmla="*/ 14569 w 54005"/>
                          <a:gd name="connsiteY31" fmla="*/ 30771 h 31147"/>
                          <a:gd name="connsiteX32" fmla="*/ 13941 w 54005"/>
                          <a:gd name="connsiteY32" fmla="*/ 30394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8 h 31147"/>
                          <a:gd name="connsiteX46" fmla="*/ 8038 w 54005"/>
                          <a:gd name="connsiteY46" fmla="*/ 27003 h 31147"/>
                          <a:gd name="connsiteX47" fmla="*/ 7661 w 54005"/>
                          <a:gd name="connsiteY47" fmla="*/ 26752 h 31147"/>
                          <a:gd name="connsiteX48" fmla="*/ 7536 w 54005"/>
                          <a:gd name="connsiteY48" fmla="*/ 26752 h 31147"/>
                          <a:gd name="connsiteX49" fmla="*/ 6908 w 54005"/>
                          <a:gd name="connsiteY49" fmla="*/ 26375 h 31147"/>
                          <a:gd name="connsiteX50" fmla="*/ 6782 w 54005"/>
                          <a:gd name="connsiteY50" fmla="*/ 26249 h 31147"/>
                          <a:gd name="connsiteX51" fmla="*/ 5777 w 54005"/>
                          <a:gd name="connsiteY51" fmla="*/ 25621 h 31147"/>
                          <a:gd name="connsiteX52" fmla="*/ 5526 w 54005"/>
                          <a:gd name="connsiteY52" fmla="*/ 25496 h 31147"/>
                          <a:gd name="connsiteX53" fmla="*/ 4647 w 54005"/>
                          <a:gd name="connsiteY53" fmla="*/ 24993 h 31147"/>
                          <a:gd name="connsiteX54" fmla="*/ 4522 w 54005"/>
                          <a:gd name="connsiteY54" fmla="*/ 24993 h 31147"/>
                          <a:gd name="connsiteX55" fmla="*/ 4270 w 54005"/>
                          <a:gd name="connsiteY55" fmla="*/ 24868 h 31147"/>
                          <a:gd name="connsiteX56" fmla="*/ 4144 w 54005"/>
                          <a:gd name="connsiteY56" fmla="*/ 24742 h 31147"/>
                          <a:gd name="connsiteX57" fmla="*/ 3517 w 54005"/>
                          <a:gd name="connsiteY57" fmla="*/ 24365 h 31147"/>
                          <a:gd name="connsiteX58" fmla="*/ 3517 w 54005"/>
                          <a:gd name="connsiteY58" fmla="*/ 24365 h 31147"/>
                          <a:gd name="connsiteX59" fmla="*/ 3266 w 54005"/>
                          <a:gd name="connsiteY59" fmla="*/ 24240 h 31147"/>
                          <a:gd name="connsiteX60" fmla="*/ 2637 w 54005"/>
                          <a:gd name="connsiteY60" fmla="*/ 23863 h 31147"/>
                          <a:gd name="connsiteX61" fmla="*/ 2512 w 54005"/>
                          <a:gd name="connsiteY61" fmla="*/ 23863 h 31147"/>
                          <a:gd name="connsiteX62" fmla="*/ 2010 w 54005"/>
                          <a:gd name="connsiteY62" fmla="*/ 23486 h 31147"/>
                          <a:gd name="connsiteX63" fmla="*/ 1759 w 54005"/>
                          <a:gd name="connsiteY63" fmla="*/ 23361 h 31147"/>
                          <a:gd name="connsiteX64" fmla="*/ 0 w 54005"/>
                          <a:gd name="connsiteY64" fmla="*/ 22356 h 31147"/>
                          <a:gd name="connsiteX65" fmla="*/ 0 w 54005"/>
                          <a:gd name="connsiteY65" fmla="*/ 20221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256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512 h 31147"/>
                          <a:gd name="connsiteX74" fmla="*/ 43456 w 54005"/>
                          <a:gd name="connsiteY74" fmla="*/ 2512 h 31147"/>
                          <a:gd name="connsiteX75" fmla="*/ 43456 w 54005"/>
                          <a:gd name="connsiteY75" fmla="*/ 2637 h 31147"/>
                          <a:gd name="connsiteX76" fmla="*/ 44461 w 54005"/>
                          <a:gd name="connsiteY76" fmla="*/ 3140 h 31147"/>
                          <a:gd name="connsiteX77" fmla="*/ 44712 w 54005"/>
                          <a:gd name="connsiteY77" fmla="*/ 3265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521 h 31147"/>
                          <a:gd name="connsiteX82" fmla="*/ 47098 w 54005"/>
                          <a:gd name="connsiteY82" fmla="*/ 4647 h 31147"/>
                          <a:gd name="connsiteX83" fmla="*/ 47224 w 54005"/>
                          <a:gd name="connsiteY83" fmla="*/ 4773 h 31147"/>
                          <a:gd name="connsiteX84" fmla="*/ 47852 w 54005"/>
                          <a:gd name="connsiteY84" fmla="*/ 5149 h 31147"/>
                          <a:gd name="connsiteX85" fmla="*/ 47977 w 54005"/>
                          <a:gd name="connsiteY85" fmla="*/ 5149 h 31147"/>
                          <a:gd name="connsiteX86" fmla="*/ 48354 w 54005"/>
                          <a:gd name="connsiteY86" fmla="*/ 5401 h 31147"/>
                          <a:gd name="connsiteX87" fmla="*/ 48480 w 54005"/>
                          <a:gd name="connsiteY87" fmla="*/ 5526 h 31147"/>
                          <a:gd name="connsiteX88" fmla="*/ 48857 w 54005"/>
                          <a:gd name="connsiteY88" fmla="*/ 5777 h 31147"/>
                          <a:gd name="connsiteX89" fmla="*/ 49108 w 54005"/>
                          <a:gd name="connsiteY89" fmla="*/ 5777 h 31147"/>
                          <a:gd name="connsiteX90" fmla="*/ 49610 w 54005"/>
                          <a:gd name="connsiteY90" fmla="*/ 6154 h 31147"/>
                          <a:gd name="connsiteX91" fmla="*/ 49987 w 54005"/>
                          <a:gd name="connsiteY91" fmla="*/ 6280 h 31147"/>
                          <a:gd name="connsiteX92" fmla="*/ 50238 w 54005"/>
                          <a:gd name="connsiteY92" fmla="*/ 6531 h 31147"/>
                          <a:gd name="connsiteX93" fmla="*/ 50238 w 54005"/>
                          <a:gd name="connsiteY93" fmla="*/ 6531 h 31147"/>
                          <a:gd name="connsiteX94" fmla="*/ 50364 w 54005"/>
                          <a:gd name="connsiteY94" fmla="*/ 6531 h 31147"/>
                          <a:gd name="connsiteX95" fmla="*/ 50740 w 54005"/>
                          <a:gd name="connsiteY95" fmla="*/ 6782 h 31147"/>
                          <a:gd name="connsiteX96" fmla="*/ 50991 w 54005"/>
                          <a:gd name="connsiteY96" fmla="*/ 6908 h 31147"/>
                          <a:gd name="connsiteX97" fmla="*/ 51243 w 54005"/>
                          <a:gd name="connsiteY97" fmla="*/ 7033 h 31147"/>
                          <a:gd name="connsiteX98" fmla="*/ 51243 w 54005"/>
                          <a:gd name="connsiteY98" fmla="*/ 7033 h 31147"/>
                          <a:gd name="connsiteX99" fmla="*/ 51368 w 54005"/>
                          <a:gd name="connsiteY99" fmla="*/ 7159 h 31147"/>
                          <a:gd name="connsiteX100" fmla="*/ 51620 w 54005"/>
                          <a:gd name="connsiteY100" fmla="*/ 7285 h 31147"/>
                          <a:gd name="connsiteX101" fmla="*/ 51745 w 54005"/>
                          <a:gd name="connsiteY101" fmla="*/ 7410 h 31147"/>
                          <a:gd name="connsiteX102" fmla="*/ 54006 w 54005"/>
                          <a:gd name="connsiteY102" fmla="*/ 6531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666"/>
                            </a:moveTo>
                            <a:lnTo>
                              <a:pt x="51871" y="10048"/>
                            </a:lnTo>
                            <a:lnTo>
                              <a:pt x="51620" y="10173"/>
                            </a:lnTo>
                            <a:lnTo>
                              <a:pt x="51620" y="10173"/>
                            </a:lnTo>
                            <a:lnTo>
                              <a:pt x="48103" y="12183"/>
                            </a:lnTo>
                            <a:lnTo>
                              <a:pt x="48103" y="12183"/>
                            </a:lnTo>
                            <a:lnTo>
                              <a:pt x="47349" y="12559"/>
                            </a:lnTo>
                            <a:lnTo>
                              <a:pt x="47224" y="12685"/>
                            </a:lnTo>
                            <a:lnTo>
                              <a:pt x="46345" y="13187"/>
                            </a:lnTo>
                            <a:lnTo>
                              <a:pt x="34790" y="19844"/>
                            </a:lnTo>
                            <a:lnTo>
                              <a:pt x="34790" y="19844"/>
                            </a:lnTo>
                            <a:lnTo>
                              <a:pt x="34162" y="20221"/>
                            </a:lnTo>
                            <a:lnTo>
                              <a:pt x="32780" y="20974"/>
                            </a:lnTo>
                            <a:lnTo>
                              <a:pt x="32780" y="20974"/>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631"/>
                            </a:lnTo>
                            <a:lnTo>
                              <a:pt x="21226" y="27631"/>
                            </a:lnTo>
                            <a:lnTo>
                              <a:pt x="15197" y="31148"/>
                            </a:lnTo>
                            <a:lnTo>
                              <a:pt x="15197" y="31148"/>
                            </a:lnTo>
                            <a:lnTo>
                              <a:pt x="15072" y="31022"/>
                            </a:lnTo>
                            <a:lnTo>
                              <a:pt x="14569" y="30771"/>
                            </a:lnTo>
                            <a:lnTo>
                              <a:pt x="14569" y="30771"/>
                            </a:lnTo>
                            <a:lnTo>
                              <a:pt x="14569" y="30771"/>
                            </a:lnTo>
                            <a:lnTo>
                              <a:pt x="13941" y="30394"/>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003"/>
                            </a:lnTo>
                            <a:lnTo>
                              <a:pt x="7661" y="26752"/>
                            </a:lnTo>
                            <a:lnTo>
                              <a:pt x="7536" y="26752"/>
                            </a:lnTo>
                            <a:lnTo>
                              <a:pt x="6908" y="26375"/>
                            </a:lnTo>
                            <a:lnTo>
                              <a:pt x="6782" y="26249"/>
                            </a:lnTo>
                            <a:lnTo>
                              <a:pt x="5777" y="25621"/>
                            </a:lnTo>
                            <a:lnTo>
                              <a:pt x="5526" y="25496"/>
                            </a:lnTo>
                            <a:lnTo>
                              <a:pt x="4647" y="24993"/>
                            </a:lnTo>
                            <a:lnTo>
                              <a:pt x="4522" y="24993"/>
                            </a:lnTo>
                            <a:lnTo>
                              <a:pt x="4270" y="24868"/>
                            </a:lnTo>
                            <a:lnTo>
                              <a:pt x="4144" y="24742"/>
                            </a:lnTo>
                            <a:lnTo>
                              <a:pt x="3517" y="24365"/>
                            </a:lnTo>
                            <a:lnTo>
                              <a:pt x="3517" y="24365"/>
                            </a:lnTo>
                            <a:lnTo>
                              <a:pt x="3266" y="24240"/>
                            </a:lnTo>
                            <a:lnTo>
                              <a:pt x="2637" y="23863"/>
                            </a:lnTo>
                            <a:lnTo>
                              <a:pt x="2512" y="23863"/>
                            </a:lnTo>
                            <a:lnTo>
                              <a:pt x="2010" y="23486"/>
                            </a:lnTo>
                            <a:lnTo>
                              <a:pt x="1759" y="23361"/>
                            </a:lnTo>
                            <a:lnTo>
                              <a:pt x="0" y="22356"/>
                            </a:lnTo>
                            <a:lnTo>
                              <a:pt x="0" y="20221"/>
                            </a:lnTo>
                            <a:lnTo>
                              <a:pt x="38934" y="0"/>
                            </a:lnTo>
                            <a:lnTo>
                              <a:pt x="39814" y="502"/>
                            </a:lnTo>
                            <a:lnTo>
                              <a:pt x="40065" y="628"/>
                            </a:lnTo>
                            <a:lnTo>
                              <a:pt x="41195" y="1256"/>
                            </a:lnTo>
                            <a:lnTo>
                              <a:pt x="41572" y="1507"/>
                            </a:lnTo>
                            <a:lnTo>
                              <a:pt x="42702" y="2135"/>
                            </a:lnTo>
                            <a:lnTo>
                              <a:pt x="42828" y="2261"/>
                            </a:lnTo>
                            <a:lnTo>
                              <a:pt x="43330" y="2512"/>
                            </a:lnTo>
                            <a:lnTo>
                              <a:pt x="43456" y="2512"/>
                            </a:lnTo>
                            <a:lnTo>
                              <a:pt x="43456" y="2637"/>
                            </a:lnTo>
                            <a:lnTo>
                              <a:pt x="44461" y="3140"/>
                            </a:lnTo>
                            <a:lnTo>
                              <a:pt x="44712" y="3265"/>
                            </a:lnTo>
                            <a:lnTo>
                              <a:pt x="45340" y="3768"/>
                            </a:lnTo>
                            <a:lnTo>
                              <a:pt x="45465" y="3768"/>
                            </a:lnTo>
                            <a:lnTo>
                              <a:pt x="46596" y="4396"/>
                            </a:lnTo>
                            <a:lnTo>
                              <a:pt x="46847" y="4521"/>
                            </a:lnTo>
                            <a:lnTo>
                              <a:pt x="47098" y="4647"/>
                            </a:lnTo>
                            <a:lnTo>
                              <a:pt x="47224" y="4773"/>
                            </a:lnTo>
                            <a:lnTo>
                              <a:pt x="47852" y="5149"/>
                            </a:lnTo>
                            <a:lnTo>
                              <a:pt x="47977" y="5149"/>
                            </a:lnTo>
                            <a:lnTo>
                              <a:pt x="48354" y="5401"/>
                            </a:lnTo>
                            <a:lnTo>
                              <a:pt x="48480" y="5526"/>
                            </a:lnTo>
                            <a:lnTo>
                              <a:pt x="48857" y="5777"/>
                            </a:lnTo>
                            <a:lnTo>
                              <a:pt x="49108" y="5777"/>
                            </a:lnTo>
                            <a:lnTo>
                              <a:pt x="49610" y="6154"/>
                            </a:lnTo>
                            <a:lnTo>
                              <a:pt x="49987" y="6280"/>
                            </a:lnTo>
                            <a:lnTo>
                              <a:pt x="50238" y="6531"/>
                            </a:lnTo>
                            <a:lnTo>
                              <a:pt x="50238" y="6531"/>
                            </a:lnTo>
                            <a:lnTo>
                              <a:pt x="50364" y="6531"/>
                            </a:lnTo>
                            <a:lnTo>
                              <a:pt x="50740" y="6782"/>
                            </a:lnTo>
                            <a:lnTo>
                              <a:pt x="50991" y="6908"/>
                            </a:lnTo>
                            <a:lnTo>
                              <a:pt x="51243" y="7033"/>
                            </a:lnTo>
                            <a:lnTo>
                              <a:pt x="51243" y="7033"/>
                            </a:lnTo>
                            <a:lnTo>
                              <a:pt x="51368" y="7159"/>
                            </a:lnTo>
                            <a:lnTo>
                              <a:pt x="51620" y="7285"/>
                            </a:lnTo>
                            <a:lnTo>
                              <a:pt x="51745" y="7410"/>
                            </a:lnTo>
                            <a:lnTo>
                              <a:pt x="54006" y="653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32" name="Freeform: Shape 1931">
                        <a:extLst>
                          <a:ext uri="{FF2B5EF4-FFF2-40B4-BE49-F238E27FC236}">
                            <a16:creationId xmlns:a16="http://schemas.microsoft.com/office/drawing/2014/main" id="{419A8668-9146-42E7-8445-60228F009AA7}"/>
                          </a:ext>
                        </a:extLst>
                      </p:cNvPr>
                      <p:cNvSpPr/>
                      <p:nvPr/>
                    </p:nvSpPr>
                    <p:spPr>
                      <a:xfrm>
                        <a:off x="3869705" y="1658580"/>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844 h 31147"/>
                          <a:gd name="connsiteX10" fmla="*/ 34162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607 h 31147"/>
                          <a:gd name="connsiteX17" fmla="*/ 29892 w 54005"/>
                          <a:gd name="connsiteY17" fmla="*/ 22607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197 w 54005"/>
                          <a:gd name="connsiteY23" fmla="*/ 31148 h 31147"/>
                          <a:gd name="connsiteX24" fmla="*/ 15072 w 54005"/>
                          <a:gd name="connsiteY24" fmla="*/ 31022 h 31147"/>
                          <a:gd name="connsiteX25" fmla="*/ 14569 w 54005"/>
                          <a:gd name="connsiteY25" fmla="*/ 30771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510 h 31147"/>
                          <a:gd name="connsiteX35" fmla="*/ 10047 w 54005"/>
                          <a:gd name="connsiteY35" fmla="*/ 28133 h 31147"/>
                          <a:gd name="connsiteX36" fmla="*/ 9922 w 54005"/>
                          <a:gd name="connsiteY36" fmla="*/ 28133 h 31147"/>
                          <a:gd name="connsiteX37" fmla="*/ 9169 w 54005"/>
                          <a:gd name="connsiteY37" fmla="*/ 27756 h 31147"/>
                          <a:gd name="connsiteX38" fmla="*/ 9043 w 54005"/>
                          <a:gd name="connsiteY38" fmla="*/ 27505 h 31147"/>
                          <a:gd name="connsiteX39" fmla="*/ 9043 w 54005"/>
                          <a:gd name="connsiteY39" fmla="*/ 27505 h 31147"/>
                          <a:gd name="connsiteX40" fmla="*/ 8164 w 54005"/>
                          <a:gd name="connsiteY40" fmla="*/ 27128 h 31147"/>
                          <a:gd name="connsiteX41" fmla="*/ 8038 w 54005"/>
                          <a:gd name="connsiteY41" fmla="*/ 27003 h 31147"/>
                          <a:gd name="connsiteX42" fmla="*/ 7661 w 54005"/>
                          <a:gd name="connsiteY42" fmla="*/ 26752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621 h 31147"/>
                          <a:gd name="connsiteX47" fmla="*/ 5526 w 54005"/>
                          <a:gd name="connsiteY47" fmla="*/ 25496 h 31147"/>
                          <a:gd name="connsiteX48" fmla="*/ 4647 w 54005"/>
                          <a:gd name="connsiteY48" fmla="*/ 24993 h 31147"/>
                          <a:gd name="connsiteX49" fmla="*/ 4522 w 54005"/>
                          <a:gd name="connsiteY49" fmla="*/ 24993 h 31147"/>
                          <a:gd name="connsiteX50" fmla="*/ 4270 w 54005"/>
                          <a:gd name="connsiteY50" fmla="*/ 24868 h 31147"/>
                          <a:gd name="connsiteX51" fmla="*/ 4144 w 54005"/>
                          <a:gd name="connsiteY51" fmla="*/ 24742 h 31147"/>
                          <a:gd name="connsiteX52" fmla="*/ 3517 w 54005"/>
                          <a:gd name="connsiteY52" fmla="*/ 24365 h 31147"/>
                          <a:gd name="connsiteX53" fmla="*/ 3517 w 54005"/>
                          <a:gd name="connsiteY53" fmla="*/ 24365 h 31147"/>
                          <a:gd name="connsiteX54" fmla="*/ 3266 w 54005"/>
                          <a:gd name="connsiteY54" fmla="*/ 24240 h 31147"/>
                          <a:gd name="connsiteX55" fmla="*/ 2637 w 54005"/>
                          <a:gd name="connsiteY55" fmla="*/ 23863 h 31147"/>
                          <a:gd name="connsiteX56" fmla="*/ 2512 w 54005"/>
                          <a:gd name="connsiteY56" fmla="*/ 23863 h 31147"/>
                          <a:gd name="connsiteX57" fmla="*/ 2010 w 54005"/>
                          <a:gd name="connsiteY57" fmla="*/ 23486 h 31147"/>
                          <a:gd name="connsiteX58" fmla="*/ 1759 w 54005"/>
                          <a:gd name="connsiteY58" fmla="*/ 23361 h 31147"/>
                          <a:gd name="connsiteX59" fmla="*/ 0 w 54005"/>
                          <a:gd name="connsiteY59" fmla="*/ 22356 h 31147"/>
                          <a:gd name="connsiteX60" fmla="*/ 5526 w 54005"/>
                          <a:gd name="connsiteY60" fmla="*/ 19216 h 31147"/>
                          <a:gd name="connsiteX61" fmla="*/ 5526 w 54005"/>
                          <a:gd name="connsiteY61" fmla="*/ 19216 h 31147"/>
                          <a:gd name="connsiteX62" fmla="*/ 5652 w 54005"/>
                          <a:gd name="connsiteY62" fmla="*/ 19090 h 31147"/>
                          <a:gd name="connsiteX63" fmla="*/ 5777 w 54005"/>
                          <a:gd name="connsiteY63" fmla="*/ 19090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671 h 31147"/>
                          <a:gd name="connsiteX70" fmla="*/ 22482 w 54005"/>
                          <a:gd name="connsiteY70" fmla="*/ 9420 h 31147"/>
                          <a:gd name="connsiteX71" fmla="*/ 22733 w 54005"/>
                          <a:gd name="connsiteY71" fmla="*/ 9294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256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512 h 31147"/>
                          <a:gd name="connsiteX80" fmla="*/ 43456 w 54005"/>
                          <a:gd name="connsiteY80" fmla="*/ 2637 h 31147"/>
                          <a:gd name="connsiteX81" fmla="*/ 44461 w 54005"/>
                          <a:gd name="connsiteY81" fmla="*/ 3140 h 31147"/>
                          <a:gd name="connsiteX82" fmla="*/ 44712 w 54005"/>
                          <a:gd name="connsiteY82" fmla="*/ 3265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149 h 31147"/>
                          <a:gd name="connsiteX90" fmla="*/ 48354 w 54005"/>
                          <a:gd name="connsiteY90" fmla="*/ 5401 h 31147"/>
                          <a:gd name="connsiteX91" fmla="*/ 48480 w 54005"/>
                          <a:gd name="connsiteY91" fmla="*/ 5526 h 31147"/>
                          <a:gd name="connsiteX92" fmla="*/ 48857 w 54005"/>
                          <a:gd name="connsiteY92" fmla="*/ 5652 h 31147"/>
                          <a:gd name="connsiteX93" fmla="*/ 49108 w 54005"/>
                          <a:gd name="connsiteY93" fmla="*/ 5777 h 31147"/>
                          <a:gd name="connsiteX94" fmla="*/ 49735 w 54005"/>
                          <a:gd name="connsiteY94" fmla="*/ 6154 h 31147"/>
                          <a:gd name="connsiteX95" fmla="*/ 49987 w 54005"/>
                          <a:gd name="connsiteY95" fmla="*/ 6280 h 31147"/>
                          <a:gd name="connsiteX96" fmla="*/ 50238 w 54005"/>
                          <a:gd name="connsiteY96" fmla="*/ 6531 h 31147"/>
                          <a:gd name="connsiteX97" fmla="*/ 50238 w 54005"/>
                          <a:gd name="connsiteY97" fmla="*/ 6531 h 31147"/>
                          <a:gd name="connsiteX98" fmla="*/ 50364 w 54005"/>
                          <a:gd name="connsiteY98" fmla="*/ 6531 h 31147"/>
                          <a:gd name="connsiteX99" fmla="*/ 50740 w 54005"/>
                          <a:gd name="connsiteY99" fmla="*/ 6782 h 31147"/>
                          <a:gd name="connsiteX100" fmla="*/ 50991 w 54005"/>
                          <a:gd name="connsiteY100" fmla="*/ 6908 h 31147"/>
                          <a:gd name="connsiteX101" fmla="*/ 51243 w 54005"/>
                          <a:gd name="connsiteY101" fmla="*/ 7159 h 31147"/>
                          <a:gd name="connsiteX102" fmla="*/ 51243 w 54005"/>
                          <a:gd name="connsiteY102" fmla="*/ 7159 h 31147"/>
                          <a:gd name="connsiteX103" fmla="*/ 51368 w 54005"/>
                          <a:gd name="connsiteY103" fmla="*/ 7159 h 31147"/>
                          <a:gd name="connsiteX104" fmla="*/ 51620 w 54005"/>
                          <a:gd name="connsiteY104" fmla="*/ 7284 h 31147"/>
                          <a:gd name="connsiteX105" fmla="*/ 51745 w 54005"/>
                          <a:gd name="connsiteY105" fmla="*/ 7410 h 31147"/>
                          <a:gd name="connsiteX106" fmla="*/ 52247 w 54005"/>
                          <a:gd name="connsiteY106" fmla="*/ 7661 h 31147"/>
                          <a:gd name="connsiteX107" fmla="*/ 52499 w 54005"/>
                          <a:gd name="connsiteY107" fmla="*/ 7787 h 31147"/>
                          <a:gd name="connsiteX108" fmla="*/ 52875 w 54005"/>
                          <a:gd name="connsiteY108" fmla="*/ 8038 h 31147"/>
                          <a:gd name="connsiteX109" fmla="*/ 53001 w 54005"/>
                          <a:gd name="connsiteY109" fmla="*/ 8038 h 31147"/>
                          <a:gd name="connsiteX110" fmla="*/ 53504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559"/>
                            </a:lnTo>
                            <a:lnTo>
                              <a:pt x="47224" y="12685"/>
                            </a:lnTo>
                            <a:lnTo>
                              <a:pt x="46345" y="13187"/>
                            </a:lnTo>
                            <a:lnTo>
                              <a:pt x="34790" y="19844"/>
                            </a:lnTo>
                            <a:lnTo>
                              <a:pt x="34162" y="20221"/>
                            </a:lnTo>
                            <a:lnTo>
                              <a:pt x="32780" y="20974"/>
                            </a:lnTo>
                            <a:lnTo>
                              <a:pt x="32152" y="21351"/>
                            </a:lnTo>
                            <a:lnTo>
                              <a:pt x="32027" y="21477"/>
                            </a:lnTo>
                            <a:lnTo>
                              <a:pt x="32027" y="21477"/>
                            </a:lnTo>
                            <a:lnTo>
                              <a:pt x="31775" y="21602"/>
                            </a:lnTo>
                            <a:lnTo>
                              <a:pt x="29892" y="22607"/>
                            </a:lnTo>
                            <a:lnTo>
                              <a:pt x="29892" y="22607"/>
                            </a:lnTo>
                            <a:lnTo>
                              <a:pt x="29515" y="22858"/>
                            </a:lnTo>
                            <a:lnTo>
                              <a:pt x="21728" y="27380"/>
                            </a:lnTo>
                            <a:lnTo>
                              <a:pt x="21226" y="27631"/>
                            </a:lnTo>
                            <a:lnTo>
                              <a:pt x="21226" y="27631"/>
                            </a:lnTo>
                            <a:lnTo>
                              <a:pt x="15197" y="31148"/>
                            </a:lnTo>
                            <a:lnTo>
                              <a:pt x="15197" y="31148"/>
                            </a:lnTo>
                            <a:lnTo>
                              <a:pt x="15072" y="31022"/>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133"/>
                            </a:lnTo>
                            <a:lnTo>
                              <a:pt x="9922" y="28133"/>
                            </a:lnTo>
                            <a:lnTo>
                              <a:pt x="9169" y="27756"/>
                            </a:lnTo>
                            <a:lnTo>
                              <a:pt x="9043" y="27505"/>
                            </a:lnTo>
                            <a:lnTo>
                              <a:pt x="9043" y="27505"/>
                            </a:lnTo>
                            <a:lnTo>
                              <a:pt x="8164" y="27128"/>
                            </a:lnTo>
                            <a:lnTo>
                              <a:pt x="8038" y="27003"/>
                            </a:lnTo>
                            <a:lnTo>
                              <a:pt x="7661" y="26752"/>
                            </a:lnTo>
                            <a:lnTo>
                              <a:pt x="7536" y="26752"/>
                            </a:lnTo>
                            <a:lnTo>
                              <a:pt x="6908" y="26375"/>
                            </a:lnTo>
                            <a:lnTo>
                              <a:pt x="6782" y="26375"/>
                            </a:lnTo>
                            <a:lnTo>
                              <a:pt x="5777" y="25621"/>
                            </a:lnTo>
                            <a:lnTo>
                              <a:pt x="5526" y="25496"/>
                            </a:lnTo>
                            <a:lnTo>
                              <a:pt x="4647" y="24993"/>
                            </a:lnTo>
                            <a:lnTo>
                              <a:pt x="4522" y="24993"/>
                            </a:lnTo>
                            <a:lnTo>
                              <a:pt x="4270" y="24868"/>
                            </a:lnTo>
                            <a:lnTo>
                              <a:pt x="4144" y="24742"/>
                            </a:lnTo>
                            <a:lnTo>
                              <a:pt x="3517" y="24365"/>
                            </a:lnTo>
                            <a:lnTo>
                              <a:pt x="3517" y="24365"/>
                            </a:lnTo>
                            <a:lnTo>
                              <a:pt x="3266" y="24240"/>
                            </a:lnTo>
                            <a:lnTo>
                              <a:pt x="2637" y="23863"/>
                            </a:lnTo>
                            <a:lnTo>
                              <a:pt x="2512" y="23863"/>
                            </a:lnTo>
                            <a:lnTo>
                              <a:pt x="2010" y="23486"/>
                            </a:lnTo>
                            <a:lnTo>
                              <a:pt x="1759" y="23361"/>
                            </a:lnTo>
                            <a:lnTo>
                              <a:pt x="0" y="22356"/>
                            </a:lnTo>
                            <a:lnTo>
                              <a:pt x="5526" y="19216"/>
                            </a:lnTo>
                            <a:lnTo>
                              <a:pt x="5526" y="19216"/>
                            </a:lnTo>
                            <a:lnTo>
                              <a:pt x="5652" y="19090"/>
                            </a:lnTo>
                            <a:lnTo>
                              <a:pt x="5777" y="19090"/>
                            </a:lnTo>
                            <a:lnTo>
                              <a:pt x="6029" y="18965"/>
                            </a:lnTo>
                            <a:lnTo>
                              <a:pt x="6029" y="18965"/>
                            </a:lnTo>
                            <a:lnTo>
                              <a:pt x="6280" y="18839"/>
                            </a:lnTo>
                            <a:lnTo>
                              <a:pt x="6280" y="18839"/>
                            </a:lnTo>
                            <a:lnTo>
                              <a:pt x="21728" y="9922"/>
                            </a:lnTo>
                            <a:lnTo>
                              <a:pt x="21979" y="9671"/>
                            </a:lnTo>
                            <a:lnTo>
                              <a:pt x="22482" y="9420"/>
                            </a:lnTo>
                            <a:lnTo>
                              <a:pt x="22733" y="9294"/>
                            </a:lnTo>
                            <a:lnTo>
                              <a:pt x="38934" y="0"/>
                            </a:lnTo>
                            <a:lnTo>
                              <a:pt x="39814" y="502"/>
                            </a:lnTo>
                            <a:lnTo>
                              <a:pt x="40065" y="628"/>
                            </a:lnTo>
                            <a:lnTo>
                              <a:pt x="41195" y="1256"/>
                            </a:lnTo>
                            <a:lnTo>
                              <a:pt x="41572" y="1507"/>
                            </a:lnTo>
                            <a:lnTo>
                              <a:pt x="42702" y="2135"/>
                            </a:lnTo>
                            <a:lnTo>
                              <a:pt x="42828" y="2261"/>
                            </a:lnTo>
                            <a:lnTo>
                              <a:pt x="43330" y="2512"/>
                            </a:lnTo>
                            <a:lnTo>
                              <a:pt x="43456" y="2637"/>
                            </a:lnTo>
                            <a:lnTo>
                              <a:pt x="44461" y="3140"/>
                            </a:lnTo>
                            <a:lnTo>
                              <a:pt x="44712" y="3265"/>
                            </a:lnTo>
                            <a:lnTo>
                              <a:pt x="45340" y="3768"/>
                            </a:lnTo>
                            <a:lnTo>
                              <a:pt x="45465" y="3768"/>
                            </a:lnTo>
                            <a:lnTo>
                              <a:pt x="46596" y="4396"/>
                            </a:lnTo>
                            <a:lnTo>
                              <a:pt x="46847" y="4521"/>
                            </a:lnTo>
                            <a:lnTo>
                              <a:pt x="47224" y="4773"/>
                            </a:lnTo>
                            <a:lnTo>
                              <a:pt x="47852" y="5149"/>
                            </a:lnTo>
                            <a:lnTo>
                              <a:pt x="47977" y="5149"/>
                            </a:lnTo>
                            <a:lnTo>
                              <a:pt x="48354" y="5401"/>
                            </a:lnTo>
                            <a:lnTo>
                              <a:pt x="48480" y="5526"/>
                            </a:lnTo>
                            <a:lnTo>
                              <a:pt x="48857" y="5652"/>
                            </a:lnTo>
                            <a:lnTo>
                              <a:pt x="49108" y="5777"/>
                            </a:lnTo>
                            <a:lnTo>
                              <a:pt x="49735" y="6154"/>
                            </a:lnTo>
                            <a:lnTo>
                              <a:pt x="49987" y="6280"/>
                            </a:lnTo>
                            <a:lnTo>
                              <a:pt x="50238" y="6531"/>
                            </a:lnTo>
                            <a:lnTo>
                              <a:pt x="50238" y="6531"/>
                            </a:lnTo>
                            <a:lnTo>
                              <a:pt x="50364" y="6531"/>
                            </a:lnTo>
                            <a:lnTo>
                              <a:pt x="50740" y="6782"/>
                            </a:lnTo>
                            <a:lnTo>
                              <a:pt x="50991" y="6908"/>
                            </a:lnTo>
                            <a:lnTo>
                              <a:pt x="51243" y="7159"/>
                            </a:lnTo>
                            <a:lnTo>
                              <a:pt x="51243" y="7159"/>
                            </a:lnTo>
                            <a:lnTo>
                              <a:pt x="51368" y="7159"/>
                            </a:lnTo>
                            <a:lnTo>
                              <a:pt x="51620" y="7284"/>
                            </a:lnTo>
                            <a:lnTo>
                              <a:pt x="51745" y="7410"/>
                            </a:lnTo>
                            <a:lnTo>
                              <a:pt x="52247" y="7661"/>
                            </a:lnTo>
                            <a:lnTo>
                              <a:pt x="52499" y="7787"/>
                            </a:lnTo>
                            <a:lnTo>
                              <a:pt x="52875" y="8038"/>
                            </a:lnTo>
                            <a:lnTo>
                              <a:pt x="53001" y="8038"/>
                            </a:lnTo>
                            <a:lnTo>
                              <a:pt x="53504"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33" name="Freeform: Shape 1932">
                      <a:extLst>
                        <a:ext uri="{FF2B5EF4-FFF2-40B4-BE49-F238E27FC236}">
                          <a16:creationId xmlns:a16="http://schemas.microsoft.com/office/drawing/2014/main" id="{5A4FA2F2-DCF9-4650-AADD-CB88DEC46017}"/>
                        </a:ext>
                      </a:extLst>
                    </p:cNvPr>
                    <p:cNvSpPr/>
                    <p:nvPr/>
                  </p:nvSpPr>
                  <p:spPr>
                    <a:xfrm>
                      <a:off x="3869705" y="1680936"/>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34" name="Graphic 4">
                    <a:extLst>
                      <a:ext uri="{FF2B5EF4-FFF2-40B4-BE49-F238E27FC236}">
                        <a16:creationId xmlns:a16="http://schemas.microsoft.com/office/drawing/2014/main" id="{84FB7ED1-A2DF-40A1-A747-5F7CF3F14040}"/>
                      </a:ext>
                    </a:extLst>
                  </p:cNvPr>
                  <p:cNvGrpSpPr/>
                  <p:nvPr/>
                </p:nvGrpSpPr>
                <p:grpSpPr>
                  <a:xfrm>
                    <a:off x="3852498" y="1645267"/>
                    <a:ext cx="54005" cy="33408"/>
                    <a:chOff x="3852498" y="1645267"/>
                    <a:chExt cx="54005" cy="33408"/>
                  </a:xfrm>
                  <a:solidFill>
                    <a:schemeClr val="accent1"/>
                  </a:solidFill>
                </p:grpSpPr>
                <p:grpSp>
                  <p:nvGrpSpPr>
                    <p:cNvPr id="1935" name="Graphic 4">
                      <a:extLst>
                        <a:ext uri="{FF2B5EF4-FFF2-40B4-BE49-F238E27FC236}">
                          <a16:creationId xmlns:a16="http://schemas.microsoft.com/office/drawing/2014/main" id="{84FB7ED1-A2DF-40A1-A747-5F7CF3F14040}"/>
                        </a:ext>
                      </a:extLst>
                    </p:cNvPr>
                    <p:cNvGrpSpPr/>
                    <p:nvPr/>
                  </p:nvGrpSpPr>
                  <p:grpSpPr>
                    <a:xfrm>
                      <a:off x="3852498" y="1645267"/>
                      <a:ext cx="54005" cy="33408"/>
                      <a:chOff x="3852498" y="1645267"/>
                      <a:chExt cx="54005" cy="33408"/>
                    </a:xfrm>
                    <a:solidFill>
                      <a:schemeClr val="accent1"/>
                    </a:solidFill>
                  </p:grpSpPr>
                  <p:sp>
                    <p:nvSpPr>
                      <p:cNvPr id="1936" name="Freeform: Shape 1935">
                        <a:extLst>
                          <a:ext uri="{FF2B5EF4-FFF2-40B4-BE49-F238E27FC236}">
                            <a16:creationId xmlns:a16="http://schemas.microsoft.com/office/drawing/2014/main" id="{B9B4B558-B2DC-4D01-824A-B7C4F65D17E2}"/>
                          </a:ext>
                        </a:extLst>
                      </p:cNvPr>
                      <p:cNvSpPr/>
                      <p:nvPr/>
                    </p:nvSpPr>
                    <p:spPr>
                      <a:xfrm>
                        <a:off x="3852498" y="1647402"/>
                        <a:ext cx="54005" cy="31273"/>
                      </a:xfrm>
                      <a:custGeom>
                        <a:avLst/>
                        <a:gdLst>
                          <a:gd name="connsiteX0" fmla="*/ 54006 w 54005"/>
                          <a:gd name="connsiteY0" fmla="*/ 8792 h 31273"/>
                          <a:gd name="connsiteX1" fmla="*/ 51745 w 54005"/>
                          <a:gd name="connsiteY1" fmla="*/ 10048 h 31273"/>
                          <a:gd name="connsiteX2" fmla="*/ 51494 w 54005"/>
                          <a:gd name="connsiteY2" fmla="*/ 10173 h 31273"/>
                          <a:gd name="connsiteX3" fmla="*/ 51494 w 54005"/>
                          <a:gd name="connsiteY3" fmla="*/ 10173 h 31273"/>
                          <a:gd name="connsiteX4" fmla="*/ 48103 w 54005"/>
                          <a:gd name="connsiteY4" fmla="*/ 12183 h 31273"/>
                          <a:gd name="connsiteX5" fmla="*/ 48103 w 54005"/>
                          <a:gd name="connsiteY5" fmla="*/ 12183 h 31273"/>
                          <a:gd name="connsiteX6" fmla="*/ 47224 w 54005"/>
                          <a:gd name="connsiteY6" fmla="*/ 12685 h 31273"/>
                          <a:gd name="connsiteX7" fmla="*/ 47098 w 54005"/>
                          <a:gd name="connsiteY7" fmla="*/ 12811 h 31273"/>
                          <a:gd name="connsiteX8" fmla="*/ 46345 w 54005"/>
                          <a:gd name="connsiteY8" fmla="*/ 13313 h 31273"/>
                          <a:gd name="connsiteX9" fmla="*/ 34664 w 54005"/>
                          <a:gd name="connsiteY9" fmla="*/ 19970 h 31273"/>
                          <a:gd name="connsiteX10" fmla="*/ 34664 w 54005"/>
                          <a:gd name="connsiteY10" fmla="*/ 19970 h 31273"/>
                          <a:gd name="connsiteX11" fmla="*/ 34036 w 54005"/>
                          <a:gd name="connsiteY11" fmla="*/ 20346 h 31273"/>
                          <a:gd name="connsiteX12" fmla="*/ 32780 w 54005"/>
                          <a:gd name="connsiteY12" fmla="*/ 21100 h 31273"/>
                          <a:gd name="connsiteX13" fmla="*/ 32655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650 w 54005"/>
                          <a:gd name="connsiteY17" fmla="*/ 21728 h 31273"/>
                          <a:gd name="connsiteX18" fmla="*/ 31650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505 h 31273"/>
                          <a:gd name="connsiteX23" fmla="*/ 21728 w 54005"/>
                          <a:gd name="connsiteY23" fmla="*/ 27505 h 31273"/>
                          <a:gd name="connsiteX24" fmla="*/ 21226 w 54005"/>
                          <a:gd name="connsiteY24" fmla="*/ 27756 h 31273"/>
                          <a:gd name="connsiteX25" fmla="*/ 21226 w 54005"/>
                          <a:gd name="connsiteY25" fmla="*/ 27756 h 31273"/>
                          <a:gd name="connsiteX26" fmla="*/ 15197 w 54005"/>
                          <a:gd name="connsiteY26" fmla="*/ 31273 h 31273"/>
                          <a:gd name="connsiteX27" fmla="*/ 15071 w 54005"/>
                          <a:gd name="connsiteY27" fmla="*/ 31148 h 31273"/>
                          <a:gd name="connsiteX28" fmla="*/ 14946 w 54005"/>
                          <a:gd name="connsiteY28" fmla="*/ 31148 h 31273"/>
                          <a:gd name="connsiteX29" fmla="*/ 14569 w 54005"/>
                          <a:gd name="connsiteY29" fmla="*/ 30896 h 31273"/>
                          <a:gd name="connsiteX30" fmla="*/ 14443 w 54005"/>
                          <a:gd name="connsiteY30" fmla="*/ 30896 h 31273"/>
                          <a:gd name="connsiteX31" fmla="*/ 14443 w 54005"/>
                          <a:gd name="connsiteY31" fmla="*/ 30896 h 31273"/>
                          <a:gd name="connsiteX32" fmla="*/ 13941 w 54005"/>
                          <a:gd name="connsiteY32" fmla="*/ 30520 h 31273"/>
                          <a:gd name="connsiteX33" fmla="*/ 13690 w 54005"/>
                          <a:gd name="connsiteY33" fmla="*/ 30394 h 31273"/>
                          <a:gd name="connsiteX34" fmla="*/ 12434 w 54005"/>
                          <a:gd name="connsiteY34" fmla="*/ 29766 h 31273"/>
                          <a:gd name="connsiteX35" fmla="*/ 12434 w 54005"/>
                          <a:gd name="connsiteY35" fmla="*/ 29640 h 31273"/>
                          <a:gd name="connsiteX36" fmla="*/ 11680 w 54005"/>
                          <a:gd name="connsiteY36" fmla="*/ 29264 h 31273"/>
                          <a:gd name="connsiteX37" fmla="*/ 11303 w 54005"/>
                          <a:gd name="connsiteY37" fmla="*/ 29012 h 31273"/>
                          <a:gd name="connsiteX38" fmla="*/ 10676 w 54005"/>
                          <a:gd name="connsiteY38" fmla="*/ 28636 h 31273"/>
                          <a:gd name="connsiteX39" fmla="*/ 10550 w 54005"/>
                          <a:gd name="connsiteY39" fmla="*/ 28636 h 31273"/>
                          <a:gd name="connsiteX40" fmla="*/ 10047 w 54005"/>
                          <a:gd name="connsiteY40" fmla="*/ 28259 h 31273"/>
                          <a:gd name="connsiteX41" fmla="*/ 9922 w 54005"/>
                          <a:gd name="connsiteY41" fmla="*/ 28259 h 31273"/>
                          <a:gd name="connsiteX42" fmla="*/ 9169 w 54005"/>
                          <a:gd name="connsiteY42" fmla="*/ 27756 h 31273"/>
                          <a:gd name="connsiteX43" fmla="*/ 8917 w 54005"/>
                          <a:gd name="connsiteY43" fmla="*/ 27631 h 31273"/>
                          <a:gd name="connsiteX44" fmla="*/ 8917 w 54005"/>
                          <a:gd name="connsiteY44" fmla="*/ 27631 h 31273"/>
                          <a:gd name="connsiteX45" fmla="*/ 8038 w 54005"/>
                          <a:gd name="connsiteY45" fmla="*/ 27128 h 31273"/>
                          <a:gd name="connsiteX46" fmla="*/ 8038 w 54005"/>
                          <a:gd name="connsiteY46" fmla="*/ 27128 h 31273"/>
                          <a:gd name="connsiteX47" fmla="*/ 7536 w 54005"/>
                          <a:gd name="connsiteY47" fmla="*/ 26877 h 31273"/>
                          <a:gd name="connsiteX48" fmla="*/ 7410 w 54005"/>
                          <a:gd name="connsiteY48" fmla="*/ 26752 h 31273"/>
                          <a:gd name="connsiteX49" fmla="*/ 6782 w 54005"/>
                          <a:gd name="connsiteY49" fmla="*/ 26500 h 31273"/>
                          <a:gd name="connsiteX50" fmla="*/ 6782 w 54005"/>
                          <a:gd name="connsiteY50" fmla="*/ 26375 h 31273"/>
                          <a:gd name="connsiteX51" fmla="*/ 5652 w 54005"/>
                          <a:gd name="connsiteY51" fmla="*/ 25747 h 31273"/>
                          <a:gd name="connsiteX52" fmla="*/ 5400 w 54005"/>
                          <a:gd name="connsiteY52" fmla="*/ 25621 h 31273"/>
                          <a:gd name="connsiteX53" fmla="*/ 4521 w 54005"/>
                          <a:gd name="connsiteY53" fmla="*/ 25119 h 31273"/>
                          <a:gd name="connsiteX54" fmla="*/ 4521 w 54005"/>
                          <a:gd name="connsiteY54" fmla="*/ 25119 h 31273"/>
                          <a:gd name="connsiteX55" fmla="*/ 4144 w 54005"/>
                          <a:gd name="connsiteY55" fmla="*/ 24868 h 31273"/>
                          <a:gd name="connsiteX56" fmla="*/ 4144 w 54005"/>
                          <a:gd name="connsiteY56" fmla="*/ 24868 h 31273"/>
                          <a:gd name="connsiteX57" fmla="*/ 3391 w 54005"/>
                          <a:gd name="connsiteY57" fmla="*/ 24491 h 31273"/>
                          <a:gd name="connsiteX58" fmla="*/ 3391 w 54005"/>
                          <a:gd name="connsiteY58" fmla="*/ 24491 h 31273"/>
                          <a:gd name="connsiteX59" fmla="*/ 3266 w 54005"/>
                          <a:gd name="connsiteY59" fmla="*/ 24365 h 31273"/>
                          <a:gd name="connsiteX60" fmla="*/ 2512 w 54005"/>
                          <a:gd name="connsiteY60" fmla="*/ 23989 h 31273"/>
                          <a:gd name="connsiteX61" fmla="*/ 2512 w 54005"/>
                          <a:gd name="connsiteY61" fmla="*/ 23989 h 31273"/>
                          <a:gd name="connsiteX62" fmla="*/ 1884 w 54005"/>
                          <a:gd name="connsiteY62" fmla="*/ 23612 h 31273"/>
                          <a:gd name="connsiteX63" fmla="*/ 1758 w 54005"/>
                          <a:gd name="connsiteY63" fmla="*/ 23486 h 31273"/>
                          <a:gd name="connsiteX64" fmla="*/ 0 w 54005"/>
                          <a:gd name="connsiteY64" fmla="*/ 22481 h 31273"/>
                          <a:gd name="connsiteX65" fmla="*/ 0 w 54005"/>
                          <a:gd name="connsiteY65" fmla="*/ 20346 h 31273"/>
                          <a:gd name="connsiteX66" fmla="*/ 38809 w 54005"/>
                          <a:gd name="connsiteY66" fmla="*/ 0 h 31273"/>
                          <a:gd name="connsiteX67" fmla="*/ 39688 w 54005"/>
                          <a:gd name="connsiteY67" fmla="*/ 502 h 31273"/>
                          <a:gd name="connsiteX68" fmla="*/ 39939 w 54005"/>
                          <a:gd name="connsiteY68" fmla="*/ 754 h 31273"/>
                          <a:gd name="connsiteX69" fmla="*/ 41195 w 54005"/>
                          <a:gd name="connsiteY69" fmla="*/ 1382 h 31273"/>
                          <a:gd name="connsiteX70" fmla="*/ 41446 w 54005"/>
                          <a:gd name="connsiteY70" fmla="*/ 1633 h 31273"/>
                          <a:gd name="connsiteX71" fmla="*/ 42576 w 54005"/>
                          <a:gd name="connsiteY71" fmla="*/ 2261 h 31273"/>
                          <a:gd name="connsiteX72" fmla="*/ 42828 w 54005"/>
                          <a:gd name="connsiteY72" fmla="*/ 2386 h 31273"/>
                          <a:gd name="connsiteX73" fmla="*/ 43330 w 54005"/>
                          <a:gd name="connsiteY73" fmla="*/ 2637 h 31273"/>
                          <a:gd name="connsiteX74" fmla="*/ 43330 w 54005"/>
                          <a:gd name="connsiteY74" fmla="*/ 2637 h 31273"/>
                          <a:gd name="connsiteX75" fmla="*/ 43330 w 54005"/>
                          <a:gd name="connsiteY75" fmla="*/ 2637 h 31273"/>
                          <a:gd name="connsiteX76" fmla="*/ 44335 w 54005"/>
                          <a:gd name="connsiteY76" fmla="*/ 3265 h 31273"/>
                          <a:gd name="connsiteX77" fmla="*/ 44586 w 54005"/>
                          <a:gd name="connsiteY77" fmla="*/ 3391 h 31273"/>
                          <a:gd name="connsiteX78" fmla="*/ 45340 w 54005"/>
                          <a:gd name="connsiteY78" fmla="*/ 3768 h 31273"/>
                          <a:gd name="connsiteX79" fmla="*/ 45340 w 54005"/>
                          <a:gd name="connsiteY79" fmla="*/ 3893 h 31273"/>
                          <a:gd name="connsiteX80" fmla="*/ 46470 w 54005"/>
                          <a:gd name="connsiteY80" fmla="*/ 4521 h 31273"/>
                          <a:gd name="connsiteX81" fmla="*/ 46721 w 54005"/>
                          <a:gd name="connsiteY81" fmla="*/ 4647 h 31273"/>
                          <a:gd name="connsiteX82" fmla="*/ 46972 w 54005"/>
                          <a:gd name="connsiteY82" fmla="*/ 4773 h 31273"/>
                          <a:gd name="connsiteX83" fmla="*/ 47098 w 54005"/>
                          <a:gd name="connsiteY83" fmla="*/ 4898 h 31273"/>
                          <a:gd name="connsiteX84" fmla="*/ 47852 w 54005"/>
                          <a:gd name="connsiteY84" fmla="*/ 5275 h 31273"/>
                          <a:gd name="connsiteX85" fmla="*/ 47852 w 54005"/>
                          <a:gd name="connsiteY85" fmla="*/ 5275 h 31273"/>
                          <a:gd name="connsiteX86" fmla="*/ 48228 w 54005"/>
                          <a:gd name="connsiteY86" fmla="*/ 5526 h 31273"/>
                          <a:gd name="connsiteX87" fmla="*/ 48354 w 54005"/>
                          <a:gd name="connsiteY87" fmla="*/ 5526 h 31273"/>
                          <a:gd name="connsiteX88" fmla="*/ 48856 w 54005"/>
                          <a:gd name="connsiteY88" fmla="*/ 5777 h 31273"/>
                          <a:gd name="connsiteX89" fmla="*/ 48982 w 54005"/>
                          <a:gd name="connsiteY89" fmla="*/ 5903 h 31273"/>
                          <a:gd name="connsiteX90" fmla="*/ 49610 w 54005"/>
                          <a:gd name="connsiteY90" fmla="*/ 6280 h 31273"/>
                          <a:gd name="connsiteX91" fmla="*/ 49861 w 54005"/>
                          <a:gd name="connsiteY91" fmla="*/ 6405 h 31273"/>
                          <a:gd name="connsiteX92" fmla="*/ 50112 w 54005"/>
                          <a:gd name="connsiteY92" fmla="*/ 6531 h 31273"/>
                          <a:gd name="connsiteX93" fmla="*/ 50112 w 54005"/>
                          <a:gd name="connsiteY93" fmla="*/ 6531 h 31273"/>
                          <a:gd name="connsiteX94" fmla="*/ 50238 w 54005"/>
                          <a:gd name="connsiteY94" fmla="*/ 6657 h 31273"/>
                          <a:gd name="connsiteX95" fmla="*/ 50740 w 54005"/>
                          <a:gd name="connsiteY95" fmla="*/ 6908 h 31273"/>
                          <a:gd name="connsiteX96" fmla="*/ 50991 w 54005"/>
                          <a:gd name="connsiteY96" fmla="*/ 7033 h 31273"/>
                          <a:gd name="connsiteX97" fmla="*/ 51117 w 54005"/>
                          <a:gd name="connsiteY97" fmla="*/ 7159 h 31273"/>
                          <a:gd name="connsiteX98" fmla="*/ 51243 w 54005"/>
                          <a:gd name="connsiteY98" fmla="*/ 7159 h 31273"/>
                          <a:gd name="connsiteX99" fmla="*/ 51368 w 54005"/>
                          <a:gd name="connsiteY99" fmla="*/ 7284 h 31273"/>
                          <a:gd name="connsiteX100" fmla="*/ 51619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745" y="10048"/>
                            </a:lnTo>
                            <a:lnTo>
                              <a:pt x="51494" y="10173"/>
                            </a:lnTo>
                            <a:lnTo>
                              <a:pt x="51494" y="10173"/>
                            </a:lnTo>
                            <a:lnTo>
                              <a:pt x="48103" y="12183"/>
                            </a:lnTo>
                            <a:lnTo>
                              <a:pt x="48103" y="12183"/>
                            </a:lnTo>
                            <a:lnTo>
                              <a:pt x="47224" y="12685"/>
                            </a:lnTo>
                            <a:lnTo>
                              <a:pt x="47098" y="12811"/>
                            </a:lnTo>
                            <a:lnTo>
                              <a:pt x="46345" y="13313"/>
                            </a:lnTo>
                            <a:lnTo>
                              <a:pt x="34664" y="19970"/>
                            </a:lnTo>
                            <a:lnTo>
                              <a:pt x="34664" y="19970"/>
                            </a:lnTo>
                            <a:lnTo>
                              <a:pt x="34036" y="20346"/>
                            </a:lnTo>
                            <a:lnTo>
                              <a:pt x="32780" y="21100"/>
                            </a:lnTo>
                            <a:lnTo>
                              <a:pt x="32655" y="21100"/>
                            </a:lnTo>
                            <a:lnTo>
                              <a:pt x="32152" y="21477"/>
                            </a:lnTo>
                            <a:lnTo>
                              <a:pt x="32027" y="21477"/>
                            </a:lnTo>
                            <a:lnTo>
                              <a:pt x="32027" y="21477"/>
                            </a:lnTo>
                            <a:lnTo>
                              <a:pt x="31650" y="21728"/>
                            </a:lnTo>
                            <a:lnTo>
                              <a:pt x="31650" y="21728"/>
                            </a:lnTo>
                            <a:lnTo>
                              <a:pt x="29892" y="22733"/>
                            </a:lnTo>
                            <a:lnTo>
                              <a:pt x="29892" y="22733"/>
                            </a:lnTo>
                            <a:lnTo>
                              <a:pt x="29515" y="22984"/>
                            </a:lnTo>
                            <a:lnTo>
                              <a:pt x="21728" y="27505"/>
                            </a:lnTo>
                            <a:lnTo>
                              <a:pt x="21728" y="27505"/>
                            </a:lnTo>
                            <a:lnTo>
                              <a:pt x="21226" y="27756"/>
                            </a:lnTo>
                            <a:lnTo>
                              <a:pt x="21226" y="27756"/>
                            </a:lnTo>
                            <a:lnTo>
                              <a:pt x="15197" y="31273"/>
                            </a:lnTo>
                            <a:lnTo>
                              <a:pt x="15071" y="31148"/>
                            </a:lnTo>
                            <a:lnTo>
                              <a:pt x="14946" y="31148"/>
                            </a:lnTo>
                            <a:lnTo>
                              <a:pt x="14569" y="30896"/>
                            </a:lnTo>
                            <a:lnTo>
                              <a:pt x="14443" y="30896"/>
                            </a:lnTo>
                            <a:lnTo>
                              <a:pt x="14443" y="30896"/>
                            </a:lnTo>
                            <a:lnTo>
                              <a:pt x="13941" y="30520"/>
                            </a:lnTo>
                            <a:lnTo>
                              <a:pt x="13690" y="30394"/>
                            </a:lnTo>
                            <a:lnTo>
                              <a:pt x="12434" y="29766"/>
                            </a:lnTo>
                            <a:lnTo>
                              <a:pt x="12434" y="29640"/>
                            </a:lnTo>
                            <a:lnTo>
                              <a:pt x="11680" y="29264"/>
                            </a:lnTo>
                            <a:lnTo>
                              <a:pt x="11303" y="29012"/>
                            </a:lnTo>
                            <a:lnTo>
                              <a:pt x="10676" y="28636"/>
                            </a:lnTo>
                            <a:lnTo>
                              <a:pt x="10550" y="28636"/>
                            </a:lnTo>
                            <a:lnTo>
                              <a:pt x="10047" y="28259"/>
                            </a:lnTo>
                            <a:lnTo>
                              <a:pt x="9922" y="28259"/>
                            </a:lnTo>
                            <a:lnTo>
                              <a:pt x="9169" y="27756"/>
                            </a:lnTo>
                            <a:lnTo>
                              <a:pt x="8917" y="27631"/>
                            </a:lnTo>
                            <a:lnTo>
                              <a:pt x="8917" y="27631"/>
                            </a:lnTo>
                            <a:lnTo>
                              <a:pt x="8038" y="27128"/>
                            </a:lnTo>
                            <a:lnTo>
                              <a:pt x="8038" y="27128"/>
                            </a:lnTo>
                            <a:lnTo>
                              <a:pt x="7536" y="26877"/>
                            </a:lnTo>
                            <a:lnTo>
                              <a:pt x="7410" y="26752"/>
                            </a:lnTo>
                            <a:lnTo>
                              <a:pt x="6782" y="26500"/>
                            </a:lnTo>
                            <a:lnTo>
                              <a:pt x="6782" y="26375"/>
                            </a:lnTo>
                            <a:lnTo>
                              <a:pt x="5652" y="25747"/>
                            </a:lnTo>
                            <a:lnTo>
                              <a:pt x="5400" y="25621"/>
                            </a:lnTo>
                            <a:lnTo>
                              <a:pt x="4521" y="25119"/>
                            </a:lnTo>
                            <a:lnTo>
                              <a:pt x="4521" y="25119"/>
                            </a:lnTo>
                            <a:lnTo>
                              <a:pt x="4144" y="24868"/>
                            </a:lnTo>
                            <a:lnTo>
                              <a:pt x="4144" y="24868"/>
                            </a:lnTo>
                            <a:lnTo>
                              <a:pt x="3391" y="24491"/>
                            </a:lnTo>
                            <a:lnTo>
                              <a:pt x="3391" y="24491"/>
                            </a:lnTo>
                            <a:lnTo>
                              <a:pt x="3266" y="24365"/>
                            </a:lnTo>
                            <a:lnTo>
                              <a:pt x="2512" y="23989"/>
                            </a:lnTo>
                            <a:lnTo>
                              <a:pt x="2512" y="23989"/>
                            </a:lnTo>
                            <a:lnTo>
                              <a:pt x="1884" y="23612"/>
                            </a:lnTo>
                            <a:lnTo>
                              <a:pt x="1758" y="23486"/>
                            </a:lnTo>
                            <a:lnTo>
                              <a:pt x="0" y="22481"/>
                            </a:lnTo>
                            <a:lnTo>
                              <a:pt x="0" y="20346"/>
                            </a:lnTo>
                            <a:lnTo>
                              <a:pt x="38809" y="0"/>
                            </a:lnTo>
                            <a:lnTo>
                              <a:pt x="39688" y="502"/>
                            </a:lnTo>
                            <a:lnTo>
                              <a:pt x="39939" y="754"/>
                            </a:lnTo>
                            <a:lnTo>
                              <a:pt x="41195" y="1382"/>
                            </a:lnTo>
                            <a:lnTo>
                              <a:pt x="41446" y="1633"/>
                            </a:lnTo>
                            <a:lnTo>
                              <a:pt x="42576" y="2261"/>
                            </a:lnTo>
                            <a:lnTo>
                              <a:pt x="42828" y="2386"/>
                            </a:lnTo>
                            <a:lnTo>
                              <a:pt x="43330" y="2637"/>
                            </a:lnTo>
                            <a:lnTo>
                              <a:pt x="43330" y="2637"/>
                            </a:lnTo>
                            <a:lnTo>
                              <a:pt x="43330" y="2637"/>
                            </a:lnTo>
                            <a:lnTo>
                              <a:pt x="44335" y="3265"/>
                            </a:lnTo>
                            <a:lnTo>
                              <a:pt x="44586" y="3391"/>
                            </a:lnTo>
                            <a:lnTo>
                              <a:pt x="45340" y="3768"/>
                            </a:lnTo>
                            <a:lnTo>
                              <a:pt x="45340" y="3893"/>
                            </a:lnTo>
                            <a:lnTo>
                              <a:pt x="46470" y="4521"/>
                            </a:lnTo>
                            <a:lnTo>
                              <a:pt x="46721" y="4647"/>
                            </a:lnTo>
                            <a:lnTo>
                              <a:pt x="46972" y="4773"/>
                            </a:lnTo>
                            <a:lnTo>
                              <a:pt x="47098" y="4898"/>
                            </a:lnTo>
                            <a:lnTo>
                              <a:pt x="47852" y="5275"/>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4"/>
                            </a:lnTo>
                            <a:lnTo>
                              <a:pt x="51619"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37" name="Freeform: Shape 1936">
                        <a:extLst>
                          <a:ext uri="{FF2B5EF4-FFF2-40B4-BE49-F238E27FC236}">
                            <a16:creationId xmlns:a16="http://schemas.microsoft.com/office/drawing/2014/main" id="{B642826F-B9F8-49EA-B634-6E0FE3F5881C}"/>
                          </a:ext>
                        </a:extLst>
                      </p:cNvPr>
                      <p:cNvSpPr/>
                      <p:nvPr/>
                    </p:nvSpPr>
                    <p:spPr>
                      <a:xfrm>
                        <a:off x="3852498" y="1645267"/>
                        <a:ext cx="54005" cy="31273"/>
                      </a:xfrm>
                      <a:custGeom>
                        <a:avLst/>
                        <a:gdLst>
                          <a:gd name="connsiteX0" fmla="*/ 54006 w 54005"/>
                          <a:gd name="connsiteY0" fmla="*/ 8792 h 31273"/>
                          <a:gd name="connsiteX1" fmla="*/ 51745 w 54005"/>
                          <a:gd name="connsiteY1" fmla="*/ 10048 h 31273"/>
                          <a:gd name="connsiteX2" fmla="*/ 51494 w 54005"/>
                          <a:gd name="connsiteY2" fmla="*/ 10173 h 31273"/>
                          <a:gd name="connsiteX3" fmla="*/ 51494 w 54005"/>
                          <a:gd name="connsiteY3" fmla="*/ 10173 h 31273"/>
                          <a:gd name="connsiteX4" fmla="*/ 48103 w 54005"/>
                          <a:gd name="connsiteY4" fmla="*/ 12183 h 31273"/>
                          <a:gd name="connsiteX5" fmla="*/ 48103 w 54005"/>
                          <a:gd name="connsiteY5" fmla="*/ 12183 h 31273"/>
                          <a:gd name="connsiteX6" fmla="*/ 47224 w 54005"/>
                          <a:gd name="connsiteY6" fmla="*/ 12685 h 31273"/>
                          <a:gd name="connsiteX7" fmla="*/ 47098 w 54005"/>
                          <a:gd name="connsiteY7" fmla="*/ 12811 h 31273"/>
                          <a:gd name="connsiteX8" fmla="*/ 46345 w 54005"/>
                          <a:gd name="connsiteY8" fmla="*/ 13313 h 31273"/>
                          <a:gd name="connsiteX9" fmla="*/ 34664 w 54005"/>
                          <a:gd name="connsiteY9" fmla="*/ 19970 h 31273"/>
                          <a:gd name="connsiteX10" fmla="*/ 34036 w 54005"/>
                          <a:gd name="connsiteY10" fmla="*/ 20346 h 31273"/>
                          <a:gd name="connsiteX11" fmla="*/ 32780 w 54005"/>
                          <a:gd name="connsiteY11" fmla="*/ 21100 h 31273"/>
                          <a:gd name="connsiteX12" fmla="*/ 32152 w 54005"/>
                          <a:gd name="connsiteY12" fmla="*/ 21477 h 31273"/>
                          <a:gd name="connsiteX13" fmla="*/ 32027 w 54005"/>
                          <a:gd name="connsiteY13" fmla="*/ 21477 h 31273"/>
                          <a:gd name="connsiteX14" fmla="*/ 32027 w 54005"/>
                          <a:gd name="connsiteY14" fmla="*/ 21477 h 31273"/>
                          <a:gd name="connsiteX15" fmla="*/ 31650 w 54005"/>
                          <a:gd name="connsiteY15" fmla="*/ 21728 h 31273"/>
                          <a:gd name="connsiteX16" fmla="*/ 29892 w 54005"/>
                          <a:gd name="connsiteY16" fmla="*/ 22733 h 31273"/>
                          <a:gd name="connsiteX17" fmla="*/ 29766 w 54005"/>
                          <a:gd name="connsiteY17" fmla="*/ 22733 h 31273"/>
                          <a:gd name="connsiteX18" fmla="*/ 29515 w 54005"/>
                          <a:gd name="connsiteY18" fmla="*/ 22984 h 31273"/>
                          <a:gd name="connsiteX19" fmla="*/ 21728 w 54005"/>
                          <a:gd name="connsiteY19" fmla="*/ 27505 h 31273"/>
                          <a:gd name="connsiteX20" fmla="*/ 21226 w 54005"/>
                          <a:gd name="connsiteY20" fmla="*/ 27756 h 31273"/>
                          <a:gd name="connsiteX21" fmla="*/ 21226 w 54005"/>
                          <a:gd name="connsiteY21" fmla="*/ 27756 h 31273"/>
                          <a:gd name="connsiteX22" fmla="*/ 15197 w 54005"/>
                          <a:gd name="connsiteY22" fmla="*/ 31273 h 31273"/>
                          <a:gd name="connsiteX23" fmla="*/ 15071 w 54005"/>
                          <a:gd name="connsiteY23" fmla="*/ 31273 h 31273"/>
                          <a:gd name="connsiteX24" fmla="*/ 14946 w 54005"/>
                          <a:gd name="connsiteY24" fmla="*/ 31148 h 31273"/>
                          <a:gd name="connsiteX25" fmla="*/ 14569 w 54005"/>
                          <a:gd name="connsiteY25" fmla="*/ 30896 h 31273"/>
                          <a:gd name="connsiteX26" fmla="*/ 14443 w 54005"/>
                          <a:gd name="connsiteY26" fmla="*/ 30896 h 31273"/>
                          <a:gd name="connsiteX27" fmla="*/ 13941 w 54005"/>
                          <a:gd name="connsiteY27" fmla="*/ 30520 h 31273"/>
                          <a:gd name="connsiteX28" fmla="*/ 13690 w 54005"/>
                          <a:gd name="connsiteY28" fmla="*/ 30394 h 31273"/>
                          <a:gd name="connsiteX29" fmla="*/ 12434 w 54005"/>
                          <a:gd name="connsiteY29" fmla="*/ 29766 h 31273"/>
                          <a:gd name="connsiteX30" fmla="*/ 12434 w 54005"/>
                          <a:gd name="connsiteY30" fmla="*/ 29640 h 31273"/>
                          <a:gd name="connsiteX31" fmla="*/ 11680 w 54005"/>
                          <a:gd name="connsiteY31" fmla="*/ 29264 h 31273"/>
                          <a:gd name="connsiteX32" fmla="*/ 11303 w 54005"/>
                          <a:gd name="connsiteY32" fmla="*/ 29012 h 31273"/>
                          <a:gd name="connsiteX33" fmla="*/ 10676 w 54005"/>
                          <a:gd name="connsiteY33" fmla="*/ 28636 h 31273"/>
                          <a:gd name="connsiteX34" fmla="*/ 10550 w 54005"/>
                          <a:gd name="connsiteY34" fmla="*/ 28636 h 31273"/>
                          <a:gd name="connsiteX35" fmla="*/ 10047 w 54005"/>
                          <a:gd name="connsiteY35" fmla="*/ 28259 h 31273"/>
                          <a:gd name="connsiteX36" fmla="*/ 9922 w 54005"/>
                          <a:gd name="connsiteY36" fmla="*/ 28259 h 31273"/>
                          <a:gd name="connsiteX37" fmla="*/ 9169 w 54005"/>
                          <a:gd name="connsiteY37" fmla="*/ 27756 h 31273"/>
                          <a:gd name="connsiteX38" fmla="*/ 8917 w 54005"/>
                          <a:gd name="connsiteY38" fmla="*/ 27631 h 31273"/>
                          <a:gd name="connsiteX39" fmla="*/ 8917 w 54005"/>
                          <a:gd name="connsiteY39" fmla="*/ 27631 h 31273"/>
                          <a:gd name="connsiteX40" fmla="*/ 8038 w 54005"/>
                          <a:gd name="connsiteY40" fmla="*/ 27128 h 31273"/>
                          <a:gd name="connsiteX41" fmla="*/ 8038 w 54005"/>
                          <a:gd name="connsiteY41" fmla="*/ 27128 h 31273"/>
                          <a:gd name="connsiteX42" fmla="*/ 7536 w 54005"/>
                          <a:gd name="connsiteY42" fmla="*/ 26877 h 31273"/>
                          <a:gd name="connsiteX43" fmla="*/ 7410 w 54005"/>
                          <a:gd name="connsiteY43" fmla="*/ 26752 h 31273"/>
                          <a:gd name="connsiteX44" fmla="*/ 6782 w 54005"/>
                          <a:gd name="connsiteY44" fmla="*/ 26501 h 31273"/>
                          <a:gd name="connsiteX45" fmla="*/ 6782 w 54005"/>
                          <a:gd name="connsiteY45" fmla="*/ 26375 h 31273"/>
                          <a:gd name="connsiteX46" fmla="*/ 5652 w 54005"/>
                          <a:gd name="connsiteY46" fmla="*/ 25747 h 31273"/>
                          <a:gd name="connsiteX47" fmla="*/ 5400 w 54005"/>
                          <a:gd name="connsiteY47" fmla="*/ 25621 h 31273"/>
                          <a:gd name="connsiteX48" fmla="*/ 4521 w 54005"/>
                          <a:gd name="connsiteY48" fmla="*/ 25119 h 31273"/>
                          <a:gd name="connsiteX49" fmla="*/ 4521 w 54005"/>
                          <a:gd name="connsiteY49" fmla="*/ 25119 h 31273"/>
                          <a:gd name="connsiteX50" fmla="*/ 4144 w 54005"/>
                          <a:gd name="connsiteY50" fmla="*/ 24868 h 31273"/>
                          <a:gd name="connsiteX51" fmla="*/ 4144 w 54005"/>
                          <a:gd name="connsiteY51" fmla="*/ 24868 h 31273"/>
                          <a:gd name="connsiteX52" fmla="*/ 3391 w 54005"/>
                          <a:gd name="connsiteY52" fmla="*/ 24491 h 31273"/>
                          <a:gd name="connsiteX53" fmla="*/ 3391 w 54005"/>
                          <a:gd name="connsiteY53" fmla="*/ 24491 h 31273"/>
                          <a:gd name="connsiteX54" fmla="*/ 3140 w 54005"/>
                          <a:gd name="connsiteY54" fmla="*/ 24365 h 31273"/>
                          <a:gd name="connsiteX55" fmla="*/ 2512 w 54005"/>
                          <a:gd name="connsiteY55" fmla="*/ 23989 h 31273"/>
                          <a:gd name="connsiteX56" fmla="*/ 2512 w 54005"/>
                          <a:gd name="connsiteY56" fmla="*/ 23863 h 31273"/>
                          <a:gd name="connsiteX57" fmla="*/ 1884 w 54005"/>
                          <a:gd name="connsiteY57" fmla="*/ 23612 h 31273"/>
                          <a:gd name="connsiteX58" fmla="*/ 1758 w 54005"/>
                          <a:gd name="connsiteY58" fmla="*/ 23486 h 31273"/>
                          <a:gd name="connsiteX59" fmla="*/ 0 w 54005"/>
                          <a:gd name="connsiteY59" fmla="*/ 22481 h 31273"/>
                          <a:gd name="connsiteX60" fmla="*/ 5400 w 54005"/>
                          <a:gd name="connsiteY60" fmla="*/ 19342 h 31273"/>
                          <a:gd name="connsiteX61" fmla="*/ 5400 w 54005"/>
                          <a:gd name="connsiteY61" fmla="*/ 19342 h 31273"/>
                          <a:gd name="connsiteX62" fmla="*/ 5652 w 54005"/>
                          <a:gd name="connsiteY62" fmla="*/ 19216 h 31273"/>
                          <a:gd name="connsiteX63" fmla="*/ 5652 w 54005"/>
                          <a:gd name="connsiteY63" fmla="*/ 19216 h 31273"/>
                          <a:gd name="connsiteX64" fmla="*/ 5903 w 54005"/>
                          <a:gd name="connsiteY64" fmla="*/ 19090 h 31273"/>
                          <a:gd name="connsiteX65" fmla="*/ 6029 w 54005"/>
                          <a:gd name="connsiteY65" fmla="*/ 18965 h 31273"/>
                          <a:gd name="connsiteX66" fmla="*/ 6154 w 54005"/>
                          <a:gd name="connsiteY66" fmla="*/ 18965 h 31273"/>
                          <a:gd name="connsiteX67" fmla="*/ 6154 w 54005"/>
                          <a:gd name="connsiteY67" fmla="*/ 18839 h 31273"/>
                          <a:gd name="connsiteX68" fmla="*/ 21602 w 54005"/>
                          <a:gd name="connsiteY68" fmla="*/ 9922 h 31273"/>
                          <a:gd name="connsiteX69" fmla="*/ 21979 w 54005"/>
                          <a:gd name="connsiteY69" fmla="*/ 9796 h 31273"/>
                          <a:gd name="connsiteX70" fmla="*/ 22356 w 54005"/>
                          <a:gd name="connsiteY70" fmla="*/ 9545 h 31273"/>
                          <a:gd name="connsiteX71" fmla="*/ 22607 w 54005"/>
                          <a:gd name="connsiteY71" fmla="*/ 9420 h 31273"/>
                          <a:gd name="connsiteX72" fmla="*/ 38809 w 54005"/>
                          <a:gd name="connsiteY72" fmla="*/ 0 h 31273"/>
                          <a:gd name="connsiteX73" fmla="*/ 39688 w 54005"/>
                          <a:gd name="connsiteY73" fmla="*/ 628 h 31273"/>
                          <a:gd name="connsiteX74" fmla="*/ 39939 w 54005"/>
                          <a:gd name="connsiteY74" fmla="*/ 754 h 31273"/>
                          <a:gd name="connsiteX75" fmla="*/ 41195 w 54005"/>
                          <a:gd name="connsiteY75" fmla="*/ 1382 h 31273"/>
                          <a:gd name="connsiteX76" fmla="*/ 41446 w 54005"/>
                          <a:gd name="connsiteY76" fmla="*/ 1633 h 31273"/>
                          <a:gd name="connsiteX77" fmla="*/ 42576 w 54005"/>
                          <a:gd name="connsiteY77" fmla="*/ 2261 h 31273"/>
                          <a:gd name="connsiteX78" fmla="*/ 42828 w 54005"/>
                          <a:gd name="connsiteY78" fmla="*/ 2386 h 31273"/>
                          <a:gd name="connsiteX79" fmla="*/ 43330 w 54005"/>
                          <a:gd name="connsiteY79" fmla="*/ 2637 h 31273"/>
                          <a:gd name="connsiteX80" fmla="*/ 43330 w 54005"/>
                          <a:gd name="connsiteY80" fmla="*/ 2637 h 31273"/>
                          <a:gd name="connsiteX81" fmla="*/ 44335 w 54005"/>
                          <a:gd name="connsiteY81" fmla="*/ 3265 h 31273"/>
                          <a:gd name="connsiteX82" fmla="*/ 44586 w 54005"/>
                          <a:gd name="connsiteY82" fmla="*/ 3391 h 31273"/>
                          <a:gd name="connsiteX83" fmla="*/ 45340 w 54005"/>
                          <a:gd name="connsiteY83" fmla="*/ 3768 h 31273"/>
                          <a:gd name="connsiteX84" fmla="*/ 45340 w 54005"/>
                          <a:gd name="connsiteY84" fmla="*/ 3893 h 31273"/>
                          <a:gd name="connsiteX85" fmla="*/ 46470 w 54005"/>
                          <a:gd name="connsiteY85" fmla="*/ 4521 h 31273"/>
                          <a:gd name="connsiteX86" fmla="*/ 46721 w 54005"/>
                          <a:gd name="connsiteY86" fmla="*/ 4647 h 31273"/>
                          <a:gd name="connsiteX87" fmla="*/ 47098 w 54005"/>
                          <a:gd name="connsiteY87" fmla="*/ 4898 h 31273"/>
                          <a:gd name="connsiteX88" fmla="*/ 47852 w 54005"/>
                          <a:gd name="connsiteY88" fmla="*/ 5275 h 31273"/>
                          <a:gd name="connsiteX89" fmla="*/ 47852 w 54005"/>
                          <a:gd name="connsiteY89" fmla="*/ 5275 h 31273"/>
                          <a:gd name="connsiteX90" fmla="*/ 48228 w 54005"/>
                          <a:gd name="connsiteY90" fmla="*/ 5526 h 31273"/>
                          <a:gd name="connsiteX91" fmla="*/ 48354 w 54005"/>
                          <a:gd name="connsiteY91" fmla="*/ 5526 h 31273"/>
                          <a:gd name="connsiteX92" fmla="*/ 48856 w 54005"/>
                          <a:gd name="connsiteY92" fmla="*/ 5777 h 31273"/>
                          <a:gd name="connsiteX93" fmla="*/ 48982 w 54005"/>
                          <a:gd name="connsiteY93" fmla="*/ 5903 h 31273"/>
                          <a:gd name="connsiteX94" fmla="*/ 49610 w 54005"/>
                          <a:gd name="connsiteY94" fmla="*/ 6280 h 31273"/>
                          <a:gd name="connsiteX95" fmla="*/ 49861 w 54005"/>
                          <a:gd name="connsiteY95" fmla="*/ 6405 h 31273"/>
                          <a:gd name="connsiteX96" fmla="*/ 50112 w 54005"/>
                          <a:gd name="connsiteY96" fmla="*/ 6531 h 31273"/>
                          <a:gd name="connsiteX97" fmla="*/ 50112 w 54005"/>
                          <a:gd name="connsiteY97" fmla="*/ 6531 h 31273"/>
                          <a:gd name="connsiteX98" fmla="*/ 50238 w 54005"/>
                          <a:gd name="connsiteY98" fmla="*/ 6657 h 31273"/>
                          <a:gd name="connsiteX99" fmla="*/ 50740 w 54005"/>
                          <a:gd name="connsiteY99" fmla="*/ 6908 h 31273"/>
                          <a:gd name="connsiteX100" fmla="*/ 50991 w 54005"/>
                          <a:gd name="connsiteY100" fmla="*/ 7033 h 31273"/>
                          <a:gd name="connsiteX101" fmla="*/ 51117 w 54005"/>
                          <a:gd name="connsiteY101" fmla="*/ 7159 h 31273"/>
                          <a:gd name="connsiteX102" fmla="*/ 51243 w 54005"/>
                          <a:gd name="connsiteY102" fmla="*/ 7159 h 31273"/>
                          <a:gd name="connsiteX103" fmla="*/ 51368 w 54005"/>
                          <a:gd name="connsiteY103" fmla="*/ 7285 h 31273"/>
                          <a:gd name="connsiteX104" fmla="*/ 51619 w 54005"/>
                          <a:gd name="connsiteY104" fmla="*/ 7410 h 31273"/>
                          <a:gd name="connsiteX105" fmla="*/ 51745 w 54005"/>
                          <a:gd name="connsiteY105" fmla="*/ 7536 h 31273"/>
                          <a:gd name="connsiteX106" fmla="*/ 52247 w 54005"/>
                          <a:gd name="connsiteY106" fmla="*/ 7787 h 31273"/>
                          <a:gd name="connsiteX107" fmla="*/ 52373 w 54005"/>
                          <a:gd name="connsiteY107" fmla="*/ 7912 h 31273"/>
                          <a:gd name="connsiteX108" fmla="*/ 52750 w 54005"/>
                          <a:gd name="connsiteY108" fmla="*/ 8164 h 31273"/>
                          <a:gd name="connsiteX109" fmla="*/ 52875 w 54005"/>
                          <a:gd name="connsiteY109" fmla="*/ 8164 h 31273"/>
                          <a:gd name="connsiteX110" fmla="*/ 53378 w 54005"/>
                          <a:gd name="connsiteY110" fmla="*/ 8540 h 31273"/>
                          <a:gd name="connsiteX111" fmla="*/ 53504 w 54005"/>
                          <a:gd name="connsiteY111"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273">
                            <a:moveTo>
                              <a:pt x="54006" y="8792"/>
                            </a:moveTo>
                            <a:lnTo>
                              <a:pt x="51745" y="10048"/>
                            </a:lnTo>
                            <a:lnTo>
                              <a:pt x="51494" y="10173"/>
                            </a:lnTo>
                            <a:lnTo>
                              <a:pt x="51494" y="10173"/>
                            </a:lnTo>
                            <a:lnTo>
                              <a:pt x="48103" y="12183"/>
                            </a:lnTo>
                            <a:lnTo>
                              <a:pt x="48103" y="12183"/>
                            </a:lnTo>
                            <a:lnTo>
                              <a:pt x="47224" y="12685"/>
                            </a:lnTo>
                            <a:lnTo>
                              <a:pt x="47098" y="12811"/>
                            </a:lnTo>
                            <a:lnTo>
                              <a:pt x="46345" y="13313"/>
                            </a:lnTo>
                            <a:lnTo>
                              <a:pt x="34664" y="19970"/>
                            </a:lnTo>
                            <a:lnTo>
                              <a:pt x="34036" y="20346"/>
                            </a:lnTo>
                            <a:lnTo>
                              <a:pt x="32780" y="21100"/>
                            </a:lnTo>
                            <a:lnTo>
                              <a:pt x="32152" y="21477"/>
                            </a:lnTo>
                            <a:lnTo>
                              <a:pt x="32027" y="21477"/>
                            </a:lnTo>
                            <a:lnTo>
                              <a:pt x="32027" y="21477"/>
                            </a:lnTo>
                            <a:lnTo>
                              <a:pt x="31650" y="21728"/>
                            </a:lnTo>
                            <a:lnTo>
                              <a:pt x="29892" y="22733"/>
                            </a:lnTo>
                            <a:lnTo>
                              <a:pt x="29766" y="22733"/>
                            </a:lnTo>
                            <a:lnTo>
                              <a:pt x="29515" y="22984"/>
                            </a:lnTo>
                            <a:lnTo>
                              <a:pt x="21728" y="27505"/>
                            </a:lnTo>
                            <a:lnTo>
                              <a:pt x="21226" y="27756"/>
                            </a:lnTo>
                            <a:lnTo>
                              <a:pt x="21226" y="27756"/>
                            </a:lnTo>
                            <a:lnTo>
                              <a:pt x="15197" y="31273"/>
                            </a:lnTo>
                            <a:lnTo>
                              <a:pt x="15071" y="31273"/>
                            </a:lnTo>
                            <a:lnTo>
                              <a:pt x="14946" y="31148"/>
                            </a:lnTo>
                            <a:lnTo>
                              <a:pt x="14569" y="30896"/>
                            </a:lnTo>
                            <a:lnTo>
                              <a:pt x="14443" y="30896"/>
                            </a:lnTo>
                            <a:lnTo>
                              <a:pt x="13941" y="30520"/>
                            </a:lnTo>
                            <a:lnTo>
                              <a:pt x="13690" y="30394"/>
                            </a:lnTo>
                            <a:lnTo>
                              <a:pt x="12434" y="29766"/>
                            </a:lnTo>
                            <a:lnTo>
                              <a:pt x="12434" y="29640"/>
                            </a:lnTo>
                            <a:lnTo>
                              <a:pt x="11680" y="29264"/>
                            </a:lnTo>
                            <a:lnTo>
                              <a:pt x="11303" y="29012"/>
                            </a:lnTo>
                            <a:lnTo>
                              <a:pt x="10676" y="28636"/>
                            </a:lnTo>
                            <a:lnTo>
                              <a:pt x="10550" y="28636"/>
                            </a:lnTo>
                            <a:lnTo>
                              <a:pt x="10047" y="28259"/>
                            </a:lnTo>
                            <a:lnTo>
                              <a:pt x="9922" y="28259"/>
                            </a:lnTo>
                            <a:lnTo>
                              <a:pt x="9169" y="27756"/>
                            </a:lnTo>
                            <a:lnTo>
                              <a:pt x="8917" y="27631"/>
                            </a:lnTo>
                            <a:lnTo>
                              <a:pt x="8917" y="27631"/>
                            </a:lnTo>
                            <a:lnTo>
                              <a:pt x="8038" y="27128"/>
                            </a:lnTo>
                            <a:lnTo>
                              <a:pt x="8038" y="27128"/>
                            </a:lnTo>
                            <a:lnTo>
                              <a:pt x="7536" y="26877"/>
                            </a:lnTo>
                            <a:lnTo>
                              <a:pt x="7410" y="26752"/>
                            </a:lnTo>
                            <a:lnTo>
                              <a:pt x="6782" y="26501"/>
                            </a:lnTo>
                            <a:lnTo>
                              <a:pt x="6782" y="26375"/>
                            </a:lnTo>
                            <a:lnTo>
                              <a:pt x="5652" y="25747"/>
                            </a:lnTo>
                            <a:lnTo>
                              <a:pt x="5400" y="25621"/>
                            </a:lnTo>
                            <a:lnTo>
                              <a:pt x="4521" y="25119"/>
                            </a:lnTo>
                            <a:lnTo>
                              <a:pt x="4521" y="25119"/>
                            </a:lnTo>
                            <a:lnTo>
                              <a:pt x="4144" y="24868"/>
                            </a:lnTo>
                            <a:lnTo>
                              <a:pt x="4144" y="24868"/>
                            </a:lnTo>
                            <a:lnTo>
                              <a:pt x="3391" y="24491"/>
                            </a:lnTo>
                            <a:lnTo>
                              <a:pt x="3391" y="24491"/>
                            </a:lnTo>
                            <a:lnTo>
                              <a:pt x="3140" y="24365"/>
                            </a:lnTo>
                            <a:lnTo>
                              <a:pt x="2512" y="23989"/>
                            </a:lnTo>
                            <a:lnTo>
                              <a:pt x="2512" y="23863"/>
                            </a:lnTo>
                            <a:lnTo>
                              <a:pt x="1884" y="23612"/>
                            </a:lnTo>
                            <a:lnTo>
                              <a:pt x="1758" y="23486"/>
                            </a:lnTo>
                            <a:lnTo>
                              <a:pt x="0" y="22481"/>
                            </a:lnTo>
                            <a:lnTo>
                              <a:pt x="5400" y="19342"/>
                            </a:lnTo>
                            <a:lnTo>
                              <a:pt x="5400" y="19342"/>
                            </a:lnTo>
                            <a:lnTo>
                              <a:pt x="5652" y="19216"/>
                            </a:lnTo>
                            <a:lnTo>
                              <a:pt x="5652" y="19216"/>
                            </a:lnTo>
                            <a:lnTo>
                              <a:pt x="5903" y="19090"/>
                            </a:lnTo>
                            <a:lnTo>
                              <a:pt x="6029" y="18965"/>
                            </a:lnTo>
                            <a:lnTo>
                              <a:pt x="6154" y="18965"/>
                            </a:lnTo>
                            <a:lnTo>
                              <a:pt x="6154" y="18839"/>
                            </a:lnTo>
                            <a:lnTo>
                              <a:pt x="21602" y="9922"/>
                            </a:lnTo>
                            <a:lnTo>
                              <a:pt x="21979" y="9796"/>
                            </a:lnTo>
                            <a:lnTo>
                              <a:pt x="22356" y="9545"/>
                            </a:lnTo>
                            <a:lnTo>
                              <a:pt x="22607" y="9420"/>
                            </a:lnTo>
                            <a:lnTo>
                              <a:pt x="38809" y="0"/>
                            </a:lnTo>
                            <a:lnTo>
                              <a:pt x="39688" y="628"/>
                            </a:lnTo>
                            <a:lnTo>
                              <a:pt x="39939" y="754"/>
                            </a:lnTo>
                            <a:lnTo>
                              <a:pt x="41195" y="1382"/>
                            </a:lnTo>
                            <a:lnTo>
                              <a:pt x="41446" y="1633"/>
                            </a:lnTo>
                            <a:lnTo>
                              <a:pt x="42576" y="2261"/>
                            </a:lnTo>
                            <a:lnTo>
                              <a:pt x="42828" y="2386"/>
                            </a:lnTo>
                            <a:lnTo>
                              <a:pt x="43330" y="2637"/>
                            </a:lnTo>
                            <a:lnTo>
                              <a:pt x="43330" y="2637"/>
                            </a:lnTo>
                            <a:lnTo>
                              <a:pt x="44335" y="3265"/>
                            </a:lnTo>
                            <a:lnTo>
                              <a:pt x="44586" y="3391"/>
                            </a:lnTo>
                            <a:lnTo>
                              <a:pt x="45340" y="3768"/>
                            </a:lnTo>
                            <a:lnTo>
                              <a:pt x="45340" y="3893"/>
                            </a:lnTo>
                            <a:lnTo>
                              <a:pt x="46470" y="4521"/>
                            </a:lnTo>
                            <a:lnTo>
                              <a:pt x="46721" y="4647"/>
                            </a:lnTo>
                            <a:lnTo>
                              <a:pt x="47098" y="4898"/>
                            </a:lnTo>
                            <a:lnTo>
                              <a:pt x="47852" y="5275"/>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5"/>
                            </a:lnTo>
                            <a:lnTo>
                              <a:pt x="51619" y="7410"/>
                            </a:lnTo>
                            <a:lnTo>
                              <a:pt x="51745" y="7536"/>
                            </a:lnTo>
                            <a:lnTo>
                              <a:pt x="52247" y="7787"/>
                            </a:lnTo>
                            <a:lnTo>
                              <a:pt x="52373" y="7912"/>
                            </a:lnTo>
                            <a:lnTo>
                              <a:pt x="52750" y="8164"/>
                            </a:lnTo>
                            <a:lnTo>
                              <a:pt x="52875" y="8164"/>
                            </a:lnTo>
                            <a:lnTo>
                              <a:pt x="53378" y="8540"/>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38" name="Freeform: Shape 1937">
                      <a:extLst>
                        <a:ext uri="{FF2B5EF4-FFF2-40B4-BE49-F238E27FC236}">
                          <a16:creationId xmlns:a16="http://schemas.microsoft.com/office/drawing/2014/main" id="{BC4BA99F-905A-457D-A551-5F3245B6B3FA}"/>
                        </a:ext>
                      </a:extLst>
                    </p:cNvPr>
                    <p:cNvSpPr/>
                    <p:nvPr/>
                  </p:nvSpPr>
                  <p:spPr>
                    <a:xfrm>
                      <a:off x="3852498" y="1667748"/>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39" name="Graphic 4">
                    <a:extLst>
                      <a:ext uri="{FF2B5EF4-FFF2-40B4-BE49-F238E27FC236}">
                        <a16:creationId xmlns:a16="http://schemas.microsoft.com/office/drawing/2014/main" id="{84FB7ED1-A2DF-40A1-A747-5F7CF3F14040}"/>
                      </a:ext>
                    </a:extLst>
                  </p:cNvPr>
                  <p:cNvGrpSpPr/>
                  <p:nvPr/>
                </p:nvGrpSpPr>
                <p:grpSpPr>
                  <a:xfrm>
                    <a:off x="3869705" y="1655189"/>
                    <a:ext cx="54005" cy="33282"/>
                    <a:chOff x="3869705" y="1655189"/>
                    <a:chExt cx="54005" cy="33282"/>
                  </a:xfrm>
                  <a:solidFill>
                    <a:schemeClr val="accent1"/>
                  </a:solidFill>
                </p:grpSpPr>
                <p:grpSp>
                  <p:nvGrpSpPr>
                    <p:cNvPr id="1940" name="Graphic 4">
                      <a:extLst>
                        <a:ext uri="{FF2B5EF4-FFF2-40B4-BE49-F238E27FC236}">
                          <a16:creationId xmlns:a16="http://schemas.microsoft.com/office/drawing/2014/main" id="{84FB7ED1-A2DF-40A1-A747-5F7CF3F14040}"/>
                        </a:ext>
                      </a:extLst>
                    </p:cNvPr>
                    <p:cNvGrpSpPr/>
                    <p:nvPr/>
                  </p:nvGrpSpPr>
                  <p:grpSpPr>
                    <a:xfrm>
                      <a:off x="3869705" y="1655189"/>
                      <a:ext cx="54005" cy="33282"/>
                      <a:chOff x="3869705" y="1655189"/>
                      <a:chExt cx="54005" cy="33282"/>
                    </a:xfrm>
                    <a:solidFill>
                      <a:schemeClr val="accent1"/>
                    </a:solidFill>
                  </p:grpSpPr>
                  <p:sp>
                    <p:nvSpPr>
                      <p:cNvPr id="1941" name="Freeform: Shape 1940">
                        <a:extLst>
                          <a:ext uri="{FF2B5EF4-FFF2-40B4-BE49-F238E27FC236}">
                            <a16:creationId xmlns:a16="http://schemas.microsoft.com/office/drawing/2014/main" id="{553AE7F4-D740-4BD2-BC15-7FD400DC7144}"/>
                          </a:ext>
                        </a:extLst>
                      </p:cNvPr>
                      <p:cNvSpPr/>
                      <p:nvPr/>
                    </p:nvSpPr>
                    <p:spPr>
                      <a:xfrm>
                        <a:off x="3869705" y="1657324"/>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844 h 31147"/>
                          <a:gd name="connsiteX10" fmla="*/ 34790 w 54005"/>
                          <a:gd name="connsiteY10" fmla="*/ 19844 h 31147"/>
                          <a:gd name="connsiteX11" fmla="*/ 34162 w 54005"/>
                          <a:gd name="connsiteY11" fmla="*/ 20221 h 31147"/>
                          <a:gd name="connsiteX12" fmla="*/ 32780 w 54005"/>
                          <a:gd name="connsiteY12" fmla="*/ 20974 h 31147"/>
                          <a:gd name="connsiteX13" fmla="*/ 32780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197 w 54005"/>
                          <a:gd name="connsiteY27" fmla="*/ 31148 h 31147"/>
                          <a:gd name="connsiteX28" fmla="*/ 15072 w 54005"/>
                          <a:gd name="connsiteY28" fmla="*/ 31148 h 31147"/>
                          <a:gd name="connsiteX29" fmla="*/ 14569 w 54005"/>
                          <a:gd name="connsiteY29" fmla="*/ 30771 h 31147"/>
                          <a:gd name="connsiteX30" fmla="*/ 14569 w 54005"/>
                          <a:gd name="connsiteY30" fmla="*/ 30771 h 31147"/>
                          <a:gd name="connsiteX31" fmla="*/ 14569 w 54005"/>
                          <a:gd name="connsiteY31" fmla="*/ 30771 h 31147"/>
                          <a:gd name="connsiteX32" fmla="*/ 13941 w 54005"/>
                          <a:gd name="connsiteY32" fmla="*/ 30520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8 h 31147"/>
                          <a:gd name="connsiteX46" fmla="*/ 8038 w 54005"/>
                          <a:gd name="connsiteY46" fmla="*/ 27003 h 31147"/>
                          <a:gd name="connsiteX47" fmla="*/ 7661 w 54005"/>
                          <a:gd name="connsiteY47" fmla="*/ 26752 h 31147"/>
                          <a:gd name="connsiteX48" fmla="*/ 7536 w 54005"/>
                          <a:gd name="connsiteY48" fmla="*/ 26752 h 31147"/>
                          <a:gd name="connsiteX49" fmla="*/ 6908 w 54005"/>
                          <a:gd name="connsiteY49" fmla="*/ 26375 h 31147"/>
                          <a:gd name="connsiteX50" fmla="*/ 6782 w 54005"/>
                          <a:gd name="connsiteY50" fmla="*/ 26375 h 31147"/>
                          <a:gd name="connsiteX51" fmla="*/ 5777 w 54005"/>
                          <a:gd name="connsiteY51" fmla="*/ 25747 h 31147"/>
                          <a:gd name="connsiteX52" fmla="*/ 5526 w 54005"/>
                          <a:gd name="connsiteY52" fmla="*/ 25496 h 31147"/>
                          <a:gd name="connsiteX53" fmla="*/ 4647 w 54005"/>
                          <a:gd name="connsiteY53" fmla="*/ 25119 h 31147"/>
                          <a:gd name="connsiteX54" fmla="*/ 4522 w 54005"/>
                          <a:gd name="connsiteY54" fmla="*/ 24993 h 31147"/>
                          <a:gd name="connsiteX55" fmla="*/ 4270 w 54005"/>
                          <a:gd name="connsiteY55" fmla="*/ 24868 h 31147"/>
                          <a:gd name="connsiteX56" fmla="*/ 4144 w 54005"/>
                          <a:gd name="connsiteY56" fmla="*/ 24742 h 31147"/>
                          <a:gd name="connsiteX57" fmla="*/ 3517 w 54005"/>
                          <a:gd name="connsiteY57" fmla="*/ 24365 h 31147"/>
                          <a:gd name="connsiteX58" fmla="*/ 3517 w 54005"/>
                          <a:gd name="connsiteY58" fmla="*/ 24365 h 31147"/>
                          <a:gd name="connsiteX59" fmla="*/ 3266 w 54005"/>
                          <a:gd name="connsiteY59" fmla="*/ 24240 h 31147"/>
                          <a:gd name="connsiteX60" fmla="*/ 2637 w 54005"/>
                          <a:gd name="connsiteY60" fmla="*/ 23863 h 31147"/>
                          <a:gd name="connsiteX61" fmla="*/ 2512 w 54005"/>
                          <a:gd name="connsiteY61" fmla="*/ 23863 h 31147"/>
                          <a:gd name="connsiteX62" fmla="*/ 2010 w 54005"/>
                          <a:gd name="connsiteY62" fmla="*/ 23486 h 31147"/>
                          <a:gd name="connsiteX63" fmla="*/ 1759 w 54005"/>
                          <a:gd name="connsiteY63" fmla="*/ 23361 h 31147"/>
                          <a:gd name="connsiteX64" fmla="*/ 0 w 54005"/>
                          <a:gd name="connsiteY64" fmla="*/ 22356 h 31147"/>
                          <a:gd name="connsiteX65" fmla="*/ 0 w 54005"/>
                          <a:gd name="connsiteY65" fmla="*/ 20221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382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512 h 31147"/>
                          <a:gd name="connsiteX74" fmla="*/ 43456 w 54005"/>
                          <a:gd name="connsiteY74" fmla="*/ 2512 h 31147"/>
                          <a:gd name="connsiteX75" fmla="*/ 43456 w 54005"/>
                          <a:gd name="connsiteY75" fmla="*/ 2638 h 31147"/>
                          <a:gd name="connsiteX76" fmla="*/ 44461 w 54005"/>
                          <a:gd name="connsiteY76" fmla="*/ 3140 h 31147"/>
                          <a:gd name="connsiteX77" fmla="*/ 44712 w 54005"/>
                          <a:gd name="connsiteY77" fmla="*/ 3265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521 h 31147"/>
                          <a:gd name="connsiteX82" fmla="*/ 47098 w 54005"/>
                          <a:gd name="connsiteY82" fmla="*/ 4647 h 31147"/>
                          <a:gd name="connsiteX83" fmla="*/ 47224 w 54005"/>
                          <a:gd name="connsiteY83" fmla="*/ 4773 h 31147"/>
                          <a:gd name="connsiteX84" fmla="*/ 47852 w 54005"/>
                          <a:gd name="connsiteY84" fmla="*/ 5149 h 31147"/>
                          <a:gd name="connsiteX85" fmla="*/ 47977 w 54005"/>
                          <a:gd name="connsiteY85" fmla="*/ 5149 h 31147"/>
                          <a:gd name="connsiteX86" fmla="*/ 48354 w 54005"/>
                          <a:gd name="connsiteY86" fmla="*/ 5401 h 31147"/>
                          <a:gd name="connsiteX87" fmla="*/ 48480 w 54005"/>
                          <a:gd name="connsiteY87" fmla="*/ 5526 h 31147"/>
                          <a:gd name="connsiteX88" fmla="*/ 48857 w 54005"/>
                          <a:gd name="connsiteY88" fmla="*/ 5777 h 31147"/>
                          <a:gd name="connsiteX89" fmla="*/ 49108 w 54005"/>
                          <a:gd name="connsiteY89" fmla="*/ 5903 h 31147"/>
                          <a:gd name="connsiteX90" fmla="*/ 49610 w 54005"/>
                          <a:gd name="connsiteY90" fmla="*/ 6154 h 31147"/>
                          <a:gd name="connsiteX91" fmla="*/ 49987 w 54005"/>
                          <a:gd name="connsiteY91" fmla="*/ 6405 h 31147"/>
                          <a:gd name="connsiteX92" fmla="*/ 50238 w 54005"/>
                          <a:gd name="connsiteY92" fmla="*/ 6531 h 31147"/>
                          <a:gd name="connsiteX93" fmla="*/ 50238 w 54005"/>
                          <a:gd name="connsiteY93" fmla="*/ 6531 h 31147"/>
                          <a:gd name="connsiteX94" fmla="*/ 50364 w 54005"/>
                          <a:gd name="connsiteY94" fmla="*/ 6531 h 31147"/>
                          <a:gd name="connsiteX95" fmla="*/ 50740 w 54005"/>
                          <a:gd name="connsiteY95" fmla="*/ 6782 h 31147"/>
                          <a:gd name="connsiteX96" fmla="*/ 50991 w 54005"/>
                          <a:gd name="connsiteY96" fmla="*/ 6908 h 31147"/>
                          <a:gd name="connsiteX97" fmla="*/ 51243 w 54005"/>
                          <a:gd name="connsiteY97" fmla="*/ 7159 h 31147"/>
                          <a:gd name="connsiteX98" fmla="*/ 51243 w 54005"/>
                          <a:gd name="connsiteY98" fmla="*/ 7159 h 31147"/>
                          <a:gd name="connsiteX99" fmla="*/ 51368 w 54005"/>
                          <a:gd name="connsiteY99" fmla="*/ 7159 h 31147"/>
                          <a:gd name="connsiteX100" fmla="*/ 51620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871" y="10048"/>
                            </a:lnTo>
                            <a:lnTo>
                              <a:pt x="51620" y="10173"/>
                            </a:lnTo>
                            <a:lnTo>
                              <a:pt x="51620" y="10173"/>
                            </a:lnTo>
                            <a:lnTo>
                              <a:pt x="48103" y="12183"/>
                            </a:lnTo>
                            <a:lnTo>
                              <a:pt x="48103" y="12183"/>
                            </a:lnTo>
                            <a:lnTo>
                              <a:pt x="47349" y="12559"/>
                            </a:lnTo>
                            <a:lnTo>
                              <a:pt x="47224" y="12685"/>
                            </a:lnTo>
                            <a:lnTo>
                              <a:pt x="46345" y="13187"/>
                            </a:lnTo>
                            <a:lnTo>
                              <a:pt x="34790" y="19844"/>
                            </a:lnTo>
                            <a:lnTo>
                              <a:pt x="34790" y="19844"/>
                            </a:lnTo>
                            <a:lnTo>
                              <a:pt x="34162" y="20221"/>
                            </a:lnTo>
                            <a:lnTo>
                              <a:pt x="32780" y="20974"/>
                            </a:lnTo>
                            <a:lnTo>
                              <a:pt x="32780" y="20974"/>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631"/>
                            </a:lnTo>
                            <a:lnTo>
                              <a:pt x="21226" y="27631"/>
                            </a:lnTo>
                            <a:lnTo>
                              <a:pt x="15197" y="31148"/>
                            </a:lnTo>
                            <a:lnTo>
                              <a:pt x="15197" y="31148"/>
                            </a:lnTo>
                            <a:lnTo>
                              <a:pt x="15072" y="31148"/>
                            </a:lnTo>
                            <a:lnTo>
                              <a:pt x="14569" y="30771"/>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003"/>
                            </a:lnTo>
                            <a:lnTo>
                              <a:pt x="7661" y="26752"/>
                            </a:lnTo>
                            <a:lnTo>
                              <a:pt x="7536" y="26752"/>
                            </a:lnTo>
                            <a:lnTo>
                              <a:pt x="6908" y="26375"/>
                            </a:lnTo>
                            <a:lnTo>
                              <a:pt x="6782" y="26375"/>
                            </a:lnTo>
                            <a:lnTo>
                              <a:pt x="5777" y="25747"/>
                            </a:lnTo>
                            <a:lnTo>
                              <a:pt x="5526" y="25496"/>
                            </a:lnTo>
                            <a:lnTo>
                              <a:pt x="4647" y="25119"/>
                            </a:lnTo>
                            <a:lnTo>
                              <a:pt x="4522" y="24993"/>
                            </a:lnTo>
                            <a:lnTo>
                              <a:pt x="4270" y="24868"/>
                            </a:lnTo>
                            <a:lnTo>
                              <a:pt x="4144" y="24742"/>
                            </a:lnTo>
                            <a:lnTo>
                              <a:pt x="3517" y="24365"/>
                            </a:lnTo>
                            <a:lnTo>
                              <a:pt x="3517" y="24365"/>
                            </a:lnTo>
                            <a:lnTo>
                              <a:pt x="3266" y="24240"/>
                            </a:lnTo>
                            <a:lnTo>
                              <a:pt x="2637" y="23863"/>
                            </a:lnTo>
                            <a:lnTo>
                              <a:pt x="2512" y="23863"/>
                            </a:lnTo>
                            <a:lnTo>
                              <a:pt x="2010" y="23486"/>
                            </a:lnTo>
                            <a:lnTo>
                              <a:pt x="1759" y="23361"/>
                            </a:lnTo>
                            <a:lnTo>
                              <a:pt x="0" y="22356"/>
                            </a:lnTo>
                            <a:lnTo>
                              <a:pt x="0" y="20221"/>
                            </a:lnTo>
                            <a:lnTo>
                              <a:pt x="38934" y="0"/>
                            </a:lnTo>
                            <a:lnTo>
                              <a:pt x="39814" y="502"/>
                            </a:lnTo>
                            <a:lnTo>
                              <a:pt x="40065" y="628"/>
                            </a:lnTo>
                            <a:lnTo>
                              <a:pt x="41195" y="1382"/>
                            </a:lnTo>
                            <a:lnTo>
                              <a:pt x="41572" y="1507"/>
                            </a:lnTo>
                            <a:lnTo>
                              <a:pt x="42702" y="2135"/>
                            </a:lnTo>
                            <a:lnTo>
                              <a:pt x="42828" y="2261"/>
                            </a:lnTo>
                            <a:lnTo>
                              <a:pt x="43330" y="2512"/>
                            </a:lnTo>
                            <a:lnTo>
                              <a:pt x="43456" y="2512"/>
                            </a:lnTo>
                            <a:lnTo>
                              <a:pt x="43456" y="2638"/>
                            </a:lnTo>
                            <a:lnTo>
                              <a:pt x="44461" y="3140"/>
                            </a:lnTo>
                            <a:lnTo>
                              <a:pt x="44712" y="3265"/>
                            </a:lnTo>
                            <a:lnTo>
                              <a:pt x="45340" y="3768"/>
                            </a:lnTo>
                            <a:lnTo>
                              <a:pt x="45465" y="3768"/>
                            </a:lnTo>
                            <a:lnTo>
                              <a:pt x="46596" y="4396"/>
                            </a:lnTo>
                            <a:lnTo>
                              <a:pt x="46847" y="4521"/>
                            </a:lnTo>
                            <a:lnTo>
                              <a:pt x="47098" y="4647"/>
                            </a:lnTo>
                            <a:lnTo>
                              <a:pt x="47224" y="4773"/>
                            </a:lnTo>
                            <a:lnTo>
                              <a:pt x="47852" y="5149"/>
                            </a:lnTo>
                            <a:lnTo>
                              <a:pt x="47977" y="5149"/>
                            </a:lnTo>
                            <a:lnTo>
                              <a:pt x="48354" y="5401"/>
                            </a:lnTo>
                            <a:lnTo>
                              <a:pt x="48480" y="5526"/>
                            </a:lnTo>
                            <a:lnTo>
                              <a:pt x="48857" y="5777"/>
                            </a:lnTo>
                            <a:lnTo>
                              <a:pt x="49108" y="5903"/>
                            </a:lnTo>
                            <a:lnTo>
                              <a:pt x="49610" y="6154"/>
                            </a:lnTo>
                            <a:lnTo>
                              <a:pt x="49987" y="6405"/>
                            </a:lnTo>
                            <a:lnTo>
                              <a:pt x="50238" y="6531"/>
                            </a:lnTo>
                            <a:lnTo>
                              <a:pt x="50238" y="6531"/>
                            </a:lnTo>
                            <a:lnTo>
                              <a:pt x="50364" y="6531"/>
                            </a:lnTo>
                            <a:lnTo>
                              <a:pt x="50740" y="6782"/>
                            </a:lnTo>
                            <a:lnTo>
                              <a:pt x="50991" y="6908"/>
                            </a:lnTo>
                            <a:lnTo>
                              <a:pt x="51243" y="7159"/>
                            </a:lnTo>
                            <a:lnTo>
                              <a:pt x="51243" y="7159"/>
                            </a:lnTo>
                            <a:lnTo>
                              <a:pt x="51368" y="7159"/>
                            </a:lnTo>
                            <a:lnTo>
                              <a:pt x="51620"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42" name="Freeform: Shape 1941">
                        <a:extLst>
                          <a:ext uri="{FF2B5EF4-FFF2-40B4-BE49-F238E27FC236}">
                            <a16:creationId xmlns:a16="http://schemas.microsoft.com/office/drawing/2014/main" id="{0E73F6AB-C9C8-49C8-8BDA-3F62AFFB0512}"/>
                          </a:ext>
                        </a:extLst>
                      </p:cNvPr>
                      <p:cNvSpPr/>
                      <p:nvPr/>
                    </p:nvSpPr>
                    <p:spPr>
                      <a:xfrm>
                        <a:off x="3869705" y="1655189"/>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844 h 31147"/>
                          <a:gd name="connsiteX10" fmla="*/ 34162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733 h 31147"/>
                          <a:gd name="connsiteX17" fmla="*/ 29892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197 w 54005"/>
                          <a:gd name="connsiteY23" fmla="*/ 31148 h 31147"/>
                          <a:gd name="connsiteX24" fmla="*/ 15072 w 54005"/>
                          <a:gd name="connsiteY24" fmla="*/ 31022 h 31147"/>
                          <a:gd name="connsiteX25" fmla="*/ 14569 w 54005"/>
                          <a:gd name="connsiteY25" fmla="*/ 30771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9043 w 54005"/>
                          <a:gd name="connsiteY38" fmla="*/ 27631 h 31147"/>
                          <a:gd name="connsiteX39" fmla="*/ 9043 w 54005"/>
                          <a:gd name="connsiteY39" fmla="*/ 27631 h 31147"/>
                          <a:gd name="connsiteX40" fmla="*/ 8164 w 54005"/>
                          <a:gd name="connsiteY40" fmla="*/ 27128 h 31147"/>
                          <a:gd name="connsiteX41" fmla="*/ 8038 w 54005"/>
                          <a:gd name="connsiteY41" fmla="*/ 27003 h 31147"/>
                          <a:gd name="connsiteX42" fmla="*/ 7661 w 54005"/>
                          <a:gd name="connsiteY42" fmla="*/ 26752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747 h 31147"/>
                          <a:gd name="connsiteX47" fmla="*/ 5526 w 54005"/>
                          <a:gd name="connsiteY47" fmla="*/ 25496 h 31147"/>
                          <a:gd name="connsiteX48" fmla="*/ 4647 w 54005"/>
                          <a:gd name="connsiteY48" fmla="*/ 25119 h 31147"/>
                          <a:gd name="connsiteX49" fmla="*/ 4522 w 54005"/>
                          <a:gd name="connsiteY49" fmla="*/ 24993 h 31147"/>
                          <a:gd name="connsiteX50" fmla="*/ 4270 w 54005"/>
                          <a:gd name="connsiteY50" fmla="*/ 24868 h 31147"/>
                          <a:gd name="connsiteX51" fmla="*/ 4144 w 54005"/>
                          <a:gd name="connsiteY51" fmla="*/ 24742 h 31147"/>
                          <a:gd name="connsiteX52" fmla="*/ 3517 w 54005"/>
                          <a:gd name="connsiteY52" fmla="*/ 24365 h 31147"/>
                          <a:gd name="connsiteX53" fmla="*/ 3517 w 54005"/>
                          <a:gd name="connsiteY53" fmla="*/ 24365 h 31147"/>
                          <a:gd name="connsiteX54" fmla="*/ 3266 w 54005"/>
                          <a:gd name="connsiteY54" fmla="*/ 24240 h 31147"/>
                          <a:gd name="connsiteX55" fmla="*/ 2637 w 54005"/>
                          <a:gd name="connsiteY55" fmla="*/ 23863 h 31147"/>
                          <a:gd name="connsiteX56" fmla="*/ 2512 w 54005"/>
                          <a:gd name="connsiteY56" fmla="*/ 23863 h 31147"/>
                          <a:gd name="connsiteX57" fmla="*/ 2010 w 54005"/>
                          <a:gd name="connsiteY57" fmla="*/ 23612 h 31147"/>
                          <a:gd name="connsiteX58" fmla="*/ 1759 w 54005"/>
                          <a:gd name="connsiteY58" fmla="*/ 23361 h 31147"/>
                          <a:gd name="connsiteX59" fmla="*/ 0 w 54005"/>
                          <a:gd name="connsiteY59" fmla="*/ 22356 h 31147"/>
                          <a:gd name="connsiteX60" fmla="*/ 5526 w 54005"/>
                          <a:gd name="connsiteY60" fmla="*/ 19216 h 31147"/>
                          <a:gd name="connsiteX61" fmla="*/ 5526 w 54005"/>
                          <a:gd name="connsiteY61" fmla="*/ 19216 h 31147"/>
                          <a:gd name="connsiteX62" fmla="*/ 5652 w 54005"/>
                          <a:gd name="connsiteY62" fmla="*/ 19216 h 31147"/>
                          <a:gd name="connsiteX63" fmla="*/ 5777 w 54005"/>
                          <a:gd name="connsiteY63" fmla="*/ 19090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671 h 31147"/>
                          <a:gd name="connsiteX70" fmla="*/ 22482 w 54005"/>
                          <a:gd name="connsiteY70" fmla="*/ 9545 h 31147"/>
                          <a:gd name="connsiteX71" fmla="*/ 22733 w 54005"/>
                          <a:gd name="connsiteY71" fmla="*/ 9294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382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637 h 31147"/>
                          <a:gd name="connsiteX80" fmla="*/ 43456 w 54005"/>
                          <a:gd name="connsiteY80" fmla="*/ 2637 h 31147"/>
                          <a:gd name="connsiteX81" fmla="*/ 44461 w 54005"/>
                          <a:gd name="connsiteY81" fmla="*/ 3140 h 31147"/>
                          <a:gd name="connsiteX82" fmla="*/ 44712 w 54005"/>
                          <a:gd name="connsiteY82" fmla="*/ 3265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275 h 31147"/>
                          <a:gd name="connsiteX90" fmla="*/ 48354 w 54005"/>
                          <a:gd name="connsiteY90" fmla="*/ 5401 h 31147"/>
                          <a:gd name="connsiteX91" fmla="*/ 48480 w 54005"/>
                          <a:gd name="connsiteY91" fmla="*/ 5526 h 31147"/>
                          <a:gd name="connsiteX92" fmla="*/ 48857 w 54005"/>
                          <a:gd name="connsiteY92" fmla="*/ 5777 h 31147"/>
                          <a:gd name="connsiteX93" fmla="*/ 49108 w 54005"/>
                          <a:gd name="connsiteY93" fmla="*/ 5903 h 31147"/>
                          <a:gd name="connsiteX94" fmla="*/ 49735 w 54005"/>
                          <a:gd name="connsiteY94" fmla="*/ 6154 h 31147"/>
                          <a:gd name="connsiteX95" fmla="*/ 49987 w 54005"/>
                          <a:gd name="connsiteY95" fmla="*/ 6405 h 31147"/>
                          <a:gd name="connsiteX96" fmla="*/ 50238 w 54005"/>
                          <a:gd name="connsiteY96" fmla="*/ 6531 h 31147"/>
                          <a:gd name="connsiteX97" fmla="*/ 50238 w 54005"/>
                          <a:gd name="connsiteY97" fmla="*/ 6531 h 31147"/>
                          <a:gd name="connsiteX98" fmla="*/ 50364 w 54005"/>
                          <a:gd name="connsiteY98" fmla="*/ 6531 h 31147"/>
                          <a:gd name="connsiteX99" fmla="*/ 50740 w 54005"/>
                          <a:gd name="connsiteY99" fmla="*/ 6782 h 31147"/>
                          <a:gd name="connsiteX100" fmla="*/ 50991 w 54005"/>
                          <a:gd name="connsiteY100" fmla="*/ 6908 h 31147"/>
                          <a:gd name="connsiteX101" fmla="*/ 51243 w 54005"/>
                          <a:gd name="connsiteY101" fmla="*/ 7159 h 31147"/>
                          <a:gd name="connsiteX102" fmla="*/ 51243 w 54005"/>
                          <a:gd name="connsiteY102" fmla="*/ 7159 h 31147"/>
                          <a:gd name="connsiteX103" fmla="*/ 51368 w 54005"/>
                          <a:gd name="connsiteY103" fmla="*/ 7159 h 31147"/>
                          <a:gd name="connsiteX104" fmla="*/ 51620 w 54005"/>
                          <a:gd name="connsiteY104" fmla="*/ 7284 h 31147"/>
                          <a:gd name="connsiteX105" fmla="*/ 51745 w 54005"/>
                          <a:gd name="connsiteY105" fmla="*/ 7410 h 31147"/>
                          <a:gd name="connsiteX106" fmla="*/ 52247 w 54005"/>
                          <a:gd name="connsiteY106" fmla="*/ 7787 h 31147"/>
                          <a:gd name="connsiteX107" fmla="*/ 52499 w 54005"/>
                          <a:gd name="connsiteY107" fmla="*/ 7787 h 31147"/>
                          <a:gd name="connsiteX108" fmla="*/ 52875 w 54005"/>
                          <a:gd name="connsiteY108" fmla="*/ 8038 h 31147"/>
                          <a:gd name="connsiteX109" fmla="*/ 53001 w 54005"/>
                          <a:gd name="connsiteY109" fmla="*/ 8164 h 31147"/>
                          <a:gd name="connsiteX110" fmla="*/ 53504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559"/>
                            </a:lnTo>
                            <a:lnTo>
                              <a:pt x="47224" y="12685"/>
                            </a:lnTo>
                            <a:lnTo>
                              <a:pt x="46345" y="13187"/>
                            </a:lnTo>
                            <a:lnTo>
                              <a:pt x="34790" y="19844"/>
                            </a:lnTo>
                            <a:lnTo>
                              <a:pt x="34162" y="20221"/>
                            </a:lnTo>
                            <a:lnTo>
                              <a:pt x="32780" y="20974"/>
                            </a:lnTo>
                            <a:lnTo>
                              <a:pt x="32152" y="21351"/>
                            </a:lnTo>
                            <a:lnTo>
                              <a:pt x="32027" y="21477"/>
                            </a:lnTo>
                            <a:lnTo>
                              <a:pt x="32027" y="21477"/>
                            </a:lnTo>
                            <a:lnTo>
                              <a:pt x="31775" y="21602"/>
                            </a:lnTo>
                            <a:lnTo>
                              <a:pt x="29892" y="22733"/>
                            </a:lnTo>
                            <a:lnTo>
                              <a:pt x="29892" y="22733"/>
                            </a:lnTo>
                            <a:lnTo>
                              <a:pt x="29515" y="22858"/>
                            </a:lnTo>
                            <a:lnTo>
                              <a:pt x="21728" y="27380"/>
                            </a:lnTo>
                            <a:lnTo>
                              <a:pt x="21226" y="27631"/>
                            </a:lnTo>
                            <a:lnTo>
                              <a:pt x="21226" y="27631"/>
                            </a:lnTo>
                            <a:lnTo>
                              <a:pt x="15197" y="31148"/>
                            </a:lnTo>
                            <a:lnTo>
                              <a:pt x="15197" y="31148"/>
                            </a:lnTo>
                            <a:lnTo>
                              <a:pt x="15072" y="31022"/>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003"/>
                            </a:lnTo>
                            <a:lnTo>
                              <a:pt x="7661" y="26752"/>
                            </a:lnTo>
                            <a:lnTo>
                              <a:pt x="7536" y="26752"/>
                            </a:lnTo>
                            <a:lnTo>
                              <a:pt x="6908" y="26375"/>
                            </a:lnTo>
                            <a:lnTo>
                              <a:pt x="6782" y="26375"/>
                            </a:lnTo>
                            <a:lnTo>
                              <a:pt x="5777" y="25747"/>
                            </a:lnTo>
                            <a:lnTo>
                              <a:pt x="5526" y="25496"/>
                            </a:lnTo>
                            <a:lnTo>
                              <a:pt x="4647" y="25119"/>
                            </a:lnTo>
                            <a:lnTo>
                              <a:pt x="4522" y="24993"/>
                            </a:lnTo>
                            <a:lnTo>
                              <a:pt x="4270" y="24868"/>
                            </a:lnTo>
                            <a:lnTo>
                              <a:pt x="4144" y="24742"/>
                            </a:lnTo>
                            <a:lnTo>
                              <a:pt x="3517" y="24365"/>
                            </a:lnTo>
                            <a:lnTo>
                              <a:pt x="3517" y="24365"/>
                            </a:lnTo>
                            <a:lnTo>
                              <a:pt x="3266" y="24240"/>
                            </a:lnTo>
                            <a:lnTo>
                              <a:pt x="2637" y="23863"/>
                            </a:lnTo>
                            <a:lnTo>
                              <a:pt x="2512" y="23863"/>
                            </a:lnTo>
                            <a:lnTo>
                              <a:pt x="2010" y="23612"/>
                            </a:lnTo>
                            <a:lnTo>
                              <a:pt x="1759" y="23361"/>
                            </a:lnTo>
                            <a:lnTo>
                              <a:pt x="0" y="22356"/>
                            </a:lnTo>
                            <a:lnTo>
                              <a:pt x="5526" y="19216"/>
                            </a:lnTo>
                            <a:lnTo>
                              <a:pt x="5526" y="19216"/>
                            </a:lnTo>
                            <a:lnTo>
                              <a:pt x="5652" y="19216"/>
                            </a:lnTo>
                            <a:lnTo>
                              <a:pt x="5777" y="19090"/>
                            </a:lnTo>
                            <a:lnTo>
                              <a:pt x="6029" y="18965"/>
                            </a:lnTo>
                            <a:lnTo>
                              <a:pt x="6029" y="18965"/>
                            </a:lnTo>
                            <a:lnTo>
                              <a:pt x="6280" y="18839"/>
                            </a:lnTo>
                            <a:lnTo>
                              <a:pt x="6280" y="18839"/>
                            </a:lnTo>
                            <a:lnTo>
                              <a:pt x="21728" y="9922"/>
                            </a:lnTo>
                            <a:lnTo>
                              <a:pt x="21979" y="9671"/>
                            </a:lnTo>
                            <a:lnTo>
                              <a:pt x="22482" y="9545"/>
                            </a:lnTo>
                            <a:lnTo>
                              <a:pt x="22733" y="9294"/>
                            </a:lnTo>
                            <a:lnTo>
                              <a:pt x="38934" y="0"/>
                            </a:lnTo>
                            <a:lnTo>
                              <a:pt x="39814" y="502"/>
                            </a:lnTo>
                            <a:lnTo>
                              <a:pt x="40065" y="628"/>
                            </a:lnTo>
                            <a:lnTo>
                              <a:pt x="41195" y="1382"/>
                            </a:lnTo>
                            <a:lnTo>
                              <a:pt x="41572" y="1507"/>
                            </a:lnTo>
                            <a:lnTo>
                              <a:pt x="42702" y="2135"/>
                            </a:lnTo>
                            <a:lnTo>
                              <a:pt x="42828" y="2261"/>
                            </a:lnTo>
                            <a:lnTo>
                              <a:pt x="43330" y="2637"/>
                            </a:lnTo>
                            <a:lnTo>
                              <a:pt x="43456" y="2637"/>
                            </a:lnTo>
                            <a:lnTo>
                              <a:pt x="44461" y="3140"/>
                            </a:lnTo>
                            <a:lnTo>
                              <a:pt x="44712" y="3265"/>
                            </a:lnTo>
                            <a:lnTo>
                              <a:pt x="45340" y="3768"/>
                            </a:lnTo>
                            <a:lnTo>
                              <a:pt x="45465" y="3768"/>
                            </a:lnTo>
                            <a:lnTo>
                              <a:pt x="46596" y="4396"/>
                            </a:lnTo>
                            <a:lnTo>
                              <a:pt x="46847" y="4521"/>
                            </a:lnTo>
                            <a:lnTo>
                              <a:pt x="47224" y="4773"/>
                            </a:lnTo>
                            <a:lnTo>
                              <a:pt x="47852" y="5149"/>
                            </a:lnTo>
                            <a:lnTo>
                              <a:pt x="47977" y="5275"/>
                            </a:lnTo>
                            <a:lnTo>
                              <a:pt x="48354" y="5401"/>
                            </a:lnTo>
                            <a:lnTo>
                              <a:pt x="48480" y="5526"/>
                            </a:lnTo>
                            <a:lnTo>
                              <a:pt x="48857" y="5777"/>
                            </a:lnTo>
                            <a:lnTo>
                              <a:pt x="49108" y="5903"/>
                            </a:lnTo>
                            <a:lnTo>
                              <a:pt x="49735" y="6154"/>
                            </a:lnTo>
                            <a:lnTo>
                              <a:pt x="49987" y="6405"/>
                            </a:lnTo>
                            <a:lnTo>
                              <a:pt x="50238" y="6531"/>
                            </a:lnTo>
                            <a:lnTo>
                              <a:pt x="50238" y="6531"/>
                            </a:lnTo>
                            <a:lnTo>
                              <a:pt x="50364" y="6531"/>
                            </a:lnTo>
                            <a:lnTo>
                              <a:pt x="50740" y="6782"/>
                            </a:lnTo>
                            <a:lnTo>
                              <a:pt x="50991" y="6908"/>
                            </a:lnTo>
                            <a:lnTo>
                              <a:pt x="51243" y="7159"/>
                            </a:lnTo>
                            <a:lnTo>
                              <a:pt x="51243" y="7159"/>
                            </a:lnTo>
                            <a:lnTo>
                              <a:pt x="51368" y="7159"/>
                            </a:lnTo>
                            <a:lnTo>
                              <a:pt x="51620" y="7284"/>
                            </a:lnTo>
                            <a:lnTo>
                              <a:pt x="51745" y="7410"/>
                            </a:lnTo>
                            <a:lnTo>
                              <a:pt x="52247" y="7787"/>
                            </a:lnTo>
                            <a:lnTo>
                              <a:pt x="52499" y="7787"/>
                            </a:lnTo>
                            <a:lnTo>
                              <a:pt x="52875" y="8038"/>
                            </a:lnTo>
                            <a:lnTo>
                              <a:pt x="53001" y="8164"/>
                            </a:lnTo>
                            <a:lnTo>
                              <a:pt x="53504"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43" name="Freeform: Shape 1942">
                      <a:extLst>
                        <a:ext uri="{FF2B5EF4-FFF2-40B4-BE49-F238E27FC236}">
                          <a16:creationId xmlns:a16="http://schemas.microsoft.com/office/drawing/2014/main" id="{FCA322FB-D5BB-452A-96EF-5DE3A27A8F5D}"/>
                        </a:ext>
                      </a:extLst>
                    </p:cNvPr>
                    <p:cNvSpPr/>
                    <p:nvPr/>
                  </p:nvSpPr>
                  <p:spPr>
                    <a:xfrm>
                      <a:off x="3869705" y="1677545"/>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44" name="Graphic 4">
                    <a:extLst>
                      <a:ext uri="{FF2B5EF4-FFF2-40B4-BE49-F238E27FC236}">
                        <a16:creationId xmlns:a16="http://schemas.microsoft.com/office/drawing/2014/main" id="{84FB7ED1-A2DF-40A1-A747-5F7CF3F14040}"/>
                      </a:ext>
                    </a:extLst>
                  </p:cNvPr>
                  <p:cNvGrpSpPr/>
                  <p:nvPr/>
                </p:nvGrpSpPr>
                <p:grpSpPr>
                  <a:xfrm>
                    <a:off x="3852498" y="1642002"/>
                    <a:ext cx="54005" cy="33282"/>
                    <a:chOff x="3852498" y="1642002"/>
                    <a:chExt cx="54005" cy="33282"/>
                  </a:xfrm>
                  <a:solidFill>
                    <a:schemeClr val="accent1"/>
                  </a:solidFill>
                </p:grpSpPr>
                <p:grpSp>
                  <p:nvGrpSpPr>
                    <p:cNvPr id="1945" name="Graphic 4">
                      <a:extLst>
                        <a:ext uri="{FF2B5EF4-FFF2-40B4-BE49-F238E27FC236}">
                          <a16:creationId xmlns:a16="http://schemas.microsoft.com/office/drawing/2014/main" id="{84FB7ED1-A2DF-40A1-A747-5F7CF3F14040}"/>
                        </a:ext>
                      </a:extLst>
                    </p:cNvPr>
                    <p:cNvGrpSpPr/>
                    <p:nvPr/>
                  </p:nvGrpSpPr>
                  <p:grpSpPr>
                    <a:xfrm>
                      <a:off x="3852498" y="1642002"/>
                      <a:ext cx="54005" cy="33282"/>
                      <a:chOff x="3852498" y="1642002"/>
                      <a:chExt cx="54005" cy="33282"/>
                    </a:xfrm>
                    <a:solidFill>
                      <a:schemeClr val="accent1"/>
                    </a:solidFill>
                  </p:grpSpPr>
                  <p:sp>
                    <p:nvSpPr>
                      <p:cNvPr id="1946" name="Freeform: Shape 1945">
                        <a:extLst>
                          <a:ext uri="{FF2B5EF4-FFF2-40B4-BE49-F238E27FC236}">
                            <a16:creationId xmlns:a16="http://schemas.microsoft.com/office/drawing/2014/main" id="{E59E1CAE-581D-44ED-9231-D504BD237E14}"/>
                          </a:ext>
                        </a:extLst>
                      </p:cNvPr>
                      <p:cNvSpPr/>
                      <p:nvPr/>
                    </p:nvSpPr>
                    <p:spPr>
                      <a:xfrm>
                        <a:off x="3852498" y="1644137"/>
                        <a:ext cx="54005" cy="31147"/>
                      </a:xfrm>
                      <a:custGeom>
                        <a:avLst/>
                        <a:gdLst>
                          <a:gd name="connsiteX0" fmla="*/ 54006 w 54005"/>
                          <a:gd name="connsiteY0" fmla="*/ 8666 h 31147"/>
                          <a:gd name="connsiteX1" fmla="*/ 51745 w 54005"/>
                          <a:gd name="connsiteY1" fmla="*/ 9922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664 w 54005"/>
                          <a:gd name="connsiteY10" fmla="*/ 19844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351 h 31147"/>
                          <a:gd name="connsiteX16" fmla="*/ 32027 w 54005"/>
                          <a:gd name="connsiteY16" fmla="*/ 21351 h 31147"/>
                          <a:gd name="connsiteX17" fmla="*/ 31650 w 54005"/>
                          <a:gd name="connsiteY17" fmla="*/ 21602 h 31147"/>
                          <a:gd name="connsiteX18" fmla="*/ 31650 w 54005"/>
                          <a:gd name="connsiteY18" fmla="*/ 21602 h 31147"/>
                          <a:gd name="connsiteX19" fmla="*/ 29892 w 54005"/>
                          <a:gd name="connsiteY19" fmla="*/ 22607 h 31147"/>
                          <a:gd name="connsiteX20" fmla="*/ 29892 w 54005"/>
                          <a:gd name="connsiteY20" fmla="*/ 22607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022 h 31147"/>
                          <a:gd name="connsiteX29" fmla="*/ 14569 w 54005"/>
                          <a:gd name="connsiteY29" fmla="*/ 30771 h 31147"/>
                          <a:gd name="connsiteX30" fmla="*/ 14443 w 54005"/>
                          <a:gd name="connsiteY30" fmla="*/ 30771 h 31147"/>
                          <a:gd name="connsiteX31" fmla="*/ 14443 w 54005"/>
                          <a:gd name="connsiteY31" fmla="*/ 30771 h 31147"/>
                          <a:gd name="connsiteX32" fmla="*/ 13941 w 54005"/>
                          <a:gd name="connsiteY32" fmla="*/ 30394 h 31147"/>
                          <a:gd name="connsiteX33" fmla="*/ 13690 w 54005"/>
                          <a:gd name="connsiteY33" fmla="*/ 30268 h 31147"/>
                          <a:gd name="connsiteX34" fmla="*/ 12434 w 54005"/>
                          <a:gd name="connsiteY34" fmla="*/ 29640 h 31147"/>
                          <a:gd name="connsiteX35" fmla="*/ 12434 w 54005"/>
                          <a:gd name="connsiteY35" fmla="*/ 29515 h 31147"/>
                          <a:gd name="connsiteX36" fmla="*/ 11680 w 54005"/>
                          <a:gd name="connsiteY36" fmla="*/ 29138 h 31147"/>
                          <a:gd name="connsiteX37" fmla="*/ 11303 w 54005"/>
                          <a:gd name="connsiteY37" fmla="*/ 29012 h 31147"/>
                          <a:gd name="connsiteX38" fmla="*/ 10676 w 54005"/>
                          <a:gd name="connsiteY38" fmla="*/ 28510 h 31147"/>
                          <a:gd name="connsiteX39" fmla="*/ 10550 w 54005"/>
                          <a:gd name="connsiteY39" fmla="*/ 28510 h 31147"/>
                          <a:gd name="connsiteX40" fmla="*/ 10047 w 54005"/>
                          <a:gd name="connsiteY40" fmla="*/ 28133 h 31147"/>
                          <a:gd name="connsiteX41" fmla="*/ 9922 w 54005"/>
                          <a:gd name="connsiteY41" fmla="*/ 28133 h 31147"/>
                          <a:gd name="connsiteX42" fmla="*/ 9169 w 54005"/>
                          <a:gd name="connsiteY42" fmla="*/ 27631 h 31147"/>
                          <a:gd name="connsiteX43" fmla="*/ 8917 w 54005"/>
                          <a:gd name="connsiteY43" fmla="*/ 27505 h 31147"/>
                          <a:gd name="connsiteX44" fmla="*/ 8917 w 54005"/>
                          <a:gd name="connsiteY44" fmla="*/ 27505 h 31147"/>
                          <a:gd name="connsiteX45" fmla="*/ 8038 w 54005"/>
                          <a:gd name="connsiteY45" fmla="*/ 27003 h 31147"/>
                          <a:gd name="connsiteX46" fmla="*/ 8038 w 54005"/>
                          <a:gd name="connsiteY46" fmla="*/ 27003 h 31147"/>
                          <a:gd name="connsiteX47" fmla="*/ 7536 w 54005"/>
                          <a:gd name="connsiteY47" fmla="*/ 26752 h 31147"/>
                          <a:gd name="connsiteX48" fmla="*/ 7410 w 54005"/>
                          <a:gd name="connsiteY48" fmla="*/ 26626 h 31147"/>
                          <a:gd name="connsiteX49" fmla="*/ 6782 w 54005"/>
                          <a:gd name="connsiteY49" fmla="*/ 26375 h 31147"/>
                          <a:gd name="connsiteX50" fmla="*/ 6782 w 54005"/>
                          <a:gd name="connsiteY50" fmla="*/ 26249 h 31147"/>
                          <a:gd name="connsiteX51" fmla="*/ 5652 w 54005"/>
                          <a:gd name="connsiteY51" fmla="*/ 25621 h 31147"/>
                          <a:gd name="connsiteX52" fmla="*/ 5400 w 54005"/>
                          <a:gd name="connsiteY52" fmla="*/ 25496 h 31147"/>
                          <a:gd name="connsiteX53" fmla="*/ 4521 w 54005"/>
                          <a:gd name="connsiteY53" fmla="*/ 24993 h 31147"/>
                          <a:gd name="connsiteX54" fmla="*/ 4521 w 54005"/>
                          <a:gd name="connsiteY54" fmla="*/ 24993 h 31147"/>
                          <a:gd name="connsiteX55" fmla="*/ 4144 w 54005"/>
                          <a:gd name="connsiteY55" fmla="*/ 24742 h 31147"/>
                          <a:gd name="connsiteX56" fmla="*/ 4144 w 54005"/>
                          <a:gd name="connsiteY56" fmla="*/ 24742 h 31147"/>
                          <a:gd name="connsiteX57" fmla="*/ 3391 w 54005"/>
                          <a:gd name="connsiteY57" fmla="*/ 24365 h 31147"/>
                          <a:gd name="connsiteX58" fmla="*/ 3391 w 54005"/>
                          <a:gd name="connsiteY58" fmla="*/ 24365 h 31147"/>
                          <a:gd name="connsiteX59" fmla="*/ 3266 w 54005"/>
                          <a:gd name="connsiteY59" fmla="*/ 24240 h 31147"/>
                          <a:gd name="connsiteX60" fmla="*/ 2512 w 54005"/>
                          <a:gd name="connsiteY60" fmla="*/ 23863 h 31147"/>
                          <a:gd name="connsiteX61" fmla="*/ 2512 w 54005"/>
                          <a:gd name="connsiteY61" fmla="*/ 23863 h 31147"/>
                          <a:gd name="connsiteX62" fmla="*/ 1884 w 54005"/>
                          <a:gd name="connsiteY62" fmla="*/ 23486 h 31147"/>
                          <a:gd name="connsiteX63" fmla="*/ 1758 w 54005"/>
                          <a:gd name="connsiteY63" fmla="*/ 23361 h 31147"/>
                          <a:gd name="connsiteX64" fmla="*/ 0 w 54005"/>
                          <a:gd name="connsiteY64" fmla="*/ 22356 h 31147"/>
                          <a:gd name="connsiteX65" fmla="*/ 0 w 54005"/>
                          <a:gd name="connsiteY65" fmla="*/ 20221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256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512 h 31147"/>
                          <a:gd name="connsiteX74" fmla="*/ 43330 w 54005"/>
                          <a:gd name="connsiteY74" fmla="*/ 2512 h 31147"/>
                          <a:gd name="connsiteX75" fmla="*/ 43330 w 54005"/>
                          <a:gd name="connsiteY75" fmla="*/ 2512 h 31147"/>
                          <a:gd name="connsiteX76" fmla="*/ 44335 w 54005"/>
                          <a:gd name="connsiteY76" fmla="*/ 3140 h 31147"/>
                          <a:gd name="connsiteX77" fmla="*/ 44586 w 54005"/>
                          <a:gd name="connsiteY77" fmla="*/ 3265 h 31147"/>
                          <a:gd name="connsiteX78" fmla="*/ 45340 w 54005"/>
                          <a:gd name="connsiteY78" fmla="*/ 3642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149 h 31147"/>
                          <a:gd name="connsiteX86" fmla="*/ 48228 w 54005"/>
                          <a:gd name="connsiteY86" fmla="*/ 5401 h 31147"/>
                          <a:gd name="connsiteX87" fmla="*/ 48354 w 54005"/>
                          <a:gd name="connsiteY87" fmla="*/ 5401 h 31147"/>
                          <a:gd name="connsiteX88" fmla="*/ 48856 w 54005"/>
                          <a:gd name="connsiteY88" fmla="*/ 5652 h 31147"/>
                          <a:gd name="connsiteX89" fmla="*/ 48982 w 54005"/>
                          <a:gd name="connsiteY89" fmla="*/ 5777 h 31147"/>
                          <a:gd name="connsiteX90" fmla="*/ 49610 w 54005"/>
                          <a:gd name="connsiteY90" fmla="*/ 6154 h 31147"/>
                          <a:gd name="connsiteX91" fmla="*/ 49861 w 54005"/>
                          <a:gd name="connsiteY91" fmla="*/ 6280 h 31147"/>
                          <a:gd name="connsiteX92" fmla="*/ 50112 w 54005"/>
                          <a:gd name="connsiteY92" fmla="*/ 6405 h 31147"/>
                          <a:gd name="connsiteX93" fmla="*/ 50112 w 54005"/>
                          <a:gd name="connsiteY93" fmla="*/ 6405 h 31147"/>
                          <a:gd name="connsiteX94" fmla="*/ 50238 w 54005"/>
                          <a:gd name="connsiteY94" fmla="*/ 6531 h 31147"/>
                          <a:gd name="connsiteX95" fmla="*/ 50740 w 54005"/>
                          <a:gd name="connsiteY95" fmla="*/ 6782 h 31147"/>
                          <a:gd name="connsiteX96" fmla="*/ 50991 w 54005"/>
                          <a:gd name="connsiteY96" fmla="*/ 6908 h 31147"/>
                          <a:gd name="connsiteX97" fmla="*/ 51117 w 54005"/>
                          <a:gd name="connsiteY97" fmla="*/ 7033 h 31147"/>
                          <a:gd name="connsiteX98" fmla="*/ 51243 w 54005"/>
                          <a:gd name="connsiteY98" fmla="*/ 7033 h 31147"/>
                          <a:gd name="connsiteX99" fmla="*/ 51368 w 54005"/>
                          <a:gd name="connsiteY99" fmla="*/ 7159 h 31147"/>
                          <a:gd name="connsiteX100" fmla="*/ 51619 w 54005"/>
                          <a:gd name="connsiteY100" fmla="*/ 7285 h 31147"/>
                          <a:gd name="connsiteX101" fmla="*/ 51745 w 54005"/>
                          <a:gd name="connsiteY101" fmla="*/ 7410 h 31147"/>
                          <a:gd name="connsiteX102" fmla="*/ 54006 w 54005"/>
                          <a:gd name="connsiteY102" fmla="*/ 6531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666"/>
                            </a:moveTo>
                            <a:lnTo>
                              <a:pt x="51745" y="9922"/>
                            </a:lnTo>
                            <a:lnTo>
                              <a:pt x="51494" y="10173"/>
                            </a:lnTo>
                            <a:lnTo>
                              <a:pt x="51494" y="10173"/>
                            </a:lnTo>
                            <a:lnTo>
                              <a:pt x="48103" y="12183"/>
                            </a:lnTo>
                            <a:lnTo>
                              <a:pt x="48103" y="12183"/>
                            </a:lnTo>
                            <a:lnTo>
                              <a:pt x="47224" y="12559"/>
                            </a:lnTo>
                            <a:lnTo>
                              <a:pt x="47098" y="12685"/>
                            </a:lnTo>
                            <a:lnTo>
                              <a:pt x="46345" y="13187"/>
                            </a:lnTo>
                            <a:lnTo>
                              <a:pt x="34664" y="19844"/>
                            </a:lnTo>
                            <a:lnTo>
                              <a:pt x="34664" y="19844"/>
                            </a:lnTo>
                            <a:lnTo>
                              <a:pt x="34036" y="20221"/>
                            </a:lnTo>
                            <a:lnTo>
                              <a:pt x="32780" y="20974"/>
                            </a:lnTo>
                            <a:lnTo>
                              <a:pt x="32655" y="20974"/>
                            </a:lnTo>
                            <a:lnTo>
                              <a:pt x="32152" y="21351"/>
                            </a:lnTo>
                            <a:lnTo>
                              <a:pt x="32027" y="21351"/>
                            </a:lnTo>
                            <a:lnTo>
                              <a:pt x="32027" y="21351"/>
                            </a:lnTo>
                            <a:lnTo>
                              <a:pt x="31650" y="21602"/>
                            </a:lnTo>
                            <a:lnTo>
                              <a:pt x="31650" y="21602"/>
                            </a:lnTo>
                            <a:lnTo>
                              <a:pt x="29892" y="22607"/>
                            </a:lnTo>
                            <a:lnTo>
                              <a:pt x="29892" y="22607"/>
                            </a:lnTo>
                            <a:lnTo>
                              <a:pt x="29515" y="22858"/>
                            </a:lnTo>
                            <a:lnTo>
                              <a:pt x="21728" y="27380"/>
                            </a:lnTo>
                            <a:lnTo>
                              <a:pt x="21728" y="27380"/>
                            </a:lnTo>
                            <a:lnTo>
                              <a:pt x="21226" y="27631"/>
                            </a:lnTo>
                            <a:lnTo>
                              <a:pt x="21226" y="27631"/>
                            </a:lnTo>
                            <a:lnTo>
                              <a:pt x="15197" y="31148"/>
                            </a:lnTo>
                            <a:lnTo>
                              <a:pt x="15071" y="31148"/>
                            </a:lnTo>
                            <a:lnTo>
                              <a:pt x="14946" y="31022"/>
                            </a:lnTo>
                            <a:lnTo>
                              <a:pt x="14569" y="30771"/>
                            </a:lnTo>
                            <a:lnTo>
                              <a:pt x="14443" y="30771"/>
                            </a:lnTo>
                            <a:lnTo>
                              <a:pt x="14443" y="30771"/>
                            </a:lnTo>
                            <a:lnTo>
                              <a:pt x="13941" y="30394"/>
                            </a:lnTo>
                            <a:lnTo>
                              <a:pt x="13690" y="30268"/>
                            </a:lnTo>
                            <a:lnTo>
                              <a:pt x="12434" y="29640"/>
                            </a:lnTo>
                            <a:lnTo>
                              <a:pt x="12434" y="29515"/>
                            </a:lnTo>
                            <a:lnTo>
                              <a:pt x="11680" y="29138"/>
                            </a:lnTo>
                            <a:lnTo>
                              <a:pt x="11303" y="29012"/>
                            </a:lnTo>
                            <a:lnTo>
                              <a:pt x="10676" y="28510"/>
                            </a:lnTo>
                            <a:lnTo>
                              <a:pt x="10550" y="28510"/>
                            </a:lnTo>
                            <a:lnTo>
                              <a:pt x="10047" y="28133"/>
                            </a:lnTo>
                            <a:lnTo>
                              <a:pt x="9922" y="28133"/>
                            </a:lnTo>
                            <a:lnTo>
                              <a:pt x="9169" y="27631"/>
                            </a:lnTo>
                            <a:lnTo>
                              <a:pt x="8917" y="27505"/>
                            </a:lnTo>
                            <a:lnTo>
                              <a:pt x="8917" y="27505"/>
                            </a:lnTo>
                            <a:lnTo>
                              <a:pt x="8038" y="27003"/>
                            </a:lnTo>
                            <a:lnTo>
                              <a:pt x="8038" y="27003"/>
                            </a:lnTo>
                            <a:lnTo>
                              <a:pt x="7536" y="26752"/>
                            </a:lnTo>
                            <a:lnTo>
                              <a:pt x="7410" y="26626"/>
                            </a:lnTo>
                            <a:lnTo>
                              <a:pt x="6782" y="26375"/>
                            </a:lnTo>
                            <a:lnTo>
                              <a:pt x="6782" y="26249"/>
                            </a:lnTo>
                            <a:lnTo>
                              <a:pt x="5652" y="25621"/>
                            </a:lnTo>
                            <a:lnTo>
                              <a:pt x="5400" y="25496"/>
                            </a:lnTo>
                            <a:lnTo>
                              <a:pt x="4521" y="24993"/>
                            </a:lnTo>
                            <a:lnTo>
                              <a:pt x="4521" y="24993"/>
                            </a:lnTo>
                            <a:lnTo>
                              <a:pt x="4144" y="24742"/>
                            </a:lnTo>
                            <a:lnTo>
                              <a:pt x="4144" y="24742"/>
                            </a:lnTo>
                            <a:lnTo>
                              <a:pt x="3391" y="24365"/>
                            </a:lnTo>
                            <a:lnTo>
                              <a:pt x="3391" y="24365"/>
                            </a:lnTo>
                            <a:lnTo>
                              <a:pt x="3266" y="24240"/>
                            </a:lnTo>
                            <a:lnTo>
                              <a:pt x="2512" y="23863"/>
                            </a:lnTo>
                            <a:lnTo>
                              <a:pt x="2512" y="23863"/>
                            </a:lnTo>
                            <a:lnTo>
                              <a:pt x="1884" y="23486"/>
                            </a:lnTo>
                            <a:lnTo>
                              <a:pt x="1758" y="23361"/>
                            </a:lnTo>
                            <a:lnTo>
                              <a:pt x="0" y="22356"/>
                            </a:lnTo>
                            <a:lnTo>
                              <a:pt x="0" y="20221"/>
                            </a:lnTo>
                            <a:lnTo>
                              <a:pt x="38809" y="0"/>
                            </a:lnTo>
                            <a:lnTo>
                              <a:pt x="39688" y="502"/>
                            </a:lnTo>
                            <a:lnTo>
                              <a:pt x="39939" y="628"/>
                            </a:lnTo>
                            <a:lnTo>
                              <a:pt x="41195" y="1256"/>
                            </a:lnTo>
                            <a:lnTo>
                              <a:pt x="41446" y="1507"/>
                            </a:lnTo>
                            <a:lnTo>
                              <a:pt x="42576" y="2135"/>
                            </a:lnTo>
                            <a:lnTo>
                              <a:pt x="42828" y="2261"/>
                            </a:lnTo>
                            <a:lnTo>
                              <a:pt x="43330" y="2512"/>
                            </a:lnTo>
                            <a:lnTo>
                              <a:pt x="43330" y="2512"/>
                            </a:lnTo>
                            <a:lnTo>
                              <a:pt x="43330" y="2512"/>
                            </a:lnTo>
                            <a:lnTo>
                              <a:pt x="44335" y="3140"/>
                            </a:lnTo>
                            <a:lnTo>
                              <a:pt x="44586" y="3265"/>
                            </a:lnTo>
                            <a:lnTo>
                              <a:pt x="45340" y="3642"/>
                            </a:lnTo>
                            <a:lnTo>
                              <a:pt x="45340" y="3768"/>
                            </a:lnTo>
                            <a:lnTo>
                              <a:pt x="46470" y="4396"/>
                            </a:lnTo>
                            <a:lnTo>
                              <a:pt x="46721" y="4521"/>
                            </a:lnTo>
                            <a:lnTo>
                              <a:pt x="46972" y="4647"/>
                            </a:lnTo>
                            <a:lnTo>
                              <a:pt x="47098" y="4773"/>
                            </a:lnTo>
                            <a:lnTo>
                              <a:pt x="47852" y="5149"/>
                            </a:lnTo>
                            <a:lnTo>
                              <a:pt x="47852" y="5149"/>
                            </a:lnTo>
                            <a:lnTo>
                              <a:pt x="48228" y="5401"/>
                            </a:lnTo>
                            <a:lnTo>
                              <a:pt x="48354" y="5401"/>
                            </a:lnTo>
                            <a:lnTo>
                              <a:pt x="48856" y="5652"/>
                            </a:lnTo>
                            <a:lnTo>
                              <a:pt x="48982" y="5777"/>
                            </a:lnTo>
                            <a:lnTo>
                              <a:pt x="49610" y="6154"/>
                            </a:lnTo>
                            <a:lnTo>
                              <a:pt x="49861" y="6280"/>
                            </a:lnTo>
                            <a:lnTo>
                              <a:pt x="50112" y="6405"/>
                            </a:lnTo>
                            <a:lnTo>
                              <a:pt x="50112" y="6405"/>
                            </a:lnTo>
                            <a:lnTo>
                              <a:pt x="50238" y="6531"/>
                            </a:lnTo>
                            <a:lnTo>
                              <a:pt x="50740" y="6782"/>
                            </a:lnTo>
                            <a:lnTo>
                              <a:pt x="50991" y="6908"/>
                            </a:lnTo>
                            <a:lnTo>
                              <a:pt x="51117" y="7033"/>
                            </a:lnTo>
                            <a:lnTo>
                              <a:pt x="51243" y="7033"/>
                            </a:lnTo>
                            <a:lnTo>
                              <a:pt x="51368" y="7159"/>
                            </a:lnTo>
                            <a:lnTo>
                              <a:pt x="51619" y="7285"/>
                            </a:lnTo>
                            <a:lnTo>
                              <a:pt x="51745" y="7410"/>
                            </a:lnTo>
                            <a:lnTo>
                              <a:pt x="54006" y="653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47" name="Freeform: Shape 1946">
                        <a:extLst>
                          <a:ext uri="{FF2B5EF4-FFF2-40B4-BE49-F238E27FC236}">
                            <a16:creationId xmlns:a16="http://schemas.microsoft.com/office/drawing/2014/main" id="{8FAFC0FD-8F78-4658-9C7D-CFFB9E1E8E76}"/>
                          </a:ext>
                        </a:extLst>
                      </p:cNvPr>
                      <p:cNvSpPr/>
                      <p:nvPr/>
                    </p:nvSpPr>
                    <p:spPr>
                      <a:xfrm>
                        <a:off x="3852498" y="1642002"/>
                        <a:ext cx="54005" cy="31147"/>
                      </a:xfrm>
                      <a:custGeom>
                        <a:avLst/>
                        <a:gdLst>
                          <a:gd name="connsiteX0" fmla="*/ 54006 w 54005"/>
                          <a:gd name="connsiteY0" fmla="*/ 8666 h 31147"/>
                          <a:gd name="connsiteX1" fmla="*/ 51745 w 54005"/>
                          <a:gd name="connsiteY1" fmla="*/ 9922 h 31147"/>
                          <a:gd name="connsiteX2" fmla="*/ 51494 w 54005"/>
                          <a:gd name="connsiteY2" fmla="*/ 10048 h 31147"/>
                          <a:gd name="connsiteX3" fmla="*/ 51494 w 54005"/>
                          <a:gd name="connsiteY3" fmla="*/ 10048 h 31147"/>
                          <a:gd name="connsiteX4" fmla="*/ 48103 w 54005"/>
                          <a:gd name="connsiteY4" fmla="*/ 12057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036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607 h 31147"/>
                          <a:gd name="connsiteX17" fmla="*/ 29766 w 54005"/>
                          <a:gd name="connsiteY17" fmla="*/ 22607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022 h 31147"/>
                          <a:gd name="connsiteX25" fmla="*/ 14569 w 54005"/>
                          <a:gd name="connsiteY25" fmla="*/ 30771 h 31147"/>
                          <a:gd name="connsiteX26" fmla="*/ 14443 w 54005"/>
                          <a:gd name="connsiteY26" fmla="*/ 30771 h 31147"/>
                          <a:gd name="connsiteX27" fmla="*/ 13941 w 54005"/>
                          <a:gd name="connsiteY27" fmla="*/ 30394 h 31147"/>
                          <a:gd name="connsiteX28" fmla="*/ 13690 w 54005"/>
                          <a:gd name="connsiteY28" fmla="*/ 30268 h 31147"/>
                          <a:gd name="connsiteX29" fmla="*/ 12434 w 54005"/>
                          <a:gd name="connsiteY29" fmla="*/ 29640 h 31147"/>
                          <a:gd name="connsiteX30" fmla="*/ 12434 w 54005"/>
                          <a:gd name="connsiteY30" fmla="*/ 29515 h 31147"/>
                          <a:gd name="connsiteX31" fmla="*/ 11680 w 54005"/>
                          <a:gd name="connsiteY31" fmla="*/ 29138 h 31147"/>
                          <a:gd name="connsiteX32" fmla="*/ 11303 w 54005"/>
                          <a:gd name="connsiteY32" fmla="*/ 29012 h 31147"/>
                          <a:gd name="connsiteX33" fmla="*/ 10676 w 54005"/>
                          <a:gd name="connsiteY33" fmla="*/ 28510 h 31147"/>
                          <a:gd name="connsiteX34" fmla="*/ 10550 w 54005"/>
                          <a:gd name="connsiteY34" fmla="*/ 28510 h 31147"/>
                          <a:gd name="connsiteX35" fmla="*/ 10047 w 54005"/>
                          <a:gd name="connsiteY35" fmla="*/ 28133 h 31147"/>
                          <a:gd name="connsiteX36" fmla="*/ 9922 w 54005"/>
                          <a:gd name="connsiteY36" fmla="*/ 28133 h 31147"/>
                          <a:gd name="connsiteX37" fmla="*/ 9169 w 54005"/>
                          <a:gd name="connsiteY37" fmla="*/ 27631 h 31147"/>
                          <a:gd name="connsiteX38" fmla="*/ 8917 w 54005"/>
                          <a:gd name="connsiteY38" fmla="*/ 27505 h 31147"/>
                          <a:gd name="connsiteX39" fmla="*/ 8917 w 54005"/>
                          <a:gd name="connsiteY39" fmla="*/ 27505 h 31147"/>
                          <a:gd name="connsiteX40" fmla="*/ 8038 w 54005"/>
                          <a:gd name="connsiteY40" fmla="*/ 27128 h 31147"/>
                          <a:gd name="connsiteX41" fmla="*/ 8038 w 54005"/>
                          <a:gd name="connsiteY41" fmla="*/ 27003 h 31147"/>
                          <a:gd name="connsiteX42" fmla="*/ 7536 w 54005"/>
                          <a:gd name="connsiteY42" fmla="*/ 26752 h 31147"/>
                          <a:gd name="connsiteX43" fmla="*/ 7410 w 54005"/>
                          <a:gd name="connsiteY43" fmla="*/ 26752 h 31147"/>
                          <a:gd name="connsiteX44" fmla="*/ 6782 w 54005"/>
                          <a:gd name="connsiteY44" fmla="*/ 26375 h 31147"/>
                          <a:gd name="connsiteX45" fmla="*/ 6782 w 54005"/>
                          <a:gd name="connsiteY45" fmla="*/ 26249 h 31147"/>
                          <a:gd name="connsiteX46" fmla="*/ 5652 w 54005"/>
                          <a:gd name="connsiteY46" fmla="*/ 25621 h 31147"/>
                          <a:gd name="connsiteX47" fmla="*/ 5400 w 54005"/>
                          <a:gd name="connsiteY47" fmla="*/ 25496 h 31147"/>
                          <a:gd name="connsiteX48" fmla="*/ 4521 w 54005"/>
                          <a:gd name="connsiteY48" fmla="*/ 24993 h 31147"/>
                          <a:gd name="connsiteX49" fmla="*/ 4521 w 54005"/>
                          <a:gd name="connsiteY49" fmla="*/ 24993 h 31147"/>
                          <a:gd name="connsiteX50" fmla="*/ 4144 w 54005"/>
                          <a:gd name="connsiteY50" fmla="*/ 24868 h 31147"/>
                          <a:gd name="connsiteX51" fmla="*/ 4144 w 54005"/>
                          <a:gd name="connsiteY51" fmla="*/ 24742 h 31147"/>
                          <a:gd name="connsiteX52" fmla="*/ 3391 w 54005"/>
                          <a:gd name="connsiteY52" fmla="*/ 24365 h 31147"/>
                          <a:gd name="connsiteX53" fmla="*/ 3391 w 54005"/>
                          <a:gd name="connsiteY53" fmla="*/ 24365 h 31147"/>
                          <a:gd name="connsiteX54" fmla="*/ 3140 w 54005"/>
                          <a:gd name="connsiteY54" fmla="*/ 24240 h 31147"/>
                          <a:gd name="connsiteX55" fmla="*/ 2512 w 54005"/>
                          <a:gd name="connsiteY55" fmla="*/ 23863 h 31147"/>
                          <a:gd name="connsiteX56" fmla="*/ 2512 w 54005"/>
                          <a:gd name="connsiteY56" fmla="*/ 23863 h 31147"/>
                          <a:gd name="connsiteX57" fmla="*/ 1884 w 54005"/>
                          <a:gd name="connsiteY57" fmla="*/ 23486 h 31147"/>
                          <a:gd name="connsiteX58" fmla="*/ 1758 w 54005"/>
                          <a:gd name="connsiteY58" fmla="*/ 23361 h 31147"/>
                          <a:gd name="connsiteX59" fmla="*/ 0 w 54005"/>
                          <a:gd name="connsiteY59" fmla="*/ 22356 h 31147"/>
                          <a:gd name="connsiteX60" fmla="*/ 5400 w 54005"/>
                          <a:gd name="connsiteY60" fmla="*/ 19216 h 31147"/>
                          <a:gd name="connsiteX61" fmla="*/ 5400 w 54005"/>
                          <a:gd name="connsiteY61" fmla="*/ 19216 h 31147"/>
                          <a:gd name="connsiteX62" fmla="*/ 5652 w 54005"/>
                          <a:gd name="connsiteY62" fmla="*/ 19090 h 31147"/>
                          <a:gd name="connsiteX63" fmla="*/ 5652 w 54005"/>
                          <a:gd name="connsiteY63" fmla="*/ 19090 h 31147"/>
                          <a:gd name="connsiteX64" fmla="*/ 5903 w 54005"/>
                          <a:gd name="connsiteY64" fmla="*/ 18965 h 31147"/>
                          <a:gd name="connsiteX65" fmla="*/ 6029 w 54005"/>
                          <a:gd name="connsiteY65" fmla="*/ 18839 h 31147"/>
                          <a:gd name="connsiteX66" fmla="*/ 6154 w 54005"/>
                          <a:gd name="connsiteY66" fmla="*/ 18839 h 31147"/>
                          <a:gd name="connsiteX67" fmla="*/ 6154 w 54005"/>
                          <a:gd name="connsiteY67" fmla="*/ 18714 h 31147"/>
                          <a:gd name="connsiteX68" fmla="*/ 21602 w 54005"/>
                          <a:gd name="connsiteY68" fmla="*/ 9796 h 31147"/>
                          <a:gd name="connsiteX69" fmla="*/ 21979 w 54005"/>
                          <a:gd name="connsiteY69" fmla="*/ 9671 h 31147"/>
                          <a:gd name="connsiteX70" fmla="*/ 22356 w 54005"/>
                          <a:gd name="connsiteY70" fmla="*/ 9420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256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512 h 31147"/>
                          <a:gd name="connsiteX80" fmla="*/ 43330 w 54005"/>
                          <a:gd name="connsiteY80" fmla="*/ 2512 h 31147"/>
                          <a:gd name="connsiteX81" fmla="*/ 44335 w 54005"/>
                          <a:gd name="connsiteY81" fmla="*/ 3140 h 31147"/>
                          <a:gd name="connsiteX82" fmla="*/ 44586 w 54005"/>
                          <a:gd name="connsiteY82" fmla="*/ 3265 h 31147"/>
                          <a:gd name="connsiteX83" fmla="*/ 45340 w 54005"/>
                          <a:gd name="connsiteY83" fmla="*/ 3642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149 h 31147"/>
                          <a:gd name="connsiteX90" fmla="*/ 48228 w 54005"/>
                          <a:gd name="connsiteY90" fmla="*/ 5401 h 31147"/>
                          <a:gd name="connsiteX91" fmla="*/ 48354 w 54005"/>
                          <a:gd name="connsiteY91" fmla="*/ 5401 h 31147"/>
                          <a:gd name="connsiteX92" fmla="*/ 48856 w 54005"/>
                          <a:gd name="connsiteY92" fmla="*/ 5652 h 31147"/>
                          <a:gd name="connsiteX93" fmla="*/ 48982 w 54005"/>
                          <a:gd name="connsiteY93" fmla="*/ 5777 h 31147"/>
                          <a:gd name="connsiteX94" fmla="*/ 49610 w 54005"/>
                          <a:gd name="connsiteY94" fmla="*/ 6154 h 31147"/>
                          <a:gd name="connsiteX95" fmla="*/ 49861 w 54005"/>
                          <a:gd name="connsiteY95" fmla="*/ 6280 h 31147"/>
                          <a:gd name="connsiteX96" fmla="*/ 50112 w 54005"/>
                          <a:gd name="connsiteY96" fmla="*/ 6531 h 31147"/>
                          <a:gd name="connsiteX97" fmla="*/ 50112 w 54005"/>
                          <a:gd name="connsiteY97" fmla="*/ 6531 h 31147"/>
                          <a:gd name="connsiteX98" fmla="*/ 50238 w 54005"/>
                          <a:gd name="connsiteY98" fmla="*/ 6531 h 31147"/>
                          <a:gd name="connsiteX99" fmla="*/ 50740 w 54005"/>
                          <a:gd name="connsiteY99" fmla="*/ 6782 h 31147"/>
                          <a:gd name="connsiteX100" fmla="*/ 50991 w 54005"/>
                          <a:gd name="connsiteY100" fmla="*/ 6908 h 31147"/>
                          <a:gd name="connsiteX101" fmla="*/ 51117 w 54005"/>
                          <a:gd name="connsiteY101" fmla="*/ 7033 h 31147"/>
                          <a:gd name="connsiteX102" fmla="*/ 51243 w 54005"/>
                          <a:gd name="connsiteY102" fmla="*/ 7033 h 31147"/>
                          <a:gd name="connsiteX103" fmla="*/ 51368 w 54005"/>
                          <a:gd name="connsiteY103" fmla="*/ 7159 h 31147"/>
                          <a:gd name="connsiteX104" fmla="*/ 51619 w 54005"/>
                          <a:gd name="connsiteY104" fmla="*/ 7284 h 31147"/>
                          <a:gd name="connsiteX105" fmla="*/ 51745 w 54005"/>
                          <a:gd name="connsiteY105" fmla="*/ 7410 h 31147"/>
                          <a:gd name="connsiteX106" fmla="*/ 52247 w 54005"/>
                          <a:gd name="connsiteY106" fmla="*/ 7661 h 31147"/>
                          <a:gd name="connsiteX107" fmla="*/ 52373 w 54005"/>
                          <a:gd name="connsiteY107" fmla="*/ 7787 h 31147"/>
                          <a:gd name="connsiteX108" fmla="*/ 52750 w 54005"/>
                          <a:gd name="connsiteY108" fmla="*/ 8038 h 31147"/>
                          <a:gd name="connsiteX109" fmla="*/ 52875 w 54005"/>
                          <a:gd name="connsiteY109" fmla="*/ 8038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666"/>
                            </a:moveTo>
                            <a:lnTo>
                              <a:pt x="51745" y="9922"/>
                            </a:lnTo>
                            <a:lnTo>
                              <a:pt x="51494" y="10048"/>
                            </a:lnTo>
                            <a:lnTo>
                              <a:pt x="51494" y="10048"/>
                            </a:lnTo>
                            <a:lnTo>
                              <a:pt x="48103" y="12057"/>
                            </a:lnTo>
                            <a:lnTo>
                              <a:pt x="48103" y="12183"/>
                            </a:lnTo>
                            <a:lnTo>
                              <a:pt x="47224" y="12559"/>
                            </a:lnTo>
                            <a:lnTo>
                              <a:pt x="47098" y="12685"/>
                            </a:lnTo>
                            <a:lnTo>
                              <a:pt x="46345" y="13187"/>
                            </a:lnTo>
                            <a:lnTo>
                              <a:pt x="34664" y="19844"/>
                            </a:lnTo>
                            <a:lnTo>
                              <a:pt x="34036" y="20221"/>
                            </a:lnTo>
                            <a:lnTo>
                              <a:pt x="32780" y="20974"/>
                            </a:lnTo>
                            <a:lnTo>
                              <a:pt x="32152" y="21351"/>
                            </a:lnTo>
                            <a:lnTo>
                              <a:pt x="32027" y="21477"/>
                            </a:lnTo>
                            <a:lnTo>
                              <a:pt x="32027" y="21477"/>
                            </a:lnTo>
                            <a:lnTo>
                              <a:pt x="31650" y="21602"/>
                            </a:lnTo>
                            <a:lnTo>
                              <a:pt x="29892" y="22607"/>
                            </a:lnTo>
                            <a:lnTo>
                              <a:pt x="29766" y="22607"/>
                            </a:lnTo>
                            <a:lnTo>
                              <a:pt x="29515" y="22858"/>
                            </a:lnTo>
                            <a:lnTo>
                              <a:pt x="21728" y="27380"/>
                            </a:lnTo>
                            <a:lnTo>
                              <a:pt x="21226" y="27631"/>
                            </a:lnTo>
                            <a:lnTo>
                              <a:pt x="21226" y="27631"/>
                            </a:lnTo>
                            <a:lnTo>
                              <a:pt x="15197" y="31148"/>
                            </a:lnTo>
                            <a:lnTo>
                              <a:pt x="15071" y="31148"/>
                            </a:lnTo>
                            <a:lnTo>
                              <a:pt x="14946" y="31022"/>
                            </a:lnTo>
                            <a:lnTo>
                              <a:pt x="14569" y="30771"/>
                            </a:lnTo>
                            <a:lnTo>
                              <a:pt x="14443" y="30771"/>
                            </a:lnTo>
                            <a:lnTo>
                              <a:pt x="13941" y="30394"/>
                            </a:lnTo>
                            <a:lnTo>
                              <a:pt x="13690" y="30268"/>
                            </a:lnTo>
                            <a:lnTo>
                              <a:pt x="12434" y="29640"/>
                            </a:lnTo>
                            <a:lnTo>
                              <a:pt x="12434" y="29515"/>
                            </a:lnTo>
                            <a:lnTo>
                              <a:pt x="11680" y="29138"/>
                            </a:lnTo>
                            <a:lnTo>
                              <a:pt x="11303" y="29012"/>
                            </a:lnTo>
                            <a:lnTo>
                              <a:pt x="10676" y="28510"/>
                            </a:lnTo>
                            <a:lnTo>
                              <a:pt x="10550" y="28510"/>
                            </a:lnTo>
                            <a:lnTo>
                              <a:pt x="10047" y="28133"/>
                            </a:lnTo>
                            <a:lnTo>
                              <a:pt x="9922" y="28133"/>
                            </a:lnTo>
                            <a:lnTo>
                              <a:pt x="9169" y="27631"/>
                            </a:lnTo>
                            <a:lnTo>
                              <a:pt x="8917" y="27505"/>
                            </a:lnTo>
                            <a:lnTo>
                              <a:pt x="8917" y="27505"/>
                            </a:lnTo>
                            <a:lnTo>
                              <a:pt x="8038" y="27128"/>
                            </a:lnTo>
                            <a:lnTo>
                              <a:pt x="8038" y="27003"/>
                            </a:lnTo>
                            <a:lnTo>
                              <a:pt x="7536" y="26752"/>
                            </a:lnTo>
                            <a:lnTo>
                              <a:pt x="7410" y="26752"/>
                            </a:lnTo>
                            <a:lnTo>
                              <a:pt x="6782" y="26375"/>
                            </a:lnTo>
                            <a:lnTo>
                              <a:pt x="6782" y="26249"/>
                            </a:lnTo>
                            <a:lnTo>
                              <a:pt x="5652" y="25621"/>
                            </a:lnTo>
                            <a:lnTo>
                              <a:pt x="5400" y="25496"/>
                            </a:lnTo>
                            <a:lnTo>
                              <a:pt x="4521" y="24993"/>
                            </a:lnTo>
                            <a:lnTo>
                              <a:pt x="4521" y="24993"/>
                            </a:lnTo>
                            <a:lnTo>
                              <a:pt x="4144" y="24868"/>
                            </a:lnTo>
                            <a:lnTo>
                              <a:pt x="4144" y="24742"/>
                            </a:lnTo>
                            <a:lnTo>
                              <a:pt x="3391" y="24365"/>
                            </a:lnTo>
                            <a:lnTo>
                              <a:pt x="3391" y="24365"/>
                            </a:lnTo>
                            <a:lnTo>
                              <a:pt x="3140" y="24240"/>
                            </a:lnTo>
                            <a:lnTo>
                              <a:pt x="2512" y="23863"/>
                            </a:lnTo>
                            <a:lnTo>
                              <a:pt x="2512" y="23863"/>
                            </a:lnTo>
                            <a:lnTo>
                              <a:pt x="1884" y="23486"/>
                            </a:lnTo>
                            <a:lnTo>
                              <a:pt x="1758" y="23361"/>
                            </a:lnTo>
                            <a:lnTo>
                              <a:pt x="0" y="22356"/>
                            </a:lnTo>
                            <a:lnTo>
                              <a:pt x="5400" y="19216"/>
                            </a:lnTo>
                            <a:lnTo>
                              <a:pt x="5400" y="19216"/>
                            </a:lnTo>
                            <a:lnTo>
                              <a:pt x="5652" y="19090"/>
                            </a:lnTo>
                            <a:lnTo>
                              <a:pt x="5652" y="19090"/>
                            </a:lnTo>
                            <a:lnTo>
                              <a:pt x="5903" y="18965"/>
                            </a:lnTo>
                            <a:lnTo>
                              <a:pt x="6029" y="18839"/>
                            </a:lnTo>
                            <a:lnTo>
                              <a:pt x="6154" y="18839"/>
                            </a:lnTo>
                            <a:lnTo>
                              <a:pt x="6154" y="18714"/>
                            </a:lnTo>
                            <a:lnTo>
                              <a:pt x="21602" y="9796"/>
                            </a:lnTo>
                            <a:lnTo>
                              <a:pt x="21979" y="9671"/>
                            </a:lnTo>
                            <a:lnTo>
                              <a:pt x="22356" y="9420"/>
                            </a:lnTo>
                            <a:lnTo>
                              <a:pt x="22607" y="9294"/>
                            </a:lnTo>
                            <a:lnTo>
                              <a:pt x="38809" y="0"/>
                            </a:lnTo>
                            <a:lnTo>
                              <a:pt x="39688" y="502"/>
                            </a:lnTo>
                            <a:lnTo>
                              <a:pt x="39939" y="628"/>
                            </a:lnTo>
                            <a:lnTo>
                              <a:pt x="41195" y="1256"/>
                            </a:lnTo>
                            <a:lnTo>
                              <a:pt x="41446" y="1507"/>
                            </a:lnTo>
                            <a:lnTo>
                              <a:pt x="42576" y="2135"/>
                            </a:lnTo>
                            <a:lnTo>
                              <a:pt x="42828" y="2261"/>
                            </a:lnTo>
                            <a:lnTo>
                              <a:pt x="43330" y="2512"/>
                            </a:lnTo>
                            <a:lnTo>
                              <a:pt x="43330" y="2512"/>
                            </a:lnTo>
                            <a:lnTo>
                              <a:pt x="44335" y="3140"/>
                            </a:lnTo>
                            <a:lnTo>
                              <a:pt x="44586" y="3265"/>
                            </a:lnTo>
                            <a:lnTo>
                              <a:pt x="45340" y="3642"/>
                            </a:lnTo>
                            <a:lnTo>
                              <a:pt x="45340" y="3768"/>
                            </a:lnTo>
                            <a:lnTo>
                              <a:pt x="46470" y="4396"/>
                            </a:lnTo>
                            <a:lnTo>
                              <a:pt x="46721" y="4521"/>
                            </a:lnTo>
                            <a:lnTo>
                              <a:pt x="47098" y="4773"/>
                            </a:lnTo>
                            <a:lnTo>
                              <a:pt x="47852" y="5149"/>
                            </a:lnTo>
                            <a:lnTo>
                              <a:pt x="47852" y="5149"/>
                            </a:lnTo>
                            <a:lnTo>
                              <a:pt x="48228" y="5401"/>
                            </a:lnTo>
                            <a:lnTo>
                              <a:pt x="48354" y="5401"/>
                            </a:lnTo>
                            <a:lnTo>
                              <a:pt x="48856" y="5652"/>
                            </a:lnTo>
                            <a:lnTo>
                              <a:pt x="48982" y="5777"/>
                            </a:lnTo>
                            <a:lnTo>
                              <a:pt x="49610" y="6154"/>
                            </a:lnTo>
                            <a:lnTo>
                              <a:pt x="49861" y="6280"/>
                            </a:lnTo>
                            <a:lnTo>
                              <a:pt x="50112" y="6531"/>
                            </a:lnTo>
                            <a:lnTo>
                              <a:pt x="50112" y="6531"/>
                            </a:lnTo>
                            <a:lnTo>
                              <a:pt x="50238" y="6531"/>
                            </a:lnTo>
                            <a:lnTo>
                              <a:pt x="50740" y="6782"/>
                            </a:lnTo>
                            <a:lnTo>
                              <a:pt x="50991" y="6908"/>
                            </a:lnTo>
                            <a:lnTo>
                              <a:pt x="51117" y="7033"/>
                            </a:lnTo>
                            <a:lnTo>
                              <a:pt x="51243" y="7033"/>
                            </a:lnTo>
                            <a:lnTo>
                              <a:pt x="51368" y="7159"/>
                            </a:lnTo>
                            <a:lnTo>
                              <a:pt x="51619" y="7284"/>
                            </a:lnTo>
                            <a:lnTo>
                              <a:pt x="51745" y="7410"/>
                            </a:lnTo>
                            <a:lnTo>
                              <a:pt x="52247" y="7661"/>
                            </a:lnTo>
                            <a:lnTo>
                              <a:pt x="52373" y="7787"/>
                            </a:lnTo>
                            <a:lnTo>
                              <a:pt x="52750" y="8038"/>
                            </a:lnTo>
                            <a:lnTo>
                              <a:pt x="52875" y="8038"/>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48" name="Freeform: Shape 1947">
                      <a:extLst>
                        <a:ext uri="{FF2B5EF4-FFF2-40B4-BE49-F238E27FC236}">
                          <a16:creationId xmlns:a16="http://schemas.microsoft.com/office/drawing/2014/main" id="{6D1151A6-C058-45BB-A6D3-141C21342D63}"/>
                        </a:ext>
                      </a:extLst>
                    </p:cNvPr>
                    <p:cNvSpPr/>
                    <p:nvPr/>
                  </p:nvSpPr>
                  <p:spPr>
                    <a:xfrm>
                      <a:off x="3852498" y="1664357"/>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49" name="Graphic 4">
                    <a:extLst>
                      <a:ext uri="{FF2B5EF4-FFF2-40B4-BE49-F238E27FC236}">
                        <a16:creationId xmlns:a16="http://schemas.microsoft.com/office/drawing/2014/main" id="{84FB7ED1-A2DF-40A1-A747-5F7CF3F14040}"/>
                      </a:ext>
                    </a:extLst>
                  </p:cNvPr>
                  <p:cNvGrpSpPr/>
                  <p:nvPr/>
                </p:nvGrpSpPr>
                <p:grpSpPr>
                  <a:xfrm>
                    <a:off x="3869705" y="1651798"/>
                    <a:ext cx="54005" cy="33282"/>
                    <a:chOff x="3869705" y="1651798"/>
                    <a:chExt cx="54005" cy="33282"/>
                  </a:xfrm>
                  <a:solidFill>
                    <a:schemeClr val="accent1"/>
                  </a:solidFill>
                </p:grpSpPr>
                <p:grpSp>
                  <p:nvGrpSpPr>
                    <p:cNvPr id="1950" name="Graphic 4">
                      <a:extLst>
                        <a:ext uri="{FF2B5EF4-FFF2-40B4-BE49-F238E27FC236}">
                          <a16:creationId xmlns:a16="http://schemas.microsoft.com/office/drawing/2014/main" id="{84FB7ED1-A2DF-40A1-A747-5F7CF3F14040}"/>
                        </a:ext>
                      </a:extLst>
                    </p:cNvPr>
                    <p:cNvGrpSpPr/>
                    <p:nvPr/>
                  </p:nvGrpSpPr>
                  <p:grpSpPr>
                    <a:xfrm>
                      <a:off x="3869705" y="1651798"/>
                      <a:ext cx="54005" cy="33282"/>
                      <a:chOff x="3869705" y="1651798"/>
                      <a:chExt cx="54005" cy="33282"/>
                    </a:xfrm>
                    <a:solidFill>
                      <a:schemeClr val="accent1"/>
                    </a:solidFill>
                  </p:grpSpPr>
                  <p:sp>
                    <p:nvSpPr>
                      <p:cNvPr id="1951" name="Freeform: Shape 1950">
                        <a:extLst>
                          <a:ext uri="{FF2B5EF4-FFF2-40B4-BE49-F238E27FC236}">
                            <a16:creationId xmlns:a16="http://schemas.microsoft.com/office/drawing/2014/main" id="{DD4E3E32-DB06-45C3-B5BF-8EA53263225C}"/>
                          </a:ext>
                        </a:extLst>
                      </p:cNvPr>
                      <p:cNvSpPr/>
                      <p:nvPr/>
                    </p:nvSpPr>
                    <p:spPr>
                      <a:xfrm>
                        <a:off x="3869705" y="1653933"/>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970 h 31147"/>
                          <a:gd name="connsiteX10" fmla="*/ 34790 w 54005"/>
                          <a:gd name="connsiteY10" fmla="*/ 19970 h 31147"/>
                          <a:gd name="connsiteX11" fmla="*/ 34162 w 54005"/>
                          <a:gd name="connsiteY11" fmla="*/ 20221 h 31147"/>
                          <a:gd name="connsiteX12" fmla="*/ 32780 w 54005"/>
                          <a:gd name="connsiteY12" fmla="*/ 20974 h 31147"/>
                          <a:gd name="connsiteX13" fmla="*/ 32780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197 w 54005"/>
                          <a:gd name="connsiteY27" fmla="*/ 31148 h 31147"/>
                          <a:gd name="connsiteX28" fmla="*/ 15072 w 54005"/>
                          <a:gd name="connsiteY28" fmla="*/ 31148 h 31147"/>
                          <a:gd name="connsiteX29" fmla="*/ 14569 w 54005"/>
                          <a:gd name="connsiteY29" fmla="*/ 30896 h 31147"/>
                          <a:gd name="connsiteX30" fmla="*/ 14569 w 54005"/>
                          <a:gd name="connsiteY30" fmla="*/ 30771 h 31147"/>
                          <a:gd name="connsiteX31" fmla="*/ 14569 w 54005"/>
                          <a:gd name="connsiteY31" fmla="*/ 30771 h 31147"/>
                          <a:gd name="connsiteX32" fmla="*/ 13941 w 54005"/>
                          <a:gd name="connsiteY32" fmla="*/ 30520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9 h 31147"/>
                          <a:gd name="connsiteX46" fmla="*/ 8038 w 54005"/>
                          <a:gd name="connsiteY46" fmla="*/ 27129 h 31147"/>
                          <a:gd name="connsiteX47" fmla="*/ 7661 w 54005"/>
                          <a:gd name="connsiteY47" fmla="*/ 26877 h 31147"/>
                          <a:gd name="connsiteX48" fmla="*/ 7536 w 54005"/>
                          <a:gd name="connsiteY48" fmla="*/ 26752 h 31147"/>
                          <a:gd name="connsiteX49" fmla="*/ 6908 w 54005"/>
                          <a:gd name="connsiteY49" fmla="*/ 26375 h 31147"/>
                          <a:gd name="connsiteX50" fmla="*/ 6782 w 54005"/>
                          <a:gd name="connsiteY50" fmla="*/ 26375 h 31147"/>
                          <a:gd name="connsiteX51" fmla="*/ 5777 w 54005"/>
                          <a:gd name="connsiteY51" fmla="*/ 25747 h 31147"/>
                          <a:gd name="connsiteX52" fmla="*/ 5526 w 54005"/>
                          <a:gd name="connsiteY52" fmla="*/ 25621 h 31147"/>
                          <a:gd name="connsiteX53" fmla="*/ 4647 w 54005"/>
                          <a:gd name="connsiteY53" fmla="*/ 25119 h 31147"/>
                          <a:gd name="connsiteX54" fmla="*/ 4522 w 54005"/>
                          <a:gd name="connsiteY54" fmla="*/ 24993 h 31147"/>
                          <a:gd name="connsiteX55" fmla="*/ 4270 w 54005"/>
                          <a:gd name="connsiteY55" fmla="*/ 24868 h 31147"/>
                          <a:gd name="connsiteX56" fmla="*/ 4144 w 54005"/>
                          <a:gd name="connsiteY56" fmla="*/ 24868 h 31147"/>
                          <a:gd name="connsiteX57" fmla="*/ 3517 w 54005"/>
                          <a:gd name="connsiteY57" fmla="*/ 24365 h 31147"/>
                          <a:gd name="connsiteX58" fmla="*/ 3517 w 54005"/>
                          <a:gd name="connsiteY58" fmla="*/ 24365 h 31147"/>
                          <a:gd name="connsiteX59" fmla="*/ 3266 w 54005"/>
                          <a:gd name="connsiteY59" fmla="*/ 24240 h 31147"/>
                          <a:gd name="connsiteX60" fmla="*/ 2637 w 54005"/>
                          <a:gd name="connsiteY60" fmla="*/ 23863 h 31147"/>
                          <a:gd name="connsiteX61" fmla="*/ 2512 w 54005"/>
                          <a:gd name="connsiteY61" fmla="*/ 23863 h 31147"/>
                          <a:gd name="connsiteX62" fmla="*/ 2010 w 54005"/>
                          <a:gd name="connsiteY62" fmla="*/ 23612 h 31147"/>
                          <a:gd name="connsiteX63" fmla="*/ 1759 w 54005"/>
                          <a:gd name="connsiteY63" fmla="*/ 23486 h 31147"/>
                          <a:gd name="connsiteX64" fmla="*/ 0 w 54005"/>
                          <a:gd name="connsiteY64" fmla="*/ 22481 h 31147"/>
                          <a:gd name="connsiteX65" fmla="*/ 0 w 54005"/>
                          <a:gd name="connsiteY65" fmla="*/ 20346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382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638 h 31147"/>
                          <a:gd name="connsiteX74" fmla="*/ 43456 w 54005"/>
                          <a:gd name="connsiteY74" fmla="*/ 2638 h 31147"/>
                          <a:gd name="connsiteX75" fmla="*/ 43456 w 54005"/>
                          <a:gd name="connsiteY75" fmla="*/ 2638 h 31147"/>
                          <a:gd name="connsiteX76" fmla="*/ 44461 w 54005"/>
                          <a:gd name="connsiteY76" fmla="*/ 3140 h 31147"/>
                          <a:gd name="connsiteX77" fmla="*/ 44712 w 54005"/>
                          <a:gd name="connsiteY77" fmla="*/ 3391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521 h 31147"/>
                          <a:gd name="connsiteX82" fmla="*/ 47098 w 54005"/>
                          <a:gd name="connsiteY82" fmla="*/ 4647 h 31147"/>
                          <a:gd name="connsiteX83" fmla="*/ 47224 w 54005"/>
                          <a:gd name="connsiteY83" fmla="*/ 4773 h 31147"/>
                          <a:gd name="connsiteX84" fmla="*/ 47852 w 54005"/>
                          <a:gd name="connsiteY84" fmla="*/ 5149 h 31147"/>
                          <a:gd name="connsiteX85" fmla="*/ 47977 w 54005"/>
                          <a:gd name="connsiteY85" fmla="*/ 5275 h 31147"/>
                          <a:gd name="connsiteX86" fmla="*/ 48354 w 54005"/>
                          <a:gd name="connsiteY86" fmla="*/ 5401 h 31147"/>
                          <a:gd name="connsiteX87" fmla="*/ 48480 w 54005"/>
                          <a:gd name="connsiteY87" fmla="*/ 5526 h 31147"/>
                          <a:gd name="connsiteX88" fmla="*/ 48857 w 54005"/>
                          <a:gd name="connsiteY88" fmla="*/ 5777 h 31147"/>
                          <a:gd name="connsiteX89" fmla="*/ 49108 w 54005"/>
                          <a:gd name="connsiteY89" fmla="*/ 5903 h 31147"/>
                          <a:gd name="connsiteX90" fmla="*/ 49610 w 54005"/>
                          <a:gd name="connsiteY90" fmla="*/ 6154 h 31147"/>
                          <a:gd name="connsiteX91" fmla="*/ 49987 w 54005"/>
                          <a:gd name="connsiteY91" fmla="*/ 6405 h 31147"/>
                          <a:gd name="connsiteX92" fmla="*/ 50238 w 54005"/>
                          <a:gd name="connsiteY92" fmla="*/ 6531 h 31147"/>
                          <a:gd name="connsiteX93" fmla="*/ 50238 w 54005"/>
                          <a:gd name="connsiteY93" fmla="*/ 6531 h 31147"/>
                          <a:gd name="connsiteX94" fmla="*/ 50364 w 54005"/>
                          <a:gd name="connsiteY94" fmla="*/ 6531 h 31147"/>
                          <a:gd name="connsiteX95" fmla="*/ 50740 w 54005"/>
                          <a:gd name="connsiteY95" fmla="*/ 6782 h 31147"/>
                          <a:gd name="connsiteX96" fmla="*/ 50991 w 54005"/>
                          <a:gd name="connsiteY96" fmla="*/ 7033 h 31147"/>
                          <a:gd name="connsiteX97" fmla="*/ 51243 w 54005"/>
                          <a:gd name="connsiteY97" fmla="*/ 7159 h 31147"/>
                          <a:gd name="connsiteX98" fmla="*/ 51243 w 54005"/>
                          <a:gd name="connsiteY98" fmla="*/ 7159 h 31147"/>
                          <a:gd name="connsiteX99" fmla="*/ 51368 w 54005"/>
                          <a:gd name="connsiteY99" fmla="*/ 7159 h 31147"/>
                          <a:gd name="connsiteX100" fmla="*/ 51620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871" y="10048"/>
                            </a:lnTo>
                            <a:lnTo>
                              <a:pt x="51620" y="10173"/>
                            </a:lnTo>
                            <a:lnTo>
                              <a:pt x="51620" y="10173"/>
                            </a:lnTo>
                            <a:lnTo>
                              <a:pt x="48103" y="12183"/>
                            </a:lnTo>
                            <a:lnTo>
                              <a:pt x="48103" y="12183"/>
                            </a:lnTo>
                            <a:lnTo>
                              <a:pt x="47349" y="12559"/>
                            </a:lnTo>
                            <a:lnTo>
                              <a:pt x="47224" y="12685"/>
                            </a:lnTo>
                            <a:lnTo>
                              <a:pt x="46345" y="13187"/>
                            </a:lnTo>
                            <a:lnTo>
                              <a:pt x="34790" y="19970"/>
                            </a:lnTo>
                            <a:lnTo>
                              <a:pt x="34790" y="19970"/>
                            </a:lnTo>
                            <a:lnTo>
                              <a:pt x="34162" y="20221"/>
                            </a:lnTo>
                            <a:lnTo>
                              <a:pt x="32780" y="20974"/>
                            </a:lnTo>
                            <a:lnTo>
                              <a:pt x="32780" y="20974"/>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631"/>
                            </a:lnTo>
                            <a:lnTo>
                              <a:pt x="21226" y="27631"/>
                            </a:lnTo>
                            <a:lnTo>
                              <a:pt x="15197" y="31148"/>
                            </a:lnTo>
                            <a:lnTo>
                              <a:pt x="15197" y="31148"/>
                            </a:lnTo>
                            <a:lnTo>
                              <a:pt x="15072" y="31148"/>
                            </a:lnTo>
                            <a:lnTo>
                              <a:pt x="14569" y="30896"/>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9"/>
                            </a:lnTo>
                            <a:lnTo>
                              <a:pt x="8038" y="27129"/>
                            </a:lnTo>
                            <a:lnTo>
                              <a:pt x="7661" y="26877"/>
                            </a:lnTo>
                            <a:lnTo>
                              <a:pt x="7536" y="26752"/>
                            </a:lnTo>
                            <a:lnTo>
                              <a:pt x="6908" y="26375"/>
                            </a:lnTo>
                            <a:lnTo>
                              <a:pt x="6782" y="26375"/>
                            </a:lnTo>
                            <a:lnTo>
                              <a:pt x="5777" y="25747"/>
                            </a:lnTo>
                            <a:lnTo>
                              <a:pt x="5526" y="25621"/>
                            </a:lnTo>
                            <a:lnTo>
                              <a:pt x="4647" y="25119"/>
                            </a:lnTo>
                            <a:lnTo>
                              <a:pt x="4522" y="24993"/>
                            </a:lnTo>
                            <a:lnTo>
                              <a:pt x="4270" y="24868"/>
                            </a:lnTo>
                            <a:lnTo>
                              <a:pt x="4144" y="24868"/>
                            </a:lnTo>
                            <a:lnTo>
                              <a:pt x="3517" y="24365"/>
                            </a:lnTo>
                            <a:lnTo>
                              <a:pt x="3517" y="24365"/>
                            </a:lnTo>
                            <a:lnTo>
                              <a:pt x="3266" y="24240"/>
                            </a:lnTo>
                            <a:lnTo>
                              <a:pt x="2637" y="23863"/>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135"/>
                            </a:lnTo>
                            <a:lnTo>
                              <a:pt x="42828" y="2261"/>
                            </a:lnTo>
                            <a:lnTo>
                              <a:pt x="43330" y="2638"/>
                            </a:lnTo>
                            <a:lnTo>
                              <a:pt x="43456" y="2638"/>
                            </a:lnTo>
                            <a:lnTo>
                              <a:pt x="43456" y="2638"/>
                            </a:lnTo>
                            <a:lnTo>
                              <a:pt x="44461" y="3140"/>
                            </a:lnTo>
                            <a:lnTo>
                              <a:pt x="44712" y="3391"/>
                            </a:lnTo>
                            <a:lnTo>
                              <a:pt x="45340" y="3768"/>
                            </a:lnTo>
                            <a:lnTo>
                              <a:pt x="45465" y="3768"/>
                            </a:lnTo>
                            <a:lnTo>
                              <a:pt x="46596" y="4396"/>
                            </a:lnTo>
                            <a:lnTo>
                              <a:pt x="46847" y="4521"/>
                            </a:lnTo>
                            <a:lnTo>
                              <a:pt x="47098" y="4647"/>
                            </a:lnTo>
                            <a:lnTo>
                              <a:pt x="47224" y="4773"/>
                            </a:lnTo>
                            <a:lnTo>
                              <a:pt x="47852" y="5149"/>
                            </a:lnTo>
                            <a:lnTo>
                              <a:pt x="47977" y="5275"/>
                            </a:lnTo>
                            <a:lnTo>
                              <a:pt x="48354" y="5401"/>
                            </a:lnTo>
                            <a:lnTo>
                              <a:pt x="48480" y="5526"/>
                            </a:lnTo>
                            <a:lnTo>
                              <a:pt x="48857" y="5777"/>
                            </a:lnTo>
                            <a:lnTo>
                              <a:pt x="49108" y="5903"/>
                            </a:lnTo>
                            <a:lnTo>
                              <a:pt x="49610" y="6154"/>
                            </a:lnTo>
                            <a:lnTo>
                              <a:pt x="49987" y="6405"/>
                            </a:lnTo>
                            <a:lnTo>
                              <a:pt x="50238" y="6531"/>
                            </a:lnTo>
                            <a:lnTo>
                              <a:pt x="50238" y="6531"/>
                            </a:lnTo>
                            <a:lnTo>
                              <a:pt x="50364" y="6531"/>
                            </a:lnTo>
                            <a:lnTo>
                              <a:pt x="50740" y="6782"/>
                            </a:lnTo>
                            <a:lnTo>
                              <a:pt x="50991" y="7033"/>
                            </a:lnTo>
                            <a:lnTo>
                              <a:pt x="51243" y="7159"/>
                            </a:lnTo>
                            <a:lnTo>
                              <a:pt x="51243" y="7159"/>
                            </a:lnTo>
                            <a:lnTo>
                              <a:pt x="51368" y="7159"/>
                            </a:lnTo>
                            <a:lnTo>
                              <a:pt x="51620"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52" name="Freeform: Shape 1951">
                        <a:extLst>
                          <a:ext uri="{FF2B5EF4-FFF2-40B4-BE49-F238E27FC236}">
                            <a16:creationId xmlns:a16="http://schemas.microsoft.com/office/drawing/2014/main" id="{997B2362-B58B-4C52-BE40-8280076BA9F7}"/>
                          </a:ext>
                        </a:extLst>
                      </p:cNvPr>
                      <p:cNvSpPr/>
                      <p:nvPr/>
                    </p:nvSpPr>
                    <p:spPr>
                      <a:xfrm>
                        <a:off x="3869705" y="1651798"/>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685 h 31147"/>
                          <a:gd name="connsiteX8" fmla="*/ 46345 w 54005"/>
                          <a:gd name="connsiteY8" fmla="*/ 13187 h 31147"/>
                          <a:gd name="connsiteX9" fmla="*/ 34790 w 54005"/>
                          <a:gd name="connsiteY9" fmla="*/ 19970 h 31147"/>
                          <a:gd name="connsiteX10" fmla="*/ 34162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733 h 31147"/>
                          <a:gd name="connsiteX17" fmla="*/ 29892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197 w 54005"/>
                          <a:gd name="connsiteY23" fmla="*/ 31148 h 31147"/>
                          <a:gd name="connsiteX24" fmla="*/ 15072 w 54005"/>
                          <a:gd name="connsiteY24" fmla="*/ 31148 h 31147"/>
                          <a:gd name="connsiteX25" fmla="*/ 14569 w 54005"/>
                          <a:gd name="connsiteY25" fmla="*/ 30896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9043 w 54005"/>
                          <a:gd name="connsiteY38" fmla="*/ 27631 h 31147"/>
                          <a:gd name="connsiteX39" fmla="*/ 9043 w 54005"/>
                          <a:gd name="connsiteY39" fmla="*/ 27631 h 31147"/>
                          <a:gd name="connsiteX40" fmla="*/ 8164 w 54005"/>
                          <a:gd name="connsiteY40" fmla="*/ 27128 h 31147"/>
                          <a:gd name="connsiteX41" fmla="*/ 8038 w 54005"/>
                          <a:gd name="connsiteY41" fmla="*/ 27128 h 31147"/>
                          <a:gd name="connsiteX42" fmla="*/ 7661 w 54005"/>
                          <a:gd name="connsiteY42" fmla="*/ 26877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747 h 31147"/>
                          <a:gd name="connsiteX47" fmla="*/ 5526 w 54005"/>
                          <a:gd name="connsiteY47" fmla="*/ 25621 h 31147"/>
                          <a:gd name="connsiteX48" fmla="*/ 4647 w 54005"/>
                          <a:gd name="connsiteY48" fmla="*/ 25119 h 31147"/>
                          <a:gd name="connsiteX49" fmla="*/ 4522 w 54005"/>
                          <a:gd name="connsiteY49" fmla="*/ 24993 h 31147"/>
                          <a:gd name="connsiteX50" fmla="*/ 4270 w 54005"/>
                          <a:gd name="connsiteY50" fmla="*/ 24868 h 31147"/>
                          <a:gd name="connsiteX51" fmla="*/ 4144 w 54005"/>
                          <a:gd name="connsiteY51" fmla="*/ 24868 h 31147"/>
                          <a:gd name="connsiteX52" fmla="*/ 3517 w 54005"/>
                          <a:gd name="connsiteY52" fmla="*/ 24365 h 31147"/>
                          <a:gd name="connsiteX53" fmla="*/ 3517 w 54005"/>
                          <a:gd name="connsiteY53" fmla="*/ 24365 h 31147"/>
                          <a:gd name="connsiteX54" fmla="*/ 3266 w 54005"/>
                          <a:gd name="connsiteY54" fmla="*/ 24240 h 31147"/>
                          <a:gd name="connsiteX55" fmla="*/ 2637 w 54005"/>
                          <a:gd name="connsiteY55" fmla="*/ 23863 h 31147"/>
                          <a:gd name="connsiteX56" fmla="*/ 2512 w 54005"/>
                          <a:gd name="connsiteY56" fmla="*/ 23863 h 31147"/>
                          <a:gd name="connsiteX57" fmla="*/ 2010 w 54005"/>
                          <a:gd name="connsiteY57" fmla="*/ 23612 h 31147"/>
                          <a:gd name="connsiteX58" fmla="*/ 1759 w 54005"/>
                          <a:gd name="connsiteY58" fmla="*/ 23486 h 31147"/>
                          <a:gd name="connsiteX59" fmla="*/ 0 w 54005"/>
                          <a:gd name="connsiteY59" fmla="*/ 22356 h 31147"/>
                          <a:gd name="connsiteX60" fmla="*/ 5526 w 54005"/>
                          <a:gd name="connsiteY60" fmla="*/ 19342 h 31147"/>
                          <a:gd name="connsiteX61" fmla="*/ 5526 w 54005"/>
                          <a:gd name="connsiteY61" fmla="*/ 19216 h 31147"/>
                          <a:gd name="connsiteX62" fmla="*/ 5652 w 54005"/>
                          <a:gd name="connsiteY62" fmla="*/ 19216 h 31147"/>
                          <a:gd name="connsiteX63" fmla="*/ 5777 w 54005"/>
                          <a:gd name="connsiteY63" fmla="*/ 19216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796 h 31147"/>
                          <a:gd name="connsiteX70" fmla="*/ 22482 w 54005"/>
                          <a:gd name="connsiteY70" fmla="*/ 9545 h 31147"/>
                          <a:gd name="connsiteX71" fmla="*/ 22733 w 54005"/>
                          <a:gd name="connsiteY71" fmla="*/ 9294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382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637 h 31147"/>
                          <a:gd name="connsiteX80" fmla="*/ 43456 w 54005"/>
                          <a:gd name="connsiteY80" fmla="*/ 2637 h 31147"/>
                          <a:gd name="connsiteX81" fmla="*/ 44461 w 54005"/>
                          <a:gd name="connsiteY81" fmla="*/ 3140 h 31147"/>
                          <a:gd name="connsiteX82" fmla="*/ 44712 w 54005"/>
                          <a:gd name="connsiteY82" fmla="*/ 3391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275 h 31147"/>
                          <a:gd name="connsiteX90" fmla="*/ 48354 w 54005"/>
                          <a:gd name="connsiteY90" fmla="*/ 5401 h 31147"/>
                          <a:gd name="connsiteX91" fmla="*/ 48480 w 54005"/>
                          <a:gd name="connsiteY91" fmla="*/ 5526 h 31147"/>
                          <a:gd name="connsiteX92" fmla="*/ 48857 w 54005"/>
                          <a:gd name="connsiteY92" fmla="*/ 5777 h 31147"/>
                          <a:gd name="connsiteX93" fmla="*/ 49108 w 54005"/>
                          <a:gd name="connsiteY93" fmla="*/ 5903 h 31147"/>
                          <a:gd name="connsiteX94" fmla="*/ 49735 w 54005"/>
                          <a:gd name="connsiteY94" fmla="*/ 6154 h 31147"/>
                          <a:gd name="connsiteX95" fmla="*/ 49987 w 54005"/>
                          <a:gd name="connsiteY95" fmla="*/ 6405 h 31147"/>
                          <a:gd name="connsiteX96" fmla="*/ 50238 w 54005"/>
                          <a:gd name="connsiteY96" fmla="*/ 6531 h 31147"/>
                          <a:gd name="connsiteX97" fmla="*/ 50238 w 54005"/>
                          <a:gd name="connsiteY97" fmla="*/ 6531 h 31147"/>
                          <a:gd name="connsiteX98" fmla="*/ 50364 w 54005"/>
                          <a:gd name="connsiteY98" fmla="*/ 6531 h 31147"/>
                          <a:gd name="connsiteX99" fmla="*/ 50740 w 54005"/>
                          <a:gd name="connsiteY99" fmla="*/ 6908 h 31147"/>
                          <a:gd name="connsiteX100" fmla="*/ 50991 w 54005"/>
                          <a:gd name="connsiteY100" fmla="*/ 7033 h 31147"/>
                          <a:gd name="connsiteX101" fmla="*/ 51243 w 54005"/>
                          <a:gd name="connsiteY101" fmla="*/ 7159 h 31147"/>
                          <a:gd name="connsiteX102" fmla="*/ 51243 w 54005"/>
                          <a:gd name="connsiteY102" fmla="*/ 7159 h 31147"/>
                          <a:gd name="connsiteX103" fmla="*/ 51368 w 54005"/>
                          <a:gd name="connsiteY103" fmla="*/ 7159 h 31147"/>
                          <a:gd name="connsiteX104" fmla="*/ 51620 w 54005"/>
                          <a:gd name="connsiteY104" fmla="*/ 7410 h 31147"/>
                          <a:gd name="connsiteX105" fmla="*/ 51745 w 54005"/>
                          <a:gd name="connsiteY105" fmla="*/ 7410 h 31147"/>
                          <a:gd name="connsiteX106" fmla="*/ 52247 w 54005"/>
                          <a:gd name="connsiteY106" fmla="*/ 7787 h 31147"/>
                          <a:gd name="connsiteX107" fmla="*/ 52499 w 54005"/>
                          <a:gd name="connsiteY107" fmla="*/ 7787 h 31147"/>
                          <a:gd name="connsiteX108" fmla="*/ 52875 w 54005"/>
                          <a:gd name="connsiteY108" fmla="*/ 8038 h 31147"/>
                          <a:gd name="connsiteX109" fmla="*/ 53001 w 54005"/>
                          <a:gd name="connsiteY109" fmla="*/ 8164 h 31147"/>
                          <a:gd name="connsiteX110" fmla="*/ 53504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685"/>
                            </a:lnTo>
                            <a:lnTo>
                              <a:pt x="46345" y="13187"/>
                            </a:lnTo>
                            <a:lnTo>
                              <a:pt x="34790" y="19970"/>
                            </a:lnTo>
                            <a:lnTo>
                              <a:pt x="34162" y="20221"/>
                            </a:lnTo>
                            <a:lnTo>
                              <a:pt x="32780" y="20974"/>
                            </a:lnTo>
                            <a:lnTo>
                              <a:pt x="32152" y="21351"/>
                            </a:lnTo>
                            <a:lnTo>
                              <a:pt x="32027" y="21477"/>
                            </a:lnTo>
                            <a:lnTo>
                              <a:pt x="32027" y="21477"/>
                            </a:lnTo>
                            <a:lnTo>
                              <a:pt x="31775" y="21602"/>
                            </a:lnTo>
                            <a:lnTo>
                              <a:pt x="29892" y="22733"/>
                            </a:lnTo>
                            <a:lnTo>
                              <a:pt x="29892" y="22733"/>
                            </a:lnTo>
                            <a:lnTo>
                              <a:pt x="29515" y="22858"/>
                            </a:lnTo>
                            <a:lnTo>
                              <a:pt x="21728" y="27380"/>
                            </a:lnTo>
                            <a:lnTo>
                              <a:pt x="21226" y="27631"/>
                            </a:lnTo>
                            <a:lnTo>
                              <a:pt x="21226" y="27631"/>
                            </a:lnTo>
                            <a:lnTo>
                              <a:pt x="15197" y="31148"/>
                            </a:lnTo>
                            <a:lnTo>
                              <a:pt x="15197" y="31148"/>
                            </a:lnTo>
                            <a:lnTo>
                              <a:pt x="15072" y="31148"/>
                            </a:lnTo>
                            <a:lnTo>
                              <a:pt x="14569" y="30896"/>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4993"/>
                            </a:lnTo>
                            <a:lnTo>
                              <a:pt x="4270" y="24868"/>
                            </a:lnTo>
                            <a:lnTo>
                              <a:pt x="4144" y="24868"/>
                            </a:lnTo>
                            <a:lnTo>
                              <a:pt x="3517" y="24365"/>
                            </a:lnTo>
                            <a:lnTo>
                              <a:pt x="3517" y="24365"/>
                            </a:lnTo>
                            <a:lnTo>
                              <a:pt x="3266" y="24240"/>
                            </a:lnTo>
                            <a:lnTo>
                              <a:pt x="2637" y="23863"/>
                            </a:lnTo>
                            <a:lnTo>
                              <a:pt x="2512" y="23863"/>
                            </a:lnTo>
                            <a:lnTo>
                              <a:pt x="2010" y="23612"/>
                            </a:lnTo>
                            <a:lnTo>
                              <a:pt x="1759" y="23486"/>
                            </a:lnTo>
                            <a:lnTo>
                              <a:pt x="0" y="22356"/>
                            </a:lnTo>
                            <a:lnTo>
                              <a:pt x="5526" y="19342"/>
                            </a:lnTo>
                            <a:lnTo>
                              <a:pt x="5526" y="19216"/>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294"/>
                            </a:lnTo>
                            <a:lnTo>
                              <a:pt x="38934" y="0"/>
                            </a:lnTo>
                            <a:lnTo>
                              <a:pt x="39814" y="502"/>
                            </a:lnTo>
                            <a:lnTo>
                              <a:pt x="40065" y="628"/>
                            </a:lnTo>
                            <a:lnTo>
                              <a:pt x="41195" y="1382"/>
                            </a:lnTo>
                            <a:lnTo>
                              <a:pt x="41572" y="1507"/>
                            </a:lnTo>
                            <a:lnTo>
                              <a:pt x="42702" y="2135"/>
                            </a:lnTo>
                            <a:lnTo>
                              <a:pt x="42828" y="2261"/>
                            </a:lnTo>
                            <a:lnTo>
                              <a:pt x="43330" y="2637"/>
                            </a:lnTo>
                            <a:lnTo>
                              <a:pt x="43456" y="2637"/>
                            </a:lnTo>
                            <a:lnTo>
                              <a:pt x="44461" y="3140"/>
                            </a:lnTo>
                            <a:lnTo>
                              <a:pt x="44712" y="3391"/>
                            </a:lnTo>
                            <a:lnTo>
                              <a:pt x="45340" y="3768"/>
                            </a:lnTo>
                            <a:lnTo>
                              <a:pt x="45465" y="3768"/>
                            </a:lnTo>
                            <a:lnTo>
                              <a:pt x="46596" y="4396"/>
                            </a:lnTo>
                            <a:lnTo>
                              <a:pt x="46847" y="4521"/>
                            </a:lnTo>
                            <a:lnTo>
                              <a:pt x="47224" y="4773"/>
                            </a:lnTo>
                            <a:lnTo>
                              <a:pt x="47852" y="5149"/>
                            </a:lnTo>
                            <a:lnTo>
                              <a:pt x="47977" y="5275"/>
                            </a:lnTo>
                            <a:lnTo>
                              <a:pt x="48354" y="5401"/>
                            </a:lnTo>
                            <a:lnTo>
                              <a:pt x="48480" y="5526"/>
                            </a:lnTo>
                            <a:lnTo>
                              <a:pt x="48857" y="5777"/>
                            </a:lnTo>
                            <a:lnTo>
                              <a:pt x="49108" y="5903"/>
                            </a:lnTo>
                            <a:lnTo>
                              <a:pt x="49735" y="6154"/>
                            </a:lnTo>
                            <a:lnTo>
                              <a:pt x="49987" y="6405"/>
                            </a:lnTo>
                            <a:lnTo>
                              <a:pt x="50238" y="6531"/>
                            </a:lnTo>
                            <a:lnTo>
                              <a:pt x="50238" y="6531"/>
                            </a:lnTo>
                            <a:lnTo>
                              <a:pt x="50364" y="6531"/>
                            </a:lnTo>
                            <a:lnTo>
                              <a:pt x="50740" y="6908"/>
                            </a:lnTo>
                            <a:lnTo>
                              <a:pt x="50991" y="7033"/>
                            </a:lnTo>
                            <a:lnTo>
                              <a:pt x="51243" y="7159"/>
                            </a:lnTo>
                            <a:lnTo>
                              <a:pt x="51243" y="7159"/>
                            </a:lnTo>
                            <a:lnTo>
                              <a:pt x="51368" y="7159"/>
                            </a:lnTo>
                            <a:lnTo>
                              <a:pt x="51620" y="7410"/>
                            </a:lnTo>
                            <a:lnTo>
                              <a:pt x="51745" y="7410"/>
                            </a:lnTo>
                            <a:lnTo>
                              <a:pt x="52247" y="7787"/>
                            </a:lnTo>
                            <a:lnTo>
                              <a:pt x="52499" y="7787"/>
                            </a:lnTo>
                            <a:lnTo>
                              <a:pt x="52875" y="8038"/>
                            </a:lnTo>
                            <a:lnTo>
                              <a:pt x="53001" y="8164"/>
                            </a:lnTo>
                            <a:lnTo>
                              <a:pt x="53504"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53" name="Freeform: Shape 1952">
                      <a:extLst>
                        <a:ext uri="{FF2B5EF4-FFF2-40B4-BE49-F238E27FC236}">
                          <a16:creationId xmlns:a16="http://schemas.microsoft.com/office/drawing/2014/main" id="{C5F9D228-423A-49A7-9F7E-106F9E7BE0F6}"/>
                        </a:ext>
                      </a:extLst>
                    </p:cNvPr>
                    <p:cNvSpPr/>
                    <p:nvPr/>
                  </p:nvSpPr>
                  <p:spPr>
                    <a:xfrm>
                      <a:off x="3869705" y="1674279"/>
                      <a:ext cx="15196" cy="10801"/>
                    </a:xfrm>
                    <a:custGeom>
                      <a:avLst/>
                      <a:gdLst>
                        <a:gd name="connsiteX0" fmla="*/ 15197 w 15196"/>
                        <a:gd name="connsiteY0" fmla="*/ 8666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54" name="Graphic 4">
                    <a:extLst>
                      <a:ext uri="{FF2B5EF4-FFF2-40B4-BE49-F238E27FC236}">
                        <a16:creationId xmlns:a16="http://schemas.microsoft.com/office/drawing/2014/main" id="{84FB7ED1-A2DF-40A1-A747-5F7CF3F14040}"/>
                      </a:ext>
                    </a:extLst>
                  </p:cNvPr>
                  <p:cNvGrpSpPr/>
                  <p:nvPr/>
                </p:nvGrpSpPr>
                <p:grpSpPr>
                  <a:xfrm>
                    <a:off x="3852498" y="1638610"/>
                    <a:ext cx="54005" cy="33282"/>
                    <a:chOff x="3852498" y="1638610"/>
                    <a:chExt cx="54005" cy="33282"/>
                  </a:xfrm>
                  <a:solidFill>
                    <a:schemeClr val="accent1"/>
                  </a:solidFill>
                </p:grpSpPr>
                <p:grpSp>
                  <p:nvGrpSpPr>
                    <p:cNvPr id="1955" name="Graphic 4">
                      <a:extLst>
                        <a:ext uri="{FF2B5EF4-FFF2-40B4-BE49-F238E27FC236}">
                          <a16:creationId xmlns:a16="http://schemas.microsoft.com/office/drawing/2014/main" id="{84FB7ED1-A2DF-40A1-A747-5F7CF3F14040}"/>
                        </a:ext>
                      </a:extLst>
                    </p:cNvPr>
                    <p:cNvGrpSpPr/>
                    <p:nvPr/>
                  </p:nvGrpSpPr>
                  <p:grpSpPr>
                    <a:xfrm>
                      <a:off x="3852498" y="1638610"/>
                      <a:ext cx="54005" cy="33282"/>
                      <a:chOff x="3852498" y="1638610"/>
                      <a:chExt cx="54005" cy="33282"/>
                    </a:xfrm>
                    <a:solidFill>
                      <a:schemeClr val="accent1"/>
                    </a:solidFill>
                  </p:grpSpPr>
                  <p:sp>
                    <p:nvSpPr>
                      <p:cNvPr id="1956" name="Freeform: Shape 1955">
                        <a:extLst>
                          <a:ext uri="{FF2B5EF4-FFF2-40B4-BE49-F238E27FC236}">
                            <a16:creationId xmlns:a16="http://schemas.microsoft.com/office/drawing/2014/main" id="{675019E2-5D7C-498E-A0FB-DB18C2BFE374}"/>
                          </a:ext>
                        </a:extLst>
                      </p:cNvPr>
                      <p:cNvSpPr/>
                      <p:nvPr/>
                    </p:nvSpPr>
                    <p:spPr>
                      <a:xfrm>
                        <a:off x="3852498" y="1640746"/>
                        <a:ext cx="54005" cy="31147"/>
                      </a:xfrm>
                      <a:custGeom>
                        <a:avLst/>
                        <a:gdLst>
                          <a:gd name="connsiteX0" fmla="*/ 54006 w 54005"/>
                          <a:gd name="connsiteY0" fmla="*/ 8666 h 31147"/>
                          <a:gd name="connsiteX1" fmla="*/ 51745 w 54005"/>
                          <a:gd name="connsiteY1" fmla="*/ 9922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664 w 54005"/>
                          <a:gd name="connsiteY10" fmla="*/ 19844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607 h 31147"/>
                          <a:gd name="connsiteX20" fmla="*/ 29892 w 54005"/>
                          <a:gd name="connsiteY20" fmla="*/ 22607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022 h 31147"/>
                          <a:gd name="connsiteX29" fmla="*/ 14569 w 54005"/>
                          <a:gd name="connsiteY29" fmla="*/ 30771 h 31147"/>
                          <a:gd name="connsiteX30" fmla="*/ 14443 w 54005"/>
                          <a:gd name="connsiteY30" fmla="*/ 30771 h 31147"/>
                          <a:gd name="connsiteX31" fmla="*/ 14443 w 54005"/>
                          <a:gd name="connsiteY31" fmla="*/ 30771 h 31147"/>
                          <a:gd name="connsiteX32" fmla="*/ 13941 w 54005"/>
                          <a:gd name="connsiteY32" fmla="*/ 30394 h 31147"/>
                          <a:gd name="connsiteX33" fmla="*/ 13690 w 54005"/>
                          <a:gd name="connsiteY33" fmla="*/ 30268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510 h 31147"/>
                          <a:gd name="connsiteX39" fmla="*/ 10550 w 54005"/>
                          <a:gd name="connsiteY39" fmla="*/ 28510 h 31147"/>
                          <a:gd name="connsiteX40" fmla="*/ 10047 w 54005"/>
                          <a:gd name="connsiteY40" fmla="*/ 28133 h 31147"/>
                          <a:gd name="connsiteX41" fmla="*/ 9922 w 54005"/>
                          <a:gd name="connsiteY41" fmla="*/ 28133 h 31147"/>
                          <a:gd name="connsiteX42" fmla="*/ 9169 w 54005"/>
                          <a:gd name="connsiteY42" fmla="*/ 27631 h 31147"/>
                          <a:gd name="connsiteX43" fmla="*/ 8917 w 54005"/>
                          <a:gd name="connsiteY43" fmla="*/ 27505 h 31147"/>
                          <a:gd name="connsiteX44" fmla="*/ 8917 w 54005"/>
                          <a:gd name="connsiteY44" fmla="*/ 27505 h 31147"/>
                          <a:gd name="connsiteX45" fmla="*/ 8038 w 54005"/>
                          <a:gd name="connsiteY45" fmla="*/ 27128 h 31147"/>
                          <a:gd name="connsiteX46" fmla="*/ 8038 w 54005"/>
                          <a:gd name="connsiteY46" fmla="*/ 27003 h 31147"/>
                          <a:gd name="connsiteX47" fmla="*/ 7536 w 54005"/>
                          <a:gd name="connsiteY47" fmla="*/ 26752 h 31147"/>
                          <a:gd name="connsiteX48" fmla="*/ 7410 w 54005"/>
                          <a:gd name="connsiteY48" fmla="*/ 26752 h 31147"/>
                          <a:gd name="connsiteX49" fmla="*/ 6782 w 54005"/>
                          <a:gd name="connsiteY49" fmla="*/ 26375 h 31147"/>
                          <a:gd name="connsiteX50" fmla="*/ 6782 w 54005"/>
                          <a:gd name="connsiteY50" fmla="*/ 26249 h 31147"/>
                          <a:gd name="connsiteX51" fmla="*/ 5652 w 54005"/>
                          <a:gd name="connsiteY51" fmla="*/ 25621 h 31147"/>
                          <a:gd name="connsiteX52" fmla="*/ 5400 w 54005"/>
                          <a:gd name="connsiteY52" fmla="*/ 25496 h 31147"/>
                          <a:gd name="connsiteX53" fmla="*/ 4521 w 54005"/>
                          <a:gd name="connsiteY53" fmla="*/ 24993 h 31147"/>
                          <a:gd name="connsiteX54" fmla="*/ 4521 w 54005"/>
                          <a:gd name="connsiteY54" fmla="*/ 24993 h 31147"/>
                          <a:gd name="connsiteX55" fmla="*/ 4144 w 54005"/>
                          <a:gd name="connsiteY55" fmla="*/ 24868 h 31147"/>
                          <a:gd name="connsiteX56" fmla="*/ 4144 w 54005"/>
                          <a:gd name="connsiteY56" fmla="*/ 24742 h 31147"/>
                          <a:gd name="connsiteX57" fmla="*/ 3391 w 54005"/>
                          <a:gd name="connsiteY57" fmla="*/ 24365 h 31147"/>
                          <a:gd name="connsiteX58" fmla="*/ 3391 w 54005"/>
                          <a:gd name="connsiteY58" fmla="*/ 24365 h 31147"/>
                          <a:gd name="connsiteX59" fmla="*/ 3266 w 54005"/>
                          <a:gd name="connsiteY59" fmla="*/ 24240 h 31147"/>
                          <a:gd name="connsiteX60" fmla="*/ 2512 w 54005"/>
                          <a:gd name="connsiteY60" fmla="*/ 23863 h 31147"/>
                          <a:gd name="connsiteX61" fmla="*/ 2512 w 54005"/>
                          <a:gd name="connsiteY61" fmla="*/ 23863 h 31147"/>
                          <a:gd name="connsiteX62" fmla="*/ 1884 w 54005"/>
                          <a:gd name="connsiteY62" fmla="*/ 23486 h 31147"/>
                          <a:gd name="connsiteX63" fmla="*/ 1758 w 54005"/>
                          <a:gd name="connsiteY63" fmla="*/ 23361 h 31147"/>
                          <a:gd name="connsiteX64" fmla="*/ 0 w 54005"/>
                          <a:gd name="connsiteY64" fmla="*/ 22356 h 31147"/>
                          <a:gd name="connsiteX65" fmla="*/ 0 w 54005"/>
                          <a:gd name="connsiteY65" fmla="*/ 20221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256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512 h 31147"/>
                          <a:gd name="connsiteX74" fmla="*/ 43330 w 54005"/>
                          <a:gd name="connsiteY74" fmla="*/ 2512 h 31147"/>
                          <a:gd name="connsiteX75" fmla="*/ 43330 w 54005"/>
                          <a:gd name="connsiteY75" fmla="*/ 2512 h 31147"/>
                          <a:gd name="connsiteX76" fmla="*/ 44335 w 54005"/>
                          <a:gd name="connsiteY76" fmla="*/ 3140 h 31147"/>
                          <a:gd name="connsiteX77" fmla="*/ 44586 w 54005"/>
                          <a:gd name="connsiteY77" fmla="*/ 3265 h 31147"/>
                          <a:gd name="connsiteX78" fmla="*/ 45340 w 54005"/>
                          <a:gd name="connsiteY78" fmla="*/ 3642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149 h 31147"/>
                          <a:gd name="connsiteX86" fmla="*/ 48228 w 54005"/>
                          <a:gd name="connsiteY86" fmla="*/ 5401 h 31147"/>
                          <a:gd name="connsiteX87" fmla="*/ 48354 w 54005"/>
                          <a:gd name="connsiteY87" fmla="*/ 5526 h 31147"/>
                          <a:gd name="connsiteX88" fmla="*/ 48856 w 54005"/>
                          <a:gd name="connsiteY88" fmla="*/ 5652 h 31147"/>
                          <a:gd name="connsiteX89" fmla="*/ 48982 w 54005"/>
                          <a:gd name="connsiteY89" fmla="*/ 5777 h 31147"/>
                          <a:gd name="connsiteX90" fmla="*/ 49610 w 54005"/>
                          <a:gd name="connsiteY90" fmla="*/ 6154 h 31147"/>
                          <a:gd name="connsiteX91" fmla="*/ 49861 w 54005"/>
                          <a:gd name="connsiteY91" fmla="*/ 6280 h 31147"/>
                          <a:gd name="connsiteX92" fmla="*/ 50112 w 54005"/>
                          <a:gd name="connsiteY92" fmla="*/ 6531 h 31147"/>
                          <a:gd name="connsiteX93" fmla="*/ 50112 w 54005"/>
                          <a:gd name="connsiteY93" fmla="*/ 6531 h 31147"/>
                          <a:gd name="connsiteX94" fmla="*/ 50238 w 54005"/>
                          <a:gd name="connsiteY94" fmla="*/ 6531 h 31147"/>
                          <a:gd name="connsiteX95" fmla="*/ 50740 w 54005"/>
                          <a:gd name="connsiteY95" fmla="*/ 6782 h 31147"/>
                          <a:gd name="connsiteX96" fmla="*/ 50991 w 54005"/>
                          <a:gd name="connsiteY96" fmla="*/ 6908 h 31147"/>
                          <a:gd name="connsiteX97" fmla="*/ 51117 w 54005"/>
                          <a:gd name="connsiteY97" fmla="*/ 7033 h 31147"/>
                          <a:gd name="connsiteX98" fmla="*/ 51243 w 54005"/>
                          <a:gd name="connsiteY98" fmla="*/ 7033 h 31147"/>
                          <a:gd name="connsiteX99" fmla="*/ 51368 w 54005"/>
                          <a:gd name="connsiteY99" fmla="*/ 7159 h 31147"/>
                          <a:gd name="connsiteX100" fmla="*/ 51619 w 54005"/>
                          <a:gd name="connsiteY100" fmla="*/ 7285 h 31147"/>
                          <a:gd name="connsiteX101" fmla="*/ 51745 w 54005"/>
                          <a:gd name="connsiteY101" fmla="*/ 7410 h 31147"/>
                          <a:gd name="connsiteX102" fmla="*/ 54006 w 54005"/>
                          <a:gd name="connsiteY102" fmla="*/ 6531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666"/>
                            </a:moveTo>
                            <a:lnTo>
                              <a:pt x="51745" y="9922"/>
                            </a:lnTo>
                            <a:lnTo>
                              <a:pt x="51494" y="10173"/>
                            </a:lnTo>
                            <a:lnTo>
                              <a:pt x="51494" y="10173"/>
                            </a:lnTo>
                            <a:lnTo>
                              <a:pt x="48103" y="12183"/>
                            </a:lnTo>
                            <a:lnTo>
                              <a:pt x="48103" y="12183"/>
                            </a:lnTo>
                            <a:lnTo>
                              <a:pt x="47224" y="12559"/>
                            </a:lnTo>
                            <a:lnTo>
                              <a:pt x="47098" y="12685"/>
                            </a:lnTo>
                            <a:lnTo>
                              <a:pt x="46345" y="13187"/>
                            </a:lnTo>
                            <a:lnTo>
                              <a:pt x="34664" y="19844"/>
                            </a:lnTo>
                            <a:lnTo>
                              <a:pt x="34664" y="19844"/>
                            </a:lnTo>
                            <a:lnTo>
                              <a:pt x="34036" y="20221"/>
                            </a:lnTo>
                            <a:lnTo>
                              <a:pt x="32780" y="20974"/>
                            </a:lnTo>
                            <a:lnTo>
                              <a:pt x="32655" y="20974"/>
                            </a:lnTo>
                            <a:lnTo>
                              <a:pt x="32152" y="21351"/>
                            </a:lnTo>
                            <a:lnTo>
                              <a:pt x="32027" y="21477"/>
                            </a:lnTo>
                            <a:lnTo>
                              <a:pt x="32027" y="21477"/>
                            </a:lnTo>
                            <a:lnTo>
                              <a:pt x="31650" y="21602"/>
                            </a:lnTo>
                            <a:lnTo>
                              <a:pt x="31650" y="21602"/>
                            </a:lnTo>
                            <a:lnTo>
                              <a:pt x="29892" y="22607"/>
                            </a:lnTo>
                            <a:lnTo>
                              <a:pt x="29892" y="22607"/>
                            </a:lnTo>
                            <a:lnTo>
                              <a:pt x="29515" y="22858"/>
                            </a:lnTo>
                            <a:lnTo>
                              <a:pt x="21728" y="27380"/>
                            </a:lnTo>
                            <a:lnTo>
                              <a:pt x="21728" y="27380"/>
                            </a:lnTo>
                            <a:lnTo>
                              <a:pt x="21226" y="27631"/>
                            </a:lnTo>
                            <a:lnTo>
                              <a:pt x="21226" y="27631"/>
                            </a:lnTo>
                            <a:lnTo>
                              <a:pt x="15197" y="31148"/>
                            </a:lnTo>
                            <a:lnTo>
                              <a:pt x="15071" y="31148"/>
                            </a:lnTo>
                            <a:lnTo>
                              <a:pt x="14946" y="31022"/>
                            </a:lnTo>
                            <a:lnTo>
                              <a:pt x="14569" y="30771"/>
                            </a:lnTo>
                            <a:lnTo>
                              <a:pt x="14443" y="30771"/>
                            </a:lnTo>
                            <a:lnTo>
                              <a:pt x="14443" y="30771"/>
                            </a:lnTo>
                            <a:lnTo>
                              <a:pt x="13941" y="30394"/>
                            </a:lnTo>
                            <a:lnTo>
                              <a:pt x="13690" y="30268"/>
                            </a:lnTo>
                            <a:lnTo>
                              <a:pt x="12434" y="29640"/>
                            </a:lnTo>
                            <a:lnTo>
                              <a:pt x="12434" y="29640"/>
                            </a:lnTo>
                            <a:lnTo>
                              <a:pt x="11680" y="29138"/>
                            </a:lnTo>
                            <a:lnTo>
                              <a:pt x="11303" y="29012"/>
                            </a:lnTo>
                            <a:lnTo>
                              <a:pt x="10676" y="28510"/>
                            </a:lnTo>
                            <a:lnTo>
                              <a:pt x="10550" y="28510"/>
                            </a:lnTo>
                            <a:lnTo>
                              <a:pt x="10047" y="28133"/>
                            </a:lnTo>
                            <a:lnTo>
                              <a:pt x="9922" y="28133"/>
                            </a:lnTo>
                            <a:lnTo>
                              <a:pt x="9169" y="27631"/>
                            </a:lnTo>
                            <a:lnTo>
                              <a:pt x="8917" y="27505"/>
                            </a:lnTo>
                            <a:lnTo>
                              <a:pt x="8917" y="27505"/>
                            </a:lnTo>
                            <a:lnTo>
                              <a:pt x="8038" y="27128"/>
                            </a:lnTo>
                            <a:lnTo>
                              <a:pt x="8038" y="27003"/>
                            </a:lnTo>
                            <a:lnTo>
                              <a:pt x="7536" y="26752"/>
                            </a:lnTo>
                            <a:lnTo>
                              <a:pt x="7410" y="26752"/>
                            </a:lnTo>
                            <a:lnTo>
                              <a:pt x="6782" y="26375"/>
                            </a:lnTo>
                            <a:lnTo>
                              <a:pt x="6782" y="26249"/>
                            </a:lnTo>
                            <a:lnTo>
                              <a:pt x="5652" y="25621"/>
                            </a:lnTo>
                            <a:lnTo>
                              <a:pt x="5400" y="25496"/>
                            </a:lnTo>
                            <a:lnTo>
                              <a:pt x="4521" y="24993"/>
                            </a:lnTo>
                            <a:lnTo>
                              <a:pt x="4521" y="24993"/>
                            </a:lnTo>
                            <a:lnTo>
                              <a:pt x="4144" y="24868"/>
                            </a:lnTo>
                            <a:lnTo>
                              <a:pt x="4144" y="24742"/>
                            </a:lnTo>
                            <a:lnTo>
                              <a:pt x="3391" y="24365"/>
                            </a:lnTo>
                            <a:lnTo>
                              <a:pt x="3391" y="24365"/>
                            </a:lnTo>
                            <a:lnTo>
                              <a:pt x="3266" y="24240"/>
                            </a:lnTo>
                            <a:lnTo>
                              <a:pt x="2512" y="23863"/>
                            </a:lnTo>
                            <a:lnTo>
                              <a:pt x="2512" y="23863"/>
                            </a:lnTo>
                            <a:lnTo>
                              <a:pt x="1884" y="23486"/>
                            </a:lnTo>
                            <a:lnTo>
                              <a:pt x="1758" y="23361"/>
                            </a:lnTo>
                            <a:lnTo>
                              <a:pt x="0" y="22356"/>
                            </a:lnTo>
                            <a:lnTo>
                              <a:pt x="0" y="20221"/>
                            </a:lnTo>
                            <a:lnTo>
                              <a:pt x="38809" y="0"/>
                            </a:lnTo>
                            <a:lnTo>
                              <a:pt x="39688" y="502"/>
                            </a:lnTo>
                            <a:lnTo>
                              <a:pt x="39939" y="628"/>
                            </a:lnTo>
                            <a:lnTo>
                              <a:pt x="41195" y="1256"/>
                            </a:lnTo>
                            <a:lnTo>
                              <a:pt x="41446" y="1507"/>
                            </a:lnTo>
                            <a:lnTo>
                              <a:pt x="42576" y="2135"/>
                            </a:lnTo>
                            <a:lnTo>
                              <a:pt x="42828" y="2261"/>
                            </a:lnTo>
                            <a:lnTo>
                              <a:pt x="43330" y="2512"/>
                            </a:lnTo>
                            <a:lnTo>
                              <a:pt x="43330" y="2512"/>
                            </a:lnTo>
                            <a:lnTo>
                              <a:pt x="43330" y="2512"/>
                            </a:lnTo>
                            <a:lnTo>
                              <a:pt x="44335" y="3140"/>
                            </a:lnTo>
                            <a:lnTo>
                              <a:pt x="44586" y="3265"/>
                            </a:lnTo>
                            <a:lnTo>
                              <a:pt x="45340" y="3642"/>
                            </a:lnTo>
                            <a:lnTo>
                              <a:pt x="45340" y="3768"/>
                            </a:lnTo>
                            <a:lnTo>
                              <a:pt x="46470" y="4396"/>
                            </a:lnTo>
                            <a:lnTo>
                              <a:pt x="46721" y="4521"/>
                            </a:lnTo>
                            <a:lnTo>
                              <a:pt x="46972" y="4647"/>
                            </a:lnTo>
                            <a:lnTo>
                              <a:pt x="47098" y="4773"/>
                            </a:lnTo>
                            <a:lnTo>
                              <a:pt x="47852" y="5149"/>
                            </a:lnTo>
                            <a:lnTo>
                              <a:pt x="47852" y="5149"/>
                            </a:lnTo>
                            <a:lnTo>
                              <a:pt x="48228" y="5401"/>
                            </a:lnTo>
                            <a:lnTo>
                              <a:pt x="48354" y="5526"/>
                            </a:lnTo>
                            <a:lnTo>
                              <a:pt x="48856" y="5652"/>
                            </a:lnTo>
                            <a:lnTo>
                              <a:pt x="48982" y="5777"/>
                            </a:lnTo>
                            <a:lnTo>
                              <a:pt x="49610" y="6154"/>
                            </a:lnTo>
                            <a:lnTo>
                              <a:pt x="49861" y="6280"/>
                            </a:lnTo>
                            <a:lnTo>
                              <a:pt x="50112" y="6531"/>
                            </a:lnTo>
                            <a:lnTo>
                              <a:pt x="50112" y="6531"/>
                            </a:lnTo>
                            <a:lnTo>
                              <a:pt x="50238" y="6531"/>
                            </a:lnTo>
                            <a:lnTo>
                              <a:pt x="50740" y="6782"/>
                            </a:lnTo>
                            <a:lnTo>
                              <a:pt x="50991" y="6908"/>
                            </a:lnTo>
                            <a:lnTo>
                              <a:pt x="51117" y="7033"/>
                            </a:lnTo>
                            <a:lnTo>
                              <a:pt x="51243" y="7033"/>
                            </a:lnTo>
                            <a:lnTo>
                              <a:pt x="51368" y="7159"/>
                            </a:lnTo>
                            <a:lnTo>
                              <a:pt x="51619" y="7285"/>
                            </a:lnTo>
                            <a:lnTo>
                              <a:pt x="51745" y="7410"/>
                            </a:lnTo>
                            <a:lnTo>
                              <a:pt x="54006" y="653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57" name="Freeform: Shape 1956">
                        <a:extLst>
                          <a:ext uri="{FF2B5EF4-FFF2-40B4-BE49-F238E27FC236}">
                            <a16:creationId xmlns:a16="http://schemas.microsoft.com/office/drawing/2014/main" id="{D4736627-278A-4636-BBE0-7DB11EC3ED54}"/>
                          </a:ext>
                        </a:extLst>
                      </p:cNvPr>
                      <p:cNvSpPr/>
                      <p:nvPr/>
                    </p:nvSpPr>
                    <p:spPr>
                      <a:xfrm>
                        <a:off x="3852498" y="1638610"/>
                        <a:ext cx="54005" cy="31147"/>
                      </a:xfrm>
                      <a:custGeom>
                        <a:avLst/>
                        <a:gdLst>
                          <a:gd name="connsiteX0" fmla="*/ 54006 w 54005"/>
                          <a:gd name="connsiteY0" fmla="*/ 8666 h 31147"/>
                          <a:gd name="connsiteX1" fmla="*/ 51745 w 54005"/>
                          <a:gd name="connsiteY1" fmla="*/ 9922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036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607 h 31147"/>
                          <a:gd name="connsiteX17" fmla="*/ 29766 w 54005"/>
                          <a:gd name="connsiteY17" fmla="*/ 22607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022 h 31147"/>
                          <a:gd name="connsiteX25" fmla="*/ 14569 w 54005"/>
                          <a:gd name="connsiteY25" fmla="*/ 30771 h 31147"/>
                          <a:gd name="connsiteX26" fmla="*/ 14443 w 54005"/>
                          <a:gd name="connsiteY26" fmla="*/ 30771 h 31147"/>
                          <a:gd name="connsiteX27" fmla="*/ 13941 w 54005"/>
                          <a:gd name="connsiteY27" fmla="*/ 30394 h 31147"/>
                          <a:gd name="connsiteX28" fmla="*/ 13690 w 54005"/>
                          <a:gd name="connsiteY28" fmla="*/ 30268 h 31147"/>
                          <a:gd name="connsiteX29" fmla="*/ 12434 w 54005"/>
                          <a:gd name="connsiteY29" fmla="*/ 29640 h 31147"/>
                          <a:gd name="connsiteX30" fmla="*/ 12434 w 54005"/>
                          <a:gd name="connsiteY30" fmla="*/ 29640 h 31147"/>
                          <a:gd name="connsiteX31" fmla="*/ 11680 w 54005"/>
                          <a:gd name="connsiteY31" fmla="*/ 29138 h 31147"/>
                          <a:gd name="connsiteX32" fmla="*/ 11303 w 54005"/>
                          <a:gd name="connsiteY32" fmla="*/ 29012 h 31147"/>
                          <a:gd name="connsiteX33" fmla="*/ 10676 w 54005"/>
                          <a:gd name="connsiteY33" fmla="*/ 28636 h 31147"/>
                          <a:gd name="connsiteX34" fmla="*/ 10550 w 54005"/>
                          <a:gd name="connsiteY34" fmla="*/ 28510 h 31147"/>
                          <a:gd name="connsiteX35" fmla="*/ 10047 w 54005"/>
                          <a:gd name="connsiteY35" fmla="*/ 28133 h 31147"/>
                          <a:gd name="connsiteX36" fmla="*/ 9922 w 54005"/>
                          <a:gd name="connsiteY36" fmla="*/ 28133 h 31147"/>
                          <a:gd name="connsiteX37" fmla="*/ 9169 w 54005"/>
                          <a:gd name="connsiteY37" fmla="*/ 27756 h 31147"/>
                          <a:gd name="connsiteX38" fmla="*/ 8917 w 54005"/>
                          <a:gd name="connsiteY38" fmla="*/ 27505 h 31147"/>
                          <a:gd name="connsiteX39" fmla="*/ 8917 w 54005"/>
                          <a:gd name="connsiteY39" fmla="*/ 27505 h 31147"/>
                          <a:gd name="connsiteX40" fmla="*/ 8038 w 54005"/>
                          <a:gd name="connsiteY40" fmla="*/ 27128 h 31147"/>
                          <a:gd name="connsiteX41" fmla="*/ 8038 w 54005"/>
                          <a:gd name="connsiteY41" fmla="*/ 27003 h 31147"/>
                          <a:gd name="connsiteX42" fmla="*/ 7536 w 54005"/>
                          <a:gd name="connsiteY42" fmla="*/ 26752 h 31147"/>
                          <a:gd name="connsiteX43" fmla="*/ 7410 w 54005"/>
                          <a:gd name="connsiteY43" fmla="*/ 26752 h 31147"/>
                          <a:gd name="connsiteX44" fmla="*/ 6782 w 54005"/>
                          <a:gd name="connsiteY44" fmla="*/ 26375 h 31147"/>
                          <a:gd name="connsiteX45" fmla="*/ 6782 w 54005"/>
                          <a:gd name="connsiteY45" fmla="*/ 26249 h 31147"/>
                          <a:gd name="connsiteX46" fmla="*/ 5652 w 54005"/>
                          <a:gd name="connsiteY46" fmla="*/ 25621 h 31147"/>
                          <a:gd name="connsiteX47" fmla="*/ 5400 w 54005"/>
                          <a:gd name="connsiteY47" fmla="*/ 25496 h 31147"/>
                          <a:gd name="connsiteX48" fmla="*/ 4521 w 54005"/>
                          <a:gd name="connsiteY48" fmla="*/ 24993 h 31147"/>
                          <a:gd name="connsiteX49" fmla="*/ 4521 w 54005"/>
                          <a:gd name="connsiteY49" fmla="*/ 24993 h 31147"/>
                          <a:gd name="connsiteX50" fmla="*/ 4144 w 54005"/>
                          <a:gd name="connsiteY50" fmla="*/ 24868 h 31147"/>
                          <a:gd name="connsiteX51" fmla="*/ 4144 w 54005"/>
                          <a:gd name="connsiteY51" fmla="*/ 24742 h 31147"/>
                          <a:gd name="connsiteX52" fmla="*/ 3391 w 54005"/>
                          <a:gd name="connsiteY52" fmla="*/ 24365 h 31147"/>
                          <a:gd name="connsiteX53" fmla="*/ 3391 w 54005"/>
                          <a:gd name="connsiteY53" fmla="*/ 24365 h 31147"/>
                          <a:gd name="connsiteX54" fmla="*/ 3140 w 54005"/>
                          <a:gd name="connsiteY54" fmla="*/ 24240 h 31147"/>
                          <a:gd name="connsiteX55" fmla="*/ 2512 w 54005"/>
                          <a:gd name="connsiteY55" fmla="*/ 23863 h 31147"/>
                          <a:gd name="connsiteX56" fmla="*/ 2512 w 54005"/>
                          <a:gd name="connsiteY56" fmla="*/ 23863 h 31147"/>
                          <a:gd name="connsiteX57" fmla="*/ 1884 w 54005"/>
                          <a:gd name="connsiteY57" fmla="*/ 23486 h 31147"/>
                          <a:gd name="connsiteX58" fmla="*/ 1758 w 54005"/>
                          <a:gd name="connsiteY58" fmla="*/ 23361 h 31147"/>
                          <a:gd name="connsiteX59" fmla="*/ 0 w 54005"/>
                          <a:gd name="connsiteY59" fmla="*/ 22356 h 31147"/>
                          <a:gd name="connsiteX60" fmla="*/ 5400 w 54005"/>
                          <a:gd name="connsiteY60" fmla="*/ 19216 h 31147"/>
                          <a:gd name="connsiteX61" fmla="*/ 5400 w 54005"/>
                          <a:gd name="connsiteY61" fmla="*/ 19216 h 31147"/>
                          <a:gd name="connsiteX62" fmla="*/ 5652 w 54005"/>
                          <a:gd name="connsiteY62" fmla="*/ 19090 h 31147"/>
                          <a:gd name="connsiteX63" fmla="*/ 5652 w 54005"/>
                          <a:gd name="connsiteY63" fmla="*/ 19090 h 31147"/>
                          <a:gd name="connsiteX64" fmla="*/ 5903 w 54005"/>
                          <a:gd name="connsiteY64" fmla="*/ 18965 h 31147"/>
                          <a:gd name="connsiteX65" fmla="*/ 6029 w 54005"/>
                          <a:gd name="connsiteY65" fmla="*/ 18965 h 31147"/>
                          <a:gd name="connsiteX66" fmla="*/ 6154 w 54005"/>
                          <a:gd name="connsiteY66" fmla="*/ 18839 h 31147"/>
                          <a:gd name="connsiteX67" fmla="*/ 6154 w 54005"/>
                          <a:gd name="connsiteY67" fmla="*/ 18839 h 31147"/>
                          <a:gd name="connsiteX68" fmla="*/ 21602 w 54005"/>
                          <a:gd name="connsiteY68" fmla="*/ 9922 h 31147"/>
                          <a:gd name="connsiteX69" fmla="*/ 21979 w 54005"/>
                          <a:gd name="connsiteY69" fmla="*/ 9671 h 31147"/>
                          <a:gd name="connsiteX70" fmla="*/ 22356 w 54005"/>
                          <a:gd name="connsiteY70" fmla="*/ 9420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256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512 h 31147"/>
                          <a:gd name="connsiteX80" fmla="*/ 43330 w 54005"/>
                          <a:gd name="connsiteY80" fmla="*/ 2637 h 31147"/>
                          <a:gd name="connsiteX81" fmla="*/ 44335 w 54005"/>
                          <a:gd name="connsiteY81" fmla="*/ 3140 h 31147"/>
                          <a:gd name="connsiteX82" fmla="*/ 44586 w 54005"/>
                          <a:gd name="connsiteY82" fmla="*/ 3265 h 31147"/>
                          <a:gd name="connsiteX83" fmla="*/ 45340 w 54005"/>
                          <a:gd name="connsiteY83" fmla="*/ 3642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149 h 31147"/>
                          <a:gd name="connsiteX90" fmla="*/ 48228 w 54005"/>
                          <a:gd name="connsiteY90" fmla="*/ 5401 h 31147"/>
                          <a:gd name="connsiteX91" fmla="*/ 48354 w 54005"/>
                          <a:gd name="connsiteY91" fmla="*/ 5526 h 31147"/>
                          <a:gd name="connsiteX92" fmla="*/ 48856 w 54005"/>
                          <a:gd name="connsiteY92" fmla="*/ 5652 h 31147"/>
                          <a:gd name="connsiteX93" fmla="*/ 48982 w 54005"/>
                          <a:gd name="connsiteY93" fmla="*/ 5777 h 31147"/>
                          <a:gd name="connsiteX94" fmla="*/ 49610 w 54005"/>
                          <a:gd name="connsiteY94" fmla="*/ 6154 h 31147"/>
                          <a:gd name="connsiteX95" fmla="*/ 49861 w 54005"/>
                          <a:gd name="connsiteY95" fmla="*/ 6280 h 31147"/>
                          <a:gd name="connsiteX96" fmla="*/ 50112 w 54005"/>
                          <a:gd name="connsiteY96" fmla="*/ 6531 h 31147"/>
                          <a:gd name="connsiteX97" fmla="*/ 50112 w 54005"/>
                          <a:gd name="connsiteY97" fmla="*/ 6531 h 31147"/>
                          <a:gd name="connsiteX98" fmla="*/ 50238 w 54005"/>
                          <a:gd name="connsiteY98" fmla="*/ 6531 h 31147"/>
                          <a:gd name="connsiteX99" fmla="*/ 50740 w 54005"/>
                          <a:gd name="connsiteY99" fmla="*/ 6782 h 31147"/>
                          <a:gd name="connsiteX100" fmla="*/ 50991 w 54005"/>
                          <a:gd name="connsiteY100" fmla="*/ 6908 h 31147"/>
                          <a:gd name="connsiteX101" fmla="*/ 51117 w 54005"/>
                          <a:gd name="connsiteY101" fmla="*/ 7033 h 31147"/>
                          <a:gd name="connsiteX102" fmla="*/ 51243 w 54005"/>
                          <a:gd name="connsiteY102" fmla="*/ 7033 h 31147"/>
                          <a:gd name="connsiteX103" fmla="*/ 51368 w 54005"/>
                          <a:gd name="connsiteY103" fmla="*/ 7159 h 31147"/>
                          <a:gd name="connsiteX104" fmla="*/ 51619 w 54005"/>
                          <a:gd name="connsiteY104" fmla="*/ 7284 h 31147"/>
                          <a:gd name="connsiteX105" fmla="*/ 51745 w 54005"/>
                          <a:gd name="connsiteY105" fmla="*/ 7410 h 31147"/>
                          <a:gd name="connsiteX106" fmla="*/ 52247 w 54005"/>
                          <a:gd name="connsiteY106" fmla="*/ 7661 h 31147"/>
                          <a:gd name="connsiteX107" fmla="*/ 52373 w 54005"/>
                          <a:gd name="connsiteY107" fmla="*/ 7787 h 31147"/>
                          <a:gd name="connsiteX108" fmla="*/ 52750 w 54005"/>
                          <a:gd name="connsiteY108" fmla="*/ 8038 h 31147"/>
                          <a:gd name="connsiteX109" fmla="*/ 52875 w 54005"/>
                          <a:gd name="connsiteY109" fmla="*/ 8038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666"/>
                            </a:moveTo>
                            <a:lnTo>
                              <a:pt x="51745" y="9922"/>
                            </a:lnTo>
                            <a:lnTo>
                              <a:pt x="51494" y="10173"/>
                            </a:lnTo>
                            <a:lnTo>
                              <a:pt x="51494" y="10173"/>
                            </a:lnTo>
                            <a:lnTo>
                              <a:pt x="48103" y="12183"/>
                            </a:lnTo>
                            <a:lnTo>
                              <a:pt x="48103" y="12183"/>
                            </a:lnTo>
                            <a:lnTo>
                              <a:pt x="47224" y="12559"/>
                            </a:lnTo>
                            <a:lnTo>
                              <a:pt x="47098" y="12685"/>
                            </a:lnTo>
                            <a:lnTo>
                              <a:pt x="46345" y="13187"/>
                            </a:lnTo>
                            <a:lnTo>
                              <a:pt x="34664" y="19844"/>
                            </a:lnTo>
                            <a:lnTo>
                              <a:pt x="34036" y="20221"/>
                            </a:lnTo>
                            <a:lnTo>
                              <a:pt x="32780" y="20974"/>
                            </a:lnTo>
                            <a:lnTo>
                              <a:pt x="32152" y="21351"/>
                            </a:lnTo>
                            <a:lnTo>
                              <a:pt x="32027" y="21477"/>
                            </a:lnTo>
                            <a:lnTo>
                              <a:pt x="32027" y="21477"/>
                            </a:lnTo>
                            <a:lnTo>
                              <a:pt x="31650" y="21602"/>
                            </a:lnTo>
                            <a:lnTo>
                              <a:pt x="29892" y="22607"/>
                            </a:lnTo>
                            <a:lnTo>
                              <a:pt x="29766" y="22607"/>
                            </a:lnTo>
                            <a:lnTo>
                              <a:pt x="29515" y="22858"/>
                            </a:lnTo>
                            <a:lnTo>
                              <a:pt x="21728" y="27380"/>
                            </a:lnTo>
                            <a:lnTo>
                              <a:pt x="21226" y="27631"/>
                            </a:lnTo>
                            <a:lnTo>
                              <a:pt x="21226" y="27631"/>
                            </a:lnTo>
                            <a:lnTo>
                              <a:pt x="15197" y="31148"/>
                            </a:lnTo>
                            <a:lnTo>
                              <a:pt x="15071" y="31148"/>
                            </a:lnTo>
                            <a:lnTo>
                              <a:pt x="14946" y="31022"/>
                            </a:lnTo>
                            <a:lnTo>
                              <a:pt x="14569" y="30771"/>
                            </a:lnTo>
                            <a:lnTo>
                              <a:pt x="14443" y="30771"/>
                            </a:lnTo>
                            <a:lnTo>
                              <a:pt x="13941" y="30394"/>
                            </a:lnTo>
                            <a:lnTo>
                              <a:pt x="13690" y="30268"/>
                            </a:lnTo>
                            <a:lnTo>
                              <a:pt x="12434" y="29640"/>
                            </a:lnTo>
                            <a:lnTo>
                              <a:pt x="12434" y="29640"/>
                            </a:lnTo>
                            <a:lnTo>
                              <a:pt x="11680" y="29138"/>
                            </a:lnTo>
                            <a:lnTo>
                              <a:pt x="11303" y="29012"/>
                            </a:lnTo>
                            <a:lnTo>
                              <a:pt x="10676" y="28636"/>
                            </a:lnTo>
                            <a:lnTo>
                              <a:pt x="10550" y="28510"/>
                            </a:lnTo>
                            <a:lnTo>
                              <a:pt x="10047" y="28133"/>
                            </a:lnTo>
                            <a:lnTo>
                              <a:pt x="9922" y="28133"/>
                            </a:lnTo>
                            <a:lnTo>
                              <a:pt x="9169" y="27756"/>
                            </a:lnTo>
                            <a:lnTo>
                              <a:pt x="8917" y="27505"/>
                            </a:lnTo>
                            <a:lnTo>
                              <a:pt x="8917" y="27505"/>
                            </a:lnTo>
                            <a:lnTo>
                              <a:pt x="8038" y="27128"/>
                            </a:lnTo>
                            <a:lnTo>
                              <a:pt x="8038" y="27003"/>
                            </a:lnTo>
                            <a:lnTo>
                              <a:pt x="7536" y="26752"/>
                            </a:lnTo>
                            <a:lnTo>
                              <a:pt x="7410" y="26752"/>
                            </a:lnTo>
                            <a:lnTo>
                              <a:pt x="6782" y="26375"/>
                            </a:lnTo>
                            <a:lnTo>
                              <a:pt x="6782" y="26249"/>
                            </a:lnTo>
                            <a:lnTo>
                              <a:pt x="5652" y="25621"/>
                            </a:lnTo>
                            <a:lnTo>
                              <a:pt x="5400" y="25496"/>
                            </a:lnTo>
                            <a:lnTo>
                              <a:pt x="4521" y="24993"/>
                            </a:lnTo>
                            <a:lnTo>
                              <a:pt x="4521" y="24993"/>
                            </a:lnTo>
                            <a:lnTo>
                              <a:pt x="4144" y="24868"/>
                            </a:lnTo>
                            <a:lnTo>
                              <a:pt x="4144" y="24742"/>
                            </a:lnTo>
                            <a:lnTo>
                              <a:pt x="3391" y="24365"/>
                            </a:lnTo>
                            <a:lnTo>
                              <a:pt x="3391" y="24365"/>
                            </a:lnTo>
                            <a:lnTo>
                              <a:pt x="3140" y="24240"/>
                            </a:lnTo>
                            <a:lnTo>
                              <a:pt x="2512" y="23863"/>
                            </a:lnTo>
                            <a:lnTo>
                              <a:pt x="2512" y="23863"/>
                            </a:lnTo>
                            <a:lnTo>
                              <a:pt x="1884" y="23486"/>
                            </a:lnTo>
                            <a:lnTo>
                              <a:pt x="1758" y="23361"/>
                            </a:lnTo>
                            <a:lnTo>
                              <a:pt x="0" y="22356"/>
                            </a:lnTo>
                            <a:lnTo>
                              <a:pt x="5400" y="19216"/>
                            </a:lnTo>
                            <a:lnTo>
                              <a:pt x="5400" y="19216"/>
                            </a:lnTo>
                            <a:lnTo>
                              <a:pt x="5652" y="19090"/>
                            </a:lnTo>
                            <a:lnTo>
                              <a:pt x="5652" y="19090"/>
                            </a:lnTo>
                            <a:lnTo>
                              <a:pt x="5903" y="18965"/>
                            </a:lnTo>
                            <a:lnTo>
                              <a:pt x="6029" y="18965"/>
                            </a:lnTo>
                            <a:lnTo>
                              <a:pt x="6154" y="18839"/>
                            </a:lnTo>
                            <a:lnTo>
                              <a:pt x="6154" y="18839"/>
                            </a:lnTo>
                            <a:lnTo>
                              <a:pt x="21602" y="9922"/>
                            </a:lnTo>
                            <a:lnTo>
                              <a:pt x="21979" y="9671"/>
                            </a:lnTo>
                            <a:lnTo>
                              <a:pt x="22356" y="9420"/>
                            </a:lnTo>
                            <a:lnTo>
                              <a:pt x="22607" y="9294"/>
                            </a:lnTo>
                            <a:lnTo>
                              <a:pt x="38809" y="0"/>
                            </a:lnTo>
                            <a:lnTo>
                              <a:pt x="39688" y="502"/>
                            </a:lnTo>
                            <a:lnTo>
                              <a:pt x="39939" y="628"/>
                            </a:lnTo>
                            <a:lnTo>
                              <a:pt x="41195" y="1256"/>
                            </a:lnTo>
                            <a:lnTo>
                              <a:pt x="41446" y="1507"/>
                            </a:lnTo>
                            <a:lnTo>
                              <a:pt x="42576" y="2135"/>
                            </a:lnTo>
                            <a:lnTo>
                              <a:pt x="42828" y="2261"/>
                            </a:lnTo>
                            <a:lnTo>
                              <a:pt x="43330" y="2512"/>
                            </a:lnTo>
                            <a:lnTo>
                              <a:pt x="43330" y="2637"/>
                            </a:lnTo>
                            <a:lnTo>
                              <a:pt x="44335" y="3140"/>
                            </a:lnTo>
                            <a:lnTo>
                              <a:pt x="44586" y="3265"/>
                            </a:lnTo>
                            <a:lnTo>
                              <a:pt x="45340" y="3642"/>
                            </a:lnTo>
                            <a:lnTo>
                              <a:pt x="45340" y="3768"/>
                            </a:lnTo>
                            <a:lnTo>
                              <a:pt x="46470" y="4396"/>
                            </a:lnTo>
                            <a:lnTo>
                              <a:pt x="46721" y="4521"/>
                            </a:lnTo>
                            <a:lnTo>
                              <a:pt x="47098" y="4773"/>
                            </a:lnTo>
                            <a:lnTo>
                              <a:pt x="47852" y="5149"/>
                            </a:lnTo>
                            <a:lnTo>
                              <a:pt x="47852" y="5149"/>
                            </a:lnTo>
                            <a:lnTo>
                              <a:pt x="48228" y="5401"/>
                            </a:lnTo>
                            <a:lnTo>
                              <a:pt x="48354" y="5526"/>
                            </a:lnTo>
                            <a:lnTo>
                              <a:pt x="48856" y="5652"/>
                            </a:lnTo>
                            <a:lnTo>
                              <a:pt x="48982" y="5777"/>
                            </a:lnTo>
                            <a:lnTo>
                              <a:pt x="49610" y="6154"/>
                            </a:lnTo>
                            <a:lnTo>
                              <a:pt x="49861" y="6280"/>
                            </a:lnTo>
                            <a:lnTo>
                              <a:pt x="50112" y="6531"/>
                            </a:lnTo>
                            <a:lnTo>
                              <a:pt x="50112" y="6531"/>
                            </a:lnTo>
                            <a:lnTo>
                              <a:pt x="50238" y="6531"/>
                            </a:lnTo>
                            <a:lnTo>
                              <a:pt x="50740" y="6782"/>
                            </a:lnTo>
                            <a:lnTo>
                              <a:pt x="50991" y="6908"/>
                            </a:lnTo>
                            <a:lnTo>
                              <a:pt x="51117" y="7033"/>
                            </a:lnTo>
                            <a:lnTo>
                              <a:pt x="51243" y="7033"/>
                            </a:lnTo>
                            <a:lnTo>
                              <a:pt x="51368" y="7159"/>
                            </a:lnTo>
                            <a:lnTo>
                              <a:pt x="51619" y="7284"/>
                            </a:lnTo>
                            <a:lnTo>
                              <a:pt x="51745" y="7410"/>
                            </a:lnTo>
                            <a:lnTo>
                              <a:pt x="52247" y="7661"/>
                            </a:lnTo>
                            <a:lnTo>
                              <a:pt x="52373" y="7787"/>
                            </a:lnTo>
                            <a:lnTo>
                              <a:pt x="52750" y="8038"/>
                            </a:lnTo>
                            <a:lnTo>
                              <a:pt x="52875" y="8038"/>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58" name="Freeform: Shape 1957">
                      <a:extLst>
                        <a:ext uri="{FF2B5EF4-FFF2-40B4-BE49-F238E27FC236}">
                          <a16:creationId xmlns:a16="http://schemas.microsoft.com/office/drawing/2014/main" id="{997818CD-42F3-47A6-9719-F4920665E68B}"/>
                        </a:ext>
                      </a:extLst>
                    </p:cNvPr>
                    <p:cNvSpPr/>
                    <p:nvPr/>
                  </p:nvSpPr>
                  <p:spPr>
                    <a:xfrm>
                      <a:off x="3852498" y="1660966"/>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59" name="Graphic 4">
                    <a:extLst>
                      <a:ext uri="{FF2B5EF4-FFF2-40B4-BE49-F238E27FC236}">
                        <a16:creationId xmlns:a16="http://schemas.microsoft.com/office/drawing/2014/main" id="{84FB7ED1-A2DF-40A1-A747-5F7CF3F14040}"/>
                      </a:ext>
                    </a:extLst>
                  </p:cNvPr>
                  <p:cNvGrpSpPr/>
                  <p:nvPr/>
                </p:nvGrpSpPr>
                <p:grpSpPr>
                  <a:xfrm>
                    <a:off x="3869705" y="1648407"/>
                    <a:ext cx="54005" cy="33282"/>
                    <a:chOff x="3869705" y="1648407"/>
                    <a:chExt cx="54005" cy="33282"/>
                  </a:xfrm>
                  <a:solidFill>
                    <a:schemeClr val="accent1"/>
                  </a:solidFill>
                </p:grpSpPr>
                <p:grpSp>
                  <p:nvGrpSpPr>
                    <p:cNvPr id="1960" name="Graphic 4">
                      <a:extLst>
                        <a:ext uri="{FF2B5EF4-FFF2-40B4-BE49-F238E27FC236}">
                          <a16:creationId xmlns:a16="http://schemas.microsoft.com/office/drawing/2014/main" id="{84FB7ED1-A2DF-40A1-A747-5F7CF3F14040}"/>
                        </a:ext>
                      </a:extLst>
                    </p:cNvPr>
                    <p:cNvGrpSpPr/>
                    <p:nvPr/>
                  </p:nvGrpSpPr>
                  <p:grpSpPr>
                    <a:xfrm>
                      <a:off x="3869705" y="1648407"/>
                      <a:ext cx="54005" cy="33282"/>
                      <a:chOff x="3869705" y="1648407"/>
                      <a:chExt cx="54005" cy="33282"/>
                    </a:xfrm>
                    <a:solidFill>
                      <a:schemeClr val="accent1"/>
                    </a:solidFill>
                  </p:grpSpPr>
                  <p:sp>
                    <p:nvSpPr>
                      <p:cNvPr id="1961" name="Freeform: Shape 1960">
                        <a:extLst>
                          <a:ext uri="{FF2B5EF4-FFF2-40B4-BE49-F238E27FC236}">
                            <a16:creationId xmlns:a16="http://schemas.microsoft.com/office/drawing/2014/main" id="{AD3B004A-348F-40DF-9F0E-173B3ED22597}"/>
                          </a:ext>
                        </a:extLst>
                      </p:cNvPr>
                      <p:cNvSpPr/>
                      <p:nvPr/>
                    </p:nvSpPr>
                    <p:spPr>
                      <a:xfrm>
                        <a:off x="3869705" y="1650542"/>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685 h 31147"/>
                          <a:gd name="connsiteX8" fmla="*/ 46345 w 54005"/>
                          <a:gd name="connsiteY8" fmla="*/ 13187 h 31147"/>
                          <a:gd name="connsiteX9" fmla="*/ 34790 w 54005"/>
                          <a:gd name="connsiteY9" fmla="*/ 19970 h 31147"/>
                          <a:gd name="connsiteX10" fmla="*/ 34790 w 54005"/>
                          <a:gd name="connsiteY10" fmla="*/ 19970 h 31147"/>
                          <a:gd name="connsiteX11" fmla="*/ 34162 w 54005"/>
                          <a:gd name="connsiteY11" fmla="*/ 20221 h 31147"/>
                          <a:gd name="connsiteX12" fmla="*/ 32780 w 54005"/>
                          <a:gd name="connsiteY12" fmla="*/ 21100 h 31147"/>
                          <a:gd name="connsiteX13" fmla="*/ 32780 w 54005"/>
                          <a:gd name="connsiteY13" fmla="*/ 21100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756 h 31147"/>
                          <a:gd name="connsiteX26" fmla="*/ 15197 w 54005"/>
                          <a:gd name="connsiteY26" fmla="*/ 31148 h 31147"/>
                          <a:gd name="connsiteX27" fmla="*/ 15197 w 54005"/>
                          <a:gd name="connsiteY27" fmla="*/ 31148 h 31147"/>
                          <a:gd name="connsiteX28" fmla="*/ 15072 w 54005"/>
                          <a:gd name="connsiteY28" fmla="*/ 31148 h 31147"/>
                          <a:gd name="connsiteX29" fmla="*/ 14569 w 54005"/>
                          <a:gd name="connsiteY29" fmla="*/ 30896 h 31147"/>
                          <a:gd name="connsiteX30" fmla="*/ 14569 w 54005"/>
                          <a:gd name="connsiteY30" fmla="*/ 30771 h 31147"/>
                          <a:gd name="connsiteX31" fmla="*/ 14569 w 54005"/>
                          <a:gd name="connsiteY31" fmla="*/ 30771 h 31147"/>
                          <a:gd name="connsiteX32" fmla="*/ 13941 w 54005"/>
                          <a:gd name="connsiteY32" fmla="*/ 30520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636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8 h 31147"/>
                          <a:gd name="connsiteX46" fmla="*/ 8038 w 54005"/>
                          <a:gd name="connsiteY46" fmla="*/ 27128 h 31147"/>
                          <a:gd name="connsiteX47" fmla="*/ 7661 w 54005"/>
                          <a:gd name="connsiteY47" fmla="*/ 26877 h 31147"/>
                          <a:gd name="connsiteX48" fmla="*/ 7536 w 54005"/>
                          <a:gd name="connsiteY48" fmla="*/ 26752 h 31147"/>
                          <a:gd name="connsiteX49" fmla="*/ 6908 w 54005"/>
                          <a:gd name="connsiteY49" fmla="*/ 26375 h 31147"/>
                          <a:gd name="connsiteX50" fmla="*/ 6782 w 54005"/>
                          <a:gd name="connsiteY50" fmla="*/ 26375 h 31147"/>
                          <a:gd name="connsiteX51" fmla="*/ 5777 w 54005"/>
                          <a:gd name="connsiteY51" fmla="*/ 25747 h 31147"/>
                          <a:gd name="connsiteX52" fmla="*/ 5526 w 54005"/>
                          <a:gd name="connsiteY52" fmla="*/ 25621 h 31147"/>
                          <a:gd name="connsiteX53" fmla="*/ 4647 w 54005"/>
                          <a:gd name="connsiteY53" fmla="*/ 25119 h 31147"/>
                          <a:gd name="connsiteX54" fmla="*/ 4522 w 54005"/>
                          <a:gd name="connsiteY54" fmla="*/ 25119 h 31147"/>
                          <a:gd name="connsiteX55" fmla="*/ 4270 w 54005"/>
                          <a:gd name="connsiteY55" fmla="*/ 24868 h 31147"/>
                          <a:gd name="connsiteX56" fmla="*/ 4144 w 54005"/>
                          <a:gd name="connsiteY56" fmla="*/ 24868 h 31147"/>
                          <a:gd name="connsiteX57" fmla="*/ 3517 w 54005"/>
                          <a:gd name="connsiteY57" fmla="*/ 24365 h 31147"/>
                          <a:gd name="connsiteX58" fmla="*/ 3517 w 54005"/>
                          <a:gd name="connsiteY58" fmla="*/ 24365 h 31147"/>
                          <a:gd name="connsiteX59" fmla="*/ 3266 w 54005"/>
                          <a:gd name="connsiteY59" fmla="*/ 24365 h 31147"/>
                          <a:gd name="connsiteX60" fmla="*/ 2637 w 54005"/>
                          <a:gd name="connsiteY60" fmla="*/ 23863 h 31147"/>
                          <a:gd name="connsiteX61" fmla="*/ 2512 w 54005"/>
                          <a:gd name="connsiteY61" fmla="*/ 23863 h 31147"/>
                          <a:gd name="connsiteX62" fmla="*/ 2010 w 54005"/>
                          <a:gd name="connsiteY62" fmla="*/ 23612 h 31147"/>
                          <a:gd name="connsiteX63" fmla="*/ 1759 w 54005"/>
                          <a:gd name="connsiteY63" fmla="*/ 23486 h 31147"/>
                          <a:gd name="connsiteX64" fmla="*/ 0 w 54005"/>
                          <a:gd name="connsiteY64" fmla="*/ 22481 h 31147"/>
                          <a:gd name="connsiteX65" fmla="*/ 0 w 54005"/>
                          <a:gd name="connsiteY65" fmla="*/ 20346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382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637 h 31147"/>
                          <a:gd name="connsiteX74" fmla="*/ 43456 w 54005"/>
                          <a:gd name="connsiteY74" fmla="*/ 2637 h 31147"/>
                          <a:gd name="connsiteX75" fmla="*/ 43456 w 54005"/>
                          <a:gd name="connsiteY75" fmla="*/ 2637 h 31147"/>
                          <a:gd name="connsiteX76" fmla="*/ 44461 w 54005"/>
                          <a:gd name="connsiteY76" fmla="*/ 3140 h 31147"/>
                          <a:gd name="connsiteX77" fmla="*/ 44712 w 54005"/>
                          <a:gd name="connsiteY77" fmla="*/ 3391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521 h 31147"/>
                          <a:gd name="connsiteX82" fmla="*/ 47098 w 54005"/>
                          <a:gd name="connsiteY82" fmla="*/ 4647 h 31147"/>
                          <a:gd name="connsiteX83" fmla="*/ 47224 w 54005"/>
                          <a:gd name="connsiteY83" fmla="*/ 4773 h 31147"/>
                          <a:gd name="connsiteX84" fmla="*/ 47852 w 54005"/>
                          <a:gd name="connsiteY84" fmla="*/ 5149 h 31147"/>
                          <a:gd name="connsiteX85" fmla="*/ 47977 w 54005"/>
                          <a:gd name="connsiteY85" fmla="*/ 5275 h 31147"/>
                          <a:gd name="connsiteX86" fmla="*/ 48354 w 54005"/>
                          <a:gd name="connsiteY86" fmla="*/ 5401 h 31147"/>
                          <a:gd name="connsiteX87" fmla="*/ 48480 w 54005"/>
                          <a:gd name="connsiteY87" fmla="*/ 5526 h 31147"/>
                          <a:gd name="connsiteX88" fmla="*/ 48857 w 54005"/>
                          <a:gd name="connsiteY88" fmla="*/ 5777 h 31147"/>
                          <a:gd name="connsiteX89" fmla="*/ 49108 w 54005"/>
                          <a:gd name="connsiteY89" fmla="*/ 5903 h 31147"/>
                          <a:gd name="connsiteX90" fmla="*/ 49610 w 54005"/>
                          <a:gd name="connsiteY90" fmla="*/ 6280 h 31147"/>
                          <a:gd name="connsiteX91" fmla="*/ 49987 w 54005"/>
                          <a:gd name="connsiteY91" fmla="*/ 6405 h 31147"/>
                          <a:gd name="connsiteX92" fmla="*/ 50238 w 54005"/>
                          <a:gd name="connsiteY92" fmla="*/ 6531 h 31147"/>
                          <a:gd name="connsiteX93" fmla="*/ 50238 w 54005"/>
                          <a:gd name="connsiteY93" fmla="*/ 6531 h 31147"/>
                          <a:gd name="connsiteX94" fmla="*/ 50364 w 54005"/>
                          <a:gd name="connsiteY94" fmla="*/ 6657 h 31147"/>
                          <a:gd name="connsiteX95" fmla="*/ 50740 w 54005"/>
                          <a:gd name="connsiteY95" fmla="*/ 6908 h 31147"/>
                          <a:gd name="connsiteX96" fmla="*/ 50991 w 54005"/>
                          <a:gd name="connsiteY96" fmla="*/ 7033 h 31147"/>
                          <a:gd name="connsiteX97" fmla="*/ 51243 w 54005"/>
                          <a:gd name="connsiteY97" fmla="*/ 7159 h 31147"/>
                          <a:gd name="connsiteX98" fmla="*/ 51243 w 54005"/>
                          <a:gd name="connsiteY98" fmla="*/ 7159 h 31147"/>
                          <a:gd name="connsiteX99" fmla="*/ 51368 w 54005"/>
                          <a:gd name="connsiteY99" fmla="*/ 7159 h 31147"/>
                          <a:gd name="connsiteX100" fmla="*/ 51620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685"/>
                            </a:lnTo>
                            <a:lnTo>
                              <a:pt x="46345" y="13187"/>
                            </a:lnTo>
                            <a:lnTo>
                              <a:pt x="34790" y="19970"/>
                            </a:lnTo>
                            <a:lnTo>
                              <a:pt x="34790" y="19970"/>
                            </a:lnTo>
                            <a:lnTo>
                              <a:pt x="34162" y="20221"/>
                            </a:lnTo>
                            <a:lnTo>
                              <a:pt x="32780" y="21100"/>
                            </a:lnTo>
                            <a:lnTo>
                              <a:pt x="32780" y="21100"/>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631"/>
                            </a:lnTo>
                            <a:lnTo>
                              <a:pt x="21226" y="27756"/>
                            </a:lnTo>
                            <a:lnTo>
                              <a:pt x="15197" y="31148"/>
                            </a:lnTo>
                            <a:lnTo>
                              <a:pt x="15197" y="31148"/>
                            </a:lnTo>
                            <a:lnTo>
                              <a:pt x="15072" y="31148"/>
                            </a:lnTo>
                            <a:lnTo>
                              <a:pt x="14569" y="30896"/>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365"/>
                            </a:lnTo>
                            <a:lnTo>
                              <a:pt x="3517" y="24365"/>
                            </a:lnTo>
                            <a:lnTo>
                              <a:pt x="3266" y="24365"/>
                            </a:lnTo>
                            <a:lnTo>
                              <a:pt x="2637" y="23863"/>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135"/>
                            </a:lnTo>
                            <a:lnTo>
                              <a:pt x="42828" y="2261"/>
                            </a:lnTo>
                            <a:lnTo>
                              <a:pt x="43330" y="2637"/>
                            </a:lnTo>
                            <a:lnTo>
                              <a:pt x="43456" y="2637"/>
                            </a:lnTo>
                            <a:lnTo>
                              <a:pt x="43456" y="2637"/>
                            </a:lnTo>
                            <a:lnTo>
                              <a:pt x="44461" y="3140"/>
                            </a:lnTo>
                            <a:lnTo>
                              <a:pt x="44712" y="3391"/>
                            </a:lnTo>
                            <a:lnTo>
                              <a:pt x="45340" y="3768"/>
                            </a:lnTo>
                            <a:lnTo>
                              <a:pt x="45465" y="3768"/>
                            </a:lnTo>
                            <a:lnTo>
                              <a:pt x="46596" y="4396"/>
                            </a:lnTo>
                            <a:lnTo>
                              <a:pt x="46847" y="4521"/>
                            </a:lnTo>
                            <a:lnTo>
                              <a:pt x="47098" y="4647"/>
                            </a:lnTo>
                            <a:lnTo>
                              <a:pt x="47224" y="4773"/>
                            </a:lnTo>
                            <a:lnTo>
                              <a:pt x="47852" y="5149"/>
                            </a:lnTo>
                            <a:lnTo>
                              <a:pt x="47977" y="5275"/>
                            </a:lnTo>
                            <a:lnTo>
                              <a:pt x="48354" y="5401"/>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159"/>
                            </a:lnTo>
                            <a:lnTo>
                              <a:pt x="51620"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62" name="Freeform: Shape 1961">
                        <a:extLst>
                          <a:ext uri="{FF2B5EF4-FFF2-40B4-BE49-F238E27FC236}">
                            <a16:creationId xmlns:a16="http://schemas.microsoft.com/office/drawing/2014/main" id="{1EE9CCC5-A60C-4E0B-ADEF-062705AE567F}"/>
                          </a:ext>
                        </a:extLst>
                      </p:cNvPr>
                      <p:cNvSpPr/>
                      <p:nvPr/>
                    </p:nvSpPr>
                    <p:spPr>
                      <a:xfrm>
                        <a:off x="3869705" y="1648407"/>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685 h 31147"/>
                          <a:gd name="connsiteX8" fmla="*/ 46345 w 54005"/>
                          <a:gd name="connsiteY8" fmla="*/ 13187 h 31147"/>
                          <a:gd name="connsiteX9" fmla="*/ 34790 w 54005"/>
                          <a:gd name="connsiteY9" fmla="*/ 19970 h 31147"/>
                          <a:gd name="connsiteX10" fmla="*/ 34162 w 54005"/>
                          <a:gd name="connsiteY10" fmla="*/ 20221 h 31147"/>
                          <a:gd name="connsiteX11" fmla="*/ 32780 w 54005"/>
                          <a:gd name="connsiteY11" fmla="*/ 21100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733 h 31147"/>
                          <a:gd name="connsiteX17" fmla="*/ 29892 w 54005"/>
                          <a:gd name="connsiteY17" fmla="*/ 22733 h 31147"/>
                          <a:gd name="connsiteX18" fmla="*/ 29515 w 54005"/>
                          <a:gd name="connsiteY18" fmla="*/ 22858 h 31147"/>
                          <a:gd name="connsiteX19" fmla="*/ 21728 w 54005"/>
                          <a:gd name="connsiteY19" fmla="*/ 27380 h 31147"/>
                          <a:gd name="connsiteX20" fmla="*/ 21226 w 54005"/>
                          <a:gd name="connsiteY20" fmla="*/ 27756 h 31147"/>
                          <a:gd name="connsiteX21" fmla="*/ 21226 w 54005"/>
                          <a:gd name="connsiteY21" fmla="*/ 27756 h 31147"/>
                          <a:gd name="connsiteX22" fmla="*/ 15197 w 54005"/>
                          <a:gd name="connsiteY22" fmla="*/ 31148 h 31147"/>
                          <a:gd name="connsiteX23" fmla="*/ 15197 w 54005"/>
                          <a:gd name="connsiteY23" fmla="*/ 31148 h 31147"/>
                          <a:gd name="connsiteX24" fmla="*/ 15072 w 54005"/>
                          <a:gd name="connsiteY24" fmla="*/ 31148 h 31147"/>
                          <a:gd name="connsiteX25" fmla="*/ 14569 w 54005"/>
                          <a:gd name="connsiteY25" fmla="*/ 30896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9043 w 54005"/>
                          <a:gd name="connsiteY38" fmla="*/ 27631 h 31147"/>
                          <a:gd name="connsiteX39" fmla="*/ 9043 w 54005"/>
                          <a:gd name="connsiteY39" fmla="*/ 27631 h 31147"/>
                          <a:gd name="connsiteX40" fmla="*/ 8164 w 54005"/>
                          <a:gd name="connsiteY40" fmla="*/ 27128 h 31147"/>
                          <a:gd name="connsiteX41" fmla="*/ 8038 w 54005"/>
                          <a:gd name="connsiteY41" fmla="*/ 27128 h 31147"/>
                          <a:gd name="connsiteX42" fmla="*/ 7661 w 54005"/>
                          <a:gd name="connsiteY42" fmla="*/ 26877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747 h 31147"/>
                          <a:gd name="connsiteX47" fmla="*/ 5526 w 54005"/>
                          <a:gd name="connsiteY47" fmla="*/ 25621 h 31147"/>
                          <a:gd name="connsiteX48" fmla="*/ 4647 w 54005"/>
                          <a:gd name="connsiteY48" fmla="*/ 25119 h 31147"/>
                          <a:gd name="connsiteX49" fmla="*/ 4522 w 54005"/>
                          <a:gd name="connsiteY49" fmla="*/ 24993 h 31147"/>
                          <a:gd name="connsiteX50" fmla="*/ 4270 w 54005"/>
                          <a:gd name="connsiteY50" fmla="*/ 24868 h 31147"/>
                          <a:gd name="connsiteX51" fmla="*/ 4144 w 54005"/>
                          <a:gd name="connsiteY51" fmla="*/ 24868 h 31147"/>
                          <a:gd name="connsiteX52" fmla="*/ 3517 w 54005"/>
                          <a:gd name="connsiteY52" fmla="*/ 24365 h 31147"/>
                          <a:gd name="connsiteX53" fmla="*/ 3517 w 54005"/>
                          <a:gd name="connsiteY53" fmla="*/ 24365 h 31147"/>
                          <a:gd name="connsiteX54" fmla="*/ 3266 w 54005"/>
                          <a:gd name="connsiteY54" fmla="*/ 24365 h 31147"/>
                          <a:gd name="connsiteX55" fmla="*/ 2637 w 54005"/>
                          <a:gd name="connsiteY55" fmla="*/ 23863 h 31147"/>
                          <a:gd name="connsiteX56" fmla="*/ 2512 w 54005"/>
                          <a:gd name="connsiteY56" fmla="*/ 23863 h 31147"/>
                          <a:gd name="connsiteX57" fmla="*/ 2010 w 54005"/>
                          <a:gd name="connsiteY57" fmla="*/ 23612 h 31147"/>
                          <a:gd name="connsiteX58" fmla="*/ 1759 w 54005"/>
                          <a:gd name="connsiteY58" fmla="*/ 23486 h 31147"/>
                          <a:gd name="connsiteX59" fmla="*/ 0 w 54005"/>
                          <a:gd name="connsiteY59" fmla="*/ 22481 h 31147"/>
                          <a:gd name="connsiteX60" fmla="*/ 5526 w 54005"/>
                          <a:gd name="connsiteY60" fmla="*/ 19342 h 31147"/>
                          <a:gd name="connsiteX61" fmla="*/ 5526 w 54005"/>
                          <a:gd name="connsiteY61" fmla="*/ 19216 h 31147"/>
                          <a:gd name="connsiteX62" fmla="*/ 5652 w 54005"/>
                          <a:gd name="connsiteY62" fmla="*/ 19216 h 31147"/>
                          <a:gd name="connsiteX63" fmla="*/ 5777 w 54005"/>
                          <a:gd name="connsiteY63" fmla="*/ 19216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796 h 31147"/>
                          <a:gd name="connsiteX70" fmla="*/ 22482 w 54005"/>
                          <a:gd name="connsiteY70" fmla="*/ 9545 h 31147"/>
                          <a:gd name="connsiteX71" fmla="*/ 22733 w 54005"/>
                          <a:gd name="connsiteY71" fmla="*/ 9420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382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637 h 31147"/>
                          <a:gd name="connsiteX80" fmla="*/ 43456 w 54005"/>
                          <a:gd name="connsiteY80" fmla="*/ 2637 h 31147"/>
                          <a:gd name="connsiteX81" fmla="*/ 44461 w 54005"/>
                          <a:gd name="connsiteY81" fmla="*/ 3140 h 31147"/>
                          <a:gd name="connsiteX82" fmla="*/ 44712 w 54005"/>
                          <a:gd name="connsiteY82" fmla="*/ 3391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275 h 31147"/>
                          <a:gd name="connsiteX90" fmla="*/ 48354 w 54005"/>
                          <a:gd name="connsiteY90" fmla="*/ 5401 h 31147"/>
                          <a:gd name="connsiteX91" fmla="*/ 48480 w 54005"/>
                          <a:gd name="connsiteY91" fmla="*/ 5526 h 31147"/>
                          <a:gd name="connsiteX92" fmla="*/ 48857 w 54005"/>
                          <a:gd name="connsiteY92" fmla="*/ 5777 h 31147"/>
                          <a:gd name="connsiteX93" fmla="*/ 49108 w 54005"/>
                          <a:gd name="connsiteY93" fmla="*/ 5903 h 31147"/>
                          <a:gd name="connsiteX94" fmla="*/ 49735 w 54005"/>
                          <a:gd name="connsiteY94" fmla="*/ 6280 h 31147"/>
                          <a:gd name="connsiteX95" fmla="*/ 49987 w 54005"/>
                          <a:gd name="connsiteY95" fmla="*/ 6405 h 31147"/>
                          <a:gd name="connsiteX96" fmla="*/ 50238 w 54005"/>
                          <a:gd name="connsiteY96" fmla="*/ 6531 h 31147"/>
                          <a:gd name="connsiteX97" fmla="*/ 50238 w 54005"/>
                          <a:gd name="connsiteY97" fmla="*/ 6531 h 31147"/>
                          <a:gd name="connsiteX98" fmla="*/ 50364 w 54005"/>
                          <a:gd name="connsiteY98" fmla="*/ 6657 h 31147"/>
                          <a:gd name="connsiteX99" fmla="*/ 50740 w 54005"/>
                          <a:gd name="connsiteY99" fmla="*/ 6908 h 31147"/>
                          <a:gd name="connsiteX100" fmla="*/ 50991 w 54005"/>
                          <a:gd name="connsiteY100" fmla="*/ 7033 h 31147"/>
                          <a:gd name="connsiteX101" fmla="*/ 51243 w 54005"/>
                          <a:gd name="connsiteY101" fmla="*/ 7159 h 31147"/>
                          <a:gd name="connsiteX102" fmla="*/ 51243 w 54005"/>
                          <a:gd name="connsiteY102" fmla="*/ 7159 h 31147"/>
                          <a:gd name="connsiteX103" fmla="*/ 51368 w 54005"/>
                          <a:gd name="connsiteY103" fmla="*/ 7159 h 31147"/>
                          <a:gd name="connsiteX104" fmla="*/ 51620 w 54005"/>
                          <a:gd name="connsiteY104" fmla="*/ 7410 h 31147"/>
                          <a:gd name="connsiteX105" fmla="*/ 51745 w 54005"/>
                          <a:gd name="connsiteY105" fmla="*/ 7410 h 31147"/>
                          <a:gd name="connsiteX106" fmla="*/ 52247 w 54005"/>
                          <a:gd name="connsiteY106" fmla="*/ 7787 h 31147"/>
                          <a:gd name="connsiteX107" fmla="*/ 52499 w 54005"/>
                          <a:gd name="connsiteY107" fmla="*/ 7787 h 31147"/>
                          <a:gd name="connsiteX108" fmla="*/ 52875 w 54005"/>
                          <a:gd name="connsiteY108" fmla="*/ 8038 h 31147"/>
                          <a:gd name="connsiteX109" fmla="*/ 53001 w 54005"/>
                          <a:gd name="connsiteY109" fmla="*/ 8164 h 31147"/>
                          <a:gd name="connsiteX110" fmla="*/ 53504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685"/>
                            </a:lnTo>
                            <a:lnTo>
                              <a:pt x="46345" y="13187"/>
                            </a:lnTo>
                            <a:lnTo>
                              <a:pt x="34790" y="19970"/>
                            </a:lnTo>
                            <a:lnTo>
                              <a:pt x="34162" y="20221"/>
                            </a:lnTo>
                            <a:lnTo>
                              <a:pt x="32780" y="21100"/>
                            </a:lnTo>
                            <a:lnTo>
                              <a:pt x="32152" y="21351"/>
                            </a:lnTo>
                            <a:lnTo>
                              <a:pt x="32027" y="21477"/>
                            </a:lnTo>
                            <a:lnTo>
                              <a:pt x="32027" y="21477"/>
                            </a:lnTo>
                            <a:lnTo>
                              <a:pt x="31775" y="21602"/>
                            </a:lnTo>
                            <a:lnTo>
                              <a:pt x="29892" y="22733"/>
                            </a:lnTo>
                            <a:lnTo>
                              <a:pt x="29892" y="22733"/>
                            </a:lnTo>
                            <a:lnTo>
                              <a:pt x="29515" y="22858"/>
                            </a:lnTo>
                            <a:lnTo>
                              <a:pt x="21728" y="27380"/>
                            </a:lnTo>
                            <a:lnTo>
                              <a:pt x="21226" y="27756"/>
                            </a:lnTo>
                            <a:lnTo>
                              <a:pt x="21226" y="27756"/>
                            </a:lnTo>
                            <a:lnTo>
                              <a:pt x="15197" y="31148"/>
                            </a:lnTo>
                            <a:lnTo>
                              <a:pt x="15197" y="31148"/>
                            </a:lnTo>
                            <a:lnTo>
                              <a:pt x="15072" y="31148"/>
                            </a:lnTo>
                            <a:lnTo>
                              <a:pt x="14569" y="30896"/>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4993"/>
                            </a:lnTo>
                            <a:lnTo>
                              <a:pt x="4270" y="24868"/>
                            </a:lnTo>
                            <a:lnTo>
                              <a:pt x="4144" y="24868"/>
                            </a:lnTo>
                            <a:lnTo>
                              <a:pt x="3517" y="24365"/>
                            </a:lnTo>
                            <a:lnTo>
                              <a:pt x="3517" y="24365"/>
                            </a:lnTo>
                            <a:lnTo>
                              <a:pt x="3266" y="24365"/>
                            </a:lnTo>
                            <a:lnTo>
                              <a:pt x="2637" y="23863"/>
                            </a:lnTo>
                            <a:lnTo>
                              <a:pt x="2512" y="23863"/>
                            </a:lnTo>
                            <a:lnTo>
                              <a:pt x="2010" y="23612"/>
                            </a:lnTo>
                            <a:lnTo>
                              <a:pt x="1759" y="23486"/>
                            </a:lnTo>
                            <a:lnTo>
                              <a:pt x="0" y="22481"/>
                            </a:lnTo>
                            <a:lnTo>
                              <a:pt x="5526" y="19342"/>
                            </a:lnTo>
                            <a:lnTo>
                              <a:pt x="5526" y="19216"/>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420"/>
                            </a:lnTo>
                            <a:lnTo>
                              <a:pt x="38934" y="0"/>
                            </a:lnTo>
                            <a:lnTo>
                              <a:pt x="39814" y="502"/>
                            </a:lnTo>
                            <a:lnTo>
                              <a:pt x="40065" y="628"/>
                            </a:lnTo>
                            <a:lnTo>
                              <a:pt x="41195" y="1382"/>
                            </a:lnTo>
                            <a:lnTo>
                              <a:pt x="41572" y="1507"/>
                            </a:lnTo>
                            <a:lnTo>
                              <a:pt x="42702" y="2135"/>
                            </a:lnTo>
                            <a:lnTo>
                              <a:pt x="42828" y="2261"/>
                            </a:lnTo>
                            <a:lnTo>
                              <a:pt x="43330" y="2637"/>
                            </a:lnTo>
                            <a:lnTo>
                              <a:pt x="43456" y="2637"/>
                            </a:lnTo>
                            <a:lnTo>
                              <a:pt x="44461" y="3140"/>
                            </a:lnTo>
                            <a:lnTo>
                              <a:pt x="44712" y="3391"/>
                            </a:lnTo>
                            <a:lnTo>
                              <a:pt x="45340" y="3768"/>
                            </a:lnTo>
                            <a:lnTo>
                              <a:pt x="45465" y="3768"/>
                            </a:lnTo>
                            <a:lnTo>
                              <a:pt x="46596" y="4396"/>
                            </a:lnTo>
                            <a:lnTo>
                              <a:pt x="46847" y="4521"/>
                            </a:lnTo>
                            <a:lnTo>
                              <a:pt x="47224" y="4773"/>
                            </a:lnTo>
                            <a:lnTo>
                              <a:pt x="47852" y="5149"/>
                            </a:lnTo>
                            <a:lnTo>
                              <a:pt x="47977" y="5275"/>
                            </a:lnTo>
                            <a:lnTo>
                              <a:pt x="48354" y="5401"/>
                            </a:lnTo>
                            <a:lnTo>
                              <a:pt x="48480" y="5526"/>
                            </a:lnTo>
                            <a:lnTo>
                              <a:pt x="48857" y="5777"/>
                            </a:lnTo>
                            <a:lnTo>
                              <a:pt x="49108" y="5903"/>
                            </a:lnTo>
                            <a:lnTo>
                              <a:pt x="49735" y="6280"/>
                            </a:lnTo>
                            <a:lnTo>
                              <a:pt x="49987" y="6405"/>
                            </a:lnTo>
                            <a:lnTo>
                              <a:pt x="50238" y="6531"/>
                            </a:lnTo>
                            <a:lnTo>
                              <a:pt x="50238" y="6531"/>
                            </a:lnTo>
                            <a:lnTo>
                              <a:pt x="50364" y="6657"/>
                            </a:lnTo>
                            <a:lnTo>
                              <a:pt x="50740" y="6908"/>
                            </a:lnTo>
                            <a:lnTo>
                              <a:pt x="50991" y="7033"/>
                            </a:lnTo>
                            <a:lnTo>
                              <a:pt x="51243" y="7159"/>
                            </a:lnTo>
                            <a:lnTo>
                              <a:pt x="51243" y="7159"/>
                            </a:lnTo>
                            <a:lnTo>
                              <a:pt x="51368" y="7159"/>
                            </a:lnTo>
                            <a:lnTo>
                              <a:pt x="51620" y="7410"/>
                            </a:lnTo>
                            <a:lnTo>
                              <a:pt x="51745" y="7410"/>
                            </a:lnTo>
                            <a:lnTo>
                              <a:pt x="52247" y="7787"/>
                            </a:lnTo>
                            <a:lnTo>
                              <a:pt x="52499" y="7787"/>
                            </a:lnTo>
                            <a:lnTo>
                              <a:pt x="52875" y="8038"/>
                            </a:lnTo>
                            <a:lnTo>
                              <a:pt x="53001" y="8164"/>
                            </a:lnTo>
                            <a:lnTo>
                              <a:pt x="53504"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63" name="Freeform: Shape 1962">
                      <a:extLst>
                        <a:ext uri="{FF2B5EF4-FFF2-40B4-BE49-F238E27FC236}">
                          <a16:creationId xmlns:a16="http://schemas.microsoft.com/office/drawing/2014/main" id="{E0BFC39F-3717-4947-ABB9-78870CDC1B77}"/>
                        </a:ext>
                      </a:extLst>
                    </p:cNvPr>
                    <p:cNvSpPr/>
                    <p:nvPr/>
                  </p:nvSpPr>
                  <p:spPr>
                    <a:xfrm>
                      <a:off x="3869705" y="1670888"/>
                      <a:ext cx="15196" cy="10801"/>
                    </a:xfrm>
                    <a:custGeom>
                      <a:avLst/>
                      <a:gdLst>
                        <a:gd name="connsiteX0" fmla="*/ 15197 w 15196"/>
                        <a:gd name="connsiteY0" fmla="*/ 8666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64" name="Graphic 4">
                    <a:extLst>
                      <a:ext uri="{FF2B5EF4-FFF2-40B4-BE49-F238E27FC236}">
                        <a16:creationId xmlns:a16="http://schemas.microsoft.com/office/drawing/2014/main" id="{84FB7ED1-A2DF-40A1-A747-5F7CF3F14040}"/>
                      </a:ext>
                    </a:extLst>
                  </p:cNvPr>
                  <p:cNvGrpSpPr/>
                  <p:nvPr/>
                </p:nvGrpSpPr>
                <p:grpSpPr>
                  <a:xfrm>
                    <a:off x="3852498" y="1635219"/>
                    <a:ext cx="54005" cy="33282"/>
                    <a:chOff x="3852498" y="1635219"/>
                    <a:chExt cx="54005" cy="33282"/>
                  </a:xfrm>
                  <a:solidFill>
                    <a:schemeClr val="accent1"/>
                  </a:solidFill>
                </p:grpSpPr>
                <p:grpSp>
                  <p:nvGrpSpPr>
                    <p:cNvPr id="1965" name="Graphic 4">
                      <a:extLst>
                        <a:ext uri="{FF2B5EF4-FFF2-40B4-BE49-F238E27FC236}">
                          <a16:creationId xmlns:a16="http://schemas.microsoft.com/office/drawing/2014/main" id="{84FB7ED1-A2DF-40A1-A747-5F7CF3F14040}"/>
                        </a:ext>
                      </a:extLst>
                    </p:cNvPr>
                    <p:cNvGrpSpPr/>
                    <p:nvPr/>
                  </p:nvGrpSpPr>
                  <p:grpSpPr>
                    <a:xfrm>
                      <a:off x="3852498" y="1635219"/>
                      <a:ext cx="54005" cy="33282"/>
                      <a:chOff x="3852498" y="1635219"/>
                      <a:chExt cx="54005" cy="33282"/>
                    </a:xfrm>
                    <a:solidFill>
                      <a:schemeClr val="accent1"/>
                    </a:solidFill>
                  </p:grpSpPr>
                  <p:sp>
                    <p:nvSpPr>
                      <p:cNvPr id="1966" name="Freeform: Shape 1965">
                        <a:extLst>
                          <a:ext uri="{FF2B5EF4-FFF2-40B4-BE49-F238E27FC236}">
                            <a16:creationId xmlns:a16="http://schemas.microsoft.com/office/drawing/2014/main" id="{40704BA6-0824-4399-B024-798CD942F574}"/>
                          </a:ext>
                        </a:extLst>
                      </p:cNvPr>
                      <p:cNvSpPr/>
                      <p:nvPr/>
                    </p:nvSpPr>
                    <p:spPr>
                      <a:xfrm>
                        <a:off x="3852498" y="1637354"/>
                        <a:ext cx="54005" cy="31147"/>
                      </a:xfrm>
                      <a:custGeom>
                        <a:avLst/>
                        <a:gdLst>
                          <a:gd name="connsiteX0" fmla="*/ 54006 w 54005"/>
                          <a:gd name="connsiteY0" fmla="*/ 8666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664 w 54005"/>
                          <a:gd name="connsiteY10" fmla="*/ 19844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022 h 31147"/>
                          <a:gd name="connsiteX29" fmla="*/ 14569 w 54005"/>
                          <a:gd name="connsiteY29" fmla="*/ 30771 h 31147"/>
                          <a:gd name="connsiteX30" fmla="*/ 14443 w 54005"/>
                          <a:gd name="connsiteY30" fmla="*/ 30771 h 31147"/>
                          <a:gd name="connsiteX31" fmla="*/ 14443 w 54005"/>
                          <a:gd name="connsiteY31" fmla="*/ 30771 h 31147"/>
                          <a:gd name="connsiteX32" fmla="*/ 13941 w 54005"/>
                          <a:gd name="connsiteY32" fmla="*/ 30394 h 31147"/>
                          <a:gd name="connsiteX33" fmla="*/ 13690 w 54005"/>
                          <a:gd name="connsiteY33" fmla="*/ 30394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636 h 31147"/>
                          <a:gd name="connsiteX39" fmla="*/ 10550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8917 w 54005"/>
                          <a:gd name="connsiteY43" fmla="*/ 27631 h 31147"/>
                          <a:gd name="connsiteX44" fmla="*/ 8917 w 54005"/>
                          <a:gd name="connsiteY44" fmla="*/ 27631 h 31147"/>
                          <a:gd name="connsiteX45" fmla="*/ 8038 w 54005"/>
                          <a:gd name="connsiteY45" fmla="*/ 27128 h 31147"/>
                          <a:gd name="connsiteX46" fmla="*/ 8038 w 54005"/>
                          <a:gd name="connsiteY46" fmla="*/ 27003 h 31147"/>
                          <a:gd name="connsiteX47" fmla="*/ 7536 w 54005"/>
                          <a:gd name="connsiteY47" fmla="*/ 26752 h 31147"/>
                          <a:gd name="connsiteX48" fmla="*/ 7410 w 54005"/>
                          <a:gd name="connsiteY48" fmla="*/ 26752 h 31147"/>
                          <a:gd name="connsiteX49" fmla="*/ 6782 w 54005"/>
                          <a:gd name="connsiteY49" fmla="*/ 26375 h 31147"/>
                          <a:gd name="connsiteX50" fmla="*/ 6782 w 54005"/>
                          <a:gd name="connsiteY50" fmla="*/ 26375 h 31147"/>
                          <a:gd name="connsiteX51" fmla="*/ 5652 w 54005"/>
                          <a:gd name="connsiteY51" fmla="*/ 25621 h 31147"/>
                          <a:gd name="connsiteX52" fmla="*/ 5400 w 54005"/>
                          <a:gd name="connsiteY52" fmla="*/ 25496 h 31147"/>
                          <a:gd name="connsiteX53" fmla="*/ 4521 w 54005"/>
                          <a:gd name="connsiteY53" fmla="*/ 25119 h 31147"/>
                          <a:gd name="connsiteX54" fmla="*/ 4521 w 54005"/>
                          <a:gd name="connsiteY54" fmla="*/ 24993 h 31147"/>
                          <a:gd name="connsiteX55" fmla="*/ 4144 w 54005"/>
                          <a:gd name="connsiteY55" fmla="*/ 24868 h 31147"/>
                          <a:gd name="connsiteX56" fmla="*/ 4144 w 54005"/>
                          <a:gd name="connsiteY56" fmla="*/ 24742 h 31147"/>
                          <a:gd name="connsiteX57" fmla="*/ 3391 w 54005"/>
                          <a:gd name="connsiteY57" fmla="*/ 24365 h 31147"/>
                          <a:gd name="connsiteX58" fmla="*/ 3391 w 54005"/>
                          <a:gd name="connsiteY58" fmla="*/ 24365 h 31147"/>
                          <a:gd name="connsiteX59" fmla="*/ 3266 w 54005"/>
                          <a:gd name="connsiteY59" fmla="*/ 24240 h 31147"/>
                          <a:gd name="connsiteX60" fmla="*/ 2512 w 54005"/>
                          <a:gd name="connsiteY60" fmla="*/ 23863 h 31147"/>
                          <a:gd name="connsiteX61" fmla="*/ 2512 w 54005"/>
                          <a:gd name="connsiteY61" fmla="*/ 23863 h 31147"/>
                          <a:gd name="connsiteX62" fmla="*/ 1884 w 54005"/>
                          <a:gd name="connsiteY62" fmla="*/ 23486 h 31147"/>
                          <a:gd name="connsiteX63" fmla="*/ 1758 w 54005"/>
                          <a:gd name="connsiteY63" fmla="*/ 23361 h 31147"/>
                          <a:gd name="connsiteX64" fmla="*/ 0 w 54005"/>
                          <a:gd name="connsiteY64" fmla="*/ 22356 h 31147"/>
                          <a:gd name="connsiteX65" fmla="*/ 0 w 54005"/>
                          <a:gd name="connsiteY65" fmla="*/ 20221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256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512 h 31147"/>
                          <a:gd name="connsiteX74" fmla="*/ 43330 w 54005"/>
                          <a:gd name="connsiteY74" fmla="*/ 2512 h 31147"/>
                          <a:gd name="connsiteX75" fmla="*/ 43330 w 54005"/>
                          <a:gd name="connsiteY75" fmla="*/ 2638 h 31147"/>
                          <a:gd name="connsiteX76" fmla="*/ 44335 w 54005"/>
                          <a:gd name="connsiteY76" fmla="*/ 3140 h 31147"/>
                          <a:gd name="connsiteX77" fmla="*/ 44586 w 54005"/>
                          <a:gd name="connsiteY77" fmla="*/ 3265 h 31147"/>
                          <a:gd name="connsiteX78" fmla="*/ 45340 w 54005"/>
                          <a:gd name="connsiteY78" fmla="*/ 3768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149 h 31147"/>
                          <a:gd name="connsiteX86" fmla="*/ 48228 w 54005"/>
                          <a:gd name="connsiteY86" fmla="*/ 5401 h 31147"/>
                          <a:gd name="connsiteX87" fmla="*/ 48354 w 54005"/>
                          <a:gd name="connsiteY87" fmla="*/ 5526 h 31147"/>
                          <a:gd name="connsiteX88" fmla="*/ 48856 w 54005"/>
                          <a:gd name="connsiteY88" fmla="*/ 5777 h 31147"/>
                          <a:gd name="connsiteX89" fmla="*/ 48982 w 54005"/>
                          <a:gd name="connsiteY89" fmla="*/ 5903 h 31147"/>
                          <a:gd name="connsiteX90" fmla="*/ 49610 w 54005"/>
                          <a:gd name="connsiteY90" fmla="*/ 6154 h 31147"/>
                          <a:gd name="connsiteX91" fmla="*/ 49861 w 54005"/>
                          <a:gd name="connsiteY91" fmla="*/ 6280 h 31147"/>
                          <a:gd name="connsiteX92" fmla="*/ 50112 w 54005"/>
                          <a:gd name="connsiteY92" fmla="*/ 6531 h 31147"/>
                          <a:gd name="connsiteX93" fmla="*/ 50112 w 54005"/>
                          <a:gd name="connsiteY93" fmla="*/ 6531 h 31147"/>
                          <a:gd name="connsiteX94" fmla="*/ 50238 w 54005"/>
                          <a:gd name="connsiteY94" fmla="*/ 6531 h 31147"/>
                          <a:gd name="connsiteX95" fmla="*/ 50740 w 54005"/>
                          <a:gd name="connsiteY95" fmla="*/ 6782 h 31147"/>
                          <a:gd name="connsiteX96" fmla="*/ 50991 w 54005"/>
                          <a:gd name="connsiteY96" fmla="*/ 6908 h 31147"/>
                          <a:gd name="connsiteX97" fmla="*/ 51117 w 54005"/>
                          <a:gd name="connsiteY97" fmla="*/ 7033 h 31147"/>
                          <a:gd name="connsiteX98" fmla="*/ 51243 w 54005"/>
                          <a:gd name="connsiteY98" fmla="*/ 7033 h 31147"/>
                          <a:gd name="connsiteX99" fmla="*/ 51368 w 54005"/>
                          <a:gd name="connsiteY99" fmla="*/ 7159 h 31147"/>
                          <a:gd name="connsiteX100" fmla="*/ 51619 w 54005"/>
                          <a:gd name="connsiteY100" fmla="*/ 7285 h 31147"/>
                          <a:gd name="connsiteX101" fmla="*/ 51745 w 54005"/>
                          <a:gd name="connsiteY101" fmla="*/ 7410 h 31147"/>
                          <a:gd name="connsiteX102" fmla="*/ 54006 w 54005"/>
                          <a:gd name="connsiteY102" fmla="*/ 6531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666"/>
                            </a:moveTo>
                            <a:lnTo>
                              <a:pt x="51745" y="10048"/>
                            </a:lnTo>
                            <a:lnTo>
                              <a:pt x="51494" y="10173"/>
                            </a:lnTo>
                            <a:lnTo>
                              <a:pt x="51494" y="10173"/>
                            </a:lnTo>
                            <a:lnTo>
                              <a:pt x="48103" y="12183"/>
                            </a:lnTo>
                            <a:lnTo>
                              <a:pt x="48103" y="12183"/>
                            </a:lnTo>
                            <a:lnTo>
                              <a:pt x="47224" y="12559"/>
                            </a:lnTo>
                            <a:lnTo>
                              <a:pt x="47098" y="12685"/>
                            </a:lnTo>
                            <a:lnTo>
                              <a:pt x="46345" y="13187"/>
                            </a:lnTo>
                            <a:lnTo>
                              <a:pt x="34664" y="19844"/>
                            </a:lnTo>
                            <a:lnTo>
                              <a:pt x="34664" y="19844"/>
                            </a:lnTo>
                            <a:lnTo>
                              <a:pt x="34036" y="20221"/>
                            </a:lnTo>
                            <a:lnTo>
                              <a:pt x="32780" y="20974"/>
                            </a:lnTo>
                            <a:lnTo>
                              <a:pt x="32655" y="20974"/>
                            </a:lnTo>
                            <a:lnTo>
                              <a:pt x="32152" y="21351"/>
                            </a:lnTo>
                            <a:lnTo>
                              <a:pt x="32027" y="21477"/>
                            </a:lnTo>
                            <a:lnTo>
                              <a:pt x="32027" y="21477"/>
                            </a:lnTo>
                            <a:lnTo>
                              <a:pt x="31650" y="21602"/>
                            </a:lnTo>
                            <a:lnTo>
                              <a:pt x="31650" y="21602"/>
                            </a:lnTo>
                            <a:lnTo>
                              <a:pt x="29892" y="22733"/>
                            </a:lnTo>
                            <a:lnTo>
                              <a:pt x="29892" y="22733"/>
                            </a:lnTo>
                            <a:lnTo>
                              <a:pt x="29515" y="22858"/>
                            </a:lnTo>
                            <a:lnTo>
                              <a:pt x="21728" y="27380"/>
                            </a:lnTo>
                            <a:lnTo>
                              <a:pt x="21728" y="27380"/>
                            </a:lnTo>
                            <a:lnTo>
                              <a:pt x="21226" y="27631"/>
                            </a:lnTo>
                            <a:lnTo>
                              <a:pt x="21226" y="27631"/>
                            </a:lnTo>
                            <a:lnTo>
                              <a:pt x="15197" y="31148"/>
                            </a:lnTo>
                            <a:lnTo>
                              <a:pt x="15071" y="31148"/>
                            </a:lnTo>
                            <a:lnTo>
                              <a:pt x="14946" y="31022"/>
                            </a:lnTo>
                            <a:lnTo>
                              <a:pt x="14569" y="30771"/>
                            </a:lnTo>
                            <a:lnTo>
                              <a:pt x="14443" y="30771"/>
                            </a:lnTo>
                            <a:lnTo>
                              <a:pt x="14443" y="30771"/>
                            </a:lnTo>
                            <a:lnTo>
                              <a:pt x="13941" y="30394"/>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003"/>
                            </a:lnTo>
                            <a:lnTo>
                              <a:pt x="7536" y="26752"/>
                            </a:lnTo>
                            <a:lnTo>
                              <a:pt x="7410" y="26752"/>
                            </a:lnTo>
                            <a:lnTo>
                              <a:pt x="6782" y="26375"/>
                            </a:lnTo>
                            <a:lnTo>
                              <a:pt x="6782" y="26375"/>
                            </a:lnTo>
                            <a:lnTo>
                              <a:pt x="5652" y="25621"/>
                            </a:lnTo>
                            <a:lnTo>
                              <a:pt x="5400" y="25496"/>
                            </a:lnTo>
                            <a:lnTo>
                              <a:pt x="4521" y="25119"/>
                            </a:lnTo>
                            <a:lnTo>
                              <a:pt x="4521" y="24993"/>
                            </a:lnTo>
                            <a:lnTo>
                              <a:pt x="4144" y="24868"/>
                            </a:lnTo>
                            <a:lnTo>
                              <a:pt x="4144" y="24742"/>
                            </a:lnTo>
                            <a:lnTo>
                              <a:pt x="3391" y="24365"/>
                            </a:lnTo>
                            <a:lnTo>
                              <a:pt x="3391" y="24365"/>
                            </a:lnTo>
                            <a:lnTo>
                              <a:pt x="3266" y="24240"/>
                            </a:lnTo>
                            <a:lnTo>
                              <a:pt x="2512" y="23863"/>
                            </a:lnTo>
                            <a:lnTo>
                              <a:pt x="2512" y="23863"/>
                            </a:lnTo>
                            <a:lnTo>
                              <a:pt x="1884" y="23486"/>
                            </a:lnTo>
                            <a:lnTo>
                              <a:pt x="1758" y="23361"/>
                            </a:lnTo>
                            <a:lnTo>
                              <a:pt x="0" y="22356"/>
                            </a:lnTo>
                            <a:lnTo>
                              <a:pt x="0" y="20221"/>
                            </a:lnTo>
                            <a:lnTo>
                              <a:pt x="38809" y="0"/>
                            </a:lnTo>
                            <a:lnTo>
                              <a:pt x="39688" y="502"/>
                            </a:lnTo>
                            <a:lnTo>
                              <a:pt x="39939" y="628"/>
                            </a:lnTo>
                            <a:lnTo>
                              <a:pt x="41195" y="1256"/>
                            </a:lnTo>
                            <a:lnTo>
                              <a:pt x="41446" y="1507"/>
                            </a:lnTo>
                            <a:lnTo>
                              <a:pt x="42576" y="2135"/>
                            </a:lnTo>
                            <a:lnTo>
                              <a:pt x="42828" y="2261"/>
                            </a:lnTo>
                            <a:lnTo>
                              <a:pt x="43330" y="2512"/>
                            </a:lnTo>
                            <a:lnTo>
                              <a:pt x="43330" y="2512"/>
                            </a:lnTo>
                            <a:lnTo>
                              <a:pt x="43330" y="2638"/>
                            </a:lnTo>
                            <a:lnTo>
                              <a:pt x="44335" y="3140"/>
                            </a:lnTo>
                            <a:lnTo>
                              <a:pt x="44586" y="3265"/>
                            </a:lnTo>
                            <a:lnTo>
                              <a:pt x="45340" y="3768"/>
                            </a:lnTo>
                            <a:lnTo>
                              <a:pt x="45340" y="3768"/>
                            </a:lnTo>
                            <a:lnTo>
                              <a:pt x="46470" y="4396"/>
                            </a:lnTo>
                            <a:lnTo>
                              <a:pt x="46721" y="4521"/>
                            </a:lnTo>
                            <a:lnTo>
                              <a:pt x="46972" y="4647"/>
                            </a:lnTo>
                            <a:lnTo>
                              <a:pt x="47098" y="4773"/>
                            </a:lnTo>
                            <a:lnTo>
                              <a:pt x="47852" y="5149"/>
                            </a:lnTo>
                            <a:lnTo>
                              <a:pt x="47852" y="5149"/>
                            </a:lnTo>
                            <a:lnTo>
                              <a:pt x="48228" y="5401"/>
                            </a:lnTo>
                            <a:lnTo>
                              <a:pt x="48354" y="5526"/>
                            </a:lnTo>
                            <a:lnTo>
                              <a:pt x="48856" y="5777"/>
                            </a:lnTo>
                            <a:lnTo>
                              <a:pt x="48982" y="5903"/>
                            </a:lnTo>
                            <a:lnTo>
                              <a:pt x="49610" y="6154"/>
                            </a:lnTo>
                            <a:lnTo>
                              <a:pt x="49861" y="6280"/>
                            </a:lnTo>
                            <a:lnTo>
                              <a:pt x="50112" y="6531"/>
                            </a:lnTo>
                            <a:lnTo>
                              <a:pt x="50112" y="6531"/>
                            </a:lnTo>
                            <a:lnTo>
                              <a:pt x="50238" y="6531"/>
                            </a:lnTo>
                            <a:lnTo>
                              <a:pt x="50740" y="6782"/>
                            </a:lnTo>
                            <a:lnTo>
                              <a:pt x="50991" y="6908"/>
                            </a:lnTo>
                            <a:lnTo>
                              <a:pt x="51117" y="7033"/>
                            </a:lnTo>
                            <a:lnTo>
                              <a:pt x="51243" y="7033"/>
                            </a:lnTo>
                            <a:lnTo>
                              <a:pt x="51368" y="7159"/>
                            </a:lnTo>
                            <a:lnTo>
                              <a:pt x="51619" y="7285"/>
                            </a:lnTo>
                            <a:lnTo>
                              <a:pt x="51745" y="7410"/>
                            </a:lnTo>
                            <a:lnTo>
                              <a:pt x="54006" y="653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67" name="Freeform: Shape 1966">
                        <a:extLst>
                          <a:ext uri="{FF2B5EF4-FFF2-40B4-BE49-F238E27FC236}">
                            <a16:creationId xmlns:a16="http://schemas.microsoft.com/office/drawing/2014/main" id="{C5A282DD-A69D-454E-921D-351FCFCD7A37}"/>
                          </a:ext>
                        </a:extLst>
                      </p:cNvPr>
                      <p:cNvSpPr/>
                      <p:nvPr/>
                    </p:nvSpPr>
                    <p:spPr>
                      <a:xfrm>
                        <a:off x="3852498" y="1635219"/>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036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733 h 31147"/>
                          <a:gd name="connsiteX17" fmla="*/ 29766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022 h 31147"/>
                          <a:gd name="connsiteX25" fmla="*/ 14569 w 54005"/>
                          <a:gd name="connsiteY25" fmla="*/ 30771 h 31147"/>
                          <a:gd name="connsiteX26" fmla="*/ 14443 w 54005"/>
                          <a:gd name="connsiteY26" fmla="*/ 30771 h 31147"/>
                          <a:gd name="connsiteX27" fmla="*/ 13941 w 54005"/>
                          <a:gd name="connsiteY27" fmla="*/ 30520 h 31147"/>
                          <a:gd name="connsiteX28" fmla="*/ 13690 w 54005"/>
                          <a:gd name="connsiteY28" fmla="*/ 30394 h 31147"/>
                          <a:gd name="connsiteX29" fmla="*/ 12434 w 54005"/>
                          <a:gd name="connsiteY29" fmla="*/ 29640 h 31147"/>
                          <a:gd name="connsiteX30" fmla="*/ 12434 w 54005"/>
                          <a:gd name="connsiteY30" fmla="*/ 29640 h 31147"/>
                          <a:gd name="connsiteX31" fmla="*/ 11680 w 54005"/>
                          <a:gd name="connsiteY31" fmla="*/ 29138 h 31147"/>
                          <a:gd name="connsiteX32" fmla="*/ 11303 w 54005"/>
                          <a:gd name="connsiteY32" fmla="*/ 29012 h 31147"/>
                          <a:gd name="connsiteX33" fmla="*/ 10676 w 54005"/>
                          <a:gd name="connsiteY33" fmla="*/ 28636 h 31147"/>
                          <a:gd name="connsiteX34" fmla="*/ 10550 w 54005"/>
                          <a:gd name="connsiteY34" fmla="*/ 28510 h 31147"/>
                          <a:gd name="connsiteX35" fmla="*/ 10047 w 54005"/>
                          <a:gd name="connsiteY35" fmla="*/ 28133 h 31147"/>
                          <a:gd name="connsiteX36" fmla="*/ 9922 w 54005"/>
                          <a:gd name="connsiteY36" fmla="*/ 28133 h 31147"/>
                          <a:gd name="connsiteX37" fmla="*/ 9169 w 54005"/>
                          <a:gd name="connsiteY37" fmla="*/ 27756 h 31147"/>
                          <a:gd name="connsiteX38" fmla="*/ 8917 w 54005"/>
                          <a:gd name="connsiteY38" fmla="*/ 27505 h 31147"/>
                          <a:gd name="connsiteX39" fmla="*/ 8917 w 54005"/>
                          <a:gd name="connsiteY39" fmla="*/ 27505 h 31147"/>
                          <a:gd name="connsiteX40" fmla="*/ 8038 w 54005"/>
                          <a:gd name="connsiteY40" fmla="*/ 27128 h 31147"/>
                          <a:gd name="connsiteX41" fmla="*/ 8038 w 54005"/>
                          <a:gd name="connsiteY41" fmla="*/ 27003 h 31147"/>
                          <a:gd name="connsiteX42" fmla="*/ 7536 w 54005"/>
                          <a:gd name="connsiteY42" fmla="*/ 26752 h 31147"/>
                          <a:gd name="connsiteX43" fmla="*/ 7410 w 54005"/>
                          <a:gd name="connsiteY43" fmla="*/ 26752 h 31147"/>
                          <a:gd name="connsiteX44" fmla="*/ 6782 w 54005"/>
                          <a:gd name="connsiteY44" fmla="*/ 26375 h 31147"/>
                          <a:gd name="connsiteX45" fmla="*/ 6782 w 54005"/>
                          <a:gd name="connsiteY45" fmla="*/ 26375 h 31147"/>
                          <a:gd name="connsiteX46" fmla="*/ 5652 w 54005"/>
                          <a:gd name="connsiteY46" fmla="*/ 25621 h 31147"/>
                          <a:gd name="connsiteX47" fmla="*/ 5400 w 54005"/>
                          <a:gd name="connsiteY47" fmla="*/ 25496 h 31147"/>
                          <a:gd name="connsiteX48" fmla="*/ 4521 w 54005"/>
                          <a:gd name="connsiteY48" fmla="*/ 24993 h 31147"/>
                          <a:gd name="connsiteX49" fmla="*/ 4521 w 54005"/>
                          <a:gd name="connsiteY49" fmla="*/ 24993 h 31147"/>
                          <a:gd name="connsiteX50" fmla="*/ 4144 w 54005"/>
                          <a:gd name="connsiteY50" fmla="*/ 24868 h 31147"/>
                          <a:gd name="connsiteX51" fmla="*/ 4144 w 54005"/>
                          <a:gd name="connsiteY51" fmla="*/ 24742 h 31147"/>
                          <a:gd name="connsiteX52" fmla="*/ 3391 w 54005"/>
                          <a:gd name="connsiteY52" fmla="*/ 24365 h 31147"/>
                          <a:gd name="connsiteX53" fmla="*/ 3391 w 54005"/>
                          <a:gd name="connsiteY53" fmla="*/ 24365 h 31147"/>
                          <a:gd name="connsiteX54" fmla="*/ 3140 w 54005"/>
                          <a:gd name="connsiteY54" fmla="*/ 24240 h 31147"/>
                          <a:gd name="connsiteX55" fmla="*/ 2512 w 54005"/>
                          <a:gd name="connsiteY55" fmla="*/ 23863 h 31147"/>
                          <a:gd name="connsiteX56" fmla="*/ 2512 w 54005"/>
                          <a:gd name="connsiteY56" fmla="*/ 23863 h 31147"/>
                          <a:gd name="connsiteX57" fmla="*/ 1884 w 54005"/>
                          <a:gd name="connsiteY57" fmla="*/ 23486 h 31147"/>
                          <a:gd name="connsiteX58" fmla="*/ 1758 w 54005"/>
                          <a:gd name="connsiteY58" fmla="*/ 23361 h 31147"/>
                          <a:gd name="connsiteX59" fmla="*/ 0 w 54005"/>
                          <a:gd name="connsiteY59" fmla="*/ 22356 h 31147"/>
                          <a:gd name="connsiteX60" fmla="*/ 5400 w 54005"/>
                          <a:gd name="connsiteY60" fmla="*/ 19216 h 31147"/>
                          <a:gd name="connsiteX61" fmla="*/ 5400 w 54005"/>
                          <a:gd name="connsiteY61" fmla="*/ 19216 h 31147"/>
                          <a:gd name="connsiteX62" fmla="*/ 5652 w 54005"/>
                          <a:gd name="connsiteY62" fmla="*/ 19090 h 31147"/>
                          <a:gd name="connsiteX63" fmla="*/ 5652 w 54005"/>
                          <a:gd name="connsiteY63" fmla="*/ 19090 h 31147"/>
                          <a:gd name="connsiteX64" fmla="*/ 5903 w 54005"/>
                          <a:gd name="connsiteY64" fmla="*/ 18965 h 31147"/>
                          <a:gd name="connsiteX65" fmla="*/ 6029 w 54005"/>
                          <a:gd name="connsiteY65" fmla="*/ 18965 h 31147"/>
                          <a:gd name="connsiteX66" fmla="*/ 6154 w 54005"/>
                          <a:gd name="connsiteY66" fmla="*/ 18839 h 31147"/>
                          <a:gd name="connsiteX67" fmla="*/ 6154 w 54005"/>
                          <a:gd name="connsiteY67" fmla="*/ 18839 h 31147"/>
                          <a:gd name="connsiteX68" fmla="*/ 21602 w 54005"/>
                          <a:gd name="connsiteY68" fmla="*/ 9922 h 31147"/>
                          <a:gd name="connsiteX69" fmla="*/ 21979 w 54005"/>
                          <a:gd name="connsiteY69" fmla="*/ 9671 h 31147"/>
                          <a:gd name="connsiteX70" fmla="*/ 22356 w 54005"/>
                          <a:gd name="connsiteY70" fmla="*/ 9420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382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512 h 31147"/>
                          <a:gd name="connsiteX80" fmla="*/ 43330 w 54005"/>
                          <a:gd name="connsiteY80" fmla="*/ 2637 h 31147"/>
                          <a:gd name="connsiteX81" fmla="*/ 44335 w 54005"/>
                          <a:gd name="connsiteY81" fmla="*/ 3140 h 31147"/>
                          <a:gd name="connsiteX82" fmla="*/ 44586 w 54005"/>
                          <a:gd name="connsiteY82" fmla="*/ 3265 h 31147"/>
                          <a:gd name="connsiteX83" fmla="*/ 45340 w 54005"/>
                          <a:gd name="connsiteY83" fmla="*/ 3768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149 h 31147"/>
                          <a:gd name="connsiteX90" fmla="*/ 48228 w 54005"/>
                          <a:gd name="connsiteY90" fmla="*/ 5401 h 31147"/>
                          <a:gd name="connsiteX91" fmla="*/ 48354 w 54005"/>
                          <a:gd name="connsiteY91" fmla="*/ 5526 h 31147"/>
                          <a:gd name="connsiteX92" fmla="*/ 48856 w 54005"/>
                          <a:gd name="connsiteY92" fmla="*/ 5777 h 31147"/>
                          <a:gd name="connsiteX93" fmla="*/ 48982 w 54005"/>
                          <a:gd name="connsiteY93" fmla="*/ 5777 h 31147"/>
                          <a:gd name="connsiteX94" fmla="*/ 49610 w 54005"/>
                          <a:gd name="connsiteY94" fmla="*/ 6154 h 31147"/>
                          <a:gd name="connsiteX95" fmla="*/ 49861 w 54005"/>
                          <a:gd name="connsiteY95" fmla="*/ 6280 h 31147"/>
                          <a:gd name="connsiteX96" fmla="*/ 50112 w 54005"/>
                          <a:gd name="connsiteY96" fmla="*/ 6531 h 31147"/>
                          <a:gd name="connsiteX97" fmla="*/ 50112 w 54005"/>
                          <a:gd name="connsiteY97" fmla="*/ 6531 h 31147"/>
                          <a:gd name="connsiteX98" fmla="*/ 50238 w 54005"/>
                          <a:gd name="connsiteY98" fmla="*/ 6531 h 31147"/>
                          <a:gd name="connsiteX99" fmla="*/ 50740 w 54005"/>
                          <a:gd name="connsiteY99" fmla="*/ 6782 h 31147"/>
                          <a:gd name="connsiteX100" fmla="*/ 50991 w 54005"/>
                          <a:gd name="connsiteY100" fmla="*/ 6908 h 31147"/>
                          <a:gd name="connsiteX101" fmla="*/ 51117 w 54005"/>
                          <a:gd name="connsiteY101" fmla="*/ 7159 h 31147"/>
                          <a:gd name="connsiteX102" fmla="*/ 51243 w 54005"/>
                          <a:gd name="connsiteY102" fmla="*/ 7159 h 31147"/>
                          <a:gd name="connsiteX103" fmla="*/ 51368 w 54005"/>
                          <a:gd name="connsiteY103" fmla="*/ 7159 h 31147"/>
                          <a:gd name="connsiteX104" fmla="*/ 51619 w 54005"/>
                          <a:gd name="connsiteY104" fmla="*/ 7284 h 31147"/>
                          <a:gd name="connsiteX105" fmla="*/ 51745 w 54005"/>
                          <a:gd name="connsiteY105" fmla="*/ 7410 h 31147"/>
                          <a:gd name="connsiteX106" fmla="*/ 52247 w 54005"/>
                          <a:gd name="connsiteY106" fmla="*/ 7661 h 31147"/>
                          <a:gd name="connsiteX107" fmla="*/ 52373 w 54005"/>
                          <a:gd name="connsiteY107" fmla="*/ 7787 h 31147"/>
                          <a:gd name="connsiteX108" fmla="*/ 52750 w 54005"/>
                          <a:gd name="connsiteY108" fmla="*/ 8038 h 31147"/>
                          <a:gd name="connsiteX109" fmla="*/ 52875 w 54005"/>
                          <a:gd name="connsiteY109" fmla="*/ 8038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745" y="10048"/>
                            </a:lnTo>
                            <a:lnTo>
                              <a:pt x="51494" y="10173"/>
                            </a:lnTo>
                            <a:lnTo>
                              <a:pt x="51494" y="10173"/>
                            </a:lnTo>
                            <a:lnTo>
                              <a:pt x="48103" y="12183"/>
                            </a:lnTo>
                            <a:lnTo>
                              <a:pt x="48103" y="12183"/>
                            </a:lnTo>
                            <a:lnTo>
                              <a:pt x="47224" y="12559"/>
                            </a:lnTo>
                            <a:lnTo>
                              <a:pt x="47098" y="12685"/>
                            </a:lnTo>
                            <a:lnTo>
                              <a:pt x="46345" y="13187"/>
                            </a:lnTo>
                            <a:lnTo>
                              <a:pt x="34664" y="19844"/>
                            </a:lnTo>
                            <a:lnTo>
                              <a:pt x="34036" y="20221"/>
                            </a:lnTo>
                            <a:lnTo>
                              <a:pt x="32780" y="20974"/>
                            </a:lnTo>
                            <a:lnTo>
                              <a:pt x="32152" y="21351"/>
                            </a:lnTo>
                            <a:lnTo>
                              <a:pt x="32027" y="21477"/>
                            </a:lnTo>
                            <a:lnTo>
                              <a:pt x="32027" y="21477"/>
                            </a:lnTo>
                            <a:lnTo>
                              <a:pt x="31650" y="21602"/>
                            </a:lnTo>
                            <a:lnTo>
                              <a:pt x="29892" y="22733"/>
                            </a:lnTo>
                            <a:lnTo>
                              <a:pt x="29766" y="22733"/>
                            </a:lnTo>
                            <a:lnTo>
                              <a:pt x="29515" y="22858"/>
                            </a:lnTo>
                            <a:lnTo>
                              <a:pt x="21728" y="27380"/>
                            </a:lnTo>
                            <a:lnTo>
                              <a:pt x="21226" y="27631"/>
                            </a:lnTo>
                            <a:lnTo>
                              <a:pt x="21226" y="27631"/>
                            </a:lnTo>
                            <a:lnTo>
                              <a:pt x="15197" y="31148"/>
                            </a:lnTo>
                            <a:lnTo>
                              <a:pt x="15071" y="31148"/>
                            </a:lnTo>
                            <a:lnTo>
                              <a:pt x="14946" y="31022"/>
                            </a:lnTo>
                            <a:lnTo>
                              <a:pt x="14569" y="30771"/>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133"/>
                            </a:lnTo>
                            <a:lnTo>
                              <a:pt x="9922" y="28133"/>
                            </a:lnTo>
                            <a:lnTo>
                              <a:pt x="9169" y="27756"/>
                            </a:lnTo>
                            <a:lnTo>
                              <a:pt x="8917" y="27505"/>
                            </a:lnTo>
                            <a:lnTo>
                              <a:pt x="8917" y="27505"/>
                            </a:lnTo>
                            <a:lnTo>
                              <a:pt x="8038" y="27128"/>
                            </a:lnTo>
                            <a:lnTo>
                              <a:pt x="8038" y="27003"/>
                            </a:lnTo>
                            <a:lnTo>
                              <a:pt x="7536" y="26752"/>
                            </a:lnTo>
                            <a:lnTo>
                              <a:pt x="7410" y="26752"/>
                            </a:lnTo>
                            <a:lnTo>
                              <a:pt x="6782" y="26375"/>
                            </a:lnTo>
                            <a:lnTo>
                              <a:pt x="6782" y="26375"/>
                            </a:lnTo>
                            <a:lnTo>
                              <a:pt x="5652" y="25621"/>
                            </a:lnTo>
                            <a:lnTo>
                              <a:pt x="5400" y="25496"/>
                            </a:lnTo>
                            <a:lnTo>
                              <a:pt x="4521" y="24993"/>
                            </a:lnTo>
                            <a:lnTo>
                              <a:pt x="4521" y="24993"/>
                            </a:lnTo>
                            <a:lnTo>
                              <a:pt x="4144" y="24868"/>
                            </a:lnTo>
                            <a:lnTo>
                              <a:pt x="4144" y="24742"/>
                            </a:lnTo>
                            <a:lnTo>
                              <a:pt x="3391" y="24365"/>
                            </a:lnTo>
                            <a:lnTo>
                              <a:pt x="3391" y="24365"/>
                            </a:lnTo>
                            <a:lnTo>
                              <a:pt x="3140" y="24240"/>
                            </a:lnTo>
                            <a:lnTo>
                              <a:pt x="2512" y="23863"/>
                            </a:lnTo>
                            <a:lnTo>
                              <a:pt x="2512" y="23863"/>
                            </a:lnTo>
                            <a:lnTo>
                              <a:pt x="1884" y="23486"/>
                            </a:lnTo>
                            <a:lnTo>
                              <a:pt x="1758" y="23361"/>
                            </a:lnTo>
                            <a:lnTo>
                              <a:pt x="0" y="22356"/>
                            </a:lnTo>
                            <a:lnTo>
                              <a:pt x="5400" y="19216"/>
                            </a:lnTo>
                            <a:lnTo>
                              <a:pt x="5400" y="19216"/>
                            </a:lnTo>
                            <a:lnTo>
                              <a:pt x="5652" y="19090"/>
                            </a:lnTo>
                            <a:lnTo>
                              <a:pt x="5652" y="19090"/>
                            </a:lnTo>
                            <a:lnTo>
                              <a:pt x="5903" y="18965"/>
                            </a:lnTo>
                            <a:lnTo>
                              <a:pt x="6029" y="18965"/>
                            </a:lnTo>
                            <a:lnTo>
                              <a:pt x="6154" y="18839"/>
                            </a:lnTo>
                            <a:lnTo>
                              <a:pt x="6154" y="18839"/>
                            </a:lnTo>
                            <a:lnTo>
                              <a:pt x="21602" y="9922"/>
                            </a:lnTo>
                            <a:lnTo>
                              <a:pt x="21979" y="9671"/>
                            </a:lnTo>
                            <a:lnTo>
                              <a:pt x="22356" y="9420"/>
                            </a:lnTo>
                            <a:lnTo>
                              <a:pt x="22607" y="9294"/>
                            </a:lnTo>
                            <a:lnTo>
                              <a:pt x="38809" y="0"/>
                            </a:lnTo>
                            <a:lnTo>
                              <a:pt x="39688" y="502"/>
                            </a:lnTo>
                            <a:lnTo>
                              <a:pt x="39939" y="628"/>
                            </a:lnTo>
                            <a:lnTo>
                              <a:pt x="41195" y="1382"/>
                            </a:lnTo>
                            <a:lnTo>
                              <a:pt x="41446" y="1507"/>
                            </a:lnTo>
                            <a:lnTo>
                              <a:pt x="42576" y="2135"/>
                            </a:lnTo>
                            <a:lnTo>
                              <a:pt x="42828" y="2261"/>
                            </a:lnTo>
                            <a:lnTo>
                              <a:pt x="43330" y="2512"/>
                            </a:lnTo>
                            <a:lnTo>
                              <a:pt x="43330" y="2637"/>
                            </a:lnTo>
                            <a:lnTo>
                              <a:pt x="44335" y="3140"/>
                            </a:lnTo>
                            <a:lnTo>
                              <a:pt x="44586" y="3265"/>
                            </a:lnTo>
                            <a:lnTo>
                              <a:pt x="45340" y="3768"/>
                            </a:lnTo>
                            <a:lnTo>
                              <a:pt x="45340" y="3768"/>
                            </a:lnTo>
                            <a:lnTo>
                              <a:pt x="46470" y="4396"/>
                            </a:lnTo>
                            <a:lnTo>
                              <a:pt x="46721" y="4521"/>
                            </a:lnTo>
                            <a:lnTo>
                              <a:pt x="47098" y="4773"/>
                            </a:lnTo>
                            <a:lnTo>
                              <a:pt x="47852" y="5149"/>
                            </a:lnTo>
                            <a:lnTo>
                              <a:pt x="47852" y="5149"/>
                            </a:lnTo>
                            <a:lnTo>
                              <a:pt x="48228" y="5401"/>
                            </a:lnTo>
                            <a:lnTo>
                              <a:pt x="48354" y="5526"/>
                            </a:lnTo>
                            <a:lnTo>
                              <a:pt x="48856" y="5777"/>
                            </a:lnTo>
                            <a:lnTo>
                              <a:pt x="48982" y="5777"/>
                            </a:lnTo>
                            <a:lnTo>
                              <a:pt x="49610" y="6154"/>
                            </a:lnTo>
                            <a:lnTo>
                              <a:pt x="49861" y="6280"/>
                            </a:lnTo>
                            <a:lnTo>
                              <a:pt x="50112" y="6531"/>
                            </a:lnTo>
                            <a:lnTo>
                              <a:pt x="50112" y="6531"/>
                            </a:lnTo>
                            <a:lnTo>
                              <a:pt x="50238" y="6531"/>
                            </a:lnTo>
                            <a:lnTo>
                              <a:pt x="50740" y="6782"/>
                            </a:lnTo>
                            <a:lnTo>
                              <a:pt x="50991" y="6908"/>
                            </a:lnTo>
                            <a:lnTo>
                              <a:pt x="51117" y="7159"/>
                            </a:lnTo>
                            <a:lnTo>
                              <a:pt x="51243" y="7159"/>
                            </a:lnTo>
                            <a:lnTo>
                              <a:pt x="51368" y="7159"/>
                            </a:lnTo>
                            <a:lnTo>
                              <a:pt x="51619" y="7284"/>
                            </a:lnTo>
                            <a:lnTo>
                              <a:pt x="51745" y="7410"/>
                            </a:lnTo>
                            <a:lnTo>
                              <a:pt x="52247" y="7661"/>
                            </a:lnTo>
                            <a:lnTo>
                              <a:pt x="52373" y="7787"/>
                            </a:lnTo>
                            <a:lnTo>
                              <a:pt x="52750" y="8038"/>
                            </a:lnTo>
                            <a:lnTo>
                              <a:pt x="52875" y="8038"/>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68" name="Freeform: Shape 1967">
                      <a:extLst>
                        <a:ext uri="{FF2B5EF4-FFF2-40B4-BE49-F238E27FC236}">
                          <a16:creationId xmlns:a16="http://schemas.microsoft.com/office/drawing/2014/main" id="{C787865A-5F45-479A-8376-8F011F4D96AE}"/>
                        </a:ext>
                      </a:extLst>
                    </p:cNvPr>
                    <p:cNvSpPr/>
                    <p:nvPr/>
                  </p:nvSpPr>
                  <p:spPr>
                    <a:xfrm>
                      <a:off x="3852498" y="1657575"/>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69" name="Graphic 4">
                    <a:extLst>
                      <a:ext uri="{FF2B5EF4-FFF2-40B4-BE49-F238E27FC236}">
                        <a16:creationId xmlns:a16="http://schemas.microsoft.com/office/drawing/2014/main" id="{84FB7ED1-A2DF-40A1-A747-5F7CF3F14040}"/>
                      </a:ext>
                    </a:extLst>
                  </p:cNvPr>
                  <p:cNvGrpSpPr/>
                  <p:nvPr/>
                </p:nvGrpSpPr>
                <p:grpSpPr>
                  <a:xfrm>
                    <a:off x="3869705" y="1645016"/>
                    <a:ext cx="54005" cy="33282"/>
                    <a:chOff x="3869705" y="1645016"/>
                    <a:chExt cx="54005" cy="33282"/>
                  </a:xfrm>
                  <a:solidFill>
                    <a:schemeClr val="accent1"/>
                  </a:solidFill>
                </p:grpSpPr>
                <p:grpSp>
                  <p:nvGrpSpPr>
                    <p:cNvPr id="1970" name="Graphic 4">
                      <a:extLst>
                        <a:ext uri="{FF2B5EF4-FFF2-40B4-BE49-F238E27FC236}">
                          <a16:creationId xmlns:a16="http://schemas.microsoft.com/office/drawing/2014/main" id="{84FB7ED1-A2DF-40A1-A747-5F7CF3F14040}"/>
                        </a:ext>
                      </a:extLst>
                    </p:cNvPr>
                    <p:cNvGrpSpPr/>
                    <p:nvPr/>
                  </p:nvGrpSpPr>
                  <p:grpSpPr>
                    <a:xfrm>
                      <a:off x="3869705" y="1645016"/>
                      <a:ext cx="54005" cy="33282"/>
                      <a:chOff x="3869705" y="1645016"/>
                      <a:chExt cx="54005" cy="33282"/>
                    </a:xfrm>
                    <a:solidFill>
                      <a:schemeClr val="accent1"/>
                    </a:solidFill>
                  </p:grpSpPr>
                  <p:sp>
                    <p:nvSpPr>
                      <p:cNvPr id="1971" name="Freeform: Shape 1970">
                        <a:extLst>
                          <a:ext uri="{FF2B5EF4-FFF2-40B4-BE49-F238E27FC236}">
                            <a16:creationId xmlns:a16="http://schemas.microsoft.com/office/drawing/2014/main" id="{EF119B73-08C7-45E0-A6BA-CE204EBCE3CF}"/>
                          </a:ext>
                        </a:extLst>
                      </p:cNvPr>
                      <p:cNvSpPr/>
                      <p:nvPr/>
                    </p:nvSpPr>
                    <p:spPr>
                      <a:xfrm>
                        <a:off x="3869705" y="1647151"/>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685 h 31147"/>
                          <a:gd name="connsiteX8" fmla="*/ 46345 w 54005"/>
                          <a:gd name="connsiteY8" fmla="*/ 13187 h 31147"/>
                          <a:gd name="connsiteX9" fmla="*/ 34790 w 54005"/>
                          <a:gd name="connsiteY9" fmla="*/ 19970 h 31147"/>
                          <a:gd name="connsiteX10" fmla="*/ 34790 w 54005"/>
                          <a:gd name="connsiteY10" fmla="*/ 19970 h 31147"/>
                          <a:gd name="connsiteX11" fmla="*/ 34162 w 54005"/>
                          <a:gd name="connsiteY11" fmla="*/ 20221 h 31147"/>
                          <a:gd name="connsiteX12" fmla="*/ 32780 w 54005"/>
                          <a:gd name="connsiteY12" fmla="*/ 21100 h 31147"/>
                          <a:gd name="connsiteX13" fmla="*/ 32780 w 54005"/>
                          <a:gd name="connsiteY13" fmla="*/ 21100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756 h 31147"/>
                          <a:gd name="connsiteX25" fmla="*/ 21226 w 54005"/>
                          <a:gd name="connsiteY25" fmla="*/ 27756 h 31147"/>
                          <a:gd name="connsiteX26" fmla="*/ 15197 w 54005"/>
                          <a:gd name="connsiteY26" fmla="*/ 31148 h 31147"/>
                          <a:gd name="connsiteX27" fmla="*/ 15197 w 54005"/>
                          <a:gd name="connsiteY27" fmla="*/ 31148 h 31147"/>
                          <a:gd name="connsiteX28" fmla="*/ 15072 w 54005"/>
                          <a:gd name="connsiteY28" fmla="*/ 31148 h 31147"/>
                          <a:gd name="connsiteX29" fmla="*/ 14569 w 54005"/>
                          <a:gd name="connsiteY29" fmla="*/ 30896 h 31147"/>
                          <a:gd name="connsiteX30" fmla="*/ 14569 w 54005"/>
                          <a:gd name="connsiteY30" fmla="*/ 30771 h 31147"/>
                          <a:gd name="connsiteX31" fmla="*/ 14569 w 54005"/>
                          <a:gd name="connsiteY31" fmla="*/ 30771 h 31147"/>
                          <a:gd name="connsiteX32" fmla="*/ 13941 w 54005"/>
                          <a:gd name="connsiteY32" fmla="*/ 30520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636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8 h 31147"/>
                          <a:gd name="connsiteX46" fmla="*/ 8038 w 54005"/>
                          <a:gd name="connsiteY46" fmla="*/ 27128 h 31147"/>
                          <a:gd name="connsiteX47" fmla="*/ 7661 w 54005"/>
                          <a:gd name="connsiteY47" fmla="*/ 26877 h 31147"/>
                          <a:gd name="connsiteX48" fmla="*/ 7536 w 54005"/>
                          <a:gd name="connsiteY48" fmla="*/ 26752 h 31147"/>
                          <a:gd name="connsiteX49" fmla="*/ 6908 w 54005"/>
                          <a:gd name="connsiteY49" fmla="*/ 26375 h 31147"/>
                          <a:gd name="connsiteX50" fmla="*/ 6782 w 54005"/>
                          <a:gd name="connsiteY50" fmla="*/ 26375 h 31147"/>
                          <a:gd name="connsiteX51" fmla="*/ 5777 w 54005"/>
                          <a:gd name="connsiteY51" fmla="*/ 25747 h 31147"/>
                          <a:gd name="connsiteX52" fmla="*/ 5526 w 54005"/>
                          <a:gd name="connsiteY52" fmla="*/ 25621 h 31147"/>
                          <a:gd name="connsiteX53" fmla="*/ 4647 w 54005"/>
                          <a:gd name="connsiteY53" fmla="*/ 25119 h 31147"/>
                          <a:gd name="connsiteX54" fmla="*/ 4522 w 54005"/>
                          <a:gd name="connsiteY54" fmla="*/ 25119 h 31147"/>
                          <a:gd name="connsiteX55" fmla="*/ 4270 w 54005"/>
                          <a:gd name="connsiteY55" fmla="*/ 24868 h 31147"/>
                          <a:gd name="connsiteX56" fmla="*/ 4144 w 54005"/>
                          <a:gd name="connsiteY56" fmla="*/ 24868 h 31147"/>
                          <a:gd name="connsiteX57" fmla="*/ 3517 w 54005"/>
                          <a:gd name="connsiteY57" fmla="*/ 24491 h 31147"/>
                          <a:gd name="connsiteX58" fmla="*/ 3517 w 54005"/>
                          <a:gd name="connsiteY58" fmla="*/ 24491 h 31147"/>
                          <a:gd name="connsiteX59" fmla="*/ 3266 w 54005"/>
                          <a:gd name="connsiteY59" fmla="*/ 24365 h 31147"/>
                          <a:gd name="connsiteX60" fmla="*/ 2637 w 54005"/>
                          <a:gd name="connsiteY60" fmla="*/ 23863 h 31147"/>
                          <a:gd name="connsiteX61" fmla="*/ 2512 w 54005"/>
                          <a:gd name="connsiteY61" fmla="*/ 23863 h 31147"/>
                          <a:gd name="connsiteX62" fmla="*/ 2010 w 54005"/>
                          <a:gd name="connsiteY62" fmla="*/ 23612 h 31147"/>
                          <a:gd name="connsiteX63" fmla="*/ 1759 w 54005"/>
                          <a:gd name="connsiteY63" fmla="*/ 23486 h 31147"/>
                          <a:gd name="connsiteX64" fmla="*/ 0 w 54005"/>
                          <a:gd name="connsiteY64" fmla="*/ 22481 h 31147"/>
                          <a:gd name="connsiteX65" fmla="*/ 0 w 54005"/>
                          <a:gd name="connsiteY65" fmla="*/ 20346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382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637 h 31147"/>
                          <a:gd name="connsiteX74" fmla="*/ 43456 w 54005"/>
                          <a:gd name="connsiteY74" fmla="*/ 2637 h 31147"/>
                          <a:gd name="connsiteX75" fmla="*/ 43456 w 54005"/>
                          <a:gd name="connsiteY75" fmla="*/ 2637 h 31147"/>
                          <a:gd name="connsiteX76" fmla="*/ 44461 w 54005"/>
                          <a:gd name="connsiteY76" fmla="*/ 3265 h 31147"/>
                          <a:gd name="connsiteX77" fmla="*/ 44712 w 54005"/>
                          <a:gd name="connsiteY77" fmla="*/ 3391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647 h 31147"/>
                          <a:gd name="connsiteX82" fmla="*/ 47098 w 54005"/>
                          <a:gd name="connsiteY82" fmla="*/ 4773 h 31147"/>
                          <a:gd name="connsiteX83" fmla="*/ 47224 w 54005"/>
                          <a:gd name="connsiteY83" fmla="*/ 4773 h 31147"/>
                          <a:gd name="connsiteX84" fmla="*/ 47852 w 54005"/>
                          <a:gd name="connsiteY84" fmla="*/ 5149 h 31147"/>
                          <a:gd name="connsiteX85" fmla="*/ 47977 w 54005"/>
                          <a:gd name="connsiteY85" fmla="*/ 5275 h 31147"/>
                          <a:gd name="connsiteX86" fmla="*/ 48354 w 54005"/>
                          <a:gd name="connsiteY86" fmla="*/ 5526 h 31147"/>
                          <a:gd name="connsiteX87" fmla="*/ 48480 w 54005"/>
                          <a:gd name="connsiteY87" fmla="*/ 5526 h 31147"/>
                          <a:gd name="connsiteX88" fmla="*/ 48857 w 54005"/>
                          <a:gd name="connsiteY88" fmla="*/ 5777 h 31147"/>
                          <a:gd name="connsiteX89" fmla="*/ 49108 w 54005"/>
                          <a:gd name="connsiteY89" fmla="*/ 5903 h 31147"/>
                          <a:gd name="connsiteX90" fmla="*/ 49610 w 54005"/>
                          <a:gd name="connsiteY90" fmla="*/ 6280 h 31147"/>
                          <a:gd name="connsiteX91" fmla="*/ 49987 w 54005"/>
                          <a:gd name="connsiteY91" fmla="*/ 6405 h 31147"/>
                          <a:gd name="connsiteX92" fmla="*/ 50238 w 54005"/>
                          <a:gd name="connsiteY92" fmla="*/ 6531 h 31147"/>
                          <a:gd name="connsiteX93" fmla="*/ 50238 w 54005"/>
                          <a:gd name="connsiteY93" fmla="*/ 6531 h 31147"/>
                          <a:gd name="connsiteX94" fmla="*/ 50364 w 54005"/>
                          <a:gd name="connsiteY94" fmla="*/ 6657 h 31147"/>
                          <a:gd name="connsiteX95" fmla="*/ 50740 w 54005"/>
                          <a:gd name="connsiteY95" fmla="*/ 6908 h 31147"/>
                          <a:gd name="connsiteX96" fmla="*/ 50991 w 54005"/>
                          <a:gd name="connsiteY96" fmla="*/ 7033 h 31147"/>
                          <a:gd name="connsiteX97" fmla="*/ 51243 w 54005"/>
                          <a:gd name="connsiteY97" fmla="*/ 7159 h 31147"/>
                          <a:gd name="connsiteX98" fmla="*/ 51243 w 54005"/>
                          <a:gd name="connsiteY98" fmla="*/ 7159 h 31147"/>
                          <a:gd name="connsiteX99" fmla="*/ 51368 w 54005"/>
                          <a:gd name="connsiteY99" fmla="*/ 7284 h 31147"/>
                          <a:gd name="connsiteX100" fmla="*/ 51620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685"/>
                            </a:lnTo>
                            <a:lnTo>
                              <a:pt x="46345" y="13187"/>
                            </a:lnTo>
                            <a:lnTo>
                              <a:pt x="34790" y="19970"/>
                            </a:lnTo>
                            <a:lnTo>
                              <a:pt x="34790" y="19970"/>
                            </a:lnTo>
                            <a:lnTo>
                              <a:pt x="34162" y="20221"/>
                            </a:lnTo>
                            <a:lnTo>
                              <a:pt x="32780" y="21100"/>
                            </a:lnTo>
                            <a:lnTo>
                              <a:pt x="32780" y="21100"/>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756"/>
                            </a:lnTo>
                            <a:lnTo>
                              <a:pt x="21226" y="27756"/>
                            </a:lnTo>
                            <a:lnTo>
                              <a:pt x="15197" y="31148"/>
                            </a:lnTo>
                            <a:lnTo>
                              <a:pt x="15197" y="31148"/>
                            </a:lnTo>
                            <a:lnTo>
                              <a:pt x="15072" y="31148"/>
                            </a:lnTo>
                            <a:lnTo>
                              <a:pt x="14569" y="30896"/>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863"/>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135"/>
                            </a:lnTo>
                            <a:lnTo>
                              <a:pt x="42828" y="2261"/>
                            </a:lnTo>
                            <a:lnTo>
                              <a:pt x="43330" y="2637"/>
                            </a:lnTo>
                            <a:lnTo>
                              <a:pt x="43456" y="2637"/>
                            </a:lnTo>
                            <a:lnTo>
                              <a:pt x="43456" y="2637"/>
                            </a:lnTo>
                            <a:lnTo>
                              <a:pt x="44461" y="3265"/>
                            </a:lnTo>
                            <a:lnTo>
                              <a:pt x="44712" y="3391"/>
                            </a:lnTo>
                            <a:lnTo>
                              <a:pt x="45340" y="3768"/>
                            </a:lnTo>
                            <a:lnTo>
                              <a:pt x="45465" y="3768"/>
                            </a:lnTo>
                            <a:lnTo>
                              <a:pt x="46596" y="4396"/>
                            </a:lnTo>
                            <a:lnTo>
                              <a:pt x="46847" y="4647"/>
                            </a:lnTo>
                            <a:lnTo>
                              <a:pt x="47098" y="4773"/>
                            </a:lnTo>
                            <a:lnTo>
                              <a:pt x="47224" y="4773"/>
                            </a:lnTo>
                            <a:lnTo>
                              <a:pt x="47852" y="5149"/>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4"/>
                            </a:lnTo>
                            <a:lnTo>
                              <a:pt x="51620"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72" name="Freeform: Shape 1971">
                        <a:extLst>
                          <a:ext uri="{FF2B5EF4-FFF2-40B4-BE49-F238E27FC236}">
                            <a16:creationId xmlns:a16="http://schemas.microsoft.com/office/drawing/2014/main" id="{C3F1C3E9-C198-4F1D-BA9C-F61DBDE5EC8F}"/>
                          </a:ext>
                        </a:extLst>
                      </p:cNvPr>
                      <p:cNvSpPr/>
                      <p:nvPr/>
                    </p:nvSpPr>
                    <p:spPr>
                      <a:xfrm>
                        <a:off x="3869705" y="1645016"/>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811 h 31147"/>
                          <a:gd name="connsiteX8" fmla="*/ 46345 w 54005"/>
                          <a:gd name="connsiteY8" fmla="*/ 13187 h 31147"/>
                          <a:gd name="connsiteX9" fmla="*/ 34790 w 54005"/>
                          <a:gd name="connsiteY9" fmla="*/ 19970 h 31147"/>
                          <a:gd name="connsiteX10" fmla="*/ 34162 w 54005"/>
                          <a:gd name="connsiteY10" fmla="*/ 20221 h 31147"/>
                          <a:gd name="connsiteX11" fmla="*/ 32780 w 54005"/>
                          <a:gd name="connsiteY11" fmla="*/ 21100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733 h 31147"/>
                          <a:gd name="connsiteX17" fmla="*/ 29892 w 54005"/>
                          <a:gd name="connsiteY17" fmla="*/ 22733 h 31147"/>
                          <a:gd name="connsiteX18" fmla="*/ 29515 w 54005"/>
                          <a:gd name="connsiteY18" fmla="*/ 22858 h 31147"/>
                          <a:gd name="connsiteX19" fmla="*/ 21728 w 54005"/>
                          <a:gd name="connsiteY19" fmla="*/ 27380 h 31147"/>
                          <a:gd name="connsiteX20" fmla="*/ 21226 w 54005"/>
                          <a:gd name="connsiteY20" fmla="*/ 27756 h 31147"/>
                          <a:gd name="connsiteX21" fmla="*/ 21226 w 54005"/>
                          <a:gd name="connsiteY21" fmla="*/ 27756 h 31147"/>
                          <a:gd name="connsiteX22" fmla="*/ 15197 w 54005"/>
                          <a:gd name="connsiteY22" fmla="*/ 31148 h 31147"/>
                          <a:gd name="connsiteX23" fmla="*/ 15197 w 54005"/>
                          <a:gd name="connsiteY23" fmla="*/ 31148 h 31147"/>
                          <a:gd name="connsiteX24" fmla="*/ 15072 w 54005"/>
                          <a:gd name="connsiteY24" fmla="*/ 31148 h 31147"/>
                          <a:gd name="connsiteX25" fmla="*/ 14569 w 54005"/>
                          <a:gd name="connsiteY25" fmla="*/ 30896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636 h 31147"/>
                          <a:gd name="connsiteX35" fmla="*/ 10047 w 54005"/>
                          <a:gd name="connsiteY35" fmla="*/ 28259 h 31147"/>
                          <a:gd name="connsiteX36" fmla="*/ 9922 w 54005"/>
                          <a:gd name="connsiteY36" fmla="*/ 28133 h 31147"/>
                          <a:gd name="connsiteX37" fmla="*/ 9169 w 54005"/>
                          <a:gd name="connsiteY37" fmla="*/ 27756 h 31147"/>
                          <a:gd name="connsiteX38" fmla="*/ 9043 w 54005"/>
                          <a:gd name="connsiteY38" fmla="*/ 27631 h 31147"/>
                          <a:gd name="connsiteX39" fmla="*/ 9043 w 54005"/>
                          <a:gd name="connsiteY39" fmla="*/ 27631 h 31147"/>
                          <a:gd name="connsiteX40" fmla="*/ 8164 w 54005"/>
                          <a:gd name="connsiteY40" fmla="*/ 27128 h 31147"/>
                          <a:gd name="connsiteX41" fmla="*/ 8038 w 54005"/>
                          <a:gd name="connsiteY41" fmla="*/ 27128 h 31147"/>
                          <a:gd name="connsiteX42" fmla="*/ 7661 w 54005"/>
                          <a:gd name="connsiteY42" fmla="*/ 26877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747 h 31147"/>
                          <a:gd name="connsiteX47" fmla="*/ 5526 w 54005"/>
                          <a:gd name="connsiteY47" fmla="*/ 25621 h 31147"/>
                          <a:gd name="connsiteX48" fmla="*/ 4647 w 54005"/>
                          <a:gd name="connsiteY48" fmla="*/ 25119 h 31147"/>
                          <a:gd name="connsiteX49" fmla="*/ 4522 w 54005"/>
                          <a:gd name="connsiteY49" fmla="*/ 25119 h 31147"/>
                          <a:gd name="connsiteX50" fmla="*/ 4270 w 54005"/>
                          <a:gd name="connsiteY50" fmla="*/ 24868 h 31147"/>
                          <a:gd name="connsiteX51" fmla="*/ 4144 w 54005"/>
                          <a:gd name="connsiteY51" fmla="*/ 24868 h 31147"/>
                          <a:gd name="connsiteX52" fmla="*/ 3517 w 54005"/>
                          <a:gd name="connsiteY52" fmla="*/ 24365 h 31147"/>
                          <a:gd name="connsiteX53" fmla="*/ 3517 w 54005"/>
                          <a:gd name="connsiteY53" fmla="*/ 24365 h 31147"/>
                          <a:gd name="connsiteX54" fmla="*/ 3266 w 54005"/>
                          <a:gd name="connsiteY54" fmla="*/ 24365 h 31147"/>
                          <a:gd name="connsiteX55" fmla="*/ 2637 w 54005"/>
                          <a:gd name="connsiteY55" fmla="*/ 23863 h 31147"/>
                          <a:gd name="connsiteX56" fmla="*/ 2512 w 54005"/>
                          <a:gd name="connsiteY56" fmla="*/ 23863 h 31147"/>
                          <a:gd name="connsiteX57" fmla="*/ 2010 w 54005"/>
                          <a:gd name="connsiteY57" fmla="*/ 23612 h 31147"/>
                          <a:gd name="connsiteX58" fmla="*/ 1759 w 54005"/>
                          <a:gd name="connsiteY58" fmla="*/ 23486 h 31147"/>
                          <a:gd name="connsiteX59" fmla="*/ 0 w 54005"/>
                          <a:gd name="connsiteY59" fmla="*/ 22481 h 31147"/>
                          <a:gd name="connsiteX60" fmla="*/ 5526 w 54005"/>
                          <a:gd name="connsiteY60" fmla="*/ 19342 h 31147"/>
                          <a:gd name="connsiteX61" fmla="*/ 5526 w 54005"/>
                          <a:gd name="connsiteY61" fmla="*/ 19342 h 31147"/>
                          <a:gd name="connsiteX62" fmla="*/ 5652 w 54005"/>
                          <a:gd name="connsiteY62" fmla="*/ 19216 h 31147"/>
                          <a:gd name="connsiteX63" fmla="*/ 5777 w 54005"/>
                          <a:gd name="connsiteY63" fmla="*/ 19216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796 h 31147"/>
                          <a:gd name="connsiteX70" fmla="*/ 22482 w 54005"/>
                          <a:gd name="connsiteY70" fmla="*/ 9545 h 31147"/>
                          <a:gd name="connsiteX71" fmla="*/ 22733 w 54005"/>
                          <a:gd name="connsiteY71" fmla="*/ 9420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382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637 h 31147"/>
                          <a:gd name="connsiteX80" fmla="*/ 43456 w 54005"/>
                          <a:gd name="connsiteY80" fmla="*/ 2637 h 31147"/>
                          <a:gd name="connsiteX81" fmla="*/ 44461 w 54005"/>
                          <a:gd name="connsiteY81" fmla="*/ 3265 h 31147"/>
                          <a:gd name="connsiteX82" fmla="*/ 44712 w 54005"/>
                          <a:gd name="connsiteY82" fmla="*/ 3391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275 h 31147"/>
                          <a:gd name="connsiteX90" fmla="*/ 48354 w 54005"/>
                          <a:gd name="connsiteY90" fmla="*/ 5526 h 31147"/>
                          <a:gd name="connsiteX91" fmla="*/ 48480 w 54005"/>
                          <a:gd name="connsiteY91" fmla="*/ 5526 h 31147"/>
                          <a:gd name="connsiteX92" fmla="*/ 48857 w 54005"/>
                          <a:gd name="connsiteY92" fmla="*/ 5777 h 31147"/>
                          <a:gd name="connsiteX93" fmla="*/ 49108 w 54005"/>
                          <a:gd name="connsiteY93" fmla="*/ 5903 h 31147"/>
                          <a:gd name="connsiteX94" fmla="*/ 49735 w 54005"/>
                          <a:gd name="connsiteY94" fmla="*/ 6280 h 31147"/>
                          <a:gd name="connsiteX95" fmla="*/ 49987 w 54005"/>
                          <a:gd name="connsiteY95" fmla="*/ 6405 h 31147"/>
                          <a:gd name="connsiteX96" fmla="*/ 50238 w 54005"/>
                          <a:gd name="connsiteY96" fmla="*/ 6531 h 31147"/>
                          <a:gd name="connsiteX97" fmla="*/ 50238 w 54005"/>
                          <a:gd name="connsiteY97" fmla="*/ 6531 h 31147"/>
                          <a:gd name="connsiteX98" fmla="*/ 50364 w 54005"/>
                          <a:gd name="connsiteY98" fmla="*/ 6657 h 31147"/>
                          <a:gd name="connsiteX99" fmla="*/ 50740 w 54005"/>
                          <a:gd name="connsiteY99" fmla="*/ 6908 h 31147"/>
                          <a:gd name="connsiteX100" fmla="*/ 50991 w 54005"/>
                          <a:gd name="connsiteY100" fmla="*/ 7033 h 31147"/>
                          <a:gd name="connsiteX101" fmla="*/ 51243 w 54005"/>
                          <a:gd name="connsiteY101" fmla="*/ 7159 h 31147"/>
                          <a:gd name="connsiteX102" fmla="*/ 51243 w 54005"/>
                          <a:gd name="connsiteY102" fmla="*/ 7159 h 31147"/>
                          <a:gd name="connsiteX103" fmla="*/ 51368 w 54005"/>
                          <a:gd name="connsiteY103" fmla="*/ 7285 h 31147"/>
                          <a:gd name="connsiteX104" fmla="*/ 51620 w 54005"/>
                          <a:gd name="connsiteY104" fmla="*/ 7410 h 31147"/>
                          <a:gd name="connsiteX105" fmla="*/ 51745 w 54005"/>
                          <a:gd name="connsiteY105" fmla="*/ 7410 h 31147"/>
                          <a:gd name="connsiteX106" fmla="*/ 52247 w 54005"/>
                          <a:gd name="connsiteY106" fmla="*/ 7787 h 31147"/>
                          <a:gd name="connsiteX107" fmla="*/ 52499 w 54005"/>
                          <a:gd name="connsiteY107" fmla="*/ 7787 h 31147"/>
                          <a:gd name="connsiteX108" fmla="*/ 52875 w 54005"/>
                          <a:gd name="connsiteY108" fmla="*/ 8038 h 31147"/>
                          <a:gd name="connsiteX109" fmla="*/ 53001 w 54005"/>
                          <a:gd name="connsiteY109" fmla="*/ 8164 h 31147"/>
                          <a:gd name="connsiteX110" fmla="*/ 53504 w 54005"/>
                          <a:gd name="connsiteY110" fmla="*/ 8415 h 31147"/>
                          <a:gd name="connsiteX111" fmla="*/ 53504 w 54005"/>
                          <a:gd name="connsiteY111" fmla="*/ 8540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811"/>
                            </a:lnTo>
                            <a:lnTo>
                              <a:pt x="46345" y="13187"/>
                            </a:lnTo>
                            <a:lnTo>
                              <a:pt x="34790" y="19970"/>
                            </a:lnTo>
                            <a:lnTo>
                              <a:pt x="34162" y="20221"/>
                            </a:lnTo>
                            <a:lnTo>
                              <a:pt x="32780" y="21100"/>
                            </a:lnTo>
                            <a:lnTo>
                              <a:pt x="32152" y="21351"/>
                            </a:lnTo>
                            <a:lnTo>
                              <a:pt x="32027" y="21477"/>
                            </a:lnTo>
                            <a:lnTo>
                              <a:pt x="32027" y="21477"/>
                            </a:lnTo>
                            <a:lnTo>
                              <a:pt x="31775" y="21602"/>
                            </a:lnTo>
                            <a:lnTo>
                              <a:pt x="29892" y="22733"/>
                            </a:lnTo>
                            <a:lnTo>
                              <a:pt x="29892" y="22733"/>
                            </a:lnTo>
                            <a:lnTo>
                              <a:pt x="29515" y="22858"/>
                            </a:lnTo>
                            <a:lnTo>
                              <a:pt x="21728" y="27380"/>
                            </a:lnTo>
                            <a:lnTo>
                              <a:pt x="21226" y="27756"/>
                            </a:lnTo>
                            <a:lnTo>
                              <a:pt x="21226" y="27756"/>
                            </a:lnTo>
                            <a:lnTo>
                              <a:pt x="15197" y="31148"/>
                            </a:lnTo>
                            <a:lnTo>
                              <a:pt x="15197" y="31148"/>
                            </a:lnTo>
                            <a:lnTo>
                              <a:pt x="15072" y="31148"/>
                            </a:lnTo>
                            <a:lnTo>
                              <a:pt x="14569" y="30896"/>
                            </a:lnTo>
                            <a:lnTo>
                              <a:pt x="14569" y="30771"/>
                            </a:lnTo>
                            <a:lnTo>
                              <a:pt x="13941" y="30520"/>
                            </a:lnTo>
                            <a:lnTo>
                              <a:pt x="13816" y="30394"/>
                            </a:lnTo>
                            <a:lnTo>
                              <a:pt x="12559" y="29640"/>
                            </a:lnTo>
                            <a:lnTo>
                              <a:pt x="12434" y="29640"/>
                            </a:lnTo>
                            <a:lnTo>
                              <a:pt x="11680" y="29138"/>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365"/>
                            </a:lnTo>
                            <a:lnTo>
                              <a:pt x="3517" y="24365"/>
                            </a:lnTo>
                            <a:lnTo>
                              <a:pt x="3266" y="24365"/>
                            </a:lnTo>
                            <a:lnTo>
                              <a:pt x="2637" y="23863"/>
                            </a:lnTo>
                            <a:lnTo>
                              <a:pt x="2512" y="23863"/>
                            </a:lnTo>
                            <a:lnTo>
                              <a:pt x="2010" y="23612"/>
                            </a:lnTo>
                            <a:lnTo>
                              <a:pt x="1759" y="23486"/>
                            </a:lnTo>
                            <a:lnTo>
                              <a:pt x="0" y="22481"/>
                            </a:lnTo>
                            <a:lnTo>
                              <a:pt x="5526" y="19342"/>
                            </a:lnTo>
                            <a:lnTo>
                              <a:pt x="5526" y="19342"/>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420"/>
                            </a:lnTo>
                            <a:lnTo>
                              <a:pt x="38934" y="0"/>
                            </a:lnTo>
                            <a:lnTo>
                              <a:pt x="39814" y="502"/>
                            </a:lnTo>
                            <a:lnTo>
                              <a:pt x="40065" y="628"/>
                            </a:lnTo>
                            <a:lnTo>
                              <a:pt x="41195" y="1382"/>
                            </a:lnTo>
                            <a:lnTo>
                              <a:pt x="41572" y="1507"/>
                            </a:lnTo>
                            <a:lnTo>
                              <a:pt x="42702" y="2135"/>
                            </a:lnTo>
                            <a:lnTo>
                              <a:pt x="42828" y="2261"/>
                            </a:lnTo>
                            <a:lnTo>
                              <a:pt x="43330" y="2637"/>
                            </a:lnTo>
                            <a:lnTo>
                              <a:pt x="43456" y="2637"/>
                            </a:lnTo>
                            <a:lnTo>
                              <a:pt x="44461" y="3265"/>
                            </a:lnTo>
                            <a:lnTo>
                              <a:pt x="44712" y="3391"/>
                            </a:lnTo>
                            <a:lnTo>
                              <a:pt x="45340" y="3768"/>
                            </a:lnTo>
                            <a:lnTo>
                              <a:pt x="45465" y="3768"/>
                            </a:lnTo>
                            <a:lnTo>
                              <a:pt x="46596" y="4396"/>
                            </a:lnTo>
                            <a:lnTo>
                              <a:pt x="46847" y="4521"/>
                            </a:lnTo>
                            <a:lnTo>
                              <a:pt x="47224" y="4773"/>
                            </a:lnTo>
                            <a:lnTo>
                              <a:pt x="47852" y="5149"/>
                            </a:lnTo>
                            <a:lnTo>
                              <a:pt x="47977" y="5275"/>
                            </a:lnTo>
                            <a:lnTo>
                              <a:pt x="48354" y="5526"/>
                            </a:lnTo>
                            <a:lnTo>
                              <a:pt x="48480" y="5526"/>
                            </a:lnTo>
                            <a:lnTo>
                              <a:pt x="48857" y="5777"/>
                            </a:lnTo>
                            <a:lnTo>
                              <a:pt x="49108" y="5903"/>
                            </a:lnTo>
                            <a:lnTo>
                              <a:pt x="49735" y="6280"/>
                            </a:lnTo>
                            <a:lnTo>
                              <a:pt x="49987" y="6405"/>
                            </a:lnTo>
                            <a:lnTo>
                              <a:pt x="50238" y="6531"/>
                            </a:lnTo>
                            <a:lnTo>
                              <a:pt x="50238" y="6531"/>
                            </a:lnTo>
                            <a:lnTo>
                              <a:pt x="50364" y="6657"/>
                            </a:lnTo>
                            <a:lnTo>
                              <a:pt x="50740" y="6908"/>
                            </a:lnTo>
                            <a:lnTo>
                              <a:pt x="50991" y="7033"/>
                            </a:lnTo>
                            <a:lnTo>
                              <a:pt x="51243" y="7159"/>
                            </a:lnTo>
                            <a:lnTo>
                              <a:pt x="51243" y="7159"/>
                            </a:lnTo>
                            <a:lnTo>
                              <a:pt x="51368" y="7285"/>
                            </a:lnTo>
                            <a:lnTo>
                              <a:pt x="51620" y="7410"/>
                            </a:lnTo>
                            <a:lnTo>
                              <a:pt x="51745" y="7410"/>
                            </a:lnTo>
                            <a:lnTo>
                              <a:pt x="52247" y="7787"/>
                            </a:lnTo>
                            <a:lnTo>
                              <a:pt x="52499" y="7787"/>
                            </a:lnTo>
                            <a:lnTo>
                              <a:pt x="52875" y="8038"/>
                            </a:lnTo>
                            <a:lnTo>
                              <a:pt x="53001" y="8164"/>
                            </a:lnTo>
                            <a:lnTo>
                              <a:pt x="53504" y="8415"/>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73" name="Freeform: Shape 1972">
                      <a:extLst>
                        <a:ext uri="{FF2B5EF4-FFF2-40B4-BE49-F238E27FC236}">
                          <a16:creationId xmlns:a16="http://schemas.microsoft.com/office/drawing/2014/main" id="{30718D99-CCA3-4031-BAB8-12F5CA5C29F8}"/>
                        </a:ext>
                      </a:extLst>
                    </p:cNvPr>
                    <p:cNvSpPr/>
                    <p:nvPr/>
                  </p:nvSpPr>
                  <p:spPr>
                    <a:xfrm>
                      <a:off x="3869705" y="1667497"/>
                      <a:ext cx="15196" cy="10801"/>
                    </a:xfrm>
                    <a:custGeom>
                      <a:avLst/>
                      <a:gdLst>
                        <a:gd name="connsiteX0" fmla="*/ 15197 w 15196"/>
                        <a:gd name="connsiteY0" fmla="*/ 8792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792"/>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74" name="Graphic 4">
                    <a:extLst>
                      <a:ext uri="{FF2B5EF4-FFF2-40B4-BE49-F238E27FC236}">
                        <a16:creationId xmlns:a16="http://schemas.microsoft.com/office/drawing/2014/main" id="{84FB7ED1-A2DF-40A1-A747-5F7CF3F14040}"/>
                      </a:ext>
                    </a:extLst>
                  </p:cNvPr>
                  <p:cNvGrpSpPr/>
                  <p:nvPr/>
                </p:nvGrpSpPr>
                <p:grpSpPr>
                  <a:xfrm>
                    <a:off x="3852498" y="1631828"/>
                    <a:ext cx="54005" cy="33282"/>
                    <a:chOff x="3852498" y="1631828"/>
                    <a:chExt cx="54005" cy="33282"/>
                  </a:xfrm>
                  <a:solidFill>
                    <a:schemeClr val="accent1"/>
                  </a:solidFill>
                </p:grpSpPr>
                <p:grpSp>
                  <p:nvGrpSpPr>
                    <p:cNvPr id="1975" name="Graphic 4">
                      <a:extLst>
                        <a:ext uri="{FF2B5EF4-FFF2-40B4-BE49-F238E27FC236}">
                          <a16:creationId xmlns:a16="http://schemas.microsoft.com/office/drawing/2014/main" id="{84FB7ED1-A2DF-40A1-A747-5F7CF3F14040}"/>
                        </a:ext>
                      </a:extLst>
                    </p:cNvPr>
                    <p:cNvGrpSpPr/>
                    <p:nvPr/>
                  </p:nvGrpSpPr>
                  <p:grpSpPr>
                    <a:xfrm>
                      <a:off x="3852498" y="1631828"/>
                      <a:ext cx="54005" cy="33282"/>
                      <a:chOff x="3852498" y="1631828"/>
                      <a:chExt cx="54005" cy="33282"/>
                    </a:xfrm>
                    <a:solidFill>
                      <a:schemeClr val="accent1"/>
                    </a:solidFill>
                  </p:grpSpPr>
                  <p:sp>
                    <p:nvSpPr>
                      <p:cNvPr id="1976" name="Freeform: Shape 1975">
                        <a:extLst>
                          <a:ext uri="{FF2B5EF4-FFF2-40B4-BE49-F238E27FC236}">
                            <a16:creationId xmlns:a16="http://schemas.microsoft.com/office/drawing/2014/main" id="{69D43746-F980-4161-BBB7-A6C830C73E0E}"/>
                          </a:ext>
                        </a:extLst>
                      </p:cNvPr>
                      <p:cNvSpPr/>
                      <p:nvPr/>
                    </p:nvSpPr>
                    <p:spPr>
                      <a:xfrm>
                        <a:off x="3852498" y="1633963"/>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664 w 54005"/>
                          <a:gd name="connsiteY10" fmla="*/ 19844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148 h 31147"/>
                          <a:gd name="connsiteX29" fmla="*/ 14569 w 54005"/>
                          <a:gd name="connsiteY29" fmla="*/ 30771 h 31147"/>
                          <a:gd name="connsiteX30" fmla="*/ 14443 w 54005"/>
                          <a:gd name="connsiteY30" fmla="*/ 30771 h 31147"/>
                          <a:gd name="connsiteX31" fmla="*/ 14443 w 54005"/>
                          <a:gd name="connsiteY31" fmla="*/ 30771 h 31147"/>
                          <a:gd name="connsiteX32" fmla="*/ 13941 w 54005"/>
                          <a:gd name="connsiteY32" fmla="*/ 30519 h 31147"/>
                          <a:gd name="connsiteX33" fmla="*/ 13690 w 54005"/>
                          <a:gd name="connsiteY33" fmla="*/ 30394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636 h 31147"/>
                          <a:gd name="connsiteX39" fmla="*/ 10550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8917 w 54005"/>
                          <a:gd name="connsiteY43" fmla="*/ 27631 h 31147"/>
                          <a:gd name="connsiteX44" fmla="*/ 8917 w 54005"/>
                          <a:gd name="connsiteY44" fmla="*/ 27631 h 31147"/>
                          <a:gd name="connsiteX45" fmla="*/ 8038 w 54005"/>
                          <a:gd name="connsiteY45" fmla="*/ 27128 h 31147"/>
                          <a:gd name="connsiteX46" fmla="*/ 8038 w 54005"/>
                          <a:gd name="connsiteY46" fmla="*/ 27003 h 31147"/>
                          <a:gd name="connsiteX47" fmla="*/ 7536 w 54005"/>
                          <a:gd name="connsiteY47" fmla="*/ 26877 h 31147"/>
                          <a:gd name="connsiteX48" fmla="*/ 7410 w 54005"/>
                          <a:gd name="connsiteY48" fmla="*/ 26752 h 31147"/>
                          <a:gd name="connsiteX49" fmla="*/ 6782 w 54005"/>
                          <a:gd name="connsiteY49" fmla="*/ 26375 h 31147"/>
                          <a:gd name="connsiteX50" fmla="*/ 6782 w 54005"/>
                          <a:gd name="connsiteY50" fmla="*/ 26375 h 31147"/>
                          <a:gd name="connsiteX51" fmla="*/ 5652 w 54005"/>
                          <a:gd name="connsiteY51" fmla="*/ 25747 h 31147"/>
                          <a:gd name="connsiteX52" fmla="*/ 5400 w 54005"/>
                          <a:gd name="connsiteY52" fmla="*/ 25621 h 31147"/>
                          <a:gd name="connsiteX53" fmla="*/ 4521 w 54005"/>
                          <a:gd name="connsiteY53" fmla="*/ 25119 h 31147"/>
                          <a:gd name="connsiteX54" fmla="*/ 4521 w 54005"/>
                          <a:gd name="connsiteY54" fmla="*/ 24993 h 31147"/>
                          <a:gd name="connsiteX55" fmla="*/ 4144 w 54005"/>
                          <a:gd name="connsiteY55" fmla="*/ 24868 h 31147"/>
                          <a:gd name="connsiteX56" fmla="*/ 4144 w 54005"/>
                          <a:gd name="connsiteY56" fmla="*/ 24868 h 31147"/>
                          <a:gd name="connsiteX57" fmla="*/ 3391 w 54005"/>
                          <a:gd name="connsiteY57" fmla="*/ 24365 h 31147"/>
                          <a:gd name="connsiteX58" fmla="*/ 3391 w 54005"/>
                          <a:gd name="connsiteY58" fmla="*/ 24365 h 31147"/>
                          <a:gd name="connsiteX59" fmla="*/ 3266 w 54005"/>
                          <a:gd name="connsiteY59" fmla="*/ 24240 h 31147"/>
                          <a:gd name="connsiteX60" fmla="*/ 2512 w 54005"/>
                          <a:gd name="connsiteY60" fmla="*/ 23863 h 31147"/>
                          <a:gd name="connsiteX61" fmla="*/ 2512 w 54005"/>
                          <a:gd name="connsiteY61" fmla="*/ 23863 h 31147"/>
                          <a:gd name="connsiteX62" fmla="*/ 1884 w 54005"/>
                          <a:gd name="connsiteY62" fmla="*/ 23486 h 31147"/>
                          <a:gd name="connsiteX63" fmla="*/ 1758 w 54005"/>
                          <a:gd name="connsiteY63" fmla="*/ 23486 h 31147"/>
                          <a:gd name="connsiteX64" fmla="*/ 0 w 54005"/>
                          <a:gd name="connsiteY64" fmla="*/ 22356 h 31147"/>
                          <a:gd name="connsiteX65" fmla="*/ 0 w 54005"/>
                          <a:gd name="connsiteY65" fmla="*/ 20346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382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512 h 31147"/>
                          <a:gd name="connsiteX74" fmla="*/ 43330 w 54005"/>
                          <a:gd name="connsiteY74" fmla="*/ 2512 h 31147"/>
                          <a:gd name="connsiteX75" fmla="*/ 43330 w 54005"/>
                          <a:gd name="connsiteY75" fmla="*/ 2637 h 31147"/>
                          <a:gd name="connsiteX76" fmla="*/ 44335 w 54005"/>
                          <a:gd name="connsiteY76" fmla="*/ 3140 h 31147"/>
                          <a:gd name="connsiteX77" fmla="*/ 44586 w 54005"/>
                          <a:gd name="connsiteY77" fmla="*/ 3265 h 31147"/>
                          <a:gd name="connsiteX78" fmla="*/ 45340 w 54005"/>
                          <a:gd name="connsiteY78" fmla="*/ 3768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275 h 31147"/>
                          <a:gd name="connsiteX86" fmla="*/ 48228 w 54005"/>
                          <a:gd name="connsiteY86" fmla="*/ 5401 h 31147"/>
                          <a:gd name="connsiteX87" fmla="*/ 48354 w 54005"/>
                          <a:gd name="connsiteY87" fmla="*/ 5526 h 31147"/>
                          <a:gd name="connsiteX88" fmla="*/ 48856 w 54005"/>
                          <a:gd name="connsiteY88" fmla="*/ 5777 h 31147"/>
                          <a:gd name="connsiteX89" fmla="*/ 48982 w 54005"/>
                          <a:gd name="connsiteY89" fmla="*/ 5903 h 31147"/>
                          <a:gd name="connsiteX90" fmla="*/ 49610 w 54005"/>
                          <a:gd name="connsiteY90" fmla="*/ 6154 h 31147"/>
                          <a:gd name="connsiteX91" fmla="*/ 49861 w 54005"/>
                          <a:gd name="connsiteY91" fmla="*/ 6405 h 31147"/>
                          <a:gd name="connsiteX92" fmla="*/ 50112 w 54005"/>
                          <a:gd name="connsiteY92" fmla="*/ 6531 h 31147"/>
                          <a:gd name="connsiteX93" fmla="*/ 50112 w 54005"/>
                          <a:gd name="connsiteY93" fmla="*/ 6531 h 31147"/>
                          <a:gd name="connsiteX94" fmla="*/ 50238 w 54005"/>
                          <a:gd name="connsiteY94" fmla="*/ 6531 h 31147"/>
                          <a:gd name="connsiteX95" fmla="*/ 50740 w 54005"/>
                          <a:gd name="connsiteY95" fmla="*/ 6782 h 31147"/>
                          <a:gd name="connsiteX96" fmla="*/ 50991 w 54005"/>
                          <a:gd name="connsiteY96" fmla="*/ 7033 h 31147"/>
                          <a:gd name="connsiteX97" fmla="*/ 51117 w 54005"/>
                          <a:gd name="connsiteY97" fmla="*/ 7159 h 31147"/>
                          <a:gd name="connsiteX98" fmla="*/ 51243 w 54005"/>
                          <a:gd name="connsiteY98" fmla="*/ 7159 h 31147"/>
                          <a:gd name="connsiteX99" fmla="*/ 51368 w 54005"/>
                          <a:gd name="connsiteY99" fmla="*/ 7159 h 31147"/>
                          <a:gd name="connsiteX100" fmla="*/ 51619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745" y="10048"/>
                            </a:lnTo>
                            <a:lnTo>
                              <a:pt x="51494" y="10173"/>
                            </a:lnTo>
                            <a:lnTo>
                              <a:pt x="51494" y="10173"/>
                            </a:lnTo>
                            <a:lnTo>
                              <a:pt x="48103" y="12183"/>
                            </a:lnTo>
                            <a:lnTo>
                              <a:pt x="48103" y="12183"/>
                            </a:lnTo>
                            <a:lnTo>
                              <a:pt x="47224" y="12559"/>
                            </a:lnTo>
                            <a:lnTo>
                              <a:pt x="47098" y="12685"/>
                            </a:lnTo>
                            <a:lnTo>
                              <a:pt x="46345" y="13187"/>
                            </a:lnTo>
                            <a:lnTo>
                              <a:pt x="34664" y="19844"/>
                            </a:lnTo>
                            <a:lnTo>
                              <a:pt x="34664" y="19844"/>
                            </a:lnTo>
                            <a:lnTo>
                              <a:pt x="34036" y="20221"/>
                            </a:lnTo>
                            <a:lnTo>
                              <a:pt x="32780" y="20974"/>
                            </a:lnTo>
                            <a:lnTo>
                              <a:pt x="32655" y="20974"/>
                            </a:lnTo>
                            <a:lnTo>
                              <a:pt x="32152" y="21351"/>
                            </a:lnTo>
                            <a:lnTo>
                              <a:pt x="32027" y="21477"/>
                            </a:lnTo>
                            <a:lnTo>
                              <a:pt x="32027" y="21477"/>
                            </a:lnTo>
                            <a:lnTo>
                              <a:pt x="31650" y="21602"/>
                            </a:lnTo>
                            <a:lnTo>
                              <a:pt x="31650" y="21602"/>
                            </a:lnTo>
                            <a:lnTo>
                              <a:pt x="29892" y="22733"/>
                            </a:lnTo>
                            <a:lnTo>
                              <a:pt x="29892" y="22733"/>
                            </a:lnTo>
                            <a:lnTo>
                              <a:pt x="29515" y="22858"/>
                            </a:lnTo>
                            <a:lnTo>
                              <a:pt x="21728" y="27380"/>
                            </a:lnTo>
                            <a:lnTo>
                              <a:pt x="21728" y="27380"/>
                            </a:lnTo>
                            <a:lnTo>
                              <a:pt x="21226" y="27631"/>
                            </a:lnTo>
                            <a:lnTo>
                              <a:pt x="21226" y="27631"/>
                            </a:lnTo>
                            <a:lnTo>
                              <a:pt x="15197" y="31148"/>
                            </a:lnTo>
                            <a:lnTo>
                              <a:pt x="15071" y="31148"/>
                            </a:lnTo>
                            <a:lnTo>
                              <a:pt x="14946" y="31148"/>
                            </a:lnTo>
                            <a:lnTo>
                              <a:pt x="14569" y="30771"/>
                            </a:lnTo>
                            <a:lnTo>
                              <a:pt x="14443" y="30771"/>
                            </a:lnTo>
                            <a:lnTo>
                              <a:pt x="14443" y="30771"/>
                            </a:lnTo>
                            <a:lnTo>
                              <a:pt x="13941" y="30519"/>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003"/>
                            </a:lnTo>
                            <a:lnTo>
                              <a:pt x="7536" y="26877"/>
                            </a:lnTo>
                            <a:lnTo>
                              <a:pt x="7410" y="26752"/>
                            </a:lnTo>
                            <a:lnTo>
                              <a:pt x="6782" y="26375"/>
                            </a:lnTo>
                            <a:lnTo>
                              <a:pt x="6782" y="26375"/>
                            </a:lnTo>
                            <a:lnTo>
                              <a:pt x="5652" y="25747"/>
                            </a:lnTo>
                            <a:lnTo>
                              <a:pt x="5400" y="25621"/>
                            </a:lnTo>
                            <a:lnTo>
                              <a:pt x="4521" y="25119"/>
                            </a:lnTo>
                            <a:lnTo>
                              <a:pt x="4521" y="24993"/>
                            </a:lnTo>
                            <a:lnTo>
                              <a:pt x="4144" y="24868"/>
                            </a:lnTo>
                            <a:lnTo>
                              <a:pt x="4144" y="24868"/>
                            </a:lnTo>
                            <a:lnTo>
                              <a:pt x="3391" y="24365"/>
                            </a:lnTo>
                            <a:lnTo>
                              <a:pt x="3391" y="24365"/>
                            </a:lnTo>
                            <a:lnTo>
                              <a:pt x="3266" y="24240"/>
                            </a:lnTo>
                            <a:lnTo>
                              <a:pt x="2512" y="23863"/>
                            </a:lnTo>
                            <a:lnTo>
                              <a:pt x="2512" y="23863"/>
                            </a:lnTo>
                            <a:lnTo>
                              <a:pt x="1884" y="23486"/>
                            </a:lnTo>
                            <a:lnTo>
                              <a:pt x="1758" y="23486"/>
                            </a:lnTo>
                            <a:lnTo>
                              <a:pt x="0" y="22356"/>
                            </a:lnTo>
                            <a:lnTo>
                              <a:pt x="0" y="20346"/>
                            </a:lnTo>
                            <a:lnTo>
                              <a:pt x="38809" y="0"/>
                            </a:lnTo>
                            <a:lnTo>
                              <a:pt x="39688" y="502"/>
                            </a:lnTo>
                            <a:lnTo>
                              <a:pt x="39939" y="628"/>
                            </a:lnTo>
                            <a:lnTo>
                              <a:pt x="41195" y="1382"/>
                            </a:lnTo>
                            <a:lnTo>
                              <a:pt x="41446" y="1507"/>
                            </a:lnTo>
                            <a:lnTo>
                              <a:pt x="42576" y="2135"/>
                            </a:lnTo>
                            <a:lnTo>
                              <a:pt x="42828" y="2261"/>
                            </a:lnTo>
                            <a:lnTo>
                              <a:pt x="43330" y="2512"/>
                            </a:lnTo>
                            <a:lnTo>
                              <a:pt x="43330" y="2512"/>
                            </a:lnTo>
                            <a:lnTo>
                              <a:pt x="43330" y="2637"/>
                            </a:lnTo>
                            <a:lnTo>
                              <a:pt x="44335" y="3140"/>
                            </a:lnTo>
                            <a:lnTo>
                              <a:pt x="44586" y="3265"/>
                            </a:lnTo>
                            <a:lnTo>
                              <a:pt x="45340" y="3768"/>
                            </a:lnTo>
                            <a:lnTo>
                              <a:pt x="45340" y="3768"/>
                            </a:lnTo>
                            <a:lnTo>
                              <a:pt x="46470" y="4396"/>
                            </a:lnTo>
                            <a:lnTo>
                              <a:pt x="46721" y="4521"/>
                            </a:lnTo>
                            <a:lnTo>
                              <a:pt x="46972" y="4647"/>
                            </a:lnTo>
                            <a:lnTo>
                              <a:pt x="47098" y="4773"/>
                            </a:lnTo>
                            <a:lnTo>
                              <a:pt x="47852" y="5149"/>
                            </a:lnTo>
                            <a:lnTo>
                              <a:pt x="47852" y="5275"/>
                            </a:lnTo>
                            <a:lnTo>
                              <a:pt x="48228" y="5401"/>
                            </a:lnTo>
                            <a:lnTo>
                              <a:pt x="48354" y="5526"/>
                            </a:lnTo>
                            <a:lnTo>
                              <a:pt x="48856" y="5777"/>
                            </a:lnTo>
                            <a:lnTo>
                              <a:pt x="48982" y="5903"/>
                            </a:lnTo>
                            <a:lnTo>
                              <a:pt x="49610" y="6154"/>
                            </a:lnTo>
                            <a:lnTo>
                              <a:pt x="49861" y="6405"/>
                            </a:lnTo>
                            <a:lnTo>
                              <a:pt x="50112" y="6531"/>
                            </a:lnTo>
                            <a:lnTo>
                              <a:pt x="50112" y="6531"/>
                            </a:lnTo>
                            <a:lnTo>
                              <a:pt x="50238" y="6531"/>
                            </a:lnTo>
                            <a:lnTo>
                              <a:pt x="50740" y="6782"/>
                            </a:lnTo>
                            <a:lnTo>
                              <a:pt x="50991" y="7033"/>
                            </a:lnTo>
                            <a:lnTo>
                              <a:pt x="51117" y="7159"/>
                            </a:lnTo>
                            <a:lnTo>
                              <a:pt x="51243" y="7159"/>
                            </a:lnTo>
                            <a:lnTo>
                              <a:pt x="51368" y="7159"/>
                            </a:lnTo>
                            <a:lnTo>
                              <a:pt x="51619"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77" name="Freeform: Shape 1976">
                        <a:extLst>
                          <a:ext uri="{FF2B5EF4-FFF2-40B4-BE49-F238E27FC236}">
                            <a16:creationId xmlns:a16="http://schemas.microsoft.com/office/drawing/2014/main" id="{DD9E1E12-1486-4FEB-A6A1-101632706261}"/>
                          </a:ext>
                        </a:extLst>
                      </p:cNvPr>
                      <p:cNvSpPr/>
                      <p:nvPr/>
                    </p:nvSpPr>
                    <p:spPr>
                      <a:xfrm>
                        <a:off x="3852498" y="1631828"/>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970 h 31147"/>
                          <a:gd name="connsiteX10" fmla="*/ 34036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733 h 31147"/>
                          <a:gd name="connsiteX17" fmla="*/ 29766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148 h 31147"/>
                          <a:gd name="connsiteX25" fmla="*/ 14569 w 54005"/>
                          <a:gd name="connsiteY25" fmla="*/ 30771 h 31147"/>
                          <a:gd name="connsiteX26" fmla="*/ 14443 w 54005"/>
                          <a:gd name="connsiteY26" fmla="*/ 30771 h 31147"/>
                          <a:gd name="connsiteX27" fmla="*/ 13941 w 54005"/>
                          <a:gd name="connsiteY27" fmla="*/ 30520 h 31147"/>
                          <a:gd name="connsiteX28" fmla="*/ 13690 w 54005"/>
                          <a:gd name="connsiteY28" fmla="*/ 30394 h 31147"/>
                          <a:gd name="connsiteX29" fmla="*/ 12434 w 54005"/>
                          <a:gd name="connsiteY29" fmla="*/ 29640 h 31147"/>
                          <a:gd name="connsiteX30" fmla="*/ 12434 w 54005"/>
                          <a:gd name="connsiteY30" fmla="*/ 29640 h 31147"/>
                          <a:gd name="connsiteX31" fmla="*/ 11680 w 54005"/>
                          <a:gd name="connsiteY31" fmla="*/ 29138 h 31147"/>
                          <a:gd name="connsiteX32" fmla="*/ 11303 w 54005"/>
                          <a:gd name="connsiteY32" fmla="*/ 29012 h 31147"/>
                          <a:gd name="connsiteX33" fmla="*/ 10676 w 54005"/>
                          <a:gd name="connsiteY33" fmla="*/ 28636 h 31147"/>
                          <a:gd name="connsiteX34" fmla="*/ 10550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8917 w 54005"/>
                          <a:gd name="connsiteY38" fmla="*/ 27631 h 31147"/>
                          <a:gd name="connsiteX39" fmla="*/ 8917 w 54005"/>
                          <a:gd name="connsiteY39" fmla="*/ 27631 h 31147"/>
                          <a:gd name="connsiteX40" fmla="*/ 8038 w 54005"/>
                          <a:gd name="connsiteY40" fmla="*/ 27128 h 31147"/>
                          <a:gd name="connsiteX41" fmla="*/ 8038 w 54005"/>
                          <a:gd name="connsiteY41" fmla="*/ 27128 h 31147"/>
                          <a:gd name="connsiteX42" fmla="*/ 7536 w 54005"/>
                          <a:gd name="connsiteY42" fmla="*/ 26877 h 31147"/>
                          <a:gd name="connsiteX43" fmla="*/ 7410 w 54005"/>
                          <a:gd name="connsiteY43" fmla="*/ 26752 h 31147"/>
                          <a:gd name="connsiteX44" fmla="*/ 6782 w 54005"/>
                          <a:gd name="connsiteY44" fmla="*/ 26375 h 31147"/>
                          <a:gd name="connsiteX45" fmla="*/ 6782 w 54005"/>
                          <a:gd name="connsiteY45" fmla="*/ 26375 h 31147"/>
                          <a:gd name="connsiteX46" fmla="*/ 5652 w 54005"/>
                          <a:gd name="connsiteY46" fmla="*/ 25747 h 31147"/>
                          <a:gd name="connsiteX47" fmla="*/ 5400 w 54005"/>
                          <a:gd name="connsiteY47" fmla="*/ 25621 h 31147"/>
                          <a:gd name="connsiteX48" fmla="*/ 4521 w 54005"/>
                          <a:gd name="connsiteY48" fmla="*/ 25119 h 31147"/>
                          <a:gd name="connsiteX49" fmla="*/ 4521 w 54005"/>
                          <a:gd name="connsiteY49" fmla="*/ 24993 h 31147"/>
                          <a:gd name="connsiteX50" fmla="*/ 4144 w 54005"/>
                          <a:gd name="connsiteY50" fmla="*/ 24868 h 31147"/>
                          <a:gd name="connsiteX51" fmla="*/ 4144 w 54005"/>
                          <a:gd name="connsiteY51" fmla="*/ 24742 h 31147"/>
                          <a:gd name="connsiteX52" fmla="*/ 3391 w 54005"/>
                          <a:gd name="connsiteY52" fmla="*/ 24365 h 31147"/>
                          <a:gd name="connsiteX53" fmla="*/ 3391 w 54005"/>
                          <a:gd name="connsiteY53" fmla="*/ 24365 h 31147"/>
                          <a:gd name="connsiteX54" fmla="*/ 3140 w 54005"/>
                          <a:gd name="connsiteY54" fmla="*/ 24240 h 31147"/>
                          <a:gd name="connsiteX55" fmla="*/ 2512 w 54005"/>
                          <a:gd name="connsiteY55" fmla="*/ 23863 h 31147"/>
                          <a:gd name="connsiteX56" fmla="*/ 2512 w 54005"/>
                          <a:gd name="connsiteY56" fmla="*/ 23863 h 31147"/>
                          <a:gd name="connsiteX57" fmla="*/ 1884 w 54005"/>
                          <a:gd name="connsiteY57" fmla="*/ 23612 h 31147"/>
                          <a:gd name="connsiteX58" fmla="*/ 1758 w 54005"/>
                          <a:gd name="connsiteY58" fmla="*/ 23361 h 31147"/>
                          <a:gd name="connsiteX59" fmla="*/ 0 w 54005"/>
                          <a:gd name="connsiteY59" fmla="*/ 22356 h 31147"/>
                          <a:gd name="connsiteX60" fmla="*/ 5400 w 54005"/>
                          <a:gd name="connsiteY60" fmla="*/ 19216 h 31147"/>
                          <a:gd name="connsiteX61" fmla="*/ 5400 w 54005"/>
                          <a:gd name="connsiteY61" fmla="*/ 19216 h 31147"/>
                          <a:gd name="connsiteX62" fmla="*/ 5652 w 54005"/>
                          <a:gd name="connsiteY62" fmla="*/ 19216 h 31147"/>
                          <a:gd name="connsiteX63" fmla="*/ 5652 w 54005"/>
                          <a:gd name="connsiteY63" fmla="*/ 19090 h 31147"/>
                          <a:gd name="connsiteX64" fmla="*/ 5903 w 54005"/>
                          <a:gd name="connsiteY64" fmla="*/ 18965 h 31147"/>
                          <a:gd name="connsiteX65" fmla="*/ 6029 w 54005"/>
                          <a:gd name="connsiteY65" fmla="*/ 18965 h 31147"/>
                          <a:gd name="connsiteX66" fmla="*/ 6154 w 54005"/>
                          <a:gd name="connsiteY66" fmla="*/ 18839 h 31147"/>
                          <a:gd name="connsiteX67" fmla="*/ 6154 w 54005"/>
                          <a:gd name="connsiteY67" fmla="*/ 18839 h 31147"/>
                          <a:gd name="connsiteX68" fmla="*/ 21602 w 54005"/>
                          <a:gd name="connsiteY68" fmla="*/ 9922 h 31147"/>
                          <a:gd name="connsiteX69" fmla="*/ 21979 w 54005"/>
                          <a:gd name="connsiteY69" fmla="*/ 9671 h 31147"/>
                          <a:gd name="connsiteX70" fmla="*/ 22356 w 54005"/>
                          <a:gd name="connsiteY70" fmla="*/ 9545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382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637 h 31147"/>
                          <a:gd name="connsiteX80" fmla="*/ 43330 w 54005"/>
                          <a:gd name="connsiteY80" fmla="*/ 2637 h 31147"/>
                          <a:gd name="connsiteX81" fmla="*/ 44335 w 54005"/>
                          <a:gd name="connsiteY81" fmla="*/ 3140 h 31147"/>
                          <a:gd name="connsiteX82" fmla="*/ 44586 w 54005"/>
                          <a:gd name="connsiteY82" fmla="*/ 3265 h 31147"/>
                          <a:gd name="connsiteX83" fmla="*/ 45340 w 54005"/>
                          <a:gd name="connsiteY83" fmla="*/ 3768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275 h 31147"/>
                          <a:gd name="connsiteX90" fmla="*/ 48228 w 54005"/>
                          <a:gd name="connsiteY90" fmla="*/ 5401 h 31147"/>
                          <a:gd name="connsiteX91" fmla="*/ 48354 w 54005"/>
                          <a:gd name="connsiteY91" fmla="*/ 5526 h 31147"/>
                          <a:gd name="connsiteX92" fmla="*/ 48856 w 54005"/>
                          <a:gd name="connsiteY92" fmla="*/ 5777 h 31147"/>
                          <a:gd name="connsiteX93" fmla="*/ 48982 w 54005"/>
                          <a:gd name="connsiteY93" fmla="*/ 5903 h 31147"/>
                          <a:gd name="connsiteX94" fmla="*/ 49610 w 54005"/>
                          <a:gd name="connsiteY94" fmla="*/ 6154 h 31147"/>
                          <a:gd name="connsiteX95" fmla="*/ 49861 w 54005"/>
                          <a:gd name="connsiteY95" fmla="*/ 6405 h 31147"/>
                          <a:gd name="connsiteX96" fmla="*/ 50112 w 54005"/>
                          <a:gd name="connsiteY96" fmla="*/ 6531 h 31147"/>
                          <a:gd name="connsiteX97" fmla="*/ 50112 w 54005"/>
                          <a:gd name="connsiteY97" fmla="*/ 6531 h 31147"/>
                          <a:gd name="connsiteX98" fmla="*/ 50238 w 54005"/>
                          <a:gd name="connsiteY98" fmla="*/ 6531 h 31147"/>
                          <a:gd name="connsiteX99" fmla="*/ 50740 w 54005"/>
                          <a:gd name="connsiteY99" fmla="*/ 6782 h 31147"/>
                          <a:gd name="connsiteX100" fmla="*/ 50991 w 54005"/>
                          <a:gd name="connsiteY100" fmla="*/ 6908 h 31147"/>
                          <a:gd name="connsiteX101" fmla="*/ 51117 w 54005"/>
                          <a:gd name="connsiteY101" fmla="*/ 7159 h 31147"/>
                          <a:gd name="connsiteX102" fmla="*/ 51243 w 54005"/>
                          <a:gd name="connsiteY102" fmla="*/ 7159 h 31147"/>
                          <a:gd name="connsiteX103" fmla="*/ 51368 w 54005"/>
                          <a:gd name="connsiteY103" fmla="*/ 7159 h 31147"/>
                          <a:gd name="connsiteX104" fmla="*/ 51619 w 54005"/>
                          <a:gd name="connsiteY104" fmla="*/ 7410 h 31147"/>
                          <a:gd name="connsiteX105" fmla="*/ 51745 w 54005"/>
                          <a:gd name="connsiteY105" fmla="*/ 7410 h 31147"/>
                          <a:gd name="connsiteX106" fmla="*/ 52247 w 54005"/>
                          <a:gd name="connsiteY106" fmla="*/ 7787 h 31147"/>
                          <a:gd name="connsiteX107" fmla="*/ 52373 w 54005"/>
                          <a:gd name="connsiteY107" fmla="*/ 7787 h 31147"/>
                          <a:gd name="connsiteX108" fmla="*/ 52750 w 54005"/>
                          <a:gd name="connsiteY108" fmla="*/ 8038 h 31147"/>
                          <a:gd name="connsiteX109" fmla="*/ 52875 w 54005"/>
                          <a:gd name="connsiteY109" fmla="*/ 8164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745" y="10048"/>
                            </a:lnTo>
                            <a:lnTo>
                              <a:pt x="51494" y="10173"/>
                            </a:lnTo>
                            <a:lnTo>
                              <a:pt x="51494" y="10173"/>
                            </a:lnTo>
                            <a:lnTo>
                              <a:pt x="48103" y="12183"/>
                            </a:lnTo>
                            <a:lnTo>
                              <a:pt x="48103" y="12183"/>
                            </a:lnTo>
                            <a:lnTo>
                              <a:pt x="47224" y="12559"/>
                            </a:lnTo>
                            <a:lnTo>
                              <a:pt x="47098" y="12685"/>
                            </a:lnTo>
                            <a:lnTo>
                              <a:pt x="46345" y="13187"/>
                            </a:lnTo>
                            <a:lnTo>
                              <a:pt x="34664" y="19970"/>
                            </a:lnTo>
                            <a:lnTo>
                              <a:pt x="34036" y="20221"/>
                            </a:lnTo>
                            <a:lnTo>
                              <a:pt x="32780" y="20974"/>
                            </a:lnTo>
                            <a:lnTo>
                              <a:pt x="32152" y="21351"/>
                            </a:lnTo>
                            <a:lnTo>
                              <a:pt x="32027" y="21477"/>
                            </a:lnTo>
                            <a:lnTo>
                              <a:pt x="32027" y="21477"/>
                            </a:lnTo>
                            <a:lnTo>
                              <a:pt x="31650" y="21602"/>
                            </a:lnTo>
                            <a:lnTo>
                              <a:pt x="29892" y="22733"/>
                            </a:lnTo>
                            <a:lnTo>
                              <a:pt x="29766" y="22733"/>
                            </a:lnTo>
                            <a:lnTo>
                              <a:pt x="29515" y="22858"/>
                            </a:lnTo>
                            <a:lnTo>
                              <a:pt x="21728" y="27380"/>
                            </a:lnTo>
                            <a:lnTo>
                              <a:pt x="21226" y="27631"/>
                            </a:lnTo>
                            <a:lnTo>
                              <a:pt x="21226" y="27631"/>
                            </a:lnTo>
                            <a:lnTo>
                              <a:pt x="15197" y="31148"/>
                            </a:lnTo>
                            <a:lnTo>
                              <a:pt x="15071" y="31148"/>
                            </a:lnTo>
                            <a:lnTo>
                              <a:pt x="14946" y="31148"/>
                            </a:lnTo>
                            <a:lnTo>
                              <a:pt x="14569" y="30771"/>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4993"/>
                            </a:lnTo>
                            <a:lnTo>
                              <a:pt x="4144" y="24868"/>
                            </a:lnTo>
                            <a:lnTo>
                              <a:pt x="4144" y="24742"/>
                            </a:lnTo>
                            <a:lnTo>
                              <a:pt x="3391" y="24365"/>
                            </a:lnTo>
                            <a:lnTo>
                              <a:pt x="3391" y="24365"/>
                            </a:lnTo>
                            <a:lnTo>
                              <a:pt x="3140" y="24240"/>
                            </a:lnTo>
                            <a:lnTo>
                              <a:pt x="2512" y="23863"/>
                            </a:lnTo>
                            <a:lnTo>
                              <a:pt x="2512" y="23863"/>
                            </a:lnTo>
                            <a:lnTo>
                              <a:pt x="1884" y="23612"/>
                            </a:lnTo>
                            <a:lnTo>
                              <a:pt x="1758" y="23361"/>
                            </a:lnTo>
                            <a:lnTo>
                              <a:pt x="0" y="22356"/>
                            </a:lnTo>
                            <a:lnTo>
                              <a:pt x="5400" y="19216"/>
                            </a:lnTo>
                            <a:lnTo>
                              <a:pt x="5400" y="19216"/>
                            </a:lnTo>
                            <a:lnTo>
                              <a:pt x="5652" y="19216"/>
                            </a:lnTo>
                            <a:lnTo>
                              <a:pt x="5652" y="19090"/>
                            </a:lnTo>
                            <a:lnTo>
                              <a:pt x="5903" y="18965"/>
                            </a:lnTo>
                            <a:lnTo>
                              <a:pt x="6029" y="18965"/>
                            </a:lnTo>
                            <a:lnTo>
                              <a:pt x="6154" y="18839"/>
                            </a:lnTo>
                            <a:lnTo>
                              <a:pt x="6154" y="18839"/>
                            </a:lnTo>
                            <a:lnTo>
                              <a:pt x="21602" y="9922"/>
                            </a:lnTo>
                            <a:lnTo>
                              <a:pt x="21979" y="9671"/>
                            </a:lnTo>
                            <a:lnTo>
                              <a:pt x="22356" y="9545"/>
                            </a:lnTo>
                            <a:lnTo>
                              <a:pt x="22607" y="9294"/>
                            </a:lnTo>
                            <a:lnTo>
                              <a:pt x="38809" y="0"/>
                            </a:lnTo>
                            <a:lnTo>
                              <a:pt x="39688" y="502"/>
                            </a:lnTo>
                            <a:lnTo>
                              <a:pt x="39939" y="628"/>
                            </a:lnTo>
                            <a:lnTo>
                              <a:pt x="41195" y="1382"/>
                            </a:lnTo>
                            <a:lnTo>
                              <a:pt x="41446" y="1507"/>
                            </a:lnTo>
                            <a:lnTo>
                              <a:pt x="42576" y="2135"/>
                            </a:lnTo>
                            <a:lnTo>
                              <a:pt x="42828" y="2261"/>
                            </a:lnTo>
                            <a:lnTo>
                              <a:pt x="43330" y="2637"/>
                            </a:lnTo>
                            <a:lnTo>
                              <a:pt x="43330" y="2637"/>
                            </a:lnTo>
                            <a:lnTo>
                              <a:pt x="44335" y="3140"/>
                            </a:lnTo>
                            <a:lnTo>
                              <a:pt x="44586" y="3265"/>
                            </a:lnTo>
                            <a:lnTo>
                              <a:pt x="45340" y="3768"/>
                            </a:lnTo>
                            <a:lnTo>
                              <a:pt x="45340" y="3768"/>
                            </a:lnTo>
                            <a:lnTo>
                              <a:pt x="46470" y="4396"/>
                            </a:lnTo>
                            <a:lnTo>
                              <a:pt x="46721" y="4521"/>
                            </a:lnTo>
                            <a:lnTo>
                              <a:pt x="47098" y="4773"/>
                            </a:lnTo>
                            <a:lnTo>
                              <a:pt x="47852" y="5149"/>
                            </a:lnTo>
                            <a:lnTo>
                              <a:pt x="47852" y="5275"/>
                            </a:lnTo>
                            <a:lnTo>
                              <a:pt x="48228" y="5401"/>
                            </a:lnTo>
                            <a:lnTo>
                              <a:pt x="48354" y="5526"/>
                            </a:lnTo>
                            <a:lnTo>
                              <a:pt x="48856" y="5777"/>
                            </a:lnTo>
                            <a:lnTo>
                              <a:pt x="48982" y="5903"/>
                            </a:lnTo>
                            <a:lnTo>
                              <a:pt x="49610" y="6154"/>
                            </a:lnTo>
                            <a:lnTo>
                              <a:pt x="49861" y="6405"/>
                            </a:lnTo>
                            <a:lnTo>
                              <a:pt x="50112" y="6531"/>
                            </a:lnTo>
                            <a:lnTo>
                              <a:pt x="50112" y="6531"/>
                            </a:lnTo>
                            <a:lnTo>
                              <a:pt x="50238" y="6531"/>
                            </a:lnTo>
                            <a:lnTo>
                              <a:pt x="50740" y="6782"/>
                            </a:lnTo>
                            <a:lnTo>
                              <a:pt x="50991" y="6908"/>
                            </a:lnTo>
                            <a:lnTo>
                              <a:pt x="51117" y="7159"/>
                            </a:lnTo>
                            <a:lnTo>
                              <a:pt x="51243" y="7159"/>
                            </a:lnTo>
                            <a:lnTo>
                              <a:pt x="51368" y="7159"/>
                            </a:lnTo>
                            <a:lnTo>
                              <a:pt x="51619" y="7410"/>
                            </a:lnTo>
                            <a:lnTo>
                              <a:pt x="51745" y="7410"/>
                            </a:lnTo>
                            <a:lnTo>
                              <a:pt x="52247" y="7787"/>
                            </a:lnTo>
                            <a:lnTo>
                              <a:pt x="52373" y="7787"/>
                            </a:lnTo>
                            <a:lnTo>
                              <a:pt x="52750" y="8038"/>
                            </a:lnTo>
                            <a:lnTo>
                              <a:pt x="52875" y="8164"/>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78" name="Freeform: Shape 1977">
                      <a:extLst>
                        <a:ext uri="{FF2B5EF4-FFF2-40B4-BE49-F238E27FC236}">
                          <a16:creationId xmlns:a16="http://schemas.microsoft.com/office/drawing/2014/main" id="{2F142CED-A4D5-4523-9E87-7A4B660DC716}"/>
                        </a:ext>
                      </a:extLst>
                    </p:cNvPr>
                    <p:cNvSpPr/>
                    <p:nvPr/>
                  </p:nvSpPr>
                  <p:spPr>
                    <a:xfrm>
                      <a:off x="3852498" y="1654310"/>
                      <a:ext cx="15196" cy="10801"/>
                    </a:xfrm>
                    <a:custGeom>
                      <a:avLst/>
                      <a:gdLst>
                        <a:gd name="connsiteX0" fmla="*/ 15197 w 15196"/>
                        <a:gd name="connsiteY0" fmla="*/ 8666 h 10801"/>
                        <a:gd name="connsiteX1" fmla="*/ 15197 w 15196"/>
                        <a:gd name="connsiteY1" fmla="*/ 10801 h 10801"/>
                        <a:gd name="connsiteX2" fmla="*/ 0 w 15196"/>
                        <a:gd name="connsiteY2" fmla="*/ 2010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010"/>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79" name="Graphic 4">
                    <a:extLst>
                      <a:ext uri="{FF2B5EF4-FFF2-40B4-BE49-F238E27FC236}">
                        <a16:creationId xmlns:a16="http://schemas.microsoft.com/office/drawing/2014/main" id="{84FB7ED1-A2DF-40A1-A747-5F7CF3F14040}"/>
                      </a:ext>
                    </a:extLst>
                  </p:cNvPr>
                  <p:cNvGrpSpPr/>
                  <p:nvPr/>
                </p:nvGrpSpPr>
                <p:grpSpPr>
                  <a:xfrm>
                    <a:off x="3869705" y="1641625"/>
                    <a:ext cx="54005" cy="33408"/>
                    <a:chOff x="3869705" y="1641625"/>
                    <a:chExt cx="54005" cy="33408"/>
                  </a:xfrm>
                  <a:solidFill>
                    <a:schemeClr val="accent1"/>
                  </a:solidFill>
                </p:grpSpPr>
                <p:grpSp>
                  <p:nvGrpSpPr>
                    <p:cNvPr id="1980" name="Graphic 4">
                      <a:extLst>
                        <a:ext uri="{FF2B5EF4-FFF2-40B4-BE49-F238E27FC236}">
                          <a16:creationId xmlns:a16="http://schemas.microsoft.com/office/drawing/2014/main" id="{84FB7ED1-A2DF-40A1-A747-5F7CF3F14040}"/>
                        </a:ext>
                      </a:extLst>
                    </p:cNvPr>
                    <p:cNvGrpSpPr/>
                    <p:nvPr/>
                  </p:nvGrpSpPr>
                  <p:grpSpPr>
                    <a:xfrm>
                      <a:off x="3869705" y="1641625"/>
                      <a:ext cx="54005" cy="33408"/>
                      <a:chOff x="3869705" y="1641625"/>
                      <a:chExt cx="54005" cy="33408"/>
                    </a:xfrm>
                    <a:solidFill>
                      <a:schemeClr val="accent1"/>
                    </a:solidFill>
                  </p:grpSpPr>
                  <p:sp>
                    <p:nvSpPr>
                      <p:cNvPr id="1981" name="Freeform: Shape 1980">
                        <a:extLst>
                          <a:ext uri="{FF2B5EF4-FFF2-40B4-BE49-F238E27FC236}">
                            <a16:creationId xmlns:a16="http://schemas.microsoft.com/office/drawing/2014/main" id="{09039B65-7B4C-486A-BCD8-74AE7B4B8866}"/>
                          </a:ext>
                        </a:extLst>
                      </p:cNvPr>
                      <p:cNvSpPr/>
                      <p:nvPr/>
                    </p:nvSpPr>
                    <p:spPr>
                      <a:xfrm>
                        <a:off x="3869705" y="1643760"/>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187 h 31273"/>
                          <a:gd name="connsiteX9" fmla="*/ 34790 w 54005"/>
                          <a:gd name="connsiteY9" fmla="*/ 19970 h 31273"/>
                          <a:gd name="connsiteX10" fmla="*/ 34790 w 54005"/>
                          <a:gd name="connsiteY10" fmla="*/ 19970 h 31273"/>
                          <a:gd name="connsiteX11" fmla="*/ 34162 w 54005"/>
                          <a:gd name="connsiteY11" fmla="*/ 20346 h 31273"/>
                          <a:gd name="connsiteX12" fmla="*/ 32780 w 54005"/>
                          <a:gd name="connsiteY12" fmla="*/ 21100 h 31273"/>
                          <a:gd name="connsiteX13" fmla="*/ 32780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775 w 54005"/>
                          <a:gd name="connsiteY17" fmla="*/ 21728 h 31273"/>
                          <a:gd name="connsiteX18" fmla="*/ 31775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380 h 31273"/>
                          <a:gd name="connsiteX23" fmla="*/ 21728 w 54005"/>
                          <a:gd name="connsiteY23" fmla="*/ 27380 h 31273"/>
                          <a:gd name="connsiteX24" fmla="*/ 21226 w 54005"/>
                          <a:gd name="connsiteY24" fmla="*/ 27756 h 31273"/>
                          <a:gd name="connsiteX25" fmla="*/ 21226 w 54005"/>
                          <a:gd name="connsiteY25" fmla="*/ 27756 h 31273"/>
                          <a:gd name="connsiteX26" fmla="*/ 15197 w 54005"/>
                          <a:gd name="connsiteY26" fmla="*/ 31273 h 31273"/>
                          <a:gd name="connsiteX27" fmla="*/ 15197 w 54005"/>
                          <a:gd name="connsiteY27" fmla="*/ 31148 h 31273"/>
                          <a:gd name="connsiteX28" fmla="*/ 15072 w 54005"/>
                          <a:gd name="connsiteY28" fmla="*/ 31148 h 31273"/>
                          <a:gd name="connsiteX29" fmla="*/ 14569 w 54005"/>
                          <a:gd name="connsiteY29" fmla="*/ 30896 h 31273"/>
                          <a:gd name="connsiteX30" fmla="*/ 14569 w 54005"/>
                          <a:gd name="connsiteY30" fmla="*/ 30896 h 31273"/>
                          <a:gd name="connsiteX31" fmla="*/ 14569 w 54005"/>
                          <a:gd name="connsiteY31" fmla="*/ 30896 h 31273"/>
                          <a:gd name="connsiteX32" fmla="*/ 13941 w 54005"/>
                          <a:gd name="connsiteY32" fmla="*/ 30520 h 31273"/>
                          <a:gd name="connsiteX33" fmla="*/ 13816 w 54005"/>
                          <a:gd name="connsiteY33" fmla="*/ 30394 h 31273"/>
                          <a:gd name="connsiteX34" fmla="*/ 12559 w 54005"/>
                          <a:gd name="connsiteY34" fmla="*/ 29640 h 31273"/>
                          <a:gd name="connsiteX35" fmla="*/ 12434 w 54005"/>
                          <a:gd name="connsiteY35" fmla="*/ 29640 h 31273"/>
                          <a:gd name="connsiteX36" fmla="*/ 11680 w 54005"/>
                          <a:gd name="connsiteY36" fmla="*/ 29264 h 31273"/>
                          <a:gd name="connsiteX37" fmla="*/ 11429 w 54005"/>
                          <a:gd name="connsiteY37" fmla="*/ 29012 h 31273"/>
                          <a:gd name="connsiteX38" fmla="*/ 10801 w 54005"/>
                          <a:gd name="connsiteY38" fmla="*/ 28636 h 31273"/>
                          <a:gd name="connsiteX39" fmla="*/ 10676 w 54005"/>
                          <a:gd name="connsiteY39" fmla="*/ 28636 h 31273"/>
                          <a:gd name="connsiteX40" fmla="*/ 10047 w 54005"/>
                          <a:gd name="connsiteY40" fmla="*/ 28259 h 31273"/>
                          <a:gd name="connsiteX41" fmla="*/ 9922 w 54005"/>
                          <a:gd name="connsiteY41" fmla="*/ 28133 h 31273"/>
                          <a:gd name="connsiteX42" fmla="*/ 9169 w 54005"/>
                          <a:gd name="connsiteY42" fmla="*/ 27756 h 31273"/>
                          <a:gd name="connsiteX43" fmla="*/ 9043 w 54005"/>
                          <a:gd name="connsiteY43" fmla="*/ 27631 h 31273"/>
                          <a:gd name="connsiteX44" fmla="*/ 9043 w 54005"/>
                          <a:gd name="connsiteY44" fmla="*/ 27631 h 31273"/>
                          <a:gd name="connsiteX45" fmla="*/ 8164 w 54005"/>
                          <a:gd name="connsiteY45" fmla="*/ 27128 h 31273"/>
                          <a:gd name="connsiteX46" fmla="*/ 8038 w 54005"/>
                          <a:gd name="connsiteY46" fmla="*/ 27128 h 31273"/>
                          <a:gd name="connsiteX47" fmla="*/ 7661 w 54005"/>
                          <a:gd name="connsiteY47" fmla="*/ 26877 h 31273"/>
                          <a:gd name="connsiteX48" fmla="*/ 7536 w 54005"/>
                          <a:gd name="connsiteY48" fmla="*/ 26752 h 31273"/>
                          <a:gd name="connsiteX49" fmla="*/ 6908 w 54005"/>
                          <a:gd name="connsiteY49" fmla="*/ 26375 h 31273"/>
                          <a:gd name="connsiteX50" fmla="*/ 6782 w 54005"/>
                          <a:gd name="connsiteY50" fmla="*/ 26375 h 31273"/>
                          <a:gd name="connsiteX51" fmla="*/ 5777 w 54005"/>
                          <a:gd name="connsiteY51" fmla="*/ 25747 h 31273"/>
                          <a:gd name="connsiteX52" fmla="*/ 5526 w 54005"/>
                          <a:gd name="connsiteY52" fmla="*/ 25621 h 31273"/>
                          <a:gd name="connsiteX53" fmla="*/ 4647 w 54005"/>
                          <a:gd name="connsiteY53" fmla="*/ 25119 h 31273"/>
                          <a:gd name="connsiteX54" fmla="*/ 4522 w 54005"/>
                          <a:gd name="connsiteY54" fmla="*/ 25119 h 31273"/>
                          <a:gd name="connsiteX55" fmla="*/ 4270 w 54005"/>
                          <a:gd name="connsiteY55" fmla="*/ 24868 h 31273"/>
                          <a:gd name="connsiteX56" fmla="*/ 4144 w 54005"/>
                          <a:gd name="connsiteY56" fmla="*/ 24868 h 31273"/>
                          <a:gd name="connsiteX57" fmla="*/ 3517 w 54005"/>
                          <a:gd name="connsiteY57" fmla="*/ 24491 h 31273"/>
                          <a:gd name="connsiteX58" fmla="*/ 3517 w 54005"/>
                          <a:gd name="connsiteY58" fmla="*/ 24491 h 31273"/>
                          <a:gd name="connsiteX59" fmla="*/ 3266 w 54005"/>
                          <a:gd name="connsiteY59" fmla="*/ 24365 h 31273"/>
                          <a:gd name="connsiteX60" fmla="*/ 2637 w 54005"/>
                          <a:gd name="connsiteY60" fmla="*/ 23989 h 31273"/>
                          <a:gd name="connsiteX61" fmla="*/ 2512 w 54005"/>
                          <a:gd name="connsiteY61" fmla="*/ 23863 h 31273"/>
                          <a:gd name="connsiteX62" fmla="*/ 2010 w 54005"/>
                          <a:gd name="connsiteY62" fmla="*/ 23612 h 31273"/>
                          <a:gd name="connsiteX63" fmla="*/ 1759 w 54005"/>
                          <a:gd name="connsiteY63" fmla="*/ 23486 h 31273"/>
                          <a:gd name="connsiteX64" fmla="*/ 0 w 54005"/>
                          <a:gd name="connsiteY64" fmla="*/ 22481 h 31273"/>
                          <a:gd name="connsiteX65" fmla="*/ 0 w 54005"/>
                          <a:gd name="connsiteY65" fmla="*/ 20346 h 31273"/>
                          <a:gd name="connsiteX66" fmla="*/ 38934 w 54005"/>
                          <a:gd name="connsiteY66" fmla="*/ 0 h 31273"/>
                          <a:gd name="connsiteX67" fmla="*/ 39814 w 54005"/>
                          <a:gd name="connsiteY67" fmla="*/ 502 h 31273"/>
                          <a:gd name="connsiteX68" fmla="*/ 40065 w 54005"/>
                          <a:gd name="connsiteY68" fmla="*/ 628 h 31273"/>
                          <a:gd name="connsiteX69" fmla="*/ 41195 w 54005"/>
                          <a:gd name="connsiteY69" fmla="*/ 1382 h 31273"/>
                          <a:gd name="connsiteX70" fmla="*/ 41572 w 54005"/>
                          <a:gd name="connsiteY70" fmla="*/ 1507 h 31273"/>
                          <a:gd name="connsiteX71" fmla="*/ 42702 w 54005"/>
                          <a:gd name="connsiteY71" fmla="*/ 2135 h 31273"/>
                          <a:gd name="connsiteX72" fmla="*/ 42828 w 54005"/>
                          <a:gd name="connsiteY72" fmla="*/ 2261 h 31273"/>
                          <a:gd name="connsiteX73" fmla="*/ 43330 w 54005"/>
                          <a:gd name="connsiteY73" fmla="*/ 2637 h 31273"/>
                          <a:gd name="connsiteX74" fmla="*/ 43456 w 54005"/>
                          <a:gd name="connsiteY74" fmla="*/ 2637 h 31273"/>
                          <a:gd name="connsiteX75" fmla="*/ 43456 w 54005"/>
                          <a:gd name="connsiteY75" fmla="*/ 2637 h 31273"/>
                          <a:gd name="connsiteX76" fmla="*/ 44461 w 54005"/>
                          <a:gd name="connsiteY76" fmla="*/ 3265 h 31273"/>
                          <a:gd name="connsiteX77" fmla="*/ 44712 w 54005"/>
                          <a:gd name="connsiteY77" fmla="*/ 3391 h 31273"/>
                          <a:gd name="connsiteX78" fmla="*/ 45340 w 54005"/>
                          <a:gd name="connsiteY78" fmla="*/ 3768 h 31273"/>
                          <a:gd name="connsiteX79" fmla="*/ 45465 w 54005"/>
                          <a:gd name="connsiteY79" fmla="*/ 3768 h 31273"/>
                          <a:gd name="connsiteX80" fmla="*/ 46596 w 54005"/>
                          <a:gd name="connsiteY80" fmla="*/ 4521 h 31273"/>
                          <a:gd name="connsiteX81" fmla="*/ 46847 w 54005"/>
                          <a:gd name="connsiteY81" fmla="*/ 4647 h 31273"/>
                          <a:gd name="connsiteX82" fmla="*/ 47098 w 54005"/>
                          <a:gd name="connsiteY82" fmla="*/ 4773 h 31273"/>
                          <a:gd name="connsiteX83" fmla="*/ 47224 w 54005"/>
                          <a:gd name="connsiteY83" fmla="*/ 4773 h 31273"/>
                          <a:gd name="connsiteX84" fmla="*/ 47852 w 54005"/>
                          <a:gd name="connsiteY84" fmla="*/ 5149 h 31273"/>
                          <a:gd name="connsiteX85" fmla="*/ 47977 w 54005"/>
                          <a:gd name="connsiteY85" fmla="*/ 5275 h 31273"/>
                          <a:gd name="connsiteX86" fmla="*/ 48354 w 54005"/>
                          <a:gd name="connsiteY86" fmla="*/ 5526 h 31273"/>
                          <a:gd name="connsiteX87" fmla="*/ 48480 w 54005"/>
                          <a:gd name="connsiteY87" fmla="*/ 5526 h 31273"/>
                          <a:gd name="connsiteX88" fmla="*/ 48857 w 54005"/>
                          <a:gd name="connsiteY88" fmla="*/ 5777 h 31273"/>
                          <a:gd name="connsiteX89" fmla="*/ 49108 w 54005"/>
                          <a:gd name="connsiteY89" fmla="*/ 5903 h 31273"/>
                          <a:gd name="connsiteX90" fmla="*/ 49610 w 54005"/>
                          <a:gd name="connsiteY90" fmla="*/ 6280 h 31273"/>
                          <a:gd name="connsiteX91" fmla="*/ 49987 w 54005"/>
                          <a:gd name="connsiteY91" fmla="*/ 6405 h 31273"/>
                          <a:gd name="connsiteX92" fmla="*/ 50238 w 54005"/>
                          <a:gd name="connsiteY92" fmla="*/ 6531 h 31273"/>
                          <a:gd name="connsiteX93" fmla="*/ 50238 w 54005"/>
                          <a:gd name="connsiteY93" fmla="*/ 6531 h 31273"/>
                          <a:gd name="connsiteX94" fmla="*/ 50364 w 54005"/>
                          <a:gd name="connsiteY94" fmla="*/ 6657 h 31273"/>
                          <a:gd name="connsiteX95" fmla="*/ 50740 w 54005"/>
                          <a:gd name="connsiteY95" fmla="*/ 6908 h 31273"/>
                          <a:gd name="connsiteX96" fmla="*/ 50991 w 54005"/>
                          <a:gd name="connsiteY96" fmla="*/ 7033 h 31273"/>
                          <a:gd name="connsiteX97" fmla="*/ 51243 w 54005"/>
                          <a:gd name="connsiteY97" fmla="*/ 7159 h 31273"/>
                          <a:gd name="connsiteX98" fmla="*/ 51243 w 54005"/>
                          <a:gd name="connsiteY98" fmla="*/ 7159 h 31273"/>
                          <a:gd name="connsiteX99" fmla="*/ 51368 w 54005"/>
                          <a:gd name="connsiteY99" fmla="*/ 7284 h 31273"/>
                          <a:gd name="connsiteX100" fmla="*/ 51620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187"/>
                            </a:lnTo>
                            <a:lnTo>
                              <a:pt x="34790" y="19970"/>
                            </a:lnTo>
                            <a:lnTo>
                              <a:pt x="34790" y="19970"/>
                            </a:lnTo>
                            <a:lnTo>
                              <a:pt x="34162" y="20346"/>
                            </a:lnTo>
                            <a:lnTo>
                              <a:pt x="32780" y="21100"/>
                            </a:lnTo>
                            <a:lnTo>
                              <a:pt x="32780" y="21100"/>
                            </a:lnTo>
                            <a:lnTo>
                              <a:pt x="32152" y="21477"/>
                            </a:lnTo>
                            <a:lnTo>
                              <a:pt x="32027" y="21477"/>
                            </a:lnTo>
                            <a:lnTo>
                              <a:pt x="32027" y="21477"/>
                            </a:lnTo>
                            <a:lnTo>
                              <a:pt x="31775" y="21728"/>
                            </a:lnTo>
                            <a:lnTo>
                              <a:pt x="31775" y="21728"/>
                            </a:lnTo>
                            <a:lnTo>
                              <a:pt x="29892" y="22733"/>
                            </a:lnTo>
                            <a:lnTo>
                              <a:pt x="29892" y="22733"/>
                            </a:lnTo>
                            <a:lnTo>
                              <a:pt x="29515" y="22984"/>
                            </a:lnTo>
                            <a:lnTo>
                              <a:pt x="21728" y="27380"/>
                            </a:lnTo>
                            <a:lnTo>
                              <a:pt x="21728" y="27380"/>
                            </a:lnTo>
                            <a:lnTo>
                              <a:pt x="21226" y="27756"/>
                            </a:lnTo>
                            <a:lnTo>
                              <a:pt x="21226" y="27756"/>
                            </a:lnTo>
                            <a:lnTo>
                              <a:pt x="15197" y="31273"/>
                            </a:lnTo>
                            <a:lnTo>
                              <a:pt x="15197" y="31148"/>
                            </a:lnTo>
                            <a:lnTo>
                              <a:pt x="15072" y="31148"/>
                            </a:lnTo>
                            <a:lnTo>
                              <a:pt x="14569" y="30896"/>
                            </a:lnTo>
                            <a:lnTo>
                              <a:pt x="14569" y="30896"/>
                            </a:lnTo>
                            <a:lnTo>
                              <a:pt x="14569" y="30896"/>
                            </a:lnTo>
                            <a:lnTo>
                              <a:pt x="13941" y="30520"/>
                            </a:lnTo>
                            <a:lnTo>
                              <a:pt x="13816" y="30394"/>
                            </a:lnTo>
                            <a:lnTo>
                              <a:pt x="12559" y="29640"/>
                            </a:lnTo>
                            <a:lnTo>
                              <a:pt x="12434" y="29640"/>
                            </a:lnTo>
                            <a:lnTo>
                              <a:pt x="11680" y="29264"/>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135"/>
                            </a:lnTo>
                            <a:lnTo>
                              <a:pt x="42828" y="2261"/>
                            </a:lnTo>
                            <a:lnTo>
                              <a:pt x="43330" y="2637"/>
                            </a:lnTo>
                            <a:lnTo>
                              <a:pt x="43456" y="2637"/>
                            </a:lnTo>
                            <a:lnTo>
                              <a:pt x="43456" y="2637"/>
                            </a:lnTo>
                            <a:lnTo>
                              <a:pt x="44461" y="3265"/>
                            </a:lnTo>
                            <a:lnTo>
                              <a:pt x="44712" y="3391"/>
                            </a:lnTo>
                            <a:lnTo>
                              <a:pt x="45340" y="3768"/>
                            </a:lnTo>
                            <a:lnTo>
                              <a:pt x="45465" y="3768"/>
                            </a:lnTo>
                            <a:lnTo>
                              <a:pt x="46596" y="4521"/>
                            </a:lnTo>
                            <a:lnTo>
                              <a:pt x="46847" y="4647"/>
                            </a:lnTo>
                            <a:lnTo>
                              <a:pt x="47098" y="4773"/>
                            </a:lnTo>
                            <a:lnTo>
                              <a:pt x="47224" y="4773"/>
                            </a:lnTo>
                            <a:lnTo>
                              <a:pt x="47852" y="5149"/>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4"/>
                            </a:lnTo>
                            <a:lnTo>
                              <a:pt x="51620"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82" name="Freeform: Shape 1981">
                        <a:extLst>
                          <a:ext uri="{FF2B5EF4-FFF2-40B4-BE49-F238E27FC236}">
                            <a16:creationId xmlns:a16="http://schemas.microsoft.com/office/drawing/2014/main" id="{EAAF0F87-1CCA-4907-B73D-ABABC463CA33}"/>
                          </a:ext>
                        </a:extLst>
                      </p:cNvPr>
                      <p:cNvSpPr/>
                      <p:nvPr/>
                    </p:nvSpPr>
                    <p:spPr>
                      <a:xfrm>
                        <a:off x="3869705" y="1641625"/>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187 h 31273"/>
                          <a:gd name="connsiteX9" fmla="*/ 34790 w 54005"/>
                          <a:gd name="connsiteY9" fmla="*/ 19970 h 31273"/>
                          <a:gd name="connsiteX10" fmla="*/ 34162 w 54005"/>
                          <a:gd name="connsiteY10" fmla="*/ 20221 h 31273"/>
                          <a:gd name="connsiteX11" fmla="*/ 32780 w 54005"/>
                          <a:gd name="connsiteY11" fmla="*/ 21100 h 31273"/>
                          <a:gd name="connsiteX12" fmla="*/ 32152 w 54005"/>
                          <a:gd name="connsiteY12" fmla="*/ 21477 h 31273"/>
                          <a:gd name="connsiteX13" fmla="*/ 32027 w 54005"/>
                          <a:gd name="connsiteY13" fmla="*/ 21477 h 31273"/>
                          <a:gd name="connsiteX14" fmla="*/ 32027 w 54005"/>
                          <a:gd name="connsiteY14" fmla="*/ 21477 h 31273"/>
                          <a:gd name="connsiteX15" fmla="*/ 31775 w 54005"/>
                          <a:gd name="connsiteY15" fmla="*/ 21728 h 31273"/>
                          <a:gd name="connsiteX16" fmla="*/ 29892 w 54005"/>
                          <a:gd name="connsiteY16" fmla="*/ 22733 h 31273"/>
                          <a:gd name="connsiteX17" fmla="*/ 29892 w 54005"/>
                          <a:gd name="connsiteY17" fmla="*/ 22733 h 31273"/>
                          <a:gd name="connsiteX18" fmla="*/ 29515 w 54005"/>
                          <a:gd name="connsiteY18" fmla="*/ 22984 h 31273"/>
                          <a:gd name="connsiteX19" fmla="*/ 21728 w 54005"/>
                          <a:gd name="connsiteY19" fmla="*/ 27380 h 31273"/>
                          <a:gd name="connsiteX20" fmla="*/ 21226 w 54005"/>
                          <a:gd name="connsiteY20" fmla="*/ 27756 h 31273"/>
                          <a:gd name="connsiteX21" fmla="*/ 21226 w 54005"/>
                          <a:gd name="connsiteY21" fmla="*/ 27756 h 31273"/>
                          <a:gd name="connsiteX22" fmla="*/ 15197 w 54005"/>
                          <a:gd name="connsiteY22" fmla="*/ 31273 h 31273"/>
                          <a:gd name="connsiteX23" fmla="*/ 15197 w 54005"/>
                          <a:gd name="connsiteY23" fmla="*/ 31148 h 31273"/>
                          <a:gd name="connsiteX24" fmla="*/ 15072 w 54005"/>
                          <a:gd name="connsiteY24" fmla="*/ 31148 h 31273"/>
                          <a:gd name="connsiteX25" fmla="*/ 14569 w 54005"/>
                          <a:gd name="connsiteY25" fmla="*/ 30896 h 31273"/>
                          <a:gd name="connsiteX26" fmla="*/ 14569 w 54005"/>
                          <a:gd name="connsiteY26" fmla="*/ 30771 h 31273"/>
                          <a:gd name="connsiteX27" fmla="*/ 13941 w 54005"/>
                          <a:gd name="connsiteY27" fmla="*/ 30520 h 31273"/>
                          <a:gd name="connsiteX28" fmla="*/ 13816 w 54005"/>
                          <a:gd name="connsiteY28" fmla="*/ 30394 h 31273"/>
                          <a:gd name="connsiteX29" fmla="*/ 12559 w 54005"/>
                          <a:gd name="connsiteY29" fmla="*/ 29640 h 31273"/>
                          <a:gd name="connsiteX30" fmla="*/ 12434 w 54005"/>
                          <a:gd name="connsiteY30" fmla="*/ 29640 h 31273"/>
                          <a:gd name="connsiteX31" fmla="*/ 11680 w 54005"/>
                          <a:gd name="connsiteY31" fmla="*/ 29264 h 31273"/>
                          <a:gd name="connsiteX32" fmla="*/ 11429 w 54005"/>
                          <a:gd name="connsiteY32" fmla="*/ 29012 h 31273"/>
                          <a:gd name="connsiteX33" fmla="*/ 10801 w 54005"/>
                          <a:gd name="connsiteY33" fmla="*/ 28636 h 31273"/>
                          <a:gd name="connsiteX34" fmla="*/ 10676 w 54005"/>
                          <a:gd name="connsiteY34" fmla="*/ 28636 h 31273"/>
                          <a:gd name="connsiteX35" fmla="*/ 10047 w 54005"/>
                          <a:gd name="connsiteY35" fmla="*/ 28259 h 31273"/>
                          <a:gd name="connsiteX36" fmla="*/ 9922 w 54005"/>
                          <a:gd name="connsiteY36" fmla="*/ 28133 h 31273"/>
                          <a:gd name="connsiteX37" fmla="*/ 9169 w 54005"/>
                          <a:gd name="connsiteY37" fmla="*/ 27756 h 31273"/>
                          <a:gd name="connsiteX38" fmla="*/ 9043 w 54005"/>
                          <a:gd name="connsiteY38" fmla="*/ 27631 h 31273"/>
                          <a:gd name="connsiteX39" fmla="*/ 9043 w 54005"/>
                          <a:gd name="connsiteY39" fmla="*/ 27631 h 31273"/>
                          <a:gd name="connsiteX40" fmla="*/ 8164 w 54005"/>
                          <a:gd name="connsiteY40" fmla="*/ 27128 h 31273"/>
                          <a:gd name="connsiteX41" fmla="*/ 8038 w 54005"/>
                          <a:gd name="connsiteY41" fmla="*/ 27128 h 31273"/>
                          <a:gd name="connsiteX42" fmla="*/ 7661 w 54005"/>
                          <a:gd name="connsiteY42" fmla="*/ 26877 h 31273"/>
                          <a:gd name="connsiteX43" fmla="*/ 7536 w 54005"/>
                          <a:gd name="connsiteY43" fmla="*/ 26752 h 31273"/>
                          <a:gd name="connsiteX44" fmla="*/ 6908 w 54005"/>
                          <a:gd name="connsiteY44" fmla="*/ 26375 h 31273"/>
                          <a:gd name="connsiteX45" fmla="*/ 6782 w 54005"/>
                          <a:gd name="connsiteY45" fmla="*/ 26375 h 31273"/>
                          <a:gd name="connsiteX46" fmla="*/ 5777 w 54005"/>
                          <a:gd name="connsiteY46" fmla="*/ 25747 h 31273"/>
                          <a:gd name="connsiteX47" fmla="*/ 5526 w 54005"/>
                          <a:gd name="connsiteY47" fmla="*/ 25621 h 31273"/>
                          <a:gd name="connsiteX48" fmla="*/ 4647 w 54005"/>
                          <a:gd name="connsiteY48" fmla="*/ 25119 h 31273"/>
                          <a:gd name="connsiteX49" fmla="*/ 4522 w 54005"/>
                          <a:gd name="connsiteY49" fmla="*/ 25119 h 31273"/>
                          <a:gd name="connsiteX50" fmla="*/ 4270 w 54005"/>
                          <a:gd name="connsiteY50" fmla="*/ 24868 h 31273"/>
                          <a:gd name="connsiteX51" fmla="*/ 4144 w 54005"/>
                          <a:gd name="connsiteY51" fmla="*/ 24868 h 31273"/>
                          <a:gd name="connsiteX52" fmla="*/ 3517 w 54005"/>
                          <a:gd name="connsiteY52" fmla="*/ 24491 h 31273"/>
                          <a:gd name="connsiteX53" fmla="*/ 3517 w 54005"/>
                          <a:gd name="connsiteY53" fmla="*/ 24491 h 31273"/>
                          <a:gd name="connsiteX54" fmla="*/ 3266 w 54005"/>
                          <a:gd name="connsiteY54" fmla="*/ 24365 h 31273"/>
                          <a:gd name="connsiteX55" fmla="*/ 2637 w 54005"/>
                          <a:gd name="connsiteY55" fmla="*/ 23989 h 31273"/>
                          <a:gd name="connsiteX56" fmla="*/ 2512 w 54005"/>
                          <a:gd name="connsiteY56" fmla="*/ 23863 h 31273"/>
                          <a:gd name="connsiteX57" fmla="*/ 2010 w 54005"/>
                          <a:gd name="connsiteY57" fmla="*/ 23612 h 31273"/>
                          <a:gd name="connsiteX58" fmla="*/ 1759 w 54005"/>
                          <a:gd name="connsiteY58" fmla="*/ 23486 h 31273"/>
                          <a:gd name="connsiteX59" fmla="*/ 0 w 54005"/>
                          <a:gd name="connsiteY59" fmla="*/ 22481 h 31273"/>
                          <a:gd name="connsiteX60" fmla="*/ 5526 w 54005"/>
                          <a:gd name="connsiteY60" fmla="*/ 19342 h 31273"/>
                          <a:gd name="connsiteX61" fmla="*/ 5526 w 54005"/>
                          <a:gd name="connsiteY61" fmla="*/ 19342 h 31273"/>
                          <a:gd name="connsiteX62" fmla="*/ 5652 w 54005"/>
                          <a:gd name="connsiteY62" fmla="*/ 19216 h 31273"/>
                          <a:gd name="connsiteX63" fmla="*/ 5777 w 54005"/>
                          <a:gd name="connsiteY63" fmla="*/ 19216 h 31273"/>
                          <a:gd name="connsiteX64" fmla="*/ 6029 w 54005"/>
                          <a:gd name="connsiteY64" fmla="*/ 18965 h 31273"/>
                          <a:gd name="connsiteX65" fmla="*/ 6029 w 54005"/>
                          <a:gd name="connsiteY65" fmla="*/ 18965 h 31273"/>
                          <a:gd name="connsiteX66" fmla="*/ 6280 w 54005"/>
                          <a:gd name="connsiteY66" fmla="*/ 18839 h 31273"/>
                          <a:gd name="connsiteX67" fmla="*/ 6280 w 54005"/>
                          <a:gd name="connsiteY67" fmla="*/ 18839 h 31273"/>
                          <a:gd name="connsiteX68" fmla="*/ 21728 w 54005"/>
                          <a:gd name="connsiteY68" fmla="*/ 9922 h 31273"/>
                          <a:gd name="connsiteX69" fmla="*/ 21979 w 54005"/>
                          <a:gd name="connsiteY69" fmla="*/ 9796 h 31273"/>
                          <a:gd name="connsiteX70" fmla="*/ 22482 w 54005"/>
                          <a:gd name="connsiteY70" fmla="*/ 9545 h 31273"/>
                          <a:gd name="connsiteX71" fmla="*/ 22733 w 54005"/>
                          <a:gd name="connsiteY71" fmla="*/ 9420 h 31273"/>
                          <a:gd name="connsiteX72" fmla="*/ 38934 w 54005"/>
                          <a:gd name="connsiteY72" fmla="*/ 0 h 31273"/>
                          <a:gd name="connsiteX73" fmla="*/ 39814 w 54005"/>
                          <a:gd name="connsiteY73" fmla="*/ 502 h 31273"/>
                          <a:gd name="connsiteX74" fmla="*/ 40065 w 54005"/>
                          <a:gd name="connsiteY74" fmla="*/ 628 h 31273"/>
                          <a:gd name="connsiteX75" fmla="*/ 41195 w 54005"/>
                          <a:gd name="connsiteY75" fmla="*/ 1382 h 31273"/>
                          <a:gd name="connsiteX76" fmla="*/ 41572 w 54005"/>
                          <a:gd name="connsiteY76" fmla="*/ 1507 h 31273"/>
                          <a:gd name="connsiteX77" fmla="*/ 42702 w 54005"/>
                          <a:gd name="connsiteY77" fmla="*/ 2261 h 31273"/>
                          <a:gd name="connsiteX78" fmla="*/ 42828 w 54005"/>
                          <a:gd name="connsiteY78" fmla="*/ 2261 h 31273"/>
                          <a:gd name="connsiteX79" fmla="*/ 43330 w 54005"/>
                          <a:gd name="connsiteY79" fmla="*/ 2638 h 31273"/>
                          <a:gd name="connsiteX80" fmla="*/ 43456 w 54005"/>
                          <a:gd name="connsiteY80" fmla="*/ 2638 h 31273"/>
                          <a:gd name="connsiteX81" fmla="*/ 44461 w 54005"/>
                          <a:gd name="connsiteY81" fmla="*/ 3265 h 31273"/>
                          <a:gd name="connsiteX82" fmla="*/ 44712 w 54005"/>
                          <a:gd name="connsiteY82" fmla="*/ 3391 h 31273"/>
                          <a:gd name="connsiteX83" fmla="*/ 45340 w 54005"/>
                          <a:gd name="connsiteY83" fmla="*/ 3768 h 31273"/>
                          <a:gd name="connsiteX84" fmla="*/ 45465 w 54005"/>
                          <a:gd name="connsiteY84" fmla="*/ 3768 h 31273"/>
                          <a:gd name="connsiteX85" fmla="*/ 46596 w 54005"/>
                          <a:gd name="connsiteY85" fmla="*/ 4521 h 31273"/>
                          <a:gd name="connsiteX86" fmla="*/ 46847 w 54005"/>
                          <a:gd name="connsiteY86" fmla="*/ 4647 h 31273"/>
                          <a:gd name="connsiteX87" fmla="*/ 47224 w 54005"/>
                          <a:gd name="connsiteY87" fmla="*/ 4773 h 31273"/>
                          <a:gd name="connsiteX88" fmla="*/ 47852 w 54005"/>
                          <a:gd name="connsiteY88" fmla="*/ 5149 h 31273"/>
                          <a:gd name="connsiteX89" fmla="*/ 47977 w 54005"/>
                          <a:gd name="connsiteY89" fmla="*/ 5275 h 31273"/>
                          <a:gd name="connsiteX90" fmla="*/ 48354 w 54005"/>
                          <a:gd name="connsiteY90" fmla="*/ 5526 h 31273"/>
                          <a:gd name="connsiteX91" fmla="*/ 48480 w 54005"/>
                          <a:gd name="connsiteY91" fmla="*/ 5526 h 31273"/>
                          <a:gd name="connsiteX92" fmla="*/ 48857 w 54005"/>
                          <a:gd name="connsiteY92" fmla="*/ 5777 h 31273"/>
                          <a:gd name="connsiteX93" fmla="*/ 49108 w 54005"/>
                          <a:gd name="connsiteY93" fmla="*/ 5903 h 31273"/>
                          <a:gd name="connsiteX94" fmla="*/ 49735 w 54005"/>
                          <a:gd name="connsiteY94" fmla="*/ 6280 h 31273"/>
                          <a:gd name="connsiteX95" fmla="*/ 49987 w 54005"/>
                          <a:gd name="connsiteY95" fmla="*/ 6405 h 31273"/>
                          <a:gd name="connsiteX96" fmla="*/ 50238 w 54005"/>
                          <a:gd name="connsiteY96" fmla="*/ 6531 h 31273"/>
                          <a:gd name="connsiteX97" fmla="*/ 50238 w 54005"/>
                          <a:gd name="connsiteY97" fmla="*/ 6531 h 31273"/>
                          <a:gd name="connsiteX98" fmla="*/ 50364 w 54005"/>
                          <a:gd name="connsiteY98" fmla="*/ 6657 h 31273"/>
                          <a:gd name="connsiteX99" fmla="*/ 50740 w 54005"/>
                          <a:gd name="connsiteY99" fmla="*/ 6908 h 31273"/>
                          <a:gd name="connsiteX100" fmla="*/ 50991 w 54005"/>
                          <a:gd name="connsiteY100" fmla="*/ 7033 h 31273"/>
                          <a:gd name="connsiteX101" fmla="*/ 51243 w 54005"/>
                          <a:gd name="connsiteY101" fmla="*/ 7159 h 31273"/>
                          <a:gd name="connsiteX102" fmla="*/ 51243 w 54005"/>
                          <a:gd name="connsiteY102" fmla="*/ 7159 h 31273"/>
                          <a:gd name="connsiteX103" fmla="*/ 51368 w 54005"/>
                          <a:gd name="connsiteY103" fmla="*/ 7285 h 31273"/>
                          <a:gd name="connsiteX104" fmla="*/ 51620 w 54005"/>
                          <a:gd name="connsiteY104" fmla="*/ 7410 h 31273"/>
                          <a:gd name="connsiteX105" fmla="*/ 51745 w 54005"/>
                          <a:gd name="connsiteY105" fmla="*/ 7536 h 31273"/>
                          <a:gd name="connsiteX106" fmla="*/ 52247 w 54005"/>
                          <a:gd name="connsiteY106" fmla="*/ 7787 h 31273"/>
                          <a:gd name="connsiteX107" fmla="*/ 52499 w 54005"/>
                          <a:gd name="connsiteY107" fmla="*/ 7912 h 31273"/>
                          <a:gd name="connsiteX108" fmla="*/ 52875 w 54005"/>
                          <a:gd name="connsiteY108" fmla="*/ 8038 h 31273"/>
                          <a:gd name="connsiteX109" fmla="*/ 53001 w 54005"/>
                          <a:gd name="connsiteY109" fmla="*/ 8164 h 31273"/>
                          <a:gd name="connsiteX110" fmla="*/ 53504 w 54005"/>
                          <a:gd name="connsiteY110" fmla="*/ 8415 h 31273"/>
                          <a:gd name="connsiteX111" fmla="*/ 53504 w 54005"/>
                          <a:gd name="connsiteY111"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187"/>
                            </a:lnTo>
                            <a:lnTo>
                              <a:pt x="34790" y="19970"/>
                            </a:lnTo>
                            <a:lnTo>
                              <a:pt x="34162" y="20221"/>
                            </a:lnTo>
                            <a:lnTo>
                              <a:pt x="32780" y="21100"/>
                            </a:lnTo>
                            <a:lnTo>
                              <a:pt x="32152" y="21477"/>
                            </a:lnTo>
                            <a:lnTo>
                              <a:pt x="32027" y="21477"/>
                            </a:lnTo>
                            <a:lnTo>
                              <a:pt x="32027" y="21477"/>
                            </a:lnTo>
                            <a:lnTo>
                              <a:pt x="31775" y="21728"/>
                            </a:lnTo>
                            <a:lnTo>
                              <a:pt x="29892" y="22733"/>
                            </a:lnTo>
                            <a:lnTo>
                              <a:pt x="29892" y="22733"/>
                            </a:lnTo>
                            <a:lnTo>
                              <a:pt x="29515" y="22984"/>
                            </a:lnTo>
                            <a:lnTo>
                              <a:pt x="21728" y="27380"/>
                            </a:lnTo>
                            <a:lnTo>
                              <a:pt x="21226" y="27756"/>
                            </a:lnTo>
                            <a:lnTo>
                              <a:pt x="21226" y="27756"/>
                            </a:lnTo>
                            <a:lnTo>
                              <a:pt x="15197" y="31273"/>
                            </a:lnTo>
                            <a:lnTo>
                              <a:pt x="15197" y="31148"/>
                            </a:lnTo>
                            <a:lnTo>
                              <a:pt x="15072" y="31148"/>
                            </a:lnTo>
                            <a:lnTo>
                              <a:pt x="14569" y="30896"/>
                            </a:lnTo>
                            <a:lnTo>
                              <a:pt x="14569" y="30771"/>
                            </a:lnTo>
                            <a:lnTo>
                              <a:pt x="13941" y="30520"/>
                            </a:lnTo>
                            <a:lnTo>
                              <a:pt x="13816" y="30394"/>
                            </a:lnTo>
                            <a:lnTo>
                              <a:pt x="12559" y="29640"/>
                            </a:lnTo>
                            <a:lnTo>
                              <a:pt x="12434" y="29640"/>
                            </a:lnTo>
                            <a:lnTo>
                              <a:pt x="11680" y="29264"/>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863"/>
                            </a:lnTo>
                            <a:lnTo>
                              <a:pt x="2010" y="23612"/>
                            </a:lnTo>
                            <a:lnTo>
                              <a:pt x="1759" y="23486"/>
                            </a:lnTo>
                            <a:lnTo>
                              <a:pt x="0" y="22481"/>
                            </a:lnTo>
                            <a:lnTo>
                              <a:pt x="5526" y="19342"/>
                            </a:lnTo>
                            <a:lnTo>
                              <a:pt x="5526" y="19342"/>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420"/>
                            </a:lnTo>
                            <a:lnTo>
                              <a:pt x="38934" y="0"/>
                            </a:lnTo>
                            <a:lnTo>
                              <a:pt x="39814" y="502"/>
                            </a:lnTo>
                            <a:lnTo>
                              <a:pt x="40065" y="628"/>
                            </a:lnTo>
                            <a:lnTo>
                              <a:pt x="41195" y="1382"/>
                            </a:lnTo>
                            <a:lnTo>
                              <a:pt x="41572" y="1507"/>
                            </a:lnTo>
                            <a:lnTo>
                              <a:pt x="42702" y="2261"/>
                            </a:lnTo>
                            <a:lnTo>
                              <a:pt x="42828" y="2261"/>
                            </a:lnTo>
                            <a:lnTo>
                              <a:pt x="43330" y="2638"/>
                            </a:lnTo>
                            <a:lnTo>
                              <a:pt x="43456" y="2638"/>
                            </a:lnTo>
                            <a:lnTo>
                              <a:pt x="44461" y="3265"/>
                            </a:lnTo>
                            <a:lnTo>
                              <a:pt x="44712" y="3391"/>
                            </a:lnTo>
                            <a:lnTo>
                              <a:pt x="45340" y="3768"/>
                            </a:lnTo>
                            <a:lnTo>
                              <a:pt x="45465" y="3768"/>
                            </a:lnTo>
                            <a:lnTo>
                              <a:pt x="46596" y="4521"/>
                            </a:lnTo>
                            <a:lnTo>
                              <a:pt x="46847" y="4647"/>
                            </a:lnTo>
                            <a:lnTo>
                              <a:pt x="47224" y="4773"/>
                            </a:lnTo>
                            <a:lnTo>
                              <a:pt x="47852" y="5149"/>
                            </a:lnTo>
                            <a:lnTo>
                              <a:pt x="47977" y="5275"/>
                            </a:lnTo>
                            <a:lnTo>
                              <a:pt x="48354" y="5526"/>
                            </a:lnTo>
                            <a:lnTo>
                              <a:pt x="48480" y="5526"/>
                            </a:lnTo>
                            <a:lnTo>
                              <a:pt x="48857" y="5777"/>
                            </a:lnTo>
                            <a:lnTo>
                              <a:pt x="49108" y="5903"/>
                            </a:lnTo>
                            <a:lnTo>
                              <a:pt x="49735" y="6280"/>
                            </a:lnTo>
                            <a:lnTo>
                              <a:pt x="49987" y="6405"/>
                            </a:lnTo>
                            <a:lnTo>
                              <a:pt x="50238" y="6531"/>
                            </a:lnTo>
                            <a:lnTo>
                              <a:pt x="50238" y="6531"/>
                            </a:lnTo>
                            <a:lnTo>
                              <a:pt x="50364" y="6657"/>
                            </a:lnTo>
                            <a:lnTo>
                              <a:pt x="50740" y="6908"/>
                            </a:lnTo>
                            <a:lnTo>
                              <a:pt x="50991" y="7033"/>
                            </a:lnTo>
                            <a:lnTo>
                              <a:pt x="51243" y="7159"/>
                            </a:lnTo>
                            <a:lnTo>
                              <a:pt x="51243" y="7159"/>
                            </a:lnTo>
                            <a:lnTo>
                              <a:pt x="51368" y="7285"/>
                            </a:lnTo>
                            <a:lnTo>
                              <a:pt x="51620" y="7410"/>
                            </a:lnTo>
                            <a:lnTo>
                              <a:pt x="51745" y="7536"/>
                            </a:lnTo>
                            <a:lnTo>
                              <a:pt x="52247" y="7787"/>
                            </a:lnTo>
                            <a:lnTo>
                              <a:pt x="52499" y="7912"/>
                            </a:lnTo>
                            <a:lnTo>
                              <a:pt x="52875" y="8038"/>
                            </a:lnTo>
                            <a:lnTo>
                              <a:pt x="53001" y="8164"/>
                            </a:lnTo>
                            <a:lnTo>
                              <a:pt x="53504" y="8415"/>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83" name="Freeform: Shape 1982">
                      <a:extLst>
                        <a:ext uri="{FF2B5EF4-FFF2-40B4-BE49-F238E27FC236}">
                          <a16:creationId xmlns:a16="http://schemas.microsoft.com/office/drawing/2014/main" id="{9391463E-4AF8-4E6E-97C5-073A7803B970}"/>
                        </a:ext>
                      </a:extLst>
                    </p:cNvPr>
                    <p:cNvSpPr/>
                    <p:nvPr/>
                  </p:nvSpPr>
                  <p:spPr>
                    <a:xfrm>
                      <a:off x="3869705" y="1664106"/>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84" name="Graphic 4">
                    <a:extLst>
                      <a:ext uri="{FF2B5EF4-FFF2-40B4-BE49-F238E27FC236}">
                        <a16:creationId xmlns:a16="http://schemas.microsoft.com/office/drawing/2014/main" id="{84FB7ED1-A2DF-40A1-A747-5F7CF3F14040}"/>
                      </a:ext>
                    </a:extLst>
                  </p:cNvPr>
                  <p:cNvGrpSpPr/>
                  <p:nvPr/>
                </p:nvGrpSpPr>
                <p:grpSpPr>
                  <a:xfrm>
                    <a:off x="3852498" y="1628437"/>
                    <a:ext cx="54005" cy="33282"/>
                    <a:chOff x="3852498" y="1628437"/>
                    <a:chExt cx="54005" cy="33282"/>
                  </a:xfrm>
                  <a:solidFill>
                    <a:schemeClr val="accent1"/>
                  </a:solidFill>
                </p:grpSpPr>
                <p:grpSp>
                  <p:nvGrpSpPr>
                    <p:cNvPr id="1985" name="Graphic 4">
                      <a:extLst>
                        <a:ext uri="{FF2B5EF4-FFF2-40B4-BE49-F238E27FC236}">
                          <a16:creationId xmlns:a16="http://schemas.microsoft.com/office/drawing/2014/main" id="{84FB7ED1-A2DF-40A1-A747-5F7CF3F14040}"/>
                        </a:ext>
                      </a:extLst>
                    </p:cNvPr>
                    <p:cNvGrpSpPr/>
                    <p:nvPr/>
                  </p:nvGrpSpPr>
                  <p:grpSpPr>
                    <a:xfrm>
                      <a:off x="3852498" y="1628437"/>
                      <a:ext cx="54005" cy="33282"/>
                      <a:chOff x="3852498" y="1628437"/>
                      <a:chExt cx="54005" cy="33282"/>
                    </a:xfrm>
                    <a:solidFill>
                      <a:schemeClr val="accent1"/>
                    </a:solidFill>
                  </p:grpSpPr>
                  <p:sp>
                    <p:nvSpPr>
                      <p:cNvPr id="1986" name="Freeform: Shape 1985">
                        <a:extLst>
                          <a:ext uri="{FF2B5EF4-FFF2-40B4-BE49-F238E27FC236}">
                            <a16:creationId xmlns:a16="http://schemas.microsoft.com/office/drawing/2014/main" id="{450FE766-6FD2-4ABF-B8CB-0EEC16336DDE}"/>
                          </a:ext>
                        </a:extLst>
                      </p:cNvPr>
                      <p:cNvSpPr/>
                      <p:nvPr/>
                    </p:nvSpPr>
                    <p:spPr>
                      <a:xfrm>
                        <a:off x="3852498" y="1630572"/>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685 h 31147"/>
                          <a:gd name="connsiteX7" fmla="*/ 47098 w 54005"/>
                          <a:gd name="connsiteY7" fmla="*/ 12685 h 31147"/>
                          <a:gd name="connsiteX8" fmla="*/ 46345 w 54005"/>
                          <a:gd name="connsiteY8" fmla="*/ 13187 h 31147"/>
                          <a:gd name="connsiteX9" fmla="*/ 34664 w 54005"/>
                          <a:gd name="connsiteY9" fmla="*/ 19970 h 31147"/>
                          <a:gd name="connsiteX10" fmla="*/ 34664 w 54005"/>
                          <a:gd name="connsiteY10" fmla="*/ 19970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148 h 31147"/>
                          <a:gd name="connsiteX29" fmla="*/ 14569 w 54005"/>
                          <a:gd name="connsiteY29" fmla="*/ 30896 h 31147"/>
                          <a:gd name="connsiteX30" fmla="*/ 14443 w 54005"/>
                          <a:gd name="connsiteY30" fmla="*/ 30771 h 31147"/>
                          <a:gd name="connsiteX31" fmla="*/ 14443 w 54005"/>
                          <a:gd name="connsiteY31" fmla="*/ 30771 h 31147"/>
                          <a:gd name="connsiteX32" fmla="*/ 13941 w 54005"/>
                          <a:gd name="connsiteY32" fmla="*/ 30520 h 31147"/>
                          <a:gd name="connsiteX33" fmla="*/ 13690 w 54005"/>
                          <a:gd name="connsiteY33" fmla="*/ 30394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636 h 31147"/>
                          <a:gd name="connsiteX39" fmla="*/ 10550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8917 w 54005"/>
                          <a:gd name="connsiteY43" fmla="*/ 27631 h 31147"/>
                          <a:gd name="connsiteX44" fmla="*/ 8917 w 54005"/>
                          <a:gd name="connsiteY44" fmla="*/ 27631 h 31147"/>
                          <a:gd name="connsiteX45" fmla="*/ 8038 w 54005"/>
                          <a:gd name="connsiteY45" fmla="*/ 27128 h 31147"/>
                          <a:gd name="connsiteX46" fmla="*/ 8038 w 54005"/>
                          <a:gd name="connsiteY46" fmla="*/ 27128 h 31147"/>
                          <a:gd name="connsiteX47" fmla="*/ 7536 w 54005"/>
                          <a:gd name="connsiteY47" fmla="*/ 26877 h 31147"/>
                          <a:gd name="connsiteX48" fmla="*/ 7410 w 54005"/>
                          <a:gd name="connsiteY48" fmla="*/ 26752 h 31147"/>
                          <a:gd name="connsiteX49" fmla="*/ 6782 w 54005"/>
                          <a:gd name="connsiteY49" fmla="*/ 26375 h 31147"/>
                          <a:gd name="connsiteX50" fmla="*/ 6782 w 54005"/>
                          <a:gd name="connsiteY50" fmla="*/ 26375 h 31147"/>
                          <a:gd name="connsiteX51" fmla="*/ 5652 w 54005"/>
                          <a:gd name="connsiteY51" fmla="*/ 25747 h 31147"/>
                          <a:gd name="connsiteX52" fmla="*/ 5400 w 54005"/>
                          <a:gd name="connsiteY52" fmla="*/ 25621 h 31147"/>
                          <a:gd name="connsiteX53" fmla="*/ 4521 w 54005"/>
                          <a:gd name="connsiteY53" fmla="*/ 25119 h 31147"/>
                          <a:gd name="connsiteX54" fmla="*/ 4521 w 54005"/>
                          <a:gd name="connsiteY54" fmla="*/ 24993 h 31147"/>
                          <a:gd name="connsiteX55" fmla="*/ 4144 w 54005"/>
                          <a:gd name="connsiteY55" fmla="*/ 24868 h 31147"/>
                          <a:gd name="connsiteX56" fmla="*/ 4144 w 54005"/>
                          <a:gd name="connsiteY56" fmla="*/ 24868 h 31147"/>
                          <a:gd name="connsiteX57" fmla="*/ 3391 w 54005"/>
                          <a:gd name="connsiteY57" fmla="*/ 24365 h 31147"/>
                          <a:gd name="connsiteX58" fmla="*/ 3391 w 54005"/>
                          <a:gd name="connsiteY58" fmla="*/ 24365 h 31147"/>
                          <a:gd name="connsiteX59" fmla="*/ 3266 w 54005"/>
                          <a:gd name="connsiteY59" fmla="*/ 24365 h 31147"/>
                          <a:gd name="connsiteX60" fmla="*/ 2512 w 54005"/>
                          <a:gd name="connsiteY60" fmla="*/ 23863 h 31147"/>
                          <a:gd name="connsiteX61" fmla="*/ 2512 w 54005"/>
                          <a:gd name="connsiteY61" fmla="*/ 23863 h 31147"/>
                          <a:gd name="connsiteX62" fmla="*/ 1884 w 54005"/>
                          <a:gd name="connsiteY62" fmla="*/ 23612 h 31147"/>
                          <a:gd name="connsiteX63" fmla="*/ 1758 w 54005"/>
                          <a:gd name="connsiteY63" fmla="*/ 23486 h 31147"/>
                          <a:gd name="connsiteX64" fmla="*/ 0 w 54005"/>
                          <a:gd name="connsiteY64" fmla="*/ 22481 h 31147"/>
                          <a:gd name="connsiteX65" fmla="*/ 0 w 54005"/>
                          <a:gd name="connsiteY65" fmla="*/ 20346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382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637 h 31147"/>
                          <a:gd name="connsiteX74" fmla="*/ 43330 w 54005"/>
                          <a:gd name="connsiteY74" fmla="*/ 2637 h 31147"/>
                          <a:gd name="connsiteX75" fmla="*/ 43330 w 54005"/>
                          <a:gd name="connsiteY75" fmla="*/ 2637 h 31147"/>
                          <a:gd name="connsiteX76" fmla="*/ 44335 w 54005"/>
                          <a:gd name="connsiteY76" fmla="*/ 3140 h 31147"/>
                          <a:gd name="connsiteX77" fmla="*/ 44586 w 54005"/>
                          <a:gd name="connsiteY77" fmla="*/ 3391 h 31147"/>
                          <a:gd name="connsiteX78" fmla="*/ 45340 w 54005"/>
                          <a:gd name="connsiteY78" fmla="*/ 3768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275 h 31147"/>
                          <a:gd name="connsiteX86" fmla="*/ 48228 w 54005"/>
                          <a:gd name="connsiteY86" fmla="*/ 5401 h 31147"/>
                          <a:gd name="connsiteX87" fmla="*/ 48354 w 54005"/>
                          <a:gd name="connsiteY87" fmla="*/ 5526 h 31147"/>
                          <a:gd name="connsiteX88" fmla="*/ 48856 w 54005"/>
                          <a:gd name="connsiteY88" fmla="*/ 5777 h 31147"/>
                          <a:gd name="connsiteX89" fmla="*/ 48982 w 54005"/>
                          <a:gd name="connsiteY89" fmla="*/ 5903 h 31147"/>
                          <a:gd name="connsiteX90" fmla="*/ 49610 w 54005"/>
                          <a:gd name="connsiteY90" fmla="*/ 6154 h 31147"/>
                          <a:gd name="connsiteX91" fmla="*/ 49861 w 54005"/>
                          <a:gd name="connsiteY91" fmla="*/ 6405 h 31147"/>
                          <a:gd name="connsiteX92" fmla="*/ 50112 w 54005"/>
                          <a:gd name="connsiteY92" fmla="*/ 6531 h 31147"/>
                          <a:gd name="connsiteX93" fmla="*/ 50112 w 54005"/>
                          <a:gd name="connsiteY93" fmla="*/ 6531 h 31147"/>
                          <a:gd name="connsiteX94" fmla="*/ 50238 w 54005"/>
                          <a:gd name="connsiteY94" fmla="*/ 6531 h 31147"/>
                          <a:gd name="connsiteX95" fmla="*/ 50740 w 54005"/>
                          <a:gd name="connsiteY95" fmla="*/ 6782 h 31147"/>
                          <a:gd name="connsiteX96" fmla="*/ 50991 w 54005"/>
                          <a:gd name="connsiteY96" fmla="*/ 7033 h 31147"/>
                          <a:gd name="connsiteX97" fmla="*/ 51117 w 54005"/>
                          <a:gd name="connsiteY97" fmla="*/ 7159 h 31147"/>
                          <a:gd name="connsiteX98" fmla="*/ 51243 w 54005"/>
                          <a:gd name="connsiteY98" fmla="*/ 7159 h 31147"/>
                          <a:gd name="connsiteX99" fmla="*/ 51368 w 54005"/>
                          <a:gd name="connsiteY99" fmla="*/ 7159 h 31147"/>
                          <a:gd name="connsiteX100" fmla="*/ 51619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745" y="10048"/>
                            </a:lnTo>
                            <a:lnTo>
                              <a:pt x="51494" y="10173"/>
                            </a:lnTo>
                            <a:lnTo>
                              <a:pt x="51494" y="10173"/>
                            </a:lnTo>
                            <a:lnTo>
                              <a:pt x="48103" y="12183"/>
                            </a:lnTo>
                            <a:lnTo>
                              <a:pt x="48103" y="12183"/>
                            </a:lnTo>
                            <a:lnTo>
                              <a:pt x="47224" y="12685"/>
                            </a:lnTo>
                            <a:lnTo>
                              <a:pt x="47098" y="12685"/>
                            </a:lnTo>
                            <a:lnTo>
                              <a:pt x="46345" y="13187"/>
                            </a:lnTo>
                            <a:lnTo>
                              <a:pt x="34664" y="19970"/>
                            </a:lnTo>
                            <a:lnTo>
                              <a:pt x="34664" y="19970"/>
                            </a:lnTo>
                            <a:lnTo>
                              <a:pt x="34036" y="20221"/>
                            </a:lnTo>
                            <a:lnTo>
                              <a:pt x="32780" y="20974"/>
                            </a:lnTo>
                            <a:lnTo>
                              <a:pt x="32655" y="20974"/>
                            </a:lnTo>
                            <a:lnTo>
                              <a:pt x="32152" y="21351"/>
                            </a:lnTo>
                            <a:lnTo>
                              <a:pt x="32027" y="21477"/>
                            </a:lnTo>
                            <a:lnTo>
                              <a:pt x="32027" y="21477"/>
                            </a:lnTo>
                            <a:lnTo>
                              <a:pt x="31650" y="21602"/>
                            </a:lnTo>
                            <a:lnTo>
                              <a:pt x="31650" y="21602"/>
                            </a:lnTo>
                            <a:lnTo>
                              <a:pt x="29892" y="22733"/>
                            </a:lnTo>
                            <a:lnTo>
                              <a:pt x="29892" y="22733"/>
                            </a:lnTo>
                            <a:lnTo>
                              <a:pt x="29515" y="22858"/>
                            </a:lnTo>
                            <a:lnTo>
                              <a:pt x="21728" y="27380"/>
                            </a:lnTo>
                            <a:lnTo>
                              <a:pt x="21728" y="27380"/>
                            </a:lnTo>
                            <a:lnTo>
                              <a:pt x="21226" y="27631"/>
                            </a:lnTo>
                            <a:lnTo>
                              <a:pt x="21226" y="27631"/>
                            </a:lnTo>
                            <a:lnTo>
                              <a:pt x="15197" y="31148"/>
                            </a:lnTo>
                            <a:lnTo>
                              <a:pt x="15071" y="31148"/>
                            </a:lnTo>
                            <a:lnTo>
                              <a:pt x="14946" y="31148"/>
                            </a:lnTo>
                            <a:lnTo>
                              <a:pt x="14569" y="30896"/>
                            </a:lnTo>
                            <a:lnTo>
                              <a:pt x="14443" y="30771"/>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4993"/>
                            </a:lnTo>
                            <a:lnTo>
                              <a:pt x="4144" y="24868"/>
                            </a:lnTo>
                            <a:lnTo>
                              <a:pt x="4144" y="24868"/>
                            </a:lnTo>
                            <a:lnTo>
                              <a:pt x="3391" y="24365"/>
                            </a:lnTo>
                            <a:lnTo>
                              <a:pt x="3391" y="24365"/>
                            </a:lnTo>
                            <a:lnTo>
                              <a:pt x="3266" y="24365"/>
                            </a:lnTo>
                            <a:lnTo>
                              <a:pt x="2512" y="23863"/>
                            </a:lnTo>
                            <a:lnTo>
                              <a:pt x="2512" y="23863"/>
                            </a:lnTo>
                            <a:lnTo>
                              <a:pt x="1884" y="23612"/>
                            </a:lnTo>
                            <a:lnTo>
                              <a:pt x="1758" y="23486"/>
                            </a:lnTo>
                            <a:lnTo>
                              <a:pt x="0" y="22481"/>
                            </a:lnTo>
                            <a:lnTo>
                              <a:pt x="0" y="20346"/>
                            </a:lnTo>
                            <a:lnTo>
                              <a:pt x="38809" y="0"/>
                            </a:lnTo>
                            <a:lnTo>
                              <a:pt x="39688" y="502"/>
                            </a:lnTo>
                            <a:lnTo>
                              <a:pt x="39939" y="628"/>
                            </a:lnTo>
                            <a:lnTo>
                              <a:pt x="41195" y="1382"/>
                            </a:lnTo>
                            <a:lnTo>
                              <a:pt x="41446" y="1507"/>
                            </a:lnTo>
                            <a:lnTo>
                              <a:pt x="42576" y="2135"/>
                            </a:lnTo>
                            <a:lnTo>
                              <a:pt x="42828" y="2261"/>
                            </a:lnTo>
                            <a:lnTo>
                              <a:pt x="43330" y="2637"/>
                            </a:lnTo>
                            <a:lnTo>
                              <a:pt x="43330" y="2637"/>
                            </a:lnTo>
                            <a:lnTo>
                              <a:pt x="43330" y="2637"/>
                            </a:lnTo>
                            <a:lnTo>
                              <a:pt x="44335" y="3140"/>
                            </a:lnTo>
                            <a:lnTo>
                              <a:pt x="44586" y="3391"/>
                            </a:lnTo>
                            <a:lnTo>
                              <a:pt x="45340" y="3768"/>
                            </a:lnTo>
                            <a:lnTo>
                              <a:pt x="45340" y="3768"/>
                            </a:lnTo>
                            <a:lnTo>
                              <a:pt x="46470" y="4396"/>
                            </a:lnTo>
                            <a:lnTo>
                              <a:pt x="46721" y="4521"/>
                            </a:lnTo>
                            <a:lnTo>
                              <a:pt x="46972" y="4647"/>
                            </a:lnTo>
                            <a:lnTo>
                              <a:pt x="47098" y="4773"/>
                            </a:lnTo>
                            <a:lnTo>
                              <a:pt x="47852" y="5149"/>
                            </a:lnTo>
                            <a:lnTo>
                              <a:pt x="47852" y="5275"/>
                            </a:lnTo>
                            <a:lnTo>
                              <a:pt x="48228" y="5401"/>
                            </a:lnTo>
                            <a:lnTo>
                              <a:pt x="48354" y="5526"/>
                            </a:lnTo>
                            <a:lnTo>
                              <a:pt x="48856" y="5777"/>
                            </a:lnTo>
                            <a:lnTo>
                              <a:pt x="48982" y="5903"/>
                            </a:lnTo>
                            <a:lnTo>
                              <a:pt x="49610" y="6154"/>
                            </a:lnTo>
                            <a:lnTo>
                              <a:pt x="49861" y="6405"/>
                            </a:lnTo>
                            <a:lnTo>
                              <a:pt x="50112" y="6531"/>
                            </a:lnTo>
                            <a:lnTo>
                              <a:pt x="50112" y="6531"/>
                            </a:lnTo>
                            <a:lnTo>
                              <a:pt x="50238" y="6531"/>
                            </a:lnTo>
                            <a:lnTo>
                              <a:pt x="50740" y="6782"/>
                            </a:lnTo>
                            <a:lnTo>
                              <a:pt x="50991" y="7033"/>
                            </a:lnTo>
                            <a:lnTo>
                              <a:pt x="51117" y="7159"/>
                            </a:lnTo>
                            <a:lnTo>
                              <a:pt x="51243" y="7159"/>
                            </a:lnTo>
                            <a:lnTo>
                              <a:pt x="51368" y="7159"/>
                            </a:lnTo>
                            <a:lnTo>
                              <a:pt x="51619"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87" name="Freeform: Shape 1986">
                        <a:extLst>
                          <a:ext uri="{FF2B5EF4-FFF2-40B4-BE49-F238E27FC236}">
                            <a16:creationId xmlns:a16="http://schemas.microsoft.com/office/drawing/2014/main" id="{18699FB2-B7BA-42D2-9D20-50E0D800B92A}"/>
                          </a:ext>
                        </a:extLst>
                      </p:cNvPr>
                      <p:cNvSpPr/>
                      <p:nvPr/>
                    </p:nvSpPr>
                    <p:spPr>
                      <a:xfrm>
                        <a:off x="3852498" y="1628437"/>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685 h 31147"/>
                          <a:gd name="connsiteX7" fmla="*/ 47098 w 54005"/>
                          <a:gd name="connsiteY7" fmla="*/ 12685 h 31147"/>
                          <a:gd name="connsiteX8" fmla="*/ 46345 w 54005"/>
                          <a:gd name="connsiteY8" fmla="*/ 13187 h 31147"/>
                          <a:gd name="connsiteX9" fmla="*/ 34664 w 54005"/>
                          <a:gd name="connsiteY9" fmla="*/ 19970 h 31147"/>
                          <a:gd name="connsiteX10" fmla="*/ 34036 w 54005"/>
                          <a:gd name="connsiteY10" fmla="*/ 20221 h 31147"/>
                          <a:gd name="connsiteX11" fmla="*/ 32780 w 54005"/>
                          <a:gd name="connsiteY11" fmla="*/ 21100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733 h 31147"/>
                          <a:gd name="connsiteX17" fmla="*/ 29766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148 h 31147"/>
                          <a:gd name="connsiteX25" fmla="*/ 14569 w 54005"/>
                          <a:gd name="connsiteY25" fmla="*/ 30896 h 31147"/>
                          <a:gd name="connsiteX26" fmla="*/ 14443 w 54005"/>
                          <a:gd name="connsiteY26" fmla="*/ 30771 h 31147"/>
                          <a:gd name="connsiteX27" fmla="*/ 13941 w 54005"/>
                          <a:gd name="connsiteY27" fmla="*/ 30520 h 31147"/>
                          <a:gd name="connsiteX28" fmla="*/ 13690 w 54005"/>
                          <a:gd name="connsiteY28" fmla="*/ 30394 h 31147"/>
                          <a:gd name="connsiteX29" fmla="*/ 12434 w 54005"/>
                          <a:gd name="connsiteY29" fmla="*/ 29640 h 31147"/>
                          <a:gd name="connsiteX30" fmla="*/ 12434 w 54005"/>
                          <a:gd name="connsiteY30" fmla="*/ 29640 h 31147"/>
                          <a:gd name="connsiteX31" fmla="*/ 11680 w 54005"/>
                          <a:gd name="connsiteY31" fmla="*/ 29138 h 31147"/>
                          <a:gd name="connsiteX32" fmla="*/ 11303 w 54005"/>
                          <a:gd name="connsiteY32" fmla="*/ 29012 h 31147"/>
                          <a:gd name="connsiteX33" fmla="*/ 10676 w 54005"/>
                          <a:gd name="connsiteY33" fmla="*/ 28636 h 31147"/>
                          <a:gd name="connsiteX34" fmla="*/ 10550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8917 w 54005"/>
                          <a:gd name="connsiteY38" fmla="*/ 27631 h 31147"/>
                          <a:gd name="connsiteX39" fmla="*/ 8917 w 54005"/>
                          <a:gd name="connsiteY39" fmla="*/ 27631 h 31147"/>
                          <a:gd name="connsiteX40" fmla="*/ 8038 w 54005"/>
                          <a:gd name="connsiteY40" fmla="*/ 27128 h 31147"/>
                          <a:gd name="connsiteX41" fmla="*/ 8038 w 54005"/>
                          <a:gd name="connsiteY41" fmla="*/ 27128 h 31147"/>
                          <a:gd name="connsiteX42" fmla="*/ 7536 w 54005"/>
                          <a:gd name="connsiteY42" fmla="*/ 26877 h 31147"/>
                          <a:gd name="connsiteX43" fmla="*/ 7410 w 54005"/>
                          <a:gd name="connsiteY43" fmla="*/ 26752 h 31147"/>
                          <a:gd name="connsiteX44" fmla="*/ 6782 w 54005"/>
                          <a:gd name="connsiteY44" fmla="*/ 26375 h 31147"/>
                          <a:gd name="connsiteX45" fmla="*/ 6782 w 54005"/>
                          <a:gd name="connsiteY45" fmla="*/ 26375 h 31147"/>
                          <a:gd name="connsiteX46" fmla="*/ 5652 w 54005"/>
                          <a:gd name="connsiteY46" fmla="*/ 25747 h 31147"/>
                          <a:gd name="connsiteX47" fmla="*/ 5400 w 54005"/>
                          <a:gd name="connsiteY47" fmla="*/ 25621 h 31147"/>
                          <a:gd name="connsiteX48" fmla="*/ 4521 w 54005"/>
                          <a:gd name="connsiteY48" fmla="*/ 25119 h 31147"/>
                          <a:gd name="connsiteX49" fmla="*/ 4521 w 54005"/>
                          <a:gd name="connsiteY49" fmla="*/ 24993 h 31147"/>
                          <a:gd name="connsiteX50" fmla="*/ 4144 w 54005"/>
                          <a:gd name="connsiteY50" fmla="*/ 24868 h 31147"/>
                          <a:gd name="connsiteX51" fmla="*/ 4144 w 54005"/>
                          <a:gd name="connsiteY51" fmla="*/ 24868 h 31147"/>
                          <a:gd name="connsiteX52" fmla="*/ 3391 w 54005"/>
                          <a:gd name="connsiteY52" fmla="*/ 24365 h 31147"/>
                          <a:gd name="connsiteX53" fmla="*/ 3391 w 54005"/>
                          <a:gd name="connsiteY53" fmla="*/ 24365 h 31147"/>
                          <a:gd name="connsiteX54" fmla="*/ 3140 w 54005"/>
                          <a:gd name="connsiteY54" fmla="*/ 24365 h 31147"/>
                          <a:gd name="connsiteX55" fmla="*/ 2512 w 54005"/>
                          <a:gd name="connsiteY55" fmla="*/ 23863 h 31147"/>
                          <a:gd name="connsiteX56" fmla="*/ 2512 w 54005"/>
                          <a:gd name="connsiteY56" fmla="*/ 23863 h 31147"/>
                          <a:gd name="connsiteX57" fmla="*/ 1884 w 54005"/>
                          <a:gd name="connsiteY57" fmla="*/ 23612 h 31147"/>
                          <a:gd name="connsiteX58" fmla="*/ 1758 w 54005"/>
                          <a:gd name="connsiteY58" fmla="*/ 23486 h 31147"/>
                          <a:gd name="connsiteX59" fmla="*/ 0 w 54005"/>
                          <a:gd name="connsiteY59" fmla="*/ 22356 h 31147"/>
                          <a:gd name="connsiteX60" fmla="*/ 5400 w 54005"/>
                          <a:gd name="connsiteY60" fmla="*/ 19342 h 31147"/>
                          <a:gd name="connsiteX61" fmla="*/ 5400 w 54005"/>
                          <a:gd name="connsiteY61" fmla="*/ 19216 h 31147"/>
                          <a:gd name="connsiteX62" fmla="*/ 5652 w 54005"/>
                          <a:gd name="connsiteY62" fmla="*/ 19216 h 31147"/>
                          <a:gd name="connsiteX63" fmla="*/ 5652 w 54005"/>
                          <a:gd name="connsiteY63" fmla="*/ 19216 h 31147"/>
                          <a:gd name="connsiteX64" fmla="*/ 5903 w 54005"/>
                          <a:gd name="connsiteY64" fmla="*/ 18965 h 31147"/>
                          <a:gd name="connsiteX65" fmla="*/ 6029 w 54005"/>
                          <a:gd name="connsiteY65" fmla="*/ 18965 h 31147"/>
                          <a:gd name="connsiteX66" fmla="*/ 6154 w 54005"/>
                          <a:gd name="connsiteY66" fmla="*/ 18839 h 31147"/>
                          <a:gd name="connsiteX67" fmla="*/ 6154 w 54005"/>
                          <a:gd name="connsiteY67" fmla="*/ 18839 h 31147"/>
                          <a:gd name="connsiteX68" fmla="*/ 21602 w 54005"/>
                          <a:gd name="connsiteY68" fmla="*/ 9922 h 31147"/>
                          <a:gd name="connsiteX69" fmla="*/ 21979 w 54005"/>
                          <a:gd name="connsiteY69" fmla="*/ 9796 h 31147"/>
                          <a:gd name="connsiteX70" fmla="*/ 22356 w 54005"/>
                          <a:gd name="connsiteY70" fmla="*/ 9545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382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637 h 31147"/>
                          <a:gd name="connsiteX80" fmla="*/ 43330 w 54005"/>
                          <a:gd name="connsiteY80" fmla="*/ 2637 h 31147"/>
                          <a:gd name="connsiteX81" fmla="*/ 44335 w 54005"/>
                          <a:gd name="connsiteY81" fmla="*/ 3140 h 31147"/>
                          <a:gd name="connsiteX82" fmla="*/ 44586 w 54005"/>
                          <a:gd name="connsiteY82" fmla="*/ 3391 h 31147"/>
                          <a:gd name="connsiteX83" fmla="*/ 45340 w 54005"/>
                          <a:gd name="connsiteY83" fmla="*/ 3768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275 h 31147"/>
                          <a:gd name="connsiteX90" fmla="*/ 48228 w 54005"/>
                          <a:gd name="connsiteY90" fmla="*/ 5401 h 31147"/>
                          <a:gd name="connsiteX91" fmla="*/ 48354 w 54005"/>
                          <a:gd name="connsiteY91" fmla="*/ 5526 h 31147"/>
                          <a:gd name="connsiteX92" fmla="*/ 48856 w 54005"/>
                          <a:gd name="connsiteY92" fmla="*/ 5777 h 31147"/>
                          <a:gd name="connsiteX93" fmla="*/ 48982 w 54005"/>
                          <a:gd name="connsiteY93" fmla="*/ 5903 h 31147"/>
                          <a:gd name="connsiteX94" fmla="*/ 49610 w 54005"/>
                          <a:gd name="connsiteY94" fmla="*/ 6280 h 31147"/>
                          <a:gd name="connsiteX95" fmla="*/ 49861 w 54005"/>
                          <a:gd name="connsiteY95" fmla="*/ 6405 h 31147"/>
                          <a:gd name="connsiteX96" fmla="*/ 50112 w 54005"/>
                          <a:gd name="connsiteY96" fmla="*/ 6531 h 31147"/>
                          <a:gd name="connsiteX97" fmla="*/ 50112 w 54005"/>
                          <a:gd name="connsiteY97" fmla="*/ 6531 h 31147"/>
                          <a:gd name="connsiteX98" fmla="*/ 50238 w 54005"/>
                          <a:gd name="connsiteY98" fmla="*/ 6657 h 31147"/>
                          <a:gd name="connsiteX99" fmla="*/ 50740 w 54005"/>
                          <a:gd name="connsiteY99" fmla="*/ 6908 h 31147"/>
                          <a:gd name="connsiteX100" fmla="*/ 50991 w 54005"/>
                          <a:gd name="connsiteY100" fmla="*/ 7033 h 31147"/>
                          <a:gd name="connsiteX101" fmla="*/ 51117 w 54005"/>
                          <a:gd name="connsiteY101" fmla="*/ 7159 h 31147"/>
                          <a:gd name="connsiteX102" fmla="*/ 51243 w 54005"/>
                          <a:gd name="connsiteY102" fmla="*/ 7159 h 31147"/>
                          <a:gd name="connsiteX103" fmla="*/ 51368 w 54005"/>
                          <a:gd name="connsiteY103" fmla="*/ 7159 h 31147"/>
                          <a:gd name="connsiteX104" fmla="*/ 51619 w 54005"/>
                          <a:gd name="connsiteY104" fmla="*/ 7410 h 31147"/>
                          <a:gd name="connsiteX105" fmla="*/ 51745 w 54005"/>
                          <a:gd name="connsiteY105" fmla="*/ 7410 h 31147"/>
                          <a:gd name="connsiteX106" fmla="*/ 52247 w 54005"/>
                          <a:gd name="connsiteY106" fmla="*/ 7787 h 31147"/>
                          <a:gd name="connsiteX107" fmla="*/ 52373 w 54005"/>
                          <a:gd name="connsiteY107" fmla="*/ 7787 h 31147"/>
                          <a:gd name="connsiteX108" fmla="*/ 52750 w 54005"/>
                          <a:gd name="connsiteY108" fmla="*/ 8038 h 31147"/>
                          <a:gd name="connsiteX109" fmla="*/ 52875 w 54005"/>
                          <a:gd name="connsiteY109" fmla="*/ 8164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745" y="10048"/>
                            </a:lnTo>
                            <a:lnTo>
                              <a:pt x="51494" y="10173"/>
                            </a:lnTo>
                            <a:lnTo>
                              <a:pt x="51494" y="10173"/>
                            </a:lnTo>
                            <a:lnTo>
                              <a:pt x="48103" y="12183"/>
                            </a:lnTo>
                            <a:lnTo>
                              <a:pt x="48103" y="12183"/>
                            </a:lnTo>
                            <a:lnTo>
                              <a:pt x="47224" y="12685"/>
                            </a:lnTo>
                            <a:lnTo>
                              <a:pt x="47098" y="12685"/>
                            </a:lnTo>
                            <a:lnTo>
                              <a:pt x="46345" y="13187"/>
                            </a:lnTo>
                            <a:lnTo>
                              <a:pt x="34664" y="19970"/>
                            </a:lnTo>
                            <a:lnTo>
                              <a:pt x="34036" y="20221"/>
                            </a:lnTo>
                            <a:lnTo>
                              <a:pt x="32780" y="21100"/>
                            </a:lnTo>
                            <a:lnTo>
                              <a:pt x="32152" y="21351"/>
                            </a:lnTo>
                            <a:lnTo>
                              <a:pt x="32027" y="21477"/>
                            </a:lnTo>
                            <a:lnTo>
                              <a:pt x="32027" y="21477"/>
                            </a:lnTo>
                            <a:lnTo>
                              <a:pt x="31650" y="21602"/>
                            </a:lnTo>
                            <a:lnTo>
                              <a:pt x="29892" y="22733"/>
                            </a:lnTo>
                            <a:lnTo>
                              <a:pt x="29766" y="22733"/>
                            </a:lnTo>
                            <a:lnTo>
                              <a:pt x="29515" y="22858"/>
                            </a:lnTo>
                            <a:lnTo>
                              <a:pt x="21728" y="27380"/>
                            </a:lnTo>
                            <a:lnTo>
                              <a:pt x="21226" y="27631"/>
                            </a:lnTo>
                            <a:lnTo>
                              <a:pt x="21226" y="27631"/>
                            </a:lnTo>
                            <a:lnTo>
                              <a:pt x="15197" y="31148"/>
                            </a:lnTo>
                            <a:lnTo>
                              <a:pt x="15071" y="31148"/>
                            </a:lnTo>
                            <a:lnTo>
                              <a:pt x="14946" y="31148"/>
                            </a:lnTo>
                            <a:lnTo>
                              <a:pt x="14569" y="30896"/>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4993"/>
                            </a:lnTo>
                            <a:lnTo>
                              <a:pt x="4144" y="24868"/>
                            </a:lnTo>
                            <a:lnTo>
                              <a:pt x="4144" y="24868"/>
                            </a:lnTo>
                            <a:lnTo>
                              <a:pt x="3391" y="24365"/>
                            </a:lnTo>
                            <a:lnTo>
                              <a:pt x="3391" y="24365"/>
                            </a:lnTo>
                            <a:lnTo>
                              <a:pt x="3140" y="24365"/>
                            </a:lnTo>
                            <a:lnTo>
                              <a:pt x="2512" y="23863"/>
                            </a:lnTo>
                            <a:lnTo>
                              <a:pt x="2512" y="23863"/>
                            </a:lnTo>
                            <a:lnTo>
                              <a:pt x="1884" y="23612"/>
                            </a:lnTo>
                            <a:lnTo>
                              <a:pt x="1758" y="23486"/>
                            </a:lnTo>
                            <a:lnTo>
                              <a:pt x="0" y="22356"/>
                            </a:lnTo>
                            <a:lnTo>
                              <a:pt x="5400" y="19342"/>
                            </a:lnTo>
                            <a:lnTo>
                              <a:pt x="5400" y="19216"/>
                            </a:lnTo>
                            <a:lnTo>
                              <a:pt x="5652" y="19216"/>
                            </a:lnTo>
                            <a:lnTo>
                              <a:pt x="5652" y="19216"/>
                            </a:lnTo>
                            <a:lnTo>
                              <a:pt x="5903" y="18965"/>
                            </a:lnTo>
                            <a:lnTo>
                              <a:pt x="6029" y="18965"/>
                            </a:lnTo>
                            <a:lnTo>
                              <a:pt x="6154" y="18839"/>
                            </a:lnTo>
                            <a:lnTo>
                              <a:pt x="6154" y="18839"/>
                            </a:lnTo>
                            <a:lnTo>
                              <a:pt x="21602" y="9922"/>
                            </a:lnTo>
                            <a:lnTo>
                              <a:pt x="21979" y="9796"/>
                            </a:lnTo>
                            <a:lnTo>
                              <a:pt x="22356" y="9545"/>
                            </a:lnTo>
                            <a:lnTo>
                              <a:pt x="22607" y="9294"/>
                            </a:lnTo>
                            <a:lnTo>
                              <a:pt x="38809" y="0"/>
                            </a:lnTo>
                            <a:lnTo>
                              <a:pt x="39688" y="502"/>
                            </a:lnTo>
                            <a:lnTo>
                              <a:pt x="39939" y="628"/>
                            </a:lnTo>
                            <a:lnTo>
                              <a:pt x="41195" y="1382"/>
                            </a:lnTo>
                            <a:lnTo>
                              <a:pt x="41446" y="1507"/>
                            </a:lnTo>
                            <a:lnTo>
                              <a:pt x="42576" y="2135"/>
                            </a:lnTo>
                            <a:lnTo>
                              <a:pt x="42828" y="2261"/>
                            </a:lnTo>
                            <a:lnTo>
                              <a:pt x="43330" y="2637"/>
                            </a:lnTo>
                            <a:lnTo>
                              <a:pt x="43330" y="2637"/>
                            </a:lnTo>
                            <a:lnTo>
                              <a:pt x="44335" y="3140"/>
                            </a:lnTo>
                            <a:lnTo>
                              <a:pt x="44586" y="3391"/>
                            </a:lnTo>
                            <a:lnTo>
                              <a:pt x="45340" y="3768"/>
                            </a:lnTo>
                            <a:lnTo>
                              <a:pt x="45340" y="3768"/>
                            </a:lnTo>
                            <a:lnTo>
                              <a:pt x="46470" y="4396"/>
                            </a:lnTo>
                            <a:lnTo>
                              <a:pt x="46721" y="4521"/>
                            </a:lnTo>
                            <a:lnTo>
                              <a:pt x="47098" y="4773"/>
                            </a:lnTo>
                            <a:lnTo>
                              <a:pt x="47852" y="5149"/>
                            </a:lnTo>
                            <a:lnTo>
                              <a:pt x="47852" y="5275"/>
                            </a:lnTo>
                            <a:lnTo>
                              <a:pt x="48228" y="5401"/>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159"/>
                            </a:lnTo>
                            <a:lnTo>
                              <a:pt x="51619" y="7410"/>
                            </a:lnTo>
                            <a:lnTo>
                              <a:pt x="51745" y="7410"/>
                            </a:lnTo>
                            <a:lnTo>
                              <a:pt x="52247" y="7787"/>
                            </a:lnTo>
                            <a:lnTo>
                              <a:pt x="52373" y="7787"/>
                            </a:lnTo>
                            <a:lnTo>
                              <a:pt x="52750" y="8038"/>
                            </a:lnTo>
                            <a:lnTo>
                              <a:pt x="52875" y="8164"/>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88" name="Freeform: Shape 1987">
                      <a:extLst>
                        <a:ext uri="{FF2B5EF4-FFF2-40B4-BE49-F238E27FC236}">
                          <a16:creationId xmlns:a16="http://schemas.microsoft.com/office/drawing/2014/main" id="{AD36EC95-8634-449C-BA4E-49E23E468FC7}"/>
                        </a:ext>
                      </a:extLst>
                    </p:cNvPr>
                    <p:cNvSpPr/>
                    <p:nvPr/>
                  </p:nvSpPr>
                  <p:spPr>
                    <a:xfrm>
                      <a:off x="3852498" y="1650919"/>
                      <a:ext cx="15196" cy="10801"/>
                    </a:xfrm>
                    <a:custGeom>
                      <a:avLst/>
                      <a:gdLst>
                        <a:gd name="connsiteX0" fmla="*/ 15197 w 15196"/>
                        <a:gd name="connsiteY0" fmla="*/ 8666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89" name="Graphic 4">
                    <a:extLst>
                      <a:ext uri="{FF2B5EF4-FFF2-40B4-BE49-F238E27FC236}">
                        <a16:creationId xmlns:a16="http://schemas.microsoft.com/office/drawing/2014/main" id="{84FB7ED1-A2DF-40A1-A747-5F7CF3F14040}"/>
                      </a:ext>
                    </a:extLst>
                  </p:cNvPr>
                  <p:cNvGrpSpPr/>
                  <p:nvPr/>
                </p:nvGrpSpPr>
                <p:grpSpPr>
                  <a:xfrm>
                    <a:off x="3869705" y="1638234"/>
                    <a:ext cx="54005" cy="33408"/>
                    <a:chOff x="3869705" y="1638234"/>
                    <a:chExt cx="54005" cy="33408"/>
                  </a:xfrm>
                  <a:solidFill>
                    <a:schemeClr val="accent1"/>
                  </a:solidFill>
                </p:grpSpPr>
                <p:grpSp>
                  <p:nvGrpSpPr>
                    <p:cNvPr id="1990" name="Graphic 4">
                      <a:extLst>
                        <a:ext uri="{FF2B5EF4-FFF2-40B4-BE49-F238E27FC236}">
                          <a16:creationId xmlns:a16="http://schemas.microsoft.com/office/drawing/2014/main" id="{84FB7ED1-A2DF-40A1-A747-5F7CF3F14040}"/>
                        </a:ext>
                      </a:extLst>
                    </p:cNvPr>
                    <p:cNvGrpSpPr/>
                    <p:nvPr/>
                  </p:nvGrpSpPr>
                  <p:grpSpPr>
                    <a:xfrm>
                      <a:off x="3869705" y="1638234"/>
                      <a:ext cx="54005" cy="33408"/>
                      <a:chOff x="3869705" y="1638234"/>
                      <a:chExt cx="54005" cy="33408"/>
                    </a:xfrm>
                    <a:solidFill>
                      <a:schemeClr val="accent1"/>
                    </a:solidFill>
                  </p:grpSpPr>
                  <p:sp>
                    <p:nvSpPr>
                      <p:cNvPr id="1991" name="Freeform: Shape 1990">
                        <a:extLst>
                          <a:ext uri="{FF2B5EF4-FFF2-40B4-BE49-F238E27FC236}">
                            <a16:creationId xmlns:a16="http://schemas.microsoft.com/office/drawing/2014/main" id="{030A58B5-8017-458E-9B93-9C4A3C94C7D0}"/>
                          </a:ext>
                        </a:extLst>
                      </p:cNvPr>
                      <p:cNvSpPr/>
                      <p:nvPr/>
                    </p:nvSpPr>
                    <p:spPr>
                      <a:xfrm>
                        <a:off x="3869705" y="1640369"/>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187 h 31273"/>
                          <a:gd name="connsiteX9" fmla="*/ 34790 w 54005"/>
                          <a:gd name="connsiteY9" fmla="*/ 19970 h 31273"/>
                          <a:gd name="connsiteX10" fmla="*/ 34790 w 54005"/>
                          <a:gd name="connsiteY10" fmla="*/ 19970 h 31273"/>
                          <a:gd name="connsiteX11" fmla="*/ 34162 w 54005"/>
                          <a:gd name="connsiteY11" fmla="*/ 20346 h 31273"/>
                          <a:gd name="connsiteX12" fmla="*/ 32780 w 54005"/>
                          <a:gd name="connsiteY12" fmla="*/ 21100 h 31273"/>
                          <a:gd name="connsiteX13" fmla="*/ 32780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775 w 54005"/>
                          <a:gd name="connsiteY17" fmla="*/ 21728 h 31273"/>
                          <a:gd name="connsiteX18" fmla="*/ 31775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380 h 31273"/>
                          <a:gd name="connsiteX23" fmla="*/ 21728 w 54005"/>
                          <a:gd name="connsiteY23" fmla="*/ 27505 h 31273"/>
                          <a:gd name="connsiteX24" fmla="*/ 21226 w 54005"/>
                          <a:gd name="connsiteY24" fmla="*/ 27756 h 31273"/>
                          <a:gd name="connsiteX25" fmla="*/ 21226 w 54005"/>
                          <a:gd name="connsiteY25" fmla="*/ 27756 h 31273"/>
                          <a:gd name="connsiteX26" fmla="*/ 15197 w 54005"/>
                          <a:gd name="connsiteY26" fmla="*/ 31273 h 31273"/>
                          <a:gd name="connsiteX27" fmla="*/ 15197 w 54005"/>
                          <a:gd name="connsiteY27" fmla="*/ 31148 h 31273"/>
                          <a:gd name="connsiteX28" fmla="*/ 15072 w 54005"/>
                          <a:gd name="connsiteY28" fmla="*/ 31148 h 31273"/>
                          <a:gd name="connsiteX29" fmla="*/ 14569 w 54005"/>
                          <a:gd name="connsiteY29" fmla="*/ 30896 h 31273"/>
                          <a:gd name="connsiteX30" fmla="*/ 14569 w 54005"/>
                          <a:gd name="connsiteY30" fmla="*/ 30896 h 31273"/>
                          <a:gd name="connsiteX31" fmla="*/ 14569 w 54005"/>
                          <a:gd name="connsiteY31" fmla="*/ 30896 h 31273"/>
                          <a:gd name="connsiteX32" fmla="*/ 13941 w 54005"/>
                          <a:gd name="connsiteY32" fmla="*/ 30520 h 31273"/>
                          <a:gd name="connsiteX33" fmla="*/ 13816 w 54005"/>
                          <a:gd name="connsiteY33" fmla="*/ 30394 h 31273"/>
                          <a:gd name="connsiteX34" fmla="*/ 12559 w 54005"/>
                          <a:gd name="connsiteY34" fmla="*/ 29766 h 31273"/>
                          <a:gd name="connsiteX35" fmla="*/ 12434 w 54005"/>
                          <a:gd name="connsiteY35" fmla="*/ 29640 h 31273"/>
                          <a:gd name="connsiteX36" fmla="*/ 11680 w 54005"/>
                          <a:gd name="connsiteY36" fmla="*/ 29264 h 31273"/>
                          <a:gd name="connsiteX37" fmla="*/ 11429 w 54005"/>
                          <a:gd name="connsiteY37" fmla="*/ 29012 h 31273"/>
                          <a:gd name="connsiteX38" fmla="*/ 10801 w 54005"/>
                          <a:gd name="connsiteY38" fmla="*/ 28636 h 31273"/>
                          <a:gd name="connsiteX39" fmla="*/ 10676 w 54005"/>
                          <a:gd name="connsiteY39" fmla="*/ 28636 h 31273"/>
                          <a:gd name="connsiteX40" fmla="*/ 10047 w 54005"/>
                          <a:gd name="connsiteY40" fmla="*/ 28259 h 31273"/>
                          <a:gd name="connsiteX41" fmla="*/ 9922 w 54005"/>
                          <a:gd name="connsiteY41" fmla="*/ 28259 h 31273"/>
                          <a:gd name="connsiteX42" fmla="*/ 9169 w 54005"/>
                          <a:gd name="connsiteY42" fmla="*/ 27756 h 31273"/>
                          <a:gd name="connsiteX43" fmla="*/ 9043 w 54005"/>
                          <a:gd name="connsiteY43" fmla="*/ 27631 h 31273"/>
                          <a:gd name="connsiteX44" fmla="*/ 9043 w 54005"/>
                          <a:gd name="connsiteY44" fmla="*/ 27631 h 31273"/>
                          <a:gd name="connsiteX45" fmla="*/ 8164 w 54005"/>
                          <a:gd name="connsiteY45" fmla="*/ 27128 h 31273"/>
                          <a:gd name="connsiteX46" fmla="*/ 8038 w 54005"/>
                          <a:gd name="connsiteY46" fmla="*/ 27128 h 31273"/>
                          <a:gd name="connsiteX47" fmla="*/ 7661 w 54005"/>
                          <a:gd name="connsiteY47" fmla="*/ 26877 h 31273"/>
                          <a:gd name="connsiteX48" fmla="*/ 7536 w 54005"/>
                          <a:gd name="connsiteY48" fmla="*/ 26752 h 31273"/>
                          <a:gd name="connsiteX49" fmla="*/ 6908 w 54005"/>
                          <a:gd name="connsiteY49" fmla="*/ 26375 h 31273"/>
                          <a:gd name="connsiteX50" fmla="*/ 6782 w 54005"/>
                          <a:gd name="connsiteY50" fmla="*/ 26375 h 31273"/>
                          <a:gd name="connsiteX51" fmla="*/ 5777 w 54005"/>
                          <a:gd name="connsiteY51" fmla="*/ 25747 h 31273"/>
                          <a:gd name="connsiteX52" fmla="*/ 5526 w 54005"/>
                          <a:gd name="connsiteY52" fmla="*/ 25621 h 31273"/>
                          <a:gd name="connsiteX53" fmla="*/ 4647 w 54005"/>
                          <a:gd name="connsiteY53" fmla="*/ 25119 h 31273"/>
                          <a:gd name="connsiteX54" fmla="*/ 4522 w 54005"/>
                          <a:gd name="connsiteY54" fmla="*/ 25119 h 31273"/>
                          <a:gd name="connsiteX55" fmla="*/ 4270 w 54005"/>
                          <a:gd name="connsiteY55" fmla="*/ 24868 h 31273"/>
                          <a:gd name="connsiteX56" fmla="*/ 4144 w 54005"/>
                          <a:gd name="connsiteY56" fmla="*/ 24868 h 31273"/>
                          <a:gd name="connsiteX57" fmla="*/ 3517 w 54005"/>
                          <a:gd name="connsiteY57" fmla="*/ 24491 h 31273"/>
                          <a:gd name="connsiteX58" fmla="*/ 3517 w 54005"/>
                          <a:gd name="connsiteY58" fmla="*/ 24491 h 31273"/>
                          <a:gd name="connsiteX59" fmla="*/ 3266 w 54005"/>
                          <a:gd name="connsiteY59" fmla="*/ 24365 h 31273"/>
                          <a:gd name="connsiteX60" fmla="*/ 2637 w 54005"/>
                          <a:gd name="connsiteY60" fmla="*/ 23989 h 31273"/>
                          <a:gd name="connsiteX61" fmla="*/ 2512 w 54005"/>
                          <a:gd name="connsiteY61" fmla="*/ 23863 h 31273"/>
                          <a:gd name="connsiteX62" fmla="*/ 2010 w 54005"/>
                          <a:gd name="connsiteY62" fmla="*/ 23612 h 31273"/>
                          <a:gd name="connsiteX63" fmla="*/ 1759 w 54005"/>
                          <a:gd name="connsiteY63" fmla="*/ 23486 h 31273"/>
                          <a:gd name="connsiteX64" fmla="*/ 0 w 54005"/>
                          <a:gd name="connsiteY64" fmla="*/ 22481 h 31273"/>
                          <a:gd name="connsiteX65" fmla="*/ 0 w 54005"/>
                          <a:gd name="connsiteY65" fmla="*/ 20346 h 31273"/>
                          <a:gd name="connsiteX66" fmla="*/ 38934 w 54005"/>
                          <a:gd name="connsiteY66" fmla="*/ 0 h 31273"/>
                          <a:gd name="connsiteX67" fmla="*/ 39814 w 54005"/>
                          <a:gd name="connsiteY67" fmla="*/ 502 h 31273"/>
                          <a:gd name="connsiteX68" fmla="*/ 40065 w 54005"/>
                          <a:gd name="connsiteY68" fmla="*/ 628 h 31273"/>
                          <a:gd name="connsiteX69" fmla="*/ 41195 w 54005"/>
                          <a:gd name="connsiteY69" fmla="*/ 1382 h 31273"/>
                          <a:gd name="connsiteX70" fmla="*/ 41572 w 54005"/>
                          <a:gd name="connsiteY70" fmla="*/ 1507 h 31273"/>
                          <a:gd name="connsiteX71" fmla="*/ 42702 w 54005"/>
                          <a:gd name="connsiteY71" fmla="*/ 2261 h 31273"/>
                          <a:gd name="connsiteX72" fmla="*/ 42828 w 54005"/>
                          <a:gd name="connsiteY72" fmla="*/ 2386 h 31273"/>
                          <a:gd name="connsiteX73" fmla="*/ 43330 w 54005"/>
                          <a:gd name="connsiteY73" fmla="*/ 2637 h 31273"/>
                          <a:gd name="connsiteX74" fmla="*/ 43456 w 54005"/>
                          <a:gd name="connsiteY74" fmla="*/ 2637 h 31273"/>
                          <a:gd name="connsiteX75" fmla="*/ 43456 w 54005"/>
                          <a:gd name="connsiteY75" fmla="*/ 2637 h 31273"/>
                          <a:gd name="connsiteX76" fmla="*/ 44461 w 54005"/>
                          <a:gd name="connsiteY76" fmla="*/ 3265 h 31273"/>
                          <a:gd name="connsiteX77" fmla="*/ 44712 w 54005"/>
                          <a:gd name="connsiteY77" fmla="*/ 3391 h 31273"/>
                          <a:gd name="connsiteX78" fmla="*/ 45340 w 54005"/>
                          <a:gd name="connsiteY78" fmla="*/ 3768 h 31273"/>
                          <a:gd name="connsiteX79" fmla="*/ 45465 w 54005"/>
                          <a:gd name="connsiteY79" fmla="*/ 3768 h 31273"/>
                          <a:gd name="connsiteX80" fmla="*/ 46596 w 54005"/>
                          <a:gd name="connsiteY80" fmla="*/ 4521 h 31273"/>
                          <a:gd name="connsiteX81" fmla="*/ 46847 w 54005"/>
                          <a:gd name="connsiteY81" fmla="*/ 4647 h 31273"/>
                          <a:gd name="connsiteX82" fmla="*/ 47098 w 54005"/>
                          <a:gd name="connsiteY82" fmla="*/ 4773 h 31273"/>
                          <a:gd name="connsiteX83" fmla="*/ 47224 w 54005"/>
                          <a:gd name="connsiteY83" fmla="*/ 4773 h 31273"/>
                          <a:gd name="connsiteX84" fmla="*/ 47852 w 54005"/>
                          <a:gd name="connsiteY84" fmla="*/ 5275 h 31273"/>
                          <a:gd name="connsiteX85" fmla="*/ 47977 w 54005"/>
                          <a:gd name="connsiteY85" fmla="*/ 5275 h 31273"/>
                          <a:gd name="connsiteX86" fmla="*/ 48354 w 54005"/>
                          <a:gd name="connsiteY86" fmla="*/ 5526 h 31273"/>
                          <a:gd name="connsiteX87" fmla="*/ 48480 w 54005"/>
                          <a:gd name="connsiteY87" fmla="*/ 5526 h 31273"/>
                          <a:gd name="connsiteX88" fmla="*/ 48857 w 54005"/>
                          <a:gd name="connsiteY88" fmla="*/ 5777 h 31273"/>
                          <a:gd name="connsiteX89" fmla="*/ 49108 w 54005"/>
                          <a:gd name="connsiteY89" fmla="*/ 5903 h 31273"/>
                          <a:gd name="connsiteX90" fmla="*/ 49610 w 54005"/>
                          <a:gd name="connsiteY90" fmla="*/ 6280 h 31273"/>
                          <a:gd name="connsiteX91" fmla="*/ 49987 w 54005"/>
                          <a:gd name="connsiteY91" fmla="*/ 6405 h 31273"/>
                          <a:gd name="connsiteX92" fmla="*/ 50238 w 54005"/>
                          <a:gd name="connsiteY92" fmla="*/ 6531 h 31273"/>
                          <a:gd name="connsiteX93" fmla="*/ 50238 w 54005"/>
                          <a:gd name="connsiteY93" fmla="*/ 6531 h 31273"/>
                          <a:gd name="connsiteX94" fmla="*/ 50364 w 54005"/>
                          <a:gd name="connsiteY94" fmla="*/ 6657 h 31273"/>
                          <a:gd name="connsiteX95" fmla="*/ 50740 w 54005"/>
                          <a:gd name="connsiteY95" fmla="*/ 6908 h 31273"/>
                          <a:gd name="connsiteX96" fmla="*/ 50991 w 54005"/>
                          <a:gd name="connsiteY96" fmla="*/ 7033 h 31273"/>
                          <a:gd name="connsiteX97" fmla="*/ 51243 w 54005"/>
                          <a:gd name="connsiteY97" fmla="*/ 7159 h 31273"/>
                          <a:gd name="connsiteX98" fmla="*/ 51243 w 54005"/>
                          <a:gd name="connsiteY98" fmla="*/ 7159 h 31273"/>
                          <a:gd name="connsiteX99" fmla="*/ 51368 w 54005"/>
                          <a:gd name="connsiteY99" fmla="*/ 7284 h 31273"/>
                          <a:gd name="connsiteX100" fmla="*/ 51620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187"/>
                            </a:lnTo>
                            <a:lnTo>
                              <a:pt x="34790" y="19970"/>
                            </a:lnTo>
                            <a:lnTo>
                              <a:pt x="34790" y="19970"/>
                            </a:lnTo>
                            <a:lnTo>
                              <a:pt x="34162" y="20346"/>
                            </a:lnTo>
                            <a:lnTo>
                              <a:pt x="32780" y="21100"/>
                            </a:lnTo>
                            <a:lnTo>
                              <a:pt x="32780" y="21100"/>
                            </a:lnTo>
                            <a:lnTo>
                              <a:pt x="32152" y="21477"/>
                            </a:lnTo>
                            <a:lnTo>
                              <a:pt x="32027" y="21477"/>
                            </a:lnTo>
                            <a:lnTo>
                              <a:pt x="32027" y="21477"/>
                            </a:lnTo>
                            <a:lnTo>
                              <a:pt x="31775" y="21728"/>
                            </a:lnTo>
                            <a:lnTo>
                              <a:pt x="31775" y="21728"/>
                            </a:lnTo>
                            <a:lnTo>
                              <a:pt x="29892" y="22733"/>
                            </a:lnTo>
                            <a:lnTo>
                              <a:pt x="29892" y="22733"/>
                            </a:lnTo>
                            <a:lnTo>
                              <a:pt x="29515" y="22984"/>
                            </a:lnTo>
                            <a:lnTo>
                              <a:pt x="21728" y="27380"/>
                            </a:lnTo>
                            <a:lnTo>
                              <a:pt x="21728" y="27505"/>
                            </a:lnTo>
                            <a:lnTo>
                              <a:pt x="21226" y="27756"/>
                            </a:lnTo>
                            <a:lnTo>
                              <a:pt x="21226" y="27756"/>
                            </a:lnTo>
                            <a:lnTo>
                              <a:pt x="15197" y="31273"/>
                            </a:lnTo>
                            <a:lnTo>
                              <a:pt x="15197" y="31148"/>
                            </a:lnTo>
                            <a:lnTo>
                              <a:pt x="15072" y="31148"/>
                            </a:lnTo>
                            <a:lnTo>
                              <a:pt x="14569" y="30896"/>
                            </a:lnTo>
                            <a:lnTo>
                              <a:pt x="14569" y="30896"/>
                            </a:lnTo>
                            <a:lnTo>
                              <a:pt x="14569" y="30896"/>
                            </a:lnTo>
                            <a:lnTo>
                              <a:pt x="13941" y="30520"/>
                            </a:lnTo>
                            <a:lnTo>
                              <a:pt x="13816" y="30394"/>
                            </a:lnTo>
                            <a:lnTo>
                              <a:pt x="12559" y="29766"/>
                            </a:lnTo>
                            <a:lnTo>
                              <a:pt x="12434" y="29640"/>
                            </a:lnTo>
                            <a:lnTo>
                              <a:pt x="11680" y="29264"/>
                            </a:lnTo>
                            <a:lnTo>
                              <a:pt x="11429" y="29012"/>
                            </a:lnTo>
                            <a:lnTo>
                              <a:pt x="10801" y="28636"/>
                            </a:lnTo>
                            <a:lnTo>
                              <a:pt x="10676" y="28636"/>
                            </a:lnTo>
                            <a:lnTo>
                              <a:pt x="10047" y="28259"/>
                            </a:lnTo>
                            <a:lnTo>
                              <a:pt x="9922" y="28259"/>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261"/>
                            </a:lnTo>
                            <a:lnTo>
                              <a:pt x="42828" y="2386"/>
                            </a:lnTo>
                            <a:lnTo>
                              <a:pt x="43330" y="2637"/>
                            </a:lnTo>
                            <a:lnTo>
                              <a:pt x="43456" y="2637"/>
                            </a:lnTo>
                            <a:lnTo>
                              <a:pt x="43456" y="2637"/>
                            </a:lnTo>
                            <a:lnTo>
                              <a:pt x="44461" y="3265"/>
                            </a:lnTo>
                            <a:lnTo>
                              <a:pt x="44712" y="3391"/>
                            </a:lnTo>
                            <a:lnTo>
                              <a:pt x="45340" y="3768"/>
                            </a:lnTo>
                            <a:lnTo>
                              <a:pt x="45465" y="3768"/>
                            </a:lnTo>
                            <a:lnTo>
                              <a:pt x="46596" y="4521"/>
                            </a:lnTo>
                            <a:lnTo>
                              <a:pt x="46847" y="4647"/>
                            </a:lnTo>
                            <a:lnTo>
                              <a:pt x="47098" y="4773"/>
                            </a:lnTo>
                            <a:lnTo>
                              <a:pt x="47224" y="4773"/>
                            </a:lnTo>
                            <a:lnTo>
                              <a:pt x="47852" y="5275"/>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4"/>
                            </a:lnTo>
                            <a:lnTo>
                              <a:pt x="51620"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92" name="Freeform: Shape 1991">
                        <a:extLst>
                          <a:ext uri="{FF2B5EF4-FFF2-40B4-BE49-F238E27FC236}">
                            <a16:creationId xmlns:a16="http://schemas.microsoft.com/office/drawing/2014/main" id="{24641373-F2F5-4F5E-9A2F-111BDAD9A645}"/>
                          </a:ext>
                        </a:extLst>
                      </p:cNvPr>
                      <p:cNvSpPr/>
                      <p:nvPr/>
                    </p:nvSpPr>
                    <p:spPr>
                      <a:xfrm>
                        <a:off x="3869705" y="1638234"/>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313 h 31273"/>
                          <a:gd name="connsiteX9" fmla="*/ 34790 w 54005"/>
                          <a:gd name="connsiteY9" fmla="*/ 19970 h 31273"/>
                          <a:gd name="connsiteX10" fmla="*/ 34162 w 54005"/>
                          <a:gd name="connsiteY10" fmla="*/ 20346 h 31273"/>
                          <a:gd name="connsiteX11" fmla="*/ 32780 w 54005"/>
                          <a:gd name="connsiteY11" fmla="*/ 21100 h 31273"/>
                          <a:gd name="connsiteX12" fmla="*/ 32152 w 54005"/>
                          <a:gd name="connsiteY12" fmla="*/ 21477 h 31273"/>
                          <a:gd name="connsiteX13" fmla="*/ 32027 w 54005"/>
                          <a:gd name="connsiteY13" fmla="*/ 21477 h 31273"/>
                          <a:gd name="connsiteX14" fmla="*/ 32027 w 54005"/>
                          <a:gd name="connsiteY14" fmla="*/ 21477 h 31273"/>
                          <a:gd name="connsiteX15" fmla="*/ 31775 w 54005"/>
                          <a:gd name="connsiteY15" fmla="*/ 21728 h 31273"/>
                          <a:gd name="connsiteX16" fmla="*/ 29892 w 54005"/>
                          <a:gd name="connsiteY16" fmla="*/ 22733 h 31273"/>
                          <a:gd name="connsiteX17" fmla="*/ 29892 w 54005"/>
                          <a:gd name="connsiteY17" fmla="*/ 22733 h 31273"/>
                          <a:gd name="connsiteX18" fmla="*/ 29515 w 54005"/>
                          <a:gd name="connsiteY18" fmla="*/ 22984 h 31273"/>
                          <a:gd name="connsiteX19" fmla="*/ 21728 w 54005"/>
                          <a:gd name="connsiteY19" fmla="*/ 27505 h 31273"/>
                          <a:gd name="connsiteX20" fmla="*/ 21226 w 54005"/>
                          <a:gd name="connsiteY20" fmla="*/ 27756 h 31273"/>
                          <a:gd name="connsiteX21" fmla="*/ 21226 w 54005"/>
                          <a:gd name="connsiteY21" fmla="*/ 27756 h 31273"/>
                          <a:gd name="connsiteX22" fmla="*/ 15197 w 54005"/>
                          <a:gd name="connsiteY22" fmla="*/ 31273 h 31273"/>
                          <a:gd name="connsiteX23" fmla="*/ 15197 w 54005"/>
                          <a:gd name="connsiteY23" fmla="*/ 31148 h 31273"/>
                          <a:gd name="connsiteX24" fmla="*/ 15072 w 54005"/>
                          <a:gd name="connsiteY24" fmla="*/ 31148 h 31273"/>
                          <a:gd name="connsiteX25" fmla="*/ 14569 w 54005"/>
                          <a:gd name="connsiteY25" fmla="*/ 30896 h 31273"/>
                          <a:gd name="connsiteX26" fmla="*/ 14569 w 54005"/>
                          <a:gd name="connsiteY26" fmla="*/ 30896 h 31273"/>
                          <a:gd name="connsiteX27" fmla="*/ 13941 w 54005"/>
                          <a:gd name="connsiteY27" fmla="*/ 30520 h 31273"/>
                          <a:gd name="connsiteX28" fmla="*/ 13816 w 54005"/>
                          <a:gd name="connsiteY28" fmla="*/ 30394 h 31273"/>
                          <a:gd name="connsiteX29" fmla="*/ 12559 w 54005"/>
                          <a:gd name="connsiteY29" fmla="*/ 29766 h 31273"/>
                          <a:gd name="connsiteX30" fmla="*/ 12434 w 54005"/>
                          <a:gd name="connsiteY30" fmla="*/ 29640 h 31273"/>
                          <a:gd name="connsiteX31" fmla="*/ 11680 w 54005"/>
                          <a:gd name="connsiteY31" fmla="*/ 29264 h 31273"/>
                          <a:gd name="connsiteX32" fmla="*/ 11429 w 54005"/>
                          <a:gd name="connsiteY32" fmla="*/ 29012 h 31273"/>
                          <a:gd name="connsiteX33" fmla="*/ 10801 w 54005"/>
                          <a:gd name="connsiteY33" fmla="*/ 28636 h 31273"/>
                          <a:gd name="connsiteX34" fmla="*/ 10676 w 54005"/>
                          <a:gd name="connsiteY34" fmla="*/ 28636 h 31273"/>
                          <a:gd name="connsiteX35" fmla="*/ 10047 w 54005"/>
                          <a:gd name="connsiteY35" fmla="*/ 28259 h 31273"/>
                          <a:gd name="connsiteX36" fmla="*/ 9922 w 54005"/>
                          <a:gd name="connsiteY36" fmla="*/ 28259 h 31273"/>
                          <a:gd name="connsiteX37" fmla="*/ 9169 w 54005"/>
                          <a:gd name="connsiteY37" fmla="*/ 27756 h 31273"/>
                          <a:gd name="connsiteX38" fmla="*/ 9043 w 54005"/>
                          <a:gd name="connsiteY38" fmla="*/ 27631 h 31273"/>
                          <a:gd name="connsiteX39" fmla="*/ 9043 w 54005"/>
                          <a:gd name="connsiteY39" fmla="*/ 27631 h 31273"/>
                          <a:gd name="connsiteX40" fmla="*/ 8164 w 54005"/>
                          <a:gd name="connsiteY40" fmla="*/ 27129 h 31273"/>
                          <a:gd name="connsiteX41" fmla="*/ 8038 w 54005"/>
                          <a:gd name="connsiteY41" fmla="*/ 27129 h 31273"/>
                          <a:gd name="connsiteX42" fmla="*/ 7661 w 54005"/>
                          <a:gd name="connsiteY42" fmla="*/ 26877 h 31273"/>
                          <a:gd name="connsiteX43" fmla="*/ 7536 w 54005"/>
                          <a:gd name="connsiteY43" fmla="*/ 26752 h 31273"/>
                          <a:gd name="connsiteX44" fmla="*/ 6908 w 54005"/>
                          <a:gd name="connsiteY44" fmla="*/ 26375 h 31273"/>
                          <a:gd name="connsiteX45" fmla="*/ 6782 w 54005"/>
                          <a:gd name="connsiteY45" fmla="*/ 26375 h 31273"/>
                          <a:gd name="connsiteX46" fmla="*/ 5777 w 54005"/>
                          <a:gd name="connsiteY46" fmla="*/ 25747 h 31273"/>
                          <a:gd name="connsiteX47" fmla="*/ 5526 w 54005"/>
                          <a:gd name="connsiteY47" fmla="*/ 25621 h 31273"/>
                          <a:gd name="connsiteX48" fmla="*/ 4647 w 54005"/>
                          <a:gd name="connsiteY48" fmla="*/ 25119 h 31273"/>
                          <a:gd name="connsiteX49" fmla="*/ 4522 w 54005"/>
                          <a:gd name="connsiteY49" fmla="*/ 25119 h 31273"/>
                          <a:gd name="connsiteX50" fmla="*/ 4270 w 54005"/>
                          <a:gd name="connsiteY50" fmla="*/ 24868 h 31273"/>
                          <a:gd name="connsiteX51" fmla="*/ 4144 w 54005"/>
                          <a:gd name="connsiteY51" fmla="*/ 24868 h 31273"/>
                          <a:gd name="connsiteX52" fmla="*/ 3517 w 54005"/>
                          <a:gd name="connsiteY52" fmla="*/ 24491 h 31273"/>
                          <a:gd name="connsiteX53" fmla="*/ 3517 w 54005"/>
                          <a:gd name="connsiteY53" fmla="*/ 24491 h 31273"/>
                          <a:gd name="connsiteX54" fmla="*/ 3266 w 54005"/>
                          <a:gd name="connsiteY54" fmla="*/ 24365 h 31273"/>
                          <a:gd name="connsiteX55" fmla="*/ 2637 w 54005"/>
                          <a:gd name="connsiteY55" fmla="*/ 23989 h 31273"/>
                          <a:gd name="connsiteX56" fmla="*/ 2512 w 54005"/>
                          <a:gd name="connsiteY56" fmla="*/ 23863 h 31273"/>
                          <a:gd name="connsiteX57" fmla="*/ 2010 w 54005"/>
                          <a:gd name="connsiteY57" fmla="*/ 23612 h 31273"/>
                          <a:gd name="connsiteX58" fmla="*/ 1759 w 54005"/>
                          <a:gd name="connsiteY58" fmla="*/ 23486 h 31273"/>
                          <a:gd name="connsiteX59" fmla="*/ 0 w 54005"/>
                          <a:gd name="connsiteY59" fmla="*/ 22481 h 31273"/>
                          <a:gd name="connsiteX60" fmla="*/ 5526 w 54005"/>
                          <a:gd name="connsiteY60" fmla="*/ 19342 h 31273"/>
                          <a:gd name="connsiteX61" fmla="*/ 5526 w 54005"/>
                          <a:gd name="connsiteY61" fmla="*/ 19342 h 31273"/>
                          <a:gd name="connsiteX62" fmla="*/ 5652 w 54005"/>
                          <a:gd name="connsiteY62" fmla="*/ 19216 h 31273"/>
                          <a:gd name="connsiteX63" fmla="*/ 5777 w 54005"/>
                          <a:gd name="connsiteY63" fmla="*/ 19216 h 31273"/>
                          <a:gd name="connsiteX64" fmla="*/ 6029 w 54005"/>
                          <a:gd name="connsiteY64" fmla="*/ 18965 h 31273"/>
                          <a:gd name="connsiteX65" fmla="*/ 6029 w 54005"/>
                          <a:gd name="connsiteY65" fmla="*/ 18965 h 31273"/>
                          <a:gd name="connsiteX66" fmla="*/ 6280 w 54005"/>
                          <a:gd name="connsiteY66" fmla="*/ 18839 h 31273"/>
                          <a:gd name="connsiteX67" fmla="*/ 6280 w 54005"/>
                          <a:gd name="connsiteY67" fmla="*/ 18839 h 31273"/>
                          <a:gd name="connsiteX68" fmla="*/ 21728 w 54005"/>
                          <a:gd name="connsiteY68" fmla="*/ 9922 h 31273"/>
                          <a:gd name="connsiteX69" fmla="*/ 21979 w 54005"/>
                          <a:gd name="connsiteY69" fmla="*/ 9796 h 31273"/>
                          <a:gd name="connsiteX70" fmla="*/ 22482 w 54005"/>
                          <a:gd name="connsiteY70" fmla="*/ 9545 h 31273"/>
                          <a:gd name="connsiteX71" fmla="*/ 22733 w 54005"/>
                          <a:gd name="connsiteY71" fmla="*/ 9420 h 31273"/>
                          <a:gd name="connsiteX72" fmla="*/ 38934 w 54005"/>
                          <a:gd name="connsiteY72" fmla="*/ 0 h 31273"/>
                          <a:gd name="connsiteX73" fmla="*/ 39814 w 54005"/>
                          <a:gd name="connsiteY73" fmla="*/ 502 h 31273"/>
                          <a:gd name="connsiteX74" fmla="*/ 40065 w 54005"/>
                          <a:gd name="connsiteY74" fmla="*/ 754 h 31273"/>
                          <a:gd name="connsiteX75" fmla="*/ 41195 w 54005"/>
                          <a:gd name="connsiteY75" fmla="*/ 1382 h 31273"/>
                          <a:gd name="connsiteX76" fmla="*/ 41572 w 54005"/>
                          <a:gd name="connsiteY76" fmla="*/ 1507 h 31273"/>
                          <a:gd name="connsiteX77" fmla="*/ 42702 w 54005"/>
                          <a:gd name="connsiteY77" fmla="*/ 2261 h 31273"/>
                          <a:gd name="connsiteX78" fmla="*/ 42828 w 54005"/>
                          <a:gd name="connsiteY78" fmla="*/ 2261 h 31273"/>
                          <a:gd name="connsiteX79" fmla="*/ 43330 w 54005"/>
                          <a:gd name="connsiteY79" fmla="*/ 2638 h 31273"/>
                          <a:gd name="connsiteX80" fmla="*/ 43456 w 54005"/>
                          <a:gd name="connsiteY80" fmla="*/ 2638 h 31273"/>
                          <a:gd name="connsiteX81" fmla="*/ 44461 w 54005"/>
                          <a:gd name="connsiteY81" fmla="*/ 3265 h 31273"/>
                          <a:gd name="connsiteX82" fmla="*/ 44712 w 54005"/>
                          <a:gd name="connsiteY82" fmla="*/ 3391 h 31273"/>
                          <a:gd name="connsiteX83" fmla="*/ 45340 w 54005"/>
                          <a:gd name="connsiteY83" fmla="*/ 3768 h 31273"/>
                          <a:gd name="connsiteX84" fmla="*/ 45465 w 54005"/>
                          <a:gd name="connsiteY84" fmla="*/ 3768 h 31273"/>
                          <a:gd name="connsiteX85" fmla="*/ 46596 w 54005"/>
                          <a:gd name="connsiteY85" fmla="*/ 4521 h 31273"/>
                          <a:gd name="connsiteX86" fmla="*/ 46847 w 54005"/>
                          <a:gd name="connsiteY86" fmla="*/ 4647 h 31273"/>
                          <a:gd name="connsiteX87" fmla="*/ 47224 w 54005"/>
                          <a:gd name="connsiteY87" fmla="*/ 4898 h 31273"/>
                          <a:gd name="connsiteX88" fmla="*/ 47852 w 54005"/>
                          <a:gd name="connsiteY88" fmla="*/ 5275 h 31273"/>
                          <a:gd name="connsiteX89" fmla="*/ 47977 w 54005"/>
                          <a:gd name="connsiteY89" fmla="*/ 5275 h 31273"/>
                          <a:gd name="connsiteX90" fmla="*/ 48354 w 54005"/>
                          <a:gd name="connsiteY90" fmla="*/ 5526 h 31273"/>
                          <a:gd name="connsiteX91" fmla="*/ 48480 w 54005"/>
                          <a:gd name="connsiteY91" fmla="*/ 5526 h 31273"/>
                          <a:gd name="connsiteX92" fmla="*/ 48857 w 54005"/>
                          <a:gd name="connsiteY92" fmla="*/ 5777 h 31273"/>
                          <a:gd name="connsiteX93" fmla="*/ 49108 w 54005"/>
                          <a:gd name="connsiteY93" fmla="*/ 5903 h 31273"/>
                          <a:gd name="connsiteX94" fmla="*/ 49735 w 54005"/>
                          <a:gd name="connsiteY94" fmla="*/ 6280 h 31273"/>
                          <a:gd name="connsiteX95" fmla="*/ 49987 w 54005"/>
                          <a:gd name="connsiteY95" fmla="*/ 6405 h 31273"/>
                          <a:gd name="connsiteX96" fmla="*/ 50238 w 54005"/>
                          <a:gd name="connsiteY96" fmla="*/ 6531 h 31273"/>
                          <a:gd name="connsiteX97" fmla="*/ 50238 w 54005"/>
                          <a:gd name="connsiteY97" fmla="*/ 6531 h 31273"/>
                          <a:gd name="connsiteX98" fmla="*/ 50364 w 54005"/>
                          <a:gd name="connsiteY98" fmla="*/ 6657 h 31273"/>
                          <a:gd name="connsiteX99" fmla="*/ 50740 w 54005"/>
                          <a:gd name="connsiteY99" fmla="*/ 6908 h 31273"/>
                          <a:gd name="connsiteX100" fmla="*/ 50991 w 54005"/>
                          <a:gd name="connsiteY100" fmla="*/ 7033 h 31273"/>
                          <a:gd name="connsiteX101" fmla="*/ 51243 w 54005"/>
                          <a:gd name="connsiteY101" fmla="*/ 7159 h 31273"/>
                          <a:gd name="connsiteX102" fmla="*/ 51243 w 54005"/>
                          <a:gd name="connsiteY102" fmla="*/ 7159 h 31273"/>
                          <a:gd name="connsiteX103" fmla="*/ 51368 w 54005"/>
                          <a:gd name="connsiteY103" fmla="*/ 7285 h 31273"/>
                          <a:gd name="connsiteX104" fmla="*/ 51620 w 54005"/>
                          <a:gd name="connsiteY104" fmla="*/ 7410 h 31273"/>
                          <a:gd name="connsiteX105" fmla="*/ 51745 w 54005"/>
                          <a:gd name="connsiteY105" fmla="*/ 7536 h 31273"/>
                          <a:gd name="connsiteX106" fmla="*/ 52247 w 54005"/>
                          <a:gd name="connsiteY106" fmla="*/ 7787 h 31273"/>
                          <a:gd name="connsiteX107" fmla="*/ 52499 w 54005"/>
                          <a:gd name="connsiteY107" fmla="*/ 7912 h 31273"/>
                          <a:gd name="connsiteX108" fmla="*/ 52875 w 54005"/>
                          <a:gd name="connsiteY108" fmla="*/ 8038 h 31273"/>
                          <a:gd name="connsiteX109" fmla="*/ 53001 w 54005"/>
                          <a:gd name="connsiteY109" fmla="*/ 8164 h 31273"/>
                          <a:gd name="connsiteX110" fmla="*/ 53504 w 54005"/>
                          <a:gd name="connsiteY110" fmla="*/ 8415 h 31273"/>
                          <a:gd name="connsiteX111" fmla="*/ 53504 w 54005"/>
                          <a:gd name="connsiteY111"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313"/>
                            </a:lnTo>
                            <a:lnTo>
                              <a:pt x="34790" y="19970"/>
                            </a:lnTo>
                            <a:lnTo>
                              <a:pt x="34162" y="20346"/>
                            </a:lnTo>
                            <a:lnTo>
                              <a:pt x="32780" y="21100"/>
                            </a:lnTo>
                            <a:lnTo>
                              <a:pt x="32152" y="21477"/>
                            </a:lnTo>
                            <a:lnTo>
                              <a:pt x="32027" y="21477"/>
                            </a:lnTo>
                            <a:lnTo>
                              <a:pt x="32027" y="21477"/>
                            </a:lnTo>
                            <a:lnTo>
                              <a:pt x="31775" y="21728"/>
                            </a:lnTo>
                            <a:lnTo>
                              <a:pt x="29892" y="22733"/>
                            </a:lnTo>
                            <a:lnTo>
                              <a:pt x="29892" y="22733"/>
                            </a:lnTo>
                            <a:lnTo>
                              <a:pt x="29515" y="22984"/>
                            </a:lnTo>
                            <a:lnTo>
                              <a:pt x="21728" y="27505"/>
                            </a:lnTo>
                            <a:lnTo>
                              <a:pt x="21226" y="27756"/>
                            </a:lnTo>
                            <a:lnTo>
                              <a:pt x="21226" y="27756"/>
                            </a:lnTo>
                            <a:lnTo>
                              <a:pt x="15197" y="31273"/>
                            </a:lnTo>
                            <a:lnTo>
                              <a:pt x="15197" y="31148"/>
                            </a:lnTo>
                            <a:lnTo>
                              <a:pt x="15072" y="31148"/>
                            </a:lnTo>
                            <a:lnTo>
                              <a:pt x="14569" y="30896"/>
                            </a:lnTo>
                            <a:lnTo>
                              <a:pt x="14569" y="30896"/>
                            </a:lnTo>
                            <a:lnTo>
                              <a:pt x="13941" y="30520"/>
                            </a:lnTo>
                            <a:lnTo>
                              <a:pt x="13816" y="30394"/>
                            </a:lnTo>
                            <a:lnTo>
                              <a:pt x="12559" y="29766"/>
                            </a:lnTo>
                            <a:lnTo>
                              <a:pt x="12434" y="29640"/>
                            </a:lnTo>
                            <a:lnTo>
                              <a:pt x="11680" y="29264"/>
                            </a:lnTo>
                            <a:lnTo>
                              <a:pt x="11429" y="29012"/>
                            </a:lnTo>
                            <a:lnTo>
                              <a:pt x="10801" y="28636"/>
                            </a:lnTo>
                            <a:lnTo>
                              <a:pt x="10676" y="28636"/>
                            </a:lnTo>
                            <a:lnTo>
                              <a:pt x="10047" y="28259"/>
                            </a:lnTo>
                            <a:lnTo>
                              <a:pt x="9922" y="28259"/>
                            </a:lnTo>
                            <a:lnTo>
                              <a:pt x="9169" y="27756"/>
                            </a:lnTo>
                            <a:lnTo>
                              <a:pt x="9043" y="27631"/>
                            </a:lnTo>
                            <a:lnTo>
                              <a:pt x="9043" y="27631"/>
                            </a:lnTo>
                            <a:lnTo>
                              <a:pt x="8164" y="27129"/>
                            </a:lnTo>
                            <a:lnTo>
                              <a:pt x="8038" y="27129"/>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863"/>
                            </a:lnTo>
                            <a:lnTo>
                              <a:pt x="2010" y="23612"/>
                            </a:lnTo>
                            <a:lnTo>
                              <a:pt x="1759" y="23486"/>
                            </a:lnTo>
                            <a:lnTo>
                              <a:pt x="0" y="22481"/>
                            </a:lnTo>
                            <a:lnTo>
                              <a:pt x="5526" y="19342"/>
                            </a:lnTo>
                            <a:lnTo>
                              <a:pt x="5526" y="19342"/>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420"/>
                            </a:lnTo>
                            <a:lnTo>
                              <a:pt x="38934" y="0"/>
                            </a:lnTo>
                            <a:lnTo>
                              <a:pt x="39814" y="502"/>
                            </a:lnTo>
                            <a:lnTo>
                              <a:pt x="40065" y="754"/>
                            </a:lnTo>
                            <a:lnTo>
                              <a:pt x="41195" y="1382"/>
                            </a:lnTo>
                            <a:lnTo>
                              <a:pt x="41572" y="1507"/>
                            </a:lnTo>
                            <a:lnTo>
                              <a:pt x="42702" y="2261"/>
                            </a:lnTo>
                            <a:lnTo>
                              <a:pt x="42828" y="2261"/>
                            </a:lnTo>
                            <a:lnTo>
                              <a:pt x="43330" y="2638"/>
                            </a:lnTo>
                            <a:lnTo>
                              <a:pt x="43456" y="2638"/>
                            </a:lnTo>
                            <a:lnTo>
                              <a:pt x="44461" y="3265"/>
                            </a:lnTo>
                            <a:lnTo>
                              <a:pt x="44712" y="3391"/>
                            </a:lnTo>
                            <a:lnTo>
                              <a:pt x="45340" y="3768"/>
                            </a:lnTo>
                            <a:lnTo>
                              <a:pt x="45465" y="3768"/>
                            </a:lnTo>
                            <a:lnTo>
                              <a:pt x="46596" y="4521"/>
                            </a:lnTo>
                            <a:lnTo>
                              <a:pt x="46847" y="4647"/>
                            </a:lnTo>
                            <a:lnTo>
                              <a:pt x="47224" y="4898"/>
                            </a:lnTo>
                            <a:lnTo>
                              <a:pt x="47852" y="5275"/>
                            </a:lnTo>
                            <a:lnTo>
                              <a:pt x="47977" y="5275"/>
                            </a:lnTo>
                            <a:lnTo>
                              <a:pt x="48354" y="5526"/>
                            </a:lnTo>
                            <a:lnTo>
                              <a:pt x="48480" y="5526"/>
                            </a:lnTo>
                            <a:lnTo>
                              <a:pt x="48857" y="5777"/>
                            </a:lnTo>
                            <a:lnTo>
                              <a:pt x="49108" y="5903"/>
                            </a:lnTo>
                            <a:lnTo>
                              <a:pt x="49735" y="6280"/>
                            </a:lnTo>
                            <a:lnTo>
                              <a:pt x="49987" y="6405"/>
                            </a:lnTo>
                            <a:lnTo>
                              <a:pt x="50238" y="6531"/>
                            </a:lnTo>
                            <a:lnTo>
                              <a:pt x="50238" y="6531"/>
                            </a:lnTo>
                            <a:lnTo>
                              <a:pt x="50364" y="6657"/>
                            </a:lnTo>
                            <a:lnTo>
                              <a:pt x="50740" y="6908"/>
                            </a:lnTo>
                            <a:lnTo>
                              <a:pt x="50991" y="7033"/>
                            </a:lnTo>
                            <a:lnTo>
                              <a:pt x="51243" y="7159"/>
                            </a:lnTo>
                            <a:lnTo>
                              <a:pt x="51243" y="7159"/>
                            </a:lnTo>
                            <a:lnTo>
                              <a:pt x="51368" y="7285"/>
                            </a:lnTo>
                            <a:lnTo>
                              <a:pt x="51620" y="7410"/>
                            </a:lnTo>
                            <a:lnTo>
                              <a:pt x="51745" y="7536"/>
                            </a:lnTo>
                            <a:lnTo>
                              <a:pt x="52247" y="7787"/>
                            </a:lnTo>
                            <a:lnTo>
                              <a:pt x="52499" y="7912"/>
                            </a:lnTo>
                            <a:lnTo>
                              <a:pt x="52875" y="8038"/>
                            </a:lnTo>
                            <a:lnTo>
                              <a:pt x="53001" y="8164"/>
                            </a:lnTo>
                            <a:lnTo>
                              <a:pt x="53504" y="8415"/>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93" name="Freeform: Shape 1992">
                      <a:extLst>
                        <a:ext uri="{FF2B5EF4-FFF2-40B4-BE49-F238E27FC236}">
                          <a16:creationId xmlns:a16="http://schemas.microsoft.com/office/drawing/2014/main" id="{8F64E343-55AD-4CCB-8754-9BE40E54BD79}"/>
                        </a:ext>
                      </a:extLst>
                    </p:cNvPr>
                    <p:cNvSpPr/>
                    <p:nvPr/>
                  </p:nvSpPr>
                  <p:spPr>
                    <a:xfrm>
                      <a:off x="3869705" y="1660715"/>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94" name="Graphic 4">
                    <a:extLst>
                      <a:ext uri="{FF2B5EF4-FFF2-40B4-BE49-F238E27FC236}">
                        <a16:creationId xmlns:a16="http://schemas.microsoft.com/office/drawing/2014/main" id="{84FB7ED1-A2DF-40A1-A747-5F7CF3F14040}"/>
                      </a:ext>
                    </a:extLst>
                  </p:cNvPr>
                  <p:cNvGrpSpPr/>
                  <p:nvPr/>
                </p:nvGrpSpPr>
                <p:grpSpPr>
                  <a:xfrm>
                    <a:off x="3852498" y="1625046"/>
                    <a:ext cx="54005" cy="33282"/>
                    <a:chOff x="3852498" y="1625046"/>
                    <a:chExt cx="54005" cy="33282"/>
                  </a:xfrm>
                  <a:solidFill>
                    <a:schemeClr val="accent1"/>
                  </a:solidFill>
                </p:grpSpPr>
                <p:grpSp>
                  <p:nvGrpSpPr>
                    <p:cNvPr id="1995" name="Graphic 4">
                      <a:extLst>
                        <a:ext uri="{FF2B5EF4-FFF2-40B4-BE49-F238E27FC236}">
                          <a16:creationId xmlns:a16="http://schemas.microsoft.com/office/drawing/2014/main" id="{84FB7ED1-A2DF-40A1-A747-5F7CF3F14040}"/>
                        </a:ext>
                      </a:extLst>
                    </p:cNvPr>
                    <p:cNvGrpSpPr/>
                    <p:nvPr/>
                  </p:nvGrpSpPr>
                  <p:grpSpPr>
                    <a:xfrm>
                      <a:off x="3852498" y="1625046"/>
                      <a:ext cx="54005" cy="33282"/>
                      <a:chOff x="3852498" y="1625046"/>
                      <a:chExt cx="54005" cy="33282"/>
                    </a:xfrm>
                    <a:solidFill>
                      <a:schemeClr val="accent1"/>
                    </a:solidFill>
                  </p:grpSpPr>
                  <p:sp>
                    <p:nvSpPr>
                      <p:cNvPr id="1996" name="Freeform: Shape 1995">
                        <a:extLst>
                          <a:ext uri="{FF2B5EF4-FFF2-40B4-BE49-F238E27FC236}">
                            <a16:creationId xmlns:a16="http://schemas.microsoft.com/office/drawing/2014/main" id="{376E9F19-B5F5-40C7-83A5-01963892627B}"/>
                          </a:ext>
                        </a:extLst>
                      </p:cNvPr>
                      <p:cNvSpPr/>
                      <p:nvPr/>
                    </p:nvSpPr>
                    <p:spPr>
                      <a:xfrm>
                        <a:off x="3852498" y="1627181"/>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685 h 31147"/>
                          <a:gd name="connsiteX7" fmla="*/ 47098 w 54005"/>
                          <a:gd name="connsiteY7" fmla="*/ 12685 h 31147"/>
                          <a:gd name="connsiteX8" fmla="*/ 46345 w 54005"/>
                          <a:gd name="connsiteY8" fmla="*/ 13187 h 31147"/>
                          <a:gd name="connsiteX9" fmla="*/ 34664 w 54005"/>
                          <a:gd name="connsiteY9" fmla="*/ 19970 h 31147"/>
                          <a:gd name="connsiteX10" fmla="*/ 34664 w 54005"/>
                          <a:gd name="connsiteY10" fmla="*/ 19970 h 31147"/>
                          <a:gd name="connsiteX11" fmla="*/ 34036 w 54005"/>
                          <a:gd name="connsiteY11" fmla="*/ 20221 h 31147"/>
                          <a:gd name="connsiteX12" fmla="*/ 32780 w 54005"/>
                          <a:gd name="connsiteY12" fmla="*/ 21100 h 31147"/>
                          <a:gd name="connsiteX13" fmla="*/ 32655 w 54005"/>
                          <a:gd name="connsiteY13" fmla="*/ 21100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756 h 31147"/>
                          <a:gd name="connsiteX25" fmla="*/ 21226 w 54005"/>
                          <a:gd name="connsiteY25" fmla="*/ 27756 h 31147"/>
                          <a:gd name="connsiteX26" fmla="*/ 15197 w 54005"/>
                          <a:gd name="connsiteY26" fmla="*/ 31148 h 31147"/>
                          <a:gd name="connsiteX27" fmla="*/ 15071 w 54005"/>
                          <a:gd name="connsiteY27" fmla="*/ 31148 h 31147"/>
                          <a:gd name="connsiteX28" fmla="*/ 14946 w 54005"/>
                          <a:gd name="connsiteY28" fmla="*/ 31148 h 31147"/>
                          <a:gd name="connsiteX29" fmla="*/ 14569 w 54005"/>
                          <a:gd name="connsiteY29" fmla="*/ 30896 h 31147"/>
                          <a:gd name="connsiteX30" fmla="*/ 14443 w 54005"/>
                          <a:gd name="connsiteY30" fmla="*/ 30771 h 31147"/>
                          <a:gd name="connsiteX31" fmla="*/ 14443 w 54005"/>
                          <a:gd name="connsiteY31" fmla="*/ 30771 h 31147"/>
                          <a:gd name="connsiteX32" fmla="*/ 13941 w 54005"/>
                          <a:gd name="connsiteY32" fmla="*/ 30520 h 31147"/>
                          <a:gd name="connsiteX33" fmla="*/ 13690 w 54005"/>
                          <a:gd name="connsiteY33" fmla="*/ 30394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636 h 31147"/>
                          <a:gd name="connsiteX39" fmla="*/ 10550 w 54005"/>
                          <a:gd name="connsiteY39" fmla="*/ 28636 h 31147"/>
                          <a:gd name="connsiteX40" fmla="*/ 10047 w 54005"/>
                          <a:gd name="connsiteY40" fmla="*/ 28259 h 31147"/>
                          <a:gd name="connsiteX41" fmla="*/ 9922 w 54005"/>
                          <a:gd name="connsiteY41" fmla="*/ 28133 h 31147"/>
                          <a:gd name="connsiteX42" fmla="*/ 9169 w 54005"/>
                          <a:gd name="connsiteY42" fmla="*/ 27756 h 31147"/>
                          <a:gd name="connsiteX43" fmla="*/ 8917 w 54005"/>
                          <a:gd name="connsiteY43" fmla="*/ 27631 h 31147"/>
                          <a:gd name="connsiteX44" fmla="*/ 8917 w 54005"/>
                          <a:gd name="connsiteY44" fmla="*/ 27631 h 31147"/>
                          <a:gd name="connsiteX45" fmla="*/ 8038 w 54005"/>
                          <a:gd name="connsiteY45" fmla="*/ 27128 h 31147"/>
                          <a:gd name="connsiteX46" fmla="*/ 8038 w 54005"/>
                          <a:gd name="connsiteY46" fmla="*/ 27128 h 31147"/>
                          <a:gd name="connsiteX47" fmla="*/ 7536 w 54005"/>
                          <a:gd name="connsiteY47" fmla="*/ 26877 h 31147"/>
                          <a:gd name="connsiteX48" fmla="*/ 7410 w 54005"/>
                          <a:gd name="connsiteY48" fmla="*/ 26752 h 31147"/>
                          <a:gd name="connsiteX49" fmla="*/ 6782 w 54005"/>
                          <a:gd name="connsiteY49" fmla="*/ 26375 h 31147"/>
                          <a:gd name="connsiteX50" fmla="*/ 6782 w 54005"/>
                          <a:gd name="connsiteY50" fmla="*/ 26375 h 31147"/>
                          <a:gd name="connsiteX51" fmla="*/ 5652 w 54005"/>
                          <a:gd name="connsiteY51" fmla="*/ 25747 h 31147"/>
                          <a:gd name="connsiteX52" fmla="*/ 5400 w 54005"/>
                          <a:gd name="connsiteY52" fmla="*/ 25621 h 31147"/>
                          <a:gd name="connsiteX53" fmla="*/ 4521 w 54005"/>
                          <a:gd name="connsiteY53" fmla="*/ 25119 h 31147"/>
                          <a:gd name="connsiteX54" fmla="*/ 4521 w 54005"/>
                          <a:gd name="connsiteY54" fmla="*/ 25119 h 31147"/>
                          <a:gd name="connsiteX55" fmla="*/ 4144 w 54005"/>
                          <a:gd name="connsiteY55" fmla="*/ 24868 h 31147"/>
                          <a:gd name="connsiteX56" fmla="*/ 4144 w 54005"/>
                          <a:gd name="connsiteY56" fmla="*/ 24868 h 31147"/>
                          <a:gd name="connsiteX57" fmla="*/ 3391 w 54005"/>
                          <a:gd name="connsiteY57" fmla="*/ 24365 h 31147"/>
                          <a:gd name="connsiteX58" fmla="*/ 3391 w 54005"/>
                          <a:gd name="connsiteY58" fmla="*/ 24365 h 31147"/>
                          <a:gd name="connsiteX59" fmla="*/ 3266 w 54005"/>
                          <a:gd name="connsiteY59" fmla="*/ 24365 h 31147"/>
                          <a:gd name="connsiteX60" fmla="*/ 2512 w 54005"/>
                          <a:gd name="connsiteY60" fmla="*/ 23863 h 31147"/>
                          <a:gd name="connsiteX61" fmla="*/ 2512 w 54005"/>
                          <a:gd name="connsiteY61" fmla="*/ 23863 h 31147"/>
                          <a:gd name="connsiteX62" fmla="*/ 1884 w 54005"/>
                          <a:gd name="connsiteY62" fmla="*/ 23612 h 31147"/>
                          <a:gd name="connsiteX63" fmla="*/ 1758 w 54005"/>
                          <a:gd name="connsiteY63" fmla="*/ 23486 h 31147"/>
                          <a:gd name="connsiteX64" fmla="*/ 0 w 54005"/>
                          <a:gd name="connsiteY64" fmla="*/ 22481 h 31147"/>
                          <a:gd name="connsiteX65" fmla="*/ 0 w 54005"/>
                          <a:gd name="connsiteY65" fmla="*/ 20346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382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637 h 31147"/>
                          <a:gd name="connsiteX74" fmla="*/ 43330 w 54005"/>
                          <a:gd name="connsiteY74" fmla="*/ 2637 h 31147"/>
                          <a:gd name="connsiteX75" fmla="*/ 43330 w 54005"/>
                          <a:gd name="connsiteY75" fmla="*/ 2637 h 31147"/>
                          <a:gd name="connsiteX76" fmla="*/ 44335 w 54005"/>
                          <a:gd name="connsiteY76" fmla="*/ 3265 h 31147"/>
                          <a:gd name="connsiteX77" fmla="*/ 44586 w 54005"/>
                          <a:gd name="connsiteY77" fmla="*/ 3391 h 31147"/>
                          <a:gd name="connsiteX78" fmla="*/ 45340 w 54005"/>
                          <a:gd name="connsiteY78" fmla="*/ 3768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773 h 31147"/>
                          <a:gd name="connsiteX83" fmla="*/ 47098 w 54005"/>
                          <a:gd name="connsiteY83" fmla="*/ 4773 h 31147"/>
                          <a:gd name="connsiteX84" fmla="*/ 47852 w 54005"/>
                          <a:gd name="connsiteY84" fmla="*/ 5149 h 31147"/>
                          <a:gd name="connsiteX85" fmla="*/ 47852 w 54005"/>
                          <a:gd name="connsiteY85" fmla="*/ 5275 h 31147"/>
                          <a:gd name="connsiteX86" fmla="*/ 48228 w 54005"/>
                          <a:gd name="connsiteY86" fmla="*/ 5526 h 31147"/>
                          <a:gd name="connsiteX87" fmla="*/ 48354 w 54005"/>
                          <a:gd name="connsiteY87" fmla="*/ 5526 h 31147"/>
                          <a:gd name="connsiteX88" fmla="*/ 48856 w 54005"/>
                          <a:gd name="connsiteY88" fmla="*/ 5777 h 31147"/>
                          <a:gd name="connsiteX89" fmla="*/ 48982 w 54005"/>
                          <a:gd name="connsiteY89" fmla="*/ 5903 h 31147"/>
                          <a:gd name="connsiteX90" fmla="*/ 49610 w 54005"/>
                          <a:gd name="connsiteY90" fmla="*/ 6280 h 31147"/>
                          <a:gd name="connsiteX91" fmla="*/ 49861 w 54005"/>
                          <a:gd name="connsiteY91" fmla="*/ 6405 h 31147"/>
                          <a:gd name="connsiteX92" fmla="*/ 50112 w 54005"/>
                          <a:gd name="connsiteY92" fmla="*/ 6531 h 31147"/>
                          <a:gd name="connsiteX93" fmla="*/ 50112 w 54005"/>
                          <a:gd name="connsiteY93" fmla="*/ 6531 h 31147"/>
                          <a:gd name="connsiteX94" fmla="*/ 50238 w 54005"/>
                          <a:gd name="connsiteY94" fmla="*/ 6657 h 31147"/>
                          <a:gd name="connsiteX95" fmla="*/ 50740 w 54005"/>
                          <a:gd name="connsiteY95" fmla="*/ 6908 h 31147"/>
                          <a:gd name="connsiteX96" fmla="*/ 50991 w 54005"/>
                          <a:gd name="connsiteY96" fmla="*/ 7033 h 31147"/>
                          <a:gd name="connsiteX97" fmla="*/ 51117 w 54005"/>
                          <a:gd name="connsiteY97" fmla="*/ 7159 h 31147"/>
                          <a:gd name="connsiteX98" fmla="*/ 51243 w 54005"/>
                          <a:gd name="connsiteY98" fmla="*/ 7159 h 31147"/>
                          <a:gd name="connsiteX99" fmla="*/ 51368 w 54005"/>
                          <a:gd name="connsiteY99" fmla="*/ 7159 h 31147"/>
                          <a:gd name="connsiteX100" fmla="*/ 51619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745" y="10048"/>
                            </a:lnTo>
                            <a:lnTo>
                              <a:pt x="51494" y="10173"/>
                            </a:lnTo>
                            <a:lnTo>
                              <a:pt x="51494" y="10173"/>
                            </a:lnTo>
                            <a:lnTo>
                              <a:pt x="48103" y="12183"/>
                            </a:lnTo>
                            <a:lnTo>
                              <a:pt x="48103" y="12183"/>
                            </a:lnTo>
                            <a:lnTo>
                              <a:pt x="47224" y="12685"/>
                            </a:lnTo>
                            <a:lnTo>
                              <a:pt x="47098" y="12685"/>
                            </a:lnTo>
                            <a:lnTo>
                              <a:pt x="46345" y="13187"/>
                            </a:lnTo>
                            <a:lnTo>
                              <a:pt x="34664" y="19970"/>
                            </a:lnTo>
                            <a:lnTo>
                              <a:pt x="34664" y="19970"/>
                            </a:lnTo>
                            <a:lnTo>
                              <a:pt x="34036" y="20221"/>
                            </a:lnTo>
                            <a:lnTo>
                              <a:pt x="32780" y="21100"/>
                            </a:lnTo>
                            <a:lnTo>
                              <a:pt x="32655" y="21100"/>
                            </a:lnTo>
                            <a:lnTo>
                              <a:pt x="32152" y="21351"/>
                            </a:lnTo>
                            <a:lnTo>
                              <a:pt x="32027" y="21477"/>
                            </a:lnTo>
                            <a:lnTo>
                              <a:pt x="32027" y="21477"/>
                            </a:lnTo>
                            <a:lnTo>
                              <a:pt x="31650" y="21602"/>
                            </a:lnTo>
                            <a:lnTo>
                              <a:pt x="31650" y="21602"/>
                            </a:lnTo>
                            <a:lnTo>
                              <a:pt x="29892" y="22733"/>
                            </a:lnTo>
                            <a:lnTo>
                              <a:pt x="29892" y="22733"/>
                            </a:lnTo>
                            <a:lnTo>
                              <a:pt x="29515" y="22858"/>
                            </a:lnTo>
                            <a:lnTo>
                              <a:pt x="21728" y="27380"/>
                            </a:lnTo>
                            <a:lnTo>
                              <a:pt x="21728" y="27380"/>
                            </a:lnTo>
                            <a:lnTo>
                              <a:pt x="21226" y="27756"/>
                            </a:lnTo>
                            <a:lnTo>
                              <a:pt x="21226" y="27756"/>
                            </a:lnTo>
                            <a:lnTo>
                              <a:pt x="15197" y="31148"/>
                            </a:lnTo>
                            <a:lnTo>
                              <a:pt x="15071" y="31148"/>
                            </a:lnTo>
                            <a:lnTo>
                              <a:pt x="14946" y="31148"/>
                            </a:lnTo>
                            <a:lnTo>
                              <a:pt x="14569" y="30896"/>
                            </a:lnTo>
                            <a:lnTo>
                              <a:pt x="14443" y="30771"/>
                            </a:lnTo>
                            <a:lnTo>
                              <a:pt x="14443" y="30771"/>
                            </a:lnTo>
                            <a:lnTo>
                              <a:pt x="13941" y="30520"/>
                            </a:lnTo>
                            <a:lnTo>
                              <a:pt x="13690" y="30394"/>
                            </a:lnTo>
                            <a:lnTo>
                              <a:pt x="12434" y="29640"/>
                            </a:lnTo>
                            <a:lnTo>
                              <a:pt x="12434" y="29640"/>
                            </a:lnTo>
                            <a:lnTo>
                              <a:pt x="11680" y="29138"/>
                            </a:lnTo>
                            <a:lnTo>
                              <a:pt x="11303" y="29012"/>
                            </a:lnTo>
                            <a:lnTo>
                              <a:pt x="10676" y="28636"/>
                            </a:lnTo>
                            <a:lnTo>
                              <a:pt x="10550" y="28636"/>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5119"/>
                            </a:lnTo>
                            <a:lnTo>
                              <a:pt x="4144" y="24868"/>
                            </a:lnTo>
                            <a:lnTo>
                              <a:pt x="4144" y="24868"/>
                            </a:lnTo>
                            <a:lnTo>
                              <a:pt x="3391" y="24365"/>
                            </a:lnTo>
                            <a:lnTo>
                              <a:pt x="3391" y="24365"/>
                            </a:lnTo>
                            <a:lnTo>
                              <a:pt x="3266" y="24365"/>
                            </a:lnTo>
                            <a:lnTo>
                              <a:pt x="2512" y="23863"/>
                            </a:lnTo>
                            <a:lnTo>
                              <a:pt x="2512" y="23863"/>
                            </a:lnTo>
                            <a:lnTo>
                              <a:pt x="1884" y="23612"/>
                            </a:lnTo>
                            <a:lnTo>
                              <a:pt x="1758" y="23486"/>
                            </a:lnTo>
                            <a:lnTo>
                              <a:pt x="0" y="22481"/>
                            </a:lnTo>
                            <a:lnTo>
                              <a:pt x="0" y="20346"/>
                            </a:lnTo>
                            <a:lnTo>
                              <a:pt x="38809" y="0"/>
                            </a:lnTo>
                            <a:lnTo>
                              <a:pt x="39688" y="502"/>
                            </a:lnTo>
                            <a:lnTo>
                              <a:pt x="39939" y="628"/>
                            </a:lnTo>
                            <a:lnTo>
                              <a:pt x="41195" y="1382"/>
                            </a:lnTo>
                            <a:lnTo>
                              <a:pt x="41446" y="1507"/>
                            </a:lnTo>
                            <a:lnTo>
                              <a:pt x="42576" y="2135"/>
                            </a:lnTo>
                            <a:lnTo>
                              <a:pt x="42828" y="2261"/>
                            </a:lnTo>
                            <a:lnTo>
                              <a:pt x="43330" y="2637"/>
                            </a:lnTo>
                            <a:lnTo>
                              <a:pt x="43330" y="2637"/>
                            </a:lnTo>
                            <a:lnTo>
                              <a:pt x="43330" y="2637"/>
                            </a:lnTo>
                            <a:lnTo>
                              <a:pt x="44335" y="3265"/>
                            </a:lnTo>
                            <a:lnTo>
                              <a:pt x="44586" y="3391"/>
                            </a:lnTo>
                            <a:lnTo>
                              <a:pt x="45340" y="3768"/>
                            </a:lnTo>
                            <a:lnTo>
                              <a:pt x="45340" y="3768"/>
                            </a:lnTo>
                            <a:lnTo>
                              <a:pt x="46470" y="4396"/>
                            </a:lnTo>
                            <a:lnTo>
                              <a:pt x="46721" y="4521"/>
                            </a:lnTo>
                            <a:lnTo>
                              <a:pt x="46972" y="4773"/>
                            </a:lnTo>
                            <a:lnTo>
                              <a:pt x="47098" y="4773"/>
                            </a:lnTo>
                            <a:lnTo>
                              <a:pt x="47852" y="5149"/>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159"/>
                            </a:lnTo>
                            <a:lnTo>
                              <a:pt x="51619"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97" name="Freeform: Shape 1996">
                        <a:extLst>
                          <a:ext uri="{FF2B5EF4-FFF2-40B4-BE49-F238E27FC236}">
                            <a16:creationId xmlns:a16="http://schemas.microsoft.com/office/drawing/2014/main" id="{607107B7-7DFE-4560-9D08-1999ABCF2DC2}"/>
                          </a:ext>
                        </a:extLst>
                      </p:cNvPr>
                      <p:cNvSpPr/>
                      <p:nvPr/>
                    </p:nvSpPr>
                    <p:spPr>
                      <a:xfrm>
                        <a:off x="3852498" y="1625046"/>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685 h 31147"/>
                          <a:gd name="connsiteX7" fmla="*/ 47098 w 54005"/>
                          <a:gd name="connsiteY7" fmla="*/ 12685 h 31147"/>
                          <a:gd name="connsiteX8" fmla="*/ 46345 w 54005"/>
                          <a:gd name="connsiteY8" fmla="*/ 13187 h 31147"/>
                          <a:gd name="connsiteX9" fmla="*/ 42325 w 54005"/>
                          <a:gd name="connsiteY9" fmla="*/ 15448 h 31147"/>
                          <a:gd name="connsiteX10" fmla="*/ 34664 w 54005"/>
                          <a:gd name="connsiteY10" fmla="*/ 19970 h 31147"/>
                          <a:gd name="connsiteX11" fmla="*/ 34036 w 54005"/>
                          <a:gd name="connsiteY11" fmla="*/ 20221 h 31147"/>
                          <a:gd name="connsiteX12" fmla="*/ 32780 w 54005"/>
                          <a:gd name="connsiteY12" fmla="*/ 21100 h 31147"/>
                          <a:gd name="connsiteX13" fmla="*/ 32152 w 54005"/>
                          <a:gd name="connsiteY13" fmla="*/ 21351 h 31147"/>
                          <a:gd name="connsiteX14" fmla="*/ 32027 w 54005"/>
                          <a:gd name="connsiteY14" fmla="*/ 21477 h 31147"/>
                          <a:gd name="connsiteX15" fmla="*/ 32027 w 54005"/>
                          <a:gd name="connsiteY15" fmla="*/ 21477 h 31147"/>
                          <a:gd name="connsiteX16" fmla="*/ 31650 w 54005"/>
                          <a:gd name="connsiteY16" fmla="*/ 21602 h 31147"/>
                          <a:gd name="connsiteX17" fmla="*/ 29892 w 54005"/>
                          <a:gd name="connsiteY17" fmla="*/ 22733 h 31147"/>
                          <a:gd name="connsiteX18" fmla="*/ 29766 w 54005"/>
                          <a:gd name="connsiteY18" fmla="*/ 22733 h 31147"/>
                          <a:gd name="connsiteX19" fmla="*/ 29515 w 54005"/>
                          <a:gd name="connsiteY19" fmla="*/ 22858 h 31147"/>
                          <a:gd name="connsiteX20" fmla="*/ 28008 w 54005"/>
                          <a:gd name="connsiteY20" fmla="*/ 23737 h 31147"/>
                          <a:gd name="connsiteX21" fmla="*/ 21728 w 54005"/>
                          <a:gd name="connsiteY21" fmla="*/ 27380 h 31147"/>
                          <a:gd name="connsiteX22" fmla="*/ 21226 w 54005"/>
                          <a:gd name="connsiteY22" fmla="*/ 27756 h 31147"/>
                          <a:gd name="connsiteX23" fmla="*/ 21226 w 54005"/>
                          <a:gd name="connsiteY23" fmla="*/ 27756 h 31147"/>
                          <a:gd name="connsiteX24" fmla="*/ 15197 w 54005"/>
                          <a:gd name="connsiteY24" fmla="*/ 31148 h 31147"/>
                          <a:gd name="connsiteX25" fmla="*/ 15071 w 54005"/>
                          <a:gd name="connsiteY25" fmla="*/ 31148 h 31147"/>
                          <a:gd name="connsiteX26" fmla="*/ 14946 w 54005"/>
                          <a:gd name="connsiteY26" fmla="*/ 31148 h 31147"/>
                          <a:gd name="connsiteX27" fmla="*/ 14569 w 54005"/>
                          <a:gd name="connsiteY27" fmla="*/ 30896 h 31147"/>
                          <a:gd name="connsiteX28" fmla="*/ 14443 w 54005"/>
                          <a:gd name="connsiteY28" fmla="*/ 30771 h 31147"/>
                          <a:gd name="connsiteX29" fmla="*/ 13941 w 54005"/>
                          <a:gd name="connsiteY29" fmla="*/ 30520 h 31147"/>
                          <a:gd name="connsiteX30" fmla="*/ 13690 w 54005"/>
                          <a:gd name="connsiteY30" fmla="*/ 30394 h 31147"/>
                          <a:gd name="connsiteX31" fmla="*/ 12434 w 54005"/>
                          <a:gd name="connsiteY31" fmla="*/ 29640 h 31147"/>
                          <a:gd name="connsiteX32" fmla="*/ 12434 w 54005"/>
                          <a:gd name="connsiteY32" fmla="*/ 29640 h 31147"/>
                          <a:gd name="connsiteX33" fmla="*/ 11680 w 54005"/>
                          <a:gd name="connsiteY33" fmla="*/ 29138 h 31147"/>
                          <a:gd name="connsiteX34" fmla="*/ 11303 w 54005"/>
                          <a:gd name="connsiteY34" fmla="*/ 29012 h 31147"/>
                          <a:gd name="connsiteX35" fmla="*/ 10676 w 54005"/>
                          <a:gd name="connsiteY35" fmla="*/ 28636 h 31147"/>
                          <a:gd name="connsiteX36" fmla="*/ 10550 w 54005"/>
                          <a:gd name="connsiteY36" fmla="*/ 28510 h 31147"/>
                          <a:gd name="connsiteX37" fmla="*/ 10047 w 54005"/>
                          <a:gd name="connsiteY37" fmla="*/ 28259 h 31147"/>
                          <a:gd name="connsiteX38" fmla="*/ 9922 w 54005"/>
                          <a:gd name="connsiteY38" fmla="*/ 28133 h 31147"/>
                          <a:gd name="connsiteX39" fmla="*/ 9169 w 54005"/>
                          <a:gd name="connsiteY39" fmla="*/ 27756 h 31147"/>
                          <a:gd name="connsiteX40" fmla="*/ 8917 w 54005"/>
                          <a:gd name="connsiteY40" fmla="*/ 27631 h 31147"/>
                          <a:gd name="connsiteX41" fmla="*/ 8917 w 54005"/>
                          <a:gd name="connsiteY41" fmla="*/ 27631 h 31147"/>
                          <a:gd name="connsiteX42" fmla="*/ 8038 w 54005"/>
                          <a:gd name="connsiteY42" fmla="*/ 27128 h 31147"/>
                          <a:gd name="connsiteX43" fmla="*/ 8038 w 54005"/>
                          <a:gd name="connsiteY43" fmla="*/ 27128 h 31147"/>
                          <a:gd name="connsiteX44" fmla="*/ 7536 w 54005"/>
                          <a:gd name="connsiteY44" fmla="*/ 26877 h 31147"/>
                          <a:gd name="connsiteX45" fmla="*/ 7410 w 54005"/>
                          <a:gd name="connsiteY45" fmla="*/ 26752 h 31147"/>
                          <a:gd name="connsiteX46" fmla="*/ 6782 w 54005"/>
                          <a:gd name="connsiteY46" fmla="*/ 26375 h 31147"/>
                          <a:gd name="connsiteX47" fmla="*/ 6782 w 54005"/>
                          <a:gd name="connsiteY47" fmla="*/ 26375 h 31147"/>
                          <a:gd name="connsiteX48" fmla="*/ 5652 w 54005"/>
                          <a:gd name="connsiteY48" fmla="*/ 25747 h 31147"/>
                          <a:gd name="connsiteX49" fmla="*/ 5400 w 54005"/>
                          <a:gd name="connsiteY49" fmla="*/ 25621 h 31147"/>
                          <a:gd name="connsiteX50" fmla="*/ 4521 w 54005"/>
                          <a:gd name="connsiteY50" fmla="*/ 25119 h 31147"/>
                          <a:gd name="connsiteX51" fmla="*/ 4521 w 54005"/>
                          <a:gd name="connsiteY51" fmla="*/ 25119 h 31147"/>
                          <a:gd name="connsiteX52" fmla="*/ 4144 w 54005"/>
                          <a:gd name="connsiteY52" fmla="*/ 24868 h 31147"/>
                          <a:gd name="connsiteX53" fmla="*/ 4144 w 54005"/>
                          <a:gd name="connsiteY53" fmla="*/ 24868 h 31147"/>
                          <a:gd name="connsiteX54" fmla="*/ 3391 w 54005"/>
                          <a:gd name="connsiteY54" fmla="*/ 24365 h 31147"/>
                          <a:gd name="connsiteX55" fmla="*/ 3391 w 54005"/>
                          <a:gd name="connsiteY55" fmla="*/ 24365 h 31147"/>
                          <a:gd name="connsiteX56" fmla="*/ 3266 w 54005"/>
                          <a:gd name="connsiteY56" fmla="*/ 24365 h 31147"/>
                          <a:gd name="connsiteX57" fmla="*/ 2512 w 54005"/>
                          <a:gd name="connsiteY57" fmla="*/ 23863 h 31147"/>
                          <a:gd name="connsiteX58" fmla="*/ 2512 w 54005"/>
                          <a:gd name="connsiteY58" fmla="*/ 23863 h 31147"/>
                          <a:gd name="connsiteX59" fmla="*/ 1884 w 54005"/>
                          <a:gd name="connsiteY59" fmla="*/ 23612 h 31147"/>
                          <a:gd name="connsiteX60" fmla="*/ 1758 w 54005"/>
                          <a:gd name="connsiteY60" fmla="*/ 23486 h 31147"/>
                          <a:gd name="connsiteX61" fmla="*/ 0 w 54005"/>
                          <a:gd name="connsiteY61" fmla="*/ 22481 h 31147"/>
                          <a:gd name="connsiteX62" fmla="*/ 5400 w 54005"/>
                          <a:gd name="connsiteY62" fmla="*/ 19342 h 31147"/>
                          <a:gd name="connsiteX63" fmla="*/ 5400 w 54005"/>
                          <a:gd name="connsiteY63" fmla="*/ 19342 h 31147"/>
                          <a:gd name="connsiteX64" fmla="*/ 5652 w 54005"/>
                          <a:gd name="connsiteY64" fmla="*/ 19216 h 31147"/>
                          <a:gd name="connsiteX65" fmla="*/ 5652 w 54005"/>
                          <a:gd name="connsiteY65" fmla="*/ 19216 h 31147"/>
                          <a:gd name="connsiteX66" fmla="*/ 5903 w 54005"/>
                          <a:gd name="connsiteY66" fmla="*/ 18965 h 31147"/>
                          <a:gd name="connsiteX67" fmla="*/ 6029 w 54005"/>
                          <a:gd name="connsiteY67" fmla="*/ 18965 h 31147"/>
                          <a:gd name="connsiteX68" fmla="*/ 6154 w 54005"/>
                          <a:gd name="connsiteY68" fmla="*/ 18839 h 31147"/>
                          <a:gd name="connsiteX69" fmla="*/ 6154 w 54005"/>
                          <a:gd name="connsiteY69" fmla="*/ 18839 h 31147"/>
                          <a:gd name="connsiteX70" fmla="*/ 12811 w 54005"/>
                          <a:gd name="connsiteY70" fmla="*/ 14946 h 31147"/>
                          <a:gd name="connsiteX71" fmla="*/ 21602 w 54005"/>
                          <a:gd name="connsiteY71" fmla="*/ 9922 h 31147"/>
                          <a:gd name="connsiteX72" fmla="*/ 21979 w 54005"/>
                          <a:gd name="connsiteY72" fmla="*/ 9796 h 31147"/>
                          <a:gd name="connsiteX73" fmla="*/ 22356 w 54005"/>
                          <a:gd name="connsiteY73" fmla="*/ 9545 h 31147"/>
                          <a:gd name="connsiteX74" fmla="*/ 22607 w 54005"/>
                          <a:gd name="connsiteY74" fmla="*/ 9420 h 31147"/>
                          <a:gd name="connsiteX75" fmla="*/ 27129 w 54005"/>
                          <a:gd name="connsiteY75" fmla="*/ 6782 h 31147"/>
                          <a:gd name="connsiteX76" fmla="*/ 38809 w 54005"/>
                          <a:gd name="connsiteY76" fmla="*/ 0 h 31147"/>
                          <a:gd name="connsiteX77" fmla="*/ 39688 w 54005"/>
                          <a:gd name="connsiteY77" fmla="*/ 502 h 31147"/>
                          <a:gd name="connsiteX78" fmla="*/ 39939 w 54005"/>
                          <a:gd name="connsiteY78" fmla="*/ 628 h 31147"/>
                          <a:gd name="connsiteX79" fmla="*/ 41195 w 54005"/>
                          <a:gd name="connsiteY79" fmla="*/ 1382 h 31147"/>
                          <a:gd name="connsiteX80" fmla="*/ 41446 w 54005"/>
                          <a:gd name="connsiteY80" fmla="*/ 1507 h 31147"/>
                          <a:gd name="connsiteX81" fmla="*/ 42576 w 54005"/>
                          <a:gd name="connsiteY81" fmla="*/ 2135 h 31147"/>
                          <a:gd name="connsiteX82" fmla="*/ 42828 w 54005"/>
                          <a:gd name="connsiteY82" fmla="*/ 2261 h 31147"/>
                          <a:gd name="connsiteX83" fmla="*/ 43330 w 54005"/>
                          <a:gd name="connsiteY83" fmla="*/ 2638 h 31147"/>
                          <a:gd name="connsiteX84" fmla="*/ 43330 w 54005"/>
                          <a:gd name="connsiteY84" fmla="*/ 2638 h 31147"/>
                          <a:gd name="connsiteX85" fmla="*/ 44335 w 54005"/>
                          <a:gd name="connsiteY85" fmla="*/ 3140 h 31147"/>
                          <a:gd name="connsiteX86" fmla="*/ 44586 w 54005"/>
                          <a:gd name="connsiteY86" fmla="*/ 3391 h 31147"/>
                          <a:gd name="connsiteX87" fmla="*/ 45340 w 54005"/>
                          <a:gd name="connsiteY87" fmla="*/ 3768 h 31147"/>
                          <a:gd name="connsiteX88" fmla="*/ 45340 w 54005"/>
                          <a:gd name="connsiteY88" fmla="*/ 3768 h 31147"/>
                          <a:gd name="connsiteX89" fmla="*/ 46470 w 54005"/>
                          <a:gd name="connsiteY89" fmla="*/ 4396 h 31147"/>
                          <a:gd name="connsiteX90" fmla="*/ 46721 w 54005"/>
                          <a:gd name="connsiteY90" fmla="*/ 4521 h 31147"/>
                          <a:gd name="connsiteX91" fmla="*/ 47098 w 54005"/>
                          <a:gd name="connsiteY91" fmla="*/ 4773 h 31147"/>
                          <a:gd name="connsiteX92" fmla="*/ 47852 w 54005"/>
                          <a:gd name="connsiteY92" fmla="*/ 5149 h 31147"/>
                          <a:gd name="connsiteX93" fmla="*/ 47852 w 54005"/>
                          <a:gd name="connsiteY93" fmla="*/ 5275 h 31147"/>
                          <a:gd name="connsiteX94" fmla="*/ 48228 w 54005"/>
                          <a:gd name="connsiteY94" fmla="*/ 5401 h 31147"/>
                          <a:gd name="connsiteX95" fmla="*/ 48354 w 54005"/>
                          <a:gd name="connsiteY95" fmla="*/ 5526 h 31147"/>
                          <a:gd name="connsiteX96" fmla="*/ 48856 w 54005"/>
                          <a:gd name="connsiteY96" fmla="*/ 5777 h 31147"/>
                          <a:gd name="connsiteX97" fmla="*/ 48982 w 54005"/>
                          <a:gd name="connsiteY97" fmla="*/ 5903 h 31147"/>
                          <a:gd name="connsiteX98" fmla="*/ 49610 w 54005"/>
                          <a:gd name="connsiteY98" fmla="*/ 6280 h 31147"/>
                          <a:gd name="connsiteX99" fmla="*/ 49861 w 54005"/>
                          <a:gd name="connsiteY99" fmla="*/ 6405 h 31147"/>
                          <a:gd name="connsiteX100" fmla="*/ 50112 w 54005"/>
                          <a:gd name="connsiteY100" fmla="*/ 6531 h 31147"/>
                          <a:gd name="connsiteX101" fmla="*/ 50112 w 54005"/>
                          <a:gd name="connsiteY101" fmla="*/ 6531 h 31147"/>
                          <a:gd name="connsiteX102" fmla="*/ 50238 w 54005"/>
                          <a:gd name="connsiteY102" fmla="*/ 6657 h 31147"/>
                          <a:gd name="connsiteX103" fmla="*/ 50740 w 54005"/>
                          <a:gd name="connsiteY103" fmla="*/ 6908 h 31147"/>
                          <a:gd name="connsiteX104" fmla="*/ 50991 w 54005"/>
                          <a:gd name="connsiteY104" fmla="*/ 7033 h 31147"/>
                          <a:gd name="connsiteX105" fmla="*/ 51117 w 54005"/>
                          <a:gd name="connsiteY105" fmla="*/ 7159 h 31147"/>
                          <a:gd name="connsiteX106" fmla="*/ 51243 w 54005"/>
                          <a:gd name="connsiteY106" fmla="*/ 7159 h 31147"/>
                          <a:gd name="connsiteX107" fmla="*/ 51368 w 54005"/>
                          <a:gd name="connsiteY107" fmla="*/ 7285 h 31147"/>
                          <a:gd name="connsiteX108" fmla="*/ 51619 w 54005"/>
                          <a:gd name="connsiteY108" fmla="*/ 7410 h 31147"/>
                          <a:gd name="connsiteX109" fmla="*/ 51745 w 54005"/>
                          <a:gd name="connsiteY109" fmla="*/ 7410 h 31147"/>
                          <a:gd name="connsiteX110" fmla="*/ 52247 w 54005"/>
                          <a:gd name="connsiteY110" fmla="*/ 7787 h 31147"/>
                          <a:gd name="connsiteX111" fmla="*/ 52373 w 54005"/>
                          <a:gd name="connsiteY111" fmla="*/ 7787 h 31147"/>
                          <a:gd name="connsiteX112" fmla="*/ 52750 w 54005"/>
                          <a:gd name="connsiteY112" fmla="*/ 8038 h 31147"/>
                          <a:gd name="connsiteX113" fmla="*/ 52875 w 54005"/>
                          <a:gd name="connsiteY113" fmla="*/ 8164 h 31147"/>
                          <a:gd name="connsiteX114" fmla="*/ 53378 w 54005"/>
                          <a:gd name="connsiteY114" fmla="*/ 8415 h 31147"/>
                          <a:gd name="connsiteX115" fmla="*/ 53504 w 54005"/>
                          <a:gd name="connsiteY115"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54005" h="31147">
                            <a:moveTo>
                              <a:pt x="54006" y="8792"/>
                            </a:moveTo>
                            <a:lnTo>
                              <a:pt x="51745" y="10048"/>
                            </a:lnTo>
                            <a:lnTo>
                              <a:pt x="51494" y="10173"/>
                            </a:lnTo>
                            <a:lnTo>
                              <a:pt x="51494" y="10173"/>
                            </a:lnTo>
                            <a:lnTo>
                              <a:pt x="48103" y="12183"/>
                            </a:lnTo>
                            <a:lnTo>
                              <a:pt x="48103" y="12183"/>
                            </a:lnTo>
                            <a:lnTo>
                              <a:pt x="47224" y="12685"/>
                            </a:lnTo>
                            <a:lnTo>
                              <a:pt x="47098" y="12685"/>
                            </a:lnTo>
                            <a:lnTo>
                              <a:pt x="46345" y="13187"/>
                            </a:lnTo>
                            <a:lnTo>
                              <a:pt x="42325" y="15448"/>
                            </a:lnTo>
                            <a:lnTo>
                              <a:pt x="34664" y="19970"/>
                            </a:lnTo>
                            <a:lnTo>
                              <a:pt x="34036" y="20221"/>
                            </a:lnTo>
                            <a:lnTo>
                              <a:pt x="32780" y="21100"/>
                            </a:lnTo>
                            <a:lnTo>
                              <a:pt x="32152" y="21351"/>
                            </a:lnTo>
                            <a:lnTo>
                              <a:pt x="32027" y="21477"/>
                            </a:lnTo>
                            <a:lnTo>
                              <a:pt x="32027" y="21477"/>
                            </a:lnTo>
                            <a:lnTo>
                              <a:pt x="31650" y="21602"/>
                            </a:lnTo>
                            <a:lnTo>
                              <a:pt x="29892" y="22733"/>
                            </a:lnTo>
                            <a:lnTo>
                              <a:pt x="29766" y="22733"/>
                            </a:lnTo>
                            <a:lnTo>
                              <a:pt x="29515" y="22858"/>
                            </a:lnTo>
                            <a:lnTo>
                              <a:pt x="28008" y="23737"/>
                            </a:lnTo>
                            <a:lnTo>
                              <a:pt x="21728" y="27380"/>
                            </a:lnTo>
                            <a:lnTo>
                              <a:pt x="21226" y="27756"/>
                            </a:lnTo>
                            <a:lnTo>
                              <a:pt x="21226" y="27756"/>
                            </a:lnTo>
                            <a:lnTo>
                              <a:pt x="15197" y="31148"/>
                            </a:lnTo>
                            <a:lnTo>
                              <a:pt x="15071" y="31148"/>
                            </a:lnTo>
                            <a:lnTo>
                              <a:pt x="14946" y="31148"/>
                            </a:lnTo>
                            <a:lnTo>
                              <a:pt x="14569" y="30896"/>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5119"/>
                            </a:lnTo>
                            <a:lnTo>
                              <a:pt x="4144" y="24868"/>
                            </a:lnTo>
                            <a:lnTo>
                              <a:pt x="4144" y="24868"/>
                            </a:lnTo>
                            <a:lnTo>
                              <a:pt x="3391" y="24365"/>
                            </a:lnTo>
                            <a:lnTo>
                              <a:pt x="3391" y="24365"/>
                            </a:lnTo>
                            <a:lnTo>
                              <a:pt x="3266" y="24365"/>
                            </a:lnTo>
                            <a:lnTo>
                              <a:pt x="2512" y="23863"/>
                            </a:lnTo>
                            <a:lnTo>
                              <a:pt x="2512" y="23863"/>
                            </a:lnTo>
                            <a:lnTo>
                              <a:pt x="1884" y="23612"/>
                            </a:lnTo>
                            <a:lnTo>
                              <a:pt x="1758" y="23486"/>
                            </a:lnTo>
                            <a:lnTo>
                              <a:pt x="0" y="22481"/>
                            </a:lnTo>
                            <a:lnTo>
                              <a:pt x="5400" y="19342"/>
                            </a:lnTo>
                            <a:lnTo>
                              <a:pt x="5400" y="19342"/>
                            </a:lnTo>
                            <a:lnTo>
                              <a:pt x="5652" y="19216"/>
                            </a:lnTo>
                            <a:lnTo>
                              <a:pt x="5652" y="19216"/>
                            </a:lnTo>
                            <a:lnTo>
                              <a:pt x="5903" y="18965"/>
                            </a:lnTo>
                            <a:lnTo>
                              <a:pt x="6029" y="18965"/>
                            </a:lnTo>
                            <a:lnTo>
                              <a:pt x="6154" y="18839"/>
                            </a:lnTo>
                            <a:lnTo>
                              <a:pt x="6154" y="18839"/>
                            </a:lnTo>
                            <a:lnTo>
                              <a:pt x="12811" y="14946"/>
                            </a:lnTo>
                            <a:lnTo>
                              <a:pt x="21602" y="9922"/>
                            </a:lnTo>
                            <a:lnTo>
                              <a:pt x="21979" y="9796"/>
                            </a:lnTo>
                            <a:lnTo>
                              <a:pt x="22356" y="9545"/>
                            </a:lnTo>
                            <a:lnTo>
                              <a:pt x="22607" y="9420"/>
                            </a:lnTo>
                            <a:lnTo>
                              <a:pt x="27129" y="6782"/>
                            </a:lnTo>
                            <a:lnTo>
                              <a:pt x="38809" y="0"/>
                            </a:lnTo>
                            <a:lnTo>
                              <a:pt x="39688" y="502"/>
                            </a:lnTo>
                            <a:lnTo>
                              <a:pt x="39939" y="628"/>
                            </a:lnTo>
                            <a:lnTo>
                              <a:pt x="41195" y="1382"/>
                            </a:lnTo>
                            <a:lnTo>
                              <a:pt x="41446" y="1507"/>
                            </a:lnTo>
                            <a:lnTo>
                              <a:pt x="42576" y="2135"/>
                            </a:lnTo>
                            <a:lnTo>
                              <a:pt x="42828" y="2261"/>
                            </a:lnTo>
                            <a:lnTo>
                              <a:pt x="43330" y="2638"/>
                            </a:lnTo>
                            <a:lnTo>
                              <a:pt x="43330" y="2638"/>
                            </a:lnTo>
                            <a:lnTo>
                              <a:pt x="44335" y="3140"/>
                            </a:lnTo>
                            <a:lnTo>
                              <a:pt x="44586" y="3391"/>
                            </a:lnTo>
                            <a:lnTo>
                              <a:pt x="45340" y="3768"/>
                            </a:lnTo>
                            <a:lnTo>
                              <a:pt x="45340" y="3768"/>
                            </a:lnTo>
                            <a:lnTo>
                              <a:pt x="46470" y="4396"/>
                            </a:lnTo>
                            <a:lnTo>
                              <a:pt x="46721" y="4521"/>
                            </a:lnTo>
                            <a:lnTo>
                              <a:pt x="47098" y="4773"/>
                            </a:lnTo>
                            <a:lnTo>
                              <a:pt x="47852" y="5149"/>
                            </a:lnTo>
                            <a:lnTo>
                              <a:pt x="47852" y="5275"/>
                            </a:lnTo>
                            <a:lnTo>
                              <a:pt x="48228" y="5401"/>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5"/>
                            </a:lnTo>
                            <a:lnTo>
                              <a:pt x="51619" y="7410"/>
                            </a:lnTo>
                            <a:lnTo>
                              <a:pt x="51745" y="7410"/>
                            </a:lnTo>
                            <a:lnTo>
                              <a:pt x="52247" y="7787"/>
                            </a:lnTo>
                            <a:lnTo>
                              <a:pt x="52373" y="7787"/>
                            </a:lnTo>
                            <a:lnTo>
                              <a:pt x="52750" y="8038"/>
                            </a:lnTo>
                            <a:lnTo>
                              <a:pt x="52875" y="8164"/>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98" name="Freeform: Shape 1997">
                      <a:extLst>
                        <a:ext uri="{FF2B5EF4-FFF2-40B4-BE49-F238E27FC236}">
                          <a16:creationId xmlns:a16="http://schemas.microsoft.com/office/drawing/2014/main" id="{67FC1C6E-4E94-40B8-B68E-669AB2E5C568}"/>
                        </a:ext>
                      </a:extLst>
                    </p:cNvPr>
                    <p:cNvSpPr/>
                    <p:nvPr/>
                  </p:nvSpPr>
                  <p:spPr>
                    <a:xfrm>
                      <a:off x="3852498" y="1647528"/>
                      <a:ext cx="15196" cy="10801"/>
                    </a:xfrm>
                    <a:custGeom>
                      <a:avLst/>
                      <a:gdLst>
                        <a:gd name="connsiteX0" fmla="*/ 15197 w 15196"/>
                        <a:gd name="connsiteY0" fmla="*/ 8666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99" name="Graphic 4">
                    <a:extLst>
                      <a:ext uri="{FF2B5EF4-FFF2-40B4-BE49-F238E27FC236}">
                        <a16:creationId xmlns:a16="http://schemas.microsoft.com/office/drawing/2014/main" id="{84FB7ED1-A2DF-40A1-A747-5F7CF3F14040}"/>
                      </a:ext>
                    </a:extLst>
                  </p:cNvPr>
                  <p:cNvGrpSpPr/>
                  <p:nvPr/>
                </p:nvGrpSpPr>
                <p:grpSpPr>
                  <a:xfrm>
                    <a:off x="3869705" y="1634843"/>
                    <a:ext cx="54005" cy="33408"/>
                    <a:chOff x="3869705" y="1634843"/>
                    <a:chExt cx="54005" cy="33408"/>
                  </a:xfrm>
                  <a:solidFill>
                    <a:schemeClr val="accent1"/>
                  </a:solidFill>
                </p:grpSpPr>
                <p:grpSp>
                  <p:nvGrpSpPr>
                    <p:cNvPr id="2000" name="Graphic 4">
                      <a:extLst>
                        <a:ext uri="{FF2B5EF4-FFF2-40B4-BE49-F238E27FC236}">
                          <a16:creationId xmlns:a16="http://schemas.microsoft.com/office/drawing/2014/main" id="{84FB7ED1-A2DF-40A1-A747-5F7CF3F14040}"/>
                        </a:ext>
                      </a:extLst>
                    </p:cNvPr>
                    <p:cNvGrpSpPr/>
                    <p:nvPr/>
                  </p:nvGrpSpPr>
                  <p:grpSpPr>
                    <a:xfrm>
                      <a:off x="3869705" y="1634843"/>
                      <a:ext cx="54005" cy="33408"/>
                      <a:chOff x="3869705" y="1634843"/>
                      <a:chExt cx="54005" cy="33408"/>
                    </a:xfrm>
                    <a:solidFill>
                      <a:schemeClr val="accent1"/>
                    </a:solidFill>
                  </p:grpSpPr>
                  <p:sp>
                    <p:nvSpPr>
                      <p:cNvPr id="2001" name="Freeform: Shape 2000">
                        <a:extLst>
                          <a:ext uri="{FF2B5EF4-FFF2-40B4-BE49-F238E27FC236}">
                            <a16:creationId xmlns:a16="http://schemas.microsoft.com/office/drawing/2014/main" id="{617AC36B-63A2-49B1-A9C6-C0A48734AFCE}"/>
                          </a:ext>
                        </a:extLst>
                      </p:cNvPr>
                      <p:cNvSpPr/>
                      <p:nvPr/>
                    </p:nvSpPr>
                    <p:spPr>
                      <a:xfrm>
                        <a:off x="3869705" y="1636978"/>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308 h 31273"/>
                          <a:gd name="connsiteX6" fmla="*/ 47349 w 54005"/>
                          <a:gd name="connsiteY6" fmla="*/ 12685 h 31273"/>
                          <a:gd name="connsiteX7" fmla="*/ 47224 w 54005"/>
                          <a:gd name="connsiteY7" fmla="*/ 12811 h 31273"/>
                          <a:gd name="connsiteX8" fmla="*/ 46345 w 54005"/>
                          <a:gd name="connsiteY8" fmla="*/ 13187 h 31273"/>
                          <a:gd name="connsiteX9" fmla="*/ 34790 w 54005"/>
                          <a:gd name="connsiteY9" fmla="*/ 19970 h 31273"/>
                          <a:gd name="connsiteX10" fmla="*/ 34790 w 54005"/>
                          <a:gd name="connsiteY10" fmla="*/ 19970 h 31273"/>
                          <a:gd name="connsiteX11" fmla="*/ 34162 w 54005"/>
                          <a:gd name="connsiteY11" fmla="*/ 20346 h 31273"/>
                          <a:gd name="connsiteX12" fmla="*/ 32780 w 54005"/>
                          <a:gd name="connsiteY12" fmla="*/ 21100 h 31273"/>
                          <a:gd name="connsiteX13" fmla="*/ 32780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775 w 54005"/>
                          <a:gd name="connsiteY17" fmla="*/ 21728 h 31273"/>
                          <a:gd name="connsiteX18" fmla="*/ 31775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505 h 31273"/>
                          <a:gd name="connsiteX23" fmla="*/ 21728 w 54005"/>
                          <a:gd name="connsiteY23" fmla="*/ 27505 h 31273"/>
                          <a:gd name="connsiteX24" fmla="*/ 21226 w 54005"/>
                          <a:gd name="connsiteY24" fmla="*/ 27756 h 31273"/>
                          <a:gd name="connsiteX25" fmla="*/ 21226 w 54005"/>
                          <a:gd name="connsiteY25" fmla="*/ 27756 h 31273"/>
                          <a:gd name="connsiteX26" fmla="*/ 15197 w 54005"/>
                          <a:gd name="connsiteY26" fmla="*/ 31273 h 31273"/>
                          <a:gd name="connsiteX27" fmla="*/ 15197 w 54005"/>
                          <a:gd name="connsiteY27" fmla="*/ 31273 h 31273"/>
                          <a:gd name="connsiteX28" fmla="*/ 15072 w 54005"/>
                          <a:gd name="connsiteY28" fmla="*/ 31148 h 31273"/>
                          <a:gd name="connsiteX29" fmla="*/ 14569 w 54005"/>
                          <a:gd name="connsiteY29" fmla="*/ 30896 h 31273"/>
                          <a:gd name="connsiteX30" fmla="*/ 14569 w 54005"/>
                          <a:gd name="connsiteY30" fmla="*/ 30896 h 31273"/>
                          <a:gd name="connsiteX31" fmla="*/ 14569 w 54005"/>
                          <a:gd name="connsiteY31" fmla="*/ 30896 h 31273"/>
                          <a:gd name="connsiteX32" fmla="*/ 13941 w 54005"/>
                          <a:gd name="connsiteY32" fmla="*/ 30520 h 31273"/>
                          <a:gd name="connsiteX33" fmla="*/ 13816 w 54005"/>
                          <a:gd name="connsiteY33" fmla="*/ 30394 h 31273"/>
                          <a:gd name="connsiteX34" fmla="*/ 12559 w 54005"/>
                          <a:gd name="connsiteY34" fmla="*/ 29766 h 31273"/>
                          <a:gd name="connsiteX35" fmla="*/ 12434 w 54005"/>
                          <a:gd name="connsiteY35" fmla="*/ 29640 h 31273"/>
                          <a:gd name="connsiteX36" fmla="*/ 11680 w 54005"/>
                          <a:gd name="connsiteY36" fmla="*/ 29264 h 31273"/>
                          <a:gd name="connsiteX37" fmla="*/ 11429 w 54005"/>
                          <a:gd name="connsiteY37" fmla="*/ 29012 h 31273"/>
                          <a:gd name="connsiteX38" fmla="*/ 10801 w 54005"/>
                          <a:gd name="connsiteY38" fmla="*/ 28636 h 31273"/>
                          <a:gd name="connsiteX39" fmla="*/ 10676 w 54005"/>
                          <a:gd name="connsiteY39" fmla="*/ 28636 h 31273"/>
                          <a:gd name="connsiteX40" fmla="*/ 10047 w 54005"/>
                          <a:gd name="connsiteY40" fmla="*/ 28259 h 31273"/>
                          <a:gd name="connsiteX41" fmla="*/ 9922 w 54005"/>
                          <a:gd name="connsiteY41" fmla="*/ 28259 h 31273"/>
                          <a:gd name="connsiteX42" fmla="*/ 9169 w 54005"/>
                          <a:gd name="connsiteY42" fmla="*/ 27756 h 31273"/>
                          <a:gd name="connsiteX43" fmla="*/ 9043 w 54005"/>
                          <a:gd name="connsiteY43" fmla="*/ 27631 h 31273"/>
                          <a:gd name="connsiteX44" fmla="*/ 9043 w 54005"/>
                          <a:gd name="connsiteY44" fmla="*/ 27631 h 31273"/>
                          <a:gd name="connsiteX45" fmla="*/ 8164 w 54005"/>
                          <a:gd name="connsiteY45" fmla="*/ 27128 h 31273"/>
                          <a:gd name="connsiteX46" fmla="*/ 8038 w 54005"/>
                          <a:gd name="connsiteY46" fmla="*/ 27128 h 31273"/>
                          <a:gd name="connsiteX47" fmla="*/ 7661 w 54005"/>
                          <a:gd name="connsiteY47" fmla="*/ 26877 h 31273"/>
                          <a:gd name="connsiteX48" fmla="*/ 7536 w 54005"/>
                          <a:gd name="connsiteY48" fmla="*/ 26752 h 31273"/>
                          <a:gd name="connsiteX49" fmla="*/ 6908 w 54005"/>
                          <a:gd name="connsiteY49" fmla="*/ 26501 h 31273"/>
                          <a:gd name="connsiteX50" fmla="*/ 6782 w 54005"/>
                          <a:gd name="connsiteY50" fmla="*/ 26375 h 31273"/>
                          <a:gd name="connsiteX51" fmla="*/ 5777 w 54005"/>
                          <a:gd name="connsiteY51" fmla="*/ 25747 h 31273"/>
                          <a:gd name="connsiteX52" fmla="*/ 5526 w 54005"/>
                          <a:gd name="connsiteY52" fmla="*/ 25621 h 31273"/>
                          <a:gd name="connsiteX53" fmla="*/ 4647 w 54005"/>
                          <a:gd name="connsiteY53" fmla="*/ 25119 h 31273"/>
                          <a:gd name="connsiteX54" fmla="*/ 4522 w 54005"/>
                          <a:gd name="connsiteY54" fmla="*/ 25119 h 31273"/>
                          <a:gd name="connsiteX55" fmla="*/ 4270 w 54005"/>
                          <a:gd name="connsiteY55" fmla="*/ 24868 h 31273"/>
                          <a:gd name="connsiteX56" fmla="*/ 4144 w 54005"/>
                          <a:gd name="connsiteY56" fmla="*/ 24868 h 31273"/>
                          <a:gd name="connsiteX57" fmla="*/ 3517 w 54005"/>
                          <a:gd name="connsiteY57" fmla="*/ 24491 h 31273"/>
                          <a:gd name="connsiteX58" fmla="*/ 3517 w 54005"/>
                          <a:gd name="connsiteY58" fmla="*/ 24491 h 31273"/>
                          <a:gd name="connsiteX59" fmla="*/ 3266 w 54005"/>
                          <a:gd name="connsiteY59" fmla="*/ 24365 h 31273"/>
                          <a:gd name="connsiteX60" fmla="*/ 2637 w 54005"/>
                          <a:gd name="connsiteY60" fmla="*/ 23989 h 31273"/>
                          <a:gd name="connsiteX61" fmla="*/ 2512 w 54005"/>
                          <a:gd name="connsiteY61" fmla="*/ 23989 h 31273"/>
                          <a:gd name="connsiteX62" fmla="*/ 2010 w 54005"/>
                          <a:gd name="connsiteY62" fmla="*/ 23612 h 31273"/>
                          <a:gd name="connsiteX63" fmla="*/ 1759 w 54005"/>
                          <a:gd name="connsiteY63" fmla="*/ 23486 h 31273"/>
                          <a:gd name="connsiteX64" fmla="*/ 0 w 54005"/>
                          <a:gd name="connsiteY64" fmla="*/ 22481 h 31273"/>
                          <a:gd name="connsiteX65" fmla="*/ 0 w 54005"/>
                          <a:gd name="connsiteY65" fmla="*/ 20346 h 31273"/>
                          <a:gd name="connsiteX66" fmla="*/ 38934 w 54005"/>
                          <a:gd name="connsiteY66" fmla="*/ 0 h 31273"/>
                          <a:gd name="connsiteX67" fmla="*/ 39814 w 54005"/>
                          <a:gd name="connsiteY67" fmla="*/ 502 h 31273"/>
                          <a:gd name="connsiteX68" fmla="*/ 40065 w 54005"/>
                          <a:gd name="connsiteY68" fmla="*/ 754 h 31273"/>
                          <a:gd name="connsiteX69" fmla="*/ 41195 w 54005"/>
                          <a:gd name="connsiteY69" fmla="*/ 1382 h 31273"/>
                          <a:gd name="connsiteX70" fmla="*/ 41572 w 54005"/>
                          <a:gd name="connsiteY70" fmla="*/ 1633 h 31273"/>
                          <a:gd name="connsiteX71" fmla="*/ 42702 w 54005"/>
                          <a:gd name="connsiteY71" fmla="*/ 2261 h 31273"/>
                          <a:gd name="connsiteX72" fmla="*/ 42828 w 54005"/>
                          <a:gd name="connsiteY72" fmla="*/ 2386 h 31273"/>
                          <a:gd name="connsiteX73" fmla="*/ 43330 w 54005"/>
                          <a:gd name="connsiteY73" fmla="*/ 2637 h 31273"/>
                          <a:gd name="connsiteX74" fmla="*/ 43456 w 54005"/>
                          <a:gd name="connsiteY74" fmla="*/ 2637 h 31273"/>
                          <a:gd name="connsiteX75" fmla="*/ 43456 w 54005"/>
                          <a:gd name="connsiteY75" fmla="*/ 2637 h 31273"/>
                          <a:gd name="connsiteX76" fmla="*/ 44461 w 54005"/>
                          <a:gd name="connsiteY76" fmla="*/ 3265 h 31273"/>
                          <a:gd name="connsiteX77" fmla="*/ 44712 w 54005"/>
                          <a:gd name="connsiteY77" fmla="*/ 3391 h 31273"/>
                          <a:gd name="connsiteX78" fmla="*/ 45340 w 54005"/>
                          <a:gd name="connsiteY78" fmla="*/ 3768 h 31273"/>
                          <a:gd name="connsiteX79" fmla="*/ 45465 w 54005"/>
                          <a:gd name="connsiteY79" fmla="*/ 3893 h 31273"/>
                          <a:gd name="connsiteX80" fmla="*/ 46596 w 54005"/>
                          <a:gd name="connsiteY80" fmla="*/ 4521 h 31273"/>
                          <a:gd name="connsiteX81" fmla="*/ 46847 w 54005"/>
                          <a:gd name="connsiteY81" fmla="*/ 4647 h 31273"/>
                          <a:gd name="connsiteX82" fmla="*/ 47098 w 54005"/>
                          <a:gd name="connsiteY82" fmla="*/ 4773 h 31273"/>
                          <a:gd name="connsiteX83" fmla="*/ 47224 w 54005"/>
                          <a:gd name="connsiteY83" fmla="*/ 4898 h 31273"/>
                          <a:gd name="connsiteX84" fmla="*/ 47852 w 54005"/>
                          <a:gd name="connsiteY84" fmla="*/ 5275 h 31273"/>
                          <a:gd name="connsiteX85" fmla="*/ 47977 w 54005"/>
                          <a:gd name="connsiteY85" fmla="*/ 5275 h 31273"/>
                          <a:gd name="connsiteX86" fmla="*/ 48354 w 54005"/>
                          <a:gd name="connsiteY86" fmla="*/ 5526 h 31273"/>
                          <a:gd name="connsiteX87" fmla="*/ 48480 w 54005"/>
                          <a:gd name="connsiteY87" fmla="*/ 5526 h 31273"/>
                          <a:gd name="connsiteX88" fmla="*/ 48857 w 54005"/>
                          <a:gd name="connsiteY88" fmla="*/ 5777 h 31273"/>
                          <a:gd name="connsiteX89" fmla="*/ 49108 w 54005"/>
                          <a:gd name="connsiteY89" fmla="*/ 5903 h 31273"/>
                          <a:gd name="connsiteX90" fmla="*/ 49610 w 54005"/>
                          <a:gd name="connsiteY90" fmla="*/ 6280 h 31273"/>
                          <a:gd name="connsiteX91" fmla="*/ 49987 w 54005"/>
                          <a:gd name="connsiteY91" fmla="*/ 6405 h 31273"/>
                          <a:gd name="connsiteX92" fmla="*/ 50238 w 54005"/>
                          <a:gd name="connsiteY92" fmla="*/ 6531 h 31273"/>
                          <a:gd name="connsiteX93" fmla="*/ 50238 w 54005"/>
                          <a:gd name="connsiteY93" fmla="*/ 6531 h 31273"/>
                          <a:gd name="connsiteX94" fmla="*/ 50364 w 54005"/>
                          <a:gd name="connsiteY94" fmla="*/ 6657 h 31273"/>
                          <a:gd name="connsiteX95" fmla="*/ 50740 w 54005"/>
                          <a:gd name="connsiteY95" fmla="*/ 6908 h 31273"/>
                          <a:gd name="connsiteX96" fmla="*/ 50991 w 54005"/>
                          <a:gd name="connsiteY96" fmla="*/ 7033 h 31273"/>
                          <a:gd name="connsiteX97" fmla="*/ 51243 w 54005"/>
                          <a:gd name="connsiteY97" fmla="*/ 7159 h 31273"/>
                          <a:gd name="connsiteX98" fmla="*/ 51243 w 54005"/>
                          <a:gd name="connsiteY98" fmla="*/ 7159 h 31273"/>
                          <a:gd name="connsiteX99" fmla="*/ 51368 w 54005"/>
                          <a:gd name="connsiteY99" fmla="*/ 7285 h 31273"/>
                          <a:gd name="connsiteX100" fmla="*/ 51620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871" y="10048"/>
                            </a:lnTo>
                            <a:lnTo>
                              <a:pt x="51620" y="10173"/>
                            </a:lnTo>
                            <a:lnTo>
                              <a:pt x="51620" y="10173"/>
                            </a:lnTo>
                            <a:lnTo>
                              <a:pt x="48103" y="12183"/>
                            </a:lnTo>
                            <a:lnTo>
                              <a:pt x="48103" y="12308"/>
                            </a:lnTo>
                            <a:lnTo>
                              <a:pt x="47349" y="12685"/>
                            </a:lnTo>
                            <a:lnTo>
                              <a:pt x="47224" y="12811"/>
                            </a:lnTo>
                            <a:lnTo>
                              <a:pt x="46345" y="13187"/>
                            </a:lnTo>
                            <a:lnTo>
                              <a:pt x="34790" y="19970"/>
                            </a:lnTo>
                            <a:lnTo>
                              <a:pt x="34790" y="19970"/>
                            </a:lnTo>
                            <a:lnTo>
                              <a:pt x="34162" y="20346"/>
                            </a:lnTo>
                            <a:lnTo>
                              <a:pt x="32780" y="21100"/>
                            </a:lnTo>
                            <a:lnTo>
                              <a:pt x="32780" y="21100"/>
                            </a:lnTo>
                            <a:lnTo>
                              <a:pt x="32152" y="21477"/>
                            </a:lnTo>
                            <a:lnTo>
                              <a:pt x="32027" y="21477"/>
                            </a:lnTo>
                            <a:lnTo>
                              <a:pt x="32027" y="21477"/>
                            </a:lnTo>
                            <a:lnTo>
                              <a:pt x="31775" y="21728"/>
                            </a:lnTo>
                            <a:lnTo>
                              <a:pt x="31775" y="21728"/>
                            </a:lnTo>
                            <a:lnTo>
                              <a:pt x="29892" y="22733"/>
                            </a:lnTo>
                            <a:lnTo>
                              <a:pt x="29892" y="22733"/>
                            </a:lnTo>
                            <a:lnTo>
                              <a:pt x="29515" y="22984"/>
                            </a:lnTo>
                            <a:lnTo>
                              <a:pt x="21728" y="27505"/>
                            </a:lnTo>
                            <a:lnTo>
                              <a:pt x="21728" y="27505"/>
                            </a:lnTo>
                            <a:lnTo>
                              <a:pt x="21226" y="27756"/>
                            </a:lnTo>
                            <a:lnTo>
                              <a:pt x="21226" y="27756"/>
                            </a:lnTo>
                            <a:lnTo>
                              <a:pt x="15197" y="31273"/>
                            </a:lnTo>
                            <a:lnTo>
                              <a:pt x="15197" y="31273"/>
                            </a:lnTo>
                            <a:lnTo>
                              <a:pt x="15072" y="31148"/>
                            </a:lnTo>
                            <a:lnTo>
                              <a:pt x="14569" y="30896"/>
                            </a:lnTo>
                            <a:lnTo>
                              <a:pt x="14569" y="30896"/>
                            </a:lnTo>
                            <a:lnTo>
                              <a:pt x="14569" y="30896"/>
                            </a:lnTo>
                            <a:lnTo>
                              <a:pt x="13941" y="30520"/>
                            </a:lnTo>
                            <a:lnTo>
                              <a:pt x="13816" y="30394"/>
                            </a:lnTo>
                            <a:lnTo>
                              <a:pt x="12559" y="29766"/>
                            </a:lnTo>
                            <a:lnTo>
                              <a:pt x="12434" y="29640"/>
                            </a:lnTo>
                            <a:lnTo>
                              <a:pt x="11680" y="29264"/>
                            </a:lnTo>
                            <a:lnTo>
                              <a:pt x="11429" y="29012"/>
                            </a:lnTo>
                            <a:lnTo>
                              <a:pt x="10801" y="28636"/>
                            </a:lnTo>
                            <a:lnTo>
                              <a:pt x="10676" y="28636"/>
                            </a:lnTo>
                            <a:lnTo>
                              <a:pt x="10047" y="28259"/>
                            </a:lnTo>
                            <a:lnTo>
                              <a:pt x="9922" y="28259"/>
                            </a:lnTo>
                            <a:lnTo>
                              <a:pt x="9169" y="27756"/>
                            </a:lnTo>
                            <a:lnTo>
                              <a:pt x="9043" y="27631"/>
                            </a:lnTo>
                            <a:lnTo>
                              <a:pt x="9043" y="27631"/>
                            </a:lnTo>
                            <a:lnTo>
                              <a:pt x="8164" y="27128"/>
                            </a:lnTo>
                            <a:lnTo>
                              <a:pt x="8038" y="27128"/>
                            </a:lnTo>
                            <a:lnTo>
                              <a:pt x="7661" y="26877"/>
                            </a:lnTo>
                            <a:lnTo>
                              <a:pt x="7536" y="26752"/>
                            </a:lnTo>
                            <a:lnTo>
                              <a:pt x="6908" y="26501"/>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989"/>
                            </a:lnTo>
                            <a:lnTo>
                              <a:pt x="2010" y="23612"/>
                            </a:lnTo>
                            <a:lnTo>
                              <a:pt x="1759" y="23486"/>
                            </a:lnTo>
                            <a:lnTo>
                              <a:pt x="0" y="22481"/>
                            </a:lnTo>
                            <a:lnTo>
                              <a:pt x="0" y="20346"/>
                            </a:lnTo>
                            <a:lnTo>
                              <a:pt x="38934" y="0"/>
                            </a:lnTo>
                            <a:lnTo>
                              <a:pt x="39814" y="502"/>
                            </a:lnTo>
                            <a:lnTo>
                              <a:pt x="40065" y="754"/>
                            </a:lnTo>
                            <a:lnTo>
                              <a:pt x="41195" y="1382"/>
                            </a:lnTo>
                            <a:lnTo>
                              <a:pt x="41572" y="1633"/>
                            </a:lnTo>
                            <a:lnTo>
                              <a:pt x="42702" y="2261"/>
                            </a:lnTo>
                            <a:lnTo>
                              <a:pt x="42828" y="2386"/>
                            </a:lnTo>
                            <a:lnTo>
                              <a:pt x="43330" y="2637"/>
                            </a:lnTo>
                            <a:lnTo>
                              <a:pt x="43456" y="2637"/>
                            </a:lnTo>
                            <a:lnTo>
                              <a:pt x="43456" y="2637"/>
                            </a:lnTo>
                            <a:lnTo>
                              <a:pt x="44461" y="3265"/>
                            </a:lnTo>
                            <a:lnTo>
                              <a:pt x="44712" y="3391"/>
                            </a:lnTo>
                            <a:lnTo>
                              <a:pt x="45340" y="3768"/>
                            </a:lnTo>
                            <a:lnTo>
                              <a:pt x="45465" y="3893"/>
                            </a:lnTo>
                            <a:lnTo>
                              <a:pt x="46596" y="4521"/>
                            </a:lnTo>
                            <a:lnTo>
                              <a:pt x="46847" y="4647"/>
                            </a:lnTo>
                            <a:lnTo>
                              <a:pt x="47098" y="4773"/>
                            </a:lnTo>
                            <a:lnTo>
                              <a:pt x="47224" y="4898"/>
                            </a:lnTo>
                            <a:lnTo>
                              <a:pt x="47852" y="5275"/>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5"/>
                            </a:lnTo>
                            <a:lnTo>
                              <a:pt x="51620"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02" name="Freeform: Shape 2001">
                        <a:extLst>
                          <a:ext uri="{FF2B5EF4-FFF2-40B4-BE49-F238E27FC236}">
                            <a16:creationId xmlns:a16="http://schemas.microsoft.com/office/drawing/2014/main" id="{638DE8E4-B0B7-433C-A8AE-AFEF0E38B9C5}"/>
                          </a:ext>
                        </a:extLst>
                      </p:cNvPr>
                      <p:cNvSpPr/>
                      <p:nvPr/>
                    </p:nvSpPr>
                    <p:spPr>
                      <a:xfrm>
                        <a:off x="3869705" y="1634843"/>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313 h 31273"/>
                          <a:gd name="connsiteX9" fmla="*/ 42325 w 54005"/>
                          <a:gd name="connsiteY9" fmla="*/ 15574 h 31273"/>
                          <a:gd name="connsiteX10" fmla="*/ 34790 w 54005"/>
                          <a:gd name="connsiteY10" fmla="*/ 19970 h 31273"/>
                          <a:gd name="connsiteX11" fmla="*/ 34162 w 54005"/>
                          <a:gd name="connsiteY11" fmla="*/ 20346 h 31273"/>
                          <a:gd name="connsiteX12" fmla="*/ 32780 w 54005"/>
                          <a:gd name="connsiteY12" fmla="*/ 21100 h 31273"/>
                          <a:gd name="connsiteX13" fmla="*/ 32152 w 54005"/>
                          <a:gd name="connsiteY13" fmla="*/ 21477 h 31273"/>
                          <a:gd name="connsiteX14" fmla="*/ 32027 w 54005"/>
                          <a:gd name="connsiteY14" fmla="*/ 21602 h 31273"/>
                          <a:gd name="connsiteX15" fmla="*/ 32027 w 54005"/>
                          <a:gd name="connsiteY15" fmla="*/ 21602 h 31273"/>
                          <a:gd name="connsiteX16" fmla="*/ 31775 w 54005"/>
                          <a:gd name="connsiteY16" fmla="*/ 21728 h 31273"/>
                          <a:gd name="connsiteX17" fmla="*/ 29892 w 54005"/>
                          <a:gd name="connsiteY17" fmla="*/ 22733 h 31273"/>
                          <a:gd name="connsiteX18" fmla="*/ 29892 w 54005"/>
                          <a:gd name="connsiteY18" fmla="*/ 22733 h 31273"/>
                          <a:gd name="connsiteX19" fmla="*/ 29515 w 54005"/>
                          <a:gd name="connsiteY19" fmla="*/ 22984 h 31273"/>
                          <a:gd name="connsiteX20" fmla="*/ 28008 w 54005"/>
                          <a:gd name="connsiteY20" fmla="*/ 23863 h 31273"/>
                          <a:gd name="connsiteX21" fmla="*/ 21728 w 54005"/>
                          <a:gd name="connsiteY21" fmla="*/ 27505 h 31273"/>
                          <a:gd name="connsiteX22" fmla="*/ 21226 w 54005"/>
                          <a:gd name="connsiteY22" fmla="*/ 27756 h 31273"/>
                          <a:gd name="connsiteX23" fmla="*/ 21226 w 54005"/>
                          <a:gd name="connsiteY23" fmla="*/ 27756 h 31273"/>
                          <a:gd name="connsiteX24" fmla="*/ 15197 w 54005"/>
                          <a:gd name="connsiteY24" fmla="*/ 31273 h 31273"/>
                          <a:gd name="connsiteX25" fmla="*/ 15197 w 54005"/>
                          <a:gd name="connsiteY25" fmla="*/ 31273 h 31273"/>
                          <a:gd name="connsiteX26" fmla="*/ 15072 w 54005"/>
                          <a:gd name="connsiteY26" fmla="*/ 31148 h 31273"/>
                          <a:gd name="connsiteX27" fmla="*/ 14569 w 54005"/>
                          <a:gd name="connsiteY27" fmla="*/ 30896 h 31273"/>
                          <a:gd name="connsiteX28" fmla="*/ 14569 w 54005"/>
                          <a:gd name="connsiteY28" fmla="*/ 30896 h 31273"/>
                          <a:gd name="connsiteX29" fmla="*/ 13941 w 54005"/>
                          <a:gd name="connsiteY29" fmla="*/ 30520 h 31273"/>
                          <a:gd name="connsiteX30" fmla="*/ 13816 w 54005"/>
                          <a:gd name="connsiteY30" fmla="*/ 30394 h 31273"/>
                          <a:gd name="connsiteX31" fmla="*/ 12559 w 54005"/>
                          <a:gd name="connsiteY31" fmla="*/ 29766 h 31273"/>
                          <a:gd name="connsiteX32" fmla="*/ 12434 w 54005"/>
                          <a:gd name="connsiteY32" fmla="*/ 29640 h 31273"/>
                          <a:gd name="connsiteX33" fmla="*/ 11680 w 54005"/>
                          <a:gd name="connsiteY33" fmla="*/ 29264 h 31273"/>
                          <a:gd name="connsiteX34" fmla="*/ 11429 w 54005"/>
                          <a:gd name="connsiteY34" fmla="*/ 29012 h 31273"/>
                          <a:gd name="connsiteX35" fmla="*/ 10801 w 54005"/>
                          <a:gd name="connsiteY35" fmla="*/ 28636 h 31273"/>
                          <a:gd name="connsiteX36" fmla="*/ 10676 w 54005"/>
                          <a:gd name="connsiteY36" fmla="*/ 28636 h 31273"/>
                          <a:gd name="connsiteX37" fmla="*/ 10047 w 54005"/>
                          <a:gd name="connsiteY37" fmla="*/ 28259 h 31273"/>
                          <a:gd name="connsiteX38" fmla="*/ 9922 w 54005"/>
                          <a:gd name="connsiteY38" fmla="*/ 28259 h 31273"/>
                          <a:gd name="connsiteX39" fmla="*/ 9169 w 54005"/>
                          <a:gd name="connsiteY39" fmla="*/ 27756 h 31273"/>
                          <a:gd name="connsiteX40" fmla="*/ 9043 w 54005"/>
                          <a:gd name="connsiteY40" fmla="*/ 27631 h 31273"/>
                          <a:gd name="connsiteX41" fmla="*/ 9043 w 54005"/>
                          <a:gd name="connsiteY41" fmla="*/ 27631 h 31273"/>
                          <a:gd name="connsiteX42" fmla="*/ 8164 w 54005"/>
                          <a:gd name="connsiteY42" fmla="*/ 27254 h 31273"/>
                          <a:gd name="connsiteX43" fmla="*/ 8038 w 54005"/>
                          <a:gd name="connsiteY43" fmla="*/ 27128 h 31273"/>
                          <a:gd name="connsiteX44" fmla="*/ 7661 w 54005"/>
                          <a:gd name="connsiteY44" fmla="*/ 26877 h 31273"/>
                          <a:gd name="connsiteX45" fmla="*/ 7536 w 54005"/>
                          <a:gd name="connsiteY45" fmla="*/ 26752 h 31273"/>
                          <a:gd name="connsiteX46" fmla="*/ 6908 w 54005"/>
                          <a:gd name="connsiteY46" fmla="*/ 26500 h 31273"/>
                          <a:gd name="connsiteX47" fmla="*/ 6782 w 54005"/>
                          <a:gd name="connsiteY47" fmla="*/ 26375 h 31273"/>
                          <a:gd name="connsiteX48" fmla="*/ 5777 w 54005"/>
                          <a:gd name="connsiteY48" fmla="*/ 25747 h 31273"/>
                          <a:gd name="connsiteX49" fmla="*/ 5526 w 54005"/>
                          <a:gd name="connsiteY49" fmla="*/ 25621 h 31273"/>
                          <a:gd name="connsiteX50" fmla="*/ 4647 w 54005"/>
                          <a:gd name="connsiteY50" fmla="*/ 25119 h 31273"/>
                          <a:gd name="connsiteX51" fmla="*/ 4522 w 54005"/>
                          <a:gd name="connsiteY51" fmla="*/ 25119 h 31273"/>
                          <a:gd name="connsiteX52" fmla="*/ 4270 w 54005"/>
                          <a:gd name="connsiteY52" fmla="*/ 24868 h 31273"/>
                          <a:gd name="connsiteX53" fmla="*/ 4144 w 54005"/>
                          <a:gd name="connsiteY53" fmla="*/ 24868 h 31273"/>
                          <a:gd name="connsiteX54" fmla="*/ 3517 w 54005"/>
                          <a:gd name="connsiteY54" fmla="*/ 24491 h 31273"/>
                          <a:gd name="connsiteX55" fmla="*/ 3517 w 54005"/>
                          <a:gd name="connsiteY55" fmla="*/ 24491 h 31273"/>
                          <a:gd name="connsiteX56" fmla="*/ 3266 w 54005"/>
                          <a:gd name="connsiteY56" fmla="*/ 24365 h 31273"/>
                          <a:gd name="connsiteX57" fmla="*/ 2637 w 54005"/>
                          <a:gd name="connsiteY57" fmla="*/ 23989 h 31273"/>
                          <a:gd name="connsiteX58" fmla="*/ 2512 w 54005"/>
                          <a:gd name="connsiteY58" fmla="*/ 23989 h 31273"/>
                          <a:gd name="connsiteX59" fmla="*/ 2010 w 54005"/>
                          <a:gd name="connsiteY59" fmla="*/ 23612 h 31273"/>
                          <a:gd name="connsiteX60" fmla="*/ 1759 w 54005"/>
                          <a:gd name="connsiteY60" fmla="*/ 23486 h 31273"/>
                          <a:gd name="connsiteX61" fmla="*/ 0 w 54005"/>
                          <a:gd name="connsiteY61" fmla="*/ 22481 h 31273"/>
                          <a:gd name="connsiteX62" fmla="*/ 5526 w 54005"/>
                          <a:gd name="connsiteY62" fmla="*/ 19342 h 31273"/>
                          <a:gd name="connsiteX63" fmla="*/ 5526 w 54005"/>
                          <a:gd name="connsiteY63" fmla="*/ 19342 h 31273"/>
                          <a:gd name="connsiteX64" fmla="*/ 5652 w 54005"/>
                          <a:gd name="connsiteY64" fmla="*/ 19216 h 31273"/>
                          <a:gd name="connsiteX65" fmla="*/ 5777 w 54005"/>
                          <a:gd name="connsiteY65" fmla="*/ 19216 h 31273"/>
                          <a:gd name="connsiteX66" fmla="*/ 6029 w 54005"/>
                          <a:gd name="connsiteY66" fmla="*/ 19090 h 31273"/>
                          <a:gd name="connsiteX67" fmla="*/ 6029 w 54005"/>
                          <a:gd name="connsiteY67" fmla="*/ 18965 h 31273"/>
                          <a:gd name="connsiteX68" fmla="*/ 6154 w 54005"/>
                          <a:gd name="connsiteY68" fmla="*/ 18965 h 31273"/>
                          <a:gd name="connsiteX69" fmla="*/ 6280 w 54005"/>
                          <a:gd name="connsiteY69" fmla="*/ 18839 h 31273"/>
                          <a:gd name="connsiteX70" fmla="*/ 12811 w 54005"/>
                          <a:gd name="connsiteY70" fmla="*/ 15071 h 31273"/>
                          <a:gd name="connsiteX71" fmla="*/ 21728 w 54005"/>
                          <a:gd name="connsiteY71" fmla="*/ 9922 h 31273"/>
                          <a:gd name="connsiteX72" fmla="*/ 21979 w 54005"/>
                          <a:gd name="connsiteY72" fmla="*/ 9796 h 31273"/>
                          <a:gd name="connsiteX73" fmla="*/ 22482 w 54005"/>
                          <a:gd name="connsiteY73" fmla="*/ 9545 h 31273"/>
                          <a:gd name="connsiteX74" fmla="*/ 22733 w 54005"/>
                          <a:gd name="connsiteY74" fmla="*/ 9420 h 31273"/>
                          <a:gd name="connsiteX75" fmla="*/ 27129 w 54005"/>
                          <a:gd name="connsiteY75" fmla="*/ 6908 h 31273"/>
                          <a:gd name="connsiteX76" fmla="*/ 38934 w 54005"/>
                          <a:gd name="connsiteY76" fmla="*/ 0 h 31273"/>
                          <a:gd name="connsiteX77" fmla="*/ 39814 w 54005"/>
                          <a:gd name="connsiteY77" fmla="*/ 628 h 31273"/>
                          <a:gd name="connsiteX78" fmla="*/ 40065 w 54005"/>
                          <a:gd name="connsiteY78" fmla="*/ 754 h 31273"/>
                          <a:gd name="connsiteX79" fmla="*/ 41195 w 54005"/>
                          <a:gd name="connsiteY79" fmla="*/ 1382 h 31273"/>
                          <a:gd name="connsiteX80" fmla="*/ 41572 w 54005"/>
                          <a:gd name="connsiteY80" fmla="*/ 1633 h 31273"/>
                          <a:gd name="connsiteX81" fmla="*/ 42577 w 54005"/>
                          <a:gd name="connsiteY81" fmla="*/ 2261 h 31273"/>
                          <a:gd name="connsiteX82" fmla="*/ 42828 w 54005"/>
                          <a:gd name="connsiteY82" fmla="*/ 2386 h 31273"/>
                          <a:gd name="connsiteX83" fmla="*/ 43456 w 54005"/>
                          <a:gd name="connsiteY83" fmla="*/ 2637 h 31273"/>
                          <a:gd name="connsiteX84" fmla="*/ 43456 w 54005"/>
                          <a:gd name="connsiteY84" fmla="*/ 2637 h 31273"/>
                          <a:gd name="connsiteX85" fmla="*/ 44461 w 54005"/>
                          <a:gd name="connsiteY85" fmla="*/ 3265 h 31273"/>
                          <a:gd name="connsiteX86" fmla="*/ 44712 w 54005"/>
                          <a:gd name="connsiteY86" fmla="*/ 3391 h 31273"/>
                          <a:gd name="connsiteX87" fmla="*/ 45340 w 54005"/>
                          <a:gd name="connsiteY87" fmla="*/ 3768 h 31273"/>
                          <a:gd name="connsiteX88" fmla="*/ 45465 w 54005"/>
                          <a:gd name="connsiteY88" fmla="*/ 3893 h 31273"/>
                          <a:gd name="connsiteX89" fmla="*/ 46596 w 54005"/>
                          <a:gd name="connsiteY89" fmla="*/ 4521 h 31273"/>
                          <a:gd name="connsiteX90" fmla="*/ 46847 w 54005"/>
                          <a:gd name="connsiteY90" fmla="*/ 4647 h 31273"/>
                          <a:gd name="connsiteX91" fmla="*/ 47224 w 54005"/>
                          <a:gd name="connsiteY91" fmla="*/ 4898 h 31273"/>
                          <a:gd name="connsiteX92" fmla="*/ 47852 w 54005"/>
                          <a:gd name="connsiteY92" fmla="*/ 5275 h 31273"/>
                          <a:gd name="connsiteX93" fmla="*/ 47977 w 54005"/>
                          <a:gd name="connsiteY93" fmla="*/ 5275 h 31273"/>
                          <a:gd name="connsiteX94" fmla="*/ 48354 w 54005"/>
                          <a:gd name="connsiteY94" fmla="*/ 5526 h 31273"/>
                          <a:gd name="connsiteX95" fmla="*/ 48480 w 54005"/>
                          <a:gd name="connsiteY95" fmla="*/ 5526 h 31273"/>
                          <a:gd name="connsiteX96" fmla="*/ 48857 w 54005"/>
                          <a:gd name="connsiteY96" fmla="*/ 5777 h 31273"/>
                          <a:gd name="connsiteX97" fmla="*/ 49108 w 54005"/>
                          <a:gd name="connsiteY97" fmla="*/ 5903 h 31273"/>
                          <a:gd name="connsiteX98" fmla="*/ 49610 w 54005"/>
                          <a:gd name="connsiteY98" fmla="*/ 6280 h 31273"/>
                          <a:gd name="connsiteX99" fmla="*/ 49987 w 54005"/>
                          <a:gd name="connsiteY99" fmla="*/ 6405 h 31273"/>
                          <a:gd name="connsiteX100" fmla="*/ 50238 w 54005"/>
                          <a:gd name="connsiteY100" fmla="*/ 6531 h 31273"/>
                          <a:gd name="connsiteX101" fmla="*/ 50238 w 54005"/>
                          <a:gd name="connsiteY101" fmla="*/ 6531 h 31273"/>
                          <a:gd name="connsiteX102" fmla="*/ 50364 w 54005"/>
                          <a:gd name="connsiteY102" fmla="*/ 6657 h 31273"/>
                          <a:gd name="connsiteX103" fmla="*/ 50740 w 54005"/>
                          <a:gd name="connsiteY103" fmla="*/ 6908 h 31273"/>
                          <a:gd name="connsiteX104" fmla="*/ 50991 w 54005"/>
                          <a:gd name="connsiteY104" fmla="*/ 7033 h 31273"/>
                          <a:gd name="connsiteX105" fmla="*/ 51243 w 54005"/>
                          <a:gd name="connsiteY105" fmla="*/ 7159 h 31273"/>
                          <a:gd name="connsiteX106" fmla="*/ 51243 w 54005"/>
                          <a:gd name="connsiteY106" fmla="*/ 7159 h 31273"/>
                          <a:gd name="connsiteX107" fmla="*/ 51368 w 54005"/>
                          <a:gd name="connsiteY107" fmla="*/ 7284 h 31273"/>
                          <a:gd name="connsiteX108" fmla="*/ 51620 w 54005"/>
                          <a:gd name="connsiteY108" fmla="*/ 7410 h 31273"/>
                          <a:gd name="connsiteX109" fmla="*/ 51745 w 54005"/>
                          <a:gd name="connsiteY109" fmla="*/ 7536 h 31273"/>
                          <a:gd name="connsiteX110" fmla="*/ 52247 w 54005"/>
                          <a:gd name="connsiteY110" fmla="*/ 7787 h 31273"/>
                          <a:gd name="connsiteX111" fmla="*/ 52499 w 54005"/>
                          <a:gd name="connsiteY111" fmla="*/ 7912 h 31273"/>
                          <a:gd name="connsiteX112" fmla="*/ 52875 w 54005"/>
                          <a:gd name="connsiteY112" fmla="*/ 8164 h 31273"/>
                          <a:gd name="connsiteX113" fmla="*/ 53001 w 54005"/>
                          <a:gd name="connsiteY113" fmla="*/ 8164 h 31273"/>
                          <a:gd name="connsiteX114" fmla="*/ 53504 w 54005"/>
                          <a:gd name="connsiteY114" fmla="*/ 8540 h 31273"/>
                          <a:gd name="connsiteX115" fmla="*/ 53504 w 54005"/>
                          <a:gd name="connsiteY115"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313"/>
                            </a:lnTo>
                            <a:lnTo>
                              <a:pt x="42325" y="15574"/>
                            </a:lnTo>
                            <a:lnTo>
                              <a:pt x="34790" y="19970"/>
                            </a:lnTo>
                            <a:lnTo>
                              <a:pt x="34162" y="20346"/>
                            </a:lnTo>
                            <a:lnTo>
                              <a:pt x="32780" y="21100"/>
                            </a:lnTo>
                            <a:lnTo>
                              <a:pt x="32152" y="21477"/>
                            </a:lnTo>
                            <a:lnTo>
                              <a:pt x="32027" y="21602"/>
                            </a:lnTo>
                            <a:lnTo>
                              <a:pt x="32027" y="21602"/>
                            </a:lnTo>
                            <a:lnTo>
                              <a:pt x="31775" y="21728"/>
                            </a:lnTo>
                            <a:lnTo>
                              <a:pt x="29892" y="22733"/>
                            </a:lnTo>
                            <a:lnTo>
                              <a:pt x="29892" y="22733"/>
                            </a:lnTo>
                            <a:lnTo>
                              <a:pt x="29515" y="22984"/>
                            </a:lnTo>
                            <a:lnTo>
                              <a:pt x="28008" y="23863"/>
                            </a:lnTo>
                            <a:lnTo>
                              <a:pt x="21728" y="27505"/>
                            </a:lnTo>
                            <a:lnTo>
                              <a:pt x="21226" y="27756"/>
                            </a:lnTo>
                            <a:lnTo>
                              <a:pt x="21226" y="27756"/>
                            </a:lnTo>
                            <a:lnTo>
                              <a:pt x="15197" y="31273"/>
                            </a:lnTo>
                            <a:lnTo>
                              <a:pt x="15197" y="31273"/>
                            </a:lnTo>
                            <a:lnTo>
                              <a:pt x="15072" y="31148"/>
                            </a:lnTo>
                            <a:lnTo>
                              <a:pt x="14569" y="30896"/>
                            </a:lnTo>
                            <a:lnTo>
                              <a:pt x="14569" y="30896"/>
                            </a:lnTo>
                            <a:lnTo>
                              <a:pt x="13941" y="30520"/>
                            </a:lnTo>
                            <a:lnTo>
                              <a:pt x="13816" y="30394"/>
                            </a:lnTo>
                            <a:lnTo>
                              <a:pt x="12559" y="29766"/>
                            </a:lnTo>
                            <a:lnTo>
                              <a:pt x="12434" y="29640"/>
                            </a:lnTo>
                            <a:lnTo>
                              <a:pt x="11680" y="29264"/>
                            </a:lnTo>
                            <a:lnTo>
                              <a:pt x="11429" y="29012"/>
                            </a:lnTo>
                            <a:lnTo>
                              <a:pt x="10801" y="28636"/>
                            </a:lnTo>
                            <a:lnTo>
                              <a:pt x="10676" y="28636"/>
                            </a:lnTo>
                            <a:lnTo>
                              <a:pt x="10047" y="28259"/>
                            </a:lnTo>
                            <a:lnTo>
                              <a:pt x="9922" y="28259"/>
                            </a:lnTo>
                            <a:lnTo>
                              <a:pt x="9169" y="27756"/>
                            </a:lnTo>
                            <a:lnTo>
                              <a:pt x="9043" y="27631"/>
                            </a:lnTo>
                            <a:lnTo>
                              <a:pt x="9043" y="27631"/>
                            </a:lnTo>
                            <a:lnTo>
                              <a:pt x="8164" y="27254"/>
                            </a:lnTo>
                            <a:lnTo>
                              <a:pt x="8038" y="27128"/>
                            </a:lnTo>
                            <a:lnTo>
                              <a:pt x="7661" y="26877"/>
                            </a:lnTo>
                            <a:lnTo>
                              <a:pt x="7536" y="26752"/>
                            </a:lnTo>
                            <a:lnTo>
                              <a:pt x="6908" y="26500"/>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989"/>
                            </a:lnTo>
                            <a:lnTo>
                              <a:pt x="2010" y="23612"/>
                            </a:lnTo>
                            <a:lnTo>
                              <a:pt x="1759" y="23486"/>
                            </a:lnTo>
                            <a:lnTo>
                              <a:pt x="0" y="22481"/>
                            </a:lnTo>
                            <a:lnTo>
                              <a:pt x="5526" y="19342"/>
                            </a:lnTo>
                            <a:lnTo>
                              <a:pt x="5526" y="19342"/>
                            </a:lnTo>
                            <a:lnTo>
                              <a:pt x="5652" y="19216"/>
                            </a:lnTo>
                            <a:lnTo>
                              <a:pt x="5777" y="19216"/>
                            </a:lnTo>
                            <a:lnTo>
                              <a:pt x="6029" y="19090"/>
                            </a:lnTo>
                            <a:lnTo>
                              <a:pt x="6029" y="18965"/>
                            </a:lnTo>
                            <a:lnTo>
                              <a:pt x="6154" y="18965"/>
                            </a:lnTo>
                            <a:lnTo>
                              <a:pt x="6280" y="18839"/>
                            </a:lnTo>
                            <a:lnTo>
                              <a:pt x="12811" y="15071"/>
                            </a:lnTo>
                            <a:lnTo>
                              <a:pt x="21728" y="9922"/>
                            </a:lnTo>
                            <a:lnTo>
                              <a:pt x="21979" y="9796"/>
                            </a:lnTo>
                            <a:lnTo>
                              <a:pt x="22482" y="9545"/>
                            </a:lnTo>
                            <a:lnTo>
                              <a:pt x="22733" y="9420"/>
                            </a:lnTo>
                            <a:lnTo>
                              <a:pt x="27129" y="6908"/>
                            </a:lnTo>
                            <a:lnTo>
                              <a:pt x="38934" y="0"/>
                            </a:lnTo>
                            <a:lnTo>
                              <a:pt x="39814" y="628"/>
                            </a:lnTo>
                            <a:lnTo>
                              <a:pt x="40065" y="754"/>
                            </a:lnTo>
                            <a:lnTo>
                              <a:pt x="41195" y="1382"/>
                            </a:lnTo>
                            <a:lnTo>
                              <a:pt x="41572" y="1633"/>
                            </a:lnTo>
                            <a:lnTo>
                              <a:pt x="42577" y="2261"/>
                            </a:lnTo>
                            <a:lnTo>
                              <a:pt x="42828" y="2386"/>
                            </a:lnTo>
                            <a:lnTo>
                              <a:pt x="43456" y="2637"/>
                            </a:lnTo>
                            <a:lnTo>
                              <a:pt x="43456" y="2637"/>
                            </a:lnTo>
                            <a:lnTo>
                              <a:pt x="44461" y="3265"/>
                            </a:lnTo>
                            <a:lnTo>
                              <a:pt x="44712" y="3391"/>
                            </a:lnTo>
                            <a:lnTo>
                              <a:pt x="45340" y="3768"/>
                            </a:lnTo>
                            <a:lnTo>
                              <a:pt x="45465" y="3893"/>
                            </a:lnTo>
                            <a:lnTo>
                              <a:pt x="46596" y="4521"/>
                            </a:lnTo>
                            <a:lnTo>
                              <a:pt x="46847" y="4647"/>
                            </a:lnTo>
                            <a:lnTo>
                              <a:pt x="47224" y="4898"/>
                            </a:lnTo>
                            <a:lnTo>
                              <a:pt x="47852" y="5275"/>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4"/>
                            </a:lnTo>
                            <a:lnTo>
                              <a:pt x="51620" y="7410"/>
                            </a:lnTo>
                            <a:lnTo>
                              <a:pt x="51745" y="7536"/>
                            </a:lnTo>
                            <a:lnTo>
                              <a:pt x="52247" y="7787"/>
                            </a:lnTo>
                            <a:lnTo>
                              <a:pt x="52499" y="7912"/>
                            </a:lnTo>
                            <a:lnTo>
                              <a:pt x="52875" y="8164"/>
                            </a:lnTo>
                            <a:lnTo>
                              <a:pt x="53001" y="8164"/>
                            </a:lnTo>
                            <a:lnTo>
                              <a:pt x="53504" y="8540"/>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03" name="Freeform: Shape 2002">
                      <a:extLst>
                        <a:ext uri="{FF2B5EF4-FFF2-40B4-BE49-F238E27FC236}">
                          <a16:creationId xmlns:a16="http://schemas.microsoft.com/office/drawing/2014/main" id="{34867A46-CBC5-49FB-9CF9-84F29B72ED4C}"/>
                        </a:ext>
                      </a:extLst>
                    </p:cNvPr>
                    <p:cNvSpPr/>
                    <p:nvPr/>
                  </p:nvSpPr>
                  <p:spPr>
                    <a:xfrm>
                      <a:off x="3869705" y="1657324"/>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04" name="Freeform: Shape 2003">
                    <a:extLst>
                      <a:ext uri="{FF2B5EF4-FFF2-40B4-BE49-F238E27FC236}">
                        <a16:creationId xmlns:a16="http://schemas.microsoft.com/office/drawing/2014/main" id="{1FBAA4D6-9845-49BD-846D-CC1B75D00FE0}"/>
                      </a:ext>
                    </a:extLst>
                  </p:cNvPr>
                  <p:cNvSpPr/>
                  <p:nvPr/>
                </p:nvSpPr>
                <p:spPr>
                  <a:xfrm>
                    <a:off x="3852372" y="1648532"/>
                    <a:ext cx="32529" cy="41823"/>
                  </a:xfrm>
                  <a:custGeom>
                    <a:avLst/>
                    <a:gdLst>
                      <a:gd name="connsiteX0" fmla="*/ 0 w 32529"/>
                      <a:gd name="connsiteY0" fmla="*/ 0 h 41823"/>
                      <a:gd name="connsiteX1" fmla="*/ 0 w 32529"/>
                      <a:gd name="connsiteY1" fmla="*/ 22984 h 41823"/>
                      <a:gd name="connsiteX2" fmla="*/ 32529 w 32529"/>
                      <a:gd name="connsiteY2" fmla="*/ 41823 h 41823"/>
                      <a:gd name="connsiteX3" fmla="*/ 32529 w 32529"/>
                      <a:gd name="connsiteY3" fmla="*/ 18839 h 41823"/>
                    </a:gdLst>
                    <a:ahLst/>
                    <a:cxnLst>
                      <a:cxn ang="0">
                        <a:pos x="connsiteX0" y="connsiteY0"/>
                      </a:cxn>
                      <a:cxn ang="0">
                        <a:pos x="connsiteX1" y="connsiteY1"/>
                      </a:cxn>
                      <a:cxn ang="0">
                        <a:pos x="connsiteX2" y="connsiteY2"/>
                      </a:cxn>
                      <a:cxn ang="0">
                        <a:pos x="connsiteX3" y="connsiteY3"/>
                      </a:cxn>
                    </a:cxnLst>
                    <a:rect l="l" t="t" r="r" b="b"/>
                    <a:pathLst>
                      <a:path w="32529" h="41823">
                        <a:moveTo>
                          <a:pt x="0" y="0"/>
                        </a:moveTo>
                        <a:lnTo>
                          <a:pt x="0" y="22984"/>
                        </a:lnTo>
                        <a:lnTo>
                          <a:pt x="32529" y="41823"/>
                        </a:lnTo>
                        <a:lnTo>
                          <a:pt x="32529" y="18839"/>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05" name="Freeform: Shape 2004">
                    <a:extLst>
                      <a:ext uri="{FF2B5EF4-FFF2-40B4-BE49-F238E27FC236}">
                        <a16:creationId xmlns:a16="http://schemas.microsoft.com/office/drawing/2014/main" id="{189E44D5-2313-4F57-9A9B-1EFFDE5FD9FB}"/>
                      </a:ext>
                    </a:extLst>
                  </p:cNvPr>
                  <p:cNvSpPr/>
                  <p:nvPr/>
                </p:nvSpPr>
                <p:spPr>
                  <a:xfrm>
                    <a:off x="3884901" y="1644890"/>
                    <a:ext cx="38934" cy="45465"/>
                  </a:xfrm>
                  <a:custGeom>
                    <a:avLst/>
                    <a:gdLst>
                      <a:gd name="connsiteX0" fmla="*/ 0 w 38934"/>
                      <a:gd name="connsiteY0" fmla="*/ 45465 h 45465"/>
                      <a:gd name="connsiteX1" fmla="*/ 38934 w 38934"/>
                      <a:gd name="connsiteY1" fmla="*/ 22984 h 45465"/>
                      <a:gd name="connsiteX2" fmla="*/ 38934 w 38934"/>
                      <a:gd name="connsiteY2" fmla="*/ 0 h 45465"/>
                      <a:gd name="connsiteX3" fmla="*/ 0 w 38934"/>
                      <a:gd name="connsiteY3" fmla="*/ 22481 h 45465"/>
                    </a:gdLst>
                    <a:ahLst/>
                    <a:cxnLst>
                      <a:cxn ang="0">
                        <a:pos x="connsiteX0" y="connsiteY0"/>
                      </a:cxn>
                      <a:cxn ang="0">
                        <a:pos x="connsiteX1" y="connsiteY1"/>
                      </a:cxn>
                      <a:cxn ang="0">
                        <a:pos x="connsiteX2" y="connsiteY2"/>
                      </a:cxn>
                      <a:cxn ang="0">
                        <a:pos x="connsiteX3" y="connsiteY3"/>
                      </a:cxn>
                    </a:cxnLst>
                    <a:rect l="l" t="t" r="r" b="b"/>
                    <a:pathLst>
                      <a:path w="38934" h="45465">
                        <a:moveTo>
                          <a:pt x="0" y="45465"/>
                        </a:moveTo>
                        <a:lnTo>
                          <a:pt x="38934" y="22984"/>
                        </a:lnTo>
                        <a:lnTo>
                          <a:pt x="38934" y="0"/>
                        </a:lnTo>
                        <a:lnTo>
                          <a:pt x="0" y="2248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06" name="Graphic 4">
                    <a:extLst>
                      <a:ext uri="{FF2B5EF4-FFF2-40B4-BE49-F238E27FC236}">
                        <a16:creationId xmlns:a16="http://schemas.microsoft.com/office/drawing/2014/main" id="{84FB7ED1-A2DF-40A1-A747-5F7CF3F14040}"/>
                      </a:ext>
                    </a:extLst>
                  </p:cNvPr>
                  <p:cNvGrpSpPr/>
                  <p:nvPr/>
                </p:nvGrpSpPr>
                <p:grpSpPr>
                  <a:xfrm>
                    <a:off x="3913035" y="1651672"/>
                    <a:ext cx="7661" cy="10926"/>
                    <a:chOff x="3913035" y="1651672"/>
                    <a:chExt cx="7661" cy="10926"/>
                  </a:xfrm>
                  <a:solidFill>
                    <a:schemeClr val="accent1"/>
                  </a:solidFill>
                </p:grpSpPr>
                <p:sp>
                  <p:nvSpPr>
                    <p:cNvPr id="2007" name="Freeform: Shape 2006">
                      <a:extLst>
                        <a:ext uri="{FF2B5EF4-FFF2-40B4-BE49-F238E27FC236}">
                          <a16:creationId xmlns:a16="http://schemas.microsoft.com/office/drawing/2014/main" id="{26014110-0FAC-4B7D-8B0F-7C0EFC618714}"/>
                        </a:ext>
                      </a:extLst>
                    </p:cNvPr>
                    <p:cNvSpPr/>
                    <p:nvPr/>
                  </p:nvSpPr>
                  <p:spPr>
                    <a:xfrm>
                      <a:off x="3913035" y="1651672"/>
                      <a:ext cx="7661" cy="10926"/>
                    </a:xfrm>
                    <a:custGeom>
                      <a:avLst/>
                      <a:gdLst>
                        <a:gd name="connsiteX0" fmla="*/ 7661 w 7661"/>
                        <a:gd name="connsiteY0" fmla="*/ 6531 h 10926"/>
                        <a:gd name="connsiteX1" fmla="*/ 0 w 7661"/>
                        <a:gd name="connsiteY1" fmla="*/ 10927 h 10926"/>
                        <a:gd name="connsiteX2" fmla="*/ 0 w 7661"/>
                        <a:gd name="connsiteY2" fmla="*/ 4396 h 10926"/>
                        <a:gd name="connsiteX3" fmla="*/ 7661 w 7661"/>
                        <a:gd name="connsiteY3" fmla="*/ 0 h 10926"/>
                      </a:gdLst>
                      <a:ahLst/>
                      <a:cxnLst>
                        <a:cxn ang="0">
                          <a:pos x="connsiteX0" y="connsiteY0"/>
                        </a:cxn>
                        <a:cxn ang="0">
                          <a:pos x="connsiteX1" y="connsiteY1"/>
                        </a:cxn>
                        <a:cxn ang="0">
                          <a:pos x="connsiteX2" y="connsiteY2"/>
                        </a:cxn>
                        <a:cxn ang="0">
                          <a:pos x="connsiteX3" y="connsiteY3"/>
                        </a:cxn>
                      </a:cxnLst>
                      <a:rect l="l" t="t" r="r" b="b"/>
                      <a:pathLst>
                        <a:path w="7661" h="10926">
                          <a:moveTo>
                            <a:pt x="7661" y="6531"/>
                          </a:moveTo>
                          <a:lnTo>
                            <a:pt x="0" y="10927"/>
                          </a:lnTo>
                          <a:lnTo>
                            <a:pt x="0" y="4396"/>
                          </a:lnTo>
                          <a:lnTo>
                            <a:pt x="7661"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08" name="Freeform: Shape 2007">
                      <a:extLst>
                        <a:ext uri="{FF2B5EF4-FFF2-40B4-BE49-F238E27FC236}">
                          <a16:creationId xmlns:a16="http://schemas.microsoft.com/office/drawing/2014/main" id="{EE2A66E9-207A-41C5-8D3D-6156207FAD2E}"/>
                        </a:ext>
                      </a:extLst>
                    </p:cNvPr>
                    <p:cNvSpPr/>
                    <p:nvPr/>
                  </p:nvSpPr>
                  <p:spPr>
                    <a:xfrm>
                      <a:off x="3913788" y="1652928"/>
                      <a:ext cx="6154" cy="4270"/>
                    </a:xfrm>
                    <a:custGeom>
                      <a:avLst/>
                      <a:gdLst>
                        <a:gd name="connsiteX0" fmla="*/ 6154 w 6154"/>
                        <a:gd name="connsiteY0" fmla="*/ 754 h 4270"/>
                        <a:gd name="connsiteX1" fmla="*/ 0 w 6154"/>
                        <a:gd name="connsiteY1" fmla="*/ 4270 h 4270"/>
                        <a:gd name="connsiteX2" fmla="*/ 0 w 6154"/>
                        <a:gd name="connsiteY2" fmla="*/ 3517 h 4270"/>
                        <a:gd name="connsiteX3" fmla="*/ 6154 w 6154"/>
                        <a:gd name="connsiteY3" fmla="*/ 0 h 4270"/>
                      </a:gdLst>
                      <a:ahLst/>
                      <a:cxnLst>
                        <a:cxn ang="0">
                          <a:pos x="connsiteX0" y="connsiteY0"/>
                        </a:cxn>
                        <a:cxn ang="0">
                          <a:pos x="connsiteX1" y="connsiteY1"/>
                        </a:cxn>
                        <a:cxn ang="0">
                          <a:pos x="connsiteX2" y="connsiteY2"/>
                        </a:cxn>
                        <a:cxn ang="0">
                          <a:pos x="connsiteX3" y="connsiteY3"/>
                        </a:cxn>
                      </a:cxnLst>
                      <a:rect l="l" t="t" r="r" b="b"/>
                      <a:pathLst>
                        <a:path w="6154" h="4270">
                          <a:moveTo>
                            <a:pt x="6154" y="754"/>
                          </a:moveTo>
                          <a:lnTo>
                            <a:pt x="0" y="4270"/>
                          </a:lnTo>
                          <a:lnTo>
                            <a:pt x="0" y="3517"/>
                          </a:lnTo>
                          <a:lnTo>
                            <a:pt x="6154"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09" name="Freeform: Shape 2008">
                      <a:extLst>
                        <a:ext uri="{FF2B5EF4-FFF2-40B4-BE49-F238E27FC236}">
                          <a16:creationId xmlns:a16="http://schemas.microsoft.com/office/drawing/2014/main" id="{ED4DD299-01E5-4F42-A5DA-DAA0A954BBF9}"/>
                        </a:ext>
                      </a:extLst>
                    </p:cNvPr>
                    <p:cNvSpPr/>
                    <p:nvPr/>
                  </p:nvSpPr>
                  <p:spPr>
                    <a:xfrm>
                      <a:off x="3913788" y="1654687"/>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10" name="Freeform: Shape 2009">
                      <a:extLst>
                        <a:ext uri="{FF2B5EF4-FFF2-40B4-BE49-F238E27FC236}">
                          <a16:creationId xmlns:a16="http://schemas.microsoft.com/office/drawing/2014/main" id="{9CF105D8-5AAB-4A9B-9454-E3C5453D704A}"/>
                        </a:ext>
                      </a:extLst>
                    </p:cNvPr>
                    <p:cNvSpPr/>
                    <p:nvPr/>
                  </p:nvSpPr>
                  <p:spPr>
                    <a:xfrm>
                      <a:off x="3913788" y="1655440"/>
                      <a:ext cx="6154" cy="3893"/>
                    </a:xfrm>
                    <a:custGeom>
                      <a:avLst/>
                      <a:gdLst>
                        <a:gd name="connsiteX0" fmla="*/ 6154 w 6154"/>
                        <a:gd name="connsiteY0" fmla="*/ 377 h 3893"/>
                        <a:gd name="connsiteX1" fmla="*/ 0 w 6154"/>
                        <a:gd name="connsiteY1" fmla="*/ 3893 h 3893"/>
                        <a:gd name="connsiteX2" fmla="*/ 0 w 6154"/>
                        <a:gd name="connsiteY2" fmla="*/ 3642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377"/>
                          </a:moveTo>
                          <a:lnTo>
                            <a:pt x="0" y="3893"/>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11" name="Freeform: Shape 2010">
                      <a:extLst>
                        <a:ext uri="{FF2B5EF4-FFF2-40B4-BE49-F238E27FC236}">
                          <a16:creationId xmlns:a16="http://schemas.microsoft.com/office/drawing/2014/main" id="{CF6EE23E-B728-4D20-8436-84B7A811DF08}"/>
                        </a:ext>
                      </a:extLst>
                    </p:cNvPr>
                    <p:cNvSpPr/>
                    <p:nvPr/>
                  </p:nvSpPr>
                  <p:spPr>
                    <a:xfrm>
                      <a:off x="3913788" y="1656445"/>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12" name="Freeform: Shape 2011">
                      <a:extLst>
                        <a:ext uri="{FF2B5EF4-FFF2-40B4-BE49-F238E27FC236}">
                          <a16:creationId xmlns:a16="http://schemas.microsoft.com/office/drawing/2014/main" id="{4674291B-4425-444D-8BD3-F417D1192D05}"/>
                        </a:ext>
                      </a:extLst>
                    </p:cNvPr>
                    <p:cNvSpPr/>
                    <p:nvPr/>
                  </p:nvSpPr>
                  <p:spPr>
                    <a:xfrm>
                      <a:off x="3913788" y="1657324"/>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013" name="Freeform: Shape 2012">
                  <a:extLst>
                    <a:ext uri="{FF2B5EF4-FFF2-40B4-BE49-F238E27FC236}">
                      <a16:creationId xmlns:a16="http://schemas.microsoft.com/office/drawing/2014/main" id="{7BC84984-AF1F-4959-8FB2-311DF322A89F}"/>
                    </a:ext>
                  </a:extLst>
                </p:cNvPr>
                <p:cNvSpPr/>
                <p:nvPr/>
              </p:nvSpPr>
              <p:spPr>
                <a:xfrm>
                  <a:off x="3865309" y="1631828"/>
                  <a:ext cx="46721" cy="26877"/>
                </a:xfrm>
                <a:custGeom>
                  <a:avLst/>
                  <a:gdLst>
                    <a:gd name="connsiteX0" fmla="*/ 46721 w 46721"/>
                    <a:gd name="connsiteY0" fmla="*/ 18588 h 26877"/>
                    <a:gd name="connsiteX1" fmla="*/ 39186 w 46721"/>
                    <a:gd name="connsiteY1" fmla="*/ 22984 h 26877"/>
                    <a:gd name="connsiteX2" fmla="*/ 38558 w 46721"/>
                    <a:gd name="connsiteY2" fmla="*/ 23361 h 26877"/>
                    <a:gd name="connsiteX3" fmla="*/ 37176 w 46721"/>
                    <a:gd name="connsiteY3" fmla="*/ 24114 h 26877"/>
                    <a:gd name="connsiteX4" fmla="*/ 36548 w 46721"/>
                    <a:gd name="connsiteY4" fmla="*/ 24491 h 26877"/>
                    <a:gd name="connsiteX5" fmla="*/ 36422 w 46721"/>
                    <a:gd name="connsiteY5" fmla="*/ 24617 h 26877"/>
                    <a:gd name="connsiteX6" fmla="*/ 36422 w 46721"/>
                    <a:gd name="connsiteY6" fmla="*/ 24617 h 26877"/>
                    <a:gd name="connsiteX7" fmla="*/ 36171 w 46721"/>
                    <a:gd name="connsiteY7" fmla="*/ 24742 h 26877"/>
                    <a:gd name="connsiteX8" fmla="*/ 34288 w 46721"/>
                    <a:gd name="connsiteY8" fmla="*/ 25747 h 26877"/>
                    <a:gd name="connsiteX9" fmla="*/ 34288 w 46721"/>
                    <a:gd name="connsiteY9" fmla="*/ 25747 h 26877"/>
                    <a:gd name="connsiteX10" fmla="*/ 33911 w 46721"/>
                    <a:gd name="connsiteY10" fmla="*/ 25998 h 26877"/>
                    <a:gd name="connsiteX11" fmla="*/ 32404 w 46721"/>
                    <a:gd name="connsiteY11" fmla="*/ 26877 h 26877"/>
                    <a:gd name="connsiteX12" fmla="*/ 17206 w 46721"/>
                    <a:gd name="connsiteY12" fmla="*/ 18086 h 26877"/>
                    <a:gd name="connsiteX13" fmla="*/ 15197 w 46721"/>
                    <a:gd name="connsiteY13" fmla="*/ 16955 h 26877"/>
                    <a:gd name="connsiteX14" fmla="*/ 0 w 46721"/>
                    <a:gd name="connsiteY14" fmla="*/ 8164 h 26877"/>
                    <a:gd name="connsiteX15" fmla="*/ 8792 w 46721"/>
                    <a:gd name="connsiteY15" fmla="*/ 3140 h 26877"/>
                    <a:gd name="connsiteX16" fmla="*/ 9169 w 46721"/>
                    <a:gd name="connsiteY16" fmla="*/ 3014 h 26877"/>
                    <a:gd name="connsiteX17" fmla="*/ 9545 w 46721"/>
                    <a:gd name="connsiteY17" fmla="*/ 2763 h 26877"/>
                    <a:gd name="connsiteX18" fmla="*/ 9796 w 46721"/>
                    <a:gd name="connsiteY18" fmla="*/ 2637 h 26877"/>
                    <a:gd name="connsiteX19" fmla="*/ 14318 w 46721"/>
                    <a:gd name="connsiteY19" fmla="*/ 0 h 26877"/>
                    <a:gd name="connsiteX20" fmla="*/ 29515 w 46721"/>
                    <a:gd name="connsiteY20" fmla="*/ 8666 h 26877"/>
                    <a:gd name="connsiteX21" fmla="*/ 31524 w 46721"/>
                    <a:gd name="connsiteY21" fmla="*/ 9922 h 2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6721" h="26877">
                      <a:moveTo>
                        <a:pt x="46721" y="18588"/>
                      </a:moveTo>
                      <a:lnTo>
                        <a:pt x="39186" y="22984"/>
                      </a:lnTo>
                      <a:lnTo>
                        <a:pt x="38558" y="23361"/>
                      </a:lnTo>
                      <a:lnTo>
                        <a:pt x="37176" y="24114"/>
                      </a:lnTo>
                      <a:lnTo>
                        <a:pt x="36548" y="24491"/>
                      </a:lnTo>
                      <a:lnTo>
                        <a:pt x="36422" y="24617"/>
                      </a:lnTo>
                      <a:lnTo>
                        <a:pt x="36422" y="24617"/>
                      </a:lnTo>
                      <a:lnTo>
                        <a:pt x="36171" y="24742"/>
                      </a:lnTo>
                      <a:lnTo>
                        <a:pt x="34288" y="25747"/>
                      </a:lnTo>
                      <a:lnTo>
                        <a:pt x="34288" y="25747"/>
                      </a:lnTo>
                      <a:lnTo>
                        <a:pt x="33911" y="25998"/>
                      </a:lnTo>
                      <a:lnTo>
                        <a:pt x="32404" y="26877"/>
                      </a:lnTo>
                      <a:lnTo>
                        <a:pt x="17206" y="18086"/>
                      </a:lnTo>
                      <a:lnTo>
                        <a:pt x="15197" y="16955"/>
                      </a:lnTo>
                      <a:lnTo>
                        <a:pt x="0" y="8164"/>
                      </a:lnTo>
                      <a:lnTo>
                        <a:pt x="8792" y="3140"/>
                      </a:lnTo>
                      <a:lnTo>
                        <a:pt x="9169" y="3014"/>
                      </a:lnTo>
                      <a:lnTo>
                        <a:pt x="9545" y="2763"/>
                      </a:lnTo>
                      <a:lnTo>
                        <a:pt x="9796" y="2637"/>
                      </a:lnTo>
                      <a:lnTo>
                        <a:pt x="14318" y="0"/>
                      </a:lnTo>
                      <a:lnTo>
                        <a:pt x="29515" y="8666"/>
                      </a:lnTo>
                      <a:lnTo>
                        <a:pt x="31524" y="9922"/>
                      </a:lnTo>
                      <a:close/>
                    </a:path>
                  </a:pathLst>
                </a:custGeom>
                <a:solidFill>
                  <a:srgbClr val="FFFFFF">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14" name="Freeform: Shape 2013">
                  <a:extLst>
                    <a:ext uri="{FF2B5EF4-FFF2-40B4-BE49-F238E27FC236}">
                      <a16:creationId xmlns:a16="http://schemas.microsoft.com/office/drawing/2014/main" id="{356A34CB-04EB-4B26-B5AF-2EC99409C5A4}"/>
                    </a:ext>
                  </a:extLst>
                </p:cNvPr>
                <p:cNvSpPr/>
                <p:nvPr/>
              </p:nvSpPr>
              <p:spPr>
                <a:xfrm>
                  <a:off x="3897712" y="1650416"/>
                  <a:ext cx="14317" cy="34036"/>
                </a:xfrm>
                <a:custGeom>
                  <a:avLst/>
                  <a:gdLst>
                    <a:gd name="connsiteX0" fmla="*/ 0 w 14317"/>
                    <a:gd name="connsiteY0" fmla="*/ 34036 h 34036"/>
                    <a:gd name="connsiteX1" fmla="*/ 14318 w 14317"/>
                    <a:gd name="connsiteY1" fmla="*/ 25873 h 34036"/>
                    <a:gd name="connsiteX2" fmla="*/ 14318 w 14317"/>
                    <a:gd name="connsiteY2" fmla="*/ 0 h 34036"/>
                    <a:gd name="connsiteX3" fmla="*/ 0 w 14317"/>
                    <a:gd name="connsiteY3" fmla="*/ 8289 h 34036"/>
                  </a:gdLst>
                  <a:ahLst/>
                  <a:cxnLst>
                    <a:cxn ang="0">
                      <a:pos x="connsiteX0" y="connsiteY0"/>
                    </a:cxn>
                    <a:cxn ang="0">
                      <a:pos x="connsiteX1" y="connsiteY1"/>
                    </a:cxn>
                    <a:cxn ang="0">
                      <a:pos x="connsiteX2" y="connsiteY2"/>
                    </a:cxn>
                    <a:cxn ang="0">
                      <a:pos x="connsiteX3" y="connsiteY3"/>
                    </a:cxn>
                  </a:cxnLst>
                  <a:rect l="l" t="t" r="r" b="b"/>
                  <a:pathLst>
                    <a:path w="14317" h="34036">
                      <a:moveTo>
                        <a:pt x="0" y="34036"/>
                      </a:moveTo>
                      <a:lnTo>
                        <a:pt x="14318" y="25873"/>
                      </a:lnTo>
                      <a:lnTo>
                        <a:pt x="14318" y="0"/>
                      </a:lnTo>
                      <a:lnTo>
                        <a:pt x="0" y="8289"/>
                      </a:lnTo>
                      <a:close/>
                    </a:path>
                  </a:pathLst>
                </a:custGeom>
                <a:solidFill>
                  <a:srgbClr val="FFFFFF">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015" name="Graphic 4">
                <a:extLst>
                  <a:ext uri="{FF2B5EF4-FFF2-40B4-BE49-F238E27FC236}">
                    <a16:creationId xmlns:a16="http://schemas.microsoft.com/office/drawing/2014/main" id="{84FB7ED1-A2DF-40A1-A747-5F7CF3F14040}"/>
                  </a:ext>
                </a:extLst>
              </p:cNvPr>
              <p:cNvGrpSpPr/>
              <p:nvPr/>
            </p:nvGrpSpPr>
            <p:grpSpPr>
              <a:xfrm>
                <a:off x="3792087" y="1644639"/>
                <a:ext cx="53628" cy="59406"/>
                <a:chOff x="3792087" y="1644639"/>
                <a:chExt cx="53628" cy="59406"/>
              </a:xfrm>
              <a:solidFill>
                <a:schemeClr val="accent1"/>
              </a:solidFill>
            </p:grpSpPr>
            <p:grpSp>
              <p:nvGrpSpPr>
                <p:cNvPr id="2016" name="Graphic 4">
                  <a:extLst>
                    <a:ext uri="{FF2B5EF4-FFF2-40B4-BE49-F238E27FC236}">
                      <a16:creationId xmlns:a16="http://schemas.microsoft.com/office/drawing/2014/main" id="{84FB7ED1-A2DF-40A1-A747-5F7CF3F14040}"/>
                    </a:ext>
                  </a:extLst>
                </p:cNvPr>
                <p:cNvGrpSpPr/>
                <p:nvPr/>
              </p:nvGrpSpPr>
              <p:grpSpPr>
                <a:xfrm>
                  <a:off x="3792087" y="1644639"/>
                  <a:ext cx="53628" cy="59406"/>
                  <a:chOff x="3792087" y="1644639"/>
                  <a:chExt cx="53628" cy="59406"/>
                </a:xfrm>
                <a:solidFill>
                  <a:schemeClr val="accent1"/>
                </a:solidFill>
              </p:grpSpPr>
              <p:sp>
                <p:nvSpPr>
                  <p:cNvPr id="2017" name="Freeform: Shape 2016">
                    <a:extLst>
                      <a:ext uri="{FF2B5EF4-FFF2-40B4-BE49-F238E27FC236}">
                        <a16:creationId xmlns:a16="http://schemas.microsoft.com/office/drawing/2014/main" id="{344AC2FC-4B90-4090-A41A-7AFE47502A64}"/>
                      </a:ext>
                    </a:extLst>
                  </p:cNvPr>
                  <p:cNvSpPr/>
                  <p:nvPr/>
                </p:nvSpPr>
                <p:spPr>
                  <a:xfrm>
                    <a:off x="3792087" y="1672772"/>
                    <a:ext cx="51493" cy="31273"/>
                  </a:xfrm>
                  <a:custGeom>
                    <a:avLst/>
                    <a:gdLst>
                      <a:gd name="connsiteX0" fmla="*/ 51494 w 51493"/>
                      <a:gd name="connsiteY0" fmla="*/ 15825 h 31273"/>
                      <a:gd name="connsiteX1" fmla="*/ 47349 w 51493"/>
                      <a:gd name="connsiteY1" fmla="*/ 18086 h 31273"/>
                      <a:gd name="connsiteX2" fmla="*/ 24616 w 51493"/>
                      <a:gd name="connsiteY2" fmla="*/ 31273 h 31273"/>
                      <a:gd name="connsiteX3" fmla="*/ 0 w 51493"/>
                      <a:gd name="connsiteY3" fmla="*/ 16955 h 31273"/>
                      <a:gd name="connsiteX4" fmla="*/ 8540 w 51493"/>
                      <a:gd name="connsiteY4" fmla="*/ 12057 h 31273"/>
                      <a:gd name="connsiteX5" fmla="*/ 8540 w 51493"/>
                      <a:gd name="connsiteY5" fmla="*/ 9168 h 31273"/>
                      <a:gd name="connsiteX6" fmla="*/ 17457 w 51493"/>
                      <a:gd name="connsiteY6" fmla="*/ 4019 h 31273"/>
                      <a:gd name="connsiteX7" fmla="*/ 20472 w 51493"/>
                      <a:gd name="connsiteY7" fmla="*/ 2386 h 31273"/>
                      <a:gd name="connsiteX8" fmla="*/ 24365 w 51493"/>
                      <a:gd name="connsiteY8" fmla="*/ 0 h 31273"/>
                      <a:gd name="connsiteX9" fmla="*/ 26752 w 51493"/>
                      <a:gd name="connsiteY9" fmla="*/ 1507 h 31273"/>
                      <a:gd name="connsiteX10" fmla="*/ 30394 w 51493"/>
                      <a:gd name="connsiteY10" fmla="*/ 3517 h 31273"/>
                      <a:gd name="connsiteX11" fmla="*/ 30394 w 51493"/>
                      <a:gd name="connsiteY11" fmla="*/ 351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93" h="31273">
                        <a:moveTo>
                          <a:pt x="51494" y="15825"/>
                        </a:moveTo>
                        <a:lnTo>
                          <a:pt x="47349" y="18086"/>
                        </a:lnTo>
                        <a:lnTo>
                          <a:pt x="24616" y="31273"/>
                        </a:lnTo>
                        <a:lnTo>
                          <a:pt x="0" y="16955"/>
                        </a:lnTo>
                        <a:lnTo>
                          <a:pt x="8540" y="12057"/>
                        </a:lnTo>
                        <a:lnTo>
                          <a:pt x="8540" y="9168"/>
                        </a:lnTo>
                        <a:lnTo>
                          <a:pt x="17457" y="4019"/>
                        </a:lnTo>
                        <a:lnTo>
                          <a:pt x="20472" y="2386"/>
                        </a:lnTo>
                        <a:lnTo>
                          <a:pt x="24365" y="0"/>
                        </a:lnTo>
                        <a:lnTo>
                          <a:pt x="26752" y="1507"/>
                        </a:lnTo>
                        <a:lnTo>
                          <a:pt x="30394" y="3517"/>
                        </a:lnTo>
                        <a:lnTo>
                          <a:pt x="30394" y="3517"/>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18" name="Graphic 4">
                    <a:extLst>
                      <a:ext uri="{FF2B5EF4-FFF2-40B4-BE49-F238E27FC236}">
                        <a16:creationId xmlns:a16="http://schemas.microsoft.com/office/drawing/2014/main" id="{84FB7ED1-A2DF-40A1-A747-5F7CF3F14040}"/>
                      </a:ext>
                    </a:extLst>
                  </p:cNvPr>
                  <p:cNvGrpSpPr/>
                  <p:nvPr/>
                </p:nvGrpSpPr>
                <p:grpSpPr>
                  <a:xfrm>
                    <a:off x="3800627" y="1644639"/>
                    <a:ext cx="45088" cy="56015"/>
                    <a:chOff x="3800627" y="1644639"/>
                    <a:chExt cx="45088" cy="56015"/>
                  </a:xfrm>
                  <a:solidFill>
                    <a:schemeClr val="accent1"/>
                  </a:solidFill>
                </p:grpSpPr>
                <p:sp>
                  <p:nvSpPr>
                    <p:cNvPr id="2019" name="Freeform: Shape 2018">
                      <a:extLst>
                        <a:ext uri="{FF2B5EF4-FFF2-40B4-BE49-F238E27FC236}">
                          <a16:creationId xmlns:a16="http://schemas.microsoft.com/office/drawing/2014/main" id="{852CB700-50EE-4477-B6C1-6E50C29D898A}"/>
                        </a:ext>
                      </a:extLst>
                    </p:cNvPr>
                    <p:cNvSpPr/>
                    <p:nvPr/>
                  </p:nvSpPr>
                  <p:spPr>
                    <a:xfrm>
                      <a:off x="3800627" y="1644639"/>
                      <a:ext cx="45088" cy="25998"/>
                    </a:xfrm>
                    <a:custGeom>
                      <a:avLst/>
                      <a:gdLst>
                        <a:gd name="connsiteX0" fmla="*/ 35166 w 45088"/>
                        <a:gd name="connsiteY0" fmla="*/ 6908 h 25998"/>
                        <a:gd name="connsiteX1" fmla="*/ 32278 w 45088"/>
                        <a:gd name="connsiteY1" fmla="*/ 5275 h 25998"/>
                        <a:gd name="connsiteX2" fmla="*/ 23235 w 45088"/>
                        <a:gd name="connsiteY2" fmla="*/ 0 h 25998"/>
                        <a:gd name="connsiteX3" fmla="*/ 23235 w 45088"/>
                        <a:gd name="connsiteY3" fmla="*/ 0 h 25998"/>
                        <a:gd name="connsiteX4" fmla="*/ 0 w 45088"/>
                        <a:gd name="connsiteY4" fmla="*/ 13439 h 25998"/>
                        <a:gd name="connsiteX5" fmla="*/ 9043 w 45088"/>
                        <a:gd name="connsiteY5" fmla="*/ 18588 h 25998"/>
                        <a:gd name="connsiteX6" fmla="*/ 11932 w 45088"/>
                        <a:gd name="connsiteY6" fmla="*/ 20221 h 25998"/>
                        <a:gd name="connsiteX7" fmla="*/ 11932 w 45088"/>
                        <a:gd name="connsiteY7" fmla="*/ 20221 h 25998"/>
                        <a:gd name="connsiteX8" fmla="*/ 19593 w 45088"/>
                        <a:gd name="connsiteY8" fmla="*/ 24617 h 25998"/>
                        <a:gd name="connsiteX9" fmla="*/ 21853 w 45088"/>
                        <a:gd name="connsiteY9" fmla="*/ 25998 h 25998"/>
                        <a:gd name="connsiteX10" fmla="*/ 21853 w 45088"/>
                        <a:gd name="connsiteY10" fmla="*/ 25998 h 25998"/>
                        <a:gd name="connsiteX11" fmla="*/ 27756 w 45088"/>
                        <a:gd name="connsiteY11" fmla="*/ 22607 h 25998"/>
                        <a:gd name="connsiteX12" fmla="*/ 45088 w 45088"/>
                        <a:gd name="connsiteY12" fmla="*/ 12559 h 25998"/>
                        <a:gd name="connsiteX13" fmla="*/ 45088 w 45088"/>
                        <a:gd name="connsiteY13" fmla="*/ 12559 h 25998"/>
                        <a:gd name="connsiteX14" fmla="*/ 35166 w 45088"/>
                        <a:gd name="connsiteY14" fmla="*/ 6908 h 2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088" h="25998">
                          <a:moveTo>
                            <a:pt x="35166" y="6908"/>
                          </a:moveTo>
                          <a:lnTo>
                            <a:pt x="32278" y="5275"/>
                          </a:lnTo>
                          <a:lnTo>
                            <a:pt x="23235" y="0"/>
                          </a:lnTo>
                          <a:lnTo>
                            <a:pt x="23235" y="0"/>
                          </a:lnTo>
                          <a:lnTo>
                            <a:pt x="0" y="13439"/>
                          </a:lnTo>
                          <a:lnTo>
                            <a:pt x="9043" y="18588"/>
                          </a:lnTo>
                          <a:lnTo>
                            <a:pt x="11932" y="20221"/>
                          </a:lnTo>
                          <a:lnTo>
                            <a:pt x="11932" y="20221"/>
                          </a:lnTo>
                          <a:lnTo>
                            <a:pt x="19593" y="24617"/>
                          </a:lnTo>
                          <a:lnTo>
                            <a:pt x="21853" y="25998"/>
                          </a:lnTo>
                          <a:lnTo>
                            <a:pt x="21853" y="25998"/>
                          </a:lnTo>
                          <a:lnTo>
                            <a:pt x="27756" y="22607"/>
                          </a:lnTo>
                          <a:lnTo>
                            <a:pt x="45088" y="12559"/>
                          </a:lnTo>
                          <a:lnTo>
                            <a:pt x="45088" y="12559"/>
                          </a:lnTo>
                          <a:lnTo>
                            <a:pt x="35166" y="6908"/>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0" name="Freeform: Shape 2019">
                      <a:extLst>
                        <a:ext uri="{FF2B5EF4-FFF2-40B4-BE49-F238E27FC236}">
                          <a16:creationId xmlns:a16="http://schemas.microsoft.com/office/drawing/2014/main" id="{97563035-4099-4573-AF3F-8CBE561FD7F0}"/>
                        </a:ext>
                      </a:extLst>
                    </p:cNvPr>
                    <p:cNvSpPr/>
                    <p:nvPr/>
                  </p:nvSpPr>
                  <p:spPr>
                    <a:xfrm>
                      <a:off x="3801381" y="1645141"/>
                      <a:ext cx="43455" cy="24867"/>
                    </a:xfrm>
                    <a:custGeom>
                      <a:avLst/>
                      <a:gdLst>
                        <a:gd name="connsiteX0" fmla="*/ 34036 w 43455"/>
                        <a:gd name="connsiteY0" fmla="*/ 6657 h 24867"/>
                        <a:gd name="connsiteX1" fmla="*/ 31148 w 43455"/>
                        <a:gd name="connsiteY1" fmla="*/ 5024 h 24867"/>
                        <a:gd name="connsiteX2" fmla="*/ 22482 w 43455"/>
                        <a:gd name="connsiteY2" fmla="*/ 0 h 24867"/>
                        <a:gd name="connsiteX3" fmla="*/ 0 w 43455"/>
                        <a:gd name="connsiteY3" fmla="*/ 12936 h 24867"/>
                        <a:gd name="connsiteX4" fmla="*/ 8666 w 43455"/>
                        <a:gd name="connsiteY4" fmla="*/ 17834 h 24867"/>
                        <a:gd name="connsiteX5" fmla="*/ 11555 w 43455"/>
                        <a:gd name="connsiteY5" fmla="*/ 19467 h 24867"/>
                        <a:gd name="connsiteX6" fmla="*/ 21100 w 43455"/>
                        <a:gd name="connsiteY6" fmla="*/ 24868 h 24867"/>
                        <a:gd name="connsiteX7" fmla="*/ 43456 w 43455"/>
                        <a:gd name="connsiteY7" fmla="*/ 12057 h 24867"/>
                        <a:gd name="connsiteX8" fmla="*/ 34036 w 43455"/>
                        <a:gd name="connsiteY8" fmla="*/ 6657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55" h="24867">
                          <a:moveTo>
                            <a:pt x="34036" y="6657"/>
                          </a:moveTo>
                          <a:lnTo>
                            <a:pt x="31148" y="5024"/>
                          </a:lnTo>
                          <a:lnTo>
                            <a:pt x="22482" y="0"/>
                          </a:lnTo>
                          <a:lnTo>
                            <a:pt x="0" y="12936"/>
                          </a:lnTo>
                          <a:lnTo>
                            <a:pt x="8666" y="17834"/>
                          </a:lnTo>
                          <a:lnTo>
                            <a:pt x="11555" y="19467"/>
                          </a:lnTo>
                          <a:lnTo>
                            <a:pt x="21100" y="24868"/>
                          </a:lnTo>
                          <a:lnTo>
                            <a:pt x="43456" y="12057"/>
                          </a:lnTo>
                          <a:lnTo>
                            <a:pt x="34036" y="6657"/>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1" name="Freeform: Shape 2020">
                      <a:extLst>
                        <a:ext uri="{FF2B5EF4-FFF2-40B4-BE49-F238E27FC236}">
                          <a16:creationId xmlns:a16="http://schemas.microsoft.com/office/drawing/2014/main" id="{272E22BF-5719-4E48-8060-FA1877EF79BB}"/>
                        </a:ext>
                      </a:extLst>
                    </p:cNvPr>
                    <p:cNvSpPr/>
                    <p:nvPr/>
                  </p:nvSpPr>
                  <p:spPr>
                    <a:xfrm>
                      <a:off x="3800627" y="1658078"/>
                      <a:ext cx="21853" cy="42576"/>
                    </a:xfrm>
                    <a:custGeom>
                      <a:avLst/>
                      <a:gdLst>
                        <a:gd name="connsiteX0" fmla="*/ 21853 w 21853"/>
                        <a:gd name="connsiteY0" fmla="*/ 12685 h 42576"/>
                        <a:gd name="connsiteX1" fmla="*/ 21853 w 21853"/>
                        <a:gd name="connsiteY1" fmla="*/ 14067 h 42576"/>
                        <a:gd name="connsiteX2" fmla="*/ 21853 w 21853"/>
                        <a:gd name="connsiteY2" fmla="*/ 18211 h 42576"/>
                        <a:gd name="connsiteX3" fmla="*/ 21853 w 21853"/>
                        <a:gd name="connsiteY3" fmla="*/ 42577 h 42576"/>
                        <a:gd name="connsiteX4" fmla="*/ 21853 w 21853"/>
                        <a:gd name="connsiteY4" fmla="*/ 42577 h 42576"/>
                        <a:gd name="connsiteX5" fmla="*/ 21853 w 21853"/>
                        <a:gd name="connsiteY5" fmla="*/ 42577 h 42576"/>
                        <a:gd name="connsiteX6" fmla="*/ 11932 w 21853"/>
                        <a:gd name="connsiteY6" fmla="*/ 36799 h 42576"/>
                        <a:gd name="connsiteX7" fmla="*/ 8917 w 21853"/>
                        <a:gd name="connsiteY7" fmla="*/ 35167 h 42576"/>
                        <a:gd name="connsiteX8" fmla="*/ 0 w 21853"/>
                        <a:gd name="connsiteY8" fmla="*/ 30017 h 42576"/>
                        <a:gd name="connsiteX9" fmla="*/ 0 w 21853"/>
                        <a:gd name="connsiteY9" fmla="*/ 0 h 42576"/>
                        <a:gd name="connsiteX10" fmla="*/ 9043 w 21853"/>
                        <a:gd name="connsiteY10" fmla="*/ 5275 h 42576"/>
                        <a:gd name="connsiteX11" fmla="*/ 11932 w 21853"/>
                        <a:gd name="connsiteY11" fmla="*/ 6908 h 42576"/>
                        <a:gd name="connsiteX12" fmla="*/ 21853 w 21853"/>
                        <a:gd name="connsiteY12" fmla="*/ 12685 h 4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853" h="42576">
                          <a:moveTo>
                            <a:pt x="21853" y="12685"/>
                          </a:moveTo>
                          <a:lnTo>
                            <a:pt x="21853" y="14067"/>
                          </a:lnTo>
                          <a:lnTo>
                            <a:pt x="21853" y="18211"/>
                          </a:lnTo>
                          <a:lnTo>
                            <a:pt x="21853" y="42577"/>
                          </a:lnTo>
                          <a:lnTo>
                            <a:pt x="21853" y="42577"/>
                          </a:lnTo>
                          <a:lnTo>
                            <a:pt x="21853" y="42577"/>
                          </a:lnTo>
                          <a:lnTo>
                            <a:pt x="11932" y="36799"/>
                          </a:lnTo>
                          <a:lnTo>
                            <a:pt x="8917" y="35167"/>
                          </a:lnTo>
                          <a:lnTo>
                            <a:pt x="0" y="30017"/>
                          </a:lnTo>
                          <a:lnTo>
                            <a:pt x="0" y="0"/>
                          </a:lnTo>
                          <a:lnTo>
                            <a:pt x="9043" y="5275"/>
                          </a:lnTo>
                          <a:lnTo>
                            <a:pt x="11932" y="6908"/>
                          </a:lnTo>
                          <a:lnTo>
                            <a:pt x="21853" y="12685"/>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2" name="Freeform: Shape 2021">
                      <a:extLst>
                        <a:ext uri="{FF2B5EF4-FFF2-40B4-BE49-F238E27FC236}">
                          <a16:creationId xmlns:a16="http://schemas.microsoft.com/office/drawing/2014/main" id="{E6910A65-A882-49D5-891A-5CA9FCFBCF8C}"/>
                        </a:ext>
                      </a:extLst>
                    </p:cNvPr>
                    <p:cNvSpPr/>
                    <p:nvPr/>
                  </p:nvSpPr>
                  <p:spPr>
                    <a:xfrm>
                      <a:off x="3822481" y="1657450"/>
                      <a:ext cx="23235" cy="43204"/>
                    </a:xfrm>
                    <a:custGeom>
                      <a:avLst/>
                      <a:gdLst>
                        <a:gd name="connsiteX0" fmla="*/ 5903 w 23235"/>
                        <a:gd name="connsiteY0" fmla="*/ 9922 h 43204"/>
                        <a:gd name="connsiteX1" fmla="*/ 0 w 23235"/>
                        <a:gd name="connsiteY1" fmla="*/ 13313 h 43204"/>
                        <a:gd name="connsiteX2" fmla="*/ 0 w 23235"/>
                        <a:gd name="connsiteY2" fmla="*/ 14695 h 43204"/>
                        <a:gd name="connsiteX3" fmla="*/ 0 w 23235"/>
                        <a:gd name="connsiteY3" fmla="*/ 18965 h 43204"/>
                        <a:gd name="connsiteX4" fmla="*/ 0 w 23235"/>
                        <a:gd name="connsiteY4" fmla="*/ 43205 h 43204"/>
                        <a:gd name="connsiteX5" fmla="*/ 0 w 23235"/>
                        <a:gd name="connsiteY5" fmla="*/ 43205 h 43204"/>
                        <a:gd name="connsiteX6" fmla="*/ 0 w 23235"/>
                        <a:gd name="connsiteY6" fmla="*/ 43205 h 43204"/>
                        <a:gd name="connsiteX7" fmla="*/ 16955 w 23235"/>
                        <a:gd name="connsiteY7" fmla="*/ 33534 h 43204"/>
                        <a:gd name="connsiteX8" fmla="*/ 23235 w 23235"/>
                        <a:gd name="connsiteY8" fmla="*/ 29892 h 43204"/>
                        <a:gd name="connsiteX9" fmla="*/ 23235 w 23235"/>
                        <a:gd name="connsiteY9" fmla="*/ 0 h 43204"/>
                        <a:gd name="connsiteX10" fmla="*/ 5903 w 23235"/>
                        <a:gd name="connsiteY10" fmla="*/ 9922 h 43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235" h="43204">
                          <a:moveTo>
                            <a:pt x="5903" y="9922"/>
                          </a:moveTo>
                          <a:lnTo>
                            <a:pt x="0" y="13313"/>
                          </a:lnTo>
                          <a:lnTo>
                            <a:pt x="0" y="14695"/>
                          </a:lnTo>
                          <a:lnTo>
                            <a:pt x="0" y="18965"/>
                          </a:lnTo>
                          <a:lnTo>
                            <a:pt x="0" y="43205"/>
                          </a:lnTo>
                          <a:lnTo>
                            <a:pt x="0" y="43205"/>
                          </a:lnTo>
                          <a:lnTo>
                            <a:pt x="0" y="43205"/>
                          </a:lnTo>
                          <a:lnTo>
                            <a:pt x="16955" y="33534"/>
                          </a:lnTo>
                          <a:lnTo>
                            <a:pt x="23235" y="29892"/>
                          </a:lnTo>
                          <a:lnTo>
                            <a:pt x="23235" y="0"/>
                          </a:lnTo>
                          <a:lnTo>
                            <a:pt x="5903" y="9922"/>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23" name="Freeform: Shape 2022">
                    <a:extLst>
                      <a:ext uri="{FF2B5EF4-FFF2-40B4-BE49-F238E27FC236}">
                        <a16:creationId xmlns:a16="http://schemas.microsoft.com/office/drawing/2014/main" id="{F8DE3B0B-7CCB-4E92-A45E-71806E03AF69}"/>
                      </a:ext>
                    </a:extLst>
                  </p:cNvPr>
                  <p:cNvSpPr/>
                  <p:nvPr/>
                </p:nvSpPr>
                <p:spPr>
                  <a:xfrm>
                    <a:off x="3809545" y="1663353"/>
                    <a:ext cx="3014" cy="31524"/>
                  </a:xfrm>
                  <a:custGeom>
                    <a:avLst/>
                    <a:gdLst>
                      <a:gd name="connsiteX0" fmla="*/ 3015 w 3014"/>
                      <a:gd name="connsiteY0" fmla="*/ 1633 h 31524"/>
                      <a:gd name="connsiteX1" fmla="*/ 3015 w 3014"/>
                      <a:gd name="connsiteY1" fmla="*/ 31524 h 31524"/>
                      <a:gd name="connsiteX2" fmla="*/ 0 w 3014"/>
                      <a:gd name="connsiteY2" fmla="*/ 29892 h 31524"/>
                      <a:gd name="connsiteX3" fmla="*/ 0 w 3014"/>
                      <a:gd name="connsiteY3" fmla="*/ 0 h 31524"/>
                    </a:gdLst>
                    <a:ahLst/>
                    <a:cxnLst>
                      <a:cxn ang="0">
                        <a:pos x="connsiteX0" y="connsiteY0"/>
                      </a:cxn>
                      <a:cxn ang="0">
                        <a:pos x="connsiteX1" y="connsiteY1"/>
                      </a:cxn>
                      <a:cxn ang="0">
                        <a:pos x="connsiteX2" y="connsiteY2"/>
                      </a:cxn>
                      <a:cxn ang="0">
                        <a:pos x="connsiteX3" y="connsiteY3"/>
                      </a:cxn>
                    </a:cxnLst>
                    <a:rect l="l" t="t" r="r" b="b"/>
                    <a:pathLst>
                      <a:path w="3014" h="31524">
                        <a:moveTo>
                          <a:pt x="3015" y="1633"/>
                        </a:moveTo>
                        <a:lnTo>
                          <a:pt x="3015" y="31524"/>
                        </a:lnTo>
                        <a:lnTo>
                          <a:pt x="0" y="2989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4" name="Freeform: Shape 2023">
                    <a:extLst>
                      <a:ext uri="{FF2B5EF4-FFF2-40B4-BE49-F238E27FC236}">
                        <a16:creationId xmlns:a16="http://schemas.microsoft.com/office/drawing/2014/main" id="{21FFE520-0543-4729-A99A-8A17B0E1B288}"/>
                      </a:ext>
                    </a:extLst>
                  </p:cNvPr>
                  <p:cNvSpPr/>
                  <p:nvPr/>
                </p:nvSpPr>
                <p:spPr>
                  <a:xfrm>
                    <a:off x="3809545" y="1649914"/>
                    <a:ext cx="26249" cy="15197"/>
                  </a:xfrm>
                  <a:custGeom>
                    <a:avLst/>
                    <a:gdLst>
                      <a:gd name="connsiteX0" fmla="*/ 26249 w 26249"/>
                      <a:gd name="connsiteY0" fmla="*/ 1633 h 15197"/>
                      <a:gd name="connsiteX1" fmla="*/ 18086 w 26249"/>
                      <a:gd name="connsiteY1" fmla="*/ 6405 h 15197"/>
                      <a:gd name="connsiteX2" fmla="*/ 15197 w 26249"/>
                      <a:gd name="connsiteY2" fmla="*/ 8038 h 15197"/>
                      <a:gd name="connsiteX3" fmla="*/ 3015 w 26249"/>
                      <a:gd name="connsiteY3" fmla="*/ 15071 h 15197"/>
                      <a:gd name="connsiteX4" fmla="*/ 2889 w 26249"/>
                      <a:gd name="connsiteY4" fmla="*/ 15197 h 15197"/>
                      <a:gd name="connsiteX5" fmla="*/ 0 w 26249"/>
                      <a:gd name="connsiteY5" fmla="*/ 13439 h 15197"/>
                      <a:gd name="connsiteX6" fmla="*/ 126 w 26249"/>
                      <a:gd name="connsiteY6" fmla="*/ 13439 h 15197"/>
                      <a:gd name="connsiteX7" fmla="*/ 12308 w 26249"/>
                      <a:gd name="connsiteY7" fmla="*/ 6405 h 15197"/>
                      <a:gd name="connsiteX8" fmla="*/ 15197 w 26249"/>
                      <a:gd name="connsiteY8" fmla="*/ 4647 h 15197"/>
                      <a:gd name="connsiteX9" fmla="*/ 23361 w 26249"/>
                      <a:gd name="connsiteY9" fmla="*/ 0 h 1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249" h="15197">
                        <a:moveTo>
                          <a:pt x="26249" y="1633"/>
                        </a:moveTo>
                        <a:lnTo>
                          <a:pt x="18086" y="6405"/>
                        </a:lnTo>
                        <a:lnTo>
                          <a:pt x="15197" y="8038"/>
                        </a:lnTo>
                        <a:lnTo>
                          <a:pt x="3015" y="15071"/>
                        </a:lnTo>
                        <a:lnTo>
                          <a:pt x="2889" y="15197"/>
                        </a:lnTo>
                        <a:lnTo>
                          <a:pt x="0" y="13439"/>
                        </a:lnTo>
                        <a:lnTo>
                          <a:pt x="126" y="13439"/>
                        </a:lnTo>
                        <a:lnTo>
                          <a:pt x="12308" y="6405"/>
                        </a:lnTo>
                        <a:lnTo>
                          <a:pt x="15197" y="4647"/>
                        </a:lnTo>
                        <a:lnTo>
                          <a:pt x="23361"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025" name="Graphic 4">
                  <a:extLst>
                    <a:ext uri="{FF2B5EF4-FFF2-40B4-BE49-F238E27FC236}">
                      <a16:creationId xmlns:a16="http://schemas.microsoft.com/office/drawing/2014/main" id="{84FB7ED1-A2DF-40A1-A747-5F7CF3F14040}"/>
                    </a:ext>
                  </a:extLst>
                </p:cNvPr>
                <p:cNvGrpSpPr/>
                <p:nvPr/>
              </p:nvGrpSpPr>
              <p:grpSpPr>
                <a:xfrm>
                  <a:off x="3832780" y="1661092"/>
                  <a:ext cx="10675" cy="15196"/>
                  <a:chOff x="3832780" y="1661092"/>
                  <a:chExt cx="10675" cy="15196"/>
                </a:xfrm>
                <a:solidFill>
                  <a:schemeClr val="accent1"/>
                </a:solidFill>
              </p:grpSpPr>
              <p:sp>
                <p:nvSpPr>
                  <p:cNvPr id="2026" name="Freeform: Shape 2025">
                    <a:extLst>
                      <a:ext uri="{FF2B5EF4-FFF2-40B4-BE49-F238E27FC236}">
                        <a16:creationId xmlns:a16="http://schemas.microsoft.com/office/drawing/2014/main" id="{984C7476-B5A7-458E-A7CE-C89E6E28978F}"/>
                      </a:ext>
                    </a:extLst>
                  </p:cNvPr>
                  <p:cNvSpPr/>
                  <p:nvPr/>
                </p:nvSpPr>
                <p:spPr>
                  <a:xfrm>
                    <a:off x="3832780" y="1661092"/>
                    <a:ext cx="10675" cy="15196"/>
                  </a:xfrm>
                  <a:custGeom>
                    <a:avLst/>
                    <a:gdLst>
                      <a:gd name="connsiteX0" fmla="*/ 10676 w 10675"/>
                      <a:gd name="connsiteY0" fmla="*/ 9168 h 15196"/>
                      <a:gd name="connsiteX1" fmla="*/ 0 w 10675"/>
                      <a:gd name="connsiteY1" fmla="*/ 15197 h 15196"/>
                      <a:gd name="connsiteX2" fmla="*/ 0 w 10675"/>
                      <a:gd name="connsiteY2" fmla="*/ 6154 h 15196"/>
                      <a:gd name="connsiteX3" fmla="*/ 10676 w 10675"/>
                      <a:gd name="connsiteY3" fmla="*/ 0 h 15196"/>
                    </a:gdLst>
                    <a:ahLst/>
                    <a:cxnLst>
                      <a:cxn ang="0">
                        <a:pos x="connsiteX0" y="connsiteY0"/>
                      </a:cxn>
                      <a:cxn ang="0">
                        <a:pos x="connsiteX1" y="connsiteY1"/>
                      </a:cxn>
                      <a:cxn ang="0">
                        <a:pos x="connsiteX2" y="connsiteY2"/>
                      </a:cxn>
                      <a:cxn ang="0">
                        <a:pos x="connsiteX3" y="connsiteY3"/>
                      </a:cxn>
                    </a:cxnLst>
                    <a:rect l="l" t="t" r="r" b="b"/>
                    <a:pathLst>
                      <a:path w="10675" h="15196">
                        <a:moveTo>
                          <a:pt x="10676" y="9168"/>
                        </a:moveTo>
                        <a:lnTo>
                          <a:pt x="0" y="15197"/>
                        </a:lnTo>
                        <a:lnTo>
                          <a:pt x="0" y="6154"/>
                        </a:lnTo>
                        <a:lnTo>
                          <a:pt x="1067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7" name="Freeform: Shape 2026">
                    <a:extLst>
                      <a:ext uri="{FF2B5EF4-FFF2-40B4-BE49-F238E27FC236}">
                        <a16:creationId xmlns:a16="http://schemas.microsoft.com/office/drawing/2014/main" id="{F86A782F-98D2-4343-8C48-1AD30760A1F7}"/>
                      </a:ext>
                    </a:extLst>
                  </p:cNvPr>
                  <p:cNvSpPr/>
                  <p:nvPr/>
                </p:nvSpPr>
                <p:spPr>
                  <a:xfrm>
                    <a:off x="3833785" y="1662725"/>
                    <a:ext cx="8665" cy="6028"/>
                  </a:xfrm>
                  <a:custGeom>
                    <a:avLst/>
                    <a:gdLst>
                      <a:gd name="connsiteX0" fmla="*/ 8666 w 8665"/>
                      <a:gd name="connsiteY0" fmla="*/ 1130 h 6028"/>
                      <a:gd name="connsiteX1" fmla="*/ 0 w 8665"/>
                      <a:gd name="connsiteY1" fmla="*/ 6029 h 6028"/>
                      <a:gd name="connsiteX2" fmla="*/ 0 w 8665"/>
                      <a:gd name="connsiteY2" fmla="*/ 5024 h 6028"/>
                      <a:gd name="connsiteX3" fmla="*/ 8666 w 8665"/>
                      <a:gd name="connsiteY3" fmla="*/ 0 h 6028"/>
                    </a:gdLst>
                    <a:ahLst/>
                    <a:cxnLst>
                      <a:cxn ang="0">
                        <a:pos x="connsiteX0" y="connsiteY0"/>
                      </a:cxn>
                      <a:cxn ang="0">
                        <a:pos x="connsiteX1" y="connsiteY1"/>
                      </a:cxn>
                      <a:cxn ang="0">
                        <a:pos x="connsiteX2" y="connsiteY2"/>
                      </a:cxn>
                      <a:cxn ang="0">
                        <a:pos x="connsiteX3" y="connsiteY3"/>
                      </a:cxn>
                    </a:cxnLst>
                    <a:rect l="l" t="t" r="r" b="b"/>
                    <a:pathLst>
                      <a:path w="8665" h="6028">
                        <a:moveTo>
                          <a:pt x="8666" y="1130"/>
                        </a:moveTo>
                        <a:lnTo>
                          <a:pt x="0" y="6029"/>
                        </a:lnTo>
                        <a:lnTo>
                          <a:pt x="0" y="5024"/>
                        </a:lnTo>
                        <a:lnTo>
                          <a:pt x="8666"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8" name="Freeform: Shape 2027">
                    <a:extLst>
                      <a:ext uri="{FF2B5EF4-FFF2-40B4-BE49-F238E27FC236}">
                        <a16:creationId xmlns:a16="http://schemas.microsoft.com/office/drawing/2014/main" id="{8BC9A6C2-BCC3-4E01-BE9D-00FD60F29BF4}"/>
                      </a:ext>
                    </a:extLst>
                  </p:cNvPr>
                  <p:cNvSpPr/>
                  <p:nvPr/>
                </p:nvSpPr>
                <p:spPr>
                  <a:xfrm>
                    <a:off x="3833785" y="1665237"/>
                    <a:ext cx="8665" cy="5400"/>
                  </a:xfrm>
                  <a:custGeom>
                    <a:avLst/>
                    <a:gdLst>
                      <a:gd name="connsiteX0" fmla="*/ 8666 w 8665"/>
                      <a:gd name="connsiteY0" fmla="*/ 377 h 5400"/>
                      <a:gd name="connsiteX1" fmla="*/ 0 w 8665"/>
                      <a:gd name="connsiteY1" fmla="*/ 5401 h 5400"/>
                      <a:gd name="connsiteX2" fmla="*/ 0 w 8665"/>
                      <a:gd name="connsiteY2" fmla="*/ 4898 h 5400"/>
                      <a:gd name="connsiteX3" fmla="*/ 8666 w 8665"/>
                      <a:gd name="connsiteY3" fmla="*/ 0 h 5400"/>
                    </a:gdLst>
                    <a:ahLst/>
                    <a:cxnLst>
                      <a:cxn ang="0">
                        <a:pos x="connsiteX0" y="connsiteY0"/>
                      </a:cxn>
                      <a:cxn ang="0">
                        <a:pos x="connsiteX1" y="connsiteY1"/>
                      </a:cxn>
                      <a:cxn ang="0">
                        <a:pos x="connsiteX2" y="connsiteY2"/>
                      </a:cxn>
                      <a:cxn ang="0">
                        <a:pos x="connsiteX3" y="connsiteY3"/>
                      </a:cxn>
                    </a:cxnLst>
                    <a:rect l="l" t="t" r="r" b="b"/>
                    <a:pathLst>
                      <a:path w="8665" h="5400">
                        <a:moveTo>
                          <a:pt x="8666" y="377"/>
                        </a:moveTo>
                        <a:lnTo>
                          <a:pt x="0" y="5401"/>
                        </a:lnTo>
                        <a:lnTo>
                          <a:pt x="0" y="4898"/>
                        </a:lnTo>
                        <a:lnTo>
                          <a:pt x="8666"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9" name="Freeform: Shape 2028">
                    <a:extLst>
                      <a:ext uri="{FF2B5EF4-FFF2-40B4-BE49-F238E27FC236}">
                        <a16:creationId xmlns:a16="http://schemas.microsoft.com/office/drawing/2014/main" id="{8A366A96-00C4-4B18-8AF1-BD0AC5282A99}"/>
                      </a:ext>
                    </a:extLst>
                  </p:cNvPr>
                  <p:cNvSpPr/>
                  <p:nvPr/>
                </p:nvSpPr>
                <p:spPr>
                  <a:xfrm>
                    <a:off x="3833785" y="1666367"/>
                    <a:ext cx="8665" cy="5400"/>
                  </a:xfrm>
                  <a:custGeom>
                    <a:avLst/>
                    <a:gdLst>
                      <a:gd name="connsiteX0" fmla="*/ 8666 w 8665"/>
                      <a:gd name="connsiteY0" fmla="*/ 502 h 5400"/>
                      <a:gd name="connsiteX1" fmla="*/ 0 w 8665"/>
                      <a:gd name="connsiteY1" fmla="*/ 5401 h 5400"/>
                      <a:gd name="connsiteX2" fmla="*/ 0 w 8665"/>
                      <a:gd name="connsiteY2" fmla="*/ 5024 h 5400"/>
                      <a:gd name="connsiteX3" fmla="*/ 8666 w 8665"/>
                      <a:gd name="connsiteY3" fmla="*/ 0 h 5400"/>
                    </a:gdLst>
                    <a:ahLst/>
                    <a:cxnLst>
                      <a:cxn ang="0">
                        <a:pos x="connsiteX0" y="connsiteY0"/>
                      </a:cxn>
                      <a:cxn ang="0">
                        <a:pos x="connsiteX1" y="connsiteY1"/>
                      </a:cxn>
                      <a:cxn ang="0">
                        <a:pos x="connsiteX2" y="connsiteY2"/>
                      </a:cxn>
                      <a:cxn ang="0">
                        <a:pos x="connsiteX3" y="connsiteY3"/>
                      </a:cxn>
                    </a:cxnLst>
                    <a:rect l="l" t="t" r="r" b="b"/>
                    <a:pathLst>
                      <a:path w="8665" h="5400">
                        <a:moveTo>
                          <a:pt x="8666" y="502"/>
                        </a:moveTo>
                        <a:lnTo>
                          <a:pt x="0" y="5401"/>
                        </a:lnTo>
                        <a:lnTo>
                          <a:pt x="0" y="5024"/>
                        </a:lnTo>
                        <a:lnTo>
                          <a:pt x="8666"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0" name="Freeform: Shape 2029">
                    <a:extLst>
                      <a:ext uri="{FF2B5EF4-FFF2-40B4-BE49-F238E27FC236}">
                        <a16:creationId xmlns:a16="http://schemas.microsoft.com/office/drawing/2014/main" id="{65B9C667-8CE4-4D37-909B-63851DCD54D2}"/>
                      </a:ext>
                    </a:extLst>
                  </p:cNvPr>
                  <p:cNvSpPr/>
                  <p:nvPr/>
                </p:nvSpPr>
                <p:spPr>
                  <a:xfrm>
                    <a:off x="3833785" y="1667748"/>
                    <a:ext cx="8665" cy="5400"/>
                  </a:xfrm>
                  <a:custGeom>
                    <a:avLst/>
                    <a:gdLst>
                      <a:gd name="connsiteX0" fmla="*/ 8666 w 8665"/>
                      <a:gd name="connsiteY0" fmla="*/ 377 h 5400"/>
                      <a:gd name="connsiteX1" fmla="*/ 0 w 8665"/>
                      <a:gd name="connsiteY1" fmla="*/ 5401 h 5400"/>
                      <a:gd name="connsiteX2" fmla="*/ 0 w 8665"/>
                      <a:gd name="connsiteY2" fmla="*/ 4898 h 5400"/>
                      <a:gd name="connsiteX3" fmla="*/ 8666 w 8665"/>
                      <a:gd name="connsiteY3" fmla="*/ 0 h 5400"/>
                    </a:gdLst>
                    <a:ahLst/>
                    <a:cxnLst>
                      <a:cxn ang="0">
                        <a:pos x="connsiteX0" y="connsiteY0"/>
                      </a:cxn>
                      <a:cxn ang="0">
                        <a:pos x="connsiteX1" y="connsiteY1"/>
                      </a:cxn>
                      <a:cxn ang="0">
                        <a:pos x="connsiteX2" y="connsiteY2"/>
                      </a:cxn>
                      <a:cxn ang="0">
                        <a:pos x="connsiteX3" y="connsiteY3"/>
                      </a:cxn>
                    </a:cxnLst>
                    <a:rect l="l" t="t" r="r" b="b"/>
                    <a:pathLst>
                      <a:path w="8665" h="5400">
                        <a:moveTo>
                          <a:pt x="8666" y="377"/>
                        </a:moveTo>
                        <a:lnTo>
                          <a:pt x="0" y="5401"/>
                        </a:lnTo>
                        <a:lnTo>
                          <a:pt x="0" y="4898"/>
                        </a:lnTo>
                        <a:lnTo>
                          <a:pt x="8666"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1" name="Freeform: Shape 2030">
                    <a:extLst>
                      <a:ext uri="{FF2B5EF4-FFF2-40B4-BE49-F238E27FC236}">
                        <a16:creationId xmlns:a16="http://schemas.microsoft.com/office/drawing/2014/main" id="{D70F4FC1-1AFC-4F54-A077-50235AEE66AF}"/>
                      </a:ext>
                    </a:extLst>
                  </p:cNvPr>
                  <p:cNvSpPr/>
                  <p:nvPr/>
                </p:nvSpPr>
                <p:spPr>
                  <a:xfrm>
                    <a:off x="3833785" y="1668879"/>
                    <a:ext cx="8665" cy="5400"/>
                  </a:xfrm>
                  <a:custGeom>
                    <a:avLst/>
                    <a:gdLst>
                      <a:gd name="connsiteX0" fmla="*/ 8666 w 8665"/>
                      <a:gd name="connsiteY0" fmla="*/ 502 h 5400"/>
                      <a:gd name="connsiteX1" fmla="*/ 0 w 8665"/>
                      <a:gd name="connsiteY1" fmla="*/ 5401 h 5400"/>
                      <a:gd name="connsiteX2" fmla="*/ 0 w 8665"/>
                      <a:gd name="connsiteY2" fmla="*/ 5024 h 5400"/>
                      <a:gd name="connsiteX3" fmla="*/ 8666 w 8665"/>
                      <a:gd name="connsiteY3" fmla="*/ 0 h 5400"/>
                    </a:gdLst>
                    <a:ahLst/>
                    <a:cxnLst>
                      <a:cxn ang="0">
                        <a:pos x="connsiteX0" y="connsiteY0"/>
                      </a:cxn>
                      <a:cxn ang="0">
                        <a:pos x="connsiteX1" y="connsiteY1"/>
                      </a:cxn>
                      <a:cxn ang="0">
                        <a:pos x="connsiteX2" y="connsiteY2"/>
                      </a:cxn>
                      <a:cxn ang="0">
                        <a:pos x="connsiteX3" y="connsiteY3"/>
                      </a:cxn>
                    </a:cxnLst>
                    <a:rect l="l" t="t" r="r" b="b"/>
                    <a:pathLst>
                      <a:path w="8665" h="5400">
                        <a:moveTo>
                          <a:pt x="8666" y="502"/>
                        </a:moveTo>
                        <a:lnTo>
                          <a:pt x="0" y="5401"/>
                        </a:lnTo>
                        <a:lnTo>
                          <a:pt x="0" y="5024"/>
                        </a:lnTo>
                        <a:lnTo>
                          <a:pt x="8666"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2032" name="Graphic 4">
              <a:extLst>
                <a:ext uri="{FF2B5EF4-FFF2-40B4-BE49-F238E27FC236}">
                  <a16:creationId xmlns:a16="http://schemas.microsoft.com/office/drawing/2014/main" id="{84FB7ED1-A2DF-40A1-A747-5F7CF3F14040}"/>
                </a:ext>
              </a:extLst>
            </p:cNvPr>
            <p:cNvGrpSpPr/>
            <p:nvPr/>
          </p:nvGrpSpPr>
          <p:grpSpPr>
            <a:xfrm>
              <a:off x="3312189" y="1715977"/>
              <a:ext cx="255710" cy="257757"/>
              <a:chOff x="3312189" y="1715977"/>
              <a:chExt cx="255710" cy="257757"/>
            </a:xfrm>
            <a:solidFill>
              <a:schemeClr val="accent1"/>
            </a:solidFill>
          </p:grpSpPr>
          <p:sp>
            <p:nvSpPr>
              <p:cNvPr id="2033" name="Freeform: Shape 2032">
                <a:extLst>
                  <a:ext uri="{FF2B5EF4-FFF2-40B4-BE49-F238E27FC236}">
                    <a16:creationId xmlns:a16="http://schemas.microsoft.com/office/drawing/2014/main" id="{CEB9E2A3-8872-44F4-AA8A-04F2462CF3E7}"/>
                  </a:ext>
                </a:extLst>
              </p:cNvPr>
              <p:cNvSpPr/>
              <p:nvPr/>
            </p:nvSpPr>
            <p:spPr>
              <a:xfrm>
                <a:off x="3371219" y="1715977"/>
                <a:ext cx="196681" cy="113035"/>
              </a:xfrm>
              <a:custGeom>
                <a:avLst/>
                <a:gdLst>
                  <a:gd name="connsiteX0" fmla="*/ 196682 w 196681"/>
                  <a:gd name="connsiteY0" fmla="*/ 41070 h 113035"/>
                  <a:gd name="connsiteX1" fmla="*/ 71087 w 196681"/>
                  <a:gd name="connsiteY1" fmla="*/ 113035 h 113035"/>
                  <a:gd name="connsiteX2" fmla="*/ 0 w 196681"/>
                  <a:gd name="connsiteY2" fmla="*/ 71966 h 113035"/>
                  <a:gd name="connsiteX3" fmla="*/ 125595 w 196681"/>
                  <a:gd name="connsiteY3" fmla="*/ 0 h 113035"/>
                  <a:gd name="connsiteX4" fmla="*/ 135517 w 196681"/>
                  <a:gd name="connsiteY4" fmla="*/ 5777 h 113035"/>
                  <a:gd name="connsiteX5" fmla="*/ 139787 w 196681"/>
                  <a:gd name="connsiteY5" fmla="*/ 8289 h 113035"/>
                  <a:gd name="connsiteX6" fmla="*/ 179852 w 196681"/>
                  <a:gd name="connsiteY6" fmla="*/ 31273 h 113035"/>
                  <a:gd name="connsiteX7" fmla="*/ 183996 w 196681"/>
                  <a:gd name="connsiteY7" fmla="*/ 33785 h 113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681" h="113035">
                    <a:moveTo>
                      <a:pt x="196682" y="41070"/>
                    </a:moveTo>
                    <a:lnTo>
                      <a:pt x="71087" y="113035"/>
                    </a:lnTo>
                    <a:lnTo>
                      <a:pt x="0" y="71966"/>
                    </a:lnTo>
                    <a:lnTo>
                      <a:pt x="125595" y="0"/>
                    </a:lnTo>
                    <a:lnTo>
                      <a:pt x="135517" y="5777"/>
                    </a:lnTo>
                    <a:lnTo>
                      <a:pt x="139787" y="8289"/>
                    </a:lnTo>
                    <a:lnTo>
                      <a:pt x="179852" y="31273"/>
                    </a:lnTo>
                    <a:lnTo>
                      <a:pt x="183996" y="33785"/>
                    </a:lnTo>
                    <a:close/>
                  </a:path>
                </a:pathLst>
              </a:custGeom>
              <a:solidFill>
                <a:srgbClr val="F4F4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4" name="Freeform: Shape 2033">
                <a:extLst>
                  <a:ext uri="{FF2B5EF4-FFF2-40B4-BE49-F238E27FC236}">
                    <a16:creationId xmlns:a16="http://schemas.microsoft.com/office/drawing/2014/main" id="{51326B82-159A-4F8C-9FF3-14EB38CAB1DC}"/>
                  </a:ext>
                </a:extLst>
              </p:cNvPr>
              <p:cNvSpPr/>
              <p:nvPr/>
            </p:nvSpPr>
            <p:spPr>
              <a:xfrm>
                <a:off x="3315329" y="1861740"/>
                <a:ext cx="6206" cy="11732"/>
              </a:xfrm>
              <a:custGeom>
                <a:avLst/>
                <a:gdLst>
                  <a:gd name="connsiteX0" fmla="*/ 377 w 6206"/>
                  <a:gd name="connsiteY0" fmla="*/ 11732 h 11732"/>
                  <a:gd name="connsiteX1" fmla="*/ 0 w 6206"/>
                  <a:gd name="connsiteY1" fmla="*/ 11356 h 11732"/>
                  <a:gd name="connsiteX2" fmla="*/ 0 w 6206"/>
                  <a:gd name="connsiteY2" fmla="*/ 3317 h 11732"/>
                  <a:gd name="connsiteX3" fmla="*/ 5652 w 6206"/>
                  <a:gd name="connsiteY3" fmla="*/ 52 h 11732"/>
                  <a:gd name="connsiteX4" fmla="*/ 6154 w 6206"/>
                  <a:gd name="connsiteY4" fmla="*/ 178 h 11732"/>
                  <a:gd name="connsiteX5" fmla="*/ 6028 w 6206"/>
                  <a:gd name="connsiteY5" fmla="*/ 680 h 11732"/>
                  <a:gd name="connsiteX6" fmla="*/ 754 w 6206"/>
                  <a:gd name="connsiteY6" fmla="*/ 3694 h 11732"/>
                  <a:gd name="connsiteX7" fmla="*/ 754 w 6206"/>
                  <a:gd name="connsiteY7" fmla="*/ 11230 h 11732"/>
                  <a:gd name="connsiteX8" fmla="*/ 377 w 6206"/>
                  <a:gd name="connsiteY8" fmla="*/ 11732 h 11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6" h="11732">
                    <a:moveTo>
                      <a:pt x="377" y="11732"/>
                    </a:moveTo>
                    <a:cubicBezTo>
                      <a:pt x="125" y="11732"/>
                      <a:pt x="0" y="11607"/>
                      <a:pt x="0" y="11356"/>
                    </a:cubicBezTo>
                    <a:lnTo>
                      <a:pt x="0" y="3317"/>
                    </a:lnTo>
                    <a:lnTo>
                      <a:pt x="5652" y="52"/>
                    </a:lnTo>
                    <a:cubicBezTo>
                      <a:pt x="5777" y="-74"/>
                      <a:pt x="6028" y="52"/>
                      <a:pt x="6154" y="178"/>
                    </a:cubicBezTo>
                    <a:cubicBezTo>
                      <a:pt x="6280" y="303"/>
                      <a:pt x="6154" y="554"/>
                      <a:pt x="6028" y="680"/>
                    </a:cubicBezTo>
                    <a:lnTo>
                      <a:pt x="754" y="3694"/>
                    </a:lnTo>
                    <a:lnTo>
                      <a:pt x="754" y="11230"/>
                    </a:lnTo>
                    <a:cubicBezTo>
                      <a:pt x="754" y="11607"/>
                      <a:pt x="628" y="11732"/>
                      <a:pt x="377" y="117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5" name="Freeform: Shape 2034">
                <a:extLst>
                  <a:ext uri="{FF2B5EF4-FFF2-40B4-BE49-F238E27FC236}">
                    <a16:creationId xmlns:a16="http://schemas.microsoft.com/office/drawing/2014/main" id="{96B88EE1-F040-4E80-8C57-89F143ABB205}"/>
                  </a:ext>
                </a:extLst>
              </p:cNvPr>
              <p:cNvSpPr/>
              <p:nvPr/>
            </p:nvSpPr>
            <p:spPr>
              <a:xfrm>
                <a:off x="3315455" y="1882390"/>
                <a:ext cx="6206" cy="11680"/>
              </a:xfrm>
              <a:custGeom>
                <a:avLst/>
                <a:gdLst>
                  <a:gd name="connsiteX0" fmla="*/ 5777 w 6206"/>
                  <a:gd name="connsiteY0" fmla="*/ 11680 h 11680"/>
                  <a:gd name="connsiteX1" fmla="*/ 5652 w 6206"/>
                  <a:gd name="connsiteY1" fmla="*/ 11680 h 11680"/>
                  <a:gd name="connsiteX2" fmla="*/ 0 w 6206"/>
                  <a:gd name="connsiteY2" fmla="*/ 8415 h 11680"/>
                  <a:gd name="connsiteX3" fmla="*/ 0 w 6206"/>
                  <a:gd name="connsiteY3" fmla="*/ 377 h 11680"/>
                  <a:gd name="connsiteX4" fmla="*/ 377 w 6206"/>
                  <a:gd name="connsiteY4" fmla="*/ 0 h 11680"/>
                  <a:gd name="connsiteX5" fmla="*/ 377 w 6206"/>
                  <a:gd name="connsiteY5" fmla="*/ 0 h 11680"/>
                  <a:gd name="connsiteX6" fmla="*/ 754 w 6206"/>
                  <a:gd name="connsiteY6" fmla="*/ 377 h 11680"/>
                  <a:gd name="connsiteX7" fmla="*/ 754 w 6206"/>
                  <a:gd name="connsiteY7" fmla="*/ 7912 h 11680"/>
                  <a:gd name="connsiteX8" fmla="*/ 6029 w 6206"/>
                  <a:gd name="connsiteY8" fmla="*/ 10927 h 11680"/>
                  <a:gd name="connsiteX9" fmla="*/ 6154 w 6206"/>
                  <a:gd name="connsiteY9" fmla="*/ 11429 h 11680"/>
                  <a:gd name="connsiteX10" fmla="*/ 5777 w 6206"/>
                  <a:gd name="connsiteY10" fmla="*/ 11680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06" h="11680">
                    <a:moveTo>
                      <a:pt x="5777" y="11680"/>
                    </a:moveTo>
                    <a:cubicBezTo>
                      <a:pt x="5777" y="11680"/>
                      <a:pt x="5652" y="11680"/>
                      <a:pt x="5652" y="11680"/>
                    </a:cubicBezTo>
                    <a:lnTo>
                      <a:pt x="0" y="8415"/>
                    </a:lnTo>
                    <a:lnTo>
                      <a:pt x="0" y="377"/>
                    </a:lnTo>
                    <a:cubicBezTo>
                      <a:pt x="0" y="126"/>
                      <a:pt x="126" y="0"/>
                      <a:pt x="377" y="0"/>
                    </a:cubicBezTo>
                    <a:lnTo>
                      <a:pt x="377" y="0"/>
                    </a:lnTo>
                    <a:cubicBezTo>
                      <a:pt x="628" y="0"/>
                      <a:pt x="754" y="126"/>
                      <a:pt x="754" y="377"/>
                    </a:cubicBezTo>
                    <a:lnTo>
                      <a:pt x="754" y="7912"/>
                    </a:lnTo>
                    <a:lnTo>
                      <a:pt x="6029" y="10927"/>
                    </a:lnTo>
                    <a:cubicBezTo>
                      <a:pt x="6154" y="11052"/>
                      <a:pt x="6280" y="11304"/>
                      <a:pt x="6154" y="11429"/>
                    </a:cubicBezTo>
                    <a:cubicBezTo>
                      <a:pt x="6029" y="11680"/>
                      <a:pt x="5903" y="11680"/>
                      <a:pt x="5777" y="1168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36" name="Graphic 4">
                <a:extLst>
                  <a:ext uri="{FF2B5EF4-FFF2-40B4-BE49-F238E27FC236}">
                    <a16:creationId xmlns:a16="http://schemas.microsoft.com/office/drawing/2014/main" id="{84FB7ED1-A2DF-40A1-A747-5F7CF3F14040}"/>
                  </a:ext>
                </a:extLst>
              </p:cNvPr>
              <p:cNvGrpSpPr/>
              <p:nvPr/>
            </p:nvGrpSpPr>
            <p:grpSpPr>
              <a:xfrm>
                <a:off x="3312189" y="1870125"/>
                <a:ext cx="7158" cy="16128"/>
                <a:chOff x="3312189" y="1870125"/>
                <a:chExt cx="7158" cy="16128"/>
              </a:xfrm>
              <a:solidFill>
                <a:schemeClr val="accent1"/>
              </a:solidFill>
            </p:grpSpPr>
            <p:sp>
              <p:nvSpPr>
                <p:cNvPr id="2037" name="Freeform: Shape 2036">
                  <a:extLst>
                    <a:ext uri="{FF2B5EF4-FFF2-40B4-BE49-F238E27FC236}">
                      <a16:creationId xmlns:a16="http://schemas.microsoft.com/office/drawing/2014/main" id="{EAAD7FB1-3CE0-49BC-AC40-1638571066D6}"/>
                    </a:ext>
                  </a:extLst>
                </p:cNvPr>
                <p:cNvSpPr/>
                <p:nvPr/>
              </p:nvSpPr>
              <p:spPr>
                <a:xfrm>
                  <a:off x="3312566" y="1870125"/>
                  <a:ext cx="6781" cy="16033"/>
                </a:xfrm>
                <a:custGeom>
                  <a:avLst/>
                  <a:gdLst>
                    <a:gd name="connsiteX0" fmla="*/ 5275 w 6781"/>
                    <a:gd name="connsiteY0" fmla="*/ 2092 h 16033"/>
                    <a:gd name="connsiteX1" fmla="*/ 1884 w 6781"/>
                    <a:gd name="connsiteY1" fmla="*/ 208 h 16033"/>
                    <a:gd name="connsiteX2" fmla="*/ 754 w 6781"/>
                    <a:gd name="connsiteY2" fmla="*/ 82 h 16033"/>
                    <a:gd name="connsiteX3" fmla="*/ 754 w 6781"/>
                    <a:gd name="connsiteY3" fmla="*/ 82 h 16033"/>
                    <a:gd name="connsiteX4" fmla="*/ 754 w 6781"/>
                    <a:gd name="connsiteY4" fmla="*/ 82 h 16033"/>
                    <a:gd name="connsiteX5" fmla="*/ 754 w 6781"/>
                    <a:gd name="connsiteY5" fmla="*/ 82 h 16033"/>
                    <a:gd name="connsiteX6" fmla="*/ 0 w 6781"/>
                    <a:gd name="connsiteY6" fmla="*/ 585 h 16033"/>
                    <a:gd name="connsiteX7" fmla="*/ 251 w 6781"/>
                    <a:gd name="connsiteY7" fmla="*/ 710 h 16033"/>
                    <a:gd name="connsiteX8" fmla="*/ 251 w 6781"/>
                    <a:gd name="connsiteY8" fmla="*/ 1087 h 16033"/>
                    <a:gd name="connsiteX9" fmla="*/ 251 w 6781"/>
                    <a:gd name="connsiteY9" fmla="*/ 11009 h 16033"/>
                    <a:gd name="connsiteX10" fmla="*/ 1758 w 6781"/>
                    <a:gd name="connsiteY10" fmla="*/ 13647 h 16033"/>
                    <a:gd name="connsiteX11" fmla="*/ 5149 w 6781"/>
                    <a:gd name="connsiteY11" fmla="*/ 15531 h 16033"/>
                    <a:gd name="connsiteX12" fmla="*/ 5526 w 6781"/>
                    <a:gd name="connsiteY12" fmla="*/ 15656 h 16033"/>
                    <a:gd name="connsiteX13" fmla="*/ 5652 w 6781"/>
                    <a:gd name="connsiteY13" fmla="*/ 16033 h 16033"/>
                    <a:gd name="connsiteX14" fmla="*/ 6280 w 6781"/>
                    <a:gd name="connsiteY14" fmla="*/ 15656 h 16033"/>
                    <a:gd name="connsiteX15" fmla="*/ 6280 w 6781"/>
                    <a:gd name="connsiteY15" fmla="*/ 15656 h 16033"/>
                    <a:gd name="connsiteX16" fmla="*/ 6782 w 6781"/>
                    <a:gd name="connsiteY16" fmla="*/ 14651 h 16033"/>
                    <a:gd name="connsiteX17" fmla="*/ 6782 w 6781"/>
                    <a:gd name="connsiteY17" fmla="*/ 4729 h 16033"/>
                    <a:gd name="connsiteX18" fmla="*/ 5275 w 6781"/>
                    <a:gd name="connsiteY18" fmla="*/ 2092 h 1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81" h="16033">
                      <a:moveTo>
                        <a:pt x="5275" y="2092"/>
                      </a:moveTo>
                      <a:lnTo>
                        <a:pt x="1884" y="208"/>
                      </a:lnTo>
                      <a:cubicBezTo>
                        <a:pt x="1507" y="-43"/>
                        <a:pt x="1130" y="-43"/>
                        <a:pt x="754" y="82"/>
                      </a:cubicBezTo>
                      <a:lnTo>
                        <a:pt x="754" y="82"/>
                      </a:lnTo>
                      <a:lnTo>
                        <a:pt x="754" y="82"/>
                      </a:lnTo>
                      <a:cubicBezTo>
                        <a:pt x="754" y="82"/>
                        <a:pt x="754" y="82"/>
                        <a:pt x="754" y="82"/>
                      </a:cubicBezTo>
                      <a:lnTo>
                        <a:pt x="0" y="585"/>
                      </a:lnTo>
                      <a:lnTo>
                        <a:pt x="251" y="710"/>
                      </a:lnTo>
                      <a:cubicBezTo>
                        <a:pt x="251" y="836"/>
                        <a:pt x="251" y="962"/>
                        <a:pt x="251" y="1087"/>
                      </a:cubicBezTo>
                      <a:lnTo>
                        <a:pt x="251" y="11009"/>
                      </a:lnTo>
                      <a:cubicBezTo>
                        <a:pt x="251" y="12014"/>
                        <a:pt x="879" y="13144"/>
                        <a:pt x="1758" y="13647"/>
                      </a:cubicBezTo>
                      <a:lnTo>
                        <a:pt x="5149" y="15531"/>
                      </a:lnTo>
                      <a:cubicBezTo>
                        <a:pt x="5275" y="15656"/>
                        <a:pt x="5400" y="15656"/>
                        <a:pt x="5526" y="15656"/>
                      </a:cubicBezTo>
                      <a:lnTo>
                        <a:pt x="5652" y="16033"/>
                      </a:lnTo>
                      <a:lnTo>
                        <a:pt x="6280" y="15656"/>
                      </a:lnTo>
                      <a:lnTo>
                        <a:pt x="6280" y="15656"/>
                      </a:lnTo>
                      <a:cubicBezTo>
                        <a:pt x="6531" y="15531"/>
                        <a:pt x="6782" y="15154"/>
                        <a:pt x="6782" y="14651"/>
                      </a:cubicBezTo>
                      <a:lnTo>
                        <a:pt x="6782" y="4729"/>
                      </a:lnTo>
                      <a:cubicBezTo>
                        <a:pt x="6782" y="3725"/>
                        <a:pt x="6028" y="2594"/>
                        <a:pt x="5275" y="2092"/>
                      </a:cubicBez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8" name="Freeform: Shape 2037">
                  <a:extLst>
                    <a:ext uri="{FF2B5EF4-FFF2-40B4-BE49-F238E27FC236}">
                      <a16:creationId xmlns:a16="http://schemas.microsoft.com/office/drawing/2014/main" id="{C6932C9F-17C1-48DB-A23C-EDF5CE1202DF}"/>
                    </a:ext>
                  </a:extLst>
                </p:cNvPr>
                <p:cNvSpPr/>
                <p:nvPr/>
              </p:nvSpPr>
              <p:spPr>
                <a:xfrm>
                  <a:off x="3312189" y="1870488"/>
                  <a:ext cx="6405" cy="15765"/>
                </a:xfrm>
                <a:custGeom>
                  <a:avLst/>
                  <a:gdLst>
                    <a:gd name="connsiteX0" fmla="*/ 6405 w 6405"/>
                    <a:gd name="connsiteY0" fmla="*/ 14665 h 15765"/>
                    <a:gd name="connsiteX1" fmla="*/ 4898 w 6405"/>
                    <a:gd name="connsiteY1" fmla="*/ 15544 h 15765"/>
                    <a:gd name="connsiteX2" fmla="*/ 1507 w 6405"/>
                    <a:gd name="connsiteY2" fmla="*/ 13660 h 15765"/>
                    <a:gd name="connsiteX3" fmla="*/ 0 w 6405"/>
                    <a:gd name="connsiteY3" fmla="*/ 11023 h 15765"/>
                    <a:gd name="connsiteX4" fmla="*/ 0 w 6405"/>
                    <a:gd name="connsiteY4" fmla="*/ 1101 h 15765"/>
                    <a:gd name="connsiteX5" fmla="*/ 1507 w 6405"/>
                    <a:gd name="connsiteY5" fmla="*/ 222 h 15765"/>
                    <a:gd name="connsiteX6" fmla="*/ 4898 w 6405"/>
                    <a:gd name="connsiteY6" fmla="*/ 2231 h 15765"/>
                    <a:gd name="connsiteX7" fmla="*/ 6405 w 6405"/>
                    <a:gd name="connsiteY7" fmla="*/ 4869 h 15765"/>
                    <a:gd name="connsiteX8" fmla="*/ 6405 w 6405"/>
                    <a:gd name="connsiteY8" fmla="*/ 14665 h 1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5" h="15765">
                      <a:moveTo>
                        <a:pt x="6405" y="14665"/>
                      </a:moveTo>
                      <a:cubicBezTo>
                        <a:pt x="6405" y="15670"/>
                        <a:pt x="5777" y="16046"/>
                        <a:pt x="4898" y="15544"/>
                      </a:cubicBezTo>
                      <a:lnTo>
                        <a:pt x="1507" y="13660"/>
                      </a:lnTo>
                      <a:cubicBezTo>
                        <a:pt x="628" y="13158"/>
                        <a:pt x="0" y="12027"/>
                        <a:pt x="0" y="11023"/>
                      </a:cubicBezTo>
                      <a:lnTo>
                        <a:pt x="0" y="1101"/>
                      </a:lnTo>
                      <a:cubicBezTo>
                        <a:pt x="0" y="96"/>
                        <a:pt x="628" y="-281"/>
                        <a:pt x="1507" y="222"/>
                      </a:cubicBezTo>
                      <a:lnTo>
                        <a:pt x="4898" y="2231"/>
                      </a:lnTo>
                      <a:cubicBezTo>
                        <a:pt x="5777" y="2733"/>
                        <a:pt x="6405" y="3864"/>
                        <a:pt x="6405" y="4869"/>
                      </a:cubicBezTo>
                      <a:lnTo>
                        <a:pt x="6405" y="14665"/>
                      </a:lnTo>
                      <a:close/>
                    </a:path>
                  </a:pathLst>
                </a:custGeom>
                <a:solidFill>
                  <a:srgbClr val="4648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39" name="Freeform: Shape 2038">
                <a:extLst>
                  <a:ext uri="{FF2B5EF4-FFF2-40B4-BE49-F238E27FC236}">
                    <a16:creationId xmlns:a16="http://schemas.microsoft.com/office/drawing/2014/main" id="{8F5CFFD0-6096-4D3E-B225-C20317B0AAC4}"/>
                  </a:ext>
                </a:extLst>
              </p:cNvPr>
              <p:cNvSpPr/>
              <p:nvPr/>
            </p:nvSpPr>
            <p:spPr>
              <a:xfrm>
                <a:off x="3321107" y="1803893"/>
                <a:ext cx="246793" cy="140038"/>
              </a:xfrm>
              <a:custGeom>
                <a:avLst/>
                <a:gdLst>
                  <a:gd name="connsiteX0" fmla="*/ 246794 w 246793"/>
                  <a:gd name="connsiteY0" fmla="*/ 39186 h 140038"/>
                  <a:gd name="connsiteX1" fmla="*/ 213511 w 246793"/>
                  <a:gd name="connsiteY1" fmla="*/ 60034 h 140038"/>
                  <a:gd name="connsiteX2" fmla="*/ 71087 w 246793"/>
                  <a:gd name="connsiteY2" fmla="*/ 140038 h 140038"/>
                  <a:gd name="connsiteX3" fmla="*/ 0 w 246793"/>
                  <a:gd name="connsiteY3" fmla="*/ 98969 h 140038"/>
                  <a:gd name="connsiteX4" fmla="*/ 172693 w 246793"/>
                  <a:gd name="connsiteY4" fmla="*/ 0 h 140038"/>
                  <a:gd name="connsiteX5" fmla="*/ 182615 w 246793"/>
                  <a:gd name="connsiteY5" fmla="*/ 5777 h 140038"/>
                  <a:gd name="connsiteX6" fmla="*/ 186885 w 246793"/>
                  <a:gd name="connsiteY6" fmla="*/ 8289 h 140038"/>
                  <a:gd name="connsiteX7" fmla="*/ 226950 w 246793"/>
                  <a:gd name="connsiteY7" fmla="*/ 31273 h 140038"/>
                  <a:gd name="connsiteX8" fmla="*/ 231094 w 246793"/>
                  <a:gd name="connsiteY8" fmla="*/ 33785 h 14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793" h="140038">
                    <a:moveTo>
                      <a:pt x="246794" y="39186"/>
                    </a:moveTo>
                    <a:lnTo>
                      <a:pt x="213511" y="60034"/>
                    </a:lnTo>
                    <a:lnTo>
                      <a:pt x="71087" y="140038"/>
                    </a:lnTo>
                    <a:lnTo>
                      <a:pt x="0" y="98969"/>
                    </a:lnTo>
                    <a:lnTo>
                      <a:pt x="172693" y="0"/>
                    </a:lnTo>
                    <a:lnTo>
                      <a:pt x="182615" y="5777"/>
                    </a:lnTo>
                    <a:lnTo>
                      <a:pt x="186885" y="8289"/>
                    </a:lnTo>
                    <a:lnTo>
                      <a:pt x="226950" y="31273"/>
                    </a:lnTo>
                    <a:lnTo>
                      <a:pt x="231094" y="33785"/>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0" name="Freeform: Shape 2039">
                <a:extLst>
                  <a:ext uri="{FF2B5EF4-FFF2-40B4-BE49-F238E27FC236}">
                    <a16:creationId xmlns:a16="http://schemas.microsoft.com/office/drawing/2014/main" id="{B28D92A4-9AFD-4D33-BACE-F8FCBEDEDAB2}"/>
                  </a:ext>
                </a:extLst>
              </p:cNvPr>
              <p:cNvSpPr/>
              <p:nvPr/>
            </p:nvSpPr>
            <p:spPr>
              <a:xfrm>
                <a:off x="3321107" y="1802009"/>
                <a:ext cx="246793" cy="140038"/>
              </a:xfrm>
              <a:custGeom>
                <a:avLst/>
                <a:gdLst>
                  <a:gd name="connsiteX0" fmla="*/ 246794 w 246793"/>
                  <a:gd name="connsiteY0" fmla="*/ 39186 h 140038"/>
                  <a:gd name="connsiteX1" fmla="*/ 71087 w 246793"/>
                  <a:gd name="connsiteY1" fmla="*/ 140038 h 140038"/>
                  <a:gd name="connsiteX2" fmla="*/ 0 w 246793"/>
                  <a:gd name="connsiteY2" fmla="*/ 98969 h 140038"/>
                  <a:gd name="connsiteX3" fmla="*/ 172693 w 246793"/>
                  <a:gd name="connsiteY3" fmla="*/ 0 h 140038"/>
                  <a:gd name="connsiteX4" fmla="*/ 182615 w 246793"/>
                  <a:gd name="connsiteY4" fmla="*/ 5777 h 140038"/>
                  <a:gd name="connsiteX5" fmla="*/ 186885 w 246793"/>
                  <a:gd name="connsiteY5" fmla="*/ 8289 h 140038"/>
                  <a:gd name="connsiteX6" fmla="*/ 226950 w 246793"/>
                  <a:gd name="connsiteY6" fmla="*/ 31273 h 140038"/>
                  <a:gd name="connsiteX7" fmla="*/ 231094 w 246793"/>
                  <a:gd name="connsiteY7" fmla="*/ 33785 h 14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6793" h="140038">
                    <a:moveTo>
                      <a:pt x="246794" y="39186"/>
                    </a:moveTo>
                    <a:lnTo>
                      <a:pt x="71087" y="140038"/>
                    </a:lnTo>
                    <a:lnTo>
                      <a:pt x="0" y="98969"/>
                    </a:lnTo>
                    <a:lnTo>
                      <a:pt x="172693" y="0"/>
                    </a:lnTo>
                    <a:lnTo>
                      <a:pt x="182615" y="5777"/>
                    </a:lnTo>
                    <a:lnTo>
                      <a:pt x="186885" y="8289"/>
                    </a:lnTo>
                    <a:lnTo>
                      <a:pt x="226950" y="31273"/>
                    </a:lnTo>
                    <a:lnTo>
                      <a:pt x="231094" y="33785"/>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1" name="Freeform: Shape 2040">
                <a:extLst>
                  <a:ext uri="{FF2B5EF4-FFF2-40B4-BE49-F238E27FC236}">
                    <a16:creationId xmlns:a16="http://schemas.microsoft.com/office/drawing/2014/main" id="{2763BE6A-2271-4D59-884B-F6135FB2E543}"/>
                  </a:ext>
                </a:extLst>
              </p:cNvPr>
              <p:cNvSpPr/>
              <p:nvPr/>
            </p:nvSpPr>
            <p:spPr>
              <a:xfrm>
                <a:off x="3368707" y="1809671"/>
                <a:ext cx="139284" cy="79752"/>
              </a:xfrm>
              <a:custGeom>
                <a:avLst/>
                <a:gdLst>
                  <a:gd name="connsiteX0" fmla="*/ 139285 w 139284"/>
                  <a:gd name="connsiteY0" fmla="*/ 2512 h 79752"/>
                  <a:gd name="connsiteX1" fmla="*/ 4270 w 139284"/>
                  <a:gd name="connsiteY1" fmla="*/ 79753 h 79752"/>
                  <a:gd name="connsiteX2" fmla="*/ 0 w 139284"/>
                  <a:gd name="connsiteY2" fmla="*/ 77241 h 79752"/>
                  <a:gd name="connsiteX3" fmla="*/ 135014 w 139284"/>
                  <a:gd name="connsiteY3" fmla="*/ 0 h 79752"/>
                </a:gdLst>
                <a:ahLst/>
                <a:cxnLst>
                  <a:cxn ang="0">
                    <a:pos x="connsiteX0" y="connsiteY0"/>
                  </a:cxn>
                  <a:cxn ang="0">
                    <a:pos x="connsiteX1" y="connsiteY1"/>
                  </a:cxn>
                  <a:cxn ang="0">
                    <a:pos x="connsiteX2" y="connsiteY2"/>
                  </a:cxn>
                  <a:cxn ang="0">
                    <a:pos x="connsiteX3" y="connsiteY3"/>
                  </a:cxn>
                </a:cxnLst>
                <a:rect l="l" t="t" r="r" b="b"/>
                <a:pathLst>
                  <a:path w="139284" h="79752">
                    <a:moveTo>
                      <a:pt x="139285" y="2512"/>
                    </a:moveTo>
                    <a:lnTo>
                      <a:pt x="4270" y="79753"/>
                    </a:lnTo>
                    <a:lnTo>
                      <a:pt x="0" y="77241"/>
                    </a:lnTo>
                    <a:lnTo>
                      <a:pt x="135014" y="0"/>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2" name="Freeform: Shape 2041">
                <a:extLst>
                  <a:ext uri="{FF2B5EF4-FFF2-40B4-BE49-F238E27FC236}">
                    <a16:creationId xmlns:a16="http://schemas.microsoft.com/office/drawing/2014/main" id="{0046FB6B-ECE3-4E9B-8B48-933E39EC3890}"/>
                  </a:ext>
                </a:extLst>
              </p:cNvPr>
              <p:cNvSpPr/>
              <p:nvPr/>
            </p:nvSpPr>
            <p:spPr>
              <a:xfrm>
                <a:off x="3416182" y="1835166"/>
                <a:ext cx="136019" cy="77868"/>
              </a:xfrm>
              <a:custGeom>
                <a:avLst/>
                <a:gdLst>
                  <a:gd name="connsiteX0" fmla="*/ 136019 w 136019"/>
                  <a:gd name="connsiteY0" fmla="*/ 2512 h 77868"/>
                  <a:gd name="connsiteX1" fmla="*/ 4270 w 136019"/>
                  <a:gd name="connsiteY1" fmla="*/ 77869 h 77868"/>
                  <a:gd name="connsiteX2" fmla="*/ 0 w 136019"/>
                  <a:gd name="connsiteY2" fmla="*/ 75482 h 77868"/>
                  <a:gd name="connsiteX3" fmla="*/ 131875 w 136019"/>
                  <a:gd name="connsiteY3" fmla="*/ 0 h 77868"/>
                </a:gdLst>
                <a:ahLst/>
                <a:cxnLst>
                  <a:cxn ang="0">
                    <a:pos x="connsiteX0" y="connsiteY0"/>
                  </a:cxn>
                  <a:cxn ang="0">
                    <a:pos x="connsiteX1" y="connsiteY1"/>
                  </a:cxn>
                  <a:cxn ang="0">
                    <a:pos x="connsiteX2" y="connsiteY2"/>
                  </a:cxn>
                  <a:cxn ang="0">
                    <a:pos x="connsiteX3" y="connsiteY3"/>
                  </a:cxn>
                </a:cxnLst>
                <a:rect l="l" t="t" r="r" b="b"/>
                <a:pathLst>
                  <a:path w="136019" h="77868">
                    <a:moveTo>
                      <a:pt x="136019" y="2512"/>
                    </a:moveTo>
                    <a:lnTo>
                      <a:pt x="4270" y="77869"/>
                    </a:lnTo>
                    <a:lnTo>
                      <a:pt x="0" y="75482"/>
                    </a:lnTo>
                    <a:lnTo>
                      <a:pt x="131875" y="0"/>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3" name="Freeform: Shape 2042">
                <a:extLst>
                  <a:ext uri="{FF2B5EF4-FFF2-40B4-BE49-F238E27FC236}">
                    <a16:creationId xmlns:a16="http://schemas.microsoft.com/office/drawing/2014/main" id="{3894EDD8-CAEE-4B8A-B1EF-9E610AA8709B}"/>
                  </a:ext>
                </a:extLst>
              </p:cNvPr>
              <p:cNvSpPr/>
              <p:nvPr/>
            </p:nvSpPr>
            <p:spPr>
              <a:xfrm>
                <a:off x="3407641" y="1901606"/>
                <a:ext cx="36297" cy="20974"/>
              </a:xfrm>
              <a:custGeom>
                <a:avLst/>
                <a:gdLst>
                  <a:gd name="connsiteX0" fmla="*/ 0 w 36297"/>
                  <a:gd name="connsiteY0" fmla="*/ 7912 h 20974"/>
                  <a:gd name="connsiteX1" fmla="*/ 22482 w 36297"/>
                  <a:gd name="connsiteY1" fmla="*/ 20974 h 20974"/>
                  <a:gd name="connsiteX2" fmla="*/ 36297 w 36297"/>
                  <a:gd name="connsiteY2" fmla="*/ 12936 h 20974"/>
                  <a:gd name="connsiteX3" fmla="*/ 13690 w 36297"/>
                  <a:gd name="connsiteY3" fmla="*/ 0 h 20974"/>
                </a:gdLst>
                <a:ahLst/>
                <a:cxnLst>
                  <a:cxn ang="0">
                    <a:pos x="connsiteX0" y="connsiteY0"/>
                  </a:cxn>
                  <a:cxn ang="0">
                    <a:pos x="connsiteX1" y="connsiteY1"/>
                  </a:cxn>
                  <a:cxn ang="0">
                    <a:pos x="connsiteX2" y="connsiteY2"/>
                  </a:cxn>
                  <a:cxn ang="0">
                    <a:pos x="connsiteX3" y="connsiteY3"/>
                  </a:cxn>
                </a:cxnLst>
                <a:rect l="l" t="t" r="r" b="b"/>
                <a:pathLst>
                  <a:path w="36297" h="20974">
                    <a:moveTo>
                      <a:pt x="0" y="7912"/>
                    </a:moveTo>
                    <a:lnTo>
                      <a:pt x="22482" y="20974"/>
                    </a:lnTo>
                    <a:lnTo>
                      <a:pt x="36297" y="12936"/>
                    </a:lnTo>
                    <a:lnTo>
                      <a:pt x="13690" y="0"/>
                    </a:lnTo>
                    <a:close/>
                  </a:path>
                </a:pathLst>
              </a:custGeom>
              <a:solidFill>
                <a:srgbClr val="D6D9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4" name="Freeform: Shape 2043">
                <a:extLst>
                  <a:ext uri="{FF2B5EF4-FFF2-40B4-BE49-F238E27FC236}">
                    <a16:creationId xmlns:a16="http://schemas.microsoft.com/office/drawing/2014/main" id="{E74EFA8C-CE11-4E22-B0DA-98CD0B15F0EE}"/>
                  </a:ext>
                </a:extLst>
              </p:cNvPr>
              <p:cNvSpPr/>
              <p:nvPr/>
            </p:nvSpPr>
            <p:spPr>
              <a:xfrm>
                <a:off x="3371219" y="1787943"/>
                <a:ext cx="71086" cy="124590"/>
              </a:xfrm>
              <a:custGeom>
                <a:avLst/>
                <a:gdLst>
                  <a:gd name="connsiteX0" fmla="*/ 71087 w 71086"/>
                  <a:gd name="connsiteY0" fmla="*/ 124590 h 124590"/>
                  <a:gd name="connsiteX1" fmla="*/ 0 w 71086"/>
                  <a:gd name="connsiteY1" fmla="*/ 83646 h 124590"/>
                  <a:gd name="connsiteX2" fmla="*/ 0 w 71086"/>
                  <a:gd name="connsiteY2" fmla="*/ 0 h 124590"/>
                  <a:gd name="connsiteX3" fmla="*/ 71087 w 71086"/>
                  <a:gd name="connsiteY3" fmla="*/ 41070 h 124590"/>
                </a:gdLst>
                <a:ahLst/>
                <a:cxnLst>
                  <a:cxn ang="0">
                    <a:pos x="connsiteX0" y="connsiteY0"/>
                  </a:cxn>
                  <a:cxn ang="0">
                    <a:pos x="connsiteX1" y="connsiteY1"/>
                  </a:cxn>
                  <a:cxn ang="0">
                    <a:pos x="connsiteX2" y="connsiteY2"/>
                  </a:cxn>
                  <a:cxn ang="0">
                    <a:pos x="connsiteX3" y="connsiteY3"/>
                  </a:cxn>
                </a:cxnLst>
                <a:rect l="l" t="t" r="r" b="b"/>
                <a:pathLst>
                  <a:path w="71086" h="124590">
                    <a:moveTo>
                      <a:pt x="71087" y="124590"/>
                    </a:moveTo>
                    <a:lnTo>
                      <a:pt x="0" y="83646"/>
                    </a:lnTo>
                    <a:lnTo>
                      <a:pt x="0" y="0"/>
                    </a:lnTo>
                    <a:lnTo>
                      <a:pt x="71087" y="41070"/>
                    </a:lnTo>
                    <a:close/>
                  </a:path>
                </a:pathLst>
              </a:custGeom>
              <a:solidFill>
                <a:srgbClr val="AEAE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5" name="Freeform: Shape 2044">
                <a:extLst>
                  <a:ext uri="{FF2B5EF4-FFF2-40B4-BE49-F238E27FC236}">
                    <a16:creationId xmlns:a16="http://schemas.microsoft.com/office/drawing/2014/main" id="{2E88783D-916B-4F7D-8A7D-1B24A12E3251}"/>
                  </a:ext>
                </a:extLst>
              </p:cNvPr>
              <p:cNvSpPr/>
              <p:nvPr/>
            </p:nvSpPr>
            <p:spPr>
              <a:xfrm>
                <a:off x="3442305" y="1757046"/>
                <a:ext cx="125594" cy="155486"/>
              </a:xfrm>
              <a:custGeom>
                <a:avLst/>
                <a:gdLst>
                  <a:gd name="connsiteX0" fmla="*/ 0 w 125594"/>
                  <a:gd name="connsiteY0" fmla="*/ 155486 h 155486"/>
                  <a:gd name="connsiteX1" fmla="*/ 125595 w 125594"/>
                  <a:gd name="connsiteY1" fmla="*/ 83521 h 155486"/>
                  <a:gd name="connsiteX2" fmla="*/ 125595 w 125594"/>
                  <a:gd name="connsiteY2" fmla="*/ 0 h 155486"/>
                  <a:gd name="connsiteX3" fmla="*/ 0 w 125594"/>
                  <a:gd name="connsiteY3" fmla="*/ 71966 h 155486"/>
                </a:gdLst>
                <a:ahLst/>
                <a:cxnLst>
                  <a:cxn ang="0">
                    <a:pos x="connsiteX0" y="connsiteY0"/>
                  </a:cxn>
                  <a:cxn ang="0">
                    <a:pos x="connsiteX1" y="connsiteY1"/>
                  </a:cxn>
                  <a:cxn ang="0">
                    <a:pos x="connsiteX2" y="connsiteY2"/>
                  </a:cxn>
                  <a:cxn ang="0">
                    <a:pos x="connsiteX3" y="connsiteY3"/>
                  </a:cxn>
                </a:cxnLst>
                <a:rect l="l" t="t" r="r" b="b"/>
                <a:pathLst>
                  <a:path w="125594" h="155486">
                    <a:moveTo>
                      <a:pt x="0" y="155486"/>
                    </a:moveTo>
                    <a:lnTo>
                      <a:pt x="125595" y="83521"/>
                    </a:lnTo>
                    <a:lnTo>
                      <a:pt x="125595" y="0"/>
                    </a:lnTo>
                    <a:lnTo>
                      <a:pt x="0" y="71966"/>
                    </a:lnTo>
                    <a:close/>
                  </a:path>
                </a:pathLst>
              </a:custGeom>
              <a:solidFill>
                <a:srgbClr val="CBCF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6" name="Freeform: Shape 2045">
                <a:extLst>
                  <a:ext uri="{FF2B5EF4-FFF2-40B4-BE49-F238E27FC236}">
                    <a16:creationId xmlns:a16="http://schemas.microsoft.com/office/drawing/2014/main" id="{407A69B2-3AD2-46C4-A65B-B716A9BA775E}"/>
                  </a:ext>
                </a:extLst>
              </p:cNvPr>
              <p:cNvSpPr/>
              <p:nvPr/>
            </p:nvSpPr>
            <p:spPr>
              <a:xfrm>
                <a:off x="3351249" y="1823737"/>
                <a:ext cx="79124" cy="45842"/>
              </a:xfrm>
              <a:custGeom>
                <a:avLst/>
                <a:gdLst>
                  <a:gd name="connsiteX0" fmla="*/ 0 w 79124"/>
                  <a:gd name="connsiteY0" fmla="*/ 7285 h 45842"/>
                  <a:gd name="connsiteX1" fmla="*/ 66565 w 79124"/>
                  <a:gd name="connsiteY1" fmla="*/ 45842 h 45842"/>
                  <a:gd name="connsiteX2" fmla="*/ 79125 w 79124"/>
                  <a:gd name="connsiteY2" fmla="*/ 38558 h 45842"/>
                  <a:gd name="connsiteX3" fmla="*/ 12559 w 79124"/>
                  <a:gd name="connsiteY3" fmla="*/ 0 h 45842"/>
                </a:gdLst>
                <a:ahLst/>
                <a:cxnLst>
                  <a:cxn ang="0">
                    <a:pos x="connsiteX0" y="connsiteY0"/>
                  </a:cxn>
                  <a:cxn ang="0">
                    <a:pos x="connsiteX1" y="connsiteY1"/>
                  </a:cxn>
                  <a:cxn ang="0">
                    <a:pos x="connsiteX2" y="connsiteY2"/>
                  </a:cxn>
                  <a:cxn ang="0">
                    <a:pos x="connsiteX3" y="connsiteY3"/>
                  </a:cxn>
                </a:cxnLst>
                <a:rect l="l" t="t" r="r" b="b"/>
                <a:pathLst>
                  <a:path w="79124" h="45842">
                    <a:moveTo>
                      <a:pt x="0" y="7285"/>
                    </a:moveTo>
                    <a:lnTo>
                      <a:pt x="66565" y="45842"/>
                    </a:lnTo>
                    <a:lnTo>
                      <a:pt x="79125" y="38558"/>
                    </a:lnTo>
                    <a:lnTo>
                      <a:pt x="12559" y="0"/>
                    </a:ln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7" name="Freeform: Shape 2046">
                <a:extLst>
                  <a:ext uri="{FF2B5EF4-FFF2-40B4-BE49-F238E27FC236}">
                    <a16:creationId xmlns:a16="http://schemas.microsoft.com/office/drawing/2014/main" id="{D7EDE833-BD5D-4F00-A61B-ACF1E407F007}"/>
                  </a:ext>
                </a:extLst>
              </p:cNvPr>
              <p:cNvSpPr/>
              <p:nvPr/>
            </p:nvSpPr>
            <p:spPr>
              <a:xfrm>
                <a:off x="3409525" y="1930744"/>
                <a:ext cx="22230" cy="28133"/>
              </a:xfrm>
              <a:custGeom>
                <a:avLst/>
                <a:gdLst>
                  <a:gd name="connsiteX0" fmla="*/ 22230 w 22230"/>
                  <a:gd name="connsiteY0" fmla="*/ 28133 h 28133"/>
                  <a:gd name="connsiteX1" fmla="*/ 2386 w 22230"/>
                  <a:gd name="connsiteY1" fmla="*/ 16704 h 28133"/>
                  <a:gd name="connsiteX2" fmla="*/ 0 w 22230"/>
                  <a:gd name="connsiteY2" fmla="*/ 0 h 28133"/>
                  <a:gd name="connsiteX3" fmla="*/ 19844 w 22230"/>
                  <a:gd name="connsiteY3" fmla="*/ 11555 h 28133"/>
                </a:gdLst>
                <a:ahLst/>
                <a:cxnLst>
                  <a:cxn ang="0">
                    <a:pos x="connsiteX0" y="connsiteY0"/>
                  </a:cxn>
                  <a:cxn ang="0">
                    <a:pos x="connsiteX1" y="connsiteY1"/>
                  </a:cxn>
                  <a:cxn ang="0">
                    <a:pos x="connsiteX2" y="connsiteY2"/>
                  </a:cxn>
                  <a:cxn ang="0">
                    <a:pos x="connsiteX3" y="connsiteY3"/>
                  </a:cxn>
                </a:cxnLst>
                <a:rect l="l" t="t" r="r" b="b"/>
                <a:pathLst>
                  <a:path w="22230" h="28133">
                    <a:moveTo>
                      <a:pt x="22230" y="28133"/>
                    </a:moveTo>
                    <a:lnTo>
                      <a:pt x="2386" y="16704"/>
                    </a:lnTo>
                    <a:lnTo>
                      <a:pt x="0" y="0"/>
                    </a:lnTo>
                    <a:lnTo>
                      <a:pt x="19844" y="11555"/>
                    </a:lnTo>
                    <a:close/>
                  </a:path>
                </a:pathLst>
              </a:custGeom>
              <a:solidFill>
                <a:srgbClr val="1415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48" name="Graphic 4">
                <a:extLst>
                  <a:ext uri="{FF2B5EF4-FFF2-40B4-BE49-F238E27FC236}">
                    <a16:creationId xmlns:a16="http://schemas.microsoft.com/office/drawing/2014/main" id="{84FB7ED1-A2DF-40A1-A747-5F7CF3F14040}"/>
                  </a:ext>
                </a:extLst>
              </p:cNvPr>
              <p:cNvGrpSpPr/>
              <p:nvPr/>
            </p:nvGrpSpPr>
            <p:grpSpPr>
              <a:xfrm>
                <a:off x="3397845" y="1938870"/>
                <a:ext cx="31524" cy="34864"/>
                <a:chOff x="3397845" y="1938870"/>
                <a:chExt cx="31524" cy="34864"/>
              </a:xfrm>
              <a:solidFill>
                <a:schemeClr val="accent1"/>
              </a:solidFill>
            </p:grpSpPr>
            <p:sp>
              <p:nvSpPr>
                <p:cNvPr id="2049" name="Freeform: Shape 2048">
                  <a:extLst>
                    <a:ext uri="{FF2B5EF4-FFF2-40B4-BE49-F238E27FC236}">
                      <a16:creationId xmlns:a16="http://schemas.microsoft.com/office/drawing/2014/main" id="{F5803E32-7CE5-4D0D-ABBC-46AC664CA948}"/>
                    </a:ext>
                  </a:extLst>
                </p:cNvPr>
                <p:cNvSpPr/>
                <p:nvPr/>
              </p:nvSpPr>
              <p:spPr>
                <a:xfrm>
                  <a:off x="3401034" y="1939590"/>
                  <a:ext cx="24501" cy="33143"/>
                </a:xfrm>
                <a:custGeom>
                  <a:avLst/>
                  <a:gdLst>
                    <a:gd name="connsiteX0" fmla="*/ 0 w 24501"/>
                    <a:gd name="connsiteY0" fmla="*/ 28496 h 33143"/>
                    <a:gd name="connsiteX1" fmla="*/ 16453 w 24501"/>
                    <a:gd name="connsiteY1" fmla="*/ 0 h 33143"/>
                    <a:gd name="connsiteX2" fmla="*/ 24502 w 24501"/>
                    <a:gd name="connsiteY2" fmla="*/ 4647 h 33143"/>
                    <a:gd name="connsiteX3" fmla="*/ 8049 w 24501"/>
                    <a:gd name="connsiteY3" fmla="*/ 33143 h 33143"/>
                  </a:gdLst>
                  <a:ahLst/>
                  <a:cxnLst>
                    <a:cxn ang="0">
                      <a:pos x="connsiteX0" y="connsiteY0"/>
                    </a:cxn>
                    <a:cxn ang="0">
                      <a:pos x="connsiteX1" y="connsiteY1"/>
                    </a:cxn>
                    <a:cxn ang="0">
                      <a:pos x="connsiteX2" y="connsiteY2"/>
                    </a:cxn>
                    <a:cxn ang="0">
                      <a:pos x="connsiteX3" y="connsiteY3"/>
                    </a:cxn>
                  </a:cxnLst>
                  <a:rect l="l" t="t" r="r" b="b"/>
                  <a:pathLst>
                    <a:path w="24501" h="33143">
                      <a:moveTo>
                        <a:pt x="0" y="28496"/>
                      </a:moveTo>
                      <a:lnTo>
                        <a:pt x="16453" y="0"/>
                      </a:lnTo>
                      <a:lnTo>
                        <a:pt x="24502" y="4647"/>
                      </a:lnTo>
                      <a:lnTo>
                        <a:pt x="8049" y="33143"/>
                      </a:ln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50" name="Graphic 4">
                  <a:extLst>
                    <a:ext uri="{FF2B5EF4-FFF2-40B4-BE49-F238E27FC236}">
                      <a16:creationId xmlns:a16="http://schemas.microsoft.com/office/drawing/2014/main" id="{84FB7ED1-A2DF-40A1-A747-5F7CF3F14040}"/>
                    </a:ext>
                  </a:extLst>
                </p:cNvPr>
                <p:cNvGrpSpPr/>
                <p:nvPr/>
              </p:nvGrpSpPr>
              <p:grpSpPr>
                <a:xfrm>
                  <a:off x="3397845" y="1938870"/>
                  <a:ext cx="31524" cy="34864"/>
                  <a:chOff x="3397845" y="1938870"/>
                  <a:chExt cx="31524" cy="34864"/>
                </a:xfrm>
                <a:solidFill>
                  <a:schemeClr val="accent1"/>
                </a:solidFill>
              </p:grpSpPr>
              <p:sp>
                <p:nvSpPr>
                  <p:cNvPr id="2051" name="Freeform: Shape 2050">
                    <a:extLst>
                      <a:ext uri="{FF2B5EF4-FFF2-40B4-BE49-F238E27FC236}">
                        <a16:creationId xmlns:a16="http://schemas.microsoft.com/office/drawing/2014/main" id="{90AB98C3-3D2E-498B-96EE-490D4DCC411C}"/>
                      </a:ext>
                    </a:extLst>
                  </p:cNvPr>
                  <p:cNvSpPr/>
                  <p:nvPr/>
                </p:nvSpPr>
                <p:spPr>
                  <a:xfrm>
                    <a:off x="3397845" y="1938870"/>
                    <a:ext cx="23360" cy="30091"/>
                  </a:xfrm>
                  <a:custGeom>
                    <a:avLst/>
                    <a:gdLst>
                      <a:gd name="connsiteX0" fmla="*/ 23361 w 23360"/>
                      <a:gd name="connsiteY0" fmla="*/ 8327 h 30091"/>
                      <a:gd name="connsiteX1" fmla="*/ 11681 w 23360"/>
                      <a:gd name="connsiteY1" fmla="*/ 1545 h 30091"/>
                      <a:gd name="connsiteX2" fmla="*/ 0 w 23360"/>
                      <a:gd name="connsiteY2" fmla="*/ 21765 h 30091"/>
                      <a:gd name="connsiteX3" fmla="*/ 11681 w 23360"/>
                      <a:gd name="connsiteY3" fmla="*/ 28547 h 30091"/>
                      <a:gd name="connsiteX4" fmla="*/ 23361 w 23360"/>
                      <a:gd name="connsiteY4" fmla="*/ 8327 h 30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60" h="30091">
                        <a:moveTo>
                          <a:pt x="23361" y="8327"/>
                        </a:moveTo>
                        <a:cubicBezTo>
                          <a:pt x="23361" y="917"/>
                          <a:pt x="18086" y="-2098"/>
                          <a:pt x="11681" y="1545"/>
                        </a:cubicBezTo>
                        <a:cubicBezTo>
                          <a:pt x="5275" y="5312"/>
                          <a:pt x="0" y="14230"/>
                          <a:pt x="0" y="21765"/>
                        </a:cubicBezTo>
                        <a:cubicBezTo>
                          <a:pt x="0" y="29175"/>
                          <a:pt x="5275" y="32190"/>
                          <a:pt x="11681" y="28547"/>
                        </a:cubicBezTo>
                        <a:cubicBezTo>
                          <a:pt x="18086" y="24780"/>
                          <a:pt x="23361" y="15737"/>
                          <a:pt x="23361" y="8327"/>
                        </a:cubicBez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2" name="Freeform: Shape 2051">
                    <a:extLst>
                      <a:ext uri="{FF2B5EF4-FFF2-40B4-BE49-F238E27FC236}">
                        <a16:creationId xmlns:a16="http://schemas.microsoft.com/office/drawing/2014/main" id="{E83A08A9-0486-4DDC-8B08-FD801096F0D8}"/>
                      </a:ext>
                    </a:extLst>
                  </p:cNvPr>
                  <p:cNvSpPr/>
                  <p:nvPr/>
                </p:nvSpPr>
                <p:spPr>
                  <a:xfrm>
                    <a:off x="3406008" y="1943562"/>
                    <a:ext cx="23360" cy="30172"/>
                  </a:xfrm>
                  <a:custGeom>
                    <a:avLst/>
                    <a:gdLst>
                      <a:gd name="connsiteX0" fmla="*/ 23361 w 23360"/>
                      <a:gd name="connsiteY0" fmla="*/ 8282 h 30172"/>
                      <a:gd name="connsiteX1" fmla="*/ 11681 w 23360"/>
                      <a:gd name="connsiteY1" fmla="*/ 1625 h 30172"/>
                      <a:gd name="connsiteX2" fmla="*/ 0 w 23360"/>
                      <a:gd name="connsiteY2" fmla="*/ 21846 h 30172"/>
                      <a:gd name="connsiteX3" fmla="*/ 11681 w 23360"/>
                      <a:gd name="connsiteY3" fmla="*/ 28628 h 30172"/>
                      <a:gd name="connsiteX4" fmla="*/ 23361 w 23360"/>
                      <a:gd name="connsiteY4" fmla="*/ 8282 h 30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60" h="30172">
                        <a:moveTo>
                          <a:pt x="23361" y="8282"/>
                        </a:moveTo>
                        <a:cubicBezTo>
                          <a:pt x="23361" y="872"/>
                          <a:pt x="18086" y="-2143"/>
                          <a:pt x="11681" y="1625"/>
                        </a:cubicBezTo>
                        <a:cubicBezTo>
                          <a:pt x="5275" y="5393"/>
                          <a:pt x="0" y="14310"/>
                          <a:pt x="0" y="21846"/>
                        </a:cubicBezTo>
                        <a:cubicBezTo>
                          <a:pt x="0" y="29256"/>
                          <a:pt x="5275" y="32270"/>
                          <a:pt x="11681" y="28628"/>
                        </a:cubicBezTo>
                        <a:cubicBezTo>
                          <a:pt x="18086" y="24735"/>
                          <a:pt x="23361" y="15692"/>
                          <a:pt x="23361" y="8282"/>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3" name="Freeform: Shape 2052">
                    <a:extLst>
                      <a:ext uri="{FF2B5EF4-FFF2-40B4-BE49-F238E27FC236}">
                        <a16:creationId xmlns:a16="http://schemas.microsoft.com/office/drawing/2014/main" id="{9A16815C-1C30-4125-B03C-717063DAC1C1}"/>
                      </a:ext>
                    </a:extLst>
                  </p:cNvPr>
                  <p:cNvSpPr/>
                  <p:nvPr/>
                </p:nvSpPr>
                <p:spPr>
                  <a:xfrm>
                    <a:off x="3410656" y="1949479"/>
                    <a:ext cx="14066" cy="18169"/>
                  </a:xfrm>
                  <a:custGeom>
                    <a:avLst/>
                    <a:gdLst>
                      <a:gd name="connsiteX0" fmla="*/ 14067 w 14066"/>
                      <a:gd name="connsiteY0" fmla="*/ 5003 h 18169"/>
                      <a:gd name="connsiteX1" fmla="*/ 7033 w 14066"/>
                      <a:gd name="connsiteY1" fmla="*/ 984 h 18169"/>
                      <a:gd name="connsiteX2" fmla="*/ 0 w 14066"/>
                      <a:gd name="connsiteY2" fmla="*/ 13166 h 18169"/>
                      <a:gd name="connsiteX3" fmla="*/ 7033 w 14066"/>
                      <a:gd name="connsiteY3" fmla="*/ 17185 h 18169"/>
                      <a:gd name="connsiteX4" fmla="*/ 14067 w 14066"/>
                      <a:gd name="connsiteY4" fmla="*/ 5003 h 18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6" h="18169">
                        <a:moveTo>
                          <a:pt x="14067" y="5003"/>
                        </a:moveTo>
                        <a:cubicBezTo>
                          <a:pt x="14067" y="481"/>
                          <a:pt x="10927" y="-1277"/>
                          <a:pt x="7033" y="984"/>
                        </a:cubicBezTo>
                        <a:cubicBezTo>
                          <a:pt x="3140" y="3244"/>
                          <a:pt x="0" y="8645"/>
                          <a:pt x="0" y="13166"/>
                        </a:cubicBezTo>
                        <a:cubicBezTo>
                          <a:pt x="0" y="17688"/>
                          <a:pt x="3140" y="19446"/>
                          <a:pt x="7033" y="17185"/>
                        </a:cubicBezTo>
                        <a:cubicBezTo>
                          <a:pt x="10927" y="15050"/>
                          <a:pt x="14067" y="9524"/>
                          <a:pt x="14067" y="5003"/>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4" name="Freeform: Shape 2053">
                    <a:extLst>
                      <a:ext uri="{FF2B5EF4-FFF2-40B4-BE49-F238E27FC236}">
                        <a16:creationId xmlns:a16="http://schemas.microsoft.com/office/drawing/2014/main" id="{BC5C9C8C-A073-4FE9-ABEA-57E3DC0DC479}"/>
                      </a:ext>
                    </a:extLst>
                  </p:cNvPr>
                  <p:cNvSpPr/>
                  <p:nvPr/>
                </p:nvSpPr>
                <p:spPr>
                  <a:xfrm>
                    <a:off x="3411535" y="1950604"/>
                    <a:ext cx="12308" cy="15918"/>
                  </a:xfrm>
                  <a:custGeom>
                    <a:avLst/>
                    <a:gdLst>
                      <a:gd name="connsiteX0" fmla="*/ 12308 w 12308"/>
                      <a:gd name="connsiteY0" fmla="*/ 4380 h 15918"/>
                      <a:gd name="connsiteX1" fmla="*/ 6154 w 12308"/>
                      <a:gd name="connsiteY1" fmla="*/ 863 h 15918"/>
                      <a:gd name="connsiteX2" fmla="*/ 0 w 12308"/>
                      <a:gd name="connsiteY2" fmla="*/ 11539 h 15918"/>
                      <a:gd name="connsiteX3" fmla="*/ 6154 w 12308"/>
                      <a:gd name="connsiteY3" fmla="*/ 15055 h 15918"/>
                      <a:gd name="connsiteX4" fmla="*/ 12308 w 12308"/>
                      <a:gd name="connsiteY4" fmla="*/ 4380 h 15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08" h="15918">
                        <a:moveTo>
                          <a:pt x="12308" y="4380"/>
                        </a:moveTo>
                        <a:cubicBezTo>
                          <a:pt x="12308" y="486"/>
                          <a:pt x="9545" y="-1146"/>
                          <a:pt x="6154" y="863"/>
                        </a:cubicBezTo>
                        <a:cubicBezTo>
                          <a:pt x="2763" y="2873"/>
                          <a:pt x="0" y="7645"/>
                          <a:pt x="0" y="11539"/>
                        </a:cubicBezTo>
                        <a:cubicBezTo>
                          <a:pt x="0" y="15432"/>
                          <a:pt x="2763" y="17065"/>
                          <a:pt x="6154" y="15055"/>
                        </a:cubicBezTo>
                        <a:cubicBezTo>
                          <a:pt x="9545" y="13171"/>
                          <a:pt x="12308" y="8399"/>
                          <a:pt x="12308" y="4380"/>
                        </a:cubicBezTo>
                        <a:close/>
                      </a:path>
                    </a:pathLst>
                  </a:custGeom>
                  <a:solidFill>
                    <a:srgbClr val="5A5E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5" name="Freeform: Shape 2054">
                    <a:extLst>
                      <a:ext uri="{FF2B5EF4-FFF2-40B4-BE49-F238E27FC236}">
                        <a16:creationId xmlns:a16="http://schemas.microsoft.com/office/drawing/2014/main" id="{6E858E4F-F7F8-4CC0-8B35-C26E86DB188A}"/>
                      </a:ext>
                    </a:extLst>
                  </p:cNvPr>
                  <p:cNvSpPr/>
                  <p:nvPr/>
                </p:nvSpPr>
                <p:spPr>
                  <a:xfrm>
                    <a:off x="3411911" y="1951358"/>
                    <a:ext cx="11303" cy="14409"/>
                  </a:xfrm>
                  <a:custGeom>
                    <a:avLst/>
                    <a:gdLst>
                      <a:gd name="connsiteX0" fmla="*/ 11304 w 11303"/>
                      <a:gd name="connsiteY0" fmla="*/ 4002 h 14409"/>
                      <a:gd name="connsiteX1" fmla="*/ 5652 w 11303"/>
                      <a:gd name="connsiteY1" fmla="*/ 737 h 14409"/>
                      <a:gd name="connsiteX2" fmla="*/ 0 w 11303"/>
                      <a:gd name="connsiteY2" fmla="*/ 10408 h 14409"/>
                      <a:gd name="connsiteX3" fmla="*/ 5652 w 11303"/>
                      <a:gd name="connsiteY3" fmla="*/ 13673 h 14409"/>
                      <a:gd name="connsiteX4" fmla="*/ 11304 w 11303"/>
                      <a:gd name="connsiteY4" fmla="*/ 4002 h 14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3" h="14409">
                        <a:moveTo>
                          <a:pt x="11304" y="4002"/>
                        </a:moveTo>
                        <a:cubicBezTo>
                          <a:pt x="11304" y="486"/>
                          <a:pt x="8792" y="-1022"/>
                          <a:pt x="5652" y="737"/>
                        </a:cubicBezTo>
                        <a:cubicBezTo>
                          <a:pt x="2512" y="2495"/>
                          <a:pt x="0" y="6891"/>
                          <a:pt x="0" y="10408"/>
                        </a:cubicBezTo>
                        <a:cubicBezTo>
                          <a:pt x="0" y="13924"/>
                          <a:pt x="2512" y="15431"/>
                          <a:pt x="5652" y="13673"/>
                        </a:cubicBezTo>
                        <a:cubicBezTo>
                          <a:pt x="8792" y="11915"/>
                          <a:pt x="11304" y="7519"/>
                          <a:pt x="11304" y="4002"/>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6" name="Freeform: Shape 2055">
                    <a:extLst>
                      <a:ext uri="{FF2B5EF4-FFF2-40B4-BE49-F238E27FC236}">
                        <a16:creationId xmlns:a16="http://schemas.microsoft.com/office/drawing/2014/main" id="{D47D50E8-3B2B-4B4B-82AE-DA2717791A3E}"/>
                      </a:ext>
                    </a:extLst>
                  </p:cNvPr>
                  <p:cNvSpPr/>
                  <p:nvPr/>
                </p:nvSpPr>
                <p:spPr>
                  <a:xfrm>
                    <a:off x="3412665" y="1952258"/>
                    <a:ext cx="9796" cy="12611"/>
                  </a:xfrm>
                  <a:custGeom>
                    <a:avLst/>
                    <a:gdLst>
                      <a:gd name="connsiteX0" fmla="*/ 9796 w 9796"/>
                      <a:gd name="connsiteY0" fmla="*/ 3480 h 12611"/>
                      <a:gd name="connsiteX1" fmla="*/ 4898 w 9796"/>
                      <a:gd name="connsiteY1" fmla="*/ 717 h 12611"/>
                      <a:gd name="connsiteX2" fmla="*/ 0 w 9796"/>
                      <a:gd name="connsiteY2" fmla="*/ 9132 h 12611"/>
                      <a:gd name="connsiteX3" fmla="*/ 4898 w 9796"/>
                      <a:gd name="connsiteY3" fmla="*/ 11895 h 12611"/>
                      <a:gd name="connsiteX4" fmla="*/ 9796 w 9796"/>
                      <a:gd name="connsiteY4" fmla="*/ 3480 h 12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6" h="12611">
                        <a:moveTo>
                          <a:pt x="9796" y="3480"/>
                        </a:moveTo>
                        <a:cubicBezTo>
                          <a:pt x="9796" y="340"/>
                          <a:pt x="7661" y="-916"/>
                          <a:pt x="4898" y="717"/>
                        </a:cubicBezTo>
                        <a:cubicBezTo>
                          <a:pt x="2261" y="2224"/>
                          <a:pt x="0" y="5992"/>
                          <a:pt x="0" y="9132"/>
                        </a:cubicBezTo>
                        <a:cubicBezTo>
                          <a:pt x="0" y="12271"/>
                          <a:pt x="2135" y="13527"/>
                          <a:pt x="4898" y="11895"/>
                        </a:cubicBezTo>
                        <a:cubicBezTo>
                          <a:pt x="7661" y="10387"/>
                          <a:pt x="9796" y="6620"/>
                          <a:pt x="9796" y="3480"/>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7" name="Freeform: Shape 2056">
                    <a:extLst>
                      <a:ext uri="{FF2B5EF4-FFF2-40B4-BE49-F238E27FC236}">
                        <a16:creationId xmlns:a16="http://schemas.microsoft.com/office/drawing/2014/main" id="{59AEC5D0-5EA4-4C97-854B-1398C62A73FA}"/>
                      </a:ext>
                    </a:extLst>
                  </p:cNvPr>
                  <p:cNvSpPr/>
                  <p:nvPr/>
                </p:nvSpPr>
                <p:spPr>
                  <a:xfrm>
                    <a:off x="3413544" y="1953261"/>
                    <a:ext cx="8289" cy="10730"/>
                  </a:xfrm>
                  <a:custGeom>
                    <a:avLst/>
                    <a:gdLst>
                      <a:gd name="connsiteX0" fmla="*/ 8289 w 8289"/>
                      <a:gd name="connsiteY0" fmla="*/ 2979 h 10730"/>
                      <a:gd name="connsiteX1" fmla="*/ 4145 w 8289"/>
                      <a:gd name="connsiteY1" fmla="*/ 593 h 10730"/>
                      <a:gd name="connsiteX2" fmla="*/ 0 w 8289"/>
                      <a:gd name="connsiteY2" fmla="*/ 7752 h 10730"/>
                      <a:gd name="connsiteX3" fmla="*/ 4145 w 8289"/>
                      <a:gd name="connsiteY3" fmla="*/ 10138 h 10730"/>
                      <a:gd name="connsiteX4" fmla="*/ 8289 w 8289"/>
                      <a:gd name="connsiteY4" fmla="*/ 2979 h 10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9" h="10730">
                        <a:moveTo>
                          <a:pt x="8289" y="2979"/>
                        </a:moveTo>
                        <a:cubicBezTo>
                          <a:pt x="8289" y="342"/>
                          <a:pt x="6405" y="-789"/>
                          <a:pt x="4145" y="593"/>
                        </a:cubicBezTo>
                        <a:cubicBezTo>
                          <a:pt x="1884" y="1974"/>
                          <a:pt x="0" y="5114"/>
                          <a:pt x="0" y="7752"/>
                        </a:cubicBezTo>
                        <a:cubicBezTo>
                          <a:pt x="0" y="10389"/>
                          <a:pt x="1884" y="11519"/>
                          <a:pt x="4145" y="10138"/>
                        </a:cubicBezTo>
                        <a:cubicBezTo>
                          <a:pt x="6405" y="8756"/>
                          <a:pt x="8289" y="5617"/>
                          <a:pt x="8289" y="2979"/>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8" name="Freeform: Shape 2057">
                    <a:extLst>
                      <a:ext uri="{FF2B5EF4-FFF2-40B4-BE49-F238E27FC236}">
                        <a16:creationId xmlns:a16="http://schemas.microsoft.com/office/drawing/2014/main" id="{A86A8244-2380-4D5C-B768-742F1AB00317}"/>
                      </a:ext>
                    </a:extLst>
                  </p:cNvPr>
                  <p:cNvSpPr/>
                  <p:nvPr/>
                </p:nvSpPr>
                <p:spPr>
                  <a:xfrm>
                    <a:off x="3414800" y="1954744"/>
                    <a:ext cx="5777" cy="7594"/>
                  </a:xfrm>
                  <a:custGeom>
                    <a:avLst/>
                    <a:gdLst>
                      <a:gd name="connsiteX0" fmla="*/ 5777 w 5777"/>
                      <a:gd name="connsiteY0" fmla="*/ 2124 h 7594"/>
                      <a:gd name="connsiteX1" fmla="*/ 2889 w 5777"/>
                      <a:gd name="connsiteY1" fmla="*/ 366 h 7594"/>
                      <a:gd name="connsiteX2" fmla="*/ 0 w 5777"/>
                      <a:gd name="connsiteY2" fmla="*/ 5515 h 7594"/>
                      <a:gd name="connsiteX3" fmla="*/ 2889 w 5777"/>
                      <a:gd name="connsiteY3" fmla="*/ 7148 h 7594"/>
                      <a:gd name="connsiteX4" fmla="*/ 5777 w 5777"/>
                      <a:gd name="connsiteY4" fmla="*/ 2124 h 7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7" h="7594">
                        <a:moveTo>
                          <a:pt x="5777" y="2124"/>
                        </a:moveTo>
                        <a:cubicBezTo>
                          <a:pt x="5777" y="240"/>
                          <a:pt x="4522" y="-514"/>
                          <a:pt x="2889" y="366"/>
                        </a:cubicBezTo>
                        <a:cubicBezTo>
                          <a:pt x="1256" y="1245"/>
                          <a:pt x="0" y="3631"/>
                          <a:pt x="0" y="5515"/>
                        </a:cubicBezTo>
                        <a:cubicBezTo>
                          <a:pt x="0" y="7399"/>
                          <a:pt x="1256" y="8152"/>
                          <a:pt x="2889" y="7148"/>
                        </a:cubicBezTo>
                        <a:cubicBezTo>
                          <a:pt x="4522" y="6268"/>
                          <a:pt x="5777" y="4008"/>
                          <a:pt x="5777" y="2124"/>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9" name="Freeform: Shape 2058">
                    <a:extLst>
                      <a:ext uri="{FF2B5EF4-FFF2-40B4-BE49-F238E27FC236}">
                        <a16:creationId xmlns:a16="http://schemas.microsoft.com/office/drawing/2014/main" id="{9E96D601-58C8-4709-9C5E-D7FD74740B3A}"/>
                      </a:ext>
                    </a:extLst>
                  </p:cNvPr>
                  <p:cNvSpPr/>
                  <p:nvPr/>
                </p:nvSpPr>
                <p:spPr>
                  <a:xfrm>
                    <a:off x="3416935" y="1960100"/>
                    <a:ext cx="1255" cy="1572"/>
                  </a:xfrm>
                  <a:custGeom>
                    <a:avLst/>
                    <a:gdLst>
                      <a:gd name="connsiteX0" fmla="*/ 1256 w 1255"/>
                      <a:gd name="connsiteY0" fmla="*/ 535 h 1572"/>
                      <a:gd name="connsiteX1" fmla="*/ 754 w 1255"/>
                      <a:gd name="connsiteY1" fmla="*/ 33 h 1572"/>
                      <a:gd name="connsiteX2" fmla="*/ 0 w 1255"/>
                      <a:gd name="connsiteY2" fmla="*/ 1037 h 1572"/>
                      <a:gd name="connsiteX3" fmla="*/ 502 w 1255"/>
                      <a:gd name="connsiteY3" fmla="*/ 1540 h 1572"/>
                      <a:gd name="connsiteX4" fmla="*/ 1256 w 1255"/>
                      <a:gd name="connsiteY4" fmla="*/ 535 h 1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 h="1572">
                        <a:moveTo>
                          <a:pt x="1256" y="535"/>
                        </a:moveTo>
                        <a:cubicBezTo>
                          <a:pt x="1256" y="158"/>
                          <a:pt x="1130" y="-93"/>
                          <a:pt x="754" y="33"/>
                        </a:cubicBezTo>
                        <a:cubicBezTo>
                          <a:pt x="377" y="158"/>
                          <a:pt x="125" y="661"/>
                          <a:pt x="0" y="1037"/>
                        </a:cubicBezTo>
                        <a:cubicBezTo>
                          <a:pt x="0" y="1414"/>
                          <a:pt x="125" y="1665"/>
                          <a:pt x="502" y="1540"/>
                        </a:cubicBezTo>
                        <a:cubicBezTo>
                          <a:pt x="879" y="1414"/>
                          <a:pt x="1130" y="912"/>
                          <a:pt x="1256" y="535"/>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0" name="Freeform: Shape 2059">
                    <a:extLst>
                      <a:ext uri="{FF2B5EF4-FFF2-40B4-BE49-F238E27FC236}">
                        <a16:creationId xmlns:a16="http://schemas.microsoft.com/office/drawing/2014/main" id="{33DC21E2-5E0D-4A4A-A5FA-E1332770B51A}"/>
                      </a:ext>
                    </a:extLst>
                  </p:cNvPr>
                  <p:cNvSpPr/>
                  <p:nvPr/>
                </p:nvSpPr>
                <p:spPr>
                  <a:xfrm>
                    <a:off x="3415051" y="1959456"/>
                    <a:ext cx="1256" cy="1567"/>
                  </a:xfrm>
                  <a:custGeom>
                    <a:avLst/>
                    <a:gdLst>
                      <a:gd name="connsiteX0" fmla="*/ 754 w 1256"/>
                      <a:gd name="connsiteY0" fmla="*/ 1431 h 1567"/>
                      <a:gd name="connsiteX1" fmla="*/ 1256 w 1256"/>
                      <a:gd name="connsiteY1" fmla="*/ 301 h 1567"/>
                      <a:gd name="connsiteX2" fmla="*/ 502 w 1256"/>
                      <a:gd name="connsiteY2" fmla="*/ 175 h 1567"/>
                      <a:gd name="connsiteX3" fmla="*/ 0 w 1256"/>
                      <a:gd name="connsiteY3" fmla="*/ 1305 h 1567"/>
                      <a:gd name="connsiteX4" fmla="*/ 754 w 1256"/>
                      <a:gd name="connsiteY4" fmla="*/ 1431 h 1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 h="1567">
                        <a:moveTo>
                          <a:pt x="754" y="1431"/>
                        </a:moveTo>
                        <a:cubicBezTo>
                          <a:pt x="1131" y="1180"/>
                          <a:pt x="1256" y="677"/>
                          <a:pt x="1256" y="301"/>
                        </a:cubicBezTo>
                        <a:cubicBezTo>
                          <a:pt x="1256" y="-76"/>
                          <a:pt x="879" y="-76"/>
                          <a:pt x="502" y="175"/>
                        </a:cubicBezTo>
                        <a:cubicBezTo>
                          <a:pt x="126" y="426"/>
                          <a:pt x="0" y="929"/>
                          <a:pt x="0" y="1305"/>
                        </a:cubicBezTo>
                        <a:cubicBezTo>
                          <a:pt x="126" y="1557"/>
                          <a:pt x="377" y="1682"/>
                          <a:pt x="754" y="1431"/>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1" name="Freeform: Shape 2060">
                    <a:extLst>
                      <a:ext uri="{FF2B5EF4-FFF2-40B4-BE49-F238E27FC236}">
                        <a16:creationId xmlns:a16="http://schemas.microsoft.com/office/drawing/2014/main" id="{CD733829-884F-4F62-8EBF-6F3F2C636E5E}"/>
                      </a:ext>
                    </a:extLst>
                  </p:cNvPr>
                  <p:cNvSpPr/>
                  <p:nvPr/>
                </p:nvSpPr>
                <p:spPr>
                  <a:xfrm>
                    <a:off x="3415926" y="1956480"/>
                    <a:ext cx="1310" cy="1529"/>
                  </a:xfrm>
                  <a:custGeom>
                    <a:avLst/>
                    <a:gdLst>
                      <a:gd name="connsiteX0" fmla="*/ 131 w 1310"/>
                      <a:gd name="connsiteY0" fmla="*/ 1393 h 1529"/>
                      <a:gd name="connsiteX1" fmla="*/ 1010 w 1310"/>
                      <a:gd name="connsiteY1" fmla="*/ 1267 h 1529"/>
                      <a:gd name="connsiteX2" fmla="*/ 1261 w 1310"/>
                      <a:gd name="connsiteY2" fmla="*/ 137 h 1529"/>
                      <a:gd name="connsiteX3" fmla="*/ 382 w 1310"/>
                      <a:gd name="connsiteY3" fmla="*/ 263 h 1529"/>
                      <a:gd name="connsiteX4" fmla="*/ 131 w 1310"/>
                      <a:gd name="connsiteY4" fmla="*/ 1393 h 1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 h="1529">
                        <a:moveTo>
                          <a:pt x="131" y="1393"/>
                        </a:moveTo>
                        <a:cubicBezTo>
                          <a:pt x="256" y="1644"/>
                          <a:pt x="633" y="1518"/>
                          <a:pt x="1010" y="1267"/>
                        </a:cubicBezTo>
                        <a:cubicBezTo>
                          <a:pt x="1261" y="891"/>
                          <a:pt x="1387" y="388"/>
                          <a:pt x="1261" y="137"/>
                        </a:cubicBezTo>
                        <a:cubicBezTo>
                          <a:pt x="1135" y="-114"/>
                          <a:pt x="758" y="11"/>
                          <a:pt x="382" y="263"/>
                        </a:cubicBezTo>
                        <a:cubicBezTo>
                          <a:pt x="5" y="639"/>
                          <a:pt x="-120" y="1142"/>
                          <a:pt x="131" y="1393"/>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2" name="Freeform: Shape 2061">
                    <a:extLst>
                      <a:ext uri="{FF2B5EF4-FFF2-40B4-BE49-F238E27FC236}">
                        <a16:creationId xmlns:a16="http://schemas.microsoft.com/office/drawing/2014/main" id="{D5C19B64-2500-4E24-A791-3BE4C67587EB}"/>
                      </a:ext>
                    </a:extLst>
                  </p:cNvPr>
                  <p:cNvSpPr/>
                  <p:nvPr/>
                </p:nvSpPr>
                <p:spPr>
                  <a:xfrm>
                    <a:off x="3418254" y="1955202"/>
                    <a:ext cx="1256" cy="1572"/>
                  </a:xfrm>
                  <a:custGeom>
                    <a:avLst/>
                    <a:gdLst>
                      <a:gd name="connsiteX0" fmla="*/ 189 w 1256"/>
                      <a:gd name="connsiteY0" fmla="*/ 535 h 1572"/>
                      <a:gd name="connsiteX1" fmla="*/ 189 w 1256"/>
                      <a:gd name="connsiteY1" fmla="*/ 1540 h 1572"/>
                      <a:gd name="connsiteX2" fmla="*/ 1068 w 1256"/>
                      <a:gd name="connsiteY2" fmla="*/ 1037 h 1572"/>
                      <a:gd name="connsiteX3" fmla="*/ 1068 w 1256"/>
                      <a:gd name="connsiteY3" fmla="*/ 33 h 1572"/>
                      <a:gd name="connsiteX4" fmla="*/ 189 w 1256"/>
                      <a:gd name="connsiteY4" fmla="*/ 535 h 1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 h="1572">
                        <a:moveTo>
                          <a:pt x="189" y="535"/>
                        </a:moveTo>
                        <a:cubicBezTo>
                          <a:pt x="-63" y="912"/>
                          <a:pt x="-63" y="1414"/>
                          <a:pt x="189" y="1540"/>
                        </a:cubicBezTo>
                        <a:cubicBezTo>
                          <a:pt x="440" y="1665"/>
                          <a:pt x="816" y="1414"/>
                          <a:pt x="1068" y="1037"/>
                        </a:cubicBezTo>
                        <a:cubicBezTo>
                          <a:pt x="1319" y="661"/>
                          <a:pt x="1319" y="158"/>
                          <a:pt x="1068" y="33"/>
                        </a:cubicBezTo>
                        <a:cubicBezTo>
                          <a:pt x="816" y="-93"/>
                          <a:pt x="440" y="158"/>
                          <a:pt x="189" y="535"/>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3" name="Freeform: Shape 2062">
                    <a:extLst>
                      <a:ext uri="{FF2B5EF4-FFF2-40B4-BE49-F238E27FC236}">
                        <a16:creationId xmlns:a16="http://schemas.microsoft.com/office/drawing/2014/main" id="{27B0722D-3A18-41D8-AFD1-779A3E077944}"/>
                      </a:ext>
                    </a:extLst>
                  </p:cNvPr>
                  <p:cNvSpPr/>
                  <p:nvPr/>
                </p:nvSpPr>
                <p:spPr>
                  <a:xfrm>
                    <a:off x="3418770" y="1957496"/>
                    <a:ext cx="1310" cy="1507"/>
                  </a:xfrm>
                  <a:custGeom>
                    <a:avLst/>
                    <a:gdLst>
                      <a:gd name="connsiteX0" fmla="*/ 929 w 1310"/>
                      <a:gd name="connsiteY0" fmla="*/ 0 h 1507"/>
                      <a:gd name="connsiteX1" fmla="*/ 49 w 1310"/>
                      <a:gd name="connsiteY1" fmla="*/ 754 h 1507"/>
                      <a:gd name="connsiteX2" fmla="*/ 300 w 1310"/>
                      <a:gd name="connsiteY2" fmla="*/ 1507 h 1507"/>
                      <a:gd name="connsiteX3" fmla="*/ 1180 w 1310"/>
                      <a:gd name="connsiteY3" fmla="*/ 754 h 1507"/>
                      <a:gd name="connsiteX4" fmla="*/ 929 w 1310"/>
                      <a:gd name="connsiteY4" fmla="*/ 0 h 1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 h="1507">
                        <a:moveTo>
                          <a:pt x="929" y="0"/>
                        </a:moveTo>
                        <a:cubicBezTo>
                          <a:pt x="677" y="0"/>
                          <a:pt x="300" y="377"/>
                          <a:pt x="49" y="754"/>
                        </a:cubicBezTo>
                        <a:cubicBezTo>
                          <a:pt x="-76" y="1256"/>
                          <a:pt x="49" y="1507"/>
                          <a:pt x="300" y="1507"/>
                        </a:cubicBezTo>
                        <a:cubicBezTo>
                          <a:pt x="552" y="1507"/>
                          <a:pt x="929" y="1130"/>
                          <a:pt x="1180" y="754"/>
                        </a:cubicBezTo>
                        <a:cubicBezTo>
                          <a:pt x="1431" y="377"/>
                          <a:pt x="1305" y="0"/>
                          <a:pt x="929" y="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064" name="Freeform: Shape 2063">
                <a:extLst>
                  <a:ext uri="{FF2B5EF4-FFF2-40B4-BE49-F238E27FC236}">
                    <a16:creationId xmlns:a16="http://schemas.microsoft.com/office/drawing/2014/main" id="{677184B1-3FFB-4F28-8AB4-745FC6D46D50}"/>
                  </a:ext>
                </a:extLst>
              </p:cNvPr>
              <p:cNvSpPr/>
              <p:nvPr/>
            </p:nvSpPr>
            <p:spPr>
              <a:xfrm>
                <a:off x="3318343" y="1904369"/>
                <a:ext cx="5777" cy="17080"/>
              </a:xfrm>
              <a:custGeom>
                <a:avLst/>
                <a:gdLst>
                  <a:gd name="connsiteX0" fmla="*/ 5777 w 5777"/>
                  <a:gd name="connsiteY0" fmla="*/ 13815 h 17080"/>
                  <a:gd name="connsiteX1" fmla="*/ 0 w 5777"/>
                  <a:gd name="connsiteY1" fmla="*/ 17081 h 17080"/>
                  <a:gd name="connsiteX2" fmla="*/ 0 w 5777"/>
                  <a:gd name="connsiteY2" fmla="*/ 3391 h 17080"/>
                  <a:gd name="connsiteX3" fmla="*/ 5777 w 5777"/>
                  <a:gd name="connsiteY3" fmla="*/ 0 h 17080"/>
                </a:gdLst>
                <a:ahLst/>
                <a:cxnLst>
                  <a:cxn ang="0">
                    <a:pos x="connsiteX0" y="connsiteY0"/>
                  </a:cxn>
                  <a:cxn ang="0">
                    <a:pos x="connsiteX1" y="connsiteY1"/>
                  </a:cxn>
                  <a:cxn ang="0">
                    <a:pos x="connsiteX2" y="connsiteY2"/>
                  </a:cxn>
                  <a:cxn ang="0">
                    <a:pos x="connsiteX3" y="connsiteY3"/>
                  </a:cxn>
                </a:cxnLst>
                <a:rect l="l" t="t" r="r" b="b"/>
                <a:pathLst>
                  <a:path w="5777" h="17080">
                    <a:moveTo>
                      <a:pt x="5777" y="13815"/>
                    </a:moveTo>
                    <a:lnTo>
                      <a:pt x="0" y="17081"/>
                    </a:lnTo>
                    <a:lnTo>
                      <a:pt x="0" y="3391"/>
                    </a:lnTo>
                    <a:lnTo>
                      <a:pt x="5777" y="0"/>
                    </a:lnTo>
                    <a:close/>
                  </a:path>
                </a:pathLst>
              </a:custGeom>
              <a:solidFill>
                <a:srgbClr val="FFA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5" name="Freeform: Shape 2064">
                <a:extLst>
                  <a:ext uri="{FF2B5EF4-FFF2-40B4-BE49-F238E27FC236}">
                    <a16:creationId xmlns:a16="http://schemas.microsoft.com/office/drawing/2014/main" id="{85C6EDC6-DAA2-4672-B7EC-0B11C4D1C99F}"/>
                  </a:ext>
                </a:extLst>
              </p:cNvPr>
              <p:cNvSpPr/>
              <p:nvPr/>
            </p:nvSpPr>
            <p:spPr>
              <a:xfrm>
                <a:off x="3320102" y="1851242"/>
                <a:ext cx="98089" cy="115440"/>
              </a:xfrm>
              <a:custGeom>
                <a:avLst/>
                <a:gdLst>
                  <a:gd name="connsiteX0" fmla="*/ 98090 w 98089"/>
                  <a:gd name="connsiteY0" fmla="*/ 38558 h 115440"/>
                  <a:gd name="connsiteX1" fmla="*/ 31399 w 98089"/>
                  <a:gd name="connsiteY1" fmla="*/ 0 h 115440"/>
                  <a:gd name="connsiteX2" fmla="*/ 5652 w 98089"/>
                  <a:gd name="connsiteY2" fmla="*/ 14820 h 115440"/>
                  <a:gd name="connsiteX3" fmla="*/ 5652 w 98089"/>
                  <a:gd name="connsiteY3" fmla="*/ 14820 h 115440"/>
                  <a:gd name="connsiteX4" fmla="*/ 3266 w 98089"/>
                  <a:gd name="connsiteY4" fmla="*/ 16202 h 115440"/>
                  <a:gd name="connsiteX5" fmla="*/ 0 w 98089"/>
                  <a:gd name="connsiteY5" fmla="*/ 21853 h 115440"/>
                  <a:gd name="connsiteX6" fmla="*/ 0 w 98089"/>
                  <a:gd name="connsiteY6" fmla="*/ 74729 h 115440"/>
                  <a:gd name="connsiteX7" fmla="*/ 67947 w 98089"/>
                  <a:gd name="connsiteY7" fmla="*/ 115422 h 115440"/>
                  <a:gd name="connsiteX8" fmla="*/ 85530 w 98089"/>
                  <a:gd name="connsiteY8" fmla="*/ 48228 h 115440"/>
                  <a:gd name="connsiteX9" fmla="*/ 91559 w 98089"/>
                  <a:gd name="connsiteY9" fmla="*/ 45465 h 115440"/>
                  <a:gd name="connsiteX10" fmla="*/ 98090 w 98089"/>
                  <a:gd name="connsiteY10" fmla="*/ 38558 h 1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089" h="115440">
                    <a:moveTo>
                      <a:pt x="98090" y="38558"/>
                    </a:moveTo>
                    <a:lnTo>
                      <a:pt x="31399" y="0"/>
                    </a:lnTo>
                    <a:lnTo>
                      <a:pt x="5652" y="14820"/>
                    </a:lnTo>
                    <a:lnTo>
                      <a:pt x="5652" y="14820"/>
                    </a:lnTo>
                    <a:lnTo>
                      <a:pt x="3266" y="16202"/>
                    </a:lnTo>
                    <a:cubicBezTo>
                      <a:pt x="1507" y="17206"/>
                      <a:pt x="0" y="19718"/>
                      <a:pt x="0" y="21853"/>
                    </a:cubicBezTo>
                    <a:lnTo>
                      <a:pt x="0" y="74729"/>
                    </a:lnTo>
                    <a:cubicBezTo>
                      <a:pt x="0" y="76738"/>
                      <a:pt x="66189" y="116426"/>
                      <a:pt x="67947" y="115422"/>
                    </a:cubicBezTo>
                    <a:lnTo>
                      <a:pt x="85530" y="48228"/>
                    </a:lnTo>
                    <a:lnTo>
                      <a:pt x="91559" y="45465"/>
                    </a:lnTo>
                    <a:lnTo>
                      <a:pt x="98090" y="38558"/>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6" name="Freeform: Shape 2065">
                <a:extLst>
                  <a:ext uri="{FF2B5EF4-FFF2-40B4-BE49-F238E27FC236}">
                    <a16:creationId xmlns:a16="http://schemas.microsoft.com/office/drawing/2014/main" id="{9038F7C3-9AAB-4242-84BB-18CC8FF5C16F}"/>
                  </a:ext>
                </a:extLst>
              </p:cNvPr>
              <p:cNvSpPr/>
              <p:nvPr/>
            </p:nvSpPr>
            <p:spPr>
              <a:xfrm>
                <a:off x="3386918" y="1889800"/>
                <a:ext cx="31272" cy="77052"/>
              </a:xfrm>
              <a:custGeom>
                <a:avLst/>
                <a:gdLst>
                  <a:gd name="connsiteX0" fmla="*/ 31273 w 31272"/>
                  <a:gd name="connsiteY0" fmla="*/ 0 h 77052"/>
                  <a:gd name="connsiteX1" fmla="*/ 31273 w 31272"/>
                  <a:gd name="connsiteY1" fmla="*/ 51871 h 77052"/>
                  <a:gd name="connsiteX2" fmla="*/ 31022 w 31272"/>
                  <a:gd name="connsiteY2" fmla="*/ 51996 h 77052"/>
                  <a:gd name="connsiteX3" fmla="*/ 28761 w 31272"/>
                  <a:gd name="connsiteY3" fmla="*/ 53127 h 77052"/>
                  <a:gd name="connsiteX4" fmla="*/ 15699 w 31272"/>
                  <a:gd name="connsiteY4" fmla="*/ 69454 h 77052"/>
                  <a:gd name="connsiteX5" fmla="*/ 3266 w 31272"/>
                  <a:gd name="connsiteY5" fmla="*/ 76613 h 77052"/>
                  <a:gd name="connsiteX6" fmla="*/ 0 w 31272"/>
                  <a:gd name="connsiteY6" fmla="*/ 74729 h 77052"/>
                  <a:gd name="connsiteX7" fmla="*/ 0 w 31272"/>
                  <a:gd name="connsiteY7" fmla="*/ 21853 h 77052"/>
                  <a:gd name="connsiteX8" fmla="*/ 3266 w 31272"/>
                  <a:gd name="connsiteY8" fmla="*/ 16202 h 77052"/>
                  <a:gd name="connsiteX9" fmla="*/ 31022 w 31272"/>
                  <a:gd name="connsiteY9" fmla="*/ 126 h 77052"/>
                  <a:gd name="connsiteX10" fmla="*/ 31273 w 31272"/>
                  <a:gd name="connsiteY10" fmla="*/ 0 h 7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272" h="77052">
                    <a:moveTo>
                      <a:pt x="31273" y="0"/>
                    </a:moveTo>
                    <a:lnTo>
                      <a:pt x="31273" y="51871"/>
                    </a:lnTo>
                    <a:cubicBezTo>
                      <a:pt x="31148" y="51871"/>
                      <a:pt x="31148" y="51871"/>
                      <a:pt x="31022" y="51996"/>
                    </a:cubicBezTo>
                    <a:cubicBezTo>
                      <a:pt x="30268" y="52247"/>
                      <a:pt x="29515" y="52624"/>
                      <a:pt x="28761" y="53127"/>
                    </a:cubicBezTo>
                    <a:cubicBezTo>
                      <a:pt x="23109" y="56392"/>
                      <a:pt x="18337" y="62672"/>
                      <a:pt x="15699" y="69454"/>
                    </a:cubicBezTo>
                    <a:lnTo>
                      <a:pt x="3266" y="76613"/>
                    </a:lnTo>
                    <a:cubicBezTo>
                      <a:pt x="1507" y="77618"/>
                      <a:pt x="0" y="76864"/>
                      <a:pt x="0" y="74729"/>
                    </a:cubicBezTo>
                    <a:lnTo>
                      <a:pt x="0" y="21853"/>
                    </a:lnTo>
                    <a:cubicBezTo>
                      <a:pt x="0" y="19718"/>
                      <a:pt x="1507" y="17332"/>
                      <a:pt x="3266" y="16202"/>
                    </a:cubicBezTo>
                    <a:lnTo>
                      <a:pt x="31022" y="126"/>
                    </a:lnTo>
                    <a:lnTo>
                      <a:pt x="31273" y="0"/>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7" name="Freeform: Shape 2066">
                <a:extLst>
                  <a:ext uri="{FF2B5EF4-FFF2-40B4-BE49-F238E27FC236}">
                    <a16:creationId xmlns:a16="http://schemas.microsoft.com/office/drawing/2014/main" id="{C1D395D7-2F80-4679-B4C9-CD1A49ECC1AF}"/>
                  </a:ext>
                </a:extLst>
              </p:cNvPr>
              <p:cNvSpPr/>
              <p:nvPr/>
            </p:nvSpPr>
            <p:spPr>
              <a:xfrm>
                <a:off x="3320102" y="1830896"/>
                <a:ext cx="98089" cy="115440"/>
              </a:xfrm>
              <a:custGeom>
                <a:avLst/>
                <a:gdLst>
                  <a:gd name="connsiteX0" fmla="*/ 98090 w 98089"/>
                  <a:gd name="connsiteY0" fmla="*/ 38558 h 115440"/>
                  <a:gd name="connsiteX1" fmla="*/ 31399 w 98089"/>
                  <a:gd name="connsiteY1" fmla="*/ 0 h 115440"/>
                  <a:gd name="connsiteX2" fmla="*/ 5652 w 98089"/>
                  <a:gd name="connsiteY2" fmla="*/ 14820 h 115440"/>
                  <a:gd name="connsiteX3" fmla="*/ 5652 w 98089"/>
                  <a:gd name="connsiteY3" fmla="*/ 14820 h 115440"/>
                  <a:gd name="connsiteX4" fmla="*/ 3266 w 98089"/>
                  <a:gd name="connsiteY4" fmla="*/ 16202 h 115440"/>
                  <a:gd name="connsiteX5" fmla="*/ 0 w 98089"/>
                  <a:gd name="connsiteY5" fmla="*/ 21854 h 115440"/>
                  <a:gd name="connsiteX6" fmla="*/ 0 w 98089"/>
                  <a:gd name="connsiteY6" fmla="*/ 74729 h 115440"/>
                  <a:gd name="connsiteX7" fmla="*/ 67947 w 98089"/>
                  <a:gd name="connsiteY7" fmla="*/ 115422 h 115440"/>
                  <a:gd name="connsiteX8" fmla="*/ 85530 w 98089"/>
                  <a:gd name="connsiteY8" fmla="*/ 48228 h 115440"/>
                  <a:gd name="connsiteX9" fmla="*/ 91559 w 98089"/>
                  <a:gd name="connsiteY9" fmla="*/ 45465 h 115440"/>
                  <a:gd name="connsiteX10" fmla="*/ 98090 w 98089"/>
                  <a:gd name="connsiteY10" fmla="*/ 38558 h 1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089" h="115440">
                    <a:moveTo>
                      <a:pt x="98090" y="38558"/>
                    </a:moveTo>
                    <a:lnTo>
                      <a:pt x="31399" y="0"/>
                    </a:lnTo>
                    <a:lnTo>
                      <a:pt x="5652" y="14820"/>
                    </a:lnTo>
                    <a:lnTo>
                      <a:pt x="5652" y="14820"/>
                    </a:lnTo>
                    <a:lnTo>
                      <a:pt x="3266" y="16202"/>
                    </a:lnTo>
                    <a:cubicBezTo>
                      <a:pt x="1507" y="17207"/>
                      <a:pt x="0" y="19718"/>
                      <a:pt x="0" y="21854"/>
                    </a:cubicBezTo>
                    <a:lnTo>
                      <a:pt x="0" y="74729"/>
                    </a:lnTo>
                    <a:cubicBezTo>
                      <a:pt x="0" y="76738"/>
                      <a:pt x="66189" y="116426"/>
                      <a:pt x="67947" y="115422"/>
                    </a:cubicBezTo>
                    <a:lnTo>
                      <a:pt x="85530" y="48228"/>
                    </a:lnTo>
                    <a:lnTo>
                      <a:pt x="91559" y="45465"/>
                    </a:lnTo>
                    <a:lnTo>
                      <a:pt x="98090" y="38558"/>
                    </a:ln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8" name="Freeform: Shape 2067">
                <a:extLst>
                  <a:ext uri="{FF2B5EF4-FFF2-40B4-BE49-F238E27FC236}">
                    <a16:creationId xmlns:a16="http://schemas.microsoft.com/office/drawing/2014/main" id="{5C7F3537-CCDE-45BE-BA19-30280F5AA0FF}"/>
                  </a:ext>
                </a:extLst>
              </p:cNvPr>
              <p:cNvSpPr/>
              <p:nvPr/>
            </p:nvSpPr>
            <p:spPr>
              <a:xfrm>
                <a:off x="3386918" y="1869454"/>
                <a:ext cx="31272" cy="77030"/>
              </a:xfrm>
              <a:custGeom>
                <a:avLst/>
                <a:gdLst>
                  <a:gd name="connsiteX0" fmla="*/ 31273 w 31272"/>
                  <a:gd name="connsiteY0" fmla="*/ 0 h 77030"/>
                  <a:gd name="connsiteX1" fmla="*/ 3266 w 31272"/>
                  <a:gd name="connsiteY1" fmla="*/ 16202 h 77030"/>
                  <a:gd name="connsiteX2" fmla="*/ 0 w 31272"/>
                  <a:gd name="connsiteY2" fmla="*/ 21853 h 77030"/>
                  <a:gd name="connsiteX3" fmla="*/ 0 w 31272"/>
                  <a:gd name="connsiteY3" fmla="*/ 74729 h 77030"/>
                  <a:gd name="connsiteX4" fmla="*/ 3266 w 31272"/>
                  <a:gd name="connsiteY4" fmla="*/ 76613 h 77030"/>
                  <a:gd name="connsiteX5" fmla="*/ 31273 w 31272"/>
                  <a:gd name="connsiteY5" fmla="*/ 60411 h 77030"/>
                  <a:gd name="connsiteX6" fmla="*/ 31273 w 31272"/>
                  <a:gd name="connsiteY6" fmla="*/ 0 h 77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72" h="77030">
                    <a:moveTo>
                      <a:pt x="31273" y="0"/>
                    </a:moveTo>
                    <a:lnTo>
                      <a:pt x="3266" y="16202"/>
                    </a:lnTo>
                    <a:cubicBezTo>
                      <a:pt x="1507" y="17206"/>
                      <a:pt x="0" y="19718"/>
                      <a:pt x="0" y="21853"/>
                    </a:cubicBezTo>
                    <a:lnTo>
                      <a:pt x="0" y="74729"/>
                    </a:lnTo>
                    <a:cubicBezTo>
                      <a:pt x="0" y="76738"/>
                      <a:pt x="1507" y="77618"/>
                      <a:pt x="3266" y="76613"/>
                    </a:cubicBezTo>
                    <a:lnTo>
                      <a:pt x="31273" y="60411"/>
                    </a:lnTo>
                    <a:lnTo>
                      <a:pt x="31273" y="0"/>
                    </a:ln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69" name="Graphic 4">
                <a:extLst>
                  <a:ext uri="{FF2B5EF4-FFF2-40B4-BE49-F238E27FC236}">
                    <a16:creationId xmlns:a16="http://schemas.microsoft.com/office/drawing/2014/main" id="{84FB7ED1-A2DF-40A1-A747-5F7CF3F14040}"/>
                  </a:ext>
                </a:extLst>
              </p:cNvPr>
              <p:cNvGrpSpPr/>
              <p:nvPr/>
            </p:nvGrpSpPr>
            <p:grpSpPr>
              <a:xfrm>
                <a:off x="3394956" y="1881134"/>
                <a:ext cx="18587" cy="38432"/>
                <a:chOff x="3394956" y="1881134"/>
                <a:chExt cx="18587" cy="38432"/>
              </a:xfrm>
              <a:solidFill>
                <a:schemeClr val="accent1"/>
              </a:solidFill>
            </p:grpSpPr>
            <p:sp>
              <p:nvSpPr>
                <p:cNvPr id="2070" name="Freeform: Shape 2069">
                  <a:extLst>
                    <a:ext uri="{FF2B5EF4-FFF2-40B4-BE49-F238E27FC236}">
                      <a16:creationId xmlns:a16="http://schemas.microsoft.com/office/drawing/2014/main" id="{F1F79330-7F20-4717-806B-85BB0FAC1256}"/>
                    </a:ext>
                  </a:extLst>
                </p:cNvPr>
                <p:cNvSpPr/>
                <p:nvPr/>
              </p:nvSpPr>
              <p:spPr>
                <a:xfrm>
                  <a:off x="3394956" y="1881134"/>
                  <a:ext cx="18587" cy="38432"/>
                </a:xfrm>
                <a:custGeom>
                  <a:avLst/>
                  <a:gdLst>
                    <a:gd name="connsiteX0" fmla="*/ 2135 w 18587"/>
                    <a:gd name="connsiteY0" fmla="*/ 38432 h 38432"/>
                    <a:gd name="connsiteX1" fmla="*/ 0 w 18587"/>
                    <a:gd name="connsiteY1" fmla="*/ 35795 h 38432"/>
                    <a:gd name="connsiteX2" fmla="*/ 0 w 18587"/>
                    <a:gd name="connsiteY2" fmla="*/ 13062 h 38432"/>
                    <a:gd name="connsiteX3" fmla="*/ 3391 w 18587"/>
                    <a:gd name="connsiteY3" fmla="*/ 7159 h 38432"/>
                    <a:gd name="connsiteX4" fmla="*/ 14820 w 18587"/>
                    <a:gd name="connsiteY4" fmla="*/ 502 h 38432"/>
                    <a:gd name="connsiteX5" fmla="*/ 16453 w 18587"/>
                    <a:gd name="connsiteY5" fmla="*/ 0 h 38432"/>
                    <a:gd name="connsiteX6" fmla="*/ 18588 w 18587"/>
                    <a:gd name="connsiteY6" fmla="*/ 2638 h 38432"/>
                    <a:gd name="connsiteX7" fmla="*/ 18588 w 18587"/>
                    <a:gd name="connsiteY7" fmla="*/ 25370 h 38432"/>
                    <a:gd name="connsiteX8" fmla="*/ 15197 w 18587"/>
                    <a:gd name="connsiteY8" fmla="*/ 31273 h 38432"/>
                    <a:gd name="connsiteX9" fmla="*/ 3768 w 18587"/>
                    <a:gd name="connsiteY9" fmla="*/ 37930 h 38432"/>
                    <a:gd name="connsiteX10" fmla="*/ 2135 w 18587"/>
                    <a:gd name="connsiteY10" fmla="*/ 38432 h 3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87" h="38432">
                      <a:moveTo>
                        <a:pt x="2135" y="38432"/>
                      </a:moveTo>
                      <a:cubicBezTo>
                        <a:pt x="754" y="38432"/>
                        <a:pt x="0" y="37427"/>
                        <a:pt x="0" y="35795"/>
                      </a:cubicBezTo>
                      <a:lnTo>
                        <a:pt x="0" y="13062"/>
                      </a:lnTo>
                      <a:cubicBezTo>
                        <a:pt x="0" y="10927"/>
                        <a:pt x="1507" y="8164"/>
                        <a:pt x="3391" y="7159"/>
                      </a:cubicBezTo>
                      <a:lnTo>
                        <a:pt x="14820" y="502"/>
                      </a:lnTo>
                      <a:cubicBezTo>
                        <a:pt x="15323" y="126"/>
                        <a:pt x="15950" y="0"/>
                        <a:pt x="16453" y="0"/>
                      </a:cubicBezTo>
                      <a:cubicBezTo>
                        <a:pt x="17709" y="0"/>
                        <a:pt x="18588" y="1005"/>
                        <a:pt x="18588" y="2638"/>
                      </a:cubicBezTo>
                      <a:lnTo>
                        <a:pt x="18588" y="25370"/>
                      </a:lnTo>
                      <a:cubicBezTo>
                        <a:pt x="18588" y="27505"/>
                        <a:pt x="17081" y="30268"/>
                        <a:pt x="15197" y="31273"/>
                      </a:cubicBezTo>
                      <a:lnTo>
                        <a:pt x="3768" y="37930"/>
                      </a:lnTo>
                      <a:cubicBezTo>
                        <a:pt x="3265" y="38306"/>
                        <a:pt x="2637" y="38432"/>
                        <a:pt x="2135" y="38432"/>
                      </a:cubicBezTo>
                      <a:close/>
                    </a:path>
                  </a:pathLst>
                </a:custGeom>
                <a:solidFill>
                  <a:srgbClr val="E9E9E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1" name="Freeform: Shape 2070">
                  <a:extLst>
                    <a:ext uri="{FF2B5EF4-FFF2-40B4-BE49-F238E27FC236}">
                      <a16:creationId xmlns:a16="http://schemas.microsoft.com/office/drawing/2014/main" id="{9904417A-0D96-4E94-AC14-E5AB8DBE7EC6}"/>
                    </a:ext>
                  </a:extLst>
                </p:cNvPr>
                <p:cNvSpPr/>
                <p:nvPr/>
              </p:nvSpPr>
              <p:spPr>
                <a:xfrm>
                  <a:off x="3395207" y="1881588"/>
                  <a:ext cx="17959" cy="37789"/>
                </a:xfrm>
                <a:custGeom>
                  <a:avLst/>
                  <a:gdLst>
                    <a:gd name="connsiteX0" fmla="*/ 17960 w 17959"/>
                    <a:gd name="connsiteY0" fmla="*/ 2309 h 37789"/>
                    <a:gd name="connsiteX1" fmla="*/ 17960 w 17959"/>
                    <a:gd name="connsiteY1" fmla="*/ 25042 h 37789"/>
                    <a:gd name="connsiteX2" fmla="*/ 14695 w 17959"/>
                    <a:gd name="connsiteY2" fmla="*/ 30694 h 37789"/>
                    <a:gd name="connsiteX3" fmla="*/ 3893 w 17959"/>
                    <a:gd name="connsiteY3" fmla="*/ 36973 h 37789"/>
                    <a:gd name="connsiteX4" fmla="*/ 3266 w 17959"/>
                    <a:gd name="connsiteY4" fmla="*/ 37350 h 37789"/>
                    <a:gd name="connsiteX5" fmla="*/ 0 w 17959"/>
                    <a:gd name="connsiteY5" fmla="*/ 35466 h 37789"/>
                    <a:gd name="connsiteX6" fmla="*/ 0 w 17959"/>
                    <a:gd name="connsiteY6" fmla="*/ 12733 h 37789"/>
                    <a:gd name="connsiteX7" fmla="*/ 3266 w 17959"/>
                    <a:gd name="connsiteY7" fmla="*/ 7082 h 37789"/>
                    <a:gd name="connsiteX8" fmla="*/ 14695 w 17959"/>
                    <a:gd name="connsiteY8" fmla="*/ 425 h 37789"/>
                    <a:gd name="connsiteX9" fmla="*/ 17332 w 17959"/>
                    <a:gd name="connsiteY9" fmla="*/ 425 h 37789"/>
                    <a:gd name="connsiteX10" fmla="*/ 17960 w 17959"/>
                    <a:gd name="connsiteY10" fmla="*/ 2309 h 37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959" h="37789">
                      <a:moveTo>
                        <a:pt x="17960" y="2309"/>
                      </a:moveTo>
                      <a:lnTo>
                        <a:pt x="17960" y="25042"/>
                      </a:lnTo>
                      <a:cubicBezTo>
                        <a:pt x="17960" y="27051"/>
                        <a:pt x="16453" y="29563"/>
                        <a:pt x="14695" y="30694"/>
                      </a:cubicBezTo>
                      <a:lnTo>
                        <a:pt x="3893" y="36973"/>
                      </a:lnTo>
                      <a:lnTo>
                        <a:pt x="3266" y="37350"/>
                      </a:lnTo>
                      <a:cubicBezTo>
                        <a:pt x="1507" y="38355"/>
                        <a:pt x="0" y="37601"/>
                        <a:pt x="0" y="35466"/>
                      </a:cubicBezTo>
                      <a:lnTo>
                        <a:pt x="0" y="12733"/>
                      </a:lnTo>
                      <a:cubicBezTo>
                        <a:pt x="0" y="10724"/>
                        <a:pt x="1507" y="8212"/>
                        <a:pt x="3266" y="7082"/>
                      </a:cubicBezTo>
                      <a:lnTo>
                        <a:pt x="14695" y="425"/>
                      </a:lnTo>
                      <a:cubicBezTo>
                        <a:pt x="15825" y="-203"/>
                        <a:pt x="16704" y="-77"/>
                        <a:pt x="17332" y="425"/>
                      </a:cubicBezTo>
                      <a:cubicBezTo>
                        <a:pt x="17835" y="928"/>
                        <a:pt x="17960" y="1556"/>
                        <a:pt x="17960" y="2309"/>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72" name="Freeform: Shape 2071">
                <a:extLst>
                  <a:ext uri="{FF2B5EF4-FFF2-40B4-BE49-F238E27FC236}">
                    <a16:creationId xmlns:a16="http://schemas.microsoft.com/office/drawing/2014/main" id="{7DFFFCB6-7556-4434-A205-778826E4EBBA}"/>
                  </a:ext>
                </a:extLst>
              </p:cNvPr>
              <p:cNvSpPr/>
              <p:nvPr/>
            </p:nvSpPr>
            <p:spPr>
              <a:xfrm>
                <a:off x="3322237" y="1856392"/>
                <a:ext cx="61541" cy="67193"/>
              </a:xfrm>
              <a:custGeom>
                <a:avLst/>
                <a:gdLst>
                  <a:gd name="connsiteX0" fmla="*/ 59532 w 61541"/>
                  <a:gd name="connsiteY0" fmla="*/ 67193 h 67193"/>
                  <a:gd name="connsiteX1" fmla="*/ 58025 w 61541"/>
                  <a:gd name="connsiteY1" fmla="*/ 66691 h 67193"/>
                  <a:gd name="connsiteX2" fmla="*/ 3140 w 61541"/>
                  <a:gd name="connsiteY2" fmla="*/ 35041 h 67193"/>
                  <a:gd name="connsiteX3" fmla="*/ 0 w 61541"/>
                  <a:gd name="connsiteY3" fmla="*/ 29640 h 67193"/>
                  <a:gd name="connsiteX4" fmla="*/ 0 w 61541"/>
                  <a:gd name="connsiteY4" fmla="*/ 2386 h 67193"/>
                  <a:gd name="connsiteX5" fmla="*/ 2010 w 61541"/>
                  <a:gd name="connsiteY5" fmla="*/ 0 h 67193"/>
                  <a:gd name="connsiteX6" fmla="*/ 3517 w 61541"/>
                  <a:gd name="connsiteY6" fmla="*/ 502 h 67193"/>
                  <a:gd name="connsiteX7" fmla="*/ 58402 w 61541"/>
                  <a:gd name="connsiteY7" fmla="*/ 32278 h 67193"/>
                  <a:gd name="connsiteX8" fmla="*/ 61541 w 61541"/>
                  <a:gd name="connsiteY8" fmla="*/ 37678 h 67193"/>
                  <a:gd name="connsiteX9" fmla="*/ 61541 w 61541"/>
                  <a:gd name="connsiteY9" fmla="*/ 64932 h 67193"/>
                  <a:gd name="connsiteX10" fmla="*/ 59532 w 61541"/>
                  <a:gd name="connsiteY10" fmla="*/ 67193 h 6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541" h="67193">
                    <a:moveTo>
                      <a:pt x="59532" y="67193"/>
                    </a:moveTo>
                    <a:cubicBezTo>
                      <a:pt x="59030" y="67193"/>
                      <a:pt x="58527" y="67068"/>
                      <a:pt x="58025" y="66691"/>
                    </a:cubicBezTo>
                    <a:lnTo>
                      <a:pt x="3140" y="35041"/>
                    </a:lnTo>
                    <a:cubicBezTo>
                      <a:pt x="1381" y="34036"/>
                      <a:pt x="0" y="31650"/>
                      <a:pt x="0" y="29640"/>
                    </a:cubicBezTo>
                    <a:lnTo>
                      <a:pt x="0" y="2386"/>
                    </a:lnTo>
                    <a:cubicBezTo>
                      <a:pt x="0" y="879"/>
                      <a:pt x="754" y="0"/>
                      <a:pt x="2010" y="0"/>
                    </a:cubicBezTo>
                    <a:cubicBezTo>
                      <a:pt x="2512" y="0"/>
                      <a:pt x="3014" y="126"/>
                      <a:pt x="3517" y="502"/>
                    </a:cubicBezTo>
                    <a:lnTo>
                      <a:pt x="58402" y="32278"/>
                    </a:lnTo>
                    <a:cubicBezTo>
                      <a:pt x="60160" y="33283"/>
                      <a:pt x="61541" y="35669"/>
                      <a:pt x="61541" y="37678"/>
                    </a:cubicBezTo>
                    <a:lnTo>
                      <a:pt x="61541" y="64932"/>
                    </a:lnTo>
                    <a:cubicBezTo>
                      <a:pt x="61541" y="66188"/>
                      <a:pt x="60788" y="67193"/>
                      <a:pt x="59532" y="67193"/>
                    </a:cubicBezTo>
                    <a:close/>
                  </a:path>
                </a:pathLst>
              </a:custGeom>
              <a:solidFill>
                <a:srgbClr val="E9E9E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3" name="Freeform: Shape 2072">
                <a:extLst>
                  <a:ext uri="{FF2B5EF4-FFF2-40B4-BE49-F238E27FC236}">
                    <a16:creationId xmlns:a16="http://schemas.microsoft.com/office/drawing/2014/main" id="{0EA862B5-9C8C-4ED3-B1F2-A5A671F02783}"/>
                  </a:ext>
                </a:extLst>
              </p:cNvPr>
              <p:cNvSpPr/>
              <p:nvPr/>
            </p:nvSpPr>
            <p:spPr>
              <a:xfrm>
                <a:off x="3322739" y="1856699"/>
                <a:ext cx="60662" cy="66579"/>
              </a:xfrm>
              <a:custGeom>
                <a:avLst/>
                <a:gdLst>
                  <a:gd name="connsiteX0" fmla="*/ 60662 w 60662"/>
                  <a:gd name="connsiteY0" fmla="*/ 37246 h 66579"/>
                  <a:gd name="connsiteX1" fmla="*/ 60662 w 60662"/>
                  <a:gd name="connsiteY1" fmla="*/ 64500 h 66579"/>
                  <a:gd name="connsiteX2" fmla="*/ 57773 w 60662"/>
                  <a:gd name="connsiteY2" fmla="*/ 66133 h 66579"/>
                  <a:gd name="connsiteX3" fmla="*/ 24616 w 60662"/>
                  <a:gd name="connsiteY3" fmla="*/ 47042 h 66579"/>
                  <a:gd name="connsiteX4" fmla="*/ 19216 w 60662"/>
                  <a:gd name="connsiteY4" fmla="*/ 43902 h 66579"/>
                  <a:gd name="connsiteX5" fmla="*/ 16327 w 60662"/>
                  <a:gd name="connsiteY5" fmla="*/ 42270 h 66579"/>
                  <a:gd name="connsiteX6" fmla="*/ 2888 w 60662"/>
                  <a:gd name="connsiteY6" fmla="*/ 34483 h 66579"/>
                  <a:gd name="connsiteX7" fmla="*/ 1632 w 60662"/>
                  <a:gd name="connsiteY7" fmla="*/ 33352 h 66579"/>
                  <a:gd name="connsiteX8" fmla="*/ 0 w 60662"/>
                  <a:gd name="connsiteY8" fmla="*/ 29333 h 66579"/>
                  <a:gd name="connsiteX9" fmla="*/ 0 w 60662"/>
                  <a:gd name="connsiteY9" fmla="*/ 2079 h 66579"/>
                  <a:gd name="connsiteX10" fmla="*/ 2888 w 60662"/>
                  <a:gd name="connsiteY10" fmla="*/ 446 h 66579"/>
                  <a:gd name="connsiteX11" fmla="*/ 22858 w 60662"/>
                  <a:gd name="connsiteY11" fmla="*/ 12001 h 66579"/>
                  <a:gd name="connsiteX12" fmla="*/ 37804 w 60662"/>
                  <a:gd name="connsiteY12" fmla="*/ 20667 h 66579"/>
                  <a:gd name="connsiteX13" fmla="*/ 40693 w 60662"/>
                  <a:gd name="connsiteY13" fmla="*/ 22426 h 66579"/>
                  <a:gd name="connsiteX14" fmla="*/ 46093 w 60662"/>
                  <a:gd name="connsiteY14" fmla="*/ 25565 h 66579"/>
                  <a:gd name="connsiteX15" fmla="*/ 57773 w 60662"/>
                  <a:gd name="connsiteY15" fmla="*/ 32222 h 66579"/>
                  <a:gd name="connsiteX16" fmla="*/ 60662 w 60662"/>
                  <a:gd name="connsiteY16" fmla="*/ 37246 h 6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662" h="66579">
                    <a:moveTo>
                      <a:pt x="60662" y="37246"/>
                    </a:moveTo>
                    <a:lnTo>
                      <a:pt x="60662" y="64500"/>
                    </a:lnTo>
                    <a:cubicBezTo>
                      <a:pt x="60662" y="66384"/>
                      <a:pt x="59406" y="67137"/>
                      <a:pt x="57773" y="66133"/>
                    </a:cubicBezTo>
                    <a:lnTo>
                      <a:pt x="24616" y="47042"/>
                    </a:lnTo>
                    <a:lnTo>
                      <a:pt x="19216" y="43902"/>
                    </a:lnTo>
                    <a:lnTo>
                      <a:pt x="16327" y="42270"/>
                    </a:lnTo>
                    <a:lnTo>
                      <a:pt x="2888" y="34483"/>
                    </a:lnTo>
                    <a:cubicBezTo>
                      <a:pt x="2386" y="34232"/>
                      <a:pt x="2010" y="33855"/>
                      <a:pt x="1632" y="33352"/>
                    </a:cubicBezTo>
                    <a:cubicBezTo>
                      <a:pt x="628" y="32222"/>
                      <a:pt x="0" y="30715"/>
                      <a:pt x="0" y="29333"/>
                    </a:cubicBezTo>
                    <a:lnTo>
                      <a:pt x="0" y="2079"/>
                    </a:lnTo>
                    <a:cubicBezTo>
                      <a:pt x="0" y="195"/>
                      <a:pt x="1256" y="-558"/>
                      <a:pt x="2888" y="446"/>
                    </a:cubicBezTo>
                    <a:lnTo>
                      <a:pt x="22858" y="12001"/>
                    </a:lnTo>
                    <a:lnTo>
                      <a:pt x="37804" y="20667"/>
                    </a:lnTo>
                    <a:lnTo>
                      <a:pt x="40693" y="22426"/>
                    </a:lnTo>
                    <a:lnTo>
                      <a:pt x="46093" y="25565"/>
                    </a:lnTo>
                    <a:lnTo>
                      <a:pt x="57773" y="32222"/>
                    </a:lnTo>
                    <a:cubicBezTo>
                      <a:pt x="59406" y="33101"/>
                      <a:pt x="60662" y="35362"/>
                      <a:pt x="60662" y="37246"/>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74" name="Graphic 4">
                <a:extLst>
                  <a:ext uri="{FF2B5EF4-FFF2-40B4-BE49-F238E27FC236}">
                    <a16:creationId xmlns:a16="http://schemas.microsoft.com/office/drawing/2014/main" id="{84FB7ED1-A2DF-40A1-A747-5F7CF3F14040}"/>
                  </a:ext>
                </a:extLst>
              </p:cNvPr>
              <p:cNvGrpSpPr/>
              <p:nvPr/>
            </p:nvGrpSpPr>
            <p:grpSpPr>
              <a:xfrm>
                <a:off x="3330275" y="1918353"/>
                <a:ext cx="42576" cy="34621"/>
                <a:chOff x="3330275" y="1918353"/>
                <a:chExt cx="42576" cy="34621"/>
              </a:xfrm>
              <a:solidFill>
                <a:srgbClr val="3A3A3A"/>
              </a:solidFill>
            </p:grpSpPr>
            <p:sp>
              <p:nvSpPr>
                <p:cNvPr id="2075" name="Freeform: Shape 2074">
                  <a:extLst>
                    <a:ext uri="{FF2B5EF4-FFF2-40B4-BE49-F238E27FC236}">
                      <a16:creationId xmlns:a16="http://schemas.microsoft.com/office/drawing/2014/main" id="{7B5617BB-0668-4EF2-A7A8-ED99C66C3865}"/>
                    </a:ext>
                  </a:extLst>
                </p:cNvPr>
                <p:cNvSpPr/>
                <p:nvPr/>
              </p:nvSpPr>
              <p:spPr>
                <a:xfrm>
                  <a:off x="3330275" y="1918353"/>
                  <a:ext cx="42576" cy="24950"/>
                </a:xfrm>
                <a:custGeom>
                  <a:avLst/>
                  <a:gdLst>
                    <a:gd name="connsiteX0" fmla="*/ 42200 w 42576"/>
                    <a:gd name="connsiteY0" fmla="*/ 24950 h 24950"/>
                    <a:gd name="connsiteX1" fmla="*/ 377 w 42576"/>
                    <a:gd name="connsiteY1" fmla="*/ 710 h 24950"/>
                    <a:gd name="connsiteX2" fmla="*/ 0 w 42576"/>
                    <a:gd name="connsiteY2" fmla="*/ 208 h 24950"/>
                    <a:gd name="connsiteX3" fmla="*/ 377 w 42576"/>
                    <a:gd name="connsiteY3" fmla="*/ 82 h 24950"/>
                    <a:gd name="connsiteX4" fmla="*/ 42200 w 42576"/>
                    <a:gd name="connsiteY4" fmla="*/ 24322 h 24950"/>
                    <a:gd name="connsiteX5" fmla="*/ 42577 w 42576"/>
                    <a:gd name="connsiteY5" fmla="*/ 24825 h 24950"/>
                    <a:gd name="connsiteX6" fmla="*/ 42200 w 42576"/>
                    <a:gd name="connsiteY6" fmla="*/ 24950 h 2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50">
                      <a:moveTo>
                        <a:pt x="42200" y="24950"/>
                      </a:moveTo>
                      <a:lnTo>
                        <a:pt x="377" y="710"/>
                      </a:lnTo>
                      <a:cubicBezTo>
                        <a:pt x="251" y="585"/>
                        <a:pt x="0" y="334"/>
                        <a:pt x="0" y="208"/>
                      </a:cubicBezTo>
                      <a:cubicBezTo>
                        <a:pt x="0" y="-43"/>
                        <a:pt x="126" y="-43"/>
                        <a:pt x="377" y="82"/>
                      </a:cubicBezTo>
                      <a:lnTo>
                        <a:pt x="42200" y="24322"/>
                      </a:lnTo>
                      <a:cubicBezTo>
                        <a:pt x="42326" y="24448"/>
                        <a:pt x="42577" y="24699"/>
                        <a:pt x="42577" y="24825"/>
                      </a:cubicBezTo>
                      <a:cubicBezTo>
                        <a:pt x="42577" y="24950"/>
                        <a:pt x="42326" y="24950"/>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6" name="Freeform: Shape 2075">
                  <a:extLst>
                    <a:ext uri="{FF2B5EF4-FFF2-40B4-BE49-F238E27FC236}">
                      <a16:creationId xmlns:a16="http://schemas.microsoft.com/office/drawing/2014/main" id="{1BEE7BCF-2851-40E1-A409-95062A06DF64}"/>
                    </a:ext>
                  </a:extLst>
                </p:cNvPr>
                <p:cNvSpPr/>
                <p:nvPr/>
              </p:nvSpPr>
              <p:spPr>
                <a:xfrm>
                  <a:off x="3330275" y="1919986"/>
                  <a:ext cx="42576" cy="24950"/>
                </a:xfrm>
                <a:custGeom>
                  <a:avLst/>
                  <a:gdLst>
                    <a:gd name="connsiteX0" fmla="*/ 42200 w 42576"/>
                    <a:gd name="connsiteY0" fmla="*/ 24950 h 24950"/>
                    <a:gd name="connsiteX1" fmla="*/ 377 w 42576"/>
                    <a:gd name="connsiteY1" fmla="*/ 710 h 24950"/>
                    <a:gd name="connsiteX2" fmla="*/ 0 w 42576"/>
                    <a:gd name="connsiteY2" fmla="*/ 208 h 24950"/>
                    <a:gd name="connsiteX3" fmla="*/ 377 w 42576"/>
                    <a:gd name="connsiteY3" fmla="*/ 83 h 24950"/>
                    <a:gd name="connsiteX4" fmla="*/ 42200 w 42576"/>
                    <a:gd name="connsiteY4" fmla="*/ 24322 h 24950"/>
                    <a:gd name="connsiteX5" fmla="*/ 42577 w 42576"/>
                    <a:gd name="connsiteY5" fmla="*/ 24950 h 24950"/>
                    <a:gd name="connsiteX6" fmla="*/ 42200 w 42576"/>
                    <a:gd name="connsiteY6" fmla="*/ 24950 h 2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50">
                      <a:moveTo>
                        <a:pt x="42200" y="24950"/>
                      </a:moveTo>
                      <a:lnTo>
                        <a:pt x="377" y="710"/>
                      </a:lnTo>
                      <a:cubicBezTo>
                        <a:pt x="251" y="585"/>
                        <a:pt x="0" y="334"/>
                        <a:pt x="0" y="208"/>
                      </a:cubicBezTo>
                      <a:cubicBezTo>
                        <a:pt x="0" y="-43"/>
                        <a:pt x="126" y="-43"/>
                        <a:pt x="377" y="83"/>
                      </a:cubicBezTo>
                      <a:lnTo>
                        <a:pt x="42200" y="24322"/>
                      </a:lnTo>
                      <a:cubicBezTo>
                        <a:pt x="42326" y="24448"/>
                        <a:pt x="42577" y="24699"/>
                        <a:pt x="42577" y="24950"/>
                      </a:cubicBezTo>
                      <a:cubicBezTo>
                        <a:pt x="42451" y="24950"/>
                        <a:pt x="42326" y="24950"/>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7" name="Freeform: Shape 2076">
                  <a:extLst>
                    <a:ext uri="{FF2B5EF4-FFF2-40B4-BE49-F238E27FC236}">
                      <a16:creationId xmlns:a16="http://schemas.microsoft.com/office/drawing/2014/main" id="{D1C1DE2B-3D90-4C80-B6A0-EEBCF112F785}"/>
                    </a:ext>
                  </a:extLst>
                </p:cNvPr>
                <p:cNvSpPr/>
                <p:nvPr/>
              </p:nvSpPr>
              <p:spPr>
                <a:xfrm>
                  <a:off x="3330275" y="1921493"/>
                  <a:ext cx="42576" cy="25032"/>
                </a:xfrm>
                <a:custGeom>
                  <a:avLst/>
                  <a:gdLst>
                    <a:gd name="connsiteX0" fmla="*/ 42200 w 42576"/>
                    <a:gd name="connsiteY0" fmla="*/ 24950 h 25032"/>
                    <a:gd name="connsiteX1" fmla="*/ 377 w 42576"/>
                    <a:gd name="connsiteY1" fmla="*/ 710 h 25032"/>
                    <a:gd name="connsiteX2" fmla="*/ 0 w 42576"/>
                    <a:gd name="connsiteY2" fmla="*/ 208 h 25032"/>
                    <a:gd name="connsiteX3" fmla="*/ 377 w 42576"/>
                    <a:gd name="connsiteY3" fmla="*/ 82 h 25032"/>
                    <a:gd name="connsiteX4" fmla="*/ 42200 w 42576"/>
                    <a:gd name="connsiteY4" fmla="*/ 24322 h 25032"/>
                    <a:gd name="connsiteX5" fmla="*/ 42577 w 42576"/>
                    <a:gd name="connsiteY5" fmla="*/ 24825 h 25032"/>
                    <a:gd name="connsiteX6" fmla="*/ 42200 w 42576"/>
                    <a:gd name="connsiteY6" fmla="*/ 24950 h 25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32">
                      <a:moveTo>
                        <a:pt x="42200" y="24950"/>
                      </a:moveTo>
                      <a:lnTo>
                        <a:pt x="377" y="710"/>
                      </a:lnTo>
                      <a:cubicBezTo>
                        <a:pt x="251" y="585"/>
                        <a:pt x="0" y="334"/>
                        <a:pt x="0" y="208"/>
                      </a:cubicBezTo>
                      <a:cubicBezTo>
                        <a:pt x="0" y="-43"/>
                        <a:pt x="126" y="-43"/>
                        <a:pt x="377" y="82"/>
                      </a:cubicBezTo>
                      <a:lnTo>
                        <a:pt x="42200" y="24322"/>
                      </a:lnTo>
                      <a:cubicBezTo>
                        <a:pt x="42326" y="24448"/>
                        <a:pt x="42577" y="24699"/>
                        <a:pt x="42577" y="24825"/>
                      </a:cubicBezTo>
                      <a:cubicBezTo>
                        <a:pt x="42451" y="25076"/>
                        <a:pt x="42326" y="25076"/>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8" name="Freeform: Shape 2077">
                  <a:extLst>
                    <a:ext uri="{FF2B5EF4-FFF2-40B4-BE49-F238E27FC236}">
                      <a16:creationId xmlns:a16="http://schemas.microsoft.com/office/drawing/2014/main" id="{250D425B-4641-4A15-AFCD-4CB9C839AB99}"/>
                    </a:ext>
                  </a:extLst>
                </p:cNvPr>
                <p:cNvSpPr/>
                <p:nvPr/>
              </p:nvSpPr>
              <p:spPr>
                <a:xfrm>
                  <a:off x="3330275" y="1923126"/>
                  <a:ext cx="42576" cy="25002"/>
                </a:xfrm>
                <a:custGeom>
                  <a:avLst/>
                  <a:gdLst>
                    <a:gd name="connsiteX0" fmla="*/ 42200 w 42576"/>
                    <a:gd name="connsiteY0" fmla="*/ 24950 h 25002"/>
                    <a:gd name="connsiteX1" fmla="*/ 377 w 42576"/>
                    <a:gd name="connsiteY1" fmla="*/ 710 h 25002"/>
                    <a:gd name="connsiteX2" fmla="*/ 0 w 42576"/>
                    <a:gd name="connsiteY2" fmla="*/ 208 h 25002"/>
                    <a:gd name="connsiteX3" fmla="*/ 377 w 42576"/>
                    <a:gd name="connsiteY3" fmla="*/ 83 h 25002"/>
                    <a:gd name="connsiteX4" fmla="*/ 42200 w 42576"/>
                    <a:gd name="connsiteY4" fmla="*/ 24322 h 25002"/>
                    <a:gd name="connsiteX5" fmla="*/ 42577 w 42576"/>
                    <a:gd name="connsiteY5" fmla="*/ 24825 h 25002"/>
                    <a:gd name="connsiteX6" fmla="*/ 42200 w 42576"/>
                    <a:gd name="connsiteY6" fmla="*/ 24950 h 2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02">
                      <a:moveTo>
                        <a:pt x="42200" y="24950"/>
                      </a:moveTo>
                      <a:lnTo>
                        <a:pt x="377" y="710"/>
                      </a:lnTo>
                      <a:cubicBezTo>
                        <a:pt x="251" y="585"/>
                        <a:pt x="0" y="334"/>
                        <a:pt x="0" y="208"/>
                      </a:cubicBezTo>
                      <a:cubicBezTo>
                        <a:pt x="0" y="-43"/>
                        <a:pt x="126" y="-43"/>
                        <a:pt x="377" y="83"/>
                      </a:cubicBezTo>
                      <a:lnTo>
                        <a:pt x="42200" y="24322"/>
                      </a:lnTo>
                      <a:cubicBezTo>
                        <a:pt x="42326" y="24448"/>
                        <a:pt x="42577" y="24699"/>
                        <a:pt x="42577" y="24825"/>
                      </a:cubicBezTo>
                      <a:cubicBezTo>
                        <a:pt x="42451" y="24950"/>
                        <a:pt x="42326" y="25076"/>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9" name="Freeform: Shape 2078">
                  <a:extLst>
                    <a:ext uri="{FF2B5EF4-FFF2-40B4-BE49-F238E27FC236}">
                      <a16:creationId xmlns:a16="http://schemas.microsoft.com/office/drawing/2014/main" id="{F95CC42B-B340-4E2F-91EC-AC451A429516}"/>
                    </a:ext>
                  </a:extLst>
                </p:cNvPr>
                <p:cNvSpPr/>
                <p:nvPr/>
              </p:nvSpPr>
              <p:spPr>
                <a:xfrm>
                  <a:off x="3330275" y="1924758"/>
                  <a:ext cx="42576" cy="25002"/>
                </a:xfrm>
                <a:custGeom>
                  <a:avLst/>
                  <a:gdLst>
                    <a:gd name="connsiteX0" fmla="*/ 42200 w 42576"/>
                    <a:gd name="connsiteY0" fmla="*/ 24950 h 25002"/>
                    <a:gd name="connsiteX1" fmla="*/ 377 w 42576"/>
                    <a:gd name="connsiteY1" fmla="*/ 710 h 25002"/>
                    <a:gd name="connsiteX2" fmla="*/ 0 w 42576"/>
                    <a:gd name="connsiteY2" fmla="*/ 208 h 25002"/>
                    <a:gd name="connsiteX3" fmla="*/ 377 w 42576"/>
                    <a:gd name="connsiteY3" fmla="*/ 83 h 25002"/>
                    <a:gd name="connsiteX4" fmla="*/ 42200 w 42576"/>
                    <a:gd name="connsiteY4" fmla="*/ 24322 h 25002"/>
                    <a:gd name="connsiteX5" fmla="*/ 42577 w 42576"/>
                    <a:gd name="connsiteY5" fmla="*/ 24825 h 25002"/>
                    <a:gd name="connsiteX6" fmla="*/ 42200 w 42576"/>
                    <a:gd name="connsiteY6" fmla="*/ 24950 h 2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02">
                      <a:moveTo>
                        <a:pt x="42200" y="24950"/>
                      </a:moveTo>
                      <a:lnTo>
                        <a:pt x="377" y="710"/>
                      </a:lnTo>
                      <a:cubicBezTo>
                        <a:pt x="251" y="585"/>
                        <a:pt x="0" y="334"/>
                        <a:pt x="0" y="208"/>
                      </a:cubicBezTo>
                      <a:cubicBezTo>
                        <a:pt x="0" y="-43"/>
                        <a:pt x="126" y="-43"/>
                        <a:pt x="377" y="83"/>
                      </a:cubicBezTo>
                      <a:lnTo>
                        <a:pt x="42200" y="24322"/>
                      </a:lnTo>
                      <a:cubicBezTo>
                        <a:pt x="42326" y="24448"/>
                        <a:pt x="42577" y="24699"/>
                        <a:pt x="42577" y="24825"/>
                      </a:cubicBezTo>
                      <a:cubicBezTo>
                        <a:pt x="42577" y="24950"/>
                        <a:pt x="42326" y="25076"/>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0" name="Freeform: Shape 2079">
                  <a:extLst>
                    <a:ext uri="{FF2B5EF4-FFF2-40B4-BE49-F238E27FC236}">
                      <a16:creationId xmlns:a16="http://schemas.microsoft.com/office/drawing/2014/main" id="{F155AF39-E09B-46EF-95E2-2A73754CA88A}"/>
                    </a:ext>
                  </a:extLst>
                </p:cNvPr>
                <p:cNvSpPr/>
                <p:nvPr/>
              </p:nvSpPr>
              <p:spPr>
                <a:xfrm>
                  <a:off x="3330275" y="1926348"/>
                  <a:ext cx="42576" cy="25042"/>
                </a:xfrm>
                <a:custGeom>
                  <a:avLst/>
                  <a:gdLst>
                    <a:gd name="connsiteX0" fmla="*/ 42200 w 42576"/>
                    <a:gd name="connsiteY0" fmla="*/ 24993 h 25042"/>
                    <a:gd name="connsiteX1" fmla="*/ 377 w 42576"/>
                    <a:gd name="connsiteY1" fmla="*/ 754 h 25042"/>
                    <a:gd name="connsiteX2" fmla="*/ 0 w 42576"/>
                    <a:gd name="connsiteY2" fmla="*/ 251 h 25042"/>
                    <a:gd name="connsiteX3" fmla="*/ 377 w 42576"/>
                    <a:gd name="connsiteY3" fmla="*/ 0 h 25042"/>
                    <a:gd name="connsiteX4" fmla="*/ 42200 w 42576"/>
                    <a:gd name="connsiteY4" fmla="*/ 24240 h 25042"/>
                    <a:gd name="connsiteX5" fmla="*/ 42577 w 42576"/>
                    <a:gd name="connsiteY5" fmla="*/ 24742 h 25042"/>
                    <a:gd name="connsiteX6" fmla="*/ 42200 w 42576"/>
                    <a:gd name="connsiteY6" fmla="*/ 24993 h 2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42">
                      <a:moveTo>
                        <a:pt x="42200" y="24993"/>
                      </a:moveTo>
                      <a:lnTo>
                        <a:pt x="377" y="754"/>
                      </a:lnTo>
                      <a:cubicBezTo>
                        <a:pt x="251" y="628"/>
                        <a:pt x="0" y="377"/>
                        <a:pt x="0" y="251"/>
                      </a:cubicBezTo>
                      <a:cubicBezTo>
                        <a:pt x="0" y="126"/>
                        <a:pt x="126" y="0"/>
                        <a:pt x="377" y="0"/>
                      </a:cubicBezTo>
                      <a:lnTo>
                        <a:pt x="42200" y="24240"/>
                      </a:lnTo>
                      <a:cubicBezTo>
                        <a:pt x="42326" y="24365"/>
                        <a:pt x="42577" y="24617"/>
                        <a:pt x="42577" y="24742"/>
                      </a:cubicBezTo>
                      <a:cubicBezTo>
                        <a:pt x="42451" y="24993"/>
                        <a:pt x="42326" y="25119"/>
                        <a:pt x="42200" y="24993"/>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1" name="Freeform: Shape 2080">
                  <a:extLst>
                    <a:ext uri="{FF2B5EF4-FFF2-40B4-BE49-F238E27FC236}">
                      <a16:creationId xmlns:a16="http://schemas.microsoft.com/office/drawing/2014/main" id="{D297CF1F-7310-4CDC-BB3B-104CF657D376}"/>
                    </a:ext>
                  </a:extLst>
                </p:cNvPr>
                <p:cNvSpPr/>
                <p:nvPr/>
              </p:nvSpPr>
              <p:spPr>
                <a:xfrm>
                  <a:off x="3330275" y="1927981"/>
                  <a:ext cx="42576" cy="24993"/>
                </a:xfrm>
                <a:custGeom>
                  <a:avLst/>
                  <a:gdLst>
                    <a:gd name="connsiteX0" fmla="*/ 42200 w 42576"/>
                    <a:gd name="connsiteY0" fmla="*/ 24993 h 24993"/>
                    <a:gd name="connsiteX1" fmla="*/ 377 w 42576"/>
                    <a:gd name="connsiteY1" fmla="*/ 754 h 24993"/>
                    <a:gd name="connsiteX2" fmla="*/ 0 w 42576"/>
                    <a:gd name="connsiteY2" fmla="*/ 251 h 24993"/>
                    <a:gd name="connsiteX3" fmla="*/ 377 w 42576"/>
                    <a:gd name="connsiteY3" fmla="*/ 0 h 24993"/>
                    <a:gd name="connsiteX4" fmla="*/ 42200 w 42576"/>
                    <a:gd name="connsiteY4" fmla="*/ 24240 h 24993"/>
                    <a:gd name="connsiteX5" fmla="*/ 42577 w 42576"/>
                    <a:gd name="connsiteY5" fmla="*/ 24742 h 24993"/>
                    <a:gd name="connsiteX6" fmla="*/ 42200 w 42576"/>
                    <a:gd name="connsiteY6" fmla="*/ 24993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93">
                      <a:moveTo>
                        <a:pt x="42200" y="24993"/>
                      </a:moveTo>
                      <a:lnTo>
                        <a:pt x="377" y="754"/>
                      </a:lnTo>
                      <a:cubicBezTo>
                        <a:pt x="251" y="628"/>
                        <a:pt x="0" y="377"/>
                        <a:pt x="0" y="251"/>
                      </a:cubicBezTo>
                      <a:cubicBezTo>
                        <a:pt x="0" y="0"/>
                        <a:pt x="126" y="0"/>
                        <a:pt x="377" y="0"/>
                      </a:cubicBezTo>
                      <a:lnTo>
                        <a:pt x="42200" y="24240"/>
                      </a:lnTo>
                      <a:cubicBezTo>
                        <a:pt x="42326" y="24365"/>
                        <a:pt x="42577" y="24617"/>
                        <a:pt x="42577" y="24742"/>
                      </a:cubicBezTo>
                      <a:cubicBezTo>
                        <a:pt x="42451" y="24993"/>
                        <a:pt x="42326" y="24993"/>
                        <a:pt x="42200" y="24993"/>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082" name="Graphic 4">
                <a:extLst>
                  <a:ext uri="{FF2B5EF4-FFF2-40B4-BE49-F238E27FC236}">
                    <a16:creationId xmlns:a16="http://schemas.microsoft.com/office/drawing/2014/main" id="{84FB7ED1-A2DF-40A1-A747-5F7CF3F14040}"/>
                  </a:ext>
                </a:extLst>
              </p:cNvPr>
              <p:cNvGrpSpPr/>
              <p:nvPr/>
            </p:nvGrpSpPr>
            <p:grpSpPr>
              <a:xfrm>
                <a:off x="3330275" y="1917933"/>
                <a:ext cx="42576" cy="34664"/>
                <a:chOff x="3330275" y="1917933"/>
                <a:chExt cx="42576" cy="34664"/>
              </a:xfrm>
              <a:solidFill>
                <a:srgbClr val="000000"/>
              </a:solidFill>
            </p:grpSpPr>
            <p:sp>
              <p:nvSpPr>
                <p:cNvPr id="2083" name="Freeform: Shape 2082">
                  <a:extLst>
                    <a:ext uri="{FF2B5EF4-FFF2-40B4-BE49-F238E27FC236}">
                      <a16:creationId xmlns:a16="http://schemas.microsoft.com/office/drawing/2014/main" id="{AF2382C9-E152-491F-82BB-02831B5DD5DB}"/>
                    </a:ext>
                  </a:extLst>
                </p:cNvPr>
                <p:cNvSpPr/>
                <p:nvPr/>
              </p:nvSpPr>
              <p:spPr>
                <a:xfrm>
                  <a:off x="3330275" y="1917933"/>
                  <a:ext cx="42576" cy="25042"/>
                </a:xfrm>
                <a:custGeom>
                  <a:avLst/>
                  <a:gdLst>
                    <a:gd name="connsiteX0" fmla="*/ 42200 w 42576"/>
                    <a:gd name="connsiteY0" fmla="*/ 24993 h 25042"/>
                    <a:gd name="connsiteX1" fmla="*/ 377 w 42576"/>
                    <a:gd name="connsiteY1" fmla="*/ 754 h 25042"/>
                    <a:gd name="connsiteX2" fmla="*/ 0 w 42576"/>
                    <a:gd name="connsiteY2" fmla="*/ 251 h 25042"/>
                    <a:gd name="connsiteX3" fmla="*/ 377 w 42576"/>
                    <a:gd name="connsiteY3" fmla="*/ 0 h 25042"/>
                    <a:gd name="connsiteX4" fmla="*/ 42200 w 42576"/>
                    <a:gd name="connsiteY4" fmla="*/ 24240 h 25042"/>
                    <a:gd name="connsiteX5" fmla="*/ 42577 w 42576"/>
                    <a:gd name="connsiteY5" fmla="*/ 24742 h 25042"/>
                    <a:gd name="connsiteX6" fmla="*/ 42200 w 42576"/>
                    <a:gd name="connsiteY6" fmla="*/ 24993 h 2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42">
                      <a:moveTo>
                        <a:pt x="42200" y="24993"/>
                      </a:moveTo>
                      <a:lnTo>
                        <a:pt x="377" y="754"/>
                      </a:lnTo>
                      <a:cubicBezTo>
                        <a:pt x="251" y="628"/>
                        <a:pt x="0" y="377"/>
                        <a:pt x="0" y="251"/>
                      </a:cubicBezTo>
                      <a:cubicBezTo>
                        <a:pt x="0" y="0"/>
                        <a:pt x="126" y="0"/>
                        <a:pt x="377" y="0"/>
                      </a:cubicBezTo>
                      <a:lnTo>
                        <a:pt x="42200" y="24240"/>
                      </a:lnTo>
                      <a:cubicBezTo>
                        <a:pt x="42326" y="24365"/>
                        <a:pt x="42577" y="24617"/>
                        <a:pt x="42577" y="24742"/>
                      </a:cubicBezTo>
                      <a:cubicBezTo>
                        <a:pt x="42451" y="24993"/>
                        <a:pt x="42326" y="25119"/>
                        <a:pt x="42200" y="2499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4" name="Freeform: Shape 2083">
                  <a:extLst>
                    <a:ext uri="{FF2B5EF4-FFF2-40B4-BE49-F238E27FC236}">
                      <a16:creationId xmlns:a16="http://schemas.microsoft.com/office/drawing/2014/main" id="{29D9446B-D16E-442C-89DE-87233AA20B98}"/>
                    </a:ext>
                  </a:extLst>
                </p:cNvPr>
                <p:cNvSpPr/>
                <p:nvPr/>
              </p:nvSpPr>
              <p:spPr>
                <a:xfrm>
                  <a:off x="3330275" y="1919640"/>
                  <a:ext cx="42576" cy="24919"/>
                </a:xfrm>
                <a:custGeom>
                  <a:avLst/>
                  <a:gdLst>
                    <a:gd name="connsiteX0" fmla="*/ 42200 w 42576"/>
                    <a:gd name="connsiteY0" fmla="*/ 24920 h 24919"/>
                    <a:gd name="connsiteX1" fmla="*/ 377 w 42576"/>
                    <a:gd name="connsiteY1" fmla="*/ 680 h 24919"/>
                    <a:gd name="connsiteX2" fmla="*/ 0 w 42576"/>
                    <a:gd name="connsiteY2" fmla="*/ 178 h 24919"/>
                    <a:gd name="connsiteX3" fmla="*/ 377 w 42576"/>
                    <a:gd name="connsiteY3" fmla="*/ 52 h 24919"/>
                    <a:gd name="connsiteX4" fmla="*/ 42200 w 42576"/>
                    <a:gd name="connsiteY4" fmla="*/ 24166 h 24919"/>
                    <a:gd name="connsiteX5" fmla="*/ 42577 w 42576"/>
                    <a:gd name="connsiteY5" fmla="*/ 24794 h 24919"/>
                    <a:gd name="connsiteX6" fmla="*/ 42200 w 42576"/>
                    <a:gd name="connsiteY6" fmla="*/ 24920 h 24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19">
                      <a:moveTo>
                        <a:pt x="42200" y="24920"/>
                      </a:moveTo>
                      <a:lnTo>
                        <a:pt x="377" y="680"/>
                      </a:lnTo>
                      <a:cubicBezTo>
                        <a:pt x="251" y="554"/>
                        <a:pt x="0" y="303"/>
                        <a:pt x="0" y="178"/>
                      </a:cubicBezTo>
                      <a:cubicBezTo>
                        <a:pt x="0" y="52"/>
                        <a:pt x="126" y="-74"/>
                        <a:pt x="377" y="52"/>
                      </a:cubicBezTo>
                      <a:lnTo>
                        <a:pt x="42200" y="24166"/>
                      </a:lnTo>
                      <a:cubicBezTo>
                        <a:pt x="42326" y="24292"/>
                        <a:pt x="42577" y="24543"/>
                        <a:pt x="42577" y="24794"/>
                      </a:cubicBezTo>
                      <a:cubicBezTo>
                        <a:pt x="42451" y="24920"/>
                        <a:pt x="42326" y="24920"/>
                        <a:pt x="42200" y="2492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5" name="Freeform: Shape 2084">
                  <a:extLst>
                    <a:ext uri="{FF2B5EF4-FFF2-40B4-BE49-F238E27FC236}">
                      <a16:creationId xmlns:a16="http://schemas.microsoft.com/office/drawing/2014/main" id="{CCCD2BBF-7AE7-49F0-91F1-25ADC4AE8651}"/>
                    </a:ext>
                  </a:extLst>
                </p:cNvPr>
                <p:cNvSpPr/>
                <p:nvPr/>
              </p:nvSpPr>
              <p:spPr>
                <a:xfrm>
                  <a:off x="3330275" y="1921116"/>
                  <a:ext cx="42576" cy="25032"/>
                </a:xfrm>
                <a:custGeom>
                  <a:avLst/>
                  <a:gdLst>
                    <a:gd name="connsiteX0" fmla="*/ 42200 w 42576"/>
                    <a:gd name="connsiteY0" fmla="*/ 24950 h 25032"/>
                    <a:gd name="connsiteX1" fmla="*/ 377 w 42576"/>
                    <a:gd name="connsiteY1" fmla="*/ 710 h 25032"/>
                    <a:gd name="connsiteX2" fmla="*/ 0 w 42576"/>
                    <a:gd name="connsiteY2" fmla="*/ 208 h 25032"/>
                    <a:gd name="connsiteX3" fmla="*/ 377 w 42576"/>
                    <a:gd name="connsiteY3" fmla="*/ 83 h 25032"/>
                    <a:gd name="connsiteX4" fmla="*/ 42200 w 42576"/>
                    <a:gd name="connsiteY4" fmla="*/ 24322 h 25032"/>
                    <a:gd name="connsiteX5" fmla="*/ 42577 w 42576"/>
                    <a:gd name="connsiteY5" fmla="*/ 24825 h 25032"/>
                    <a:gd name="connsiteX6" fmla="*/ 42200 w 42576"/>
                    <a:gd name="connsiteY6" fmla="*/ 24950 h 25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32">
                      <a:moveTo>
                        <a:pt x="42200" y="24950"/>
                      </a:moveTo>
                      <a:lnTo>
                        <a:pt x="377" y="710"/>
                      </a:lnTo>
                      <a:cubicBezTo>
                        <a:pt x="251" y="585"/>
                        <a:pt x="0" y="334"/>
                        <a:pt x="0" y="208"/>
                      </a:cubicBezTo>
                      <a:cubicBezTo>
                        <a:pt x="0" y="-43"/>
                        <a:pt x="126" y="-43"/>
                        <a:pt x="377" y="83"/>
                      </a:cubicBezTo>
                      <a:lnTo>
                        <a:pt x="42200" y="24322"/>
                      </a:lnTo>
                      <a:cubicBezTo>
                        <a:pt x="42326" y="24448"/>
                        <a:pt x="42577" y="24699"/>
                        <a:pt x="42577" y="24825"/>
                      </a:cubicBezTo>
                      <a:cubicBezTo>
                        <a:pt x="42451" y="25076"/>
                        <a:pt x="42326" y="25076"/>
                        <a:pt x="42200" y="2495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6" name="Freeform: Shape 2085">
                  <a:extLst>
                    <a:ext uri="{FF2B5EF4-FFF2-40B4-BE49-F238E27FC236}">
                      <a16:creationId xmlns:a16="http://schemas.microsoft.com/office/drawing/2014/main" id="{431D189A-C576-4435-8D26-E3500CFD0AA3}"/>
                    </a:ext>
                  </a:extLst>
                </p:cNvPr>
                <p:cNvSpPr/>
                <p:nvPr/>
              </p:nvSpPr>
              <p:spPr>
                <a:xfrm>
                  <a:off x="3330275" y="1922706"/>
                  <a:ext cx="42576" cy="25042"/>
                </a:xfrm>
                <a:custGeom>
                  <a:avLst/>
                  <a:gdLst>
                    <a:gd name="connsiteX0" fmla="*/ 42200 w 42576"/>
                    <a:gd name="connsiteY0" fmla="*/ 24993 h 25042"/>
                    <a:gd name="connsiteX1" fmla="*/ 377 w 42576"/>
                    <a:gd name="connsiteY1" fmla="*/ 754 h 25042"/>
                    <a:gd name="connsiteX2" fmla="*/ 0 w 42576"/>
                    <a:gd name="connsiteY2" fmla="*/ 251 h 25042"/>
                    <a:gd name="connsiteX3" fmla="*/ 377 w 42576"/>
                    <a:gd name="connsiteY3" fmla="*/ 0 h 25042"/>
                    <a:gd name="connsiteX4" fmla="*/ 42200 w 42576"/>
                    <a:gd name="connsiteY4" fmla="*/ 24240 h 25042"/>
                    <a:gd name="connsiteX5" fmla="*/ 42577 w 42576"/>
                    <a:gd name="connsiteY5" fmla="*/ 24742 h 25042"/>
                    <a:gd name="connsiteX6" fmla="*/ 42200 w 42576"/>
                    <a:gd name="connsiteY6" fmla="*/ 24993 h 2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42">
                      <a:moveTo>
                        <a:pt x="42200" y="24993"/>
                      </a:moveTo>
                      <a:lnTo>
                        <a:pt x="377" y="754"/>
                      </a:lnTo>
                      <a:cubicBezTo>
                        <a:pt x="251" y="628"/>
                        <a:pt x="0" y="377"/>
                        <a:pt x="0" y="251"/>
                      </a:cubicBezTo>
                      <a:cubicBezTo>
                        <a:pt x="0" y="0"/>
                        <a:pt x="126" y="0"/>
                        <a:pt x="377" y="0"/>
                      </a:cubicBezTo>
                      <a:lnTo>
                        <a:pt x="42200" y="24240"/>
                      </a:lnTo>
                      <a:cubicBezTo>
                        <a:pt x="42326" y="24365"/>
                        <a:pt x="42577" y="24617"/>
                        <a:pt x="42577" y="24742"/>
                      </a:cubicBezTo>
                      <a:cubicBezTo>
                        <a:pt x="42451" y="24993"/>
                        <a:pt x="42326" y="25119"/>
                        <a:pt x="42200" y="2499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7" name="Freeform: Shape 2086">
                  <a:extLst>
                    <a:ext uri="{FF2B5EF4-FFF2-40B4-BE49-F238E27FC236}">
                      <a16:creationId xmlns:a16="http://schemas.microsoft.com/office/drawing/2014/main" id="{EFF40AA6-357A-44FE-A397-ABED018C27B8}"/>
                    </a:ext>
                  </a:extLst>
                </p:cNvPr>
                <p:cNvSpPr/>
                <p:nvPr/>
              </p:nvSpPr>
              <p:spPr>
                <a:xfrm>
                  <a:off x="3330275" y="1924339"/>
                  <a:ext cx="42576" cy="25042"/>
                </a:xfrm>
                <a:custGeom>
                  <a:avLst/>
                  <a:gdLst>
                    <a:gd name="connsiteX0" fmla="*/ 42200 w 42576"/>
                    <a:gd name="connsiteY0" fmla="*/ 24993 h 25042"/>
                    <a:gd name="connsiteX1" fmla="*/ 377 w 42576"/>
                    <a:gd name="connsiteY1" fmla="*/ 754 h 25042"/>
                    <a:gd name="connsiteX2" fmla="*/ 0 w 42576"/>
                    <a:gd name="connsiteY2" fmla="*/ 251 h 25042"/>
                    <a:gd name="connsiteX3" fmla="*/ 377 w 42576"/>
                    <a:gd name="connsiteY3" fmla="*/ 0 h 25042"/>
                    <a:gd name="connsiteX4" fmla="*/ 42200 w 42576"/>
                    <a:gd name="connsiteY4" fmla="*/ 24240 h 25042"/>
                    <a:gd name="connsiteX5" fmla="*/ 42577 w 42576"/>
                    <a:gd name="connsiteY5" fmla="*/ 24742 h 25042"/>
                    <a:gd name="connsiteX6" fmla="*/ 42200 w 42576"/>
                    <a:gd name="connsiteY6" fmla="*/ 24993 h 2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42">
                      <a:moveTo>
                        <a:pt x="42200" y="24993"/>
                      </a:moveTo>
                      <a:lnTo>
                        <a:pt x="377" y="754"/>
                      </a:lnTo>
                      <a:cubicBezTo>
                        <a:pt x="251" y="628"/>
                        <a:pt x="0" y="377"/>
                        <a:pt x="0" y="251"/>
                      </a:cubicBezTo>
                      <a:cubicBezTo>
                        <a:pt x="0" y="0"/>
                        <a:pt x="126" y="0"/>
                        <a:pt x="377" y="0"/>
                      </a:cubicBezTo>
                      <a:lnTo>
                        <a:pt x="42200" y="24240"/>
                      </a:lnTo>
                      <a:cubicBezTo>
                        <a:pt x="42326" y="24365"/>
                        <a:pt x="42577" y="24617"/>
                        <a:pt x="42577" y="24742"/>
                      </a:cubicBezTo>
                      <a:cubicBezTo>
                        <a:pt x="42451" y="24993"/>
                        <a:pt x="42326" y="25119"/>
                        <a:pt x="42200" y="2499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8" name="Freeform: Shape 2087">
                  <a:extLst>
                    <a:ext uri="{FF2B5EF4-FFF2-40B4-BE49-F238E27FC236}">
                      <a16:creationId xmlns:a16="http://schemas.microsoft.com/office/drawing/2014/main" id="{F1208FC6-F6D4-4DBC-9AC3-CF3BDCB87F9F}"/>
                    </a:ext>
                  </a:extLst>
                </p:cNvPr>
                <p:cNvSpPr/>
                <p:nvPr/>
              </p:nvSpPr>
              <p:spPr>
                <a:xfrm>
                  <a:off x="3330275" y="1925889"/>
                  <a:ext cx="42576" cy="25125"/>
                </a:xfrm>
                <a:custGeom>
                  <a:avLst/>
                  <a:gdLst>
                    <a:gd name="connsiteX0" fmla="*/ 42200 w 42576"/>
                    <a:gd name="connsiteY0" fmla="*/ 25076 h 25125"/>
                    <a:gd name="connsiteX1" fmla="*/ 377 w 42576"/>
                    <a:gd name="connsiteY1" fmla="*/ 836 h 25125"/>
                    <a:gd name="connsiteX2" fmla="*/ 0 w 42576"/>
                    <a:gd name="connsiteY2" fmla="*/ 208 h 25125"/>
                    <a:gd name="connsiteX3" fmla="*/ 377 w 42576"/>
                    <a:gd name="connsiteY3" fmla="*/ 83 h 25125"/>
                    <a:gd name="connsiteX4" fmla="*/ 42200 w 42576"/>
                    <a:gd name="connsiteY4" fmla="*/ 24322 h 25125"/>
                    <a:gd name="connsiteX5" fmla="*/ 42577 w 42576"/>
                    <a:gd name="connsiteY5" fmla="*/ 24825 h 25125"/>
                    <a:gd name="connsiteX6" fmla="*/ 42200 w 42576"/>
                    <a:gd name="connsiteY6" fmla="*/ 25076 h 2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125">
                      <a:moveTo>
                        <a:pt x="42200" y="25076"/>
                      </a:moveTo>
                      <a:lnTo>
                        <a:pt x="377" y="836"/>
                      </a:lnTo>
                      <a:cubicBezTo>
                        <a:pt x="251" y="710"/>
                        <a:pt x="0" y="459"/>
                        <a:pt x="0" y="208"/>
                      </a:cubicBezTo>
                      <a:cubicBezTo>
                        <a:pt x="0" y="-43"/>
                        <a:pt x="126" y="-43"/>
                        <a:pt x="377" y="83"/>
                      </a:cubicBezTo>
                      <a:lnTo>
                        <a:pt x="42200" y="24322"/>
                      </a:lnTo>
                      <a:cubicBezTo>
                        <a:pt x="42326" y="24448"/>
                        <a:pt x="42577" y="24699"/>
                        <a:pt x="42577" y="24825"/>
                      </a:cubicBezTo>
                      <a:cubicBezTo>
                        <a:pt x="42451" y="25076"/>
                        <a:pt x="42326" y="25201"/>
                        <a:pt x="42200" y="2507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9" name="Freeform: Shape 2088">
                  <a:extLst>
                    <a:ext uri="{FF2B5EF4-FFF2-40B4-BE49-F238E27FC236}">
                      <a16:creationId xmlns:a16="http://schemas.microsoft.com/office/drawing/2014/main" id="{913763A3-4211-44A8-A968-E9AEBB67D80C}"/>
                    </a:ext>
                  </a:extLst>
                </p:cNvPr>
                <p:cNvSpPr/>
                <p:nvPr/>
              </p:nvSpPr>
              <p:spPr>
                <a:xfrm>
                  <a:off x="3330275" y="1927678"/>
                  <a:ext cx="42576" cy="24919"/>
                </a:xfrm>
                <a:custGeom>
                  <a:avLst/>
                  <a:gdLst>
                    <a:gd name="connsiteX0" fmla="*/ 42200 w 42576"/>
                    <a:gd name="connsiteY0" fmla="*/ 24920 h 24919"/>
                    <a:gd name="connsiteX1" fmla="*/ 377 w 42576"/>
                    <a:gd name="connsiteY1" fmla="*/ 680 h 24919"/>
                    <a:gd name="connsiteX2" fmla="*/ 0 w 42576"/>
                    <a:gd name="connsiteY2" fmla="*/ 178 h 24919"/>
                    <a:gd name="connsiteX3" fmla="*/ 377 w 42576"/>
                    <a:gd name="connsiteY3" fmla="*/ 52 h 24919"/>
                    <a:gd name="connsiteX4" fmla="*/ 42200 w 42576"/>
                    <a:gd name="connsiteY4" fmla="*/ 24292 h 24919"/>
                    <a:gd name="connsiteX5" fmla="*/ 42577 w 42576"/>
                    <a:gd name="connsiteY5" fmla="*/ 24794 h 24919"/>
                    <a:gd name="connsiteX6" fmla="*/ 42200 w 42576"/>
                    <a:gd name="connsiteY6" fmla="*/ 24920 h 24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19">
                      <a:moveTo>
                        <a:pt x="42200" y="24920"/>
                      </a:moveTo>
                      <a:lnTo>
                        <a:pt x="377" y="680"/>
                      </a:lnTo>
                      <a:cubicBezTo>
                        <a:pt x="251" y="554"/>
                        <a:pt x="0" y="303"/>
                        <a:pt x="0" y="178"/>
                      </a:cubicBezTo>
                      <a:cubicBezTo>
                        <a:pt x="0" y="52"/>
                        <a:pt x="126" y="-74"/>
                        <a:pt x="377" y="52"/>
                      </a:cubicBezTo>
                      <a:lnTo>
                        <a:pt x="42200" y="24292"/>
                      </a:lnTo>
                      <a:cubicBezTo>
                        <a:pt x="42326" y="24417"/>
                        <a:pt x="42577" y="24669"/>
                        <a:pt x="42577" y="24794"/>
                      </a:cubicBezTo>
                      <a:cubicBezTo>
                        <a:pt x="42451" y="24920"/>
                        <a:pt x="42326" y="24920"/>
                        <a:pt x="42200" y="2492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90" name="Freeform: Shape 2089">
                <a:extLst>
                  <a:ext uri="{FF2B5EF4-FFF2-40B4-BE49-F238E27FC236}">
                    <a16:creationId xmlns:a16="http://schemas.microsoft.com/office/drawing/2014/main" id="{230A12A2-645E-4336-82DC-794E397C9468}"/>
                  </a:ext>
                </a:extLst>
              </p:cNvPr>
              <p:cNvSpPr/>
              <p:nvPr/>
            </p:nvSpPr>
            <p:spPr>
              <a:xfrm>
                <a:off x="3374610" y="1942738"/>
                <a:ext cx="13313" cy="20158"/>
              </a:xfrm>
              <a:custGeom>
                <a:avLst/>
                <a:gdLst>
                  <a:gd name="connsiteX0" fmla="*/ 13313 w 13313"/>
                  <a:gd name="connsiteY0" fmla="*/ 6217 h 20158"/>
                  <a:gd name="connsiteX1" fmla="*/ 3266 w 13313"/>
                  <a:gd name="connsiteY1" fmla="*/ 440 h 20158"/>
                  <a:gd name="connsiteX2" fmla="*/ 0 w 13313"/>
                  <a:gd name="connsiteY2" fmla="*/ 2324 h 20158"/>
                  <a:gd name="connsiteX3" fmla="*/ 0 w 13313"/>
                  <a:gd name="connsiteY3" fmla="*/ 8729 h 20158"/>
                  <a:gd name="connsiteX4" fmla="*/ 3266 w 13313"/>
                  <a:gd name="connsiteY4" fmla="*/ 14381 h 20158"/>
                  <a:gd name="connsiteX5" fmla="*/ 13313 w 13313"/>
                  <a:gd name="connsiteY5" fmla="*/ 20158 h 20158"/>
                  <a:gd name="connsiteX6" fmla="*/ 13313 w 13313"/>
                  <a:gd name="connsiteY6" fmla="*/ 6217 h 2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3" h="20158">
                    <a:moveTo>
                      <a:pt x="13313" y="6217"/>
                    </a:moveTo>
                    <a:lnTo>
                      <a:pt x="3266" y="440"/>
                    </a:lnTo>
                    <a:cubicBezTo>
                      <a:pt x="1507" y="-565"/>
                      <a:pt x="0" y="189"/>
                      <a:pt x="0" y="2324"/>
                    </a:cubicBezTo>
                    <a:lnTo>
                      <a:pt x="0" y="8729"/>
                    </a:lnTo>
                    <a:cubicBezTo>
                      <a:pt x="0" y="10739"/>
                      <a:pt x="1507" y="13251"/>
                      <a:pt x="3266" y="14381"/>
                    </a:cubicBezTo>
                    <a:lnTo>
                      <a:pt x="13313" y="20158"/>
                    </a:lnTo>
                    <a:lnTo>
                      <a:pt x="13313" y="6217"/>
                    </a:lnTo>
                    <a:close/>
                  </a:path>
                </a:pathLst>
              </a:custGeom>
              <a:solidFill>
                <a:srgbClr val="CAD1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1" name="Freeform: Shape 2090">
                <a:extLst>
                  <a:ext uri="{FF2B5EF4-FFF2-40B4-BE49-F238E27FC236}">
                    <a16:creationId xmlns:a16="http://schemas.microsoft.com/office/drawing/2014/main" id="{DA0771D0-5F64-4576-90AA-A41E6175F3AB}"/>
                  </a:ext>
                </a:extLst>
              </p:cNvPr>
              <p:cNvSpPr/>
              <p:nvPr/>
            </p:nvSpPr>
            <p:spPr>
              <a:xfrm>
                <a:off x="3375740" y="1943931"/>
                <a:ext cx="12182" cy="17708"/>
              </a:xfrm>
              <a:custGeom>
                <a:avLst/>
                <a:gdLst>
                  <a:gd name="connsiteX0" fmla="*/ 12183 w 12182"/>
                  <a:gd name="connsiteY0" fmla="*/ 6405 h 17708"/>
                  <a:gd name="connsiteX1" fmla="*/ 11806 w 12182"/>
                  <a:gd name="connsiteY1" fmla="*/ 6154 h 17708"/>
                  <a:gd name="connsiteX2" fmla="*/ 1507 w 12182"/>
                  <a:gd name="connsiteY2" fmla="*/ 251 h 17708"/>
                  <a:gd name="connsiteX3" fmla="*/ 628 w 12182"/>
                  <a:gd name="connsiteY3" fmla="*/ 0 h 17708"/>
                  <a:gd name="connsiteX4" fmla="*/ 0 w 12182"/>
                  <a:gd name="connsiteY4" fmla="*/ 1130 h 17708"/>
                  <a:gd name="connsiteX5" fmla="*/ 0 w 12182"/>
                  <a:gd name="connsiteY5" fmla="*/ 7536 h 17708"/>
                  <a:gd name="connsiteX6" fmla="*/ 2637 w 12182"/>
                  <a:gd name="connsiteY6" fmla="*/ 12183 h 17708"/>
                  <a:gd name="connsiteX7" fmla="*/ 12183 w 12182"/>
                  <a:gd name="connsiteY7" fmla="*/ 17709 h 17708"/>
                  <a:gd name="connsiteX8" fmla="*/ 12183 w 12182"/>
                  <a:gd name="connsiteY8" fmla="*/ 6405 h 1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82" h="17708">
                    <a:moveTo>
                      <a:pt x="12183" y="6405"/>
                    </a:moveTo>
                    <a:cubicBezTo>
                      <a:pt x="12057" y="6280"/>
                      <a:pt x="11931" y="6154"/>
                      <a:pt x="11806" y="6154"/>
                    </a:cubicBezTo>
                    <a:lnTo>
                      <a:pt x="1507" y="251"/>
                    </a:lnTo>
                    <a:cubicBezTo>
                      <a:pt x="1130" y="0"/>
                      <a:pt x="754" y="0"/>
                      <a:pt x="628" y="0"/>
                    </a:cubicBezTo>
                    <a:cubicBezTo>
                      <a:pt x="0" y="0"/>
                      <a:pt x="0" y="754"/>
                      <a:pt x="0" y="1130"/>
                    </a:cubicBezTo>
                    <a:lnTo>
                      <a:pt x="0" y="7536"/>
                    </a:lnTo>
                    <a:cubicBezTo>
                      <a:pt x="0" y="9168"/>
                      <a:pt x="1256" y="11304"/>
                      <a:pt x="2637" y="12183"/>
                    </a:cubicBezTo>
                    <a:lnTo>
                      <a:pt x="12183" y="17709"/>
                    </a:lnTo>
                    <a:lnTo>
                      <a:pt x="12183" y="6405"/>
                    </a:lnTo>
                    <a:close/>
                  </a:path>
                </a:pathLst>
              </a:custGeom>
              <a:solidFill>
                <a:srgbClr val="F7FBF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2" name="Freeform: Shape 2091">
                <a:extLst>
                  <a:ext uri="{FF2B5EF4-FFF2-40B4-BE49-F238E27FC236}">
                    <a16:creationId xmlns:a16="http://schemas.microsoft.com/office/drawing/2014/main" id="{F7DD9B2E-0420-4641-BC90-6AA09372F47B}"/>
                  </a:ext>
                </a:extLst>
              </p:cNvPr>
              <p:cNvSpPr/>
              <p:nvPr/>
            </p:nvSpPr>
            <p:spPr>
              <a:xfrm>
                <a:off x="3318218" y="1908011"/>
                <a:ext cx="10801" cy="18651"/>
              </a:xfrm>
              <a:custGeom>
                <a:avLst/>
                <a:gdLst>
                  <a:gd name="connsiteX0" fmla="*/ 7536 w 10801"/>
                  <a:gd name="connsiteY0" fmla="*/ 4270 h 18651"/>
                  <a:gd name="connsiteX1" fmla="*/ 0 w 10801"/>
                  <a:gd name="connsiteY1" fmla="*/ 0 h 18651"/>
                  <a:gd name="connsiteX2" fmla="*/ 0 w 10801"/>
                  <a:gd name="connsiteY2" fmla="*/ 13815 h 18651"/>
                  <a:gd name="connsiteX3" fmla="*/ 7536 w 10801"/>
                  <a:gd name="connsiteY3" fmla="*/ 18211 h 18651"/>
                  <a:gd name="connsiteX4" fmla="*/ 10801 w 10801"/>
                  <a:gd name="connsiteY4" fmla="*/ 16327 h 18651"/>
                  <a:gd name="connsiteX5" fmla="*/ 10801 w 10801"/>
                  <a:gd name="connsiteY5" fmla="*/ 9922 h 18651"/>
                  <a:gd name="connsiteX6" fmla="*/ 7536 w 10801"/>
                  <a:gd name="connsiteY6" fmla="*/ 4270 h 1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01" h="18651">
                    <a:moveTo>
                      <a:pt x="7536" y="4270"/>
                    </a:moveTo>
                    <a:lnTo>
                      <a:pt x="0" y="0"/>
                    </a:lnTo>
                    <a:lnTo>
                      <a:pt x="0" y="13815"/>
                    </a:lnTo>
                    <a:lnTo>
                      <a:pt x="7536" y="18211"/>
                    </a:lnTo>
                    <a:cubicBezTo>
                      <a:pt x="9294" y="19216"/>
                      <a:pt x="10801" y="18462"/>
                      <a:pt x="10801" y="16327"/>
                    </a:cubicBezTo>
                    <a:lnTo>
                      <a:pt x="10801" y="9922"/>
                    </a:lnTo>
                    <a:cubicBezTo>
                      <a:pt x="10801" y="7787"/>
                      <a:pt x="9420" y="5275"/>
                      <a:pt x="7536" y="4270"/>
                    </a:cubicBezTo>
                    <a:close/>
                  </a:path>
                </a:pathLst>
              </a:custGeom>
              <a:solidFill>
                <a:srgbClr val="CAD1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3" name="Freeform: Shape 2092">
                <a:extLst>
                  <a:ext uri="{FF2B5EF4-FFF2-40B4-BE49-F238E27FC236}">
                    <a16:creationId xmlns:a16="http://schemas.microsoft.com/office/drawing/2014/main" id="{3A24EFE7-DBE4-4440-8DD1-1D72BF8E86FD}"/>
                  </a:ext>
                </a:extLst>
              </p:cNvPr>
              <p:cNvSpPr/>
              <p:nvPr/>
            </p:nvSpPr>
            <p:spPr>
              <a:xfrm>
                <a:off x="3318343" y="1909267"/>
                <a:ext cx="9545" cy="16076"/>
              </a:xfrm>
              <a:custGeom>
                <a:avLst/>
                <a:gdLst>
                  <a:gd name="connsiteX0" fmla="*/ 6908 w 9545"/>
                  <a:gd name="connsiteY0" fmla="*/ 4019 h 16076"/>
                  <a:gd name="connsiteX1" fmla="*/ 0 w 9545"/>
                  <a:gd name="connsiteY1" fmla="*/ 0 h 16076"/>
                  <a:gd name="connsiteX2" fmla="*/ 0 w 9545"/>
                  <a:gd name="connsiteY2" fmla="*/ 11178 h 16076"/>
                  <a:gd name="connsiteX3" fmla="*/ 8038 w 9545"/>
                  <a:gd name="connsiteY3" fmla="*/ 15825 h 16076"/>
                  <a:gd name="connsiteX4" fmla="*/ 8917 w 9545"/>
                  <a:gd name="connsiteY4" fmla="*/ 16076 h 16076"/>
                  <a:gd name="connsiteX5" fmla="*/ 9545 w 9545"/>
                  <a:gd name="connsiteY5" fmla="*/ 14946 h 16076"/>
                  <a:gd name="connsiteX6" fmla="*/ 9545 w 9545"/>
                  <a:gd name="connsiteY6" fmla="*/ 8540 h 16076"/>
                  <a:gd name="connsiteX7" fmla="*/ 6908 w 9545"/>
                  <a:gd name="connsiteY7" fmla="*/ 4019 h 16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45" h="16076">
                    <a:moveTo>
                      <a:pt x="6908" y="4019"/>
                    </a:moveTo>
                    <a:lnTo>
                      <a:pt x="0" y="0"/>
                    </a:lnTo>
                    <a:lnTo>
                      <a:pt x="0" y="11178"/>
                    </a:lnTo>
                    <a:lnTo>
                      <a:pt x="8038" y="15825"/>
                    </a:lnTo>
                    <a:cubicBezTo>
                      <a:pt x="8415" y="16076"/>
                      <a:pt x="8791" y="16076"/>
                      <a:pt x="8917" y="16076"/>
                    </a:cubicBezTo>
                    <a:cubicBezTo>
                      <a:pt x="9545" y="16076"/>
                      <a:pt x="9545" y="15323"/>
                      <a:pt x="9545" y="14946"/>
                    </a:cubicBezTo>
                    <a:lnTo>
                      <a:pt x="9545" y="8540"/>
                    </a:lnTo>
                    <a:cubicBezTo>
                      <a:pt x="9545" y="6908"/>
                      <a:pt x="8289" y="4773"/>
                      <a:pt x="6908" y="4019"/>
                    </a:cubicBezTo>
                    <a:close/>
                  </a:path>
                </a:pathLst>
              </a:custGeom>
              <a:solidFill>
                <a:srgbClr val="F7FBF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4" name="Freeform: Shape 2093">
                <a:extLst>
                  <a:ext uri="{FF2B5EF4-FFF2-40B4-BE49-F238E27FC236}">
                    <a16:creationId xmlns:a16="http://schemas.microsoft.com/office/drawing/2014/main" id="{0F671A6A-70C7-4FFE-A5A8-54052749E2C3}"/>
                  </a:ext>
                </a:extLst>
              </p:cNvPr>
              <p:cNvSpPr/>
              <p:nvPr/>
            </p:nvSpPr>
            <p:spPr>
              <a:xfrm>
                <a:off x="3387923" y="1945690"/>
                <a:ext cx="5777" cy="17080"/>
              </a:xfrm>
              <a:custGeom>
                <a:avLst/>
                <a:gdLst>
                  <a:gd name="connsiteX0" fmla="*/ 5777 w 5777"/>
                  <a:gd name="connsiteY0" fmla="*/ 13690 h 17080"/>
                  <a:gd name="connsiteX1" fmla="*/ 0 w 5777"/>
                  <a:gd name="connsiteY1" fmla="*/ 17081 h 17080"/>
                  <a:gd name="connsiteX2" fmla="*/ 0 w 5777"/>
                  <a:gd name="connsiteY2" fmla="*/ 3265 h 17080"/>
                  <a:gd name="connsiteX3" fmla="*/ 5777 w 5777"/>
                  <a:gd name="connsiteY3" fmla="*/ 0 h 17080"/>
                </a:gdLst>
                <a:ahLst/>
                <a:cxnLst>
                  <a:cxn ang="0">
                    <a:pos x="connsiteX0" y="connsiteY0"/>
                  </a:cxn>
                  <a:cxn ang="0">
                    <a:pos x="connsiteX1" y="connsiteY1"/>
                  </a:cxn>
                  <a:cxn ang="0">
                    <a:pos x="connsiteX2" y="connsiteY2"/>
                  </a:cxn>
                  <a:cxn ang="0">
                    <a:pos x="connsiteX3" y="connsiteY3"/>
                  </a:cxn>
                </a:cxnLst>
                <a:rect l="l" t="t" r="r" b="b"/>
                <a:pathLst>
                  <a:path w="5777" h="17080">
                    <a:moveTo>
                      <a:pt x="5777" y="13690"/>
                    </a:moveTo>
                    <a:lnTo>
                      <a:pt x="0" y="17081"/>
                    </a:lnTo>
                    <a:lnTo>
                      <a:pt x="0" y="3265"/>
                    </a:lnTo>
                    <a:lnTo>
                      <a:pt x="5777" y="0"/>
                    </a:lnTo>
                    <a:close/>
                  </a:path>
                </a:pathLst>
              </a:custGeom>
              <a:solidFill>
                <a:srgbClr val="FFA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5" name="Freeform: Shape 2094">
                <a:extLst>
                  <a:ext uri="{FF2B5EF4-FFF2-40B4-BE49-F238E27FC236}">
                    <a16:creationId xmlns:a16="http://schemas.microsoft.com/office/drawing/2014/main" id="{3FDC549E-9766-464A-A88C-416C21F87B44}"/>
                  </a:ext>
                </a:extLst>
              </p:cNvPr>
              <p:cNvSpPr/>
              <p:nvPr/>
            </p:nvSpPr>
            <p:spPr>
              <a:xfrm>
                <a:off x="3417940" y="1922706"/>
                <a:ext cx="12433" cy="20723"/>
              </a:xfrm>
              <a:custGeom>
                <a:avLst/>
                <a:gdLst>
                  <a:gd name="connsiteX0" fmla="*/ 12434 w 12433"/>
                  <a:gd name="connsiteY0" fmla="*/ 19593 h 20723"/>
                  <a:gd name="connsiteX1" fmla="*/ 10425 w 12433"/>
                  <a:gd name="connsiteY1" fmla="*/ 20723 h 20723"/>
                  <a:gd name="connsiteX2" fmla="*/ 251 w 12433"/>
                  <a:gd name="connsiteY2" fmla="*/ 19090 h 20723"/>
                  <a:gd name="connsiteX3" fmla="*/ 0 w 12433"/>
                  <a:gd name="connsiteY3" fmla="*/ 19216 h 20723"/>
                  <a:gd name="connsiteX4" fmla="*/ 0 w 12433"/>
                  <a:gd name="connsiteY4" fmla="*/ 7159 h 20723"/>
                  <a:gd name="connsiteX5" fmla="*/ 251 w 12433"/>
                  <a:gd name="connsiteY5" fmla="*/ 7033 h 20723"/>
                  <a:gd name="connsiteX6" fmla="*/ 12434 w 12433"/>
                  <a:gd name="connsiteY6" fmla="*/ 0 h 20723"/>
                  <a:gd name="connsiteX7" fmla="*/ 12434 w 12433"/>
                  <a:gd name="connsiteY7" fmla="*/ 19593 h 20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3" h="20723">
                    <a:moveTo>
                      <a:pt x="12434" y="19593"/>
                    </a:moveTo>
                    <a:lnTo>
                      <a:pt x="10425" y="20723"/>
                    </a:lnTo>
                    <a:cubicBezTo>
                      <a:pt x="8164" y="18086"/>
                      <a:pt x="4522" y="17332"/>
                      <a:pt x="251" y="19090"/>
                    </a:cubicBezTo>
                    <a:cubicBezTo>
                      <a:pt x="126" y="19090"/>
                      <a:pt x="126" y="19090"/>
                      <a:pt x="0" y="19216"/>
                    </a:cubicBezTo>
                    <a:lnTo>
                      <a:pt x="0" y="7159"/>
                    </a:lnTo>
                    <a:lnTo>
                      <a:pt x="251" y="7033"/>
                    </a:lnTo>
                    <a:lnTo>
                      <a:pt x="12434" y="0"/>
                    </a:lnTo>
                    <a:lnTo>
                      <a:pt x="12434" y="19593"/>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6" name="Freeform: Shape 2095">
                <a:extLst>
                  <a:ext uri="{FF2B5EF4-FFF2-40B4-BE49-F238E27FC236}">
                    <a16:creationId xmlns:a16="http://schemas.microsoft.com/office/drawing/2014/main" id="{6BC37440-A7A0-4080-BC2B-F7AFA8CA4968}"/>
                  </a:ext>
                </a:extLst>
              </p:cNvPr>
              <p:cNvSpPr/>
              <p:nvPr/>
            </p:nvSpPr>
            <p:spPr>
              <a:xfrm>
                <a:off x="3544540" y="1856769"/>
                <a:ext cx="21727" cy="25118"/>
              </a:xfrm>
              <a:custGeom>
                <a:avLst/>
                <a:gdLst>
                  <a:gd name="connsiteX0" fmla="*/ 19341 w 21727"/>
                  <a:gd name="connsiteY0" fmla="*/ 8540 h 25118"/>
                  <a:gd name="connsiteX1" fmla="*/ 4647 w 21727"/>
                  <a:gd name="connsiteY1" fmla="*/ 0 h 25118"/>
                  <a:gd name="connsiteX2" fmla="*/ 0 w 21727"/>
                  <a:gd name="connsiteY2" fmla="*/ 377 h 25118"/>
                  <a:gd name="connsiteX3" fmla="*/ 1884 w 21727"/>
                  <a:gd name="connsiteY3" fmla="*/ 13690 h 25118"/>
                  <a:gd name="connsiteX4" fmla="*/ 21728 w 21727"/>
                  <a:gd name="connsiteY4" fmla="*/ 25119 h 25118"/>
                  <a:gd name="connsiteX5" fmla="*/ 19341 w 21727"/>
                  <a:gd name="connsiteY5" fmla="*/ 8540 h 2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727" h="25118">
                    <a:moveTo>
                      <a:pt x="19341" y="8540"/>
                    </a:moveTo>
                    <a:lnTo>
                      <a:pt x="4647" y="0"/>
                    </a:lnTo>
                    <a:cubicBezTo>
                      <a:pt x="3140" y="126"/>
                      <a:pt x="1507" y="126"/>
                      <a:pt x="0" y="377"/>
                    </a:cubicBezTo>
                    <a:lnTo>
                      <a:pt x="1884" y="13690"/>
                    </a:lnTo>
                    <a:lnTo>
                      <a:pt x="21728" y="25119"/>
                    </a:lnTo>
                    <a:lnTo>
                      <a:pt x="19341" y="8540"/>
                    </a:lnTo>
                    <a:close/>
                  </a:path>
                </a:pathLst>
              </a:custGeom>
              <a:solidFill>
                <a:srgbClr val="1415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97" name="Graphic 4">
                <a:extLst>
                  <a:ext uri="{FF2B5EF4-FFF2-40B4-BE49-F238E27FC236}">
                    <a16:creationId xmlns:a16="http://schemas.microsoft.com/office/drawing/2014/main" id="{84FB7ED1-A2DF-40A1-A747-5F7CF3F14040}"/>
                  </a:ext>
                </a:extLst>
              </p:cNvPr>
              <p:cNvGrpSpPr/>
              <p:nvPr/>
            </p:nvGrpSpPr>
            <p:grpSpPr>
              <a:xfrm>
                <a:off x="3532231" y="1861881"/>
                <a:ext cx="31524" cy="34864"/>
                <a:chOff x="3532231" y="1861881"/>
                <a:chExt cx="31524" cy="34864"/>
              </a:xfrm>
              <a:solidFill>
                <a:schemeClr val="accent1"/>
              </a:solidFill>
            </p:grpSpPr>
            <p:sp>
              <p:nvSpPr>
                <p:cNvPr id="2098" name="Freeform: Shape 2097">
                  <a:extLst>
                    <a:ext uri="{FF2B5EF4-FFF2-40B4-BE49-F238E27FC236}">
                      <a16:creationId xmlns:a16="http://schemas.microsoft.com/office/drawing/2014/main" id="{7795EA9A-6ECC-484B-AF5F-3B01BA5ED7CE}"/>
                    </a:ext>
                  </a:extLst>
                </p:cNvPr>
                <p:cNvSpPr/>
                <p:nvPr/>
              </p:nvSpPr>
              <p:spPr>
                <a:xfrm>
                  <a:off x="3535696" y="1862522"/>
                  <a:ext cx="24504" cy="33144"/>
                </a:xfrm>
                <a:custGeom>
                  <a:avLst/>
                  <a:gdLst>
                    <a:gd name="connsiteX0" fmla="*/ 0 w 24504"/>
                    <a:gd name="connsiteY0" fmla="*/ 28496 h 33144"/>
                    <a:gd name="connsiteX1" fmla="*/ 16456 w 24504"/>
                    <a:gd name="connsiteY1" fmla="*/ 0 h 33144"/>
                    <a:gd name="connsiteX2" fmla="*/ 24505 w 24504"/>
                    <a:gd name="connsiteY2" fmla="*/ 4648 h 33144"/>
                    <a:gd name="connsiteX3" fmla="*/ 8049 w 24504"/>
                    <a:gd name="connsiteY3" fmla="*/ 33144 h 33144"/>
                  </a:gdLst>
                  <a:ahLst/>
                  <a:cxnLst>
                    <a:cxn ang="0">
                      <a:pos x="connsiteX0" y="connsiteY0"/>
                    </a:cxn>
                    <a:cxn ang="0">
                      <a:pos x="connsiteX1" y="connsiteY1"/>
                    </a:cxn>
                    <a:cxn ang="0">
                      <a:pos x="connsiteX2" y="connsiteY2"/>
                    </a:cxn>
                    <a:cxn ang="0">
                      <a:pos x="connsiteX3" y="connsiteY3"/>
                    </a:cxn>
                  </a:cxnLst>
                  <a:rect l="l" t="t" r="r" b="b"/>
                  <a:pathLst>
                    <a:path w="24504" h="33144">
                      <a:moveTo>
                        <a:pt x="0" y="28496"/>
                      </a:moveTo>
                      <a:lnTo>
                        <a:pt x="16456" y="0"/>
                      </a:lnTo>
                      <a:lnTo>
                        <a:pt x="24505" y="4648"/>
                      </a:lnTo>
                      <a:lnTo>
                        <a:pt x="8049" y="33144"/>
                      </a:ln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99" name="Graphic 4">
                  <a:extLst>
                    <a:ext uri="{FF2B5EF4-FFF2-40B4-BE49-F238E27FC236}">
                      <a16:creationId xmlns:a16="http://schemas.microsoft.com/office/drawing/2014/main" id="{84FB7ED1-A2DF-40A1-A747-5F7CF3F14040}"/>
                    </a:ext>
                  </a:extLst>
                </p:cNvPr>
                <p:cNvGrpSpPr/>
                <p:nvPr/>
              </p:nvGrpSpPr>
              <p:grpSpPr>
                <a:xfrm>
                  <a:off x="3532231" y="1861881"/>
                  <a:ext cx="31524" cy="34864"/>
                  <a:chOff x="3532231" y="1861881"/>
                  <a:chExt cx="31524" cy="34864"/>
                </a:xfrm>
                <a:solidFill>
                  <a:schemeClr val="accent1"/>
                </a:solidFill>
              </p:grpSpPr>
              <p:sp>
                <p:nvSpPr>
                  <p:cNvPr id="2100" name="Freeform: Shape 2099">
                    <a:extLst>
                      <a:ext uri="{FF2B5EF4-FFF2-40B4-BE49-F238E27FC236}">
                        <a16:creationId xmlns:a16="http://schemas.microsoft.com/office/drawing/2014/main" id="{5AE939D6-556C-41F9-9D3D-A0D047E3A83E}"/>
                      </a:ext>
                    </a:extLst>
                  </p:cNvPr>
                  <p:cNvSpPr/>
                  <p:nvPr/>
                </p:nvSpPr>
                <p:spPr>
                  <a:xfrm>
                    <a:off x="3532231" y="1861881"/>
                    <a:ext cx="23360" cy="30091"/>
                  </a:xfrm>
                  <a:custGeom>
                    <a:avLst/>
                    <a:gdLst>
                      <a:gd name="connsiteX0" fmla="*/ 23360 w 23360"/>
                      <a:gd name="connsiteY0" fmla="*/ 8327 h 30091"/>
                      <a:gd name="connsiteX1" fmla="*/ 11680 w 23360"/>
                      <a:gd name="connsiteY1" fmla="*/ 1545 h 30091"/>
                      <a:gd name="connsiteX2" fmla="*/ 0 w 23360"/>
                      <a:gd name="connsiteY2" fmla="*/ 21765 h 30091"/>
                      <a:gd name="connsiteX3" fmla="*/ 11680 w 23360"/>
                      <a:gd name="connsiteY3" fmla="*/ 28547 h 30091"/>
                      <a:gd name="connsiteX4" fmla="*/ 23360 w 23360"/>
                      <a:gd name="connsiteY4" fmla="*/ 8327 h 30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60" h="30091">
                        <a:moveTo>
                          <a:pt x="23360" y="8327"/>
                        </a:moveTo>
                        <a:cubicBezTo>
                          <a:pt x="23360" y="917"/>
                          <a:pt x="18086" y="-2098"/>
                          <a:pt x="11680" y="1545"/>
                        </a:cubicBezTo>
                        <a:cubicBezTo>
                          <a:pt x="5275" y="5312"/>
                          <a:pt x="0" y="14230"/>
                          <a:pt x="0" y="21765"/>
                        </a:cubicBezTo>
                        <a:cubicBezTo>
                          <a:pt x="0" y="29175"/>
                          <a:pt x="5149" y="32190"/>
                          <a:pt x="11680" y="28547"/>
                        </a:cubicBezTo>
                        <a:cubicBezTo>
                          <a:pt x="18211" y="24780"/>
                          <a:pt x="23360" y="15737"/>
                          <a:pt x="23360" y="8327"/>
                        </a:cubicBez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1" name="Freeform: Shape 2100">
                    <a:extLst>
                      <a:ext uri="{FF2B5EF4-FFF2-40B4-BE49-F238E27FC236}">
                        <a16:creationId xmlns:a16="http://schemas.microsoft.com/office/drawing/2014/main" id="{82ECF30F-F5BC-4FBC-A76A-583D16AA8ED3}"/>
                      </a:ext>
                    </a:extLst>
                  </p:cNvPr>
                  <p:cNvSpPr/>
                  <p:nvPr/>
                </p:nvSpPr>
                <p:spPr>
                  <a:xfrm>
                    <a:off x="3540395" y="1866653"/>
                    <a:ext cx="23360" cy="30091"/>
                  </a:xfrm>
                  <a:custGeom>
                    <a:avLst/>
                    <a:gdLst>
                      <a:gd name="connsiteX0" fmla="*/ 23361 w 23360"/>
                      <a:gd name="connsiteY0" fmla="*/ 8327 h 30091"/>
                      <a:gd name="connsiteX1" fmla="*/ 11680 w 23360"/>
                      <a:gd name="connsiteY1" fmla="*/ 1545 h 30091"/>
                      <a:gd name="connsiteX2" fmla="*/ 0 w 23360"/>
                      <a:gd name="connsiteY2" fmla="*/ 21765 h 30091"/>
                      <a:gd name="connsiteX3" fmla="*/ 11680 w 23360"/>
                      <a:gd name="connsiteY3" fmla="*/ 28547 h 30091"/>
                      <a:gd name="connsiteX4" fmla="*/ 23361 w 23360"/>
                      <a:gd name="connsiteY4" fmla="*/ 8327 h 30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60" h="30091">
                        <a:moveTo>
                          <a:pt x="23361" y="8327"/>
                        </a:moveTo>
                        <a:cubicBezTo>
                          <a:pt x="23361" y="917"/>
                          <a:pt x="18211" y="-2098"/>
                          <a:pt x="11680" y="1545"/>
                        </a:cubicBezTo>
                        <a:cubicBezTo>
                          <a:pt x="5275" y="5312"/>
                          <a:pt x="0" y="14230"/>
                          <a:pt x="0" y="21765"/>
                        </a:cubicBezTo>
                        <a:cubicBezTo>
                          <a:pt x="0" y="29175"/>
                          <a:pt x="5275" y="32190"/>
                          <a:pt x="11680" y="28547"/>
                        </a:cubicBezTo>
                        <a:cubicBezTo>
                          <a:pt x="18211" y="24780"/>
                          <a:pt x="23361" y="15737"/>
                          <a:pt x="23361" y="8327"/>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2" name="Freeform: Shape 2101">
                    <a:extLst>
                      <a:ext uri="{FF2B5EF4-FFF2-40B4-BE49-F238E27FC236}">
                        <a16:creationId xmlns:a16="http://schemas.microsoft.com/office/drawing/2014/main" id="{CB9FCCBB-5921-48BB-9BEA-F523C49BFC73}"/>
                      </a:ext>
                    </a:extLst>
                  </p:cNvPr>
                  <p:cNvSpPr/>
                  <p:nvPr/>
                </p:nvSpPr>
                <p:spPr>
                  <a:xfrm>
                    <a:off x="3545042" y="1872615"/>
                    <a:ext cx="14066" cy="18169"/>
                  </a:xfrm>
                  <a:custGeom>
                    <a:avLst/>
                    <a:gdLst>
                      <a:gd name="connsiteX0" fmla="*/ 14067 w 14066"/>
                      <a:gd name="connsiteY0" fmla="*/ 5003 h 18169"/>
                      <a:gd name="connsiteX1" fmla="*/ 7033 w 14066"/>
                      <a:gd name="connsiteY1" fmla="*/ 984 h 18169"/>
                      <a:gd name="connsiteX2" fmla="*/ 0 w 14066"/>
                      <a:gd name="connsiteY2" fmla="*/ 13166 h 18169"/>
                      <a:gd name="connsiteX3" fmla="*/ 7033 w 14066"/>
                      <a:gd name="connsiteY3" fmla="*/ 17185 h 18169"/>
                      <a:gd name="connsiteX4" fmla="*/ 14067 w 14066"/>
                      <a:gd name="connsiteY4" fmla="*/ 5003 h 18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6" h="18169">
                        <a:moveTo>
                          <a:pt x="14067" y="5003"/>
                        </a:moveTo>
                        <a:cubicBezTo>
                          <a:pt x="14067" y="481"/>
                          <a:pt x="10927" y="-1277"/>
                          <a:pt x="7033" y="984"/>
                        </a:cubicBezTo>
                        <a:cubicBezTo>
                          <a:pt x="3140" y="3244"/>
                          <a:pt x="0" y="8645"/>
                          <a:pt x="0" y="13166"/>
                        </a:cubicBezTo>
                        <a:cubicBezTo>
                          <a:pt x="0" y="17688"/>
                          <a:pt x="3140" y="19446"/>
                          <a:pt x="7033" y="17185"/>
                        </a:cubicBezTo>
                        <a:cubicBezTo>
                          <a:pt x="10927" y="14925"/>
                          <a:pt x="14067" y="9524"/>
                          <a:pt x="14067" y="5003"/>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3" name="Freeform: Shape 2102">
                    <a:extLst>
                      <a:ext uri="{FF2B5EF4-FFF2-40B4-BE49-F238E27FC236}">
                        <a16:creationId xmlns:a16="http://schemas.microsoft.com/office/drawing/2014/main" id="{165513F4-0734-4FB5-81B4-373E006B1886}"/>
                      </a:ext>
                    </a:extLst>
                  </p:cNvPr>
                  <p:cNvSpPr/>
                  <p:nvPr/>
                </p:nvSpPr>
                <p:spPr>
                  <a:xfrm>
                    <a:off x="3545921" y="1873740"/>
                    <a:ext cx="12308" cy="15918"/>
                  </a:xfrm>
                  <a:custGeom>
                    <a:avLst/>
                    <a:gdLst>
                      <a:gd name="connsiteX0" fmla="*/ 12308 w 12308"/>
                      <a:gd name="connsiteY0" fmla="*/ 4380 h 15918"/>
                      <a:gd name="connsiteX1" fmla="*/ 6154 w 12308"/>
                      <a:gd name="connsiteY1" fmla="*/ 863 h 15918"/>
                      <a:gd name="connsiteX2" fmla="*/ 0 w 12308"/>
                      <a:gd name="connsiteY2" fmla="*/ 11539 h 15918"/>
                      <a:gd name="connsiteX3" fmla="*/ 6154 w 12308"/>
                      <a:gd name="connsiteY3" fmla="*/ 15055 h 15918"/>
                      <a:gd name="connsiteX4" fmla="*/ 12308 w 12308"/>
                      <a:gd name="connsiteY4" fmla="*/ 4380 h 15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08" h="15918">
                        <a:moveTo>
                          <a:pt x="12308" y="4380"/>
                        </a:moveTo>
                        <a:cubicBezTo>
                          <a:pt x="12308" y="486"/>
                          <a:pt x="9545" y="-1146"/>
                          <a:pt x="6154" y="863"/>
                        </a:cubicBezTo>
                        <a:cubicBezTo>
                          <a:pt x="2763" y="2873"/>
                          <a:pt x="0" y="7645"/>
                          <a:pt x="0" y="11539"/>
                        </a:cubicBezTo>
                        <a:cubicBezTo>
                          <a:pt x="0" y="15432"/>
                          <a:pt x="2763" y="17065"/>
                          <a:pt x="6154" y="15055"/>
                        </a:cubicBezTo>
                        <a:cubicBezTo>
                          <a:pt x="9545" y="13046"/>
                          <a:pt x="12308" y="8273"/>
                          <a:pt x="12308" y="4380"/>
                        </a:cubicBezTo>
                        <a:close/>
                      </a:path>
                    </a:pathLst>
                  </a:custGeom>
                  <a:solidFill>
                    <a:srgbClr val="5A5E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4" name="Freeform: Shape 2103">
                    <a:extLst>
                      <a:ext uri="{FF2B5EF4-FFF2-40B4-BE49-F238E27FC236}">
                        <a16:creationId xmlns:a16="http://schemas.microsoft.com/office/drawing/2014/main" id="{1F41DAA9-43F1-462C-BD22-086240725A10}"/>
                      </a:ext>
                    </a:extLst>
                  </p:cNvPr>
                  <p:cNvSpPr/>
                  <p:nvPr/>
                </p:nvSpPr>
                <p:spPr>
                  <a:xfrm>
                    <a:off x="3546424" y="1874369"/>
                    <a:ext cx="11303" cy="14409"/>
                  </a:xfrm>
                  <a:custGeom>
                    <a:avLst/>
                    <a:gdLst>
                      <a:gd name="connsiteX0" fmla="*/ 11303 w 11303"/>
                      <a:gd name="connsiteY0" fmla="*/ 4002 h 14409"/>
                      <a:gd name="connsiteX1" fmla="*/ 5652 w 11303"/>
                      <a:gd name="connsiteY1" fmla="*/ 737 h 14409"/>
                      <a:gd name="connsiteX2" fmla="*/ 0 w 11303"/>
                      <a:gd name="connsiteY2" fmla="*/ 10408 h 14409"/>
                      <a:gd name="connsiteX3" fmla="*/ 5652 w 11303"/>
                      <a:gd name="connsiteY3" fmla="*/ 13673 h 14409"/>
                      <a:gd name="connsiteX4" fmla="*/ 11303 w 11303"/>
                      <a:gd name="connsiteY4" fmla="*/ 4002 h 14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3" h="14409">
                        <a:moveTo>
                          <a:pt x="11303" y="4002"/>
                        </a:moveTo>
                        <a:cubicBezTo>
                          <a:pt x="11303" y="486"/>
                          <a:pt x="8791" y="-1022"/>
                          <a:pt x="5652" y="737"/>
                        </a:cubicBezTo>
                        <a:cubicBezTo>
                          <a:pt x="2512" y="2495"/>
                          <a:pt x="0" y="6891"/>
                          <a:pt x="0" y="10408"/>
                        </a:cubicBezTo>
                        <a:cubicBezTo>
                          <a:pt x="0" y="13924"/>
                          <a:pt x="2512" y="15431"/>
                          <a:pt x="5652" y="13673"/>
                        </a:cubicBezTo>
                        <a:cubicBezTo>
                          <a:pt x="8791" y="11915"/>
                          <a:pt x="11303" y="7644"/>
                          <a:pt x="11303" y="4002"/>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5" name="Freeform: Shape 2104">
                    <a:extLst>
                      <a:ext uri="{FF2B5EF4-FFF2-40B4-BE49-F238E27FC236}">
                        <a16:creationId xmlns:a16="http://schemas.microsoft.com/office/drawing/2014/main" id="{D918C9D4-CC6D-466B-8FD8-58DAEA085A7C}"/>
                      </a:ext>
                    </a:extLst>
                  </p:cNvPr>
                  <p:cNvSpPr/>
                  <p:nvPr/>
                </p:nvSpPr>
                <p:spPr>
                  <a:xfrm>
                    <a:off x="3547303" y="1875394"/>
                    <a:ext cx="9671" cy="12611"/>
                  </a:xfrm>
                  <a:custGeom>
                    <a:avLst/>
                    <a:gdLst>
                      <a:gd name="connsiteX0" fmla="*/ 9671 w 9671"/>
                      <a:gd name="connsiteY0" fmla="*/ 3480 h 12611"/>
                      <a:gd name="connsiteX1" fmla="*/ 4898 w 9671"/>
                      <a:gd name="connsiteY1" fmla="*/ 717 h 12611"/>
                      <a:gd name="connsiteX2" fmla="*/ 0 w 9671"/>
                      <a:gd name="connsiteY2" fmla="*/ 9132 h 12611"/>
                      <a:gd name="connsiteX3" fmla="*/ 4898 w 9671"/>
                      <a:gd name="connsiteY3" fmla="*/ 11895 h 12611"/>
                      <a:gd name="connsiteX4" fmla="*/ 9671 w 9671"/>
                      <a:gd name="connsiteY4" fmla="*/ 3480 h 12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71" h="12611">
                        <a:moveTo>
                          <a:pt x="9671" y="3480"/>
                        </a:moveTo>
                        <a:cubicBezTo>
                          <a:pt x="9671" y="340"/>
                          <a:pt x="7536" y="-916"/>
                          <a:pt x="4898" y="717"/>
                        </a:cubicBezTo>
                        <a:cubicBezTo>
                          <a:pt x="2261" y="2224"/>
                          <a:pt x="0" y="5992"/>
                          <a:pt x="0" y="9132"/>
                        </a:cubicBezTo>
                        <a:cubicBezTo>
                          <a:pt x="0" y="12271"/>
                          <a:pt x="2135" y="13527"/>
                          <a:pt x="4898" y="11895"/>
                        </a:cubicBezTo>
                        <a:cubicBezTo>
                          <a:pt x="7536" y="10262"/>
                          <a:pt x="9671" y="6620"/>
                          <a:pt x="9671" y="3480"/>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6" name="Freeform: Shape 2105">
                    <a:extLst>
                      <a:ext uri="{FF2B5EF4-FFF2-40B4-BE49-F238E27FC236}">
                        <a16:creationId xmlns:a16="http://schemas.microsoft.com/office/drawing/2014/main" id="{EE64CBBE-E86B-42BF-A625-E9F79956A7A2}"/>
                      </a:ext>
                    </a:extLst>
                  </p:cNvPr>
                  <p:cNvSpPr/>
                  <p:nvPr/>
                </p:nvSpPr>
                <p:spPr>
                  <a:xfrm>
                    <a:off x="3548056" y="1876271"/>
                    <a:ext cx="8288" cy="10730"/>
                  </a:xfrm>
                  <a:custGeom>
                    <a:avLst/>
                    <a:gdLst>
                      <a:gd name="connsiteX0" fmla="*/ 8289 w 8288"/>
                      <a:gd name="connsiteY0" fmla="*/ 2979 h 10730"/>
                      <a:gd name="connsiteX1" fmla="*/ 4144 w 8288"/>
                      <a:gd name="connsiteY1" fmla="*/ 593 h 10730"/>
                      <a:gd name="connsiteX2" fmla="*/ 0 w 8288"/>
                      <a:gd name="connsiteY2" fmla="*/ 7752 h 10730"/>
                      <a:gd name="connsiteX3" fmla="*/ 4144 w 8288"/>
                      <a:gd name="connsiteY3" fmla="*/ 10138 h 10730"/>
                      <a:gd name="connsiteX4" fmla="*/ 8289 w 8288"/>
                      <a:gd name="connsiteY4" fmla="*/ 2979 h 10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8" h="10730">
                        <a:moveTo>
                          <a:pt x="8289" y="2979"/>
                        </a:moveTo>
                        <a:cubicBezTo>
                          <a:pt x="8289" y="342"/>
                          <a:pt x="6405" y="-789"/>
                          <a:pt x="4144" y="593"/>
                        </a:cubicBezTo>
                        <a:cubicBezTo>
                          <a:pt x="1884" y="1974"/>
                          <a:pt x="0" y="5114"/>
                          <a:pt x="0" y="7752"/>
                        </a:cubicBezTo>
                        <a:cubicBezTo>
                          <a:pt x="0" y="10389"/>
                          <a:pt x="1884" y="11519"/>
                          <a:pt x="4144" y="10138"/>
                        </a:cubicBezTo>
                        <a:cubicBezTo>
                          <a:pt x="6405" y="8882"/>
                          <a:pt x="8289" y="5617"/>
                          <a:pt x="8289" y="2979"/>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7" name="Freeform: Shape 2106">
                    <a:extLst>
                      <a:ext uri="{FF2B5EF4-FFF2-40B4-BE49-F238E27FC236}">
                        <a16:creationId xmlns:a16="http://schemas.microsoft.com/office/drawing/2014/main" id="{E09784DF-07FE-4A0E-95EC-9AEE2136F0AF}"/>
                      </a:ext>
                    </a:extLst>
                  </p:cNvPr>
                  <p:cNvSpPr/>
                  <p:nvPr/>
                </p:nvSpPr>
                <p:spPr>
                  <a:xfrm>
                    <a:off x="3549312" y="1877924"/>
                    <a:ext cx="5777" cy="7594"/>
                  </a:xfrm>
                  <a:custGeom>
                    <a:avLst/>
                    <a:gdLst>
                      <a:gd name="connsiteX0" fmla="*/ 5778 w 5777"/>
                      <a:gd name="connsiteY0" fmla="*/ 2079 h 7594"/>
                      <a:gd name="connsiteX1" fmla="*/ 2889 w 5777"/>
                      <a:gd name="connsiteY1" fmla="*/ 447 h 7594"/>
                      <a:gd name="connsiteX2" fmla="*/ 0 w 5777"/>
                      <a:gd name="connsiteY2" fmla="*/ 5470 h 7594"/>
                      <a:gd name="connsiteX3" fmla="*/ 2889 w 5777"/>
                      <a:gd name="connsiteY3" fmla="*/ 7229 h 7594"/>
                      <a:gd name="connsiteX4" fmla="*/ 5778 w 5777"/>
                      <a:gd name="connsiteY4" fmla="*/ 2079 h 7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7" h="7594">
                        <a:moveTo>
                          <a:pt x="5778" y="2079"/>
                        </a:moveTo>
                        <a:cubicBezTo>
                          <a:pt x="5778" y="195"/>
                          <a:pt x="4522" y="-558"/>
                          <a:pt x="2889" y="447"/>
                        </a:cubicBezTo>
                        <a:cubicBezTo>
                          <a:pt x="1256" y="1326"/>
                          <a:pt x="0" y="3712"/>
                          <a:pt x="0" y="5470"/>
                        </a:cubicBezTo>
                        <a:cubicBezTo>
                          <a:pt x="0" y="7354"/>
                          <a:pt x="1382" y="8108"/>
                          <a:pt x="2889" y="7229"/>
                        </a:cubicBezTo>
                        <a:cubicBezTo>
                          <a:pt x="4396" y="6224"/>
                          <a:pt x="5778" y="3963"/>
                          <a:pt x="5778" y="2079"/>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8" name="Freeform: Shape 2107">
                    <a:extLst>
                      <a:ext uri="{FF2B5EF4-FFF2-40B4-BE49-F238E27FC236}">
                        <a16:creationId xmlns:a16="http://schemas.microsoft.com/office/drawing/2014/main" id="{6BFD7F64-0A8D-4CD0-8706-416B296C86E5}"/>
                      </a:ext>
                    </a:extLst>
                  </p:cNvPr>
                  <p:cNvSpPr/>
                  <p:nvPr/>
                </p:nvSpPr>
                <p:spPr>
                  <a:xfrm>
                    <a:off x="3551322" y="1883236"/>
                    <a:ext cx="1256" cy="1572"/>
                  </a:xfrm>
                  <a:custGeom>
                    <a:avLst/>
                    <a:gdLst>
                      <a:gd name="connsiteX0" fmla="*/ 1256 w 1256"/>
                      <a:gd name="connsiteY0" fmla="*/ 535 h 1572"/>
                      <a:gd name="connsiteX1" fmla="*/ 754 w 1256"/>
                      <a:gd name="connsiteY1" fmla="*/ 33 h 1572"/>
                      <a:gd name="connsiteX2" fmla="*/ 0 w 1256"/>
                      <a:gd name="connsiteY2" fmla="*/ 1037 h 1572"/>
                      <a:gd name="connsiteX3" fmla="*/ 502 w 1256"/>
                      <a:gd name="connsiteY3" fmla="*/ 1540 h 1572"/>
                      <a:gd name="connsiteX4" fmla="*/ 1256 w 1256"/>
                      <a:gd name="connsiteY4" fmla="*/ 535 h 1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 h="1572">
                        <a:moveTo>
                          <a:pt x="1256" y="535"/>
                        </a:moveTo>
                        <a:cubicBezTo>
                          <a:pt x="1256" y="158"/>
                          <a:pt x="1130" y="-93"/>
                          <a:pt x="754" y="33"/>
                        </a:cubicBezTo>
                        <a:cubicBezTo>
                          <a:pt x="377" y="158"/>
                          <a:pt x="126" y="661"/>
                          <a:pt x="0" y="1037"/>
                        </a:cubicBezTo>
                        <a:cubicBezTo>
                          <a:pt x="0" y="1414"/>
                          <a:pt x="126" y="1665"/>
                          <a:pt x="502" y="1540"/>
                        </a:cubicBezTo>
                        <a:cubicBezTo>
                          <a:pt x="879" y="1414"/>
                          <a:pt x="1256" y="912"/>
                          <a:pt x="1256" y="535"/>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9" name="Freeform: Shape 2108">
                    <a:extLst>
                      <a:ext uri="{FF2B5EF4-FFF2-40B4-BE49-F238E27FC236}">
                        <a16:creationId xmlns:a16="http://schemas.microsoft.com/office/drawing/2014/main" id="{5ECE8887-17BC-4608-A387-CF21838372C8}"/>
                      </a:ext>
                    </a:extLst>
                  </p:cNvPr>
                  <p:cNvSpPr/>
                  <p:nvPr/>
                </p:nvSpPr>
                <p:spPr>
                  <a:xfrm>
                    <a:off x="3549564" y="1882592"/>
                    <a:ext cx="1288" cy="1567"/>
                  </a:xfrm>
                  <a:custGeom>
                    <a:avLst/>
                    <a:gdLst>
                      <a:gd name="connsiteX0" fmla="*/ 754 w 1288"/>
                      <a:gd name="connsiteY0" fmla="*/ 1431 h 1567"/>
                      <a:gd name="connsiteX1" fmla="*/ 1256 w 1288"/>
                      <a:gd name="connsiteY1" fmla="*/ 301 h 1567"/>
                      <a:gd name="connsiteX2" fmla="*/ 502 w 1288"/>
                      <a:gd name="connsiteY2" fmla="*/ 175 h 1567"/>
                      <a:gd name="connsiteX3" fmla="*/ 0 w 1288"/>
                      <a:gd name="connsiteY3" fmla="*/ 1305 h 1567"/>
                      <a:gd name="connsiteX4" fmla="*/ 754 w 1288"/>
                      <a:gd name="connsiteY4" fmla="*/ 1431 h 1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8" h="1567">
                        <a:moveTo>
                          <a:pt x="754" y="1431"/>
                        </a:moveTo>
                        <a:cubicBezTo>
                          <a:pt x="1130" y="1180"/>
                          <a:pt x="1381" y="677"/>
                          <a:pt x="1256" y="301"/>
                        </a:cubicBezTo>
                        <a:cubicBezTo>
                          <a:pt x="1256" y="-76"/>
                          <a:pt x="879" y="-76"/>
                          <a:pt x="502" y="175"/>
                        </a:cubicBezTo>
                        <a:cubicBezTo>
                          <a:pt x="125" y="426"/>
                          <a:pt x="0" y="929"/>
                          <a:pt x="0" y="1305"/>
                        </a:cubicBezTo>
                        <a:cubicBezTo>
                          <a:pt x="0" y="1557"/>
                          <a:pt x="377" y="1682"/>
                          <a:pt x="754" y="1431"/>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0" name="Freeform: Shape 2109">
                    <a:extLst>
                      <a:ext uri="{FF2B5EF4-FFF2-40B4-BE49-F238E27FC236}">
                        <a16:creationId xmlns:a16="http://schemas.microsoft.com/office/drawing/2014/main" id="{8C3AF22B-C2AC-4012-8362-CDB08A4C8A46}"/>
                      </a:ext>
                    </a:extLst>
                  </p:cNvPr>
                  <p:cNvSpPr/>
                  <p:nvPr/>
                </p:nvSpPr>
                <p:spPr>
                  <a:xfrm>
                    <a:off x="3550393" y="1879616"/>
                    <a:ext cx="1228" cy="1529"/>
                  </a:xfrm>
                  <a:custGeom>
                    <a:avLst/>
                    <a:gdLst>
                      <a:gd name="connsiteX0" fmla="*/ 49 w 1228"/>
                      <a:gd name="connsiteY0" fmla="*/ 1393 h 1529"/>
                      <a:gd name="connsiteX1" fmla="*/ 928 w 1228"/>
                      <a:gd name="connsiteY1" fmla="*/ 1267 h 1529"/>
                      <a:gd name="connsiteX2" fmla="*/ 1180 w 1228"/>
                      <a:gd name="connsiteY2" fmla="*/ 137 h 1529"/>
                      <a:gd name="connsiteX3" fmla="*/ 301 w 1228"/>
                      <a:gd name="connsiteY3" fmla="*/ 263 h 1529"/>
                      <a:gd name="connsiteX4" fmla="*/ 49 w 1228"/>
                      <a:gd name="connsiteY4" fmla="*/ 1393 h 1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 h="1529">
                        <a:moveTo>
                          <a:pt x="49" y="1393"/>
                        </a:moveTo>
                        <a:cubicBezTo>
                          <a:pt x="175" y="1644"/>
                          <a:pt x="552" y="1518"/>
                          <a:pt x="928" y="1267"/>
                        </a:cubicBezTo>
                        <a:cubicBezTo>
                          <a:pt x="1180" y="890"/>
                          <a:pt x="1305" y="388"/>
                          <a:pt x="1180" y="137"/>
                        </a:cubicBezTo>
                        <a:cubicBezTo>
                          <a:pt x="1054" y="-114"/>
                          <a:pt x="677" y="11"/>
                          <a:pt x="301" y="263"/>
                        </a:cubicBezTo>
                        <a:cubicBezTo>
                          <a:pt x="49" y="639"/>
                          <a:pt x="-76" y="1142"/>
                          <a:pt x="49" y="1393"/>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1" name="Freeform: Shape 2110">
                    <a:extLst>
                      <a:ext uri="{FF2B5EF4-FFF2-40B4-BE49-F238E27FC236}">
                        <a16:creationId xmlns:a16="http://schemas.microsoft.com/office/drawing/2014/main" id="{4E78A759-42AD-4FB0-8060-6BF999C4DFF7}"/>
                      </a:ext>
                    </a:extLst>
                  </p:cNvPr>
                  <p:cNvSpPr/>
                  <p:nvPr/>
                </p:nvSpPr>
                <p:spPr>
                  <a:xfrm>
                    <a:off x="3552766" y="1878338"/>
                    <a:ext cx="1255" cy="1572"/>
                  </a:xfrm>
                  <a:custGeom>
                    <a:avLst/>
                    <a:gdLst>
                      <a:gd name="connsiteX0" fmla="*/ 188 w 1255"/>
                      <a:gd name="connsiteY0" fmla="*/ 535 h 1572"/>
                      <a:gd name="connsiteX1" fmla="*/ 188 w 1255"/>
                      <a:gd name="connsiteY1" fmla="*/ 1540 h 1572"/>
                      <a:gd name="connsiteX2" fmla="*/ 1068 w 1255"/>
                      <a:gd name="connsiteY2" fmla="*/ 1037 h 1572"/>
                      <a:gd name="connsiteX3" fmla="*/ 1068 w 1255"/>
                      <a:gd name="connsiteY3" fmla="*/ 33 h 1572"/>
                      <a:gd name="connsiteX4" fmla="*/ 188 w 1255"/>
                      <a:gd name="connsiteY4" fmla="*/ 535 h 1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 h="1572">
                        <a:moveTo>
                          <a:pt x="188" y="535"/>
                        </a:moveTo>
                        <a:cubicBezTo>
                          <a:pt x="-63" y="912"/>
                          <a:pt x="-63" y="1414"/>
                          <a:pt x="188" y="1540"/>
                        </a:cubicBezTo>
                        <a:cubicBezTo>
                          <a:pt x="439" y="1665"/>
                          <a:pt x="816" y="1414"/>
                          <a:pt x="1068" y="1037"/>
                        </a:cubicBezTo>
                        <a:cubicBezTo>
                          <a:pt x="1319" y="661"/>
                          <a:pt x="1319" y="158"/>
                          <a:pt x="1068" y="33"/>
                        </a:cubicBezTo>
                        <a:cubicBezTo>
                          <a:pt x="816" y="-93"/>
                          <a:pt x="314" y="158"/>
                          <a:pt x="188" y="535"/>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2" name="Freeform: Shape 2111">
                    <a:extLst>
                      <a:ext uri="{FF2B5EF4-FFF2-40B4-BE49-F238E27FC236}">
                        <a16:creationId xmlns:a16="http://schemas.microsoft.com/office/drawing/2014/main" id="{0BDA6724-AD32-4264-93F1-6F32B0E2F9E9}"/>
                      </a:ext>
                    </a:extLst>
                  </p:cNvPr>
                  <p:cNvSpPr/>
                  <p:nvPr/>
                </p:nvSpPr>
                <p:spPr>
                  <a:xfrm>
                    <a:off x="3553282" y="1880632"/>
                    <a:ext cx="1310" cy="1507"/>
                  </a:xfrm>
                  <a:custGeom>
                    <a:avLst/>
                    <a:gdLst>
                      <a:gd name="connsiteX0" fmla="*/ 929 w 1310"/>
                      <a:gd name="connsiteY0" fmla="*/ 0 h 1507"/>
                      <a:gd name="connsiteX1" fmla="*/ 49 w 1310"/>
                      <a:gd name="connsiteY1" fmla="*/ 754 h 1507"/>
                      <a:gd name="connsiteX2" fmla="*/ 300 w 1310"/>
                      <a:gd name="connsiteY2" fmla="*/ 1507 h 1507"/>
                      <a:gd name="connsiteX3" fmla="*/ 1180 w 1310"/>
                      <a:gd name="connsiteY3" fmla="*/ 754 h 1507"/>
                      <a:gd name="connsiteX4" fmla="*/ 929 w 1310"/>
                      <a:gd name="connsiteY4" fmla="*/ 0 h 1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 h="1507">
                        <a:moveTo>
                          <a:pt x="929" y="0"/>
                        </a:moveTo>
                        <a:cubicBezTo>
                          <a:pt x="678" y="0"/>
                          <a:pt x="300" y="377"/>
                          <a:pt x="49" y="754"/>
                        </a:cubicBezTo>
                        <a:cubicBezTo>
                          <a:pt x="-76" y="1256"/>
                          <a:pt x="49" y="1507"/>
                          <a:pt x="300" y="1507"/>
                        </a:cubicBezTo>
                        <a:cubicBezTo>
                          <a:pt x="552" y="1507"/>
                          <a:pt x="929" y="1130"/>
                          <a:pt x="1180" y="754"/>
                        </a:cubicBezTo>
                        <a:cubicBezTo>
                          <a:pt x="1431" y="251"/>
                          <a:pt x="1305" y="0"/>
                          <a:pt x="929" y="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113" name="Freeform: Shape 2112">
                <a:extLst>
                  <a:ext uri="{FF2B5EF4-FFF2-40B4-BE49-F238E27FC236}">
                    <a16:creationId xmlns:a16="http://schemas.microsoft.com/office/drawing/2014/main" id="{885A063E-5A87-4B52-8553-BC73E40CB05F}"/>
                  </a:ext>
                </a:extLst>
              </p:cNvPr>
              <p:cNvSpPr/>
              <p:nvPr/>
            </p:nvSpPr>
            <p:spPr>
              <a:xfrm>
                <a:off x="3521430" y="1851870"/>
                <a:ext cx="31273" cy="38118"/>
              </a:xfrm>
              <a:custGeom>
                <a:avLst/>
                <a:gdLst>
                  <a:gd name="connsiteX0" fmla="*/ 31273 w 31273"/>
                  <a:gd name="connsiteY0" fmla="*/ 0 h 38118"/>
                  <a:gd name="connsiteX1" fmla="*/ 31273 w 31273"/>
                  <a:gd name="connsiteY1" fmla="*/ 12936 h 38118"/>
                  <a:gd name="connsiteX2" fmla="*/ 31022 w 31273"/>
                  <a:gd name="connsiteY2" fmla="*/ 13062 h 38118"/>
                  <a:gd name="connsiteX3" fmla="*/ 28761 w 31273"/>
                  <a:gd name="connsiteY3" fmla="*/ 14192 h 38118"/>
                  <a:gd name="connsiteX4" fmla="*/ 15699 w 31273"/>
                  <a:gd name="connsiteY4" fmla="*/ 30520 h 38118"/>
                  <a:gd name="connsiteX5" fmla="*/ 3266 w 31273"/>
                  <a:gd name="connsiteY5" fmla="*/ 37678 h 38118"/>
                  <a:gd name="connsiteX6" fmla="*/ 0 w 31273"/>
                  <a:gd name="connsiteY6" fmla="*/ 35794 h 38118"/>
                  <a:gd name="connsiteX7" fmla="*/ 0 w 31273"/>
                  <a:gd name="connsiteY7" fmla="*/ 18211 h 38118"/>
                  <a:gd name="connsiteX8" fmla="*/ 31273 w 31273"/>
                  <a:gd name="connsiteY8" fmla="*/ 0 h 3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73" h="38118">
                    <a:moveTo>
                      <a:pt x="31273" y="0"/>
                    </a:moveTo>
                    <a:lnTo>
                      <a:pt x="31273" y="12936"/>
                    </a:lnTo>
                    <a:cubicBezTo>
                      <a:pt x="31148" y="12936"/>
                      <a:pt x="31148" y="12936"/>
                      <a:pt x="31022" y="13062"/>
                    </a:cubicBezTo>
                    <a:cubicBezTo>
                      <a:pt x="30268" y="13313"/>
                      <a:pt x="29515" y="13690"/>
                      <a:pt x="28761" y="14192"/>
                    </a:cubicBezTo>
                    <a:cubicBezTo>
                      <a:pt x="23110" y="17458"/>
                      <a:pt x="18337" y="23737"/>
                      <a:pt x="15699" y="30520"/>
                    </a:cubicBezTo>
                    <a:lnTo>
                      <a:pt x="3266" y="37678"/>
                    </a:lnTo>
                    <a:cubicBezTo>
                      <a:pt x="1507" y="38683"/>
                      <a:pt x="0" y="37930"/>
                      <a:pt x="0" y="35794"/>
                    </a:cubicBezTo>
                    <a:lnTo>
                      <a:pt x="0" y="18211"/>
                    </a:lnTo>
                    <a:lnTo>
                      <a:pt x="31273" y="0"/>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4" name="Freeform: Shape 2113">
                <a:extLst>
                  <a:ext uri="{FF2B5EF4-FFF2-40B4-BE49-F238E27FC236}">
                    <a16:creationId xmlns:a16="http://schemas.microsoft.com/office/drawing/2014/main" id="{1E76F698-8569-4133-B1DB-7A3864B39EE6}"/>
                  </a:ext>
                </a:extLst>
              </p:cNvPr>
              <p:cNvSpPr/>
              <p:nvPr/>
            </p:nvSpPr>
            <p:spPr>
              <a:xfrm>
                <a:off x="3552327" y="1843079"/>
                <a:ext cx="15447" cy="23360"/>
              </a:xfrm>
              <a:custGeom>
                <a:avLst/>
                <a:gdLst>
                  <a:gd name="connsiteX0" fmla="*/ 15448 w 15447"/>
                  <a:gd name="connsiteY0" fmla="*/ 20346 h 23360"/>
                  <a:gd name="connsiteX1" fmla="*/ 10424 w 15447"/>
                  <a:gd name="connsiteY1" fmla="*/ 23361 h 23360"/>
                  <a:gd name="connsiteX2" fmla="*/ 251 w 15447"/>
                  <a:gd name="connsiteY2" fmla="*/ 21728 h 23360"/>
                  <a:gd name="connsiteX3" fmla="*/ 0 w 15447"/>
                  <a:gd name="connsiteY3" fmla="*/ 21854 h 23360"/>
                  <a:gd name="connsiteX4" fmla="*/ 0 w 15447"/>
                  <a:gd name="connsiteY4" fmla="*/ 9043 h 23360"/>
                  <a:gd name="connsiteX5" fmla="*/ 15323 w 15447"/>
                  <a:gd name="connsiteY5" fmla="*/ 0 h 23360"/>
                  <a:gd name="connsiteX6" fmla="*/ 15323 w 15447"/>
                  <a:gd name="connsiteY6" fmla="*/ 20346 h 2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47" h="23360">
                    <a:moveTo>
                      <a:pt x="15448" y="20346"/>
                    </a:moveTo>
                    <a:lnTo>
                      <a:pt x="10424" y="23361"/>
                    </a:lnTo>
                    <a:cubicBezTo>
                      <a:pt x="8164" y="20723"/>
                      <a:pt x="4521" y="19970"/>
                      <a:pt x="251" y="21728"/>
                    </a:cubicBezTo>
                    <a:cubicBezTo>
                      <a:pt x="125" y="21728"/>
                      <a:pt x="125" y="21728"/>
                      <a:pt x="0" y="21854"/>
                    </a:cubicBezTo>
                    <a:lnTo>
                      <a:pt x="0" y="9043"/>
                    </a:lnTo>
                    <a:lnTo>
                      <a:pt x="15323" y="0"/>
                    </a:lnTo>
                    <a:lnTo>
                      <a:pt x="15323" y="20346"/>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5" name="Freeform: Shape 2114">
                <a:extLst>
                  <a:ext uri="{FF2B5EF4-FFF2-40B4-BE49-F238E27FC236}">
                    <a16:creationId xmlns:a16="http://schemas.microsoft.com/office/drawing/2014/main" id="{1AB17EB3-BD6F-4E1C-9F4C-464B6449C05A}"/>
                  </a:ext>
                </a:extLst>
              </p:cNvPr>
              <p:cNvSpPr/>
              <p:nvPr/>
            </p:nvSpPr>
            <p:spPr>
              <a:xfrm>
                <a:off x="3430374" y="1912658"/>
                <a:ext cx="16830" cy="29640"/>
              </a:xfrm>
              <a:custGeom>
                <a:avLst/>
                <a:gdLst>
                  <a:gd name="connsiteX0" fmla="*/ 16830 w 16830"/>
                  <a:gd name="connsiteY0" fmla="*/ 0 h 29640"/>
                  <a:gd name="connsiteX1" fmla="*/ 0 w 16830"/>
                  <a:gd name="connsiteY1" fmla="*/ 9796 h 29640"/>
                  <a:gd name="connsiteX2" fmla="*/ 0 w 16830"/>
                  <a:gd name="connsiteY2" fmla="*/ 29640 h 29640"/>
                  <a:gd name="connsiteX3" fmla="*/ 16830 w 16830"/>
                  <a:gd name="connsiteY3" fmla="*/ 19844 h 29640"/>
                </a:gdLst>
                <a:ahLst/>
                <a:cxnLst>
                  <a:cxn ang="0">
                    <a:pos x="connsiteX0" y="connsiteY0"/>
                  </a:cxn>
                  <a:cxn ang="0">
                    <a:pos x="connsiteX1" y="connsiteY1"/>
                  </a:cxn>
                  <a:cxn ang="0">
                    <a:pos x="connsiteX2" y="connsiteY2"/>
                  </a:cxn>
                  <a:cxn ang="0">
                    <a:pos x="connsiteX3" y="connsiteY3"/>
                  </a:cxn>
                </a:cxnLst>
                <a:rect l="l" t="t" r="r" b="b"/>
                <a:pathLst>
                  <a:path w="16830" h="29640">
                    <a:moveTo>
                      <a:pt x="16830" y="0"/>
                    </a:moveTo>
                    <a:lnTo>
                      <a:pt x="0" y="9796"/>
                    </a:lnTo>
                    <a:lnTo>
                      <a:pt x="0" y="29640"/>
                    </a:lnTo>
                    <a:lnTo>
                      <a:pt x="16830" y="19844"/>
                    </a:lnTo>
                    <a:close/>
                  </a:path>
                </a:pathLst>
              </a:custGeom>
              <a:solidFill>
                <a:srgbClr val="AFAEB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6" name="Freeform: Shape 2115">
                <a:extLst>
                  <a:ext uri="{FF2B5EF4-FFF2-40B4-BE49-F238E27FC236}">
                    <a16:creationId xmlns:a16="http://schemas.microsoft.com/office/drawing/2014/main" id="{1C318061-A64B-4543-A0FE-3540FB87808B}"/>
                  </a:ext>
                </a:extLst>
              </p:cNvPr>
              <p:cNvSpPr/>
              <p:nvPr/>
            </p:nvSpPr>
            <p:spPr>
              <a:xfrm>
                <a:off x="3418066" y="1862295"/>
                <a:ext cx="12308" cy="80003"/>
              </a:xfrm>
              <a:custGeom>
                <a:avLst/>
                <a:gdLst>
                  <a:gd name="connsiteX0" fmla="*/ 12308 w 12308"/>
                  <a:gd name="connsiteY0" fmla="*/ 80004 h 80003"/>
                  <a:gd name="connsiteX1" fmla="*/ 12308 w 12308"/>
                  <a:gd name="connsiteY1" fmla="*/ 60537 h 80003"/>
                  <a:gd name="connsiteX2" fmla="*/ 125 w 12308"/>
                  <a:gd name="connsiteY2" fmla="*/ 67444 h 80003"/>
                  <a:gd name="connsiteX3" fmla="*/ 0 w 12308"/>
                  <a:gd name="connsiteY3" fmla="*/ 67696 h 80003"/>
                  <a:gd name="connsiteX4" fmla="*/ 0 w 12308"/>
                  <a:gd name="connsiteY4" fmla="*/ 7159 h 80003"/>
                  <a:gd name="connsiteX5" fmla="*/ 12308 w 12308"/>
                  <a:gd name="connsiteY5" fmla="*/ 0 h 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08" h="80003">
                    <a:moveTo>
                      <a:pt x="12308" y="80004"/>
                    </a:moveTo>
                    <a:lnTo>
                      <a:pt x="12308" y="60537"/>
                    </a:lnTo>
                    <a:lnTo>
                      <a:pt x="125" y="67444"/>
                    </a:lnTo>
                    <a:lnTo>
                      <a:pt x="0" y="67696"/>
                    </a:lnTo>
                    <a:lnTo>
                      <a:pt x="0" y="7159"/>
                    </a:lnTo>
                    <a:lnTo>
                      <a:pt x="12308" y="0"/>
                    </a:ln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7" name="Freeform: Shape 2116">
                <a:extLst>
                  <a:ext uri="{FF2B5EF4-FFF2-40B4-BE49-F238E27FC236}">
                    <a16:creationId xmlns:a16="http://schemas.microsoft.com/office/drawing/2014/main" id="{47861588-00A9-43F5-A54D-AA643B5F8679}"/>
                  </a:ext>
                </a:extLst>
              </p:cNvPr>
              <p:cNvSpPr/>
              <p:nvPr/>
            </p:nvSpPr>
            <p:spPr>
              <a:xfrm>
                <a:off x="3443310" y="1866439"/>
                <a:ext cx="84022" cy="69328"/>
              </a:xfrm>
              <a:custGeom>
                <a:avLst/>
                <a:gdLst>
                  <a:gd name="connsiteX0" fmla="*/ 84023 w 84022"/>
                  <a:gd name="connsiteY0" fmla="*/ 0 h 69328"/>
                  <a:gd name="connsiteX1" fmla="*/ 0 w 84022"/>
                  <a:gd name="connsiteY1" fmla="*/ 47852 h 69328"/>
                  <a:gd name="connsiteX2" fmla="*/ 0 w 84022"/>
                  <a:gd name="connsiteY2" fmla="*/ 69328 h 69328"/>
                  <a:gd name="connsiteX3" fmla="*/ 84023 w 84022"/>
                  <a:gd name="connsiteY3" fmla="*/ 21477 h 69328"/>
                </a:gdLst>
                <a:ahLst/>
                <a:cxnLst>
                  <a:cxn ang="0">
                    <a:pos x="connsiteX0" y="connsiteY0"/>
                  </a:cxn>
                  <a:cxn ang="0">
                    <a:pos x="connsiteX1" y="connsiteY1"/>
                  </a:cxn>
                  <a:cxn ang="0">
                    <a:pos x="connsiteX2" y="connsiteY2"/>
                  </a:cxn>
                  <a:cxn ang="0">
                    <a:pos x="connsiteX3" y="connsiteY3"/>
                  </a:cxn>
                </a:cxnLst>
                <a:rect l="l" t="t" r="r" b="b"/>
                <a:pathLst>
                  <a:path w="84022" h="69328">
                    <a:moveTo>
                      <a:pt x="84023" y="0"/>
                    </a:moveTo>
                    <a:lnTo>
                      <a:pt x="0" y="47852"/>
                    </a:lnTo>
                    <a:lnTo>
                      <a:pt x="0" y="69328"/>
                    </a:lnTo>
                    <a:lnTo>
                      <a:pt x="84023" y="21477"/>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8" name="Freeform: Shape 2117">
                <a:extLst>
                  <a:ext uri="{FF2B5EF4-FFF2-40B4-BE49-F238E27FC236}">
                    <a16:creationId xmlns:a16="http://schemas.microsoft.com/office/drawing/2014/main" id="{FAB142C7-3624-4634-860E-4A60100B894B}"/>
                  </a:ext>
                </a:extLst>
              </p:cNvPr>
              <p:cNvSpPr/>
              <p:nvPr/>
            </p:nvSpPr>
            <p:spPr>
              <a:xfrm>
                <a:off x="3391440" y="1873096"/>
                <a:ext cx="29012" cy="71589"/>
              </a:xfrm>
              <a:custGeom>
                <a:avLst/>
                <a:gdLst>
                  <a:gd name="connsiteX0" fmla="*/ 377 w 29012"/>
                  <a:gd name="connsiteY0" fmla="*/ 71463 h 71589"/>
                  <a:gd name="connsiteX1" fmla="*/ 0 w 29012"/>
                  <a:gd name="connsiteY1" fmla="*/ 71589 h 71589"/>
                  <a:gd name="connsiteX2" fmla="*/ 0 w 29012"/>
                  <a:gd name="connsiteY2" fmla="*/ 16704 h 71589"/>
                  <a:gd name="connsiteX3" fmla="*/ 28761 w 29012"/>
                  <a:gd name="connsiteY3" fmla="*/ 0 h 71589"/>
                  <a:gd name="connsiteX4" fmla="*/ 29012 w 29012"/>
                  <a:gd name="connsiteY4" fmla="*/ 251 h 71589"/>
                  <a:gd name="connsiteX5" fmla="*/ 377 w 29012"/>
                  <a:gd name="connsiteY5" fmla="*/ 16955 h 7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12" h="71589">
                    <a:moveTo>
                      <a:pt x="377" y="71463"/>
                    </a:moveTo>
                    <a:lnTo>
                      <a:pt x="0" y="71589"/>
                    </a:lnTo>
                    <a:lnTo>
                      <a:pt x="0" y="16704"/>
                    </a:lnTo>
                    <a:lnTo>
                      <a:pt x="28761" y="0"/>
                    </a:lnTo>
                    <a:lnTo>
                      <a:pt x="29012" y="251"/>
                    </a:lnTo>
                    <a:lnTo>
                      <a:pt x="377" y="16955"/>
                    </a:lnTo>
                    <a:close/>
                  </a:path>
                </a:pathLst>
              </a:custGeom>
              <a:solidFill>
                <a:srgbClr val="009B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9" name="Freeform: Shape 2118">
                <a:extLst>
                  <a:ext uri="{FF2B5EF4-FFF2-40B4-BE49-F238E27FC236}">
                    <a16:creationId xmlns:a16="http://schemas.microsoft.com/office/drawing/2014/main" id="{914C18B6-6F08-4B1F-9774-C2EBC6A6B75F}"/>
                  </a:ext>
                </a:extLst>
              </p:cNvPr>
              <p:cNvSpPr/>
              <p:nvPr/>
            </p:nvSpPr>
            <p:spPr>
              <a:xfrm>
                <a:off x="3381141" y="1897535"/>
                <a:ext cx="6206" cy="11732"/>
              </a:xfrm>
              <a:custGeom>
                <a:avLst/>
                <a:gdLst>
                  <a:gd name="connsiteX0" fmla="*/ 377 w 6206"/>
                  <a:gd name="connsiteY0" fmla="*/ 11732 h 11732"/>
                  <a:gd name="connsiteX1" fmla="*/ 0 w 6206"/>
                  <a:gd name="connsiteY1" fmla="*/ 11356 h 11732"/>
                  <a:gd name="connsiteX2" fmla="*/ 0 w 6206"/>
                  <a:gd name="connsiteY2" fmla="*/ 3318 h 11732"/>
                  <a:gd name="connsiteX3" fmla="*/ 5652 w 6206"/>
                  <a:gd name="connsiteY3" fmla="*/ 52 h 11732"/>
                  <a:gd name="connsiteX4" fmla="*/ 6154 w 6206"/>
                  <a:gd name="connsiteY4" fmla="*/ 178 h 11732"/>
                  <a:gd name="connsiteX5" fmla="*/ 6028 w 6206"/>
                  <a:gd name="connsiteY5" fmla="*/ 680 h 11732"/>
                  <a:gd name="connsiteX6" fmla="*/ 754 w 6206"/>
                  <a:gd name="connsiteY6" fmla="*/ 3694 h 11732"/>
                  <a:gd name="connsiteX7" fmla="*/ 754 w 6206"/>
                  <a:gd name="connsiteY7" fmla="*/ 11230 h 11732"/>
                  <a:gd name="connsiteX8" fmla="*/ 377 w 6206"/>
                  <a:gd name="connsiteY8" fmla="*/ 11732 h 11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6" h="11732">
                    <a:moveTo>
                      <a:pt x="377" y="11732"/>
                    </a:moveTo>
                    <a:cubicBezTo>
                      <a:pt x="126" y="11732"/>
                      <a:pt x="0" y="11607"/>
                      <a:pt x="0" y="11356"/>
                    </a:cubicBezTo>
                    <a:lnTo>
                      <a:pt x="0" y="3318"/>
                    </a:lnTo>
                    <a:lnTo>
                      <a:pt x="5652" y="52"/>
                    </a:lnTo>
                    <a:cubicBezTo>
                      <a:pt x="5777" y="-74"/>
                      <a:pt x="6028" y="52"/>
                      <a:pt x="6154" y="178"/>
                    </a:cubicBezTo>
                    <a:cubicBezTo>
                      <a:pt x="6280" y="303"/>
                      <a:pt x="6154" y="554"/>
                      <a:pt x="6028" y="680"/>
                    </a:cubicBezTo>
                    <a:lnTo>
                      <a:pt x="754" y="3694"/>
                    </a:lnTo>
                    <a:lnTo>
                      <a:pt x="754" y="11230"/>
                    </a:lnTo>
                    <a:cubicBezTo>
                      <a:pt x="754" y="11481"/>
                      <a:pt x="628" y="11732"/>
                      <a:pt x="377" y="117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20" name="Freeform: Shape 2119">
                <a:extLst>
                  <a:ext uri="{FF2B5EF4-FFF2-40B4-BE49-F238E27FC236}">
                    <a16:creationId xmlns:a16="http://schemas.microsoft.com/office/drawing/2014/main" id="{19B812AF-8194-44D7-9DFF-CAEC0160F4FB}"/>
                  </a:ext>
                </a:extLst>
              </p:cNvPr>
              <p:cNvSpPr/>
              <p:nvPr/>
            </p:nvSpPr>
            <p:spPr>
              <a:xfrm>
                <a:off x="3381267" y="1918184"/>
                <a:ext cx="6206" cy="11680"/>
              </a:xfrm>
              <a:custGeom>
                <a:avLst/>
                <a:gdLst>
                  <a:gd name="connsiteX0" fmla="*/ 5777 w 6206"/>
                  <a:gd name="connsiteY0" fmla="*/ 11680 h 11680"/>
                  <a:gd name="connsiteX1" fmla="*/ 5652 w 6206"/>
                  <a:gd name="connsiteY1" fmla="*/ 11680 h 11680"/>
                  <a:gd name="connsiteX2" fmla="*/ 0 w 6206"/>
                  <a:gd name="connsiteY2" fmla="*/ 8415 h 11680"/>
                  <a:gd name="connsiteX3" fmla="*/ 0 w 6206"/>
                  <a:gd name="connsiteY3" fmla="*/ 377 h 11680"/>
                  <a:gd name="connsiteX4" fmla="*/ 377 w 6206"/>
                  <a:gd name="connsiteY4" fmla="*/ 0 h 11680"/>
                  <a:gd name="connsiteX5" fmla="*/ 377 w 6206"/>
                  <a:gd name="connsiteY5" fmla="*/ 0 h 11680"/>
                  <a:gd name="connsiteX6" fmla="*/ 754 w 6206"/>
                  <a:gd name="connsiteY6" fmla="*/ 377 h 11680"/>
                  <a:gd name="connsiteX7" fmla="*/ 754 w 6206"/>
                  <a:gd name="connsiteY7" fmla="*/ 7912 h 11680"/>
                  <a:gd name="connsiteX8" fmla="*/ 6028 w 6206"/>
                  <a:gd name="connsiteY8" fmla="*/ 10927 h 11680"/>
                  <a:gd name="connsiteX9" fmla="*/ 6154 w 6206"/>
                  <a:gd name="connsiteY9" fmla="*/ 11429 h 11680"/>
                  <a:gd name="connsiteX10" fmla="*/ 5777 w 6206"/>
                  <a:gd name="connsiteY10" fmla="*/ 11680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06" h="11680">
                    <a:moveTo>
                      <a:pt x="5777" y="11680"/>
                    </a:moveTo>
                    <a:cubicBezTo>
                      <a:pt x="5777" y="11680"/>
                      <a:pt x="5652" y="11680"/>
                      <a:pt x="5652" y="11680"/>
                    </a:cubicBezTo>
                    <a:lnTo>
                      <a:pt x="0" y="8415"/>
                    </a:lnTo>
                    <a:lnTo>
                      <a:pt x="0" y="377"/>
                    </a:lnTo>
                    <a:cubicBezTo>
                      <a:pt x="0" y="126"/>
                      <a:pt x="125" y="0"/>
                      <a:pt x="377" y="0"/>
                    </a:cubicBezTo>
                    <a:lnTo>
                      <a:pt x="377" y="0"/>
                    </a:lnTo>
                    <a:cubicBezTo>
                      <a:pt x="628" y="0"/>
                      <a:pt x="754" y="126"/>
                      <a:pt x="754" y="377"/>
                    </a:cubicBezTo>
                    <a:lnTo>
                      <a:pt x="754" y="7912"/>
                    </a:lnTo>
                    <a:lnTo>
                      <a:pt x="6028" y="10927"/>
                    </a:lnTo>
                    <a:cubicBezTo>
                      <a:pt x="6154" y="11052"/>
                      <a:pt x="6280" y="11304"/>
                      <a:pt x="6154" y="11429"/>
                    </a:cubicBezTo>
                    <a:cubicBezTo>
                      <a:pt x="6028" y="11555"/>
                      <a:pt x="5903" y="11680"/>
                      <a:pt x="5777" y="1168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21" name="Graphic 4">
                <a:extLst>
                  <a:ext uri="{FF2B5EF4-FFF2-40B4-BE49-F238E27FC236}">
                    <a16:creationId xmlns:a16="http://schemas.microsoft.com/office/drawing/2014/main" id="{84FB7ED1-A2DF-40A1-A747-5F7CF3F14040}"/>
                  </a:ext>
                </a:extLst>
              </p:cNvPr>
              <p:cNvGrpSpPr/>
              <p:nvPr/>
            </p:nvGrpSpPr>
            <p:grpSpPr>
              <a:xfrm>
                <a:off x="3378001" y="1905794"/>
                <a:ext cx="7410" cy="16254"/>
                <a:chOff x="3378001" y="1905794"/>
                <a:chExt cx="7410" cy="16254"/>
              </a:xfrm>
              <a:solidFill>
                <a:schemeClr val="accent1"/>
              </a:solidFill>
            </p:grpSpPr>
            <p:sp>
              <p:nvSpPr>
                <p:cNvPr id="2122" name="Freeform: Shape 2121">
                  <a:extLst>
                    <a:ext uri="{FF2B5EF4-FFF2-40B4-BE49-F238E27FC236}">
                      <a16:creationId xmlns:a16="http://schemas.microsoft.com/office/drawing/2014/main" id="{2F18F60B-EFB7-40F4-89D3-2F0CB7D65F2C}"/>
                    </a:ext>
                  </a:extLst>
                </p:cNvPr>
                <p:cNvSpPr/>
                <p:nvPr/>
              </p:nvSpPr>
              <p:spPr>
                <a:xfrm>
                  <a:off x="3378629" y="1905794"/>
                  <a:ext cx="6782" cy="16033"/>
                </a:xfrm>
                <a:custGeom>
                  <a:avLst/>
                  <a:gdLst>
                    <a:gd name="connsiteX0" fmla="*/ 5024 w 6782"/>
                    <a:gd name="connsiteY0" fmla="*/ 2092 h 16033"/>
                    <a:gd name="connsiteX1" fmla="*/ 1633 w 6782"/>
                    <a:gd name="connsiteY1" fmla="*/ 208 h 16033"/>
                    <a:gd name="connsiteX2" fmla="*/ 628 w 6782"/>
                    <a:gd name="connsiteY2" fmla="*/ 82 h 16033"/>
                    <a:gd name="connsiteX3" fmla="*/ 628 w 6782"/>
                    <a:gd name="connsiteY3" fmla="*/ 82 h 16033"/>
                    <a:gd name="connsiteX4" fmla="*/ 628 w 6782"/>
                    <a:gd name="connsiteY4" fmla="*/ 82 h 16033"/>
                    <a:gd name="connsiteX5" fmla="*/ 628 w 6782"/>
                    <a:gd name="connsiteY5" fmla="*/ 82 h 16033"/>
                    <a:gd name="connsiteX6" fmla="*/ 0 w 6782"/>
                    <a:gd name="connsiteY6" fmla="*/ 459 h 16033"/>
                    <a:gd name="connsiteX7" fmla="*/ 251 w 6782"/>
                    <a:gd name="connsiteY7" fmla="*/ 710 h 16033"/>
                    <a:gd name="connsiteX8" fmla="*/ 251 w 6782"/>
                    <a:gd name="connsiteY8" fmla="*/ 1087 h 16033"/>
                    <a:gd name="connsiteX9" fmla="*/ 251 w 6782"/>
                    <a:gd name="connsiteY9" fmla="*/ 11009 h 16033"/>
                    <a:gd name="connsiteX10" fmla="*/ 1759 w 6782"/>
                    <a:gd name="connsiteY10" fmla="*/ 13647 h 16033"/>
                    <a:gd name="connsiteX11" fmla="*/ 5149 w 6782"/>
                    <a:gd name="connsiteY11" fmla="*/ 15531 h 16033"/>
                    <a:gd name="connsiteX12" fmla="*/ 5526 w 6782"/>
                    <a:gd name="connsiteY12" fmla="*/ 15656 h 16033"/>
                    <a:gd name="connsiteX13" fmla="*/ 5652 w 6782"/>
                    <a:gd name="connsiteY13" fmla="*/ 16033 h 16033"/>
                    <a:gd name="connsiteX14" fmla="*/ 6280 w 6782"/>
                    <a:gd name="connsiteY14" fmla="*/ 15656 h 16033"/>
                    <a:gd name="connsiteX15" fmla="*/ 6280 w 6782"/>
                    <a:gd name="connsiteY15" fmla="*/ 15656 h 16033"/>
                    <a:gd name="connsiteX16" fmla="*/ 6782 w 6782"/>
                    <a:gd name="connsiteY16" fmla="*/ 14651 h 16033"/>
                    <a:gd name="connsiteX17" fmla="*/ 6782 w 6782"/>
                    <a:gd name="connsiteY17" fmla="*/ 4729 h 16033"/>
                    <a:gd name="connsiteX18" fmla="*/ 5024 w 6782"/>
                    <a:gd name="connsiteY18" fmla="*/ 2092 h 1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82" h="16033">
                      <a:moveTo>
                        <a:pt x="5024" y="2092"/>
                      </a:moveTo>
                      <a:lnTo>
                        <a:pt x="1633" y="208"/>
                      </a:lnTo>
                      <a:cubicBezTo>
                        <a:pt x="1256" y="-43"/>
                        <a:pt x="879" y="-43"/>
                        <a:pt x="628" y="82"/>
                      </a:cubicBezTo>
                      <a:lnTo>
                        <a:pt x="628" y="82"/>
                      </a:lnTo>
                      <a:lnTo>
                        <a:pt x="628" y="82"/>
                      </a:lnTo>
                      <a:cubicBezTo>
                        <a:pt x="628" y="82"/>
                        <a:pt x="628" y="82"/>
                        <a:pt x="628" y="82"/>
                      </a:cubicBezTo>
                      <a:lnTo>
                        <a:pt x="0" y="459"/>
                      </a:lnTo>
                      <a:lnTo>
                        <a:pt x="251" y="710"/>
                      </a:lnTo>
                      <a:cubicBezTo>
                        <a:pt x="251" y="836"/>
                        <a:pt x="251" y="962"/>
                        <a:pt x="251" y="1087"/>
                      </a:cubicBezTo>
                      <a:lnTo>
                        <a:pt x="251" y="11009"/>
                      </a:lnTo>
                      <a:cubicBezTo>
                        <a:pt x="251" y="12014"/>
                        <a:pt x="879" y="13144"/>
                        <a:pt x="1759" y="13647"/>
                      </a:cubicBezTo>
                      <a:lnTo>
                        <a:pt x="5149" y="15531"/>
                      </a:lnTo>
                      <a:cubicBezTo>
                        <a:pt x="5275" y="15656"/>
                        <a:pt x="5400" y="15656"/>
                        <a:pt x="5526" y="15656"/>
                      </a:cubicBezTo>
                      <a:lnTo>
                        <a:pt x="5652" y="16033"/>
                      </a:lnTo>
                      <a:lnTo>
                        <a:pt x="6280" y="15656"/>
                      </a:lnTo>
                      <a:lnTo>
                        <a:pt x="6280" y="15656"/>
                      </a:lnTo>
                      <a:cubicBezTo>
                        <a:pt x="6531" y="15531"/>
                        <a:pt x="6782" y="15154"/>
                        <a:pt x="6782" y="14651"/>
                      </a:cubicBezTo>
                      <a:lnTo>
                        <a:pt x="6782" y="4729"/>
                      </a:lnTo>
                      <a:cubicBezTo>
                        <a:pt x="6531" y="3850"/>
                        <a:pt x="5903" y="2594"/>
                        <a:pt x="5024" y="2092"/>
                      </a:cubicBez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23" name="Freeform: Shape 2122">
                  <a:extLst>
                    <a:ext uri="{FF2B5EF4-FFF2-40B4-BE49-F238E27FC236}">
                      <a16:creationId xmlns:a16="http://schemas.microsoft.com/office/drawing/2014/main" id="{FDB52753-98A5-4CEC-B07A-002C875D2134}"/>
                    </a:ext>
                  </a:extLst>
                </p:cNvPr>
                <p:cNvSpPr/>
                <p:nvPr/>
              </p:nvSpPr>
              <p:spPr>
                <a:xfrm>
                  <a:off x="3378001" y="1906283"/>
                  <a:ext cx="6405" cy="15765"/>
                </a:xfrm>
                <a:custGeom>
                  <a:avLst/>
                  <a:gdLst>
                    <a:gd name="connsiteX0" fmla="*/ 6405 w 6405"/>
                    <a:gd name="connsiteY0" fmla="*/ 14665 h 15765"/>
                    <a:gd name="connsiteX1" fmla="*/ 4898 w 6405"/>
                    <a:gd name="connsiteY1" fmla="*/ 15544 h 15765"/>
                    <a:gd name="connsiteX2" fmla="*/ 1507 w 6405"/>
                    <a:gd name="connsiteY2" fmla="*/ 13660 h 15765"/>
                    <a:gd name="connsiteX3" fmla="*/ 0 w 6405"/>
                    <a:gd name="connsiteY3" fmla="*/ 11023 h 15765"/>
                    <a:gd name="connsiteX4" fmla="*/ 0 w 6405"/>
                    <a:gd name="connsiteY4" fmla="*/ 1101 h 15765"/>
                    <a:gd name="connsiteX5" fmla="*/ 1507 w 6405"/>
                    <a:gd name="connsiteY5" fmla="*/ 222 h 15765"/>
                    <a:gd name="connsiteX6" fmla="*/ 4898 w 6405"/>
                    <a:gd name="connsiteY6" fmla="*/ 2105 h 15765"/>
                    <a:gd name="connsiteX7" fmla="*/ 6405 w 6405"/>
                    <a:gd name="connsiteY7" fmla="*/ 4743 h 15765"/>
                    <a:gd name="connsiteX8" fmla="*/ 6405 w 6405"/>
                    <a:gd name="connsiteY8" fmla="*/ 14665 h 1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5" h="15765">
                      <a:moveTo>
                        <a:pt x="6405" y="14665"/>
                      </a:moveTo>
                      <a:cubicBezTo>
                        <a:pt x="6405" y="15670"/>
                        <a:pt x="5777" y="16047"/>
                        <a:pt x="4898" y="15544"/>
                      </a:cubicBezTo>
                      <a:lnTo>
                        <a:pt x="1507" y="13660"/>
                      </a:lnTo>
                      <a:cubicBezTo>
                        <a:pt x="628" y="13158"/>
                        <a:pt x="0" y="12027"/>
                        <a:pt x="0" y="11023"/>
                      </a:cubicBezTo>
                      <a:lnTo>
                        <a:pt x="0" y="1101"/>
                      </a:lnTo>
                      <a:cubicBezTo>
                        <a:pt x="0" y="96"/>
                        <a:pt x="628" y="-281"/>
                        <a:pt x="1507" y="222"/>
                      </a:cubicBezTo>
                      <a:lnTo>
                        <a:pt x="4898" y="2105"/>
                      </a:lnTo>
                      <a:cubicBezTo>
                        <a:pt x="5777" y="2608"/>
                        <a:pt x="6405" y="3738"/>
                        <a:pt x="6405" y="4743"/>
                      </a:cubicBezTo>
                      <a:lnTo>
                        <a:pt x="6405" y="14665"/>
                      </a:lnTo>
                      <a:close/>
                    </a:path>
                  </a:pathLst>
                </a:custGeom>
                <a:solidFill>
                  <a:srgbClr val="4648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24" name="Freeform: Shape 2123">
                <a:extLst>
                  <a:ext uri="{FF2B5EF4-FFF2-40B4-BE49-F238E27FC236}">
                    <a16:creationId xmlns:a16="http://schemas.microsoft.com/office/drawing/2014/main" id="{9E1C0D8E-1BF2-4A89-A091-6F9EBC049F0C}"/>
                  </a:ext>
                </a:extLst>
              </p:cNvPr>
              <p:cNvSpPr/>
              <p:nvPr/>
            </p:nvSpPr>
            <p:spPr>
              <a:xfrm>
                <a:off x="3321232" y="1849484"/>
                <a:ext cx="102987" cy="93693"/>
              </a:xfrm>
              <a:custGeom>
                <a:avLst/>
                <a:gdLst>
                  <a:gd name="connsiteX0" fmla="*/ 0 w 102987"/>
                  <a:gd name="connsiteY0" fmla="*/ 0 h 93693"/>
                  <a:gd name="connsiteX1" fmla="*/ 65309 w 102987"/>
                  <a:gd name="connsiteY1" fmla="*/ 37930 h 93693"/>
                  <a:gd name="connsiteX2" fmla="*/ 65812 w 102987"/>
                  <a:gd name="connsiteY2" fmla="*/ 93694 h 93693"/>
                  <a:gd name="connsiteX3" fmla="*/ 65812 w 102987"/>
                  <a:gd name="connsiteY3" fmla="*/ 40944 h 93693"/>
                  <a:gd name="connsiteX4" fmla="*/ 69077 w 102987"/>
                  <a:gd name="connsiteY4" fmla="*/ 35920 h 93693"/>
                  <a:gd name="connsiteX5" fmla="*/ 102988 w 102987"/>
                  <a:gd name="connsiteY5" fmla="*/ 16202 h 93693"/>
                  <a:gd name="connsiteX6" fmla="*/ 66817 w 102987"/>
                  <a:gd name="connsiteY6" fmla="*/ 36046 h 93693"/>
                  <a:gd name="connsiteX7" fmla="*/ 0 w 102987"/>
                  <a:gd name="connsiteY7" fmla="*/ 0 h 9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987" h="93693">
                    <a:moveTo>
                      <a:pt x="0" y="0"/>
                    </a:moveTo>
                    <a:lnTo>
                      <a:pt x="65309" y="37930"/>
                    </a:lnTo>
                    <a:lnTo>
                      <a:pt x="65812" y="93694"/>
                    </a:lnTo>
                    <a:cubicBezTo>
                      <a:pt x="65812" y="93694"/>
                      <a:pt x="65561" y="42828"/>
                      <a:pt x="65812" y="40944"/>
                    </a:cubicBezTo>
                    <a:cubicBezTo>
                      <a:pt x="66189" y="37678"/>
                      <a:pt x="69077" y="35920"/>
                      <a:pt x="69077" y="35920"/>
                    </a:cubicBezTo>
                    <a:lnTo>
                      <a:pt x="102988" y="16202"/>
                    </a:lnTo>
                    <a:lnTo>
                      <a:pt x="66817" y="36046"/>
                    </a:lnTo>
                    <a:lnTo>
                      <a:pt x="0" y="0"/>
                    </a:lnTo>
                    <a:close/>
                  </a:path>
                </a:pathLst>
              </a:custGeom>
              <a:solidFill>
                <a:srgbClr val="F4F4F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25" name="Freeform: Shape 2124">
                <a:extLst>
                  <a:ext uri="{FF2B5EF4-FFF2-40B4-BE49-F238E27FC236}">
                    <a16:creationId xmlns:a16="http://schemas.microsoft.com/office/drawing/2014/main" id="{C8DA84A8-5441-430D-8249-B802E7A1C14E}"/>
                  </a:ext>
                </a:extLst>
              </p:cNvPr>
              <p:cNvSpPr/>
              <p:nvPr/>
            </p:nvSpPr>
            <p:spPr>
              <a:xfrm>
                <a:off x="3371219" y="1761945"/>
                <a:ext cx="188015" cy="149834"/>
              </a:xfrm>
              <a:custGeom>
                <a:avLst/>
                <a:gdLst>
                  <a:gd name="connsiteX0" fmla="*/ 0 w 188015"/>
                  <a:gd name="connsiteY0" fmla="*/ 25998 h 149834"/>
                  <a:gd name="connsiteX1" fmla="*/ 70207 w 188015"/>
                  <a:gd name="connsiteY1" fmla="*/ 67696 h 149834"/>
                  <a:gd name="connsiteX2" fmla="*/ 71087 w 188015"/>
                  <a:gd name="connsiteY2" fmla="*/ 149835 h 149834"/>
                  <a:gd name="connsiteX3" fmla="*/ 71966 w 188015"/>
                  <a:gd name="connsiteY3" fmla="*/ 67696 h 149834"/>
                  <a:gd name="connsiteX4" fmla="*/ 188015 w 188015"/>
                  <a:gd name="connsiteY4" fmla="*/ 0 h 149834"/>
                  <a:gd name="connsiteX5" fmla="*/ 71087 w 188015"/>
                  <a:gd name="connsiteY5" fmla="*/ 65812 h 14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015" h="149834">
                    <a:moveTo>
                      <a:pt x="0" y="25998"/>
                    </a:moveTo>
                    <a:lnTo>
                      <a:pt x="70207" y="67696"/>
                    </a:lnTo>
                    <a:lnTo>
                      <a:pt x="71087" y="149835"/>
                    </a:lnTo>
                    <a:lnTo>
                      <a:pt x="71966" y="67696"/>
                    </a:lnTo>
                    <a:lnTo>
                      <a:pt x="188015" y="0"/>
                    </a:lnTo>
                    <a:lnTo>
                      <a:pt x="71087" y="65812"/>
                    </a:lnTo>
                    <a:close/>
                  </a:path>
                </a:pathLst>
              </a:custGeom>
              <a:solidFill>
                <a:srgbClr val="F4F4F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26" name="Graphic 4">
            <a:extLst>
              <a:ext uri="{FF2B5EF4-FFF2-40B4-BE49-F238E27FC236}">
                <a16:creationId xmlns:a16="http://schemas.microsoft.com/office/drawing/2014/main" id="{84FB7ED1-A2DF-40A1-A747-5F7CF3F14040}"/>
              </a:ext>
            </a:extLst>
          </p:cNvPr>
          <p:cNvGrpSpPr/>
          <p:nvPr/>
        </p:nvGrpSpPr>
        <p:grpSpPr>
          <a:xfrm>
            <a:off x="5431727" y="1230051"/>
            <a:ext cx="531014" cy="533614"/>
            <a:chOff x="5431727" y="1230051"/>
            <a:chExt cx="531014" cy="533614"/>
          </a:xfrm>
          <a:solidFill>
            <a:schemeClr val="accent1"/>
          </a:solidFill>
        </p:grpSpPr>
        <p:grpSp>
          <p:nvGrpSpPr>
            <p:cNvPr id="2127" name="Graphic 4">
              <a:extLst>
                <a:ext uri="{FF2B5EF4-FFF2-40B4-BE49-F238E27FC236}">
                  <a16:creationId xmlns:a16="http://schemas.microsoft.com/office/drawing/2014/main" id="{84FB7ED1-A2DF-40A1-A747-5F7CF3F14040}"/>
                </a:ext>
              </a:extLst>
            </p:cNvPr>
            <p:cNvGrpSpPr/>
            <p:nvPr/>
          </p:nvGrpSpPr>
          <p:grpSpPr>
            <a:xfrm>
              <a:off x="5498795" y="1457377"/>
              <a:ext cx="128986" cy="142424"/>
              <a:chOff x="5498795" y="1457377"/>
              <a:chExt cx="128986" cy="142424"/>
            </a:xfrm>
            <a:solidFill>
              <a:schemeClr val="accent1"/>
            </a:solidFill>
          </p:grpSpPr>
          <p:grpSp>
            <p:nvGrpSpPr>
              <p:cNvPr id="2128" name="Graphic 4">
                <a:extLst>
                  <a:ext uri="{FF2B5EF4-FFF2-40B4-BE49-F238E27FC236}">
                    <a16:creationId xmlns:a16="http://schemas.microsoft.com/office/drawing/2014/main" id="{84FB7ED1-A2DF-40A1-A747-5F7CF3F14040}"/>
                  </a:ext>
                </a:extLst>
              </p:cNvPr>
              <p:cNvGrpSpPr/>
              <p:nvPr/>
            </p:nvGrpSpPr>
            <p:grpSpPr>
              <a:xfrm>
                <a:off x="5498795" y="1457377"/>
                <a:ext cx="128986" cy="142424"/>
                <a:chOff x="5498795" y="1457377"/>
                <a:chExt cx="128986" cy="142424"/>
              </a:xfrm>
              <a:solidFill>
                <a:schemeClr val="accent1"/>
              </a:solidFill>
            </p:grpSpPr>
            <p:sp>
              <p:nvSpPr>
                <p:cNvPr id="2129" name="Freeform: Shape 2128">
                  <a:extLst>
                    <a:ext uri="{FF2B5EF4-FFF2-40B4-BE49-F238E27FC236}">
                      <a16:creationId xmlns:a16="http://schemas.microsoft.com/office/drawing/2014/main" id="{9516C7DA-B93C-4EAD-8793-0933CCFE3C3E}"/>
                    </a:ext>
                  </a:extLst>
                </p:cNvPr>
                <p:cNvSpPr/>
                <p:nvPr/>
              </p:nvSpPr>
              <p:spPr>
                <a:xfrm>
                  <a:off x="5498795" y="1525073"/>
                  <a:ext cx="123710" cy="74728"/>
                </a:xfrm>
                <a:custGeom>
                  <a:avLst/>
                  <a:gdLst>
                    <a:gd name="connsiteX0" fmla="*/ 123711 w 123710"/>
                    <a:gd name="connsiteY0" fmla="*/ 37553 h 74728"/>
                    <a:gd name="connsiteX1" fmla="*/ 113789 w 123710"/>
                    <a:gd name="connsiteY1" fmla="*/ 43330 h 74728"/>
                    <a:gd name="connsiteX2" fmla="*/ 59281 w 123710"/>
                    <a:gd name="connsiteY2" fmla="*/ 74729 h 74728"/>
                    <a:gd name="connsiteX3" fmla="*/ 0 w 123710"/>
                    <a:gd name="connsiteY3" fmla="*/ 40442 h 74728"/>
                    <a:gd name="connsiteX4" fmla="*/ 20723 w 123710"/>
                    <a:gd name="connsiteY4" fmla="*/ 28510 h 74728"/>
                    <a:gd name="connsiteX5" fmla="*/ 20723 w 123710"/>
                    <a:gd name="connsiteY5" fmla="*/ 21853 h 74728"/>
                    <a:gd name="connsiteX6" fmla="*/ 42200 w 123710"/>
                    <a:gd name="connsiteY6" fmla="*/ 9420 h 74728"/>
                    <a:gd name="connsiteX7" fmla="*/ 49233 w 123710"/>
                    <a:gd name="connsiteY7" fmla="*/ 5401 h 74728"/>
                    <a:gd name="connsiteX8" fmla="*/ 58653 w 123710"/>
                    <a:gd name="connsiteY8" fmla="*/ 0 h 74728"/>
                    <a:gd name="connsiteX9" fmla="*/ 64430 w 123710"/>
                    <a:gd name="connsiteY9" fmla="*/ 3265 h 74728"/>
                    <a:gd name="connsiteX10" fmla="*/ 73222 w 123710"/>
                    <a:gd name="connsiteY10" fmla="*/ 8415 h 74728"/>
                    <a:gd name="connsiteX11" fmla="*/ 73222 w 123710"/>
                    <a:gd name="connsiteY11" fmla="*/ 8415 h 74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710" h="74728">
                      <a:moveTo>
                        <a:pt x="123711" y="37553"/>
                      </a:moveTo>
                      <a:lnTo>
                        <a:pt x="113789" y="43330"/>
                      </a:lnTo>
                      <a:lnTo>
                        <a:pt x="59281" y="74729"/>
                      </a:lnTo>
                      <a:lnTo>
                        <a:pt x="0" y="40442"/>
                      </a:lnTo>
                      <a:lnTo>
                        <a:pt x="20723" y="28510"/>
                      </a:lnTo>
                      <a:lnTo>
                        <a:pt x="20723" y="21853"/>
                      </a:lnTo>
                      <a:lnTo>
                        <a:pt x="42200" y="9420"/>
                      </a:lnTo>
                      <a:lnTo>
                        <a:pt x="49233" y="5401"/>
                      </a:lnTo>
                      <a:lnTo>
                        <a:pt x="58653" y="0"/>
                      </a:lnTo>
                      <a:lnTo>
                        <a:pt x="64430" y="3265"/>
                      </a:lnTo>
                      <a:lnTo>
                        <a:pt x="73222" y="8415"/>
                      </a:lnTo>
                      <a:lnTo>
                        <a:pt x="73222" y="8415"/>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30" name="Graphic 4">
                  <a:extLst>
                    <a:ext uri="{FF2B5EF4-FFF2-40B4-BE49-F238E27FC236}">
                      <a16:creationId xmlns:a16="http://schemas.microsoft.com/office/drawing/2014/main" id="{84FB7ED1-A2DF-40A1-A747-5F7CF3F14040}"/>
                    </a:ext>
                  </a:extLst>
                </p:cNvPr>
                <p:cNvGrpSpPr/>
                <p:nvPr/>
              </p:nvGrpSpPr>
              <p:grpSpPr>
                <a:xfrm>
                  <a:off x="5519518" y="1457377"/>
                  <a:ext cx="108262" cy="134260"/>
                  <a:chOff x="5519518" y="1457377"/>
                  <a:chExt cx="108262" cy="134260"/>
                </a:xfrm>
                <a:solidFill>
                  <a:schemeClr val="accent1"/>
                </a:solidFill>
              </p:grpSpPr>
              <p:sp>
                <p:nvSpPr>
                  <p:cNvPr id="2131" name="Freeform: Shape 2130">
                    <a:extLst>
                      <a:ext uri="{FF2B5EF4-FFF2-40B4-BE49-F238E27FC236}">
                        <a16:creationId xmlns:a16="http://schemas.microsoft.com/office/drawing/2014/main" id="{4382F923-F2D4-4B0D-B75F-B68BC255E188}"/>
                      </a:ext>
                    </a:extLst>
                  </p:cNvPr>
                  <p:cNvSpPr/>
                  <p:nvPr/>
                </p:nvSpPr>
                <p:spPr>
                  <a:xfrm>
                    <a:off x="5519518" y="1457377"/>
                    <a:ext cx="108136" cy="62546"/>
                  </a:xfrm>
                  <a:custGeom>
                    <a:avLst/>
                    <a:gdLst>
                      <a:gd name="connsiteX0" fmla="*/ 84399 w 108136"/>
                      <a:gd name="connsiteY0" fmla="*/ 16579 h 62546"/>
                      <a:gd name="connsiteX1" fmla="*/ 77492 w 108136"/>
                      <a:gd name="connsiteY1" fmla="*/ 12559 h 62546"/>
                      <a:gd name="connsiteX2" fmla="*/ 55764 w 108136"/>
                      <a:gd name="connsiteY2" fmla="*/ 0 h 62546"/>
                      <a:gd name="connsiteX3" fmla="*/ 0 w 108136"/>
                      <a:gd name="connsiteY3" fmla="*/ 32152 h 62546"/>
                      <a:gd name="connsiteX4" fmla="*/ 21728 w 108136"/>
                      <a:gd name="connsiteY4" fmla="*/ 44712 h 62546"/>
                      <a:gd name="connsiteX5" fmla="*/ 28636 w 108136"/>
                      <a:gd name="connsiteY5" fmla="*/ 48731 h 62546"/>
                      <a:gd name="connsiteX6" fmla="*/ 28636 w 108136"/>
                      <a:gd name="connsiteY6" fmla="*/ 48731 h 62546"/>
                      <a:gd name="connsiteX7" fmla="*/ 52499 w 108136"/>
                      <a:gd name="connsiteY7" fmla="*/ 62546 h 62546"/>
                      <a:gd name="connsiteX8" fmla="*/ 52499 w 108136"/>
                      <a:gd name="connsiteY8" fmla="*/ 62546 h 62546"/>
                      <a:gd name="connsiteX9" fmla="*/ 66691 w 108136"/>
                      <a:gd name="connsiteY9" fmla="*/ 54383 h 62546"/>
                      <a:gd name="connsiteX10" fmla="*/ 108137 w 108136"/>
                      <a:gd name="connsiteY10" fmla="*/ 30394 h 62546"/>
                      <a:gd name="connsiteX11" fmla="*/ 108137 w 108136"/>
                      <a:gd name="connsiteY11" fmla="*/ 30394 h 62546"/>
                      <a:gd name="connsiteX12" fmla="*/ 84399 w 108136"/>
                      <a:gd name="connsiteY12" fmla="*/ 16579 h 62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136" h="62546">
                        <a:moveTo>
                          <a:pt x="84399" y="16579"/>
                        </a:moveTo>
                        <a:lnTo>
                          <a:pt x="77492" y="12559"/>
                        </a:lnTo>
                        <a:lnTo>
                          <a:pt x="55764" y="0"/>
                        </a:lnTo>
                        <a:lnTo>
                          <a:pt x="0" y="32152"/>
                        </a:lnTo>
                        <a:lnTo>
                          <a:pt x="21728" y="44712"/>
                        </a:lnTo>
                        <a:lnTo>
                          <a:pt x="28636" y="48731"/>
                        </a:lnTo>
                        <a:lnTo>
                          <a:pt x="28636" y="48731"/>
                        </a:lnTo>
                        <a:lnTo>
                          <a:pt x="52499" y="62546"/>
                        </a:lnTo>
                        <a:lnTo>
                          <a:pt x="52499" y="62546"/>
                        </a:lnTo>
                        <a:lnTo>
                          <a:pt x="66691" y="54383"/>
                        </a:lnTo>
                        <a:lnTo>
                          <a:pt x="108137" y="30394"/>
                        </a:lnTo>
                        <a:lnTo>
                          <a:pt x="108137" y="30394"/>
                        </a:lnTo>
                        <a:lnTo>
                          <a:pt x="84399" y="1657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2" name="Freeform: Shape 2131">
                    <a:extLst>
                      <a:ext uri="{FF2B5EF4-FFF2-40B4-BE49-F238E27FC236}">
                        <a16:creationId xmlns:a16="http://schemas.microsoft.com/office/drawing/2014/main" id="{84122283-711C-40E1-90DC-4352747C2C27}"/>
                      </a:ext>
                    </a:extLst>
                  </p:cNvPr>
                  <p:cNvSpPr/>
                  <p:nvPr/>
                </p:nvSpPr>
                <p:spPr>
                  <a:xfrm>
                    <a:off x="5521527" y="1458633"/>
                    <a:ext cx="104494" cy="60034"/>
                  </a:xfrm>
                  <a:custGeom>
                    <a:avLst/>
                    <a:gdLst>
                      <a:gd name="connsiteX0" fmla="*/ 81386 w 104494"/>
                      <a:gd name="connsiteY0" fmla="*/ 15951 h 60034"/>
                      <a:gd name="connsiteX1" fmla="*/ 74478 w 104494"/>
                      <a:gd name="connsiteY1" fmla="*/ 11931 h 60034"/>
                      <a:gd name="connsiteX2" fmla="*/ 53755 w 104494"/>
                      <a:gd name="connsiteY2" fmla="*/ 0 h 60034"/>
                      <a:gd name="connsiteX3" fmla="*/ 0 w 104494"/>
                      <a:gd name="connsiteY3" fmla="*/ 31022 h 60034"/>
                      <a:gd name="connsiteX4" fmla="*/ 20849 w 104494"/>
                      <a:gd name="connsiteY4" fmla="*/ 42953 h 60034"/>
                      <a:gd name="connsiteX5" fmla="*/ 27882 w 104494"/>
                      <a:gd name="connsiteY5" fmla="*/ 46972 h 60034"/>
                      <a:gd name="connsiteX6" fmla="*/ 50740 w 104494"/>
                      <a:gd name="connsiteY6" fmla="*/ 60034 h 60034"/>
                      <a:gd name="connsiteX7" fmla="*/ 104495 w 104494"/>
                      <a:gd name="connsiteY7" fmla="*/ 29264 h 60034"/>
                      <a:gd name="connsiteX8" fmla="*/ 81386 w 104494"/>
                      <a:gd name="connsiteY8" fmla="*/ 15951 h 6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94" h="60034">
                        <a:moveTo>
                          <a:pt x="81386" y="15951"/>
                        </a:moveTo>
                        <a:lnTo>
                          <a:pt x="74478" y="11931"/>
                        </a:lnTo>
                        <a:lnTo>
                          <a:pt x="53755" y="0"/>
                        </a:lnTo>
                        <a:lnTo>
                          <a:pt x="0" y="31022"/>
                        </a:lnTo>
                        <a:lnTo>
                          <a:pt x="20849" y="42953"/>
                        </a:lnTo>
                        <a:lnTo>
                          <a:pt x="27882" y="46972"/>
                        </a:lnTo>
                        <a:lnTo>
                          <a:pt x="50740" y="60034"/>
                        </a:lnTo>
                        <a:lnTo>
                          <a:pt x="104495" y="29264"/>
                        </a:lnTo>
                        <a:lnTo>
                          <a:pt x="81386" y="15951"/>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3" name="Freeform: Shape 2132">
                    <a:extLst>
                      <a:ext uri="{FF2B5EF4-FFF2-40B4-BE49-F238E27FC236}">
                        <a16:creationId xmlns:a16="http://schemas.microsoft.com/office/drawing/2014/main" id="{7D7BEF19-D948-4F31-9244-538CB4C14F56}"/>
                      </a:ext>
                    </a:extLst>
                  </p:cNvPr>
                  <p:cNvSpPr/>
                  <p:nvPr/>
                </p:nvSpPr>
                <p:spPr>
                  <a:xfrm>
                    <a:off x="5519518" y="1489655"/>
                    <a:ext cx="52498" cy="101982"/>
                  </a:xfrm>
                  <a:custGeom>
                    <a:avLst/>
                    <a:gdLst>
                      <a:gd name="connsiteX0" fmla="*/ 52499 w 52498"/>
                      <a:gd name="connsiteY0" fmla="*/ 30394 h 101982"/>
                      <a:gd name="connsiteX1" fmla="*/ 52499 w 52498"/>
                      <a:gd name="connsiteY1" fmla="*/ 33659 h 101982"/>
                      <a:gd name="connsiteX2" fmla="*/ 52499 w 52498"/>
                      <a:gd name="connsiteY2" fmla="*/ 43833 h 101982"/>
                      <a:gd name="connsiteX3" fmla="*/ 52499 w 52498"/>
                      <a:gd name="connsiteY3" fmla="*/ 101983 h 101982"/>
                      <a:gd name="connsiteX4" fmla="*/ 52499 w 52498"/>
                      <a:gd name="connsiteY4" fmla="*/ 101983 h 101982"/>
                      <a:gd name="connsiteX5" fmla="*/ 52499 w 52498"/>
                      <a:gd name="connsiteY5" fmla="*/ 101983 h 101982"/>
                      <a:gd name="connsiteX6" fmla="*/ 28510 w 52498"/>
                      <a:gd name="connsiteY6" fmla="*/ 88293 h 101982"/>
                      <a:gd name="connsiteX7" fmla="*/ 21477 w 52498"/>
                      <a:gd name="connsiteY7" fmla="*/ 84274 h 101982"/>
                      <a:gd name="connsiteX8" fmla="*/ 0 w 52498"/>
                      <a:gd name="connsiteY8" fmla="*/ 71966 h 101982"/>
                      <a:gd name="connsiteX9" fmla="*/ 0 w 52498"/>
                      <a:gd name="connsiteY9" fmla="*/ 0 h 101982"/>
                      <a:gd name="connsiteX10" fmla="*/ 21602 w 52498"/>
                      <a:gd name="connsiteY10" fmla="*/ 12559 h 101982"/>
                      <a:gd name="connsiteX11" fmla="*/ 28636 w 52498"/>
                      <a:gd name="connsiteY11" fmla="*/ 16579 h 101982"/>
                      <a:gd name="connsiteX12" fmla="*/ 52499 w 52498"/>
                      <a:gd name="connsiteY12" fmla="*/ 30394 h 101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498" h="101982">
                        <a:moveTo>
                          <a:pt x="52499" y="30394"/>
                        </a:moveTo>
                        <a:lnTo>
                          <a:pt x="52499" y="33659"/>
                        </a:lnTo>
                        <a:lnTo>
                          <a:pt x="52499" y="43833"/>
                        </a:lnTo>
                        <a:lnTo>
                          <a:pt x="52499" y="101983"/>
                        </a:lnTo>
                        <a:lnTo>
                          <a:pt x="52499" y="101983"/>
                        </a:lnTo>
                        <a:lnTo>
                          <a:pt x="52499" y="101983"/>
                        </a:lnTo>
                        <a:lnTo>
                          <a:pt x="28510" y="88293"/>
                        </a:lnTo>
                        <a:lnTo>
                          <a:pt x="21477" y="84274"/>
                        </a:lnTo>
                        <a:lnTo>
                          <a:pt x="0" y="71966"/>
                        </a:lnTo>
                        <a:lnTo>
                          <a:pt x="0" y="0"/>
                        </a:lnTo>
                        <a:lnTo>
                          <a:pt x="21602" y="12559"/>
                        </a:lnTo>
                        <a:lnTo>
                          <a:pt x="28636" y="16579"/>
                        </a:lnTo>
                        <a:lnTo>
                          <a:pt x="52499" y="30394"/>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4" name="Freeform: Shape 2133">
                    <a:extLst>
                      <a:ext uri="{FF2B5EF4-FFF2-40B4-BE49-F238E27FC236}">
                        <a16:creationId xmlns:a16="http://schemas.microsoft.com/office/drawing/2014/main" id="{E589E825-D14E-44DE-9526-ECA7EE96FE08}"/>
                      </a:ext>
                    </a:extLst>
                  </p:cNvPr>
                  <p:cNvSpPr/>
                  <p:nvPr/>
                </p:nvSpPr>
                <p:spPr>
                  <a:xfrm>
                    <a:off x="5572017" y="1487897"/>
                    <a:ext cx="55764" cy="103741"/>
                  </a:xfrm>
                  <a:custGeom>
                    <a:avLst/>
                    <a:gdLst>
                      <a:gd name="connsiteX0" fmla="*/ 14192 w 55764"/>
                      <a:gd name="connsiteY0" fmla="*/ 23989 h 103741"/>
                      <a:gd name="connsiteX1" fmla="*/ 0 w 55764"/>
                      <a:gd name="connsiteY1" fmla="*/ 32152 h 103741"/>
                      <a:gd name="connsiteX2" fmla="*/ 0 w 55764"/>
                      <a:gd name="connsiteY2" fmla="*/ 35418 h 103741"/>
                      <a:gd name="connsiteX3" fmla="*/ 0 w 55764"/>
                      <a:gd name="connsiteY3" fmla="*/ 45591 h 103741"/>
                      <a:gd name="connsiteX4" fmla="*/ 0 w 55764"/>
                      <a:gd name="connsiteY4" fmla="*/ 103741 h 103741"/>
                      <a:gd name="connsiteX5" fmla="*/ 0 w 55764"/>
                      <a:gd name="connsiteY5" fmla="*/ 103741 h 103741"/>
                      <a:gd name="connsiteX6" fmla="*/ 0 w 55764"/>
                      <a:gd name="connsiteY6" fmla="*/ 103741 h 103741"/>
                      <a:gd name="connsiteX7" fmla="*/ 40567 w 55764"/>
                      <a:gd name="connsiteY7" fmla="*/ 80506 h 103741"/>
                      <a:gd name="connsiteX8" fmla="*/ 55764 w 55764"/>
                      <a:gd name="connsiteY8" fmla="*/ 71840 h 103741"/>
                      <a:gd name="connsiteX9" fmla="*/ 55764 w 55764"/>
                      <a:gd name="connsiteY9" fmla="*/ 0 h 103741"/>
                      <a:gd name="connsiteX10" fmla="*/ 14192 w 55764"/>
                      <a:gd name="connsiteY10" fmla="*/ 23989 h 10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64" h="103741">
                        <a:moveTo>
                          <a:pt x="14192" y="23989"/>
                        </a:moveTo>
                        <a:lnTo>
                          <a:pt x="0" y="32152"/>
                        </a:lnTo>
                        <a:lnTo>
                          <a:pt x="0" y="35418"/>
                        </a:lnTo>
                        <a:lnTo>
                          <a:pt x="0" y="45591"/>
                        </a:lnTo>
                        <a:lnTo>
                          <a:pt x="0" y="103741"/>
                        </a:lnTo>
                        <a:lnTo>
                          <a:pt x="0" y="103741"/>
                        </a:lnTo>
                        <a:lnTo>
                          <a:pt x="0" y="103741"/>
                        </a:lnTo>
                        <a:lnTo>
                          <a:pt x="40567" y="80506"/>
                        </a:lnTo>
                        <a:lnTo>
                          <a:pt x="55764" y="71840"/>
                        </a:lnTo>
                        <a:lnTo>
                          <a:pt x="55764" y="0"/>
                        </a:lnTo>
                        <a:lnTo>
                          <a:pt x="14192" y="23989"/>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35" name="Freeform: Shape 2134">
                  <a:extLst>
                    <a:ext uri="{FF2B5EF4-FFF2-40B4-BE49-F238E27FC236}">
                      <a16:creationId xmlns:a16="http://schemas.microsoft.com/office/drawing/2014/main" id="{1CED75E0-A9F2-4770-8AB5-8C2EBB770CA8}"/>
                    </a:ext>
                  </a:extLst>
                </p:cNvPr>
                <p:cNvSpPr/>
                <p:nvPr/>
              </p:nvSpPr>
              <p:spPr>
                <a:xfrm>
                  <a:off x="5540995" y="1502340"/>
                  <a:ext cx="7033" cy="75608"/>
                </a:xfrm>
                <a:custGeom>
                  <a:avLst/>
                  <a:gdLst>
                    <a:gd name="connsiteX0" fmla="*/ 7033 w 7033"/>
                    <a:gd name="connsiteY0" fmla="*/ 4019 h 75608"/>
                    <a:gd name="connsiteX1" fmla="*/ 7033 w 7033"/>
                    <a:gd name="connsiteY1" fmla="*/ 75608 h 75608"/>
                    <a:gd name="connsiteX2" fmla="*/ 0 w 7033"/>
                    <a:gd name="connsiteY2" fmla="*/ 71589 h 75608"/>
                    <a:gd name="connsiteX3" fmla="*/ 0 w 7033"/>
                    <a:gd name="connsiteY3" fmla="*/ 0 h 75608"/>
                  </a:gdLst>
                  <a:ahLst/>
                  <a:cxnLst>
                    <a:cxn ang="0">
                      <a:pos x="connsiteX0" y="connsiteY0"/>
                    </a:cxn>
                    <a:cxn ang="0">
                      <a:pos x="connsiteX1" y="connsiteY1"/>
                    </a:cxn>
                    <a:cxn ang="0">
                      <a:pos x="connsiteX2" y="connsiteY2"/>
                    </a:cxn>
                    <a:cxn ang="0">
                      <a:pos x="connsiteX3" y="connsiteY3"/>
                    </a:cxn>
                  </a:cxnLst>
                  <a:rect l="l" t="t" r="r" b="b"/>
                  <a:pathLst>
                    <a:path w="7033" h="75608">
                      <a:moveTo>
                        <a:pt x="7033" y="4019"/>
                      </a:moveTo>
                      <a:lnTo>
                        <a:pt x="7033" y="75608"/>
                      </a:lnTo>
                      <a:lnTo>
                        <a:pt x="0" y="71589"/>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6" name="Freeform: Shape 2135">
                  <a:extLst>
                    <a:ext uri="{FF2B5EF4-FFF2-40B4-BE49-F238E27FC236}">
                      <a16:creationId xmlns:a16="http://schemas.microsoft.com/office/drawing/2014/main" id="{C930CDF2-DEE9-443A-BB42-0C56E4AA2F33}"/>
                    </a:ext>
                  </a:extLst>
                </p:cNvPr>
                <p:cNvSpPr/>
                <p:nvPr/>
              </p:nvSpPr>
              <p:spPr>
                <a:xfrm>
                  <a:off x="5540995" y="1470062"/>
                  <a:ext cx="62922" cy="36296"/>
                </a:xfrm>
                <a:custGeom>
                  <a:avLst/>
                  <a:gdLst>
                    <a:gd name="connsiteX0" fmla="*/ 62923 w 62922"/>
                    <a:gd name="connsiteY0" fmla="*/ 3893 h 36296"/>
                    <a:gd name="connsiteX1" fmla="*/ 43456 w 62922"/>
                    <a:gd name="connsiteY1" fmla="*/ 15197 h 36296"/>
                    <a:gd name="connsiteX2" fmla="*/ 36422 w 62922"/>
                    <a:gd name="connsiteY2" fmla="*/ 19216 h 36296"/>
                    <a:gd name="connsiteX3" fmla="*/ 7159 w 62922"/>
                    <a:gd name="connsiteY3" fmla="*/ 36171 h 36296"/>
                    <a:gd name="connsiteX4" fmla="*/ 6908 w 62922"/>
                    <a:gd name="connsiteY4" fmla="*/ 36297 h 36296"/>
                    <a:gd name="connsiteX5" fmla="*/ 0 w 62922"/>
                    <a:gd name="connsiteY5" fmla="*/ 32278 h 36296"/>
                    <a:gd name="connsiteX6" fmla="*/ 125 w 62922"/>
                    <a:gd name="connsiteY6" fmla="*/ 32152 h 36296"/>
                    <a:gd name="connsiteX7" fmla="*/ 29515 w 62922"/>
                    <a:gd name="connsiteY7" fmla="*/ 15197 h 36296"/>
                    <a:gd name="connsiteX8" fmla="*/ 36422 w 62922"/>
                    <a:gd name="connsiteY8" fmla="*/ 11178 h 36296"/>
                    <a:gd name="connsiteX9" fmla="*/ 55889 w 62922"/>
                    <a:gd name="connsiteY9" fmla="*/ 0 h 3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22" h="36296">
                      <a:moveTo>
                        <a:pt x="62923" y="3893"/>
                      </a:moveTo>
                      <a:lnTo>
                        <a:pt x="43456" y="15197"/>
                      </a:lnTo>
                      <a:lnTo>
                        <a:pt x="36422" y="19216"/>
                      </a:lnTo>
                      <a:lnTo>
                        <a:pt x="7159" y="36171"/>
                      </a:lnTo>
                      <a:lnTo>
                        <a:pt x="6908" y="36297"/>
                      </a:lnTo>
                      <a:lnTo>
                        <a:pt x="0" y="32278"/>
                      </a:lnTo>
                      <a:lnTo>
                        <a:pt x="125" y="32152"/>
                      </a:lnTo>
                      <a:lnTo>
                        <a:pt x="29515" y="15197"/>
                      </a:lnTo>
                      <a:lnTo>
                        <a:pt x="36422" y="11178"/>
                      </a:lnTo>
                      <a:lnTo>
                        <a:pt x="55889"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137" name="Graphic 4">
                <a:extLst>
                  <a:ext uri="{FF2B5EF4-FFF2-40B4-BE49-F238E27FC236}">
                    <a16:creationId xmlns:a16="http://schemas.microsoft.com/office/drawing/2014/main" id="{84FB7ED1-A2DF-40A1-A747-5F7CF3F14040}"/>
                  </a:ext>
                </a:extLst>
              </p:cNvPr>
              <p:cNvGrpSpPr/>
              <p:nvPr/>
            </p:nvGrpSpPr>
            <p:grpSpPr>
              <a:xfrm>
                <a:off x="5596759" y="1496814"/>
                <a:ext cx="25495" cy="36548"/>
                <a:chOff x="5596759" y="1496814"/>
                <a:chExt cx="25495" cy="36548"/>
              </a:xfrm>
              <a:solidFill>
                <a:schemeClr val="accent1"/>
              </a:solidFill>
            </p:grpSpPr>
            <p:sp>
              <p:nvSpPr>
                <p:cNvPr id="2138" name="Freeform: Shape 2137">
                  <a:extLst>
                    <a:ext uri="{FF2B5EF4-FFF2-40B4-BE49-F238E27FC236}">
                      <a16:creationId xmlns:a16="http://schemas.microsoft.com/office/drawing/2014/main" id="{47278A08-FA10-4116-A914-6D2E924A17CB}"/>
                    </a:ext>
                  </a:extLst>
                </p:cNvPr>
                <p:cNvSpPr/>
                <p:nvPr/>
              </p:nvSpPr>
              <p:spPr>
                <a:xfrm>
                  <a:off x="5596759" y="1496814"/>
                  <a:ext cx="25495" cy="36548"/>
                </a:xfrm>
                <a:custGeom>
                  <a:avLst/>
                  <a:gdLst>
                    <a:gd name="connsiteX0" fmla="*/ 25496 w 25495"/>
                    <a:gd name="connsiteY0" fmla="*/ 21853 h 36548"/>
                    <a:gd name="connsiteX1" fmla="*/ 0 w 25495"/>
                    <a:gd name="connsiteY1" fmla="*/ 36548 h 36548"/>
                    <a:gd name="connsiteX2" fmla="*/ 0 w 25495"/>
                    <a:gd name="connsiteY2" fmla="*/ 14695 h 36548"/>
                    <a:gd name="connsiteX3" fmla="*/ 25496 w 25495"/>
                    <a:gd name="connsiteY3" fmla="*/ 0 h 36548"/>
                  </a:gdLst>
                  <a:ahLst/>
                  <a:cxnLst>
                    <a:cxn ang="0">
                      <a:pos x="connsiteX0" y="connsiteY0"/>
                    </a:cxn>
                    <a:cxn ang="0">
                      <a:pos x="connsiteX1" y="connsiteY1"/>
                    </a:cxn>
                    <a:cxn ang="0">
                      <a:pos x="connsiteX2" y="connsiteY2"/>
                    </a:cxn>
                    <a:cxn ang="0">
                      <a:pos x="connsiteX3" y="connsiteY3"/>
                    </a:cxn>
                  </a:cxnLst>
                  <a:rect l="l" t="t" r="r" b="b"/>
                  <a:pathLst>
                    <a:path w="25495" h="36548">
                      <a:moveTo>
                        <a:pt x="25496" y="21853"/>
                      </a:moveTo>
                      <a:lnTo>
                        <a:pt x="0" y="36548"/>
                      </a:lnTo>
                      <a:lnTo>
                        <a:pt x="0" y="14695"/>
                      </a:lnTo>
                      <a:lnTo>
                        <a:pt x="2549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9" name="Freeform: Shape 2138">
                  <a:extLst>
                    <a:ext uri="{FF2B5EF4-FFF2-40B4-BE49-F238E27FC236}">
                      <a16:creationId xmlns:a16="http://schemas.microsoft.com/office/drawing/2014/main" id="{61033D33-7328-4707-BC47-88A04C206942}"/>
                    </a:ext>
                  </a:extLst>
                </p:cNvPr>
                <p:cNvSpPr/>
                <p:nvPr/>
              </p:nvSpPr>
              <p:spPr>
                <a:xfrm>
                  <a:off x="5599145" y="1500833"/>
                  <a:ext cx="20723" cy="14443"/>
                </a:xfrm>
                <a:custGeom>
                  <a:avLst/>
                  <a:gdLst>
                    <a:gd name="connsiteX0" fmla="*/ 20723 w 20723"/>
                    <a:gd name="connsiteY0" fmla="*/ 2512 h 14443"/>
                    <a:gd name="connsiteX1" fmla="*/ 0 w 20723"/>
                    <a:gd name="connsiteY1" fmla="*/ 14443 h 14443"/>
                    <a:gd name="connsiteX2" fmla="*/ 0 w 20723"/>
                    <a:gd name="connsiteY2" fmla="*/ 11932 h 14443"/>
                    <a:gd name="connsiteX3" fmla="*/ 20723 w 20723"/>
                    <a:gd name="connsiteY3" fmla="*/ 0 h 14443"/>
                  </a:gdLst>
                  <a:ahLst/>
                  <a:cxnLst>
                    <a:cxn ang="0">
                      <a:pos x="connsiteX0" y="connsiteY0"/>
                    </a:cxn>
                    <a:cxn ang="0">
                      <a:pos x="connsiteX1" y="connsiteY1"/>
                    </a:cxn>
                    <a:cxn ang="0">
                      <a:pos x="connsiteX2" y="connsiteY2"/>
                    </a:cxn>
                    <a:cxn ang="0">
                      <a:pos x="connsiteX3" y="connsiteY3"/>
                    </a:cxn>
                  </a:cxnLst>
                  <a:rect l="l" t="t" r="r" b="b"/>
                  <a:pathLst>
                    <a:path w="20723" h="14443">
                      <a:moveTo>
                        <a:pt x="20723" y="2512"/>
                      </a:moveTo>
                      <a:lnTo>
                        <a:pt x="0" y="14443"/>
                      </a:lnTo>
                      <a:lnTo>
                        <a:pt x="0" y="11932"/>
                      </a:lnTo>
                      <a:lnTo>
                        <a:pt x="20723"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0" name="Freeform: Shape 2139">
                  <a:extLst>
                    <a:ext uri="{FF2B5EF4-FFF2-40B4-BE49-F238E27FC236}">
                      <a16:creationId xmlns:a16="http://schemas.microsoft.com/office/drawing/2014/main" id="{D0F0E740-5FCB-4768-B59C-F44746E88071}"/>
                    </a:ext>
                  </a:extLst>
                </p:cNvPr>
                <p:cNvSpPr/>
                <p:nvPr/>
              </p:nvSpPr>
              <p:spPr>
                <a:xfrm>
                  <a:off x="5599145" y="1506736"/>
                  <a:ext cx="20723" cy="12936"/>
                </a:xfrm>
                <a:custGeom>
                  <a:avLst/>
                  <a:gdLst>
                    <a:gd name="connsiteX0" fmla="*/ 20723 w 20723"/>
                    <a:gd name="connsiteY0" fmla="*/ 1005 h 12936"/>
                    <a:gd name="connsiteX1" fmla="*/ 0 w 20723"/>
                    <a:gd name="connsiteY1" fmla="*/ 12936 h 12936"/>
                    <a:gd name="connsiteX2" fmla="*/ 0 w 20723"/>
                    <a:gd name="connsiteY2" fmla="*/ 11931 h 12936"/>
                    <a:gd name="connsiteX3" fmla="*/ 20723 w 20723"/>
                    <a:gd name="connsiteY3" fmla="*/ 0 h 12936"/>
                  </a:gdLst>
                  <a:ahLst/>
                  <a:cxnLst>
                    <a:cxn ang="0">
                      <a:pos x="connsiteX0" y="connsiteY0"/>
                    </a:cxn>
                    <a:cxn ang="0">
                      <a:pos x="connsiteX1" y="connsiteY1"/>
                    </a:cxn>
                    <a:cxn ang="0">
                      <a:pos x="connsiteX2" y="connsiteY2"/>
                    </a:cxn>
                    <a:cxn ang="0">
                      <a:pos x="connsiteX3" y="connsiteY3"/>
                    </a:cxn>
                  </a:cxnLst>
                  <a:rect l="l" t="t" r="r" b="b"/>
                  <a:pathLst>
                    <a:path w="20723" h="12936">
                      <a:moveTo>
                        <a:pt x="20723" y="1005"/>
                      </a:moveTo>
                      <a:lnTo>
                        <a:pt x="0" y="12936"/>
                      </a:lnTo>
                      <a:lnTo>
                        <a:pt x="0" y="11931"/>
                      </a:lnTo>
                      <a:lnTo>
                        <a:pt x="207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1" name="Freeform: Shape 2140">
                  <a:extLst>
                    <a:ext uri="{FF2B5EF4-FFF2-40B4-BE49-F238E27FC236}">
                      <a16:creationId xmlns:a16="http://schemas.microsoft.com/office/drawing/2014/main" id="{38EEC07A-6173-440F-92FC-C22F3E924604}"/>
                    </a:ext>
                  </a:extLst>
                </p:cNvPr>
                <p:cNvSpPr/>
                <p:nvPr/>
              </p:nvSpPr>
              <p:spPr>
                <a:xfrm>
                  <a:off x="5599145" y="1509499"/>
                  <a:ext cx="20723" cy="13061"/>
                </a:xfrm>
                <a:custGeom>
                  <a:avLst/>
                  <a:gdLst>
                    <a:gd name="connsiteX0" fmla="*/ 20723 w 20723"/>
                    <a:gd name="connsiteY0" fmla="*/ 1130 h 13061"/>
                    <a:gd name="connsiteX1" fmla="*/ 0 w 20723"/>
                    <a:gd name="connsiteY1" fmla="*/ 13062 h 13061"/>
                    <a:gd name="connsiteX2" fmla="*/ 0 w 20723"/>
                    <a:gd name="connsiteY2" fmla="*/ 11932 h 13061"/>
                    <a:gd name="connsiteX3" fmla="*/ 20723 w 20723"/>
                    <a:gd name="connsiteY3" fmla="*/ 0 h 13061"/>
                  </a:gdLst>
                  <a:ahLst/>
                  <a:cxnLst>
                    <a:cxn ang="0">
                      <a:pos x="connsiteX0" y="connsiteY0"/>
                    </a:cxn>
                    <a:cxn ang="0">
                      <a:pos x="connsiteX1" y="connsiteY1"/>
                    </a:cxn>
                    <a:cxn ang="0">
                      <a:pos x="connsiteX2" y="connsiteY2"/>
                    </a:cxn>
                    <a:cxn ang="0">
                      <a:pos x="connsiteX3" y="connsiteY3"/>
                    </a:cxn>
                  </a:cxnLst>
                  <a:rect l="l" t="t" r="r" b="b"/>
                  <a:pathLst>
                    <a:path w="20723" h="13061">
                      <a:moveTo>
                        <a:pt x="20723" y="1130"/>
                      </a:moveTo>
                      <a:lnTo>
                        <a:pt x="0" y="13062"/>
                      </a:lnTo>
                      <a:lnTo>
                        <a:pt x="0" y="11932"/>
                      </a:lnTo>
                      <a:lnTo>
                        <a:pt x="207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2" name="Freeform: Shape 2141">
                  <a:extLst>
                    <a:ext uri="{FF2B5EF4-FFF2-40B4-BE49-F238E27FC236}">
                      <a16:creationId xmlns:a16="http://schemas.microsoft.com/office/drawing/2014/main" id="{4A73AE65-2424-46DA-9BF4-408CE93F78E8}"/>
                    </a:ext>
                  </a:extLst>
                </p:cNvPr>
                <p:cNvSpPr/>
                <p:nvPr/>
              </p:nvSpPr>
              <p:spPr>
                <a:xfrm>
                  <a:off x="5599145" y="1512639"/>
                  <a:ext cx="20723" cy="13061"/>
                </a:xfrm>
                <a:custGeom>
                  <a:avLst/>
                  <a:gdLst>
                    <a:gd name="connsiteX0" fmla="*/ 20723 w 20723"/>
                    <a:gd name="connsiteY0" fmla="*/ 1130 h 13061"/>
                    <a:gd name="connsiteX1" fmla="*/ 0 w 20723"/>
                    <a:gd name="connsiteY1" fmla="*/ 13062 h 13061"/>
                    <a:gd name="connsiteX2" fmla="*/ 0 w 20723"/>
                    <a:gd name="connsiteY2" fmla="*/ 11932 h 13061"/>
                    <a:gd name="connsiteX3" fmla="*/ 20723 w 20723"/>
                    <a:gd name="connsiteY3" fmla="*/ 0 h 13061"/>
                  </a:gdLst>
                  <a:ahLst/>
                  <a:cxnLst>
                    <a:cxn ang="0">
                      <a:pos x="connsiteX0" y="connsiteY0"/>
                    </a:cxn>
                    <a:cxn ang="0">
                      <a:pos x="connsiteX1" y="connsiteY1"/>
                    </a:cxn>
                    <a:cxn ang="0">
                      <a:pos x="connsiteX2" y="connsiteY2"/>
                    </a:cxn>
                    <a:cxn ang="0">
                      <a:pos x="connsiteX3" y="connsiteY3"/>
                    </a:cxn>
                  </a:cxnLst>
                  <a:rect l="l" t="t" r="r" b="b"/>
                  <a:pathLst>
                    <a:path w="20723" h="13061">
                      <a:moveTo>
                        <a:pt x="20723" y="1130"/>
                      </a:moveTo>
                      <a:lnTo>
                        <a:pt x="0" y="13062"/>
                      </a:lnTo>
                      <a:lnTo>
                        <a:pt x="0" y="11932"/>
                      </a:lnTo>
                      <a:lnTo>
                        <a:pt x="207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3" name="Freeform: Shape 2142">
                  <a:extLst>
                    <a:ext uri="{FF2B5EF4-FFF2-40B4-BE49-F238E27FC236}">
                      <a16:creationId xmlns:a16="http://schemas.microsoft.com/office/drawing/2014/main" id="{907F4CE9-82FB-4DF5-B5CA-104E284D29ED}"/>
                    </a:ext>
                  </a:extLst>
                </p:cNvPr>
                <p:cNvSpPr/>
                <p:nvPr/>
              </p:nvSpPr>
              <p:spPr>
                <a:xfrm>
                  <a:off x="5599145" y="1515528"/>
                  <a:ext cx="20723" cy="13061"/>
                </a:xfrm>
                <a:custGeom>
                  <a:avLst/>
                  <a:gdLst>
                    <a:gd name="connsiteX0" fmla="*/ 20723 w 20723"/>
                    <a:gd name="connsiteY0" fmla="*/ 1130 h 13061"/>
                    <a:gd name="connsiteX1" fmla="*/ 0 w 20723"/>
                    <a:gd name="connsiteY1" fmla="*/ 13062 h 13061"/>
                    <a:gd name="connsiteX2" fmla="*/ 0 w 20723"/>
                    <a:gd name="connsiteY2" fmla="*/ 11932 h 13061"/>
                    <a:gd name="connsiteX3" fmla="*/ 20723 w 20723"/>
                    <a:gd name="connsiteY3" fmla="*/ 0 h 13061"/>
                  </a:gdLst>
                  <a:ahLst/>
                  <a:cxnLst>
                    <a:cxn ang="0">
                      <a:pos x="connsiteX0" y="connsiteY0"/>
                    </a:cxn>
                    <a:cxn ang="0">
                      <a:pos x="connsiteX1" y="connsiteY1"/>
                    </a:cxn>
                    <a:cxn ang="0">
                      <a:pos x="connsiteX2" y="connsiteY2"/>
                    </a:cxn>
                    <a:cxn ang="0">
                      <a:pos x="connsiteX3" y="connsiteY3"/>
                    </a:cxn>
                  </a:cxnLst>
                  <a:rect l="l" t="t" r="r" b="b"/>
                  <a:pathLst>
                    <a:path w="20723" h="13061">
                      <a:moveTo>
                        <a:pt x="20723" y="1130"/>
                      </a:moveTo>
                      <a:lnTo>
                        <a:pt x="0" y="13062"/>
                      </a:lnTo>
                      <a:lnTo>
                        <a:pt x="0" y="11932"/>
                      </a:lnTo>
                      <a:lnTo>
                        <a:pt x="207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44" name="Graphic 4">
              <a:extLst>
                <a:ext uri="{FF2B5EF4-FFF2-40B4-BE49-F238E27FC236}">
                  <a16:creationId xmlns:a16="http://schemas.microsoft.com/office/drawing/2014/main" id="{84FB7ED1-A2DF-40A1-A747-5F7CF3F14040}"/>
                </a:ext>
              </a:extLst>
            </p:cNvPr>
            <p:cNvGrpSpPr/>
            <p:nvPr/>
          </p:nvGrpSpPr>
          <p:grpSpPr>
            <a:xfrm>
              <a:off x="5676512" y="1354389"/>
              <a:ext cx="128985" cy="142424"/>
              <a:chOff x="5676512" y="1354389"/>
              <a:chExt cx="128985" cy="142424"/>
            </a:xfrm>
            <a:solidFill>
              <a:schemeClr val="accent1"/>
            </a:solidFill>
          </p:grpSpPr>
          <p:grpSp>
            <p:nvGrpSpPr>
              <p:cNvPr id="2145" name="Graphic 4">
                <a:extLst>
                  <a:ext uri="{FF2B5EF4-FFF2-40B4-BE49-F238E27FC236}">
                    <a16:creationId xmlns:a16="http://schemas.microsoft.com/office/drawing/2014/main" id="{84FB7ED1-A2DF-40A1-A747-5F7CF3F14040}"/>
                  </a:ext>
                </a:extLst>
              </p:cNvPr>
              <p:cNvGrpSpPr/>
              <p:nvPr/>
            </p:nvGrpSpPr>
            <p:grpSpPr>
              <a:xfrm>
                <a:off x="5676512" y="1354389"/>
                <a:ext cx="128985" cy="142424"/>
                <a:chOff x="5676512" y="1354389"/>
                <a:chExt cx="128985" cy="142424"/>
              </a:xfrm>
              <a:solidFill>
                <a:schemeClr val="accent1"/>
              </a:solidFill>
            </p:grpSpPr>
            <p:sp>
              <p:nvSpPr>
                <p:cNvPr id="2146" name="Freeform: Shape 2145">
                  <a:extLst>
                    <a:ext uri="{FF2B5EF4-FFF2-40B4-BE49-F238E27FC236}">
                      <a16:creationId xmlns:a16="http://schemas.microsoft.com/office/drawing/2014/main" id="{D9E49E4E-072F-42CA-BD18-068043EC6354}"/>
                    </a:ext>
                  </a:extLst>
                </p:cNvPr>
                <p:cNvSpPr/>
                <p:nvPr/>
              </p:nvSpPr>
              <p:spPr>
                <a:xfrm>
                  <a:off x="5676512" y="1421959"/>
                  <a:ext cx="123710" cy="74854"/>
                </a:xfrm>
                <a:custGeom>
                  <a:avLst/>
                  <a:gdLst>
                    <a:gd name="connsiteX0" fmla="*/ 123711 w 123710"/>
                    <a:gd name="connsiteY0" fmla="*/ 37553 h 74854"/>
                    <a:gd name="connsiteX1" fmla="*/ 113789 w 123710"/>
                    <a:gd name="connsiteY1" fmla="*/ 43330 h 74854"/>
                    <a:gd name="connsiteX2" fmla="*/ 59280 w 123710"/>
                    <a:gd name="connsiteY2" fmla="*/ 74854 h 74854"/>
                    <a:gd name="connsiteX3" fmla="*/ 0 w 123710"/>
                    <a:gd name="connsiteY3" fmla="*/ 40567 h 74854"/>
                    <a:gd name="connsiteX4" fmla="*/ 20597 w 123710"/>
                    <a:gd name="connsiteY4" fmla="*/ 28636 h 74854"/>
                    <a:gd name="connsiteX5" fmla="*/ 20597 w 123710"/>
                    <a:gd name="connsiteY5" fmla="*/ 21853 h 74854"/>
                    <a:gd name="connsiteX6" fmla="*/ 42200 w 123710"/>
                    <a:gd name="connsiteY6" fmla="*/ 9420 h 74854"/>
                    <a:gd name="connsiteX7" fmla="*/ 49107 w 123710"/>
                    <a:gd name="connsiteY7" fmla="*/ 5401 h 74854"/>
                    <a:gd name="connsiteX8" fmla="*/ 58653 w 123710"/>
                    <a:gd name="connsiteY8" fmla="*/ 0 h 74854"/>
                    <a:gd name="connsiteX9" fmla="*/ 64430 w 123710"/>
                    <a:gd name="connsiteY9" fmla="*/ 3265 h 74854"/>
                    <a:gd name="connsiteX10" fmla="*/ 73222 w 123710"/>
                    <a:gd name="connsiteY10" fmla="*/ 8415 h 74854"/>
                    <a:gd name="connsiteX11" fmla="*/ 73222 w 123710"/>
                    <a:gd name="connsiteY11" fmla="*/ 8415 h 7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710" h="74854">
                      <a:moveTo>
                        <a:pt x="123711" y="37553"/>
                      </a:moveTo>
                      <a:lnTo>
                        <a:pt x="113789" y="43330"/>
                      </a:lnTo>
                      <a:lnTo>
                        <a:pt x="59280" y="74854"/>
                      </a:lnTo>
                      <a:lnTo>
                        <a:pt x="0" y="40567"/>
                      </a:lnTo>
                      <a:lnTo>
                        <a:pt x="20597" y="28636"/>
                      </a:lnTo>
                      <a:lnTo>
                        <a:pt x="20597" y="21853"/>
                      </a:lnTo>
                      <a:lnTo>
                        <a:pt x="42200" y="9420"/>
                      </a:lnTo>
                      <a:lnTo>
                        <a:pt x="49107" y="5401"/>
                      </a:lnTo>
                      <a:lnTo>
                        <a:pt x="58653" y="0"/>
                      </a:lnTo>
                      <a:lnTo>
                        <a:pt x="64430" y="3265"/>
                      </a:lnTo>
                      <a:lnTo>
                        <a:pt x="73222" y="8415"/>
                      </a:lnTo>
                      <a:lnTo>
                        <a:pt x="73222" y="8415"/>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47" name="Graphic 4">
                  <a:extLst>
                    <a:ext uri="{FF2B5EF4-FFF2-40B4-BE49-F238E27FC236}">
                      <a16:creationId xmlns:a16="http://schemas.microsoft.com/office/drawing/2014/main" id="{84FB7ED1-A2DF-40A1-A747-5F7CF3F14040}"/>
                    </a:ext>
                  </a:extLst>
                </p:cNvPr>
                <p:cNvGrpSpPr/>
                <p:nvPr/>
              </p:nvGrpSpPr>
              <p:grpSpPr>
                <a:xfrm>
                  <a:off x="5697109" y="1354389"/>
                  <a:ext cx="108388" cy="134135"/>
                  <a:chOff x="5697109" y="1354389"/>
                  <a:chExt cx="108388" cy="134135"/>
                </a:xfrm>
                <a:solidFill>
                  <a:schemeClr val="accent1"/>
                </a:solidFill>
              </p:grpSpPr>
              <p:sp>
                <p:nvSpPr>
                  <p:cNvPr id="2148" name="Freeform: Shape 2147">
                    <a:extLst>
                      <a:ext uri="{FF2B5EF4-FFF2-40B4-BE49-F238E27FC236}">
                        <a16:creationId xmlns:a16="http://schemas.microsoft.com/office/drawing/2014/main" id="{A6AF12AE-B96D-43CA-87ED-D807881DD743}"/>
                      </a:ext>
                    </a:extLst>
                  </p:cNvPr>
                  <p:cNvSpPr/>
                  <p:nvPr/>
                </p:nvSpPr>
                <p:spPr>
                  <a:xfrm>
                    <a:off x="5697109" y="1354389"/>
                    <a:ext cx="108137" cy="62546"/>
                  </a:xfrm>
                  <a:custGeom>
                    <a:avLst/>
                    <a:gdLst>
                      <a:gd name="connsiteX0" fmla="*/ 84400 w 108137"/>
                      <a:gd name="connsiteY0" fmla="*/ 16579 h 62546"/>
                      <a:gd name="connsiteX1" fmla="*/ 77492 w 108137"/>
                      <a:gd name="connsiteY1" fmla="*/ 12559 h 62546"/>
                      <a:gd name="connsiteX2" fmla="*/ 55764 w 108137"/>
                      <a:gd name="connsiteY2" fmla="*/ 0 h 62546"/>
                      <a:gd name="connsiteX3" fmla="*/ 0 w 108137"/>
                      <a:gd name="connsiteY3" fmla="*/ 32152 h 62546"/>
                      <a:gd name="connsiteX4" fmla="*/ 21728 w 108137"/>
                      <a:gd name="connsiteY4" fmla="*/ 44712 h 62546"/>
                      <a:gd name="connsiteX5" fmla="*/ 28636 w 108137"/>
                      <a:gd name="connsiteY5" fmla="*/ 48731 h 62546"/>
                      <a:gd name="connsiteX6" fmla="*/ 28636 w 108137"/>
                      <a:gd name="connsiteY6" fmla="*/ 48731 h 62546"/>
                      <a:gd name="connsiteX7" fmla="*/ 52499 w 108137"/>
                      <a:gd name="connsiteY7" fmla="*/ 62546 h 62546"/>
                      <a:gd name="connsiteX8" fmla="*/ 52499 w 108137"/>
                      <a:gd name="connsiteY8" fmla="*/ 62546 h 62546"/>
                      <a:gd name="connsiteX9" fmla="*/ 66691 w 108137"/>
                      <a:gd name="connsiteY9" fmla="*/ 54383 h 62546"/>
                      <a:gd name="connsiteX10" fmla="*/ 108137 w 108137"/>
                      <a:gd name="connsiteY10" fmla="*/ 30394 h 62546"/>
                      <a:gd name="connsiteX11" fmla="*/ 108137 w 108137"/>
                      <a:gd name="connsiteY11" fmla="*/ 30394 h 62546"/>
                      <a:gd name="connsiteX12" fmla="*/ 84400 w 108137"/>
                      <a:gd name="connsiteY12" fmla="*/ 16579 h 62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137" h="62546">
                        <a:moveTo>
                          <a:pt x="84400" y="16579"/>
                        </a:moveTo>
                        <a:lnTo>
                          <a:pt x="77492" y="12559"/>
                        </a:lnTo>
                        <a:lnTo>
                          <a:pt x="55764" y="0"/>
                        </a:lnTo>
                        <a:lnTo>
                          <a:pt x="0" y="32152"/>
                        </a:lnTo>
                        <a:lnTo>
                          <a:pt x="21728" y="44712"/>
                        </a:lnTo>
                        <a:lnTo>
                          <a:pt x="28636" y="48731"/>
                        </a:lnTo>
                        <a:lnTo>
                          <a:pt x="28636" y="48731"/>
                        </a:lnTo>
                        <a:lnTo>
                          <a:pt x="52499" y="62546"/>
                        </a:lnTo>
                        <a:lnTo>
                          <a:pt x="52499" y="62546"/>
                        </a:lnTo>
                        <a:lnTo>
                          <a:pt x="66691" y="54383"/>
                        </a:lnTo>
                        <a:lnTo>
                          <a:pt x="108137" y="30394"/>
                        </a:lnTo>
                        <a:lnTo>
                          <a:pt x="108137" y="30394"/>
                        </a:lnTo>
                        <a:lnTo>
                          <a:pt x="84400" y="1657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9" name="Freeform: Shape 2148">
                    <a:extLst>
                      <a:ext uri="{FF2B5EF4-FFF2-40B4-BE49-F238E27FC236}">
                        <a16:creationId xmlns:a16="http://schemas.microsoft.com/office/drawing/2014/main" id="{AA592FF5-D16B-4F6C-9F24-C18EDBAFE52E}"/>
                      </a:ext>
                    </a:extLst>
                  </p:cNvPr>
                  <p:cNvSpPr/>
                  <p:nvPr/>
                </p:nvSpPr>
                <p:spPr>
                  <a:xfrm>
                    <a:off x="5699119" y="1355520"/>
                    <a:ext cx="104494" cy="60034"/>
                  </a:xfrm>
                  <a:custGeom>
                    <a:avLst/>
                    <a:gdLst>
                      <a:gd name="connsiteX0" fmla="*/ 81386 w 104494"/>
                      <a:gd name="connsiteY0" fmla="*/ 15951 h 60034"/>
                      <a:gd name="connsiteX1" fmla="*/ 74478 w 104494"/>
                      <a:gd name="connsiteY1" fmla="*/ 11932 h 60034"/>
                      <a:gd name="connsiteX2" fmla="*/ 53755 w 104494"/>
                      <a:gd name="connsiteY2" fmla="*/ 0 h 60034"/>
                      <a:gd name="connsiteX3" fmla="*/ 0 w 104494"/>
                      <a:gd name="connsiteY3" fmla="*/ 31022 h 60034"/>
                      <a:gd name="connsiteX4" fmla="*/ 20849 w 104494"/>
                      <a:gd name="connsiteY4" fmla="*/ 42953 h 60034"/>
                      <a:gd name="connsiteX5" fmla="*/ 27882 w 104494"/>
                      <a:gd name="connsiteY5" fmla="*/ 46972 h 60034"/>
                      <a:gd name="connsiteX6" fmla="*/ 50740 w 104494"/>
                      <a:gd name="connsiteY6" fmla="*/ 60034 h 60034"/>
                      <a:gd name="connsiteX7" fmla="*/ 104495 w 104494"/>
                      <a:gd name="connsiteY7" fmla="*/ 29264 h 60034"/>
                      <a:gd name="connsiteX8" fmla="*/ 81386 w 104494"/>
                      <a:gd name="connsiteY8" fmla="*/ 15951 h 6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94" h="60034">
                        <a:moveTo>
                          <a:pt x="81386" y="15951"/>
                        </a:moveTo>
                        <a:lnTo>
                          <a:pt x="74478" y="11932"/>
                        </a:lnTo>
                        <a:lnTo>
                          <a:pt x="53755" y="0"/>
                        </a:lnTo>
                        <a:lnTo>
                          <a:pt x="0" y="31022"/>
                        </a:lnTo>
                        <a:lnTo>
                          <a:pt x="20849" y="42953"/>
                        </a:lnTo>
                        <a:lnTo>
                          <a:pt x="27882" y="46972"/>
                        </a:lnTo>
                        <a:lnTo>
                          <a:pt x="50740" y="60034"/>
                        </a:lnTo>
                        <a:lnTo>
                          <a:pt x="104495" y="29264"/>
                        </a:lnTo>
                        <a:lnTo>
                          <a:pt x="81386" y="15951"/>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0" name="Freeform: Shape 2149">
                    <a:extLst>
                      <a:ext uri="{FF2B5EF4-FFF2-40B4-BE49-F238E27FC236}">
                        <a16:creationId xmlns:a16="http://schemas.microsoft.com/office/drawing/2014/main" id="{C6AAB9F6-EBFD-4B6B-824A-B9E20BDDF060}"/>
                      </a:ext>
                    </a:extLst>
                  </p:cNvPr>
                  <p:cNvSpPr/>
                  <p:nvPr/>
                </p:nvSpPr>
                <p:spPr>
                  <a:xfrm>
                    <a:off x="5697109" y="1386542"/>
                    <a:ext cx="52624" cy="101982"/>
                  </a:xfrm>
                  <a:custGeom>
                    <a:avLst/>
                    <a:gdLst>
                      <a:gd name="connsiteX0" fmla="*/ 52624 w 52624"/>
                      <a:gd name="connsiteY0" fmla="*/ 30394 h 101982"/>
                      <a:gd name="connsiteX1" fmla="*/ 52624 w 52624"/>
                      <a:gd name="connsiteY1" fmla="*/ 33659 h 101982"/>
                      <a:gd name="connsiteX2" fmla="*/ 52624 w 52624"/>
                      <a:gd name="connsiteY2" fmla="*/ 43833 h 101982"/>
                      <a:gd name="connsiteX3" fmla="*/ 52499 w 52624"/>
                      <a:gd name="connsiteY3" fmla="*/ 101983 h 101982"/>
                      <a:gd name="connsiteX4" fmla="*/ 52499 w 52624"/>
                      <a:gd name="connsiteY4" fmla="*/ 101983 h 101982"/>
                      <a:gd name="connsiteX5" fmla="*/ 52499 w 52624"/>
                      <a:gd name="connsiteY5" fmla="*/ 101983 h 101982"/>
                      <a:gd name="connsiteX6" fmla="*/ 28510 w 52624"/>
                      <a:gd name="connsiteY6" fmla="*/ 88293 h 101982"/>
                      <a:gd name="connsiteX7" fmla="*/ 21602 w 52624"/>
                      <a:gd name="connsiteY7" fmla="*/ 84274 h 101982"/>
                      <a:gd name="connsiteX8" fmla="*/ 0 w 52624"/>
                      <a:gd name="connsiteY8" fmla="*/ 71966 h 101982"/>
                      <a:gd name="connsiteX9" fmla="*/ 0 w 52624"/>
                      <a:gd name="connsiteY9" fmla="*/ 0 h 101982"/>
                      <a:gd name="connsiteX10" fmla="*/ 21728 w 52624"/>
                      <a:gd name="connsiteY10" fmla="*/ 12559 h 101982"/>
                      <a:gd name="connsiteX11" fmla="*/ 28636 w 52624"/>
                      <a:gd name="connsiteY11" fmla="*/ 16579 h 101982"/>
                      <a:gd name="connsiteX12" fmla="*/ 52624 w 52624"/>
                      <a:gd name="connsiteY12" fmla="*/ 30394 h 101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24" h="101982">
                        <a:moveTo>
                          <a:pt x="52624" y="30394"/>
                        </a:moveTo>
                        <a:lnTo>
                          <a:pt x="52624" y="33659"/>
                        </a:lnTo>
                        <a:lnTo>
                          <a:pt x="52624" y="43833"/>
                        </a:lnTo>
                        <a:lnTo>
                          <a:pt x="52499" y="101983"/>
                        </a:lnTo>
                        <a:lnTo>
                          <a:pt x="52499" y="101983"/>
                        </a:lnTo>
                        <a:lnTo>
                          <a:pt x="52499" y="101983"/>
                        </a:lnTo>
                        <a:lnTo>
                          <a:pt x="28510" y="88293"/>
                        </a:lnTo>
                        <a:lnTo>
                          <a:pt x="21602" y="84274"/>
                        </a:lnTo>
                        <a:lnTo>
                          <a:pt x="0" y="71966"/>
                        </a:lnTo>
                        <a:lnTo>
                          <a:pt x="0" y="0"/>
                        </a:lnTo>
                        <a:lnTo>
                          <a:pt x="21728" y="12559"/>
                        </a:lnTo>
                        <a:lnTo>
                          <a:pt x="28636" y="16579"/>
                        </a:lnTo>
                        <a:lnTo>
                          <a:pt x="52624" y="30394"/>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1" name="Freeform: Shape 2150">
                    <a:extLst>
                      <a:ext uri="{FF2B5EF4-FFF2-40B4-BE49-F238E27FC236}">
                        <a16:creationId xmlns:a16="http://schemas.microsoft.com/office/drawing/2014/main" id="{264328B4-542C-48AF-9AE1-0C1F1D4A136E}"/>
                      </a:ext>
                    </a:extLst>
                  </p:cNvPr>
                  <p:cNvSpPr/>
                  <p:nvPr/>
                </p:nvSpPr>
                <p:spPr>
                  <a:xfrm>
                    <a:off x="5749733" y="1384783"/>
                    <a:ext cx="55764" cy="103741"/>
                  </a:xfrm>
                  <a:custGeom>
                    <a:avLst/>
                    <a:gdLst>
                      <a:gd name="connsiteX0" fmla="*/ 14192 w 55764"/>
                      <a:gd name="connsiteY0" fmla="*/ 23989 h 103741"/>
                      <a:gd name="connsiteX1" fmla="*/ 0 w 55764"/>
                      <a:gd name="connsiteY1" fmla="*/ 32152 h 103741"/>
                      <a:gd name="connsiteX2" fmla="*/ 0 w 55764"/>
                      <a:gd name="connsiteY2" fmla="*/ 35418 h 103741"/>
                      <a:gd name="connsiteX3" fmla="*/ 0 w 55764"/>
                      <a:gd name="connsiteY3" fmla="*/ 45591 h 103741"/>
                      <a:gd name="connsiteX4" fmla="*/ 0 w 55764"/>
                      <a:gd name="connsiteY4" fmla="*/ 103741 h 103741"/>
                      <a:gd name="connsiteX5" fmla="*/ 0 w 55764"/>
                      <a:gd name="connsiteY5" fmla="*/ 103741 h 103741"/>
                      <a:gd name="connsiteX6" fmla="*/ 0 w 55764"/>
                      <a:gd name="connsiteY6" fmla="*/ 103741 h 103741"/>
                      <a:gd name="connsiteX7" fmla="*/ 40567 w 55764"/>
                      <a:gd name="connsiteY7" fmla="*/ 80506 h 103741"/>
                      <a:gd name="connsiteX8" fmla="*/ 55764 w 55764"/>
                      <a:gd name="connsiteY8" fmla="*/ 71840 h 103741"/>
                      <a:gd name="connsiteX9" fmla="*/ 55764 w 55764"/>
                      <a:gd name="connsiteY9" fmla="*/ 0 h 103741"/>
                      <a:gd name="connsiteX10" fmla="*/ 14192 w 55764"/>
                      <a:gd name="connsiteY10" fmla="*/ 23989 h 10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64" h="103741">
                        <a:moveTo>
                          <a:pt x="14192" y="23989"/>
                        </a:moveTo>
                        <a:lnTo>
                          <a:pt x="0" y="32152"/>
                        </a:lnTo>
                        <a:lnTo>
                          <a:pt x="0" y="35418"/>
                        </a:lnTo>
                        <a:lnTo>
                          <a:pt x="0" y="45591"/>
                        </a:lnTo>
                        <a:lnTo>
                          <a:pt x="0" y="103741"/>
                        </a:lnTo>
                        <a:lnTo>
                          <a:pt x="0" y="103741"/>
                        </a:lnTo>
                        <a:lnTo>
                          <a:pt x="0" y="103741"/>
                        </a:lnTo>
                        <a:lnTo>
                          <a:pt x="40567" y="80506"/>
                        </a:lnTo>
                        <a:lnTo>
                          <a:pt x="55764" y="71840"/>
                        </a:lnTo>
                        <a:lnTo>
                          <a:pt x="55764" y="0"/>
                        </a:lnTo>
                        <a:lnTo>
                          <a:pt x="14192" y="23989"/>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52" name="Freeform: Shape 2151">
                  <a:extLst>
                    <a:ext uri="{FF2B5EF4-FFF2-40B4-BE49-F238E27FC236}">
                      <a16:creationId xmlns:a16="http://schemas.microsoft.com/office/drawing/2014/main" id="{4FBB3778-599F-44ED-8684-6C30620707FC}"/>
                    </a:ext>
                  </a:extLst>
                </p:cNvPr>
                <p:cNvSpPr/>
                <p:nvPr/>
              </p:nvSpPr>
              <p:spPr>
                <a:xfrm>
                  <a:off x="5718711" y="1399227"/>
                  <a:ext cx="6907" cy="75608"/>
                </a:xfrm>
                <a:custGeom>
                  <a:avLst/>
                  <a:gdLst>
                    <a:gd name="connsiteX0" fmla="*/ 6908 w 6907"/>
                    <a:gd name="connsiteY0" fmla="*/ 4019 h 75608"/>
                    <a:gd name="connsiteX1" fmla="*/ 6908 w 6907"/>
                    <a:gd name="connsiteY1" fmla="*/ 75608 h 75608"/>
                    <a:gd name="connsiteX2" fmla="*/ 0 w 6907"/>
                    <a:gd name="connsiteY2" fmla="*/ 71589 h 75608"/>
                    <a:gd name="connsiteX3" fmla="*/ 0 w 6907"/>
                    <a:gd name="connsiteY3" fmla="*/ 0 h 75608"/>
                  </a:gdLst>
                  <a:ahLst/>
                  <a:cxnLst>
                    <a:cxn ang="0">
                      <a:pos x="connsiteX0" y="connsiteY0"/>
                    </a:cxn>
                    <a:cxn ang="0">
                      <a:pos x="connsiteX1" y="connsiteY1"/>
                    </a:cxn>
                    <a:cxn ang="0">
                      <a:pos x="connsiteX2" y="connsiteY2"/>
                    </a:cxn>
                    <a:cxn ang="0">
                      <a:pos x="connsiteX3" y="connsiteY3"/>
                    </a:cxn>
                  </a:cxnLst>
                  <a:rect l="l" t="t" r="r" b="b"/>
                  <a:pathLst>
                    <a:path w="6907" h="75608">
                      <a:moveTo>
                        <a:pt x="6908" y="4019"/>
                      </a:moveTo>
                      <a:lnTo>
                        <a:pt x="6908" y="75608"/>
                      </a:lnTo>
                      <a:lnTo>
                        <a:pt x="0" y="71589"/>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3" name="Freeform: Shape 2152">
                  <a:extLst>
                    <a:ext uri="{FF2B5EF4-FFF2-40B4-BE49-F238E27FC236}">
                      <a16:creationId xmlns:a16="http://schemas.microsoft.com/office/drawing/2014/main" id="{AA0D696C-1832-4A86-B963-DF49EADF3C82}"/>
                    </a:ext>
                  </a:extLst>
                </p:cNvPr>
                <p:cNvSpPr/>
                <p:nvPr/>
              </p:nvSpPr>
              <p:spPr>
                <a:xfrm>
                  <a:off x="5718586" y="1366949"/>
                  <a:ext cx="62923" cy="36296"/>
                </a:xfrm>
                <a:custGeom>
                  <a:avLst/>
                  <a:gdLst>
                    <a:gd name="connsiteX0" fmla="*/ 62923 w 62923"/>
                    <a:gd name="connsiteY0" fmla="*/ 4019 h 36296"/>
                    <a:gd name="connsiteX1" fmla="*/ 43456 w 62923"/>
                    <a:gd name="connsiteY1" fmla="*/ 15197 h 36296"/>
                    <a:gd name="connsiteX2" fmla="*/ 36548 w 62923"/>
                    <a:gd name="connsiteY2" fmla="*/ 19342 h 36296"/>
                    <a:gd name="connsiteX3" fmla="*/ 7159 w 62923"/>
                    <a:gd name="connsiteY3" fmla="*/ 36171 h 36296"/>
                    <a:gd name="connsiteX4" fmla="*/ 7033 w 62923"/>
                    <a:gd name="connsiteY4" fmla="*/ 36297 h 36296"/>
                    <a:gd name="connsiteX5" fmla="*/ 0 w 62923"/>
                    <a:gd name="connsiteY5" fmla="*/ 32278 h 36296"/>
                    <a:gd name="connsiteX6" fmla="*/ 251 w 62923"/>
                    <a:gd name="connsiteY6" fmla="*/ 32152 h 36296"/>
                    <a:gd name="connsiteX7" fmla="*/ 29515 w 62923"/>
                    <a:gd name="connsiteY7" fmla="*/ 15197 h 36296"/>
                    <a:gd name="connsiteX8" fmla="*/ 36548 w 62923"/>
                    <a:gd name="connsiteY8" fmla="*/ 11178 h 36296"/>
                    <a:gd name="connsiteX9" fmla="*/ 56016 w 62923"/>
                    <a:gd name="connsiteY9" fmla="*/ 0 h 3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23" h="36296">
                      <a:moveTo>
                        <a:pt x="62923" y="4019"/>
                      </a:moveTo>
                      <a:lnTo>
                        <a:pt x="43456" y="15197"/>
                      </a:lnTo>
                      <a:lnTo>
                        <a:pt x="36548" y="19342"/>
                      </a:lnTo>
                      <a:lnTo>
                        <a:pt x="7159" y="36171"/>
                      </a:lnTo>
                      <a:lnTo>
                        <a:pt x="7033" y="36297"/>
                      </a:lnTo>
                      <a:lnTo>
                        <a:pt x="0" y="32278"/>
                      </a:lnTo>
                      <a:lnTo>
                        <a:pt x="251" y="32152"/>
                      </a:lnTo>
                      <a:lnTo>
                        <a:pt x="29515" y="15197"/>
                      </a:lnTo>
                      <a:lnTo>
                        <a:pt x="36548" y="11178"/>
                      </a:lnTo>
                      <a:lnTo>
                        <a:pt x="5601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154" name="Graphic 4">
                <a:extLst>
                  <a:ext uri="{FF2B5EF4-FFF2-40B4-BE49-F238E27FC236}">
                    <a16:creationId xmlns:a16="http://schemas.microsoft.com/office/drawing/2014/main" id="{84FB7ED1-A2DF-40A1-A747-5F7CF3F14040}"/>
                  </a:ext>
                </a:extLst>
              </p:cNvPr>
              <p:cNvGrpSpPr/>
              <p:nvPr/>
            </p:nvGrpSpPr>
            <p:grpSpPr>
              <a:xfrm>
                <a:off x="5774475" y="1393701"/>
                <a:ext cx="25495" cy="36673"/>
                <a:chOff x="5774475" y="1393701"/>
                <a:chExt cx="25495" cy="36673"/>
              </a:xfrm>
              <a:solidFill>
                <a:schemeClr val="accent1"/>
              </a:solidFill>
            </p:grpSpPr>
            <p:sp>
              <p:nvSpPr>
                <p:cNvPr id="2155" name="Freeform: Shape 2154">
                  <a:extLst>
                    <a:ext uri="{FF2B5EF4-FFF2-40B4-BE49-F238E27FC236}">
                      <a16:creationId xmlns:a16="http://schemas.microsoft.com/office/drawing/2014/main" id="{E48BFA6B-665E-42DA-A7A6-722C81EEA359}"/>
                    </a:ext>
                  </a:extLst>
                </p:cNvPr>
                <p:cNvSpPr/>
                <p:nvPr/>
              </p:nvSpPr>
              <p:spPr>
                <a:xfrm>
                  <a:off x="5774475" y="1393701"/>
                  <a:ext cx="25495" cy="36673"/>
                </a:xfrm>
                <a:custGeom>
                  <a:avLst/>
                  <a:gdLst>
                    <a:gd name="connsiteX0" fmla="*/ 25496 w 25495"/>
                    <a:gd name="connsiteY0" fmla="*/ 21853 h 36673"/>
                    <a:gd name="connsiteX1" fmla="*/ 0 w 25495"/>
                    <a:gd name="connsiteY1" fmla="*/ 36674 h 36673"/>
                    <a:gd name="connsiteX2" fmla="*/ 0 w 25495"/>
                    <a:gd name="connsiteY2" fmla="*/ 14695 h 36673"/>
                    <a:gd name="connsiteX3" fmla="*/ 25496 w 25495"/>
                    <a:gd name="connsiteY3" fmla="*/ 0 h 36673"/>
                  </a:gdLst>
                  <a:ahLst/>
                  <a:cxnLst>
                    <a:cxn ang="0">
                      <a:pos x="connsiteX0" y="connsiteY0"/>
                    </a:cxn>
                    <a:cxn ang="0">
                      <a:pos x="connsiteX1" y="connsiteY1"/>
                    </a:cxn>
                    <a:cxn ang="0">
                      <a:pos x="connsiteX2" y="connsiteY2"/>
                    </a:cxn>
                    <a:cxn ang="0">
                      <a:pos x="connsiteX3" y="connsiteY3"/>
                    </a:cxn>
                  </a:cxnLst>
                  <a:rect l="l" t="t" r="r" b="b"/>
                  <a:pathLst>
                    <a:path w="25495" h="36673">
                      <a:moveTo>
                        <a:pt x="25496" y="21853"/>
                      </a:moveTo>
                      <a:lnTo>
                        <a:pt x="0" y="36674"/>
                      </a:lnTo>
                      <a:lnTo>
                        <a:pt x="0" y="14695"/>
                      </a:lnTo>
                      <a:lnTo>
                        <a:pt x="2549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6" name="Freeform: Shape 2155">
                  <a:extLst>
                    <a:ext uri="{FF2B5EF4-FFF2-40B4-BE49-F238E27FC236}">
                      <a16:creationId xmlns:a16="http://schemas.microsoft.com/office/drawing/2014/main" id="{72B9AD0A-013E-48EC-B515-442B3EFFF92D}"/>
                    </a:ext>
                  </a:extLst>
                </p:cNvPr>
                <p:cNvSpPr/>
                <p:nvPr/>
              </p:nvSpPr>
              <p:spPr>
                <a:xfrm>
                  <a:off x="5776862" y="1397845"/>
                  <a:ext cx="20597" cy="14317"/>
                </a:xfrm>
                <a:custGeom>
                  <a:avLst/>
                  <a:gdLst>
                    <a:gd name="connsiteX0" fmla="*/ 20597 w 20597"/>
                    <a:gd name="connsiteY0" fmla="*/ 2386 h 14317"/>
                    <a:gd name="connsiteX1" fmla="*/ 0 w 20597"/>
                    <a:gd name="connsiteY1" fmla="*/ 14318 h 14317"/>
                    <a:gd name="connsiteX2" fmla="*/ 0 w 20597"/>
                    <a:gd name="connsiteY2" fmla="*/ 11931 h 14317"/>
                    <a:gd name="connsiteX3" fmla="*/ 20597 w 20597"/>
                    <a:gd name="connsiteY3" fmla="*/ 0 h 14317"/>
                  </a:gdLst>
                  <a:ahLst/>
                  <a:cxnLst>
                    <a:cxn ang="0">
                      <a:pos x="connsiteX0" y="connsiteY0"/>
                    </a:cxn>
                    <a:cxn ang="0">
                      <a:pos x="connsiteX1" y="connsiteY1"/>
                    </a:cxn>
                    <a:cxn ang="0">
                      <a:pos x="connsiteX2" y="connsiteY2"/>
                    </a:cxn>
                    <a:cxn ang="0">
                      <a:pos x="connsiteX3" y="connsiteY3"/>
                    </a:cxn>
                  </a:cxnLst>
                  <a:rect l="l" t="t" r="r" b="b"/>
                  <a:pathLst>
                    <a:path w="20597" h="14317">
                      <a:moveTo>
                        <a:pt x="20597" y="2386"/>
                      </a:moveTo>
                      <a:lnTo>
                        <a:pt x="0" y="14318"/>
                      </a:lnTo>
                      <a:lnTo>
                        <a:pt x="0" y="11931"/>
                      </a:lnTo>
                      <a:lnTo>
                        <a:pt x="20597"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7" name="Freeform: Shape 2156">
                  <a:extLst>
                    <a:ext uri="{FF2B5EF4-FFF2-40B4-BE49-F238E27FC236}">
                      <a16:creationId xmlns:a16="http://schemas.microsoft.com/office/drawing/2014/main" id="{AB14C68F-B534-40EE-8647-1BBA9E079749}"/>
                    </a:ext>
                  </a:extLst>
                </p:cNvPr>
                <p:cNvSpPr/>
                <p:nvPr/>
              </p:nvSpPr>
              <p:spPr>
                <a:xfrm>
                  <a:off x="5776862" y="1403623"/>
                  <a:ext cx="20597" cy="12936"/>
                </a:xfrm>
                <a:custGeom>
                  <a:avLst/>
                  <a:gdLst>
                    <a:gd name="connsiteX0" fmla="*/ 20597 w 20597"/>
                    <a:gd name="connsiteY0" fmla="*/ 1005 h 12936"/>
                    <a:gd name="connsiteX1" fmla="*/ 0 w 20597"/>
                    <a:gd name="connsiteY1" fmla="*/ 12936 h 12936"/>
                    <a:gd name="connsiteX2" fmla="*/ 0 w 20597"/>
                    <a:gd name="connsiteY2" fmla="*/ 11932 h 12936"/>
                    <a:gd name="connsiteX3" fmla="*/ 20597 w 20597"/>
                    <a:gd name="connsiteY3" fmla="*/ 0 h 12936"/>
                  </a:gdLst>
                  <a:ahLst/>
                  <a:cxnLst>
                    <a:cxn ang="0">
                      <a:pos x="connsiteX0" y="connsiteY0"/>
                    </a:cxn>
                    <a:cxn ang="0">
                      <a:pos x="connsiteX1" y="connsiteY1"/>
                    </a:cxn>
                    <a:cxn ang="0">
                      <a:pos x="connsiteX2" y="connsiteY2"/>
                    </a:cxn>
                    <a:cxn ang="0">
                      <a:pos x="connsiteX3" y="connsiteY3"/>
                    </a:cxn>
                  </a:cxnLst>
                  <a:rect l="l" t="t" r="r" b="b"/>
                  <a:pathLst>
                    <a:path w="20597" h="12936">
                      <a:moveTo>
                        <a:pt x="20597" y="1005"/>
                      </a:moveTo>
                      <a:lnTo>
                        <a:pt x="0" y="12936"/>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8" name="Freeform: Shape 2157">
                  <a:extLst>
                    <a:ext uri="{FF2B5EF4-FFF2-40B4-BE49-F238E27FC236}">
                      <a16:creationId xmlns:a16="http://schemas.microsoft.com/office/drawing/2014/main" id="{EAC15398-986F-435A-87AB-43C70E49310F}"/>
                    </a:ext>
                  </a:extLst>
                </p:cNvPr>
                <p:cNvSpPr/>
                <p:nvPr/>
              </p:nvSpPr>
              <p:spPr>
                <a:xfrm>
                  <a:off x="5776862" y="1406511"/>
                  <a:ext cx="20597" cy="12936"/>
                </a:xfrm>
                <a:custGeom>
                  <a:avLst/>
                  <a:gdLst>
                    <a:gd name="connsiteX0" fmla="*/ 20597 w 20597"/>
                    <a:gd name="connsiteY0" fmla="*/ 1005 h 12936"/>
                    <a:gd name="connsiteX1" fmla="*/ 0 w 20597"/>
                    <a:gd name="connsiteY1" fmla="*/ 12936 h 12936"/>
                    <a:gd name="connsiteX2" fmla="*/ 0 w 20597"/>
                    <a:gd name="connsiteY2" fmla="*/ 11932 h 12936"/>
                    <a:gd name="connsiteX3" fmla="*/ 20597 w 20597"/>
                    <a:gd name="connsiteY3" fmla="*/ 0 h 12936"/>
                  </a:gdLst>
                  <a:ahLst/>
                  <a:cxnLst>
                    <a:cxn ang="0">
                      <a:pos x="connsiteX0" y="connsiteY0"/>
                    </a:cxn>
                    <a:cxn ang="0">
                      <a:pos x="connsiteX1" y="connsiteY1"/>
                    </a:cxn>
                    <a:cxn ang="0">
                      <a:pos x="connsiteX2" y="connsiteY2"/>
                    </a:cxn>
                    <a:cxn ang="0">
                      <a:pos x="connsiteX3" y="connsiteY3"/>
                    </a:cxn>
                  </a:cxnLst>
                  <a:rect l="l" t="t" r="r" b="b"/>
                  <a:pathLst>
                    <a:path w="20597" h="12936">
                      <a:moveTo>
                        <a:pt x="20597" y="1005"/>
                      </a:moveTo>
                      <a:lnTo>
                        <a:pt x="0" y="12936"/>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9" name="Freeform: Shape 2158">
                  <a:extLst>
                    <a:ext uri="{FF2B5EF4-FFF2-40B4-BE49-F238E27FC236}">
                      <a16:creationId xmlns:a16="http://schemas.microsoft.com/office/drawing/2014/main" id="{00F88137-BD44-477C-A80D-E6FBE6DD6D58}"/>
                    </a:ext>
                  </a:extLst>
                </p:cNvPr>
                <p:cNvSpPr/>
                <p:nvPr/>
              </p:nvSpPr>
              <p:spPr>
                <a:xfrm>
                  <a:off x="5776862" y="1409526"/>
                  <a:ext cx="20597" cy="13061"/>
                </a:xfrm>
                <a:custGeom>
                  <a:avLst/>
                  <a:gdLst>
                    <a:gd name="connsiteX0" fmla="*/ 20597 w 20597"/>
                    <a:gd name="connsiteY0" fmla="*/ 1130 h 13061"/>
                    <a:gd name="connsiteX1" fmla="*/ 0 w 20597"/>
                    <a:gd name="connsiteY1" fmla="*/ 13062 h 13061"/>
                    <a:gd name="connsiteX2" fmla="*/ 0 w 20597"/>
                    <a:gd name="connsiteY2" fmla="*/ 11932 h 13061"/>
                    <a:gd name="connsiteX3" fmla="*/ 20597 w 20597"/>
                    <a:gd name="connsiteY3" fmla="*/ 0 h 13061"/>
                  </a:gdLst>
                  <a:ahLst/>
                  <a:cxnLst>
                    <a:cxn ang="0">
                      <a:pos x="connsiteX0" y="connsiteY0"/>
                    </a:cxn>
                    <a:cxn ang="0">
                      <a:pos x="connsiteX1" y="connsiteY1"/>
                    </a:cxn>
                    <a:cxn ang="0">
                      <a:pos x="connsiteX2" y="connsiteY2"/>
                    </a:cxn>
                    <a:cxn ang="0">
                      <a:pos x="connsiteX3" y="connsiteY3"/>
                    </a:cxn>
                  </a:cxnLst>
                  <a:rect l="l" t="t" r="r" b="b"/>
                  <a:pathLst>
                    <a:path w="20597" h="13061">
                      <a:moveTo>
                        <a:pt x="20597" y="1130"/>
                      </a:moveTo>
                      <a:lnTo>
                        <a:pt x="0" y="13062"/>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60" name="Freeform: Shape 2159">
                  <a:extLst>
                    <a:ext uri="{FF2B5EF4-FFF2-40B4-BE49-F238E27FC236}">
                      <a16:creationId xmlns:a16="http://schemas.microsoft.com/office/drawing/2014/main" id="{CA056F76-AD7B-481A-BBAF-530B567AD15F}"/>
                    </a:ext>
                  </a:extLst>
                </p:cNvPr>
                <p:cNvSpPr/>
                <p:nvPr/>
              </p:nvSpPr>
              <p:spPr>
                <a:xfrm>
                  <a:off x="5776862" y="1412414"/>
                  <a:ext cx="20597" cy="13061"/>
                </a:xfrm>
                <a:custGeom>
                  <a:avLst/>
                  <a:gdLst>
                    <a:gd name="connsiteX0" fmla="*/ 20597 w 20597"/>
                    <a:gd name="connsiteY0" fmla="*/ 1130 h 13061"/>
                    <a:gd name="connsiteX1" fmla="*/ 0 w 20597"/>
                    <a:gd name="connsiteY1" fmla="*/ 13062 h 13061"/>
                    <a:gd name="connsiteX2" fmla="*/ 0 w 20597"/>
                    <a:gd name="connsiteY2" fmla="*/ 11931 h 13061"/>
                    <a:gd name="connsiteX3" fmla="*/ 20597 w 20597"/>
                    <a:gd name="connsiteY3" fmla="*/ 0 h 13061"/>
                  </a:gdLst>
                  <a:ahLst/>
                  <a:cxnLst>
                    <a:cxn ang="0">
                      <a:pos x="connsiteX0" y="connsiteY0"/>
                    </a:cxn>
                    <a:cxn ang="0">
                      <a:pos x="connsiteX1" y="connsiteY1"/>
                    </a:cxn>
                    <a:cxn ang="0">
                      <a:pos x="connsiteX2" y="connsiteY2"/>
                    </a:cxn>
                    <a:cxn ang="0">
                      <a:pos x="connsiteX3" y="connsiteY3"/>
                    </a:cxn>
                  </a:cxnLst>
                  <a:rect l="l" t="t" r="r" b="b"/>
                  <a:pathLst>
                    <a:path w="20597" h="13061">
                      <a:moveTo>
                        <a:pt x="20597" y="1130"/>
                      </a:moveTo>
                      <a:lnTo>
                        <a:pt x="0" y="13062"/>
                      </a:lnTo>
                      <a:lnTo>
                        <a:pt x="0" y="11931"/>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61" name="Graphic 4">
              <a:extLst>
                <a:ext uri="{FF2B5EF4-FFF2-40B4-BE49-F238E27FC236}">
                  <a16:creationId xmlns:a16="http://schemas.microsoft.com/office/drawing/2014/main" id="{84FB7ED1-A2DF-40A1-A747-5F7CF3F14040}"/>
                </a:ext>
              </a:extLst>
            </p:cNvPr>
            <p:cNvGrpSpPr/>
            <p:nvPr/>
          </p:nvGrpSpPr>
          <p:grpSpPr>
            <a:xfrm>
              <a:off x="5676512" y="1575059"/>
              <a:ext cx="128985" cy="142424"/>
              <a:chOff x="5676512" y="1575059"/>
              <a:chExt cx="128985" cy="142424"/>
            </a:xfrm>
            <a:solidFill>
              <a:schemeClr val="accent1"/>
            </a:solidFill>
          </p:grpSpPr>
          <p:grpSp>
            <p:nvGrpSpPr>
              <p:cNvPr id="2162" name="Graphic 4">
                <a:extLst>
                  <a:ext uri="{FF2B5EF4-FFF2-40B4-BE49-F238E27FC236}">
                    <a16:creationId xmlns:a16="http://schemas.microsoft.com/office/drawing/2014/main" id="{84FB7ED1-A2DF-40A1-A747-5F7CF3F14040}"/>
                  </a:ext>
                </a:extLst>
              </p:cNvPr>
              <p:cNvGrpSpPr/>
              <p:nvPr/>
            </p:nvGrpSpPr>
            <p:grpSpPr>
              <a:xfrm>
                <a:off x="5676512" y="1575059"/>
                <a:ext cx="128985" cy="142424"/>
                <a:chOff x="5676512" y="1575059"/>
                <a:chExt cx="128985" cy="142424"/>
              </a:xfrm>
              <a:solidFill>
                <a:schemeClr val="accent1"/>
              </a:solidFill>
            </p:grpSpPr>
            <p:sp>
              <p:nvSpPr>
                <p:cNvPr id="2163" name="Freeform: Shape 2162">
                  <a:extLst>
                    <a:ext uri="{FF2B5EF4-FFF2-40B4-BE49-F238E27FC236}">
                      <a16:creationId xmlns:a16="http://schemas.microsoft.com/office/drawing/2014/main" id="{9373F829-85FC-46FA-B1CC-01C38E5ED74A}"/>
                    </a:ext>
                  </a:extLst>
                </p:cNvPr>
                <p:cNvSpPr/>
                <p:nvPr/>
              </p:nvSpPr>
              <p:spPr>
                <a:xfrm>
                  <a:off x="5676512" y="1642630"/>
                  <a:ext cx="123710" cy="74854"/>
                </a:xfrm>
                <a:custGeom>
                  <a:avLst/>
                  <a:gdLst>
                    <a:gd name="connsiteX0" fmla="*/ 123711 w 123710"/>
                    <a:gd name="connsiteY0" fmla="*/ 37678 h 74854"/>
                    <a:gd name="connsiteX1" fmla="*/ 113789 w 123710"/>
                    <a:gd name="connsiteY1" fmla="*/ 43456 h 74854"/>
                    <a:gd name="connsiteX2" fmla="*/ 59280 w 123710"/>
                    <a:gd name="connsiteY2" fmla="*/ 74854 h 74854"/>
                    <a:gd name="connsiteX3" fmla="*/ 0 w 123710"/>
                    <a:gd name="connsiteY3" fmla="*/ 40567 h 74854"/>
                    <a:gd name="connsiteX4" fmla="*/ 20597 w 123710"/>
                    <a:gd name="connsiteY4" fmla="*/ 28636 h 74854"/>
                    <a:gd name="connsiteX5" fmla="*/ 20597 w 123710"/>
                    <a:gd name="connsiteY5" fmla="*/ 21979 h 74854"/>
                    <a:gd name="connsiteX6" fmla="*/ 42200 w 123710"/>
                    <a:gd name="connsiteY6" fmla="*/ 9545 h 74854"/>
                    <a:gd name="connsiteX7" fmla="*/ 49107 w 123710"/>
                    <a:gd name="connsiteY7" fmla="*/ 5526 h 74854"/>
                    <a:gd name="connsiteX8" fmla="*/ 58653 w 123710"/>
                    <a:gd name="connsiteY8" fmla="*/ 0 h 74854"/>
                    <a:gd name="connsiteX9" fmla="*/ 64430 w 123710"/>
                    <a:gd name="connsiteY9" fmla="*/ 3391 h 74854"/>
                    <a:gd name="connsiteX10" fmla="*/ 73222 w 123710"/>
                    <a:gd name="connsiteY10" fmla="*/ 8415 h 74854"/>
                    <a:gd name="connsiteX11" fmla="*/ 73222 w 123710"/>
                    <a:gd name="connsiteY11" fmla="*/ 8415 h 7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710" h="74854">
                      <a:moveTo>
                        <a:pt x="123711" y="37678"/>
                      </a:moveTo>
                      <a:lnTo>
                        <a:pt x="113789" y="43456"/>
                      </a:lnTo>
                      <a:lnTo>
                        <a:pt x="59280" y="74854"/>
                      </a:lnTo>
                      <a:lnTo>
                        <a:pt x="0" y="40567"/>
                      </a:lnTo>
                      <a:lnTo>
                        <a:pt x="20597" y="28636"/>
                      </a:lnTo>
                      <a:lnTo>
                        <a:pt x="20597" y="21979"/>
                      </a:lnTo>
                      <a:lnTo>
                        <a:pt x="42200" y="9545"/>
                      </a:lnTo>
                      <a:lnTo>
                        <a:pt x="49107" y="5526"/>
                      </a:lnTo>
                      <a:lnTo>
                        <a:pt x="58653" y="0"/>
                      </a:lnTo>
                      <a:lnTo>
                        <a:pt x="64430" y="3391"/>
                      </a:lnTo>
                      <a:lnTo>
                        <a:pt x="73222" y="8415"/>
                      </a:lnTo>
                      <a:lnTo>
                        <a:pt x="73222" y="8415"/>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64" name="Graphic 4">
                  <a:extLst>
                    <a:ext uri="{FF2B5EF4-FFF2-40B4-BE49-F238E27FC236}">
                      <a16:creationId xmlns:a16="http://schemas.microsoft.com/office/drawing/2014/main" id="{84FB7ED1-A2DF-40A1-A747-5F7CF3F14040}"/>
                    </a:ext>
                  </a:extLst>
                </p:cNvPr>
                <p:cNvGrpSpPr/>
                <p:nvPr/>
              </p:nvGrpSpPr>
              <p:grpSpPr>
                <a:xfrm>
                  <a:off x="5697109" y="1575059"/>
                  <a:ext cx="108388" cy="134260"/>
                  <a:chOff x="5697109" y="1575059"/>
                  <a:chExt cx="108388" cy="134260"/>
                </a:xfrm>
                <a:solidFill>
                  <a:schemeClr val="accent1"/>
                </a:solidFill>
              </p:grpSpPr>
              <p:sp>
                <p:nvSpPr>
                  <p:cNvPr id="2165" name="Freeform: Shape 2164">
                    <a:extLst>
                      <a:ext uri="{FF2B5EF4-FFF2-40B4-BE49-F238E27FC236}">
                        <a16:creationId xmlns:a16="http://schemas.microsoft.com/office/drawing/2014/main" id="{C34B397A-3CE1-4172-AAD5-1FCEC600DE84}"/>
                      </a:ext>
                    </a:extLst>
                  </p:cNvPr>
                  <p:cNvSpPr/>
                  <p:nvPr/>
                </p:nvSpPr>
                <p:spPr>
                  <a:xfrm>
                    <a:off x="5697109" y="1575059"/>
                    <a:ext cx="108137" cy="62546"/>
                  </a:xfrm>
                  <a:custGeom>
                    <a:avLst/>
                    <a:gdLst>
                      <a:gd name="connsiteX0" fmla="*/ 84400 w 108137"/>
                      <a:gd name="connsiteY0" fmla="*/ 16579 h 62546"/>
                      <a:gd name="connsiteX1" fmla="*/ 77492 w 108137"/>
                      <a:gd name="connsiteY1" fmla="*/ 12559 h 62546"/>
                      <a:gd name="connsiteX2" fmla="*/ 55764 w 108137"/>
                      <a:gd name="connsiteY2" fmla="*/ 0 h 62546"/>
                      <a:gd name="connsiteX3" fmla="*/ 0 w 108137"/>
                      <a:gd name="connsiteY3" fmla="*/ 32152 h 62546"/>
                      <a:gd name="connsiteX4" fmla="*/ 21728 w 108137"/>
                      <a:gd name="connsiteY4" fmla="*/ 44712 h 62546"/>
                      <a:gd name="connsiteX5" fmla="*/ 28636 w 108137"/>
                      <a:gd name="connsiteY5" fmla="*/ 48731 h 62546"/>
                      <a:gd name="connsiteX6" fmla="*/ 28636 w 108137"/>
                      <a:gd name="connsiteY6" fmla="*/ 48731 h 62546"/>
                      <a:gd name="connsiteX7" fmla="*/ 52499 w 108137"/>
                      <a:gd name="connsiteY7" fmla="*/ 62546 h 62546"/>
                      <a:gd name="connsiteX8" fmla="*/ 52499 w 108137"/>
                      <a:gd name="connsiteY8" fmla="*/ 62546 h 62546"/>
                      <a:gd name="connsiteX9" fmla="*/ 66691 w 108137"/>
                      <a:gd name="connsiteY9" fmla="*/ 54383 h 62546"/>
                      <a:gd name="connsiteX10" fmla="*/ 108137 w 108137"/>
                      <a:gd name="connsiteY10" fmla="*/ 30394 h 62546"/>
                      <a:gd name="connsiteX11" fmla="*/ 108137 w 108137"/>
                      <a:gd name="connsiteY11" fmla="*/ 30394 h 62546"/>
                      <a:gd name="connsiteX12" fmla="*/ 84400 w 108137"/>
                      <a:gd name="connsiteY12" fmla="*/ 16579 h 62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137" h="62546">
                        <a:moveTo>
                          <a:pt x="84400" y="16579"/>
                        </a:moveTo>
                        <a:lnTo>
                          <a:pt x="77492" y="12559"/>
                        </a:lnTo>
                        <a:lnTo>
                          <a:pt x="55764" y="0"/>
                        </a:lnTo>
                        <a:lnTo>
                          <a:pt x="0" y="32152"/>
                        </a:lnTo>
                        <a:lnTo>
                          <a:pt x="21728" y="44712"/>
                        </a:lnTo>
                        <a:lnTo>
                          <a:pt x="28636" y="48731"/>
                        </a:lnTo>
                        <a:lnTo>
                          <a:pt x="28636" y="48731"/>
                        </a:lnTo>
                        <a:lnTo>
                          <a:pt x="52499" y="62546"/>
                        </a:lnTo>
                        <a:lnTo>
                          <a:pt x="52499" y="62546"/>
                        </a:lnTo>
                        <a:lnTo>
                          <a:pt x="66691" y="54383"/>
                        </a:lnTo>
                        <a:lnTo>
                          <a:pt x="108137" y="30394"/>
                        </a:lnTo>
                        <a:lnTo>
                          <a:pt x="108137" y="30394"/>
                        </a:lnTo>
                        <a:lnTo>
                          <a:pt x="84400" y="1657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66" name="Freeform: Shape 2165">
                    <a:extLst>
                      <a:ext uri="{FF2B5EF4-FFF2-40B4-BE49-F238E27FC236}">
                        <a16:creationId xmlns:a16="http://schemas.microsoft.com/office/drawing/2014/main" id="{8CF5B1EC-D8E8-41F6-89A6-7B19B4669277}"/>
                      </a:ext>
                    </a:extLst>
                  </p:cNvPr>
                  <p:cNvSpPr/>
                  <p:nvPr/>
                </p:nvSpPr>
                <p:spPr>
                  <a:xfrm>
                    <a:off x="5699119" y="1576315"/>
                    <a:ext cx="104494" cy="60034"/>
                  </a:xfrm>
                  <a:custGeom>
                    <a:avLst/>
                    <a:gdLst>
                      <a:gd name="connsiteX0" fmla="*/ 81386 w 104494"/>
                      <a:gd name="connsiteY0" fmla="*/ 15950 h 60034"/>
                      <a:gd name="connsiteX1" fmla="*/ 74478 w 104494"/>
                      <a:gd name="connsiteY1" fmla="*/ 11931 h 60034"/>
                      <a:gd name="connsiteX2" fmla="*/ 53755 w 104494"/>
                      <a:gd name="connsiteY2" fmla="*/ 0 h 60034"/>
                      <a:gd name="connsiteX3" fmla="*/ 0 w 104494"/>
                      <a:gd name="connsiteY3" fmla="*/ 31022 h 60034"/>
                      <a:gd name="connsiteX4" fmla="*/ 20849 w 104494"/>
                      <a:gd name="connsiteY4" fmla="*/ 42953 h 60034"/>
                      <a:gd name="connsiteX5" fmla="*/ 27882 w 104494"/>
                      <a:gd name="connsiteY5" fmla="*/ 46972 h 60034"/>
                      <a:gd name="connsiteX6" fmla="*/ 50740 w 104494"/>
                      <a:gd name="connsiteY6" fmla="*/ 60034 h 60034"/>
                      <a:gd name="connsiteX7" fmla="*/ 104495 w 104494"/>
                      <a:gd name="connsiteY7" fmla="*/ 29264 h 60034"/>
                      <a:gd name="connsiteX8" fmla="*/ 81386 w 104494"/>
                      <a:gd name="connsiteY8" fmla="*/ 15950 h 6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94" h="60034">
                        <a:moveTo>
                          <a:pt x="81386" y="15950"/>
                        </a:moveTo>
                        <a:lnTo>
                          <a:pt x="74478" y="11931"/>
                        </a:lnTo>
                        <a:lnTo>
                          <a:pt x="53755" y="0"/>
                        </a:lnTo>
                        <a:lnTo>
                          <a:pt x="0" y="31022"/>
                        </a:lnTo>
                        <a:lnTo>
                          <a:pt x="20849" y="42953"/>
                        </a:lnTo>
                        <a:lnTo>
                          <a:pt x="27882" y="46972"/>
                        </a:lnTo>
                        <a:lnTo>
                          <a:pt x="50740" y="60034"/>
                        </a:lnTo>
                        <a:lnTo>
                          <a:pt x="104495" y="29264"/>
                        </a:lnTo>
                        <a:lnTo>
                          <a:pt x="81386" y="1595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67" name="Freeform: Shape 2166">
                    <a:extLst>
                      <a:ext uri="{FF2B5EF4-FFF2-40B4-BE49-F238E27FC236}">
                        <a16:creationId xmlns:a16="http://schemas.microsoft.com/office/drawing/2014/main" id="{AA372F1D-B4C8-4A7F-954D-00953C3C029B}"/>
                      </a:ext>
                    </a:extLst>
                  </p:cNvPr>
                  <p:cNvSpPr/>
                  <p:nvPr/>
                </p:nvSpPr>
                <p:spPr>
                  <a:xfrm>
                    <a:off x="5697109" y="1607337"/>
                    <a:ext cx="52624" cy="101983"/>
                  </a:xfrm>
                  <a:custGeom>
                    <a:avLst/>
                    <a:gdLst>
                      <a:gd name="connsiteX0" fmla="*/ 52624 w 52624"/>
                      <a:gd name="connsiteY0" fmla="*/ 30268 h 101983"/>
                      <a:gd name="connsiteX1" fmla="*/ 52624 w 52624"/>
                      <a:gd name="connsiteY1" fmla="*/ 33659 h 101983"/>
                      <a:gd name="connsiteX2" fmla="*/ 52624 w 52624"/>
                      <a:gd name="connsiteY2" fmla="*/ 43707 h 101983"/>
                      <a:gd name="connsiteX3" fmla="*/ 52499 w 52624"/>
                      <a:gd name="connsiteY3" fmla="*/ 101983 h 101983"/>
                      <a:gd name="connsiteX4" fmla="*/ 52499 w 52624"/>
                      <a:gd name="connsiteY4" fmla="*/ 101983 h 101983"/>
                      <a:gd name="connsiteX5" fmla="*/ 52499 w 52624"/>
                      <a:gd name="connsiteY5" fmla="*/ 101983 h 101983"/>
                      <a:gd name="connsiteX6" fmla="*/ 28510 w 52624"/>
                      <a:gd name="connsiteY6" fmla="*/ 88168 h 101983"/>
                      <a:gd name="connsiteX7" fmla="*/ 21602 w 52624"/>
                      <a:gd name="connsiteY7" fmla="*/ 84274 h 101983"/>
                      <a:gd name="connsiteX8" fmla="*/ 0 w 52624"/>
                      <a:gd name="connsiteY8" fmla="*/ 71966 h 101983"/>
                      <a:gd name="connsiteX9" fmla="*/ 0 w 52624"/>
                      <a:gd name="connsiteY9" fmla="*/ 0 h 101983"/>
                      <a:gd name="connsiteX10" fmla="*/ 21728 w 52624"/>
                      <a:gd name="connsiteY10" fmla="*/ 12559 h 101983"/>
                      <a:gd name="connsiteX11" fmla="*/ 28636 w 52624"/>
                      <a:gd name="connsiteY11" fmla="*/ 16579 h 101983"/>
                      <a:gd name="connsiteX12" fmla="*/ 52624 w 52624"/>
                      <a:gd name="connsiteY12" fmla="*/ 30268 h 10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24" h="101983">
                        <a:moveTo>
                          <a:pt x="52624" y="30268"/>
                        </a:moveTo>
                        <a:lnTo>
                          <a:pt x="52624" y="33659"/>
                        </a:lnTo>
                        <a:lnTo>
                          <a:pt x="52624" y="43707"/>
                        </a:lnTo>
                        <a:lnTo>
                          <a:pt x="52499" y="101983"/>
                        </a:lnTo>
                        <a:lnTo>
                          <a:pt x="52499" y="101983"/>
                        </a:lnTo>
                        <a:lnTo>
                          <a:pt x="52499" y="101983"/>
                        </a:lnTo>
                        <a:lnTo>
                          <a:pt x="28510" y="88168"/>
                        </a:lnTo>
                        <a:lnTo>
                          <a:pt x="21602" y="84274"/>
                        </a:lnTo>
                        <a:lnTo>
                          <a:pt x="0" y="71966"/>
                        </a:lnTo>
                        <a:lnTo>
                          <a:pt x="0" y="0"/>
                        </a:lnTo>
                        <a:lnTo>
                          <a:pt x="21728" y="12559"/>
                        </a:lnTo>
                        <a:lnTo>
                          <a:pt x="28636" y="16579"/>
                        </a:lnTo>
                        <a:lnTo>
                          <a:pt x="52624" y="30268"/>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68" name="Freeform: Shape 2167">
                    <a:extLst>
                      <a:ext uri="{FF2B5EF4-FFF2-40B4-BE49-F238E27FC236}">
                        <a16:creationId xmlns:a16="http://schemas.microsoft.com/office/drawing/2014/main" id="{AD98352F-2C4D-4B90-9A55-D9BEEFBE8C72}"/>
                      </a:ext>
                    </a:extLst>
                  </p:cNvPr>
                  <p:cNvSpPr/>
                  <p:nvPr/>
                </p:nvSpPr>
                <p:spPr>
                  <a:xfrm>
                    <a:off x="5749733" y="1605453"/>
                    <a:ext cx="55764" cy="103741"/>
                  </a:xfrm>
                  <a:custGeom>
                    <a:avLst/>
                    <a:gdLst>
                      <a:gd name="connsiteX0" fmla="*/ 14192 w 55764"/>
                      <a:gd name="connsiteY0" fmla="*/ 23989 h 103741"/>
                      <a:gd name="connsiteX1" fmla="*/ 0 w 55764"/>
                      <a:gd name="connsiteY1" fmla="*/ 32152 h 103741"/>
                      <a:gd name="connsiteX2" fmla="*/ 0 w 55764"/>
                      <a:gd name="connsiteY2" fmla="*/ 35418 h 103741"/>
                      <a:gd name="connsiteX3" fmla="*/ 0 w 55764"/>
                      <a:gd name="connsiteY3" fmla="*/ 45591 h 103741"/>
                      <a:gd name="connsiteX4" fmla="*/ 0 w 55764"/>
                      <a:gd name="connsiteY4" fmla="*/ 103741 h 103741"/>
                      <a:gd name="connsiteX5" fmla="*/ 0 w 55764"/>
                      <a:gd name="connsiteY5" fmla="*/ 103741 h 103741"/>
                      <a:gd name="connsiteX6" fmla="*/ 0 w 55764"/>
                      <a:gd name="connsiteY6" fmla="*/ 103741 h 103741"/>
                      <a:gd name="connsiteX7" fmla="*/ 40567 w 55764"/>
                      <a:gd name="connsiteY7" fmla="*/ 80506 h 103741"/>
                      <a:gd name="connsiteX8" fmla="*/ 55764 w 55764"/>
                      <a:gd name="connsiteY8" fmla="*/ 71840 h 103741"/>
                      <a:gd name="connsiteX9" fmla="*/ 55764 w 55764"/>
                      <a:gd name="connsiteY9" fmla="*/ 0 h 103741"/>
                      <a:gd name="connsiteX10" fmla="*/ 14192 w 55764"/>
                      <a:gd name="connsiteY10" fmla="*/ 23989 h 10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64" h="103741">
                        <a:moveTo>
                          <a:pt x="14192" y="23989"/>
                        </a:moveTo>
                        <a:lnTo>
                          <a:pt x="0" y="32152"/>
                        </a:lnTo>
                        <a:lnTo>
                          <a:pt x="0" y="35418"/>
                        </a:lnTo>
                        <a:lnTo>
                          <a:pt x="0" y="45591"/>
                        </a:lnTo>
                        <a:lnTo>
                          <a:pt x="0" y="103741"/>
                        </a:lnTo>
                        <a:lnTo>
                          <a:pt x="0" y="103741"/>
                        </a:lnTo>
                        <a:lnTo>
                          <a:pt x="0" y="103741"/>
                        </a:lnTo>
                        <a:lnTo>
                          <a:pt x="40567" y="80506"/>
                        </a:lnTo>
                        <a:lnTo>
                          <a:pt x="55764" y="71840"/>
                        </a:lnTo>
                        <a:lnTo>
                          <a:pt x="55764" y="0"/>
                        </a:lnTo>
                        <a:lnTo>
                          <a:pt x="14192" y="23989"/>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69" name="Freeform: Shape 2168">
                  <a:extLst>
                    <a:ext uri="{FF2B5EF4-FFF2-40B4-BE49-F238E27FC236}">
                      <a16:creationId xmlns:a16="http://schemas.microsoft.com/office/drawing/2014/main" id="{486BF8C0-EE2A-41B1-A30A-DD87843854F6}"/>
                    </a:ext>
                  </a:extLst>
                </p:cNvPr>
                <p:cNvSpPr/>
                <p:nvPr/>
              </p:nvSpPr>
              <p:spPr>
                <a:xfrm>
                  <a:off x="5718711" y="1619897"/>
                  <a:ext cx="6907" cy="75608"/>
                </a:xfrm>
                <a:custGeom>
                  <a:avLst/>
                  <a:gdLst>
                    <a:gd name="connsiteX0" fmla="*/ 6908 w 6907"/>
                    <a:gd name="connsiteY0" fmla="*/ 4019 h 75608"/>
                    <a:gd name="connsiteX1" fmla="*/ 6908 w 6907"/>
                    <a:gd name="connsiteY1" fmla="*/ 75608 h 75608"/>
                    <a:gd name="connsiteX2" fmla="*/ 0 w 6907"/>
                    <a:gd name="connsiteY2" fmla="*/ 71715 h 75608"/>
                    <a:gd name="connsiteX3" fmla="*/ 0 w 6907"/>
                    <a:gd name="connsiteY3" fmla="*/ 0 h 75608"/>
                  </a:gdLst>
                  <a:ahLst/>
                  <a:cxnLst>
                    <a:cxn ang="0">
                      <a:pos x="connsiteX0" y="connsiteY0"/>
                    </a:cxn>
                    <a:cxn ang="0">
                      <a:pos x="connsiteX1" y="connsiteY1"/>
                    </a:cxn>
                    <a:cxn ang="0">
                      <a:pos x="connsiteX2" y="connsiteY2"/>
                    </a:cxn>
                    <a:cxn ang="0">
                      <a:pos x="connsiteX3" y="connsiteY3"/>
                    </a:cxn>
                  </a:cxnLst>
                  <a:rect l="l" t="t" r="r" b="b"/>
                  <a:pathLst>
                    <a:path w="6907" h="75608">
                      <a:moveTo>
                        <a:pt x="6908" y="4019"/>
                      </a:moveTo>
                      <a:lnTo>
                        <a:pt x="6908" y="75608"/>
                      </a:lnTo>
                      <a:lnTo>
                        <a:pt x="0" y="71715"/>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0" name="Freeform: Shape 2169">
                  <a:extLst>
                    <a:ext uri="{FF2B5EF4-FFF2-40B4-BE49-F238E27FC236}">
                      <a16:creationId xmlns:a16="http://schemas.microsoft.com/office/drawing/2014/main" id="{EB761CC8-8B86-435A-8A1E-5A06456D3629}"/>
                    </a:ext>
                  </a:extLst>
                </p:cNvPr>
                <p:cNvSpPr/>
                <p:nvPr/>
              </p:nvSpPr>
              <p:spPr>
                <a:xfrm>
                  <a:off x="5718586" y="1587619"/>
                  <a:ext cx="62923" cy="36296"/>
                </a:xfrm>
                <a:custGeom>
                  <a:avLst/>
                  <a:gdLst>
                    <a:gd name="connsiteX0" fmla="*/ 62923 w 62923"/>
                    <a:gd name="connsiteY0" fmla="*/ 4019 h 36296"/>
                    <a:gd name="connsiteX1" fmla="*/ 43456 w 62923"/>
                    <a:gd name="connsiteY1" fmla="*/ 15323 h 36296"/>
                    <a:gd name="connsiteX2" fmla="*/ 36548 w 62923"/>
                    <a:gd name="connsiteY2" fmla="*/ 19342 h 36296"/>
                    <a:gd name="connsiteX3" fmla="*/ 7159 w 62923"/>
                    <a:gd name="connsiteY3" fmla="*/ 36297 h 36296"/>
                    <a:gd name="connsiteX4" fmla="*/ 7033 w 62923"/>
                    <a:gd name="connsiteY4" fmla="*/ 36297 h 36296"/>
                    <a:gd name="connsiteX5" fmla="*/ 0 w 62923"/>
                    <a:gd name="connsiteY5" fmla="*/ 32278 h 36296"/>
                    <a:gd name="connsiteX6" fmla="*/ 251 w 62923"/>
                    <a:gd name="connsiteY6" fmla="*/ 32152 h 36296"/>
                    <a:gd name="connsiteX7" fmla="*/ 29515 w 62923"/>
                    <a:gd name="connsiteY7" fmla="*/ 15323 h 36296"/>
                    <a:gd name="connsiteX8" fmla="*/ 36548 w 62923"/>
                    <a:gd name="connsiteY8" fmla="*/ 11304 h 36296"/>
                    <a:gd name="connsiteX9" fmla="*/ 56016 w 62923"/>
                    <a:gd name="connsiteY9" fmla="*/ 0 h 3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23" h="36296">
                      <a:moveTo>
                        <a:pt x="62923" y="4019"/>
                      </a:moveTo>
                      <a:lnTo>
                        <a:pt x="43456" y="15323"/>
                      </a:lnTo>
                      <a:lnTo>
                        <a:pt x="36548" y="19342"/>
                      </a:lnTo>
                      <a:lnTo>
                        <a:pt x="7159" y="36297"/>
                      </a:lnTo>
                      <a:lnTo>
                        <a:pt x="7033" y="36297"/>
                      </a:lnTo>
                      <a:lnTo>
                        <a:pt x="0" y="32278"/>
                      </a:lnTo>
                      <a:lnTo>
                        <a:pt x="251" y="32152"/>
                      </a:lnTo>
                      <a:lnTo>
                        <a:pt x="29515" y="15323"/>
                      </a:lnTo>
                      <a:lnTo>
                        <a:pt x="36548" y="11304"/>
                      </a:lnTo>
                      <a:lnTo>
                        <a:pt x="5601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171" name="Graphic 4">
                <a:extLst>
                  <a:ext uri="{FF2B5EF4-FFF2-40B4-BE49-F238E27FC236}">
                    <a16:creationId xmlns:a16="http://schemas.microsoft.com/office/drawing/2014/main" id="{84FB7ED1-A2DF-40A1-A747-5F7CF3F14040}"/>
                  </a:ext>
                </a:extLst>
              </p:cNvPr>
              <p:cNvGrpSpPr/>
              <p:nvPr/>
            </p:nvGrpSpPr>
            <p:grpSpPr>
              <a:xfrm>
                <a:off x="5774475" y="1614371"/>
                <a:ext cx="25495" cy="36673"/>
                <a:chOff x="5774475" y="1614371"/>
                <a:chExt cx="25495" cy="36673"/>
              </a:xfrm>
              <a:solidFill>
                <a:schemeClr val="accent1"/>
              </a:solidFill>
            </p:grpSpPr>
            <p:sp>
              <p:nvSpPr>
                <p:cNvPr id="2172" name="Freeform: Shape 2171">
                  <a:extLst>
                    <a:ext uri="{FF2B5EF4-FFF2-40B4-BE49-F238E27FC236}">
                      <a16:creationId xmlns:a16="http://schemas.microsoft.com/office/drawing/2014/main" id="{8FA0EBD6-2722-40DE-B200-CC78B6609774}"/>
                    </a:ext>
                  </a:extLst>
                </p:cNvPr>
                <p:cNvSpPr/>
                <p:nvPr/>
              </p:nvSpPr>
              <p:spPr>
                <a:xfrm>
                  <a:off x="5774475" y="1614371"/>
                  <a:ext cx="25495" cy="36673"/>
                </a:xfrm>
                <a:custGeom>
                  <a:avLst/>
                  <a:gdLst>
                    <a:gd name="connsiteX0" fmla="*/ 25496 w 25495"/>
                    <a:gd name="connsiteY0" fmla="*/ 21979 h 36673"/>
                    <a:gd name="connsiteX1" fmla="*/ 0 w 25495"/>
                    <a:gd name="connsiteY1" fmla="*/ 36674 h 36673"/>
                    <a:gd name="connsiteX2" fmla="*/ 0 w 25495"/>
                    <a:gd name="connsiteY2" fmla="*/ 14820 h 36673"/>
                    <a:gd name="connsiteX3" fmla="*/ 25496 w 25495"/>
                    <a:gd name="connsiteY3" fmla="*/ 0 h 36673"/>
                  </a:gdLst>
                  <a:ahLst/>
                  <a:cxnLst>
                    <a:cxn ang="0">
                      <a:pos x="connsiteX0" y="connsiteY0"/>
                    </a:cxn>
                    <a:cxn ang="0">
                      <a:pos x="connsiteX1" y="connsiteY1"/>
                    </a:cxn>
                    <a:cxn ang="0">
                      <a:pos x="connsiteX2" y="connsiteY2"/>
                    </a:cxn>
                    <a:cxn ang="0">
                      <a:pos x="connsiteX3" y="connsiteY3"/>
                    </a:cxn>
                  </a:cxnLst>
                  <a:rect l="l" t="t" r="r" b="b"/>
                  <a:pathLst>
                    <a:path w="25495" h="36673">
                      <a:moveTo>
                        <a:pt x="25496" y="21979"/>
                      </a:moveTo>
                      <a:lnTo>
                        <a:pt x="0" y="36674"/>
                      </a:lnTo>
                      <a:lnTo>
                        <a:pt x="0" y="14820"/>
                      </a:lnTo>
                      <a:lnTo>
                        <a:pt x="2549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3" name="Freeform: Shape 2172">
                  <a:extLst>
                    <a:ext uri="{FF2B5EF4-FFF2-40B4-BE49-F238E27FC236}">
                      <a16:creationId xmlns:a16="http://schemas.microsoft.com/office/drawing/2014/main" id="{EA9557B5-1175-435D-842A-B66A876D66D9}"/>
                    </a:ext>
                  </a:extLst>
                </p:cNvPr>
                <p:cNvSpPr/>
                <p:nvPr/>
              </p:nvSpPr>
              <p:spPr>
                <a:xfrm>
                  <a:off x="5776862" y="1618515"/>
                  <a:ext cx="20597" cy="14443"/>
                </a:xfrm>
                <a:custGeom>
                  <a:avLst/>
                  <a:gdLst>
                    <a:gd name="connsiteX0" fmla="*/ 20597 w 20597"/>
                    <a:gd name="connsiteY0" fmla="*/ 2512 h 14443"/>
                    <a:gd name="connsiteX1" fmla="*/ 0 w 20597"/>
                    <a:gd name="connsiteY1" fmla="*/ 14443 h 14443"/>
                    <a:gd name="connsiteX2" fmla="*/ 0 w 20597"/>
                    <a:gd name="connsiteY2" fmla="*/ 11932 h 14443"/>
                    <a:gd name="connsiteX3" fmla="*/ 20597 w 20597"/>
                    <a:gd name="connsiteY3" fmla="*/ 0 h 14443"/>
                  </a:gdLst>
                  <a:ahLst/>
                  <a:cxnLst>
                    <a:cxn ang="0">
                      <a:pos x="connsiteX0" y="connsiteY0"/>
                    </a:cxn>
                    <a:cxn ang="0">
                      <a:pos x="connsiteX1" y="connsiteY1"/>
                    </a:cxn>
                    <a:cxn ang="0">
                      <a:pos x="connsiteX2" y="connsiteY2"/>
                    </a:cxn>
                    <a:cxn ang="0">
                      <a:pos x="connsiteX3" y="connsiteY3"/>
                    </a:cxn>
                  </a:cxnLst>
                  <a:rect l="l" t="t" r="r" b="b"/>
                  <a:pathLst>
                    <a:path w="20597" h="14443">
                      <a:moveTo>
                        <a:pt x="20597" y="2512"/>
                      </a:moveTo>
                      <a:lnTo>
                        <a:pt x="0" y="14443"/>
                      </a:lnTo>
                      <a:lnTo>
                        <a:pt x="0" y="11932"/>
                      </a:lnTo>
                      <a:lnTo>
                        <a:pt x="20597"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4" name="Freeform: Shape 2173">
                  <a:extLst>
                    <a:ext uri="{FF2B5EF4-FFF2-40B4-BE49-F238E27FC236}">
                      <a16:creationId xmlns:a16="http://schemas.microsoft.com/office/drawing/2014/main" id="{13770936-26BC-4B07-BAA9-9F83B813A8F9}"/>
                    </a:ext>
                  </a:extLst>
                </p:cNvPr>
                <p:cNvSpPr/>
                <p:nvPr/>
              </p:nvSpPr>
              <p:spPr>
                <a:xfrm>
                  <a:off x="5776862" y="1624293"/>
                  <a:ext cx="20597" cy="13061"/>
                </a:xfrm>
                <a:custGeom>
                  <a:avLst/>
                  <a:gdLst>
                    <a:gd name="connsiteX0" fmla="*/ 20597 w 20597"/>
                    <a:gd name="connsiteY0" fmla="*/ 1130 h 13061"/>
                    <a:gd name="connsiteX1" fmla="*/ 0 w 20597"/>
                    <a:gd name="connsiteY1" fmla="*/ 13062 h 13061"/>
                    <a:gd name="connsiteX2" fmla="*/ 0 w 20597"/>
                    <a:gd name="connsiteY2" fmla="*/ 11931 h 13061"/>
                    <a:gd name="connsiteX3" fmla="*/ 20597 w 20597"/>
                    <a:gd name="connsiteY3" fmla="*/ 0 h 13061"/>
                  </a:gdLst>
                  <a:ahLst/>
                  <a:cxnLst>
                    <a:cxn ang="0">
                      <a:pos x="connsiteX0" y="connsiteY0"/>
                    </a:cxn>
                    <a:cxn ang="0">
                      <a:pos x="connsiteX1" y="connsiteY1"/>
                    </a:cxn>
                    <a:cxn ang="0">
                      <a:pos x="connsiteX2" y="connsiteY2"/>
                    </a:cxn>
                    <a:cxn ang="0">
                      <a:pos x="connsiteX3" y="connsiteY3"/>
                    </a:cxn>
                  </a:cxnLst>
                  <a:rect l="l" t="t" r="r" b="b"/>
                  <a:pathLst>
                    <a:path w="20597" h="13061">
                      <a:moveTo>
                        <a:pt x="20597" y="1130"/>
                      </a:moveTo>
                      <a:lnTo>
                        <a:pt x="0" y="13062"/>
                      </a:lnTo>
                      <a:lnTo>
                        <a:pt x="0" y="11931"/>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5" name="Freeform: Shape 2174">
                  <a:extLst>
                    <a:ext uri="{FF2B5EF4-FFF2-40B4-BE49-F238E27FC236}">
                      <a16:creationId xmlns:a16="http://schemas.microsoft.com/office/drawing/2014/main" id="{01758855-B500-4B3F-BDDA-9F36904DA38C}"/>
                    </a:ext>
                  </a:extLst>
                </p:cNvPr>
                <p:cNvSpPr/>
                <p:nvPr/>
              </p:nvSpPr>
              <p:spPr>
                <a:xfrm>
                  <a:off x="5776862" y="1627181"/>
                  <a:ext cx="20597" cy="13061"/>
                </a:xfrm>
                <a:custGeom>
                  <a:avLst/>
                  <a:gdLst>
                    <a:gd name="connsiteX0" fmla="*/ 20597 w 20597"/>
                    <a:gd name="connsiteY0" fmla="*/ 1130 h 13061"/>
                    <a:gd name="connsiteX1" fmla="*/ 0 w 20597"/>
                    <a:gd name="connsiteY1" fmla="*/ 13062 h 13061"/>
                    <a:gd name="connsiteX2" fmla="*/ 0 w 20597"/>
                    <a:gd name="connsiteY2" fmla="*/ 11932 h 13061"/>
                    <a:gd name="connsiteX3" fmla="*/ 20597 w 20597"/>
                    <a:gd name="connsiteY3" fmla="*/ 0 h 13061"/>
                  </a:gdLst>
                  <a:ahLst/>
                  <a:cxnLst>
                    <a:cxn ang="0">
                      <a:pos x="connsiteX0" y="connsiteY0"/>
                    </a:cxn>
                    <a:cxn ang="0">
                      <a:pos x="connsiteX1" y="connsiteY1"/>
                    </a:cxn>
                    <a:cxn ang="0">
                      <a:pos x="connsiteX2" y="connsiteY2"/>
                    </a:cxn>
                    <a:cxn ang="0">
                      <a:pos x="connsiteX3" y="connsiteY3"/>
                    </a:cxn>
                  </a:cxnLst>
                  <a:rect l="l" t="t" r="r" b="b"/>
                  <a:pathLst>
                    <a:path w="20597" h="13061">
                      <a:moveTo>
                        <a:pt x="20597" y="1130"/>
                      </a:moveTo>
                      <a:lnTo>
                        <a:pt x="0" y="13062"/>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6" name="Freeform: Shape 2175">
                  <a:extLst>
                    <a:ext uri="{FF2B5EF4-FFF2-40B4-BE49-F238E27FC236}">
                      <a16:creationId xmlns:a16="http://schemas.microsoft.com/office/drawing/2014/main" id="{432E7058-B960-4777-AFB0-2AA485ADA8E6}"/>
                    </a:ext>
                  </a:extLst>
                </p:cNvPr>
                <p:cNvSpPr/>
                <p:nvPr/>
              </p:nvSpPr>
              <p:spPr>
                <a:xfrm>
                  <a:off x="5776862" y="1630321"/>
                  <a:ext cx="20597" cy="12936"/>
                </a:xfrm>
                <a:custGeom>
                  <a:avLst/>
                  <a:gdLst>
                    <a:gd name="connsiteX0" fmla="*/ 20597 w 20597"/>
                    <a:gd name="connsiteY0" fmla="*/ 1005 h 12936"/>
                    <a:gd name="connsiteX1" fmla="*/ 0 w 20597"/>
                    <a:gd name="connsiteY1" fmla="*/ 12936 h 12936"/>
                    <a:gd name="connsiteX2" fmla="*/ 0 w 20597"/>
                    <a:gd name="connsiteY2" fmla="*/ 11932 h 12936"/>
                    <a:gd name="connsiteX3" fmla="*/ 20597 w 20597"/>
                    <a:gd name="connsiteY3" fmla="*/ 0 h 12936"/>
                  </a:gdLst>
                  <a:ahLst/>
                  <a:cxnLst>
                    <a:cxn ang="0">
                      <a:pos x="connsiteX0" y="connsiteY0"/>
                    </a:cxn>
                    <a:cxn ang="0">
                      <a:pos x="connsiteX1" y="connsiteY1"/>
                    </a:cxn>
                    <a:cxn ang="0">
                      <a:pos x="connsiteX2" y="connsiteY2"/>
                    </a:cxn>
                    <a:cxn ang="0">
                      <a:pos x="connsiteX3" y="connsiteY3"/>
                    </a:cxn>
                  </a:cxnLst>
                  <a:rect l="l" t="t" r="r" b="b"/>
                  <a:pathLst>
                    <a:path w="20597" h="12936">
                      <a:moveTo>
                        <a:pt x="20597" y="1005"/>
                      </a:moveTo>
                      <a:lnTo>
                        <a:pt x="0" y="12936"/>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7" name="Freeform: Shape 2176">
                  <a:extLst>
                    <a:ext uri="{FF2B5EF4-FFF2-40B4-BE49-F238E27FC236}">
                      <a16:creationId xmlns:a16="http://schemas.microsoft.com/office/drawing/2014/main" id="{FDFDACF8-1C4A-455A-ACCF-C0A3B0E9C27F}"/>
                    </a:ext>
                  </a:extLst>
                </p:cNvPr>
                <p:cNvSpPr/>
                <p:nvPr/>
              </p:nvSpPr>
              <p:spPr>
                <a:xfrm>
                  <a:off x="5776862" y="1633210"/>
                  <a:ext cx="20597" cy="12936"/>
                </a:xfrm>
                <a:custGeom>
                  <a:avLst/>
                  <a:gdLst>
                    <a:gd name="connsiteX0" fmla="*/ 20597 w 20597"/>
                    <a:gd name="connsiteY0" fmla="*/ 1005 h 12936"/>
                    <a:gd name="connsiteX1" fmla="*/ 0 w 20597"/>
                    <a:gd name="connsiteY1" fmla="*/ 12936 h 12936"/>
                    <a:gd name="connsiteX2" fmla="*/ 0 w 20597"/>
                    <a:gd name="connsiteY2" fmla="*/ 11932 h 12936"/>
                    <a:gd name="connsiteX3" fmla="*/ 20597 w 20597"/>
                    <a:gd name="connsiteY3" fmla="*/ 0 h 12936"/>
                  </a:gdLst>
                  <a:ahLst/>
                  <a:cxnLst>
                    <a:cxn ang="0">
                      <a:pos x="connsiteX0" y="connsiteY0"/>
                    </a:cxn>
                    <a:cxn ang="0">
                      <a:pos x="connsiteX1" y="connsiteY1"/>
                    </a:cxn>
                    <a:cxn ang="0">
                      <a:pos x="connsiteX2" y="connsiteY2"/>
                    </a:cxn>
                    <a:cxn ang="0">
                      <a:pos x="connsiteX3" y="connsiteY3"/>
                    </a:cxn>
                  </a:cxnLst>
                  <a:rect l="l" t="t" r="r" b="b"/>
                  <a:pathLst>
                    <a:path w="20597" h="12936">
                      <a:moveTo>
                        <a:pt x="20597" y="1005"/>
                      </a:moveTo>
                      <a:lnTo>
                        <a:pt x="0" y="12936"/>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78" name="Graphic 4">
              <a:extLst>
                <a:ext uri="{FF2B5EF4-FFF2-40B4-BE49-F238E27FC236}">
                  <a16:creationId xmlns:a16="http://schemas.microsoft.com/office/drawing/2014/main" id="{84FB7ED1-A2DF-40A1-A747-5F7CF3F14040}"/>
                </a:ext>
              </a:extLst>
            </p:cNvPr>
            <p:cNvGrpSpPr/>
            <p:nvPr/>
          </p:nvGrpSpPr>
          <p:grpSpPr>
            <a:xfrm>
              <a:off x="5431727" y="1230051"/>
              <a:ext cx="531014" cy="533614"/>
              <a:chOff x="5431727" y="1230051"/>
              <a:chExt cx="531014" cy="533614"/>
            </a:xfrm>
            <a:solidFill>
              <a:srgbClr val="F6A30E"/>
            </a:solidFill>
          </p:grpSpPr>
          <p:sp>
            <p:nvSpPr>
              <p:cNvPr id="2179" name="Freeform: Shape 2178">
                <a:extLst>
                  <a:ext uri="{FF2B5EF4-FFF2-40B4-BE49-F238E27FC236}">
                    <a16:creationId xmlns:a16="http://schemas.microsoft.com/office/drawing/2014/main" id="{231B8C96-3D7C-4E57-A16A-6F867226628C}"/>
                  </a:ext>
                </a:extLst>
              </p:cNvPr>
              <p:cNvSpPr/>
              <p:nvPr/>
            </p:nvSpPr>
            <p:spPr>
              <a:xfrm>
                <a:off x="5454585" y="1230051"/>
                <a:ext cx="355935" cy="233355"/>
              </a:xfrm>
              <a:custGeom>
                <a:avLst/>
                <a:gdLst>
                  <a:gd name="connsiteX0" fmla="*/ 0 w 355935"/>
                  <a:gd name="connsiteY0" fmla="*/ 233355 h 233355"/>
                  <a:gd name="connsiteX1" fmla="*/ 242021 w 355935"/>
                  <a:gd name="connsiteY1" fmla="*/ 89172 h 233355"/>
                  <a:gd name="connsiteX2" fmla="*/ 242021 w 355935"/>
                  <a:gd name="connsiteY2" fmla="*/ 125846 h 233355"/>
                  <a:gd name="connsiteX3" fmla="*/ 355936 w 355935"/>
                  <a:gd name="connsiteY3" fmla="*/ 73222 h 233355"/>
                  <a:gd name="connsiteX4" fmla="*/ 237374 w 355935"/>
                  <a:gd name="connsiteY4" fmla="*/ 0 h 233355"/>
                  <a:gd name="connsiteX5" fmla="*/ 237374 w 355935"/>
                  <a:gd name="connsiteY5" fmla="*/ 41195 h 233355"/>
                  <a:gd name="connsiteX6" fmla="*/ 0 w 355935"/>
                  <a:gd name="connsiteY6" fmla="*/ 233355 h 233355"/>
                  <a:gd name="connsiteX7" fmla="*/ 0 w 355935"/>
                  <a:gd name="connsiteY7" fmla="*/ 233355 h 23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935" h="233355">
                    <a:moveTo>
                      <a:pt x="0" y="233355"/>
                    </a:moveTo>
                    <a:cubicBezTo>
                      <a:pt x="42702" y="162394"/>
                      <a:pt x="104369" y="84525"/>
                      <a:pt x="242021" y="89172"/>
                    </a:cubicBezTo>
                    <a:lnTo>
                      <a:pt x="242021" y="125846"/>
                    </a:lnTo>
                    <a:lnTo>
                      <a:pt x="355936" y="73222"/>
                    </a:lnTo>
                    <a:lnTo>
                      <a:pt x="237374" y="0"/>
                    </a:lnTo>
                    <a:lnTo>
                      <a:pt x="237374" y="41195"/>
                    </a:lnTo>
                    <a:cubicBezTo>
                      <a:pt x="141545" y="41069"/>
                      <a:pt x="26877" y="77618"/>
                      <a:pt x="0" y="233355"/>
                    </a:cubicBezTo>
                    <a:lnTo>
                      <a:pt x="0" y="233355"/>
                    </a:lnTo>
                    <a:close/>
                  </a:path>
                </a:pathLst>
              </a:custGeom>
              <a:solidFill>
                <a:srgbClr val="F6A3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0" name="Freeform: Shape 2179">
                <a:extLst>
                  <a:ext uri="{FF2B5EF4-FFF2-40B4-BE49-F238E27FC236}">
                    <a16:creationId xmlns:a16="http://schemas.microsoft.com/office/drawing/2014/main" id="{1BAF9483-969D-4B11-802C-74208E55C366}"/>
                  </a:ext>
                </a:extLst>
              </p:cNvPr>
              <p:cNvSpPr/>
              <p:nvPr/>
            </p:nvSpPr>
            <p:spPr>
              <a:xfrm>
                <a:off x="5842673" y="1334922"/>
                <a:ext cx="120068" cy="386203"/>
              </a:xfrm>
              <a:custGeom>
                <a:avLst/>
                <a:gdLst>
                  <a:gd name="connsiteX0" fmla="*/ 14067 w 120068"/>
                  <a:gd name="connsiteY0" fmla="*/ 0 h 386203"/>
                  <a:gd name="connsiteX1" fmla="*/ 36548 w 120068"/>
                  <a:gd name="connsiteY1" fmla="*/ 279072 h 386203"/>
                  <a:gd name="connsiteX2" fmla="*/ 3266 w 120068"/>
                  <a:gd name="connsiteY2" fmla="*/ 261991 h 386203"/>
                  <a:gd name="connsiteX3" fmla="*/ 0 w 120068"/>
                  <a:gd name="connsiteY3" fmla="*/ 386204 h 386203"/>
                  <a:gd name="connsiteX4" fmla="*/ 120069 w 120068"/>
                  <a:gd name="connsiteY4" fmla="*/ 316373 h 386203"/>
                  <a:gd name="connsiteX5" fmla="*/ 82516 w 120068"/>
                  <a:gd name="connsiteY5" fmla="*/ 297283 h 386203"/>
                  <a:gd name="connsiteX6" fmla="*/ 14067 w 120068"/>
                  <a:gd name="connsiteY6" fmla="*/ 0 h 386203"/>
                  <a:gd name="connsiteX7" fmla="*/ 14067 w 120068"/>
                  <a:gd name="connsiteY7" fmla="*/ 0 h 38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068" h="386203">
                    <a:moveTo>
                      <a:pt x="14067" y="0"/>
                    </a:moveTo>
                    <a:cubicBezTo>
                      <a:pt x="59532" y="70459"/>
                      <a:pt x="102611" y="160636"/>
                      <a:pt x="36548" y="279072"/>
                    </a:cubicBezTo>
                    <a:lnTo>
                      <a:pt x="3266" y="261991"/>
                    </a:lnTo>
                    <a:lnTo>
                      <a:pt x="0" y="386204"/>
                    </a:lnTo>
                    <a:lnTo>
                      <a:pt x="120069" y="316373"/>
                    </a:lnTo>
                    <a:lnTo>
                      <a:pt x="82516" y="297283"/>
                    </a:lnTo>
                    <a:cubicBezTo>
                      <a:pt x="125469" y="213511"/>
                      <a:pt x="143680" y="95954"/>
                      <a:pt x="14067" y="0"/>
                    </a:cubicBezTo>
                    <a:lnTo>
                      <a:pt x="14067" y="0"/>
                    </a:lnTo>
                    <a:close/>
                  </a:path>
                </a:pathLst>
              </a:custGeom>
              <a:solidFill>
                <a:srgbClr val="F6A3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1" name="Freeform: Shape 2180">
                <a:extLst>
                  <a:ext uri="{FF2B5EF4-FFF2-40B4-BE49-F238E27FC236}">
                    <a16:creationId xmlns:a16="http://schemas.microsoft.com/office/drawing/2014/main" id="{35182168-1E3B-449A-9933-492B45500EB0}"/>
                  </a:ext>
                </a:extLst>
              </p:cNvPr>
              <p:cNvSpPr/>
              <p:nvPr/>
            </p:nvSpPr>
            <p:spPr>
              <a:xfrm>
                <a:off x="5431727" y="1517914"/>
                <a:ext cx="321899" cy="245751"/>
              </a:xfrm>
              <a:custGeom>
                <a:avLst/>
                <a:gdLst>
                  <a:gd name="connsiteX0" fmla="*/ 321900 w 321899"/>
                  <a:gd name="connsiteY0" fmla="*/ 228834 h 245751"/>
                  <a:gd name="connsiteX1" fmla="*/ 77869 w 321899"/>
                  <a:gd name="connsiteY1" fmla="*/ 90554 h 245751"/>
                  <a:gd name="connsiteX2" fmla="*/ 110775 w 321899"/>
                  <a:gd name="connsiteY2" fmla="*/ 72594 h 245751"/>
                  <a:gd name="connsiteX3" fmla="*/ 9545 w 321899"/>
                  <a:gd name="connsiteY3" fmla="*/ 0 h 245751"/>
                  <a:gd name="connsiteX4" fmla="*/ 0 w 321899"/>
                  <a:gd name="connsiteY4" fmla="*/ 138280 h 245751"/>
                  <a:gd name="connsiteX5" fmla="*/ 36925 w 321899"/>
                  <a:gd name="connsiteY5" fmla="*/ 118059 h 245751"/>
                  <a:gd name="connsiteX6" fmla="*/ 321900 w 321899"/>
                  <a:gd name="connsiteY6" fmla="*/ 228834 h 245751"/>
                  <a:gd name="connsiteX7" fmla="*/ 321900 w 321899"/>
                  <a:gd name="connsiteY7" fmla="*/ 228834 h 24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899" h="245751">
                    <a:moveTo>
                      <a:pt x="321900" y="228834"/>
                    </a:moveTo>
                    <a:cubicBezTo>
                      <a:pt x="238002" y="226699"/>
                      <a:pt x="138908" y="211502"/>
                      <a:pt x="77869" y="90554"/>
                    </a:cubicBezTo>
                    <a:lnTo>
                      <a:pt x="110775" y="72594"/>
                    </a:lnTo>
                    <a:lnTo>
                      <a:pt x="9545" y="0"/>
                    </a:lnTo>
                    <a:lnTo>
                      <a:pt x="0" y="138280"/>
                    </a:lnTo>
                    <a:lnTo>
                      <a:pt x="36925" y="118059"/>
                    </a:lnTo>
                    <a:cubicBezTo>
                      <a:pt x="82265" y="200700"/>
                      <a:pt x="169428" y="281835"/>
                      <a:pt x="321900" y="228834"/>
                    </a:cubicBezTo>
                    <a:lnTo>
                      <a:pt x="321900" y="228834"/>
                    </a:lnTo>
                    <a:close/>
                  </a:path>
                </a:pathLst>
              </a:custGeom>
              <a:solidFill>
                <a:srgbClr val="F6A3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82" name="Graphic 4">
            <a:extLst>
              <a:ext uri="{FF2B5EF4-FFF2-40B4-BE49-F238E27FC236}">
                <a16:creationId xmlns:a16="http://schemas.microsoft.com/office/drawing/2014/main" id="{84FB7ED1-A2DF-40A1-A747-5F7CF3F14040}"/>
              </a:ext>
            </a:extLst>
          </p:cNvPr>
          <p:cNvGrpSpPr/>
          <p:nvPr/>
        </p:nvGrpSpPr>
        <p:grpSpPr>
          <a:xfrm>
            <a:off x="4338550" y="1969553"/>
            <a:ext cx="327802" cy="528377"/>
            <a:chOff x="4338550" y="1969553"/>
            <a:chExt cx="327802" cy="528377"/>
          </a:xfrm>
          <a:solidFill>
            <a:schemeClr val="accent1"/>
          </a:solidFill>
        </p:grpSpPr>
        <p:grpSp>
          <p:nvGrpSpPr>
            <p:cNvPr id="2183" name="Graphic 4">
              <a:extLst>
                <a:ext uri="{FF2B5EF4-FFF2-40B4-BE49-F238E27FC236}">
                  <a16:creationId xmlns:a16="http://schemas.microsoft.com/office/drawing/2014/main" id="{84FB7ED1-A2DF-40A1-A747-5F7CF3F14040}"/>
                </a:ext>
              </a:extLst>
            </p:cNvPr>
            <p:cNvGrpSpPr/>
            <p:nvPr/>
          </p:nvGrpSpPr>
          <p:grpSpPr>
            <a:xfrm>
              <a:off x="4398961" y="1969553"/>
              <a:ext cx="267391" cy="528377"/>
              <a:chOff x="4398961" y="1969553"/>
              <a:chExt cx="267391" cy="528377"/>
            </a:xfrm>
            <a:solidFill>
              <a:schemeClr val="accent1"/>
            </a:solidFill>
          </p:grpSpPr>
          <p:grpSp>
            <p:nvGrpSpPr>
              <p:cNvPr id="2184" name="Graphic 4">
                <a:extLst>
                  <a:ext uri="{FF2B5EF4-FFF2-40B4-BE49-F238E27FC236}">
                    <a16:creationId xmlns:a16="http://schemas.microsoft.com/office/drawing/2014/main" id="{84FB7ED1-A2DF-40A1-A747-5F7CF3F14040}"/>
                  </a:ext>
                </a:extLst>
              </p:cNvPr>
              <p:cNvGrpSpPr/>
              <p:nvPr/>
            </p:nvGrpSpPr>
            <p:grpSpPr>
              <a:xfrm>
                <a:off x="4399840" y="1982740"/>
                <a:ext cx="265758" cy="502002"/>
                <a:chOff x="4399840" y="1982740"/>
                <a:chExt cx="265758" cy="502002"/>
              </a:xfrm>
              <a:solidFill>
                <a:schemeClr val="accent1"/>
              </a:solidFill>
            </p:grpSpPr>
            <p:sp>
              <p:nvSpPr>
                <p:cNvPr id="2185" name="Freeform: Shape 2184">
                  <a:extLst>
                    <a:ext uri="{FF2B5EF4-FFF2-40B4-BE49-F238E27FC236}">
                      <a16:creationId xmlns:a16="http://schemas.microsoft.com/office/drawing/2014/main" id="{728C8117-6F33-47CA-8C68-2C076E7AD1FF}"/>
                    </a:ext>
                  </a:extLst>
                </p:cNvPr>
                <p:cNvSpPr/>
                <p:nvPr/>
              </p:nvSpPr>
              <p:spPr>
                <a:xfrm>
                  <a:off x="4399840" y="1982740"/>
                  <a:ext cx="265758" cy="502002"/>
                </a:xfrm>
                <a:custGeom>
                  <a:avLst/>
                  <a:gdLst>
                    <a:gd name="connsiteX0" fmla="*/ 0 w 265758"/>
                    <a:gd name="connsiteY0" fmla="*/ 346139 h 502002"/>
                    <a:gd name="connsiteX1" fmla="*/ 0 w 265758"/>
                    <a:gd name="connsiteY1" fmla="*/ 0 h 502002"/>
                    <a:gd name="connsiteX2" fmla="*/ 265759 w 265758"/>
                    <a:gd name="connsiteY2" fmla="*/ 154858 h 502002"/>
                    <a:gd name="connsiteX3" fmla="*/ 265759 w 265758"/>
                    <a:gd name="connsiteY3" fmla="*/ 502002 h 502002"/>
                    <a:gd name="connsiteX4" fmla="*/ 0 w 265758"/>
                    <a:gd name="connsiteY4" fmla="*/ 346139 h 502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758" h="502002">
                      <a:moveTo>
                        <a:pt x="0" y="346139"/>
                      </a:moveTo>
                      <a:lnTo>
                        <a:pt x="0" y="0"/>
                      </a:lnTo>
                      <a:lnTo>
                        <a:pt x="265759" y="154858"/>
                      </a:lnTo>
                      <a:lnTo>
                        <a:pt x="265759" y="502002"/>
                      </a:lnTo>
                      <a:lnTo>
                        <a:pt x="0" y="346139"/>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6" name="Freeform: Shape 2185">
                  <a:extLst>
                    <a:ext uri="{FF2B5EF4-FFF2-40B4-BE49-F238E27FC236}">
                      <a16:creationId xmlns:a16="http://schemas.microsoft.com/office/drawing/2014/main" id="{591314AE-85AA-4DFF-AAD8-A22E926D9790}"/>
                    </a:ext>
                  </a:extLst>
                </p:cNvPr>
                <p:cNvSpPr/>
                <p:nvPr/>
              </p:nvSpPr>
              <p:spPr>
                <a:xfrm>
                  <a:off x="4399840" y="1982740"/>
                  <a:ext cx="265758" cy="502002"/>
                </a:xfrm>
                <a:custGeom>
                  <a:avLst/>
                  <a:gdLst>
                    <a:gd name="connsiteX0" fmla="*/ 0 w 265758"/>
                    <a:gd name="connsiteY0" fmla="*/ 346139 h 502002"/>
                    <a:gd name="connsiteX1" fmla="*/ 0 w 265758"/>
                    <a:gd name="connsiteY1" fmla="*/ 0 h 502002"/>
                    <a:gd name="connsiteX2" fmla="*/ 265759 w 265758"/>
                    <a:gd name="connsiteY2" fmla="*/ 154858 h 502002"/>
                    <a:gd name="connsiteX3" fmla="*/ 265759 w 265758"/>
                    <a:gd name="connsiteY3" fmla="*/ 502002 h 502002"/>
                    <a:gd name="connsiteX4" fmla="*/ 0 w 265758"/>
                    <a:gd name="connsiteY4" fmla="*/ 346139 h 502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758" h="502002">
                      <a:moveTo>
                        <a:pt x="0" y="346139"/>
                      </a:moveTo>
                      <a:lnTo>
                        <a:pt x="0" y="0"/>
                      </a:lnTo>
                      <a:lnTo>
                        <a:pt x="265759" y="154858"/>
                      </a:lnTo>
                      <a:lnTo>
                        <a:pt x="265759" y="502002"/>
                      </a:lnTo>
                      <a:lnTo>
                        <a:pt x="0" y="346139"/>
                      </a:lnTo>
                      <a:close/>
                    </a:path>
                  </a:pathLst>
                </a:custGeom>
                <a:noFill/>
                <a:ln w="19661" cap="flat">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87" name="Freeform: Shape 2186">
                <a:extLst>
                  <a:ext uri="{FF2B5EF4-FFF2-40B4-BE49-F238E27FC236}">
                    <a16:creationId xmlns:a16="http://schemas.microsoft.com/office/drawing/2014/main" id="{0AFFEA87-40FE-44D0-9A3F-610DE64C8F8E}"/>
                  </a:ext>
                </a:extLst>
              </p:cNvPr>
              <p:cNvSpPr/>
              <p:nvPr/>
            </p:nvSpPr>
            <p:spPr>
              <a:xfrm>
                <a:off x="4408506" y="2009492"/>
                <a:ext cx="111277" cy="82766"/>
              </a:xfrm>
              <a:custGeom>
                <a:avLst/>
                <a:gdLst>
                  <a:gd name="connsiteX0" fmla="*/ 0 w 111277"/>
                  <a:gd name="connsiteY0" fmla="*/ 0 h 82766"/>
                  <a:gd name="connsiteX1" fmla="*/ 111277 w 111277"/>
                  <a:gd name="connsiteY1" fmla="*/ 64932 h 82766"/>
                  <a:gd name="connsiteX2" fmla="*/ 111277 w 111277"/>
                  <a:gd name="connsiteY2" fmla="*/ 82767 h 82766"/>
                  <a:gd name="connsiteX3" fmla="*/ 0 w 111277"/>
                  <a:gd name="connsiteY3" fmla="*/ 17834 h 82766"/>
                  <a:gd name="connsiteX4" fmla="*/ 0 w 111277"/>
                  <a:gd name="connsiteY4" fmla="*/ 0 h 8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82766">
                    <a:moveTo>
                      <a:pt x="0" y="0"/>
                    </a:moveTo>
                    <a:lnTo>
                      <a:pt x="111277" y="64932"/>
                    </a:lnTo>
                    <a:lnTo>
                      <a:pt x="111277" y="82767"/>
                    </a:lnTo>
                    <a:lnTo>
                      <a:pt x="0" y="17834"/>
                    </a:lnTo>
                    <a:lnTo>
                      <a:pt x="0" y="0"/>
                    </a:lnTo>
                    <a:close/>
                  </a:path>
                </a:pathLst>
              </a:custGeom>
              <a:solidFill>
                <a:srgbClr val="38393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8" name="Freeform: Shape 2187">
                <a:extLst>
                  <a:ext uri="{FF2B5EF4-FFF2-40B4-BE49-F238E27FC236}">
                    <a16:creationId xmlns:a16="http://schemas.microsoft.com/office/drawing/2014/main" id="{AA328442-8E74-46BA-9ED2-BB58DD4C05F1}"/>
                  </a:ext>
                </a:extLst>
              </p:cNvPr>
              <p:cNvSpPr/>
              <p:nvPr/>
            </p:nvSpPr>
            <p:spPr>
              <a:xfrm>
                <a:off x="4537116" y="2084598"/>
                <a:ext cx="111402" cy="82641"/>
              </a:xfrm>
              <a:custGeom>
                <a:avLst/>
                <a:gdLst>
                  <a:gd name="connsiteX0" fmla="*/ 0 w 111402"/>
                  <a:gd name="connsiteY0" fmla="*/ 0 h 82641"/>
                  <a:gd name="connsiteX1" fmla="*/ 111403 w 111402"/>
                  <a:gd name="connsiteY1" fmla="*/ 64807 h 82641"/>
                  <a:gd name="connsiteX2" fmla="*/ 111403 w 111402"/>
                  <a:gd name="connsiteY2" fmla="*/ 82641 h 82641"/>
                  <a:gd name="connsiteX3" fmla="*/ 0 w 111402"/>
                  <a:gd name="connsiteY3" fmla="*/ 17709 h 82641"/>
                  <a:gd name="connsiteX4" fmla="*/ 0 w 111402"/>
                  <a:gd name="connsiteY4" fmla="*/ 0 h 82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82641">
                    <a:moveTo>
                      <a:pt x="0" y="0"/>
                    </a:moveTo>
                    <a:lnTo>
                      <a:pt x="111403" y="64807"/>
                    </a:lnTo>
                    <a:lnTo>
                      <a:pt x="111403" y="82641"/>
                    </a:lnTo>
                    <a:lnTo>
                      <a:pt x="0" y="17709"/>
                    </a:lnTo>
                    <a:lnTo>
                      <a:pt x="0" y="0"/>
                    </a:lnTo>
                    <a:close/>
                  </a:path>
                </a:pathLst>
              </a:custGeom>
              <a:solidFill>
                <a:srgbClr val="F8B0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9" name="Freeform: Shape 2188">
                <a:extLst>
                  <a:ext uri="{FF2B5EF4-FFF2-40B4-BE49-F238E27FC236}">
                    <a16:creationId xmlns:a16="http://schemas.microsoft.com/office/drawing/2014/main" id="{45A2539C-B6D2-4D06-B8AE-D527CFAAFB27}"/>
                  </a:ext>
                </a:extLst>
              </p:cNvPr>
              <p:cNvSpPr/>
              <p:nvPr/>
            </p:nvSpPr>
            <p:spPr>
              <a:xfrm>
                <a:off x="4469376" y="2088664"/>
                <a:ext cx="25162" cy="43408"/>
              </a:xfrm>
              <a:custGeom>
                <a:avLst/>
                <a:gdLst>
                  <a:gd name="connsiteX0" fmla="*/ 12729 w 25162"/>
                  <a:gd name="connsiteY0" fmla="*/ 43409 h 43408"/>
                  <a:gd name="connsiteX1" fmla="*/ 3310 w 25162"/>
                  <a:gd name="connsiteY1" fmla="*/ 3846 h 43408"/>
                  <a:gd name="connsiteX2" fmla="*/ 25163 w 25162"/>
                  <a:gd name="connsiteY2" fmla="*/ 3972 h 43408"/>
                  <a:gd name="connsiteX3" fmla="*/ 25163 w 25162"/>
                  <a:gd name="connsiteY3" fmla="*/ 28965 h 43408"/>
                  <a:gd name="connsiteX4" fmla="*/ 12729 w 25162"/>
                  <a:gd name="connsiteY4" fmla="*/ 43409 h 43408"/>
                  <a:gd name="connsiteX5" fmla="*/ 12729 w 25162"/>
                  <a:gd name="connsiteY5" fmla="*/ 43409 h 4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62" h="43408">
                    <a:moveTo>
                      <a:pt x="12729" y="43409"/>
                    </a:moveTo>
                    <a:cubicBezTo>
                      <a:pt x="672" y="29468"/>
                      <a:pt x="-3598" y="11759"/>
                      <a:pt x="3310" y="3846"/>
                    </a:cubicBezTo>
                    <a:cubicBezTo>
                      <a:pt x="7831" y="-1303"/>
                      <a:pt x="16120" y="-1303"/>
                      <a:pt x="25163" y="3972"/>
                    </a:cubicBezTo>
                    <a:lnTo>
                      <a:pt x="25163" y="28965"/>
                    </a:lnTo>
                    <a:lnTo>
                      <a:pt x="12729" y="43409"/>
                    </a:lnTo>
                    <a:lnTo>
                      <a:pt x="12729" y="43409"/>
                    </a:lnTo>
                    <a:close/>
                  </a:path>
                </a:pathLst>
              </a:custGeom>
              <a:solidFill>
                <a:srgbClr val="DD4B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0" name="Freeform: Shape 2189">
                <a:extLst>
                  <a:ext uri="{FF2B5EF4-FFF2-40B4-BE49-F238E27FC236}">
                    <a16:creationId xmlns:a16="http://schemas.microsoft.com/office/drawing/2014/main" id="{EEAA3BE5-8FAB-439E-8567-A1327E8F202F}"/>
                  </a:ext>
                </a:extLst>
              </p:cNvPr>
              <p:cNvSpPr/>
              <p:nvPr/>
            </p:nvSpPr>
            <p:spPr>
              <a:xfrm>
                <a:off x="4480849" y="2117503"/>
                <a:ext cx="38941" cy="29055"/>
              </a:xfrm>
              <a:custGeom>
                <a:avLst/>
                <a:gdLst>
                  <a:gd name="connsiteX0" fmla="*/ 38055 w 38941"/>
                  <a:gd name="connsiteY0" fmla="*/ 7661 h 29055"/>
                  <a:gd name="connsiteX1" fmla="*/ 20346 w 38941"/>
                  <a:gd name="connsiteY1" fmla="*/ 28008 h 29055"/>
                  <a:gd name="connsiteX2" fmla="*/ 0 w 38941"/>
                  <a:gd name="connsiteY2" fmla="*/ 12936 h 29055"/>
                  <a:gd name="connsiteX3" fmla="*/ 13816 w 38941"/>
                  <a:gd name="connsiteY3" fmla="*/ 0 h 29055"/>
                  <a:gd name="connsiteX4" fmla="*/ 38055 w 38941"/>
                  <a:gd name="connsiteY4" fmla="*/ 7661 h 29055"/>
                  <a:gd name="connsiteX5" fmla="*/ 38055 w 38941"/>
                  <a:gd name="connsiteY5" fmla="*/ 7661 h 2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41" h="29055">
                    <a:moveTo>
                      <a:pt x="38055" y="7661"/>
                    </a:moveTo>
                    <a:cubicBezTo>
                      <a:pt x="41698" y="23109"/>
                      <a:pt x="33785" y="32278"/>
                      <a:pt x="20346" y="28008"/>
                    </a:cubicBezTo>
                    <a:cubicBezTo>
                      <a:pt x="13439" y="25872"/>
                      <a:pt x="6029" y="20346"/>
                      <a:pt x="0" y="12936"/>
                    </a:cubicBezTo>
                    <a:lnTo>
                      <a:pt x="13816" y="0"/>
                    </a:lnTo>
                    <a:lnTo>
                      <a:pt x="38055" y="7661"/>
                    </a:lnTo>
                    <a:lnTo>
                      <a:pt x="38055" y="7661"/>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1" name="Freeform: Shape 2190">
                <a:extLst>
                  <a:ext uri="{FF2B5EF4-FFF2-40B4-BE49-F238E27FC236}">
                    <a16:creationId xmlns:a16="http://schemas.microsoft.com/office/drawing/2014/main" id="{B1A46353-01B6-4D76-B4E5-2A2F231B3F57}"/>
                  </a:ext>
                </a:extLst>
              </p:cNvPr>
              <p:cNvSpPr/>
              <p:nvPr/>
            </p:nvSpPr>
            <p:spPr>
              <a:xfrm>
                <a:off x="4494664" y="2092510"/>
                <a:ext cx="24490" cy="33533"/>
              </a:xfrm>
              <a:custGeom>
                <a:avLst/>
                <a:gdLst>
                  <a:gd name="connsiteX0" fmla="*/ 0 w 24490"/>
                  <a:gd name="connsiteY0" fmla="*/ 0 h 33533"/>
                  <a:gd name="connsiteX1" fmla="*/ 24491 w 24490"/>
                  <a:gd name="connsiteY1" fmla="*/ 33534 h 33533"/>
                  <a:gd name="connsiteX2" fmla="*/ 0 w 24490"/>
                  <a:gd name="connsiteY2" fmla="*/ 25119 h 33533"/>
                  <a:gd name="connsiteX3" fmla="*/ 0 w 24490"/>
                  <a:gd name="connsiteY3" fmla="*/ 0 h 33533"/>
                  <a:gd name="connsiteX4" fmla="*/ 0 w 24490"/>
                  <a:gd name="connsiteY4" fmla="*/ 0 h 33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90" h="33533">
                    <a:moveTo>
                      <a:pt x="0" y="0"/>
                    </a:moveTo>
                    <a:cubicBezTo>
                      <a:pt x="11680" y="6782"/>
                      <a:pt x="21728" y="20598"/>
                      <a:pt x="24491" y="33534"/>
                    </a:cubicBezTo>
                    <a:lnTo>
                      <a:pt x="0" y="25119"/>
                    </a:lnTo>
                    <a:lnTo>
                      <a:pt x="0" y="0"/>
                    </a:lnTo>
                    <a:lnTo>
                      <a:pt x="0" y="0"/>
                    </a:lnTo>
                    <a:close/>
                  </a:path>
                </a:pathLst>
              </a:custGeom>
              <a:solidFill>
                <a:srgbClr val="3637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2" name="Freeform: Shape 2191">
                <a:extLst>
                  <a:ext uri="{FF2B5EF4-FFF2-40B4-BE49-F238E27FC236}">
                    <a16:creationId xmlns:a16="http://schemas.microsoft.com/office/drawing/2014/main" id="{5DBB6BB9-7547-492A-B7D2-8B7D34871C76}"/>
                  </a:ext>
                </a:extLst>
              </p:cNvPr>
              <p:cNvSpPr/>
              <p:nvPr/>
            </p:nvSpPr>
            <p:spPr>
              <a:xfrm>
                <a:off x="4408506" y="2037374"/>
                <a:ext cx="11178" cy="16452"/>
              </a:xfrm>
              <a:custGeom>
                <a:avLst/>
                <a:gdLst>
                  <a:gd name="connsiteX0" fmla="*/ 0 w 11178"/>
                  <a:gd name="connsiteY0" fmla="*/ 0 h 16452"/>
                  <a:gd name="connsiteX1" fmla="*/ 11178 w 11178"/>
                  <a:gd name="connsiteY1" fmla="*/ 6531 h 16452"/>
                  <a:gd name="connsiteX2" fmla="*/ 11178 w 11178"/>
                  <a:gd name="connsiteY2" fmla="*/ 16453 h 16452"/>
                  <a:gd name="connsiteX3" fmla="*/ 0 w 11178"/>
                  <a:gd name="connsiteY3" fmla="*/ 9922 h 16452"/>
                  <a:gd name="connsiteX4" fmla="*/ 0 w 11178"/>
                  <a:gd name="connsiteY4" fmla="*/ 0 h 16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8" h="16452">
                    <a:moveTo>
                      <a:pt x="0" y="0"/>
                    </a:moveTo>
                    <a:lnTo>
                      <a:pt x="11178" y="6531"/>
                    </a:lnTo>
                    <a:lnTo>
                      <a:pt x="11178" y="16453"/>
                    </a:lnTo>
                    <a:lnTo>
                      <a:pt x="0" y="9922"/>
                    </a:lnTo>
                    <a:lnTo>
                      <a:pt x="0" y="0"/>
                    </a:lnTo>
                    <a:close/>
                  </a:path>
                </a:pathLst>
              </a:custGeom>
              <a:solidFill>
                <a:srgbClr val="38393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3" name="Freeform: Shape 2192">
                <a:extLst>
                  <a:ext uri="{FF2B5EF4-FFF2-40B4-BE49-F238E27FC236}">
                    <a16:creationId xmlns:a16="http://schemas.microsoft.com/office/drawing/2014/main" id="{31336A2F-BEBD-46AF-83FD-08FADC00F217}"/>
                  </a:ext>
                </a:extLst>
              </p:cNvPr>
              <p:cNvSpPr/>
              <p:nvPr/>
            </p:nvSpPr>
            <p:spPr>
              <a:xfrm>
                <a:off x="4422950" y="2048491"/>
                <a:ext cx="27505" cy="20341"/>
              </a:xfrm>
              <a:custGeom>
                <a:avLst/>
                <a:gdLst>
                  <a:gd name="connsiteX0" fmla="*/ 0 w 27505"/>
                  <a:gd name="connsiteY0" fmla="*/ 1944 h 20341"/>
                  <a:gd name="connsiteX1" fmla="*/ 3517 w 27505"/>
                  <a:gd name="connsiteY1" fmla="*/ 563 h 20341"/>
                  <a:gd name="connsiteX2" fmla="*/ 23989 w 27505"/>
                  <a:gd name="connsiteY2" fmla="*/ 12494 h 20341"/>
                  <a:gd name="connsiteX3" fmla="*/ 27505 w 27505"/>
                  <a:gd name="connsiteY3" fmla="*/ 18021 h 20341"/>
                  <a:gd name="connsiteX4" fmla="*/ 27505 w 27505"/>
                  <a:gd name="connsiteY4" fmla="*/ 18397 h 20341"/>
                  <a:gd name="connsiteX5" fmla="*/ 23989 w 27505"/>
                  <a:gd name="connsiteY5" fmla="*/ 19779 h 20341"/>
                  <a:gd name="connsiteX6" fmla="*/ 3517 w 27505"/>
                  <a:gd name="connsiteY6" fmla="*/ 7847 h 20341"/>
                  <a:gd name="connsiteX7" fmla="*/ 0 w 27505"/>
                  <a:gd name="connsiteY7" fmla="*/ 2321 h 20341"/>
                  <a:gd name="connsiteX8" fmla="*/ 0 w 27505"/>
                  <a:gd name="connsiteY8" fmla="*/ 1944 h 2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505" h="20341">
                    <a:moveTo>
                      <a:pt x="0" y="1944"/>
                    </a:moveTo>
                    <a:cubicBezTo>
                      <a:pt x="0" y="61"/>
                      <a:pt x="1507" y="-567"/>
                      <a:pt x="3517" y="563"/>
                    </a:cubicBezTo>
                    <a:lnTo>
                      <a:pt x="23989" y="12494"/>
                    </a:lnTo>
                    <a:cubicBezTo>
                      <a:pt x="25873" y="13625"/>
                      <a:pt x="27505" y="16011"/>
                      <a:pt x="27505" y="18021"/>
                    </a:cubicBezTo>
                    <a:lnTo>
                      <a:pt x="27505" y="18397"/>
                    </a:lnTo>
                    <a:cubicBezTo>
                      <a:pt x="27505" y="20281"/>
                      <a:pt x="25998" y="20909"/>
                      <a:pt x="23989" y="19779"/>
                    </a:cubicBezTo>
                    <a:lnTo>
                      <a:pt x="3517" y="7847"/>
                    </a:lnTo>
                    <a:cubicBezTo>
                      <a:pt x="1633" y="6717"/>
                      <a:pt x="0" y="4331"/>
                      <a:pt x="0" y="2321"/>
                    </a:cubicBezTo>
                    <a:lnTo>
                      <a:pt x="0" y="1944"/>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4" name="Freeform: Shape 2193">
                <a:extLst>
                  <a:ext uri="{FF2B5EF4-FFF2-40B4-BE49-F238E27FC236}">
                    <a16:creationId xmlns:a16="http://schemas.microsoft.com/office/drawing/2014/main" id="{94C81797-029C-4F24-8736-1E45D709ABAC}"/>
                  </a:ext>
                </a:extLst>
              </p:cNvPr>
              <p:cNvSpPr/>
              <p:nvPr/>
            </p:nvSpPr>
            <p:spPr>
              <a:xfrm>
                <a:off x="4408506" y="2054078"/>
                <a:ext cx="11178" cy="15950"/>
              </a:xfrm>
              <a:custGeom>
                <a:avLst/>
                <a:gdLst>
                  <a:gd name="connsiteX0" fmla="*/ 0 w 11178"/>
                  <a:gd name="connsiteY0" fmla="*/ 0 h 15950"/>
                  <a:gd name="connsiteX1" fmla="*/ 11178 w 11178"/>
                  <a:gd name="connsiteY1" fmla="*/ 6405 h 15950"/>
                  <a:gd name="connsiteX2" fmla="*/ 11178 w 11178"/>
                  <a:gd name="connsiteY2" fmla="*/ 15951 h 15950"/>
                  <a:gd name="connsiteX3" fmla="*/ 0 w 11178"/>
                  <a:gd name="connsiteY3" fmla="*/ 9420 h 15950"/>
                  <a:gd name="connsiteX4" fmla="*/ 0 w 11178"/>
                  <a:gd name="connsiteY4" fmla="*/ 0 h 1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8" h="15950">
                    <a:moveTo>
                      <a:pt x="0" y="0"/>
                    </a:moveTo>
                    <a:lnTo>
                      <a:pt x="11178" y="6405"/>
                    </a:lnTo>
                    <a:lnTo>
                      <a:pt x="11178" y="15951"/>
                    </a:lnTo>
                    <a:lnTo>
                      <a:pt x="0" y="9420"/>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5" name="Freeform: Shape 2194">
                <a:extLst>
                  <a:ext uri="{FF2B5EF4-FFF2-40B4-BE49-F238E27FC236}">
                    <a16:creationId xmlns:a16="http://schemas.microsoft.com/office/drawing/2014/main" id="{B5CB820C-0461-4A7A-B27E-FC5C42560566}"/>
                  </a:ext>
                </a:extLst>
              </p:cNvPr>
              <p:cNvSpPr/>
              <p:nvPr/>
            </p:nvSpPr>
            <p:spPr>
              <a:xfrm>
                <a:off x="4422950" y="2065698"/>
                <a:ext cx="27505" cy="20341"/>
              </a:xfrm>
              <a:custGeom>
                <a:avLst/>
                <a:gdLst>
                  <a:gd name="connsiteX0" fmla="*/ 0 w 27505"/>
                  <a:gd name="connsiteY0" fmla="*/ 1944 h 20341"/>
                  <a:gd name="connsiteX1" fmla="*/ 3517 w 27505"/>
                  <a:gd name="connsiteY1" fmla="*/ 563 h 20341"/>
                  <a:gd name="connsiteX2" fmla="*/ 23989 w 27505"/>
                  <a:gd name="connsiteY2" fmla="*/ 12494 h 20341"/>
                  <a:gd name="connsiteX3" fmla="*/ 27505 w 27505"/>
                  <a:gd name="connsiteY3" fmla="*/ 18021 h 20341"/>
                  <a:gd name="connsiteX4" fmla="*/ 27505 w 27505"/>
                  <a:gd name="connsiteY4" fmla="*/ 18397 h 20341"/>
                  <a:gd name="connsiteX5" fmla="*/ 23989 w 27505"/>
                  <a:gd name="connsiteY5" fmla="*/ 19779 h 20341"/>
                  <a:gd name="connsiteX6" fmla="*/ 3517 w 27505"/>
                  <a:gd name="connsiteY6" fmla="*/ 7847 h 20341"/>
                  <a:gd name="connsiteX7" fmla="*/ 0 w 27505"/>
                  <a:gd name="connsiteY7" fmla="*/ 2321 h 20341"/>
                  <a:gd name="connsiteX8" fmla="*/ 0 w 27505"/>
                  <a:gd name="connsiteY8" fmla="*/ 1944 h 2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505" h="20341">
                    <a:moveTo>
                      <a:pt x="0" y="1944"/>
                    </a:moveTo>
                    <a:cubicBezTo>
                      <a:pt x="0" y="61"/>
                      <a:pt x="1507" y="-567"/>
                      <a:pt x="3517" y="563"/>
                    </a:cubicBezTo>
                    <a:lnTo>
                      <a:pt x="23989" y="12494"/>
                    </a:lnTo>
                    <a:cubicBezTo>
                      <a:pt x="25873" y="13625"/>
                      <a:pt x="27505" y="16011"/>
                      <a:pt x="27505" y="18021"/>
                    </a:cubicBezTo>
                    <a:lnTo>
                      <a:pt x="27505" y="18397"/>
                    </a:lnTo>
                    <a:cubicBezTo>
                      <a:pt x="27505" y="20281"/>
                      <a:pt x="25998" y="20909"/>
                      <a:pt x="23989" y="19779"/>
                    </a:cubicBezTo>
                    <a:lnTo>
                      <a:pt x="3517" y="7847"/>
                    </a:lnTo>
                    <a:cubicBezTo>
                      <a:pt x="1633" y="6717"/>
                      <a:pt x="0" y="4331"/>
                      <a:pt x="0" y="2321"/>
                    </a:cubicBezTo>
                    <a:lnTo>
                      <a:pt x="0" y="1944"/>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6" name="Freeform: Shape 2195">
                <a:extLst>
                  <a:ext uri="{FF2B5EF4-FFF2-40B4-BE49-F238E27FC236}">
                    <a16:creationId xmlns:a16="http://schemas.microsoft.com/office/drawing/2014/main" id="{7EBA64E0-54E4-47E3-9E02-FF9500D4C378}"/>
                  </a:ext>
                </a:extLst>
              </p:cNvPr>
              <p:cNvSpPr/>
              <p:nvPr/>
            </p:nvSpPr>
            <p:spPr>
              <a:xfrm>
                <a:off x="4408506" y="2072415"/>
                <a:ext cx="11178" cy="16452"/>
              </a:xfrm>
              <a:custGeom>
                <a:avLst/>
                <a:gdLst>
                  <a:gd name="connsiteX0" fmla="*/ 0 w 11178"/>
                  <a:gd name="connsiteY0" fmla="*/ 0 h 16452"/>
                  <a:gd name="connsiteX1" fmla="*/ 11178 w 11178"/>
                  <a:gd name="connsiteY1" fmla="*/ 6531 h 16452"/>
                  <a:gd name="connsiteX2" fmla="*/ 11178 w 11178"/>
                  <a:gd name="connsiteY2" fmla="*/ 16453 h 16452"/>
                  <a:gd name="connsiteX3" fmla="*/ 0 w 11178"/>
                  <a:gd name="connsiteY3" fmla="*/ 9922 h 16452"/>
                  <a:gd name="connsiteX4" fmla="*/ 0 w 11178"/>
                  <a:gd name="connsiteY4" fmla="*/ 0 h 16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8" h="16452">
                    <a:moveTo>
                      <a:pt x="0" y="0"/>
                    </a:moveTo>
                    <a:lnTo>
                      <a:pt x="11178" y="6531"/>
                    </a:lnTo>
                    <a:lnTo>
                      <a:pt x="11178" y="16453"/>
                    </a:lnTo>
                    <a:lnTo>
                      <a:pt x="0" y="9922"/>
                    </a:lnTo>
                    <a:lnTo>
                      <a:pt x="0" y="0"/>
                    </a:lnTo>
                    <a:close/>
                  </a:path>
                </a:pathLst>
              </a:custGeom>
              <a:solidFill>
                <a:srgbClr val="DD4B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7" name="Freeform: Shape 2196">
                <a:extLst>
                  <a:ext uri="{FF2B5EF4-FFF2-40B4-BE49-F238E27FC236}">
                    <a16:creationId xmlns:a16="http://schemas.microsoft.com/office/drawing/2014/main" id="{FBD320A8-D948-4754-92D0-36A87B085428}"/>
                  </a:ext>
                </a:extLst>
              </p:cNvPr>
              <p:cNvSpPr/>
              <p:nvPr/>
            </p:nvSpPr>
            <p:spPr>
              <a:xfrm>
                <a:off x="4422950" y="2084035"/>
                <a:ext cx="27505" cy="20341"/>
              </a:xfrm>
              <a:custGeom>
                <a:avLst/>
                <a:gdLst>
                  <a:gd name="connsiteX0" fmla="*/ 0 w 27505"/>
                  <a:gd name="connsiteY0" fmla="*/ 1944 h 20341"/>
                  <a:gd name="connsiteX1" fmla="*/ 3517 w 27505"/>
                  <a:gd name="connsiteY1" fmla="*/ 563 h 20341"/>
                  <a:gd name="connsiteX2" fmla="*/ 23989 w 27505"/>
                  <a:gd name="connsiteY2" fmla="*/ 12494 h 20341"/>
                  <a:gd name="connsiteX3" fmla="*/ 27505 w 27505"/>
                  <a:gd name="connsiteY3" fmla="*/ 18021 h 20341"/>
                  <a:gd name="connsiteX4" fmla="*/ 27505 w 27505"/>
                  <a:gd name="connsiteY4" fmla="*/ 18397 h 20341"/>
                  <a:gd name="connsiteX5" fmla="*/ 23989 w 27505"/>
                  <a:gd name="connsiteY5" fmla="*/ 19779 h 20341"/>
                  <a:gd name="connsiteX6" fmla="*/ 3517 w 27505"/>
                  <a:gd name="connsiteY6" fmla="*/ 7847 h 20341"/>
                  <a:gd name="connsiteX7" fmla="*/ 0 w 27505"/>
                  <a:gd name="connsiteY7" fmla="*/ 2321 h 20341"/>
                  <a:gd name="connsiteX8" fmla="*/ 0 w 27505"/>
                  <a:gd name="connsiteY8" fmla="*/ 1944 h 2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505" h="20341">
                    <a:moveTo>
                      <a:pt x="0" y="1944"/>
                    </a:moveTo>
                    <a:cubicBezTo>
                      <a:pt x="0" y="61"/>
                      <a:pt x="1507" y="-567"/>
                      <a:pt x="3517" y="563"/>
                    </a:cubicBezTo>
                    <a:lnTo>
                      <a:pt x="23989" y="12494"/>
                    </a:lnTo>
                    <a:cubicBezTo>
                      <a:pt x="25873" y="13625"/>
                      <a:pt x="27505" y="16011"/>
                      <a:pt x="27505" y="18021"/>
                    </a:cubicBezTo>
                    <a:lnTo>
                      <a:pt x="27505" y="18397"/>
                    </a:lnTo>
                    <a:cubicBezTo>
                      <a:pt x="27505" y="20281"/>
                      <a:pt x="25998" y="20909"/>
                      <a:pt x="23989" y="19779"/>
                    </a:cubicBezTo>
                    <a:lnTo>
                      <a:pt x="3517" y="7847"/>
                    </a:lnTo>
                    <a:cubicBezTo>
                      <a:pt x="1633" y="6717"/>
                      <a:pt x="0" y="4331"/>
                      <a:pt x="0" y="2321"/>
                    </a:cubicBezTo>
                    <a:lnTo>
                      <a:pt x="0" y="1944"/>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8" name="Freeform: Shape 2197">
                <a:extLst>
                  <a:ext uri="{FF2B5EF4-FFF2-40B4-BE49-F238E27FC236}">
                    <a16:creationId xmlns:a16="http://schemas.microsoft.com/office/drawing/2014/main" id="{8613F5A0-FE21-4B53-AF43-E10BC7B25599}"/>
                  </a:ext>
                </a:extLst>
              </p:cNvPr>
              <p:cNvSpPr/>
              <p:nvPr/>
            </p:nvSpPr>
            <p:spPr>
              <a:xfrm>
                <a:off x="4408506" y="2099669"/>
                <a:ext cx="111277" cy="75356"/>
              </a:xfrm>
              <a:custGeom>
                <a:avLst/>
                <a:gdLst>
                  <a:gd name="connsiteX0" fmla="*/ 0 w 111277"/>
                  <a:gd name="connsiteY0" fmla="*/ 0 h 75356"/>
                  <a:gd name="connsiteX1" fmla="*/ 111277 w 111277"/>
                  <a:gd name="connsiteY1" fmla="*/ 64807 h 75356"/>
                  <a:gd name="connsiteX2" fmla="*/ 111277 w 111277"/>
                  <a:gd name="connsiteY2" fmla="*/ 75357 h 75356"/>
                  <a:gd name="connsiteX3" fmla="*/ 0 w 111277"/>
                  <a:gd name="connsiteY3" fmla="*/ 10550 h 75356"/>
                  <a:gd name="connsiteX4" fmla="*/ 0 w 111277"/>
                  <a:gd name="connsiteY4" fmla="*/ 0 h 75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5356">
                    <a:moveTo>
                      <a:pt x="0" y="0"/>
                    </a:moveTo>
                    <a:lnTo>
                      <a:pt x="111277" y="64807"/>
                    </a:lnTo>
                    <a:lnTo>
                      <a:pt x="111277" y="75357"/>
                    </a:lnTo>
                    <a:lnTo>
                      <a:pt x="0" y="10550"/>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9" name="Freeform: Shape 2198">
                <a:extLst>
                  <a:ext uri="{FF2B5EF4-FFF2-40B4-BE49-F238E27FC236}">
                    <a16:creationId xmlns:a16="http://schemas.microsoft.com/office/drawing/2014/main" id="{61B0BE7E-2501-4E31-B634-6F0921EF991E}"/>
                  </a:ext>
                </a:extLst>
              </p:cNvPr>
              <p:cNvSpPr/>
              <p:nvPr/>
            </p:nvSpPr>
            <p:spPr>
              <a:xfrm>
                <a:off x="4537116" y="2174649"/>
                <a:ext cx="111402" cy="75356"/>
              </a:xfrm>
              <a:custGeom>
                <a:avLst/>
                <a:gdLst>
                  <a:gd name="connsiteX0" fmla="*/ 0 w 111402"/>
                  <a:gd name="connsiteY0" fmla="*/ 0 h 75356"/>
                  <a:gd name="connsiteX1" fmla="*/ 111403 w 111402"/>
                  <a:gd name="connsiteY1" fmla="*/ 64807 h 75356"/>
                  <a:gd name="connsiteX2" fmla="*/ 111403 w 111402"/>
                  <a:gd name="connsiteY2" fmla="*/ 75357 h 75356"/>
                  <a:gd name="connsiteX3" fmla="*/ 0 w 111402"/>
                  <a:gd name="connsiteY3" fmla="*/ 10550 h 75356"/>
                  <a:gd name="connsiteX4" fmla="*/ 0 w 111402"/>
                  <a:gd name="connsiteY4" fmla="*/ 0 h 75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5356">
                    <a:moveTo>
                      <a:pt x="0" y="0"/>
                    </a:moveTo>
                    <a:lnTo>
                      <a:pt x="111403" y="64807"/>
                    </a:lnTo>
                    <a:lnTo>
                      <a:pt x="111403" y="75357"/>
                    </a:lnTo>
                    <a:lnTo>
                      <a:pt x="0" y="10550"/>
                    </a:lnTo>
                    <a:lnTo>
                      <a:pt x="0" y="0"/>
                    </a:lnTo>
                    <a:close/>
                  </a:path>
                </a:pathLst>
              </a:custGeom>
              <a:solidFill>
                <a:srgbClr val="3A3B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0" name="Freeform: Shape 2199">
                <a:extLst>
                  <a:ext uri="{FF2B5EF4-FFF2-40B4-BE49-F238E27FC236}">
                    <a16:creationId xmlns:a16="http://schemas.microsoft.com/office/drawing/2014/main" id="{559A7BE8-0C29-4821-B8DD-99EF533B9CC3}"/>
                  </a:ext>
                </a:extLst>
              </p:cNvPr>
              <p:cNvSpPr/>
              <p:nvPr/>
            </p:nvSpPr>
            <p:spPr>
              <a:xfrm>
                <a:off x="4537116" y="2112354"/>
                <a:ext cx="111402" cy="114919"/>
              </a:xfrm>
              <a:custGeom>
                <a:avLst/>
                <a:gdLst>
                  <a:gd name="connsiteX0" fmla="*/ 0 w 111402"/>
                  <a:gd name="connsiteY0" fmla="*/ 0 h 114919"/>
                  <a:gd name="connsiteX1" fmla="*/ 111403 w 111402"/>
                  <a:gd name="connsiteY1" fmla="*/ 64807 h 114919"/>
                  <a:gd name="connsiteX2" fmla="*/ 111403 w 111402"/>
                  <a:gd name="connsiteY2" fmla="*/ 114919 h 114919"/>
                  <a:gd name="connsiteX3" fmla="*/ 0 w 111402"/>
                  <a:gd name="connsiteY3" fmla="*/ 49987 h 114919"/>
                  <a:gd name="connsiteX4" fmla="*/ 0 w 111402"/>
                  <a:gd name="connsiteY4" fmla="*/ 0 h 114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114919">
                    <a:moveTo>
                      <a:pt x="0" y="0"/>
                    </a:moveTo>
                    <a:lnTo>
                      <a:pt x="111403" y="64807"/>
                    </a:lnTo>
                    <a:lnTo>
                      <a:pt x="111403" y="114919"/>
                    </a:lnTo>
                    <a:lnTo>
                      <a:pt x="0" y="49987"/>
                    </a:lnTo>
                    <a:lnTo>
                      <a:pt x="0" y="0"/>
                    </a:lnTo>
                    <a:close/>
                  </a:path>
                </a:pathLst>
              </a:custGeom>
              <a:solidFill>
                <a:srgbClr val="3A3B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1" name="Freeform: Shape 2200">
                <a:extLst>
                  <a:ext uri="{FF2B5EF4-FFF2-40B4-BE49-F238E27FC236}">
                    <a16:creationId xmlns:a16="http://schemas.microsoft.com/office/drawing/2014/main" id="{833F789A-F5B7-4019-8E69-F7DFBE01B8D0}"/>
                  </a:ext>
                </a:extLst>
              </p:cNvPr>
              <p:cNvSpPr/>
              <p:nvPr/>
            </p:nvSpPr>
            <p:spPr>
              <a:xfrm>
                <a:off x="4537116" y="2112354"/>
                <a:ext cx="111402" cy="81762"/>
              </a:xfrm>
              <a:custGeom>
                <a:avLst/>
                <a:gdLst>
                  <a:gd name="connsiteX0" fmla="*/ 0 w 111402"/>
                  <a:gd name="connsiteY0" fmla="*/ 0 h 81762"/>
                  <a:gd name="connsiteX1" fmla="*/ 111403 w 111402"/>
                  <a:gd name="connsiteY1" fmla="*/ 64807 h 81762"/>
                  <a:gd name="connsiteX2" fmla="*/ 111403 w 111402"/>
                  <a:gd name="connsiteY2" fmla="*/ 76738 h 81762"/>
                  <a:gd name="connsiteX3" fmla="*/ 105500 w 111402"/>
                  <a:gd name="connsiteY3" fmla="*/ 74854 h 81762"/>
                  <a:gd name="connsiteX4" fmla="*/ 92061 w 111402"/>
                  <a:gd name="connsiteY4" fmla="*/ 81762 h 81762"/>
                  <a:gd name="connsiteX5" fmla="*/ 82767 w 111402"/>
                  <a:gd name="connsiteY5" fmla="*/ 67696 h 81762"/>
                  <a:gd name="connsiteX6" fmla="*/ 67570 w 111402"/>
                  <a:gd name="connsiteY6" fmla="*/ 74854 h 81762"/>
                  <a:gd name="connsiteX7" fmla="*/ 44084 w 111402"/>
                  <a:gd name="connsiteY7" fmla="*/ 37930 h 81762"/>
                  <a:gd name="connsiteX8" fmla="*/ 30645 w 111402"/>
                  <a:gd name="connsiteY8" fmla="*/ 39562 h 81762"/>
                  <a:gd name="connsiteX9" fmla="*/ 23988 w 111402"/>
                  <a:gd name="connsiteY9" fmla="*/ 33408 h 81762"/>
                  <a:gd name="connsiteX10" fmla="*/ 14192 w 111402"/>
                  <a:gd name="connsiteY10" fmla="*/ 38934 h 81762"/>
                  <a:gd name="connsiteX11" fmla="*/ 1256 w 111402"/>
                  <a:gd name="connsiteY11" fmla="*/ 21602 h 81762"/>
                  <a:gd name="connsiteX12" fmla="*/ 0 w 111402"/>
                  <a:gd name="connsiteY12" fmla="*/ 20221 h 81762"/>
                  <a:gd name="connsiteX13" fmla="*/ 0 w 111402"/>
                  <a:gd name="connsiteY13" fmla="*/ 0 h 81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402" h="81762">
                    <a:moveTo>
                      <a:pt x="0" y="0"/>
                    </a:moveTo>
                    <a:lnTo>
                      <a:pt x="111403" y="64807"/>
                    </a:lnTo>
                    <a:lnTo>
                      <a:pt x="111403" y="76738"/>
                    </a:lnTo>
                    <a:lnTo>
                      <a:pt x="105500" y="74854"/>
                    </a:lnTo>
                    <a:lnTo>
                      <a:pt x="92061" y="81762"/>
                    </a:lnTo>
                    <a:lnTo>
                      <a:pt x="82767" y="67696"/>
                    </a:lnTo>
                    <a:lnTo>
                      <a:pt x="67570" y="74854"/>
                    </a:lnTo>
                    <a:lnTo>
                      <a:pt x="44084" y="37930"/>
                    </a:lnTo>
                    <a:lnTo>
                      <a:pt x="30645" y="39562"/>
                    </a:lnTo>
                    <a:lnTo>
                      <a:pt x="23988" y="33408"/>
                    </a:lnTo>
                    <a:lnTo>
                      <a:pt x="14192" y="38934"/>
                    </a:lnTo>
                    <a:lnTo>
                      <a:pt x="1256" y="21602"/>
                    </a:lnTo>
                    <a:lnTo>
                      <a:pt x="0" y="20221"/>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2" name="Freeform: Shape 2201">
                <a:extLst>
                  <a:ext uri="{FF2B5EF4-FFF2-40B4-BE49-F238E27FC236}">
                    <a16:creationId xmlns:a16="http://schemas.microsoft.com/office/drawing/2014/main" id="{4D57A3F4-ADEE-4CAA-B6F7-0A657AF0AC79}"/>
                  </a:ext>
                </a:extLst>
              </p:cNvPr>
              <p:cNvSpPr/>
              <p:nvPr/>
            </p:nvSpPr>
            <p:spPr>
              <a:xfrm>
                <a:off x="4408506" y="2113484"/>
                <a:ext cx="111277" cy="72091"/>
              </a:xfrm>
              <a:custGeom>
                <a:avLst/>
                <a:gdLst>
                  <a:gd name="connsiteX0" fmla="*/ 0 w 111277"/>
                  <a:gd name="connsiteY0" fmla="*/ 0 h 72091"/>
                  <a:gd name="connsiteX1" fmla="*/ 111277 w 111277"/>
                  <a:gd name="connsiteY1" fmla="*/ 64932 h 72091"/>
                  <a:gd name="connsiteX2" fmla="*/ 111277 w 111277"/>
                  <a:gd name="connsiteY2" fmla="*/ 72091 h 72091"/>
                  <a:gd name="connsiteX3" fmla="*/ 0 w 111277"/>
                  <a:gd name="connsiteY3" fmla="*/ 7284 h 72091"/>
                  <a:gd name="connsiteX4" fmla="*/ 0 w 111277"/>
                  <a:gd name="connsiteY4" fmla="*/ 0 h 7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2091">
                    <a:moveTo>
                      <a:pt x="0" y="0"/>
                    </a:moveTo>
                    <a:lnTo>
                      <a:pt x="111277" y="64932"/>
                    </a:lnTo>
                    <a:lnTo>
                      <a:pt x="111277" y="72091"/>
                    </a:lnTo>
                    <a:lnTo>
                      <a:pt x="0" y="7284"/>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3" name="Freeform: Shape 2202">
                <a:extLst>
                  <a:ext uri="{FF2B5EF4-FFF2-40B4-BE49-F238E27FC236}">
                    <a16:creationId xmlns:a16="http://schemas.microsoft.com/office/drawing/2014/main" id="{B8E8BC1D-AF3B-4E22-902F-186E6947AE0F}"/>
                  </a:ext>
                </a:extLst>
              </p:cNvPr>
              <p:cNvSpPr/>
              <p:nvPr/>
            </p:nvSpPr>
            <p:spPr>
              <a:xfrm>
                <a:off x="4537116" y="2188464"/>
                <a:ext cx="111402" cy="72091"/>
              </a:xfrm>
              <a:custGeom>
                <a:avLst/>
                <a:gdLst>
                  <a:gd name="connsiteX0" fmla="*/ 0 w 111402"/>
                  <a:gd name="connsiteY0" fmla="*/ 0 h 72091"/>
                  <a:gd name="connsiteX1" fmla="*/ 111403 w 111402"/>
                  <a:gd name="connsiteY1" fmla="*/ 64932 h 72091"/>
                  <a:gd name="connsiteX2" fmla="*/ 111403 w 111402"/>
                  <a:gd name="connsiteY2" fmla="*/ 72091 h 72091"/>
                  <a:gd name="connsiteX3" fmla="*/ 0 w 111402"/>
                  <a:gd name="connsiteY3" fmla="*/ 7284 h 72091"/>
                  <a:gd name="connsiteX4" fmla="*/ 0 w 111402"/>
                  <a:gd name="connsiteY4" fmla="*/ 0 h 7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2091">
                    <a:moveTo>
                      <a:pt x="0" y="0"/>
                    </a:moveTo>
                    <a:lnTo>
                      <a:pt x="111403" y="64932"/>
                    </a:lnTo>
                    <a:lnTo>
                      <a:pt x="111403" y="72091"/>
                    </a:lnTo>
                    <a:lnTo>
                      <a:pt x="0" y="7284"/>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4" name="Freeform: Shape 2203">
                <a:extLst>
                  <a:ext uri="{FF2B5EF4-FFF2-40B4-BE49-F238E27FC236}">
                    <a16:creationId xmlns:a16="http://schemas.microsoft.com/office/drawing/2014/main" id="{7D773F87-0A7F-4415-96C3-209BE6F3DCCD}"/>
                  </a:ext>
                </a:extLst>
              </p:cNvPr>
              <p:cNvSpPr/>
              <p:nvPr/>
            </p:nvSpPr>
            <p:spPr>
              <a:xfrm>
                <a:off x="4408506" y="2124034"/>
                <a:ext cx="111277" cy="72719"/>
              </a:xfrm>
              <a:custGeom>
                <a:avLst/>
                <a:gdLst>
                  <a:gd name="connsiteX0" fmla="*/ 0 w 111277"/>
                  <a:gd name="connsiteY0" fmla="*/ 0 h 72719"/>
                  <a:gd name="connsiteX1" fmla="*/ 111277 w 111277"/>
                  <a:gd name="connsiteY1" fmla="*/ 64932 h 72719"/>
                  <a:gd name="connsiteX2" fmla="*/ 111277 w 111277"/>
                  <a:gd name="connsiteY2" fmla="*/ 72719 h 72719"/>
                  <a:gd name="connsiteX3" fmla="*/ 0 w 111277"/>
                  <a:gd name="connsiteY3" fmla="*/ 7787 h 72719"/>
                  <a:gd name="connsiteX4" fmla="*/ 0 w 111277"/>
                  <a:gd name="connsiteY4" fmla="*/ 0 h 7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2719">
                    <a:moveTo>
                      <a:pt x="0" y="0"/>
                    </a:moveTo>
                    <a:lnTo>
                      <a:pt x="111277" y="64932"/>
                    </a:lnTo>
                    <a:lnTo>
                      <a:pt x="111277" y="72719"/>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5" name="Freeform: Shape 2204">
                <a:extLst>
                  <a:ext uri="{FF2B5EF4-FFF2-40B4-BE49-F238E27FC236}">
                    <a16:creationId xmlns:a16="http://schemas.microsoft.com/office/drawing/2014/main" id="{44D9C8BE-5A20-4770-A2D0-726EEF39AF2A}"/>
                  </a:ext>
                </a:extLst>
              </p:cNvPr>
              <p:cNvSpPr/>
              <p:nvPr/>
            </p:nvSpPr>
            <p:spPr>
              <a:xfrm>
                <a:off x="4537116" y="2199014"/>
                <a:ext cx="111402" cy="72719"/>
              </a:xfrm>
              <a:custGeom>
                <a:avLst/>
                <a:gdLst>
                  <a:gd name="connsiteX0" fmla="*/ 0 w 111402"/>
                  <a:gd name="connsiteY0" fmla="*/ 0 h 72719"/>
                  <a:gd name="connsiteX1" fmla="*/ 111403 w 111402"/>
                  <a:gd name="connsiteY1" fmla="*/ 64932 h 72719"/>
                  <a:gd name="connsiteX2" fmla="*/ 111403 w 111402"/>
                  <a:gd name="connsiteY2" fmla="*/ 72719 h 72719"/>
                  <a:gd name="connsiteX3" fmla="*/ 0 w 111402"/>
                  <a:gd name="connsiteY3" fmla="*/ 7787 h 72719"/>
                  <a:gd name="connsiteX4" fmla="*/ 0 w 111402"/>
                  <a:gd name="connsiteY4" fmla="*/ 0 h 7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2719">
                    <a:moveTo>
                      <a:pt x="0" y="0"/>
                    </a:moveTo>
                    <a:lnTo>
                      <a:pt x="111403" y="64932"/>
                    </a:lnTo>
                    <a:lnTo>
                      <a:pt x="111403" y="72719"/>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6" name="Freeform: Shape 2205">
                <a:extLst>
                  <a:ext uri="{FF2B5EF4-FFF2-40B4-BE49-F238E27FC236}">
                    <a16:creationId xmlns:a16="http://schemas.microsoft.com/office/drawing/2014/main" id="{83C85722-BEF6-4DD9-A3B1-998B8DD98241}"/>
                  </a:ext>
                </a:extLst>
              </p:cNvPr>
              <p:cNvSpPr/>
              <p:nvPr/>
            </p:nvSpPr>
            <p:spPr>
              <a:xfrm>
                <a:off x="4408506" y="2134584"/>
                <a:ext cx="111277" cy="72719"/>
              </a:xfrm>
              <a:custGeom>
                <a:avLst/>
                <a:gdLst>
                  <a:gd name="connsiteX0" fmla="*/ 0 w 111277"/>
                  <a:gd name="connsiteY0" fmla="*/ 0 h 72719"/>
                  <a:gd name="connsiteX1" fmla="*/ 111277 w 111277"/>
                  <a:gd name="connsiteY1" fmla="*/ 64932 h 72719"/>
                  <a:gd name="connsiteX2" fmla="*/ 111277 w 111277"/>
                  <a:gd name="connsiteY2" fmla="*/ 72719 h 72719"/>
                  <a:gd name="connsiteX3" fmla="*/ 0 w 111277"/>
                  <a:gd name="connsiteY3" fmla="*/ 7787 h 72719"/>
                  <a:gd name="connsiteX4" fmla="*/ 0 w 111277"/>
                  <a:gd name="connsiteY4" fmla="*/ 0 h 7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2719">
                    <a:moveTo>
                      <a:pt x="0" y="0"/>
                    </a:moveTo>
                    <a:lnTo>
                      <a:pt x="111277" y="64932"/>
                    </a:lnTo>
                    <a:lnTo>
                      <a:pt x="111277" y="72719"/>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7" name="Freeform: Shape 2206">
                <a:extLst>
                  <a:ext uri="{FF2B5EF4-FFF2-40B4-BE49-F238E27FC236}">
                    <a16:creationId xmlns:a16="http://schemas.microsoft.com/office/drawing/2014/main" id="{27F5DC0D-CB36-4410-8948-3B9F8FCF4BD6}"/>
                  </a:ext>
                </a:extLst>
              </p:cNvPr>
              <p:cNvSpPr/>
              <p:nvPr/>
            </p:nvSpPr>
            <p:spPr>
              <a:xfrm>
                <a:off x="4537116" y="2209564"/>
                <a:ext cx="111402" cy="72719"/>
              </a:xfrm>
              <a:custGeom>
                <a:avLst/>
                <a:gdLst>
                  <a:gd name="connsiteX0" fmla="*/ 0 w 111402"/>
                  <a:gd name="connsiteY0" fmla="*/ 0 h 72719"/>
                  <a:gd name="connsiteX1" fmla="*/ 111403 w 111402"/>
                  <a:gd name="connsiteY1" fmla="*/ 64932 h 72719"/>
                  <a:gd name="connsiteX2" fmla="*/ 111403 w 111402"/>
                  <a:gd name="connsiteY2" fmla="*/ 72719 h 72719"/>
                  <a:gd name="connsiteX3" fmla="*/ 0 w 111402"/>
                  <a:gd name="connsiteY3" fmla="*/ 7787 h 72719"/>
                  <a:gd name="connsiteX4" fmla="*/ 0 w 111402"/>
                  <a:gd name="connsiteY4" fmla="*/ 0 h 7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2719">
                    <a:moveTo>
                      <a:pt x="0" y="0"/>
                    </a:moveTo>
                    <a:lnTo>
                      <a:pt x="111403" y="64932"/>
                    </a:lnTo>
                    <a:lnTo>
                      <a:pt x="111403" y="72719"/>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8" name="Freeform: Shape 2207">
                <a:extLst>
                  <a:ext uri="{FF2B5EF4-FFF2-40B4-BE49-F238E27FC236}">
                    <a16:creationId xmlns:a16="http://schemas.microsoft.com/office/drawing/2014/main" id="{98BB7E9C-6C7C-4897-92F7-564C5C57F394}"/>
                  </a:ext>
                </a:extLst>
              </p:cNvPr>
              <p:cNvSpPr/>
              <p:nvPr/>
            </p:nvSpPr>
            <p:spPr>
              <a:xfrm>
                <a:off x="4408506" y="2145260"/>
                <a:ext cx="111277" cy="72593"/>
              </a:xfrm>
              <a:custGeom>
                <a:avLst/>
                <a:gdLst>
                  <a:gd name="connsiteX0" fmla="*/ 0 w 111277"/>
                  <a:gd name="connsiteY0" fmla="*/ 0 h 72593"/>
                  <a:gd name="connsiteX1" fmla="*/ 111277 w 111277"/>
                  <a:gd name="connsiteY1" fmla="*/ 64807 h 72593"/>
                  <a:gd name="connsiteX2" fmla="*/ 111277 w 111277"/>
                  <a:gd name="connsiteY2" fmla="*/ 72594 h 72593"/>
                  <a:gd name="connsiteX3" fmla="*/ 0 w 111277"/>
                  <a:gd name="connsiteY3" fmla="*/ 7661 h 72593"/>
                  <a:gd name="connsiteX4" fmla="*/ 0 w 111277"/>
                  <a:gd name="connsiteY4" fmla="*/ 0 h 72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2593">
                    <a:moveTo>
                      <a:pt x="0" y="0"/>
                    </a:moveTo>
                    <a:lnTo>
                      <a:pt x="111277" y="64807"/>
                    </a:lnTo>
                    <a:lnTo>
                      <a:pt x="111277" y="72594"/>
                    </a:lnTo>
                    <a:lnTo>
                      <a:pt x="0" y="7661"/>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9" name="Freeform: Shape 2208">
                <a:extLst>
                  <a:ext uri="{FF2B5EF4-FFF2-40B4-BE49-F238E27FC236}">
                    <a16:creationId xmlns:a16="http://schemas.microsoft.com/office/drawing/2014/main" id="{DD39CB5E-11EB-417A-BA03-20BB8C1935D2}"/>
                  </a:ext>
                </a:extLst>
              </p:cNvPr>
              <p:cNvSpPr/>
              <p:nvPr/>
            </p:nvSpPr>
            <p:spPr>
              <a:xfrm>
                <a:off x="4537116" y="2220240"/>
                <a:ext cx="111402" cy="72593"/>
              </a:xfrm>
              <a:custGeom>
                <a:avLst/>
                <a:gdLst>
                  <a:gd name="connsiteX0" fmla="*/ 0 w 111402"/>
                  <a:gd name="connsiteY0" fmla="*/ 0 h 72593"/>
                  <a:gd name="connsiteX1" fmla="*/ 111403 w 111402"/>
                  <a:gd name="connsiteY1" fmla="*/ 64807 h 72593"/>
                  <a:gd name="connsiteX2" fmla="*/ 111403 w 111402"/>
                  <a:gd name="connsiteY2" fmla="*/ 72594 h 72593"/>
                  <a:gd name="connsiteX3" fmla="*/ 0 w 111402"/>
                  <a:gd name="connsiteY3" fmla="*/ 7787 h 72593"/>
                  <a:gd name="connsiteX4" fmla="*/ 0 w 111402"/>
                  <a:gd name="connsiteY4" fmla="*/ 0 h 72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2593">
                    <a:moveTo>
                      <a:pt x="0" y="0"/>
                    </a:moveTo>
                    <a:lnTo>
                      <a:pt x="111403" y="64807"/>
                    </a:lnTo>
                    <a:lnTo>
                      <a:pt x="111403" y="72594"/>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10" name="Graphic 4">
                <a:extLst>
                  <a:ext uri="{FF2B5EF4-FFF2-40B4-BE49-F238E27FC236}">
                    <a16:creationId xmlns:a16="http://schemas.microsoft.com/office/drawing/2014/main" id="{84FB7ED1-A2DF-40A1-A747-5F7CF3F14040}"/>
                  </a:ext>
                </a:extLst>
              </p:cNvPr>
              <p:cNvGrpSpPr/>
              <p:nvPr/>
            </p:nvGrpSpPr>
            <p:grpSpPr>
              <a:xfrm>
                <a:off x="4408758" y="2193237"/>
                <a:ext cx="236620" cy="259353"/>
                <a:chOff x="4408758" y="2193237"/>
                <a:chExt cx="236620" cy="259353"/>
              </a:xfrm>
              <a:solidFill>
                <a:schemeClr val="accent1"/>
              </a:solidFill>
            </p:grpSpPr>
            <p:sp>
              <p:nvSpPr>
                <p:cNvPr id="2211" name="Freeform: Shape 2210">
                  <a:extLst>
                    <a:ext uri="{FF2B5EF4-FFF2-40B4-BE49-F238E27FC236}">
                      <a16:creationId xmlns:a16="http://schemas.microsoft.com/office/drawing/2014/main" id="{1C9E2B43-A297-4420-AEB6-0C2ACBEA55F6}"/>
                    </a:ext>
                  </a:extLst>
                </p:cNvPr>
                <p:cNvSpPr/>
                <p:nvPr/>
              </p:nvSpPr>
              <p:spPr>
                <a:xfrm>
                  <a:off x="4408758" y="2193237"/>
                  <a:ext cx="236620" cy="259353"/>
                </a:xfrm>
                <a:custGeom>
                  <a:avLst/>
                  <a:gdLst>
                    <a:gd name="connsiteX0" fmla="*/ 0 w 236620"/>
                    <a:gd name="connsiteY0" fmla="*/ 0 h 259353"/>
                    <a:gd name="connsiteX1" fmla="*/ 0 w 236620"/>
                    <a:gd name="connsiteY1" fmla="*/ 121450 h 259353"/>
                    <a:gd name="connsiteX2" fmla="*/ 236621 w 236620"/>
                    <a:gd name="connsiteY2" fmla="*/ 259353 h 259353"/>
                  </a:gdLst>
                  <a:ahLst/>
                  <a:cxnLst>
                    <a:cxn ang="0">
                      <a:pos x="connsiteX0" y="connsiteY0"/>
                    </a:cxn>
                    <a:cxn ang="0">
                      <a:pos x="connsiteX1" y="connsiteY1"/>
                    </a:cxn>
                    <a:cxn ang="0">
                      <a:pos x="connsiteX2" y="connsiteY2"/>
                    </a:cxn>
                  </a:cxnLst>
                  <a:rect l="l" t="t" r="r" b="b"/>
                  <a:pathLst>
                    <a:path w="236620" h="259353">
                      <a:moveTo>
                        <a:pt x="0" y="0"/>
                      </a:moveTo>
                      <a:lnTo>
                        <a:pt x="0" y="121450"/>
                      </a:lnTo>
                      <a:lnTo>
                        <a:pt x="236621" y="259353"/>
                      </a:lnTo>
                    </a:path>
                  </a:pathLst>
                </a:custGeom>
                <a:noFill/>
                <a:ln w="6368"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2" name="Freeform: Shape 2211">
                  <a:extLst>
                    <a:ext uri="{FF2B5EF4-FFF2-40B4-BE49-F238E27FC236}">
                      <a16:creationId xmlns:a16="http://schemas.microsoft.com/office/drawing/2014/main" id="{321C0A9A-BFA9-4CB0-B51C-15861A3378E6}"/>
                    </a:ext>
                  </a:extLst>
                </p:cNvPr>
                <p:cNvSpPr/>
                <p:nvPr/>
              </p:nvSpPr>
              <p:spPr>
                <a:xfrm>
                  <a:off x="4418554" y="2290196"/>
                  <a:ext cx="23486" cy="43706"/>
                </a:xfrm>
                <a:custGeom>
                  <a:avLst/>
                  <a:gdLst>
                    <a:gd name="connsiteX0" fmla="*/ 0 w 23486"/>
                    <a:gd name="connsiteY0" fmla="*/ 0 h 43706"/>
                    <a:gd name="connsiteX1" fmla="*/ 23486 w 23486"/>
                    <a:gd name="connsiteY1" fmla="*/ 13690 h 43706"/>
                    <a:gd name="connsiteX2" fmla="*/ 23486 w 23486"/>
                    <a:gd name="connsiteY2" fmla="*/ 43707 h 43706"/>
                    <a:gd name="connsiteX3" fmla="*/ 0 w 23486"/>
                    <a:gd name="connsiteY3" fmla="*/ 30017 h 43706"/>
                    <a:gd name="connsiteX4" fmla="*/ 0 w 23486"/>
                    <a:gd name="connsiteY4" fmla="*/ 0 h 43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43706">
                      <a:moveTo>
                        <a:pt x="0" y="0"/>
                      </a:moveTo>
                      <a:lnTo>
                        <a:pt x="23486" y="13690"/>
                      </a:lnTo>
                      <a:lnTo>
                        <a:pt x="23486" y="43707"/>
                      </a:lnTo>
                      <a:lnTo>
                        <a:pt x="0" y="30017"/>
                      </a:lnTo>
                      <a:lnTo>
                        <a:pt x="0" y="0"/>
                      </a:lnTo>
                      <a:close/>
                    </a:path>
                  </a:pathLst>
                </a:custGeom>
                <a:solidFill>
                  <a:srgbClr val="F8B0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3" name="Freeform: Shape 2212">
                  <a:extLst>
                    <a:ext uri="{FF2B5EF4-FFF2-40B4-BE49-F238E27FC236}">
                      <a16:creationId xmlns:a16="http://schemas.microsoft.com/office/drawing/2014/main" id="{4C2AD63E-23C7-4730-AD2F-0F15026BE19D}"/>
                    </a:ext>
                  </a:extLst>
                </p:cNvPr>
                <p:cNvSpPr/>
                <p:nvPr/>
              </p:nvSpPr>
              <p:spPr>
                <a:xfrm>
                  <a:off x="4460000" y="2282786"/>
                  <a:ext cx="23486" cy="75231"/>
                </a:xfrm>
                <a:custGeom>
                  <a:avLst/>
                  <a:gdLst>
                    <a:gd name="connsiteX0" fmla="*/ 0 w 23486"/>
                    <a:gd name="connsiteY0" fmla="*/ 0 h 75231"/>
                    <a:gd name="connsiteX1" fmla="*/ 23486 w 23486"/>
                    <a:gd name="connsiteY1" fmla="*/ 13690 h 75231"/>
                    <a:gd name="connsiteX2" fmla="*/ 23486 w 23486"/>
                    <a:gd name="connsiteY2" fmla="*/ 75231 h 75231"/>
                    <a:gd name="connsiteX3" fmla="*/ 0 w 23486"/>
                    <a:gd name="connsiteY3" fmla="*/ 61541 h 75231"/>
                    <a:gd name="connsiteX4" fmla="*/ 0 w 23486"/>
                    <a:gd name="connsiteY4" fmla="*/ 0 h 75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75231">
                      <a:moveTo>
                        <a:pt x="0" y="0"/>
                      </a:moveTo>
                      <a:lnTo>
                        <a:pt x="23486" y="13690"/>
                      </a:lnTo>
                      <a:lnTo>
                        <a:pt x="23486" y="75231"/>
                      </a:lnTo>
                      <a:lnTo>
                        <a:pt x="0" y="61541"/>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4" name="Freeform: Shape 2213">
                  <a:extLst>
                    <a:ext uri="{FF2B5EF4-FFF2-40B4-BE49-F238E27FC236}">
                      <a16:creationId xmlns:a16="http://schemas.microsoft.com/office/drawing/2014/main" id="{11E3EDC8-A8E8-4FB6-87CA-65C00C3A6394}"/>
                    </a:ext>
                  </a:extLst>
                </p:cNvPr>
                <p:cNvSpPr/>
                <p:nvPr/>
              </p:nvSpPr>
              <p:spPr>
                <a:xfrm>
                  <a:off x="4501321" y="2326870"/>
                  <a:ext cx="23486" cy="55261"/>
                </a:xfrm>
                <a:custGeom>
                  <a:avLst/>
                  <a:gdLst>
                    <a:gd name="connsiteX0" fmla="*/ 0 w 23486"/>
                    <a:gd name="connsiteY0" fmla="*/ 0 h 55261"/>
                    <a:gd name="connsiteX1" fmla="*/ 23486 w 23486"/>
                    <a:gd name="connsiteY1" fmla="*/ 13690 h 55261"/>
                    <a:gd name="connsiteX2" fmla="*/ 23486 w 23486"/>
                    <a:gd name="connsiteY2" fmla="*/ 55262 h 55261"/>
                    <a:gd name="connsiteX3" fmla="*/ 0 w 23486"/>
                    <a:gd name="connsiteY3" fmla="*/ 41572 h 55261"/>
                    <a:gd name="connsiteX4" fmla="*/ 0 w 23486"/>
                    <a:gd name="connsiteY4" fmla="*/ 0 h 55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55261">
                      <a:moveTo>
                        <a:pt x="0" y="0"/>
                      </a:moveTo>
                      <a:lnTo>
                        <a:pt x="23486" y="13690"/>
                      </a:lnTo>
                      <a:lnTo>
                        <a:pt x="23486" y="55262"/>
                      </a:lnTo>
                      <a:lnTo>
                        <a:pt x="0" y="41572"/>
                      </a:lnTo>
                      <a:lnTo>
                        <a:pt x="0" y="0"/>
                      </a:lnTo>
                      <a:close/>
                    </a:path>
                  </a:pathLst>
                </a:custGeom>
                <a:solidFill>
                  <a:srgbClr val="F8B0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5" name="Freeform: Shape 2214">
                  <a:extLst>
                    <a:ext uri="{FF2B5EF4-FFF2-40B4-BE49-F238E27FC236}">
                      <a16:creationId xmlns:a16="http://schemas.microsoft.com/office/drawing/2014/main" id="{512A2A80-37F0-4A6E-9125-98A7C4167F6F}"/>
                    </a:ext>
                  </a:extLst>
                </p:cNvPr>
                <p:cNvSpPr/>
                <p:nvPr/>
              </p:nvSpPr>
              <p:spPr>
                <a:xfrm>
                  <a:off x="4542767" y="2307528"/>
                  <a:ext cx="23486" cy="98717"/>
                </a:xfrm>
                <a:custGeom>
                  <a:avLst/>
                  <a:gdLst>
                    <a:gd name="connsiteX0" fmla="*/ 0 w 23486"/>
                    <a:gd name="connsiteY0" fmla="*/ 0 h 98717"/>
                    <a:gd name="connsiteX1" fmla="*/ 23486 w 23486"/>
                    <a:gd name="connsiteY1" fmla="*/ 13690 h 98717"/>
                    <a:gd name="connsiteX2" fmla="*/ 23486 w 23486"/>
                    <a:gd name="connsiteY2" fmla="*/ 98718 h 98717"/>
                    <a:gd name="connsiteX3" fmla="*/ 0 w 23486"/>
                    <a:gd name="connsiteY3" fmla="*/ 85028 h 98717"/>
                    <a:gd name="connsiteX4" fmla="*/ 0 w 23486"/>
                    <a:gd name="connsiteY4" fmla="*/ 0 h 98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98717">
                      <a:moveTo>
                        <a:pt x="0" y="0"/>
                      </a:moveTo>
                      <a:lnTo>
                        <a:pt x="23486" y="13690"/>
                      </a:lnTo>
                      <a:lnTo>
                        <a:pt x="23486" y="98718"/>
                      </a:lnTo>
                      <a:lnTo>
                        <a:pt x="0" y="85028"/>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6" name="Freeform: Shape 2215">
                  <a:extLst>
                    <a:ext uri="{FF2B5EF4-FFF2-40B4-BE49-F238E27FC236}">
                      <a16:creationId xmlns:a16="http://schemas.microsoft.com/office/drawing/2014/main" id="{E5B54775-6733-400B-9749-384075D5D33A}"/>
                    </a:ext>
                  </a:extLst>
                </p:cNvPr>
                <p:cNvSpPr/>
                <p:nvPr/>
              </p:nvSpPr>
              <p:spPr>
                <a:xfrm>
                  <a:off x="4580571" y="2354124"/>
                  <a:ext cx="23486" cy="74100"/>
                </a:xfrm>
                <a:custGeom>
                  <a:avLst/>
                  <a:gdLst>
                    <a:gd name="connsiteX0" fmla="*/ 0 w 23486"/>
                    <a:gd name="connsiteY0" fmla="*/ 0 h 74100"/>
                    <a:gd name="connsiteX1" fmla="*/ 23486 w 23486"/>
                    <a:gd name="connsiteY1" fmla="*/ 13690 h 74100"/>
                    <a:gd name="connsiteX2" fmla="*/ 23486 w 23486"/>
                    <a:gd name="connsiteY2" fmla="*/ 74101 h 74100"/>
                    <a:gd name="connsiteX3" fmla="*/ 0 w 23486"/>
                    <a:gd name="connsiteY3" fmla="*/ 60411 h 74100"/>
                    <a:gd name="connsiteX4" fmla="*/ 0 w 23486"/>
                    <a:gd name="connsiteY4" fmla="*/ 0 h 74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74100">
                      <a:moveTo>
                        <a:pt x="0" y="0"/>
                      </a:moveTo>
                      <a:lnTo>
                        <a:pt x="23486" y="13690"/>
                      </a:lnTo>
                      <a:lnTo>
                        <a:pt x="23486" y="74101"/>
                      </a:lnTo>
                      <a:lnTo>
                        <a:pt x="0" y="60411"/>
                      </a:lnTo>
                      <a:lnTo>
                        <a:pt x="0" y="0"/>
                      </a:lnTo>
                      <a:close/>
                    </a:path>
                  </a:pathLst>
                </a:custGeom>
                <a:solidFill>
                  <a:srgbClr val="F8B0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7" name="Freeform: Shape 2216">
                  <a:extLst>
                    <a:ext uri="{FF2B5EF4-FFF2-40B4-BE49-F238E27FC236}">
                      <a16:creationId xmlns:a16="http://schemas.microsoft.com/office/drawing/2014/main" id="{51A955C0-DEDD-4E8D-A4E5-9319A8927881}"/>
                    </a:ext>
                  </a:extLst>
                </p:cNvPr>
                <p:cNvSpPr/>
                <p:nvPr/>
              </p:nvSpPr>
              <p:spPr>
                <a:xfrm>
                  <a:off x="4621892" y="2326996"/>
                  <a:ext cx="23486" cy="125343"/>
                </a:xfrm>
                <a:custGeom>
                  <a:avLst/>
                  <a:gdLst>
                    <a:gd name="connsiteX0" fmla="*/ 0 w 23486"/>
                    <a:gd name="connsiteY0" fmla="*/ 0 h 125343"/>
                    <a:gd name="connsiteX1" fmla="*/ 23486 w 23486"/>
                    <a:gd name="connsiteY1" fmla="*/ 13690 h 125343"/>
                    <a:gd name="connsiteX2" fmla="*/ 23486 w 23486"/>
                    <a:gd name="connsiteY2" fmla="*/ 125344 h 125343"/>
                    <a:gd name="connsiteX3" fmla="*/ 0 w 23486"/>
                    <a:gd name="connsiteY3" fmla="*/ 111654 h 125343"/>
                    <a:gd name="connsiteX4" fmla="*/ 0 w 23486"/>
                    <a:gd name="connsiteY4" fmla="*/ 0 h 125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125343">
                      <a:moveTo>
                        <a:pt x="0" y="0"/>
                      </a:moveTo>
                      <a:lnTo>
                        <a:pt x="23486" y="13690"/>
                      </a:lnTo>
                      <a:lnTo>
                        <a:pt x="23486" y="125344"/>
                      </a:lnTo>
                      <a:lnTo>
                        <a:pt x="0" y="111654"/>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218" name="Freeform: Shape 2217">
                <a:extLst>
                  <a:ext uri="{FF2B5EF4-FFF2-40B4-BE49-F238E27FC236}">
                    <a16:creationId xmlns:a16="http://schemas.microsoft.com/office/drawing/2014/main" id="{400EBDB7-3756-4064-AFA6-A1FBF1DE0319}"/>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9" name="Freeform: Shape 2218">
                <a:extLst>
                  <a:ext uri="{FF2B5EF4-FFF2-40B4-BE49-F238E27FC236}">
                    <a16:creationId xmlns:a16="http://schemas.microsoft.com/office/drawing/2014/main" id="{558F00F7-4FFF-405D-9D7A-7B70FF4B5FED}"/>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0" name="Freeform: Shape 2219">
                <a:extLst>
                  <a:ext uri="{FF2B5EF4-FFF2-40B4-BE49-F238E27FC236}">
                    <a16:creationId xmlns:a16="http://schemas.microsoft.com/office/drawing/2014/main" id="{20BDA133-9290-49D2-989C-6BAFA6FBBBBE}"/>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1" name="Freeform: Shape 2220">
                <a:extLst>
                  <a:ext uri="{FF2B5EF4-FFF2-40B4-BE49-F238E27FC236}">
                    <a16:creationId xmlns:a16="http://schemas.microsoft.com/office/drawing/2014/main" id="{48B69DBA-0525-4414-A1FC-923EF6C07279}"/>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2" name="Freeform: Shape 2221">
                <a:extLst>
                  <a:ext uri="{FF2B5EF4-FFF2-40B4-BE49-F238E27FC236}">
                    <a16:creationId xmlns:a16="http://schemas.microsoft.com/office/drawing/2014/main" id="{EF38A3F5-D8DE-4DDE-BA12-666B14C356D1}"/>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3" name="Freeform: Shape 2222">
                <a:extLst>
                  <a:ext uri="{FF2B5EF4-FFF2-40B4-BE49-F238E27FC236}">
                    <a16:creationId xmlns:a16="http://schemas.microsoft.com/office/drawing/2014/main" id="{12EEFBFA-A6DE-403F-A539-E76AE3D59F19}"/>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4" name="Freeform: Shape 2223">
                <a:extLst>
                  <a:ext uri="{FF2B5EF4-FFF2-40B4-BE49-F238E27FC236}">
                    <a16:creationId xmlns:a16="http://schemas.microsoft.com/office/drawing/2014/main" id="{2EB3188B-1695-4715-84A1-82107F55BE7F}"/>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5" name="Freeform: Shape 2224">
                <a:extLst>
                  <a:ext uri="{FF2B5EF4-FFF2-40B4-BE49-F238E27FC236}">
                    <a16:creationId xmlns:a16="http://schemas.microsoft.com/office/drawing/2014/main" id="{22EF497E-F4C3-4D53-999F-F2D54508D105}"/>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6" name="Freeform: Shape 2225">
                <a:extLst>
                  <a:ext uri="{FF2B5EF4-FFF2-40B4-BE49-F238E27FC236}">
                    <a16:creationId xmlns:a16="http://schemas.microsoft.com/office/drawing/2014/main" id="{8FCD660B-D2F1-452A-8120-40F3A38CDECB}"/>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7" name="Freeform: Shape 2226">
                <a:extLst>
                  <a:ext uri="{FF2B5EF4-FFF2-40B4-BE49-F238E27FC236}">
                    <a16:creationId xmlns:a16="http://schemas.microsoft.com/office/drawing/2014/main" id="{ABF02BE7-728B-49FF-8C49-BD5D8D312FC6}"/>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8" name="Freeform: Shape 2227">
                <a:extLst>
                  <a:ext uri="{FF2B5EF4-FFF2-40B4-BE49-F238E27FC236}">
                    <a16:creationId xmlns:a16="http://schemas.microsoft.com/office/drawing/2014/main" id="{82F8DBDC-EA43-43A7-989B-9AEF9B9C881D}"/>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9" name="Freeform: Shape 2228">
                <a:extLst>
                  <a:ext uri="{FF2B5EF4-FFF2-40B4-BE49-F238E27FC236}">
                    <a16:creationId xmlns:a16="http://schemas.microsoft.com/office/drawing/2014/main" id="{FC3ABD24-F507-4CDA-85F1-A5A7D350D0D4}"/>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0" name="Freeform: Shape 2229">
                <a:extLst>
                  <a:ext uri="{FF2B5EF4-FFF2-40B4-BE49-F238E27FC236}">
                    <a16:creationId xmlns:a16="http://schemas.microsoft.com/office/drawing/2014/main" id="{7468D1E0-4A76-4BFE-8C18-4B12AAC92B7F}"/>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1" name="Freeform: Shape 2230">
                <a:extLst>
                  <a:ext uri="{FF2B5EF4-FFF2-40B4-BE49-F238E27FC236}">
                    <a16:creationId xmlns:a16="http://schemas.microsoft.com/office/drawing/2014/main" id="{C98A4CAE-323A-4DC8-ACD9-624018C823A6}"/>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2" name="Freeform: Shape 2231">
                <a:extLst>
                  <a:ext uri="{FF2B5EF4-FFF2-40B4-BE49-F238E27FC236}">
                    <a16:creationId xmlns:a16="http://schemas.microsoft.com/office/drawing/2014/main" id="{7AB7359E-EF21-413B-BFEC-17AAA6E325E8}"/>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3" name="Freeform: Shape 2232">
                <a:extLst>
                  <a:ext uri="{FF2B5EF4-FFF2-40B4-BE49-F238E27FC236}">
                    <a16:creationId xmlns:a16="http://schemas.microsoft.com/office/drawing/2014/main" id="{C42B0BA9-4A64-4CBF-AE2C-E09FDD62881F}"/>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4" name="Freeform: Shape 2233">
                <a:extLst>
                  <a:ext uri="{FF2B5EF4-FFF2-40B4-BE49-F238E27FC236}">
                    <a16:creationId xmlns:a16="http://schemas.microsoft.com/office/drawing/2014/main" id="{03541AB0-41EC-4EC4-B31D-4C8E13E1683B}"/>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5" name="Freeform: Shape 2234">
                <a:extLst>
                  <a:ext uri="{FF2B5EF4-FFF2-40B4-BE49-F238E27FC236}">
                    <a16:creationId xmlns:a16="http://schemas.microsoft.com/office/drawing/2014/main" id="{6885AECD-DDCA-4029-85C8-E0FCD283CFBC}"/>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6" name="Freeform: Shape 2235">
                <a:extLst>
                  <a:ext uri="{FF2B5EF4-FFF2-40B4-BE49-F238E27FC236}">
                    <a16:creationId xmlns:a16="http://schemas.microsoft.com/office/drawing/2014/main" id="{DD816C5D-CB9B-4BE4-871A-D824D3ECD167}"/>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7" name="Freeform: Shape 2236">
                <a:extLst>
                  <a:ext uri="{FF2B5EF4-FFF2-40B4-BE49-F238E27FC236}">
                    <a16:creationId xmlns:a16="http://schemas.microsoft.com/office/drawing/2014/main" id="{15755860-E95E-46BD-B780-810F7DD7FF97}"/>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8" name="Freeform: Shape 2237">
                <a:extLst>
                  <a:ext uri="{FF2B5EF4-FFF2-40B4-BE49-F238E27FC236}">
                    <a16:creationId xmlns:a16="http://schemas.microsoft.com/office/drawing/2014/main" id="{25F76C8F-9CF9-4461-A80E-7FE2B57D5306}"/>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9" name="Freeform: Shape 2238">
                <a:extLst>
                  <a:ext uri="{FF2B5EF4-FFF2-40B4-BE49-F238E27FC236}">
                    <a16:creationId xmlns:a16="http://schemas.microsoft.com/office/drawing/2014/main" id="{B2D15231-E4D0-4B84-B327-DC57C523410F}"/>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0" name="Freeform: Shape 2239">
                <a:extLst>
                  <a:ext uri="{FF2B5EF4-FFF2-40B4-BE49-F238E27FC236}">
                    <a16:creationId xmlns:a16="http://schemas.microsoft.com/office/drawing/2014/main" id="{4D093B9D-6AE1-4D6C-9A31-A5CD5033F606}"/>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1" name="Freeform: Shape 2240">
                <a:extLst>
                  <a:ext uri="{FF2B5EF4-FFF2-40B4-BE49-F238E27FC236}">
                    <a16:creationId xmlns:a16="http://schemas.microsoft.com/office/drawing/2014/main" id="{0535BBB0-6B9B-43B2-9728-FB7C4B5A2AEB}"/>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2" name="Freeform: Shape 2241">
                <a:extLst>
                  <a:ext uri="{FF2B5EF4-FFF2-40B4-BE49-F238E27FC236}">
                    <a16:creationId xmlns:a16="http://schemas.microsoft.com/office/drawing/2014/main" id="{C7898F76-5EED-4C37-9CCE-3802DD473C59}"/>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3" name="Freeform: Shape 2242">
                <a:extLst>
                  <a:ext uri="{FF2B5EF4-FFF2-40B4-BE49-F238E27FC236}">
                    <a16:creationId xmlns:a16="http://schemas.microsoft.com/office/drawing/2014/main" id="{6B1A34E5-0041-4C6C-95A4-5123F9EC902D}"/>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4" name="Freeform: Shape 2243">
                <a:extLst>
                  <a:ext uri="{FF2B5EF4-FFF2-40B4-BE49-F238E27FC236}">
                    <a16:creationId xmlns:a16="http://schemas.microsoft.com/office/drawing/2014/main" id="{01A01ED8-B4DF-45E4-BEB1-17B0C9528C6C}"/>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5" name="Freeform: Shape 2244">
                <a:extLst>
                  <a:ext uri="{FF2B5EF4-FFF2-40B4-BE49-F238E27FC236}">
                    <a16:creationId xmlns:a16="http://schemas.microsoft.com/office/drawing/2014/main" id="{054ED632-4621-4A4A-B688-884FBDBE6642}"/>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6" name="Freeform: Shape 2245">
                <a:extLst>
                  <a:ext uri="{FF2B5EF4-FFF2-40B4-BE49-F238E27FC236}">
                    <a16:creationId xmlns:a16="http://schemas.microsoft.com/office/drawing/2014/main" id="{76E015CE-F881-4440-BBE4-76F7EDD59555}"/>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7" name="Freeform: Shape 2246">
                <a:extLst>
                  <a:ext uri="{FF2B5EF4-FFF2-40B4-BE49-F238E27FC236}">
                    <a16:creationId xmlns:a16="http://schemas.microsoft.com/office/drawing/2014/main" id="{DA0227E3-B742-4041-8321-C7179BC4ABD9}"/>
                  </a:ext>
                </a:extLst>
              </p:cNvPr>
              <p:cNvSpPr/>
              <p:nvPr/>
            </p:nvSpPr>
            <p:spPr>
              <a:xfrm>
                <a:off x="4430234" y="2247996"/>
                <a:ext cx="203463" cy="81887"/>
              </a:xfrm>
              <a:custGeom>
                <a:avLst/>
                <a:gdLst>
                  <a:gd name="connsiteX0" fmla="*/ 0 w 203463"/>
                  <a:gd name="connsiteY0" fmla="*/ 5024 h 81887"/>
                  <a:gd name="connsiteX1" fmla="*/ 41446 w 203463"/>
                  <a:gd name="connsiteY1" fmla="*/ 0 h 81887"/>
                  <a:gd name="connsiteX2" fmla="*/ 82893 w 203463"/>
                  <a:gd name="connsiteY2" fmla="*/ 50615 h 81887"/>
                  <a:gd name="connsiteX3" fmla="*/ 124213 w 203463"/>
                  <a:gd name="connsiteY3" fmla="*/ 35920 h 81887"/>
                  <a:gd name="connsiteX4" fmla="*/ 162017 w 203463"/>
                  <a:gd name="connsiteY4" fmla="*/ 81888 h 81887"/>
                  <a:gd name="connsiteX5" fmla="*/ 203463 w 203463"/>
                  <a:gd name="connsiteY5" fmla="*/ 56266 h 81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63" h="81887">
                    <a:moveTo>
                      <a:pt x="0" y="5024"/>
                    </a:moveTo>
                    <a:lnTo>
                      <a:pt x="41446" y="0"/>
                    </a:lnTo>
                    <a:lnTo>
                      <a:pt x="82893" y="50615"/>
                    </a:lnTo>
                    <a:lnTo>
                      <a:pt x="124213" y="35920"/>
                    </a:lnTo>
                    <a:lnTo>
                      <a:pt x="162017" y="81888"/>
                    </a:lnTo>
                    <a:lnTo>
                      <a:pt x="203463" y="56266"/>
                    </a:lnTo>
                  </a:path>
                </a:pathLst>
              </a:custGeom>
              <a:noFill/>
              <a:ln w="12558" cap="flat">
                <a:solidFill>
                  <a:srgbClr val="605E5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8" name="Freeform: Shape 2247">
                <a:extLst>
                  <a:ext uri="{FF2B5EF4-FFF2-40B4-BE49-F238E27FC236}">
                    <a16:creationId xmlns:a16="http://schemas.microsoft.com/office/drawing/2014/main" id="{9447982D-AB42-4E0D-901E-CDE9DA270800}"/>
                  </a:ext>
                </a:extLst>
              </p:cNvPr>
              <p:cNvSpPr/>
              <p:nvPr/>
            </p:nvSpPr>
            <p:spPr>
              <a:xfrm>
                <a:off x="4421364" y="2243283"/>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10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0" y="18932"/>
                      <a:pt x="8340" y="17101"/>
                      <a:pt x="5373" y="13170"/>
                    </a:cubicBezTo>
                    <a:cubicBezTo>
                      <a:pt x="2406" y="9240"/>
                      <a:pt x="1795" y="4698"/>
                      <a:pt x="4010" y="3027"/>
                    </a:cubicBezTo>
                    <a:cubicBezTo>
                      <a:pt x="6224" y="1355"/>
                      <a:pt x="10424" y="3186"/>
                      <a:pt x="13392" y="7117"/>
                    </a:cubicBezTo>
                    <a:close/>
                  </a:path>
                </a:pathLst>
              </a:custGeom>
              <a:solidFill>
                <a:srgbClr val="F8B025"/>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9" name="Freeform: Shape 2248">
                <a:extLst>
                  <a:ext uri="{FF2B5EF4-FFF2-40B4-BE49-F238E27FC236}">
                    <a16:creationId xmlns:a16="http://schemas.microsoft.com/office/drawing/2014/main" id="{F233DEC9-3F8C-45E7-9CB8-C1C68086A2F0}"/>
                  </a:ext>
                </a:extLst>
              </p:cNvPr>
              <p:cNvSpPr/>
              <p:nvPr/>
            </p:nvSpPr>
            <p:spPr>
              <a:xfrm>
                <a:off x="4503730" y="2288483"/>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10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0" y="18932"/>
                      <a:pt x="8340" y="17101"/>
                      <a:pt x="5373" y="13170"/>
                    </a:cubicBezTo>
                    <a:cubicBezTo>
                      <a:pt x="2406" y="9240"/>
                      <a:pt x="1795" y="4698"/>
                      <a:pt x="4010" y="3027"/>
                    </a:cubicBezTo>
                    <a:cubicBezTo>
                      <a:pt x="6224" y="1355"/>
                      <a:pt x="10424" y="3186"/>
                      <a:pt x="13392" y="7117"/>
                    </a:cubicBezTo>
                    <a:close/>
                  </a:path>
                </a:pathLst>
              </a:custGeom>
              <a:solidFill>
                <a:srgbClr val="F8B025"/>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0" name="Freeform: Shape 2249">
                <a:extLst>
                  <a:ext uri="{FF2B5EF4-FFF2-40B4-BE49-F238E27FC236}">
                    <a16:creationId xmlns:a16="http://schemas.microsoft.com/office/drawing/2014/main" id="{52E41A79-5614-4AFB-9164-09A1FF43B7B5}"/>
                  </a:ext>
                </a:extLst>
              </p:cNvPr>
              <p:cNvSpPr/>
              <p:nvPr/>
            </p:nvSpPr>
            <p:spPr>
              <a:xfrm>
                <a:off x="4582892" y="2318532"/>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09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0" y="18932"/>
                      <a:pt x="8340" y="17101"/>
                      <a:pt x="5373" y="13170"/>
                    </a:cubicBezTo>
                    <a:cubicBezTo>
                      <a:pt x="2405" y="9240"/>
                      <a:pt x="1795" y="4699"/>
                      <a:pt x="4009" y="3027"/>
                    </a:cubicBezTo>
                    <a:cubicBezTo>
                      <a:pt x="6224" y="1355"/>
                      <a:pt x="10424" y="3186"/>
                      <a:pt x="13392" y="7117"/>
                    </a:cubicBezTo>
                    <a:close/>
                  </a:path>
                </a:pathLst>
              </a:custGeom>
              <a:solidFill>
                <a:srgbClr val="F8B025"/>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1" name="Freeform: Shape 2250">
                <a:extLst>
                  <a:ext uri="{FF2B5EF4-FFF2-40B4-BE49-F238E27FC236}">
                    <a16:creationId xmlns:a16="http://schemas.microsoft.com/office/drawing/2014/main" id="{23028DF6-F986-43A0-868C-C038D32B4196}"/>
                  </a:ext>
                </a:extLst>
              </p:cNvPr>
              <p:cNvSpPr/>
              <p:nvPr/>
            </p:nvSpPr>
            <p:spPr>
              <a:xfrm>
                <a:off x="4462293" y="2238896"/>
                <a:ext cx="18764" cy="20287"/>
              </a:xfrm>
              <a:custGeom>
                <a:avLst/>
                <a:gdLst>
                  <a:gd name="connsiteX0" fmla="*/ 13391 w 18764"/>
                  <a:gd name="connsiteY0" fmla="*/ 7117 h 20287"/>
                  <a:gd name="connsiteX1" fmla="*/ 14755 w 18764"/>
                  <a:gd name="connsiteY1" fmla="*/ 17261 h 20287"/>
                  <a:gd name="connsiteX2" fmla="*/ 5373 w 18764"/>
                  <a:gd name="connsiteY2" fmla="*/ 13171 h 20287"/>
                  <a:gd name="connsiteX3" fmla="*/ 4009 w 18764"/>
                  <a:gd name="connsiteY3" fmla="*/ 3027 h 20287"/>
                  <a:gd name="connsiteX4" fmla="*/ 13391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1" y="7117"/>
                    </a:moveTo>
                    <a:cubicBezTo>
                      <a:pt x="16359" y="11047"/>
                      <a:pt x="16969" y="15589"/>
                      <a:pt x="14755" y="17261"/>
                    </a:cubicBezTo>
                    <a:cubicBezTo>
                      <a:pt x="12540" y="18932"/>
                      <a:pt x="8340" y="17101"/>
                      <a:pt x="5373" y="13171"/>
                    </a:cubicBezTo>
                    <a:cubicBezTo>
                      <a:pt x="2405" y="9240"/>
                      <a:pt x="1795" y="4699"/>
                      <a:pt x="4009" y="3027"/>
                    </a:cubicBezTo>
                    <a:cubicBezTo>
                      <a:pt x="6224" y="1355"/>
                      <a:pt x="10424" y="3186"/>
                      <a:pt x="13391" y="7117"/>
                    </a:cubicBezTo>
                    <a:close/>
                  </a:path>
                </a:pathLst>
              </a:custGeom>
              <a:solidFill>
                <a:srgbClr val="DD4C42"/>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2" name="Freeform: Shape 2251">
                <a:extLst>
                  <a:ext uri="{FF2B5EF4-FFF2-40B4-BE49-F238E27FC236}">
                    <a16:creationId xmlns:a16="http://schemas.microsoft.com/office/drawing/2014/main" id="{71CEE28B-FEBB-4E89-B522-F4B8DE15E246}"/>
                  </a:ext>
                </a:extLst>
              </p:cNvPr>
              <p:cNvSpPr/>
              <p:nvPr/>
            </p:nvSpPr>
            <p:spPr>
              <a:xfrm>
                <a:off x="4545052" y="2274224"/>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10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1" y="18932"/>
                      <a:pt x="8340" y="17101"/>
                      <a:pt x="5373" y="13170"/>
                    </a:cubicBezTo>
                    <a:cubicBezTo>
                      <a:pt x="2406" y="9240"/>
                      <a:pt x="1795" y="4698"/>
                      <a:pt x="4010" y="3027"/>
                    </a:cubicBezTo>
                    <a:cubicBezTo>
                      <a:pt x="6224" y="1355"/>
                      <a:pt x="10425" y="3186"/>
                      <a:pt x="13392" y="7117"/>
                    </a:cubicBezTo>
                    <a:close/>
                  </a:path>
                </a:pathLst>
              </a:custGeom>
              <a:solidFill>
                <a:srgbClr val="DD4C42"/>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3" name="Freeform: Shape 2252">
                <a:extLst>
                  <a:ext uri="{FF2B5EF4-FFF2-40B4-BE49-F238E27FC236}">
                    <a16:creationId xmlns:a16="http://schemas.microsoft.com/office/drawing/2014/main" id="{320BDF38-D84A-4281-BFFB-F5EE52B08335}"/>
                  </a:ext>
                </a:extLst>
              </p:cNvPr>
              <p:cNvSpPr/>
              <p:nvPr/>
            </p:nvSpPr>
            <p:spPr>
              <a:xfrm>
                <a:off x="4624317" y="2294272"/>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10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0" y="18932"/>
                      <a:pt x="8340" y="17101"/>
                      <a:pt x="5373" y="13170"/>
                    </a:cubicBezTo>
                    <a:cubicBezTo>
                      <a:pt x="2406" y="9240"/>
                      <a:pt x="1795" y="4698"/>
                      <a:pt x="4010" y="3027"/>
                    </a:cubicBezTo>
                    <a:cubicBezTo>
                      <a:pt x="6224" y="1355"/>
                      <a:pt x="10424" y="3186"/>
                      <a:pt x="13392" y="7117"/>
                    </a:cubicBezTo>
                    <a:close/>
                  </a:path>
                </a:pathLst>
              </a:custGeom>
              <a:solidFill>
                <a:srgbClr val="DD4C42"/>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254" name="Graphic 4">
              <a:extLst>
                <a:ext uri="{FF2B5EF4-FFF2-40B4-BE49-F238E27FC236}">
                  <a16:creationId xmlns:a16="http://schemas.microsoft.com/office/drawing/2014/main" id="{84FB7ED1-A2DF-40A1-A747-5F7CF3F14040}"/>
                </a:ext>
              </a:extLst>
            </p:cNvPr>
            <p:cNvGrpSpPr/>
            <p:nvPr/>
          </p:nvGrpSpPr>
          <p:grpSpPr>
            <a:xfrm>
              <a:off x="4338550" y="2140042"/>
              <a:ext cx="155988" cy="335030"/>
              <a:chOff x="4338550" y="2140042"/>
              <a:chExt cx="155988" cy="335030"/>
            </a:xfrm>
            <a:solidFill>
              <a:schemeClr val="accent1"/>
            </a:solidFill>
          </p:grpSpPr>
          <p:sp>
            <p:nvSpPr>
              <p:cNvPr id="2255" name="Freeform: Shape 2254">
                <a:extLst>
                  <a:ext uri="{FF2B5EF4-FFF2-40B4-BE49-F238E27FC236}">
                    <a16:creationId xmlns:a16="http://schemas.microsoft.com/office/drawing/2014/main" id="{87AEC487-FD86-4DA3-9463-BA6621814A5D}"/>
                  </a:ext>
                </a:extLst>
              </p:cNvPr>
              <p:cNvSpPr/>
              <p:nvPr/>
            </p:nvSpPr>
            <p:spPr>
              <a:xfrm>
                <a:off x="4407618" y="2376857"/>
                <a:ext cx="23379" cy="7127"/>
              </a:xfrm>
              <a:custGeom>
                <a:avLst/>
                <a:gdLst>
                  <a:gd name="connsiteX0" fmla="*/ 3401 w 23379"/>
                  <a:gd name="connsiteY0" fmla="*/ 4521 h 7127"/>
                  <a:gd name="connsiteX1" fmla="*/ 19979 w 23379"/>
                  <a:gd name="connsiteY1" fmla="*/ 4521 h 7127"/>
                  <a:gd name="connsiteX2" fmla="*/ 23370 w 23379"/>
                  <a:gd name="connsiteY2" fmla="*/ 0 h 7127"/>
                  <a:gd name="connsiteX3" fmla="*/ 19979 w 23379"/>
                  <a:gd name="connsiteY3" fmla="*/ 5149 h 7127"/>
                  <a:gd name="connsiteX4" fmla="*/ 3401 w 23379"/>
                  <a:gd name="connsiteY4" fmla="*/ 5149 h 7127"/>
                  <a:gd name="connsiteX5" fmla="*/ 9 w 23379"/>
                  <a:gd name="connsiteY5" fmla="*/ 0 h 7127"/>
                  <a:gd name="connsiteX6" fmla="*/ 3401 w 23379"/>
                  <a:gd name="connsiteY6" fmla="*/ 4521 h 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9" h="7127">
                    <a:moveTo>
                      <a:pt x="3401" y="4521"/>
                    </a:moveTo>
                    <a:cubicBezTo>
                      <a:pt x="8048" y="7159"/>
                      <a:pt x="15458" y="7159"/>
                      <a:pt x="19979" y="4521"/>
                    </a:cubicBezTo>
                    <a:cubicBezTo>
                      <a:pt x="22114" y="3265"/>
                      <a:pt x="23244" y="1633"/>
                      <a:pt x="23370" y="0"/>
                    </a:cubicBezTo>
                    <a:cubicBezTo>
                      <a:pt x="23496" y="1884"/>
                      <a:pt x="22366" y="3642"/>
                      <a:pt x="19979" y="5149"/>
                    </a:cubicBezTo>
                    <a:cubicBezTo>
                      <a:pt x="15332" y="7787"/>
                      <a:pt x="7922" y="7787"/>
                      <a:pt x="3401" y="5149"/>
                    </a:cubicBezTo>
                    <a:cubicBezTo>
                      <a:pt x="1014" y="3768"/>
                      <a:pt x="-116" y="1884"/>
                      <a:pt x="9" y="0"/>
                    </a:cubicBezTo>
                    <a:cubicBezTo>
                      <a:pt x="135" y="1633"/>
                      <a:pt x="1265" y="3265"/>
                      <a:pt x="3401" y="4521"/>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6" name="Freeform: Shape 2255">
                <a:extLst>
                  <a:ext uri="{FF2B5EF4-FFF2-40B4-BE49-F238E27FC236}">
                    <a16:creationId xmlns:a16="http://schemas.microsoft.com/office/drawing/2014/main" id="{6E447A6F-760E-4248-A899-0E186A8C9E46}"/>
                  </a:ext>
                </a:extLst>
              </p:cNvPr>
              <p:cNvSpPr/>
              <p:nvPr/>
            </p:nvSpPr>
            <p:spPr>
              <a:xfrm>
                <a:off x="4407618" y="2399715"/>
                <a:ext cx="23379" cy="7127"/>
              </a:xfrm>
              <a:custGeom>
                <a:avLst/>
                <a:gdLst>
                  <a:gd name="connsiteX0" fmla="*/ 3401 w 23379"/>
                  <a:gd name="connsiteY0" fmla="*/ 4521 h 7127"/>
                  <a:gd name="connsiteX1" fmla="*/ 19979 w 23379"/>
                  <a:gd name="connsiteY1" fmla="*/ 4521 h 7127"/>
                  <a:gd name="connsiteX2" fmla="*/ 23370 w 23379"/>
                  <a:gd name="connsiteY2" fmla="*/ 0 h 7127"/>
                  <a:gd name="connsiteX3" fmla="*/ 19979 w 23379"/>
                  <a:gd name="connsiteY3" fmla="*/ 5149 h 7127"/>
                  <a:gd name="connsiteX4" fmla="*/ 3401 w 23379"/>
                  <a:gd name="connsiteY4" fmla="*/ 5149 h 7127"/>
                  <a:gd name="connsiteX5" fmla="*/ 9 w 23379"/>
                  <a:gd name="connsiteY5" fmla="*/ 0 h 7127"/>
                  <a:gd name="connsiteX6" fmla="*/ 3401 w 23379"/>
                  <a:gd name="connsiteY6" fmla="*/ 4521 h 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9" h="7127">
                    <a:moveTo>
                      <a:pt x="3401" y="4521"/>
                    </a:moveTo>
                    <a:cubicBezTo>
                      <a:pt x="8048" y="7159"/>
                      <a:pt x="15458" y="7159"/>
                      <a:pt x="19979" y="4521"/>
                    </a:cubicBezTo>
                    <a:cubicBezTo>
                      <a:pt x="22114" y="3265"/>
                      <a:pt x="23244" y="1633"/>
                      <a:pt x="23370" y="0"/>
                    </a:cubicBezTo>
                    <a:cubicBezTo>
                      <a:pt x="23496" y="1884"/>
                      <a:pt x="22366" y="3642"/>
                      <a:pt x="19979" y="5149"/>
                    </a:cubicBezTo>
                    <a:cubicBezTo>
                      <a:pt x="15332" y="7787"/>
                      <a:pt x="7922" y="7787"/>
                      <a:pt x="3401" y="5149"/>
                    </a:cubicBezTo>
                    <a:cubicBezTo>
                      <a:pt x="1014" y="3768"/>
                      <a:pt x="-116" y="1884"/>
                      <a:pt x="9" y="0"/>
                    </a:cubicBezTo>
                    <a:cubicBezTo>
                      <a:pt x="135" y="1633"/>
                      <a:pt x="1265" y="3265"/>
                      <a:pt x="3401" y="4521"/>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7" name="Freeform: Shape 2256">
                <a:extLst>
                  <a:ext uri="{FF2B5EF4-FFF2-40B4-BE49-F238E27FC236}">
                    <a16:creationId xmlns:a16="http://schemas.microsoft.com/office/drawing/2014/main" id="{50F60C1F-46CB-4803-AF37-7EDEDAC3450B}"/>
                  </a:ext>
                </a:extLst>
              </p:cNvPr>
              <p:cNvSpPr/>
              <p:nvPr/>
            </p:nvSpPr>
            <p:spPr>
              <a:xfrm>
                <a:off x="4407618" y="2422950"/>
                <a:ext cx="23379" cy="7127"/>
              </a:xfrm>
              <a:custGeom>
                <a:avLst/>
                <a:gdLst>
                  <a:gd name="connsiteX0" fmla="*/ 3401 w 23379"/>
                  <a:gd name="connsiteY0" fmla="*/ 4521 h 7127"/>
                  <a:gd name="connsiteX1" fmla="*/ 19979 w 23379"/>
                  <a:gd name="connsiteY1" fmla="*/ 4521 h 7127"/>
                  <a:gd name="connsiteX2" fmla="*/ 23370 w 23379"/>
                  <a:gd name="connsiteY2" fmla="*/ 0 h 7127"/>
                  <a:gd name="connsiteX3" fmla="*/ 19979 w 23379"/>
                  <a:gd name="connsiteY3" fmla="*/ 5149 h 7127"/>
                  <a:gd name="connsiteX4" fmla="*/ 3401 w 23379"/>
                  <a:gd name="connsiteY4" fmla="*/ 5149 h 7127"/>
                  <a:gd name="connsiteX5" fmla="*/ 9 w 23379"/>
                  <a:gd name="connsiteY5" fmla="*/ 0 h 7127"/>
                  <a:gd name="connsiteX6" fmla="*/ 3401 w 23379"/>
                  <a:gd name="connsiteY6" fmla="*/ 4521 h 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9" h="7127">
                    <a:moveTo>
                      <a:pt x="3401" y="4521"/>
                    </a:moveTo>
                    <a:cubicBezTo>
                      <a:pt x="8048" y="7159"/>
                      <a:pt x="15458" y="7159"/>
                      <a:pt x="19979" y="4521"/>
                    </a:cubicBezTo>
                    <a:cubicBezTo>
                      <a:pt x="22114" y="3265"/>
                      <a:pt x="23244" y="1633"/>
                      <a:pt x="23370" y="0"/>
                    </a:cubicBezTo>
                    <a:cubicBezTo>
                      <a:pt x="23496" y="1884"/>
                      <a:pt x="22366" y="3642"/>
                      <a:pt x="19979" y="5149"/>
                    </a:cubicBezTo>
                    <a:cubicBezTo>
                      <a:pt x="15332" y="7787"/>
                      <a:pt x="7922" y="7787"/>
                      <a:pt x="3401" y="5149"/>
                    </a:cubicBezTo>
                    <a:cubicBezTo>
                      <a:pt x="1014" y="3768"/>
                      <a:pt x="-116" y="1884"/>
                      <a:pt x="9" y="0"/>
                    </a:cubicBezTo>
                    <a:cubicBezTo>
                      <a:pt x="135" y="1633"/>
                      <a:pt x="1265" y="3265"/>
                      <a:pt x="3401" y="4521"/>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8" name="Freeform: Shape 2257">
                <a:extLst>
                  <a:ext uri="{FF2B5EF4-FFF2-40B4-BE49-F238E27FC236}">
                    <a16:creationId xmlns:a16="http://schemas.microsoft.com/office/drawing/2014/main" id="{3B8B3FE4-8FBA-46A3-BBBB-9E0BDCE33265}"/>
                  </a:ext>
                </a:extLst>
              </p:cNvPr>
              <p:cNvSpPr/>
              <p:nvPr/>
            </p:nvSpPr>
            <p:spPr>
              <a:xfrm>
                <a:off x="4358645" y="2140042"/>
                <a:ext cx="135893" cy="185949"/>
              </a:xfrm>
              <a:custGeom>
                <a:avLst/>
                <a:gdLst>
                  <a:gd name="connsiteX0" fmla="*/ 103239 w 135893"/>
                  <a:gd name="connsiteY0" fmla="*/ 156937 h 185949"/>
                  <a:gd name="connsiteX1" fmla="*/ 104872 w 135893"/>
                  <a:gd name="connsiteY1" fmla="*/ 155932 h 185949"/>
                  <a:gd name="connsiteX2" fmla="*/ 110649 w 135893"/>
                  <a:gd name="connsiteY2" fmla="*/ 123403 h 185949"/>
                  <a:gd name="connsiteX3" fmla="*/ 103490 w 135893"/>
                  <a:gd name="connsiteY3" fmla="*/ 80198 h 185949"/>
                  <a:gd name="connsiteX4" fmla="*/ 83395 w 135893"/>
                  <a:gd name="connsiteY4" fmla="*/ 58345 h 185949"/>
                  <a:gd name="connsiteX5" fmla="*/ 62797 w 135893"/>
                  <a:gd name="connsiteY5" fmla="*/ 38250 h 185949"/>
                  <a:gd name="connsiteX6" fmla="*/ 29892 w 135893"/>
                  <a:gd name="connsiteY6" fmla="*/ 24685 h 185949"/>
                  <a:gd name="connsiteX7" fmla="*/ 29012 w 135893"/>
                  <a:gd name="connsiteY7" fmla="*/ 24309 h 185949"/>
                  <a:gd name="connsiteX8" fmla="*/ 24617 w 135893"/>
                  <a:gd name="connsiteY8" fmla="*/ 27072 h 185949"/>
                  <a:gd name="connsiteX9" fmla="*/ 0 w 135893"/>
                  <a:gd name="connsiteY9" fmla="*/ 23932 h 185949"/>
                  <a:gd name="connsiteX10" fmla="*/ 4898 w 135893"/>
                  <a:gd name="connsiteY10" fmla="*/ 14763 h 185949"/>
                  <a:gd name="connsiteX11" fmla="*/ 1005 w 135893"/>
                  <a:gd name="connsiteY11" fmla="*/ 13256 h 185949"/>
                  <a:gd name="connsiteX12" fmla="*/ 15699 w 135893"/>
                  <a:gd name="connsiteY12" fmla="*/ 4841 h 185949"/>
                  <a:gd name="connsiteX13" fmla="*/ 16202 w 135893"/>
                  <a:gd name="connsiteY13" fmla="*/ 4590 h 185949"/>
                  <a:gd name="connsiteX14" fmla="*/ 16704 w 135893"/>
                  <a:gd name="connsiteY14" fmla="*/ 4213 h 185949"/>
                  <a:gd name="connsiteX15" fmla="*/ 16704 w 135893"/>
                  <a:gd name="connsiteY15" fmla="*/ 4213 h 185949"/>
                  <a:gd name="connsiteX16" fmla="*/ 65561 w 135893"/>
                  <a:gd name="connsiteY16" fmla="*/ 9614 h 185949"/>
                  <a:gd name="connsiteX17" fmla="*/ 135894 w 135893"/>
                  <a:gd name="connsiteY17" fmla="*/ 131441 h 185949"/>
                  <a:gd name="connsiteX18" fmla="*/ 115547 w 135893"/>
                  <a:gd name="connsiteY18" fmla="*/ 176781 h 185949"/>
                  <a:gd name="connsiteX19" fmla="*/ 115547 w 135893"/>
                  <a:gd name="connsiteY19" fmla="*/ 176781 h 185949"/>
                  <a:gd name="connsiteX20" fmla="*/ 115422 w 135893"/>
                  <a:gd name="connsiteY20" fmla="*/ 176781 h 185949"/>
                  <a:gd name="connsiteX21" fmla="*/ 115045 w 135893"/>
                  <a:gd name="connsiteY21" fmla="*/ 177032 h 185949"/>
                  <a:gd name="connsiteX22" fmla="*/ 99471 w 135893"/>
                  <a:gd name="connsiteY22" fmla="*/ 185949 h 185949"/>
                  <a:gd name="connsiteX23" fmla="*/ 100225 w 135893"/>
                  <a:gd name="connsiteY23" fmla="*/ 181428 h 185949"/>
                  <a:gd name="connsiteX24" fmla="*/ 94196 w 135893"/>
                  <a:gd name="connsiteY24" fmla="*/ 181428 h 185949"/>
                  <a:gd name="connsiteX25" fmla="*/ 103239 w 135893"/>
                  <a:gd name="connsiteY25" fmla="*/ 156937 h 185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5893" h="185949">
                    <a:moveTo>
                      <a:pt x="103239" y="156937"/>
                    </a:moveTo>
                    <a:cubicBezTo>
                      <a:pt x="103741" y="156685"/>
                      <a:pt x="104369" y="156309"/>
                      <a:pt x="104872" y="155932"/>
                    </a:cubicBezTo>
                    <a:lnTo>
                      <a:pt x="110649" y="123403"/>
                    </a:lnTo>
                    <a:lnTo>
                      <a:pt x="103490" y="80198"/>
                    </a:lnTo>
                    <a:lnTo>
                      <a:pt x="83395" y="58345"/>
                    </a:lnTo>
                    <a:lnTo>
                      <a:pt x="62797" y="38250"/>
                    </a:lnTo>
                    <a:lnTo>
                      <a:pt x="29892" y="24685"/>
                    </a:lnTo>
                    <a:lnTo>
                      <a:pt x="29012" y="24309"/>
                    </a:lnTo>
                    <a:cubicBezTo>
                      <a:pt x="27505" y="25062"/>
                      <a:pt x="25998" y="26067"/>
                      <a:pt x="24617" y="27072"/>
                    </a:cubicBezTo>
                    <a:cubicBezTo>
                      <a:pt x="16453" y="26067"/>
                      <a:pt x="8164" y="25062"/>
                      <a:pt x="0" y="23932"/>
                    </a:cubicBezTo>
                    <a:cubicBezTo>
                      <a:pt x="1382" y="20541"/>
                      <a:pt x="3015" y="17401"/>
                      <a:pt x="4898" y="14763"/>
                    </a:cubicBezTo>
                    <a:lnTo>
                      <a:pt x="1005" y="13256"/>
                    </a:lnTo>
                    <a:lnTo>
                      <a:pt x="15699" y="4841"/>
                    </a:lnTo>
                    <a:cubicBezTo>
                      <a:pt x="15825" y="4716"/>
                      <a:pt x="16076" y="4590"/>
                      <a:pt x="16202" y="4590"/>
                    </a:cubicBezTo>
                    <a:lnTo>
                      <a:pt x="16704" y="4213"/>
                    </a:lnTo>
                    <a:lnTo>
                      <a:pt x="16704" y="4213"/>
                    </a:lnTo>
                    <a:cubicBezTo>
                      <a:pt x="29389" y="-2569"/>
                      <a:pt x="46596" y="-1438"/>
                      <a:pt x="65561" y="9614"/>
                    </a:cubicBezTo>
                    <a:cubicBezTo>
                      <a:pt x="104369" y="32095"/>
                      <a:pt x="135894" y="86604"/>
                      <a:pt x="135894" y="131441"/>
                    </a:cubicBezTo>
                    <a:cubicBezTo>
                      <a:pt x="135894" y="153671"/>
                      <a:pt x="128107" y="169371"/>
                      <a:pt x="115547" y="176781"/>
                    </a:cubicBezTo>
                    <a:lnTo>
                      <a:pt x="115547" y="176781"/>
                    </a:lnTo>
                    <a:lnTo>
                      <a:pt x="115422" y="176781"/>
                    </a:lnTo>
                    <a:cubicBezTo>
                      <a:pt x="115296" y="176906"/>
                      <a:pt x="115171" y="176906"/>
                      <a:pt x="115045" y="177032"/>
                    </a:cubicBezTo>
                    <a:lnTo>
                      <a:pt x="99471" y="185949"/>
                    </a:lnTo>
                    <a:lnTo>
                      <a:pt x="100225" y="181428"/>
                    </a:lnTo>
                    <a:cubicBezTo>
                      <a:pt x="98215" y="181553"/>
                      <a:pt x="96206" y="181553"/>
                      <a:pt x="94196" y="181428"/>
                    </a:cubicBezTo>
                    <a:cubicBezTo>
                      <a:pt x="98592" y="173892"/>
                      <a:pt x="104495" y="165477"/>
                      <a:pt x="103239" y="156937"/>
                    </a:cubicBezTo>
                    <a:close/>
                  </a:path>
                </a:pathLst>
              </a:custGeom>
              <a:solidFill>
                <a:srgbClr val="9536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9" name="Freeform: Shape 2258">
                <a:extLst>
                  <a:ext uri="{FF2B5EF4-FFF2-40B4-BE49-F238E27FC236}">
                    <a16:creationId xmlns:a16="http://schemas.microsoft.com/office/drawing/2014/main" id="{59660E2E-C556-49F2-88E0-247A2E33DE91}"/>
                  </a:ext>
                </a:extLst>
              </p:cNvPr>
              <p:cNvSpPr/>
              <p:nvPr/>
            </p:nvSpPr>
            <p:spPr>
              <a:xfrm>
                <a:off x="4347467" y="2164225"/>
                <a:ext cx="114588" cy="157495"/>
              </a:xfrm>
              <a:custGeom>
                <a:avLst/>
                <a:gdLst>
                  <a:gd name="connsiteX0" fmla="*/ 6531 w 114588"/>
                  <a:gd name="connsiteY0" fmla="*/ 27882 h 157495"/>
                  <a:gd name="connsiteX1" fmla="*/ 6531 w 114588"/>
                  <a:gd name="connsiteY1" fmla="*/ 26124 h 157495"/>
                  <a:gd name="connsiteX2" fmla="*/ 11178 w 114588"/>
                  <a:gd name="connsiteY2" fmla="*/ 0 h 157495"/>
                  <a:gd name="connsiteX3" fmla="*/ 35795 w 114588"/>
                  <a:gd name="connsiteY3" fmla="*/ 3140 h 157495"/>
                  <a:gd name="connsiteX4" fmla="*/ 23109 w 114588"/>
                  <a:gd name="connsiteY4" fmla="*/ 35794 h 157495"/>
                  <a:gd name="connsiteX5" fmla="*/ 76864 w 114588"/>
                  <a:gd name="connsiteY5" fmla="*/ 128860 h 157495"/>
                  <a:gd name="connsiteX6" fmla="*/ 114417 w 114588"/>
                  <a:gd name="connsiteY6" fmla="*/ 132879 h 157495"/>
                  <a:gd name="connsiteX7" fmla="*/ 105500 w 114588"/>
                  <a:gd name="connsiteY7" fmla="*/ 157496 h 157495"/>
                  <a:gd name="connsiteX8" fmla="*/ 84525 w 114588"/>
                  <a:gd name="connsiteY8" fmla="*/ 151970 h 157495"/>
                  <a:gd name="connsiteX9" fmla="*/ 86786 w 114588"/>
                  <a:gd name="connsiteY9" fmla="*/ 154607 h 157495"/>
                  <a:gd name="connsiteX10" fmla="*/ 56894 w 114588"/>
                  <a:gd name="connsiteY10" fmla="*/ 143806 h 157495"/>
                  <a:gd name="connsiteX11" fmla="*/ 22230 w 114588"/>
                  <a:gd name="connsiteY11" fmla="*/ 108765 h 157495"/>
                  <a:gd name="connsiteX12" fmla="*/ 0 w 114588"/>
                  <a:gd name="connsiteY12" fmla="*/ 60788 h 157495"/>
                  <a:gd name="connsiteX13" fmla="*/ 6531 w 114588"/>
                  <a:gd name="connsiteY13" fmla="*/ 27882 h 15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588" h="157495">
                    <a:moveTo>
                      <a:pt x="6531" y="27882"/>
                    </a:moveTo>
                    <a:cubicBezTo>
                      <a:pt x="6531" y="27254"/>
                      <a:pt x="6531" y="26626"/>
                      <a:pt x="6531" y="26124"/>
                    </a:cubicBezTo>
                    <a:cubicBezTo>
                      <a:pt x="6531" y="15950"/>
                      <a:pt x="8164" y="7159"/>
                      <a:pt x="11178" y="0"/>
                    </a:cubicBezTo>
                    <a:cubicBezTo>
                      <a:pt x="19341" y="1005"/>
                      <a:pt x="27631" y="2009"/>
                      <a:pt x="35795" y="3140"/>
                    </a:cubicBezTo>
                    <a:cubicBezTo>
                      <a:pt x="27882" y="9420"/>
                      <a:pt x="23109" y="20598"/>
                      <a:pt x="23109" y="35794"/>
                    </a:cubicBezTo>
                    <a:cubicBezTo>
                      <a:pt x="23109" y="70082"/>
                      <a:pt x="47223" y="111779"/>
                      <a:pt x="76864" y="128860"/>
                    </a:cubicBezTo>
                    <a:cubicBezTo>
                      <a:pt x="91558" y="137275"/>
                      <a:pt x="104746" y="138154"/>
                      <a:pt x="114417" y="132879"/>
                    </a:cubicBezTo>
                    <a:cubicBezTo>
                      <a:pt x="115673" y="141420"/>
                      <a:pt x="109770" y="149960"/>
                      <a:pt x="105500" y="157496"/>
                    </a:cubicBezTo>
                    <a:cubicBezTo>
                      <a:pt x="98969" y="157119"/>
                      <a:pt x="91935" y="155235"/>
                      <a:pt x="84525" y="151970"/>
                    </a:cubicBezTo>
                    <a:lnTo>
                      <a:pt x="86786" y="154607"/>
                    </a:lnTo>
                    <a:cubicBezTo>
                      <a:pt x="86786" y="154607"/>
                      <a:pt x="57522" y="144434"/>
                      <a:pt x="56894" y="143806"/>
                    </a:cubicBezTo>
                    <a:cubicBezTo>
                      <a:pt x="56266" y="143178"/>
                      <a:pt x="22230" y="108765"/>
                      <a:pt x="22230" y="108765"/>
                    </a:cubicBezTo>
                    <a:lnTo>
                      <a:pt x="0" y="60788"/>
                    </a:lnTo>
                    <a:lnTo>
                      <a:pt x="6531" y="27882"/>
                    </a:lnTo>
                    <a:close/>
                  </a:path>
                </a:pathLst>
              </a:custGeom>
              <a:solidFill>
                <a:srgbClr val="5761D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0" name="Freeform: Shape 2259">
                <a:extLst>
                  <a:ext uri="{FF2B5EF4-FFF2-40B4-BE49-F238E27FC236}">
                    <a16:creationId xmlns:a16="http://schemas.microsoft.com/office/drawing/2014/main" id="{C5C0DD56-398F-4421-8199-CD1C037ECB01}"/>
                  </a:ext>
                </a:extLst>
              </p:cNvPr>
              <p:cNvSpPr/>
              <p:nvPr/>
            </p:nvSpPr>
            <p:spPr>
              <a:xfrm>
                <a:off x="4350105" y="2168835"/>
                <a:ext cx="118435" cy="144541"/>
              </a:xfrm>
              <a:custGeom>
                <a:avLst/>
                <a:gdLst>
                  <a:gd name="connsiteX0" fmla="*/ 0 w 118435"/>
                  <a:gd name="connsiteY0" fmla="*/ 39348 h 144541"/>
                  <a:gd name="connsiteX1" fmla="*/ 64681 w 118435"/>
                  <a:gd name="connsiteY1" fmla="*/ 7070 h 144541"/>
                  <a:gd name="connsiteX2" fmla="*/ 118436 w 118435"/>
                  <a:gd name="connsiteY2" fmla="*/ 100136 h 144541"/>
                  <a:gd name="connsiteX3" fmla="*/ 60034 w 118435"/>
                  <a:gd name="connsiteY3" fmla="*/ 138442 h 144541"/>
                  <a:gd name="connsiteX4" fmla="*/ 0 w 118435"/>
                  <a:gd name="connsiteY4" fmla="*/ 39348 h 144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5" h="144541">
                    <a:moveTo>
                      <a:pt x="0" y="39348"/>
                    </a:moveTo>
                    <a:cubicBezTo>
                      <a:pt x="0" y="5060"/>
                      <a:pt x="35041" y="-10011"/>
                      <a:pt x="64681" y="7070"/>
                    </a:cubicBezTo>
                    <a:cubicBezTo>
                      <a:pt x="94322" y="24151"/>
                      <a:pt x="118436" y="65848"/>
                      <a:pt x="118436" y="100136"/>
                    </a:cubicBezTo>
                    <a:cubicBezTo>
                      <a:pt x="118436" y="134423"/>
                      <a:pt x="89675" y="155649"/>
                      <a:pt x="60034" y="138442"/>
                    </a:cubicBezTo>
                    <a:cubicBezTo>
                      <a:pt x="30268" y="121487"/>
                      <a:pt x="0" y="73635"/>
                      <a:pt x="0" y="39348"/>
                    </a:cubicBezTo>
                    <a:close/>
                  </a:path>
                </a:pathLst>
              </a:custGeom>
              <a:solidFill>
                <a:srgbClr val="F9F9F9">
                  <a:alpha val="38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1" name="Freeform: Shape 2260">
                <a:extLst>
                  <a:ext uri="{FF2B5EF4-FFF2-40B4-BE49-F238E27FC236}">
                    <a16:creationId xmlns:a16="http://schemas.microsoft.com/office/drawing/2014/main" id="{3507A59A-6D91-4899-A8DA-2951AF01D136}"/>
                  </a:ext>
                </a:extLst>
              </p:cNvPr>
              <p:cNvSpPr/>
              <p:nvPr/>
            </p:nvSpPr>
            <p:spPr>
              <a:xfrm>
                <a:off x="4338550" y="2149063"/>
                <a:ext cx="140666" cy="181664"/>
              </a:xfrm>
              <a:custGeom>
                <a:avLst/>
                <a:gdLst>
                  <a:gd name="connsiteX0" fmla="*/ 0 w 140666"/>
                  <a:gd name="connsiteY0" fmla="*/ 50202 h 181664"/>
                  <a:gd name="connsiteX1" fmla="*/ 70333 w 140666"/>
                  <a:gd name="connsiteY1" fmla="*/ 172029 h 181664"/>
                  <a:gd name="connsiteX2" fmla="*/ 140666 w 140666"/>
                  <a:gd name="connsiteY2" fmla="*/ 131462 h 181664"/>
                  <a:gd name="connsiteX3" fmla="*/ 70333 w 140666"/>
                  <a:gd name="connsiteY3" fmla="*/ 9635 h 181664"/>
                  <a:gd name="connsiteX4" fmla="*/ 0 w 140666"/>
                  <a:gd name="connsiteY4" fmla="*/ 50202 h 181664"/>
                  <a:gd name="connsiteX5" fmla="*/ 16579 w 140666"/>
                  <a:gd name="connsiteY5" fmla="*/ 59748 h 181664"/>
                  <a:gd name="connsiteX6" fmla="*/ 70333 w 140666"/>
                  <a:gd name="connsiteY6" fmla="*/ 28726 h 181664"/>
                  <a:gd name="connsiteX7" fmla="*/ 124088 w 140666"/>
                  <a:gd name="connsiteY7" fmla="*/ 121791 h 181664"/>
                  <a:gd name="connsiteX8" fmla="*/ 70333 w 140666"/>
                  <a:gd name="connsiteY8" fmla="*/ 152813 h 181664"/>
                  <a:gd name="connsiteX9" fmla="*/ 16579 w 140666"/>
                  <a:gd name="connsiteY9" fmla="*/ 59748 h 181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66" h="181664">
                    <a:moveTo>
                      <a:pt x="0" y="50202"/>
                    </a:moveTo>
                    <a:cubicBezTo>
                      <a:pt x="0" y="95040"/>
                      <a:pt x="31524" y="149548"/>
                      <a:pt x="70333" y="172029"/>
                    </a:cubicBezTo>
                    <a:cubicBezTo>
                      <a:pt x="109142" y="194511"/>
                      <a:pt x="140666" y="176300"/>
                      <a:pt x="140666" y="131462"/>
                    </a:cubicBezTo>
                    <a:cubicBezTo>
                      <a:pt x="140666" y="86625"/>
                      <a:pt x="109142" y="32117"/>
                      <a:pt x="70333" y="9635"/>
                    </a:cubicBezTo>
                    <a:cubicBezTo>
                      <a:pt x="31399" y="-12846"/>
                      <a:pt x="0" y="5365"/>
                      <a:pt x="0" y="50202"/>
                    </a:cubicBezTo>
                    <a:close/>
                    <a:moveTo>
                      <a:pt x="16579" y="59748"/>
                    </a:moveTo>
                    <a:cubicBezTo>
                      <a:pt x="16579" y="25460"/>
                      <a:pt x="40693" y="11645"/>
                      <a:pt x="70333" y="28726"/>
                    </a:cubicBezTo>
                    <a:cubicBezTo>
                      <a:pt x="99974" y="45807"/>
                      <a:pt x="124088" y="87504"/>
                      <a:pt x="124088" y="121791"/>
                    </a:cubicBezTo>
                    <a:cubicBezTo>
                      <a:pt x="124088" y="156079"/>
                      <a:pt x="99974" y="169894"/>
                      <a:pt x="70333" y="152813"/>
                    </a:cubicBezTo>
                    <a:cubicBezTo>
                      <a:pt x="40567" y="135732"/>
                      <a:pt x="16579" y="94035"/>
                      <a:pt x="16579" y="59748"/>
                    </a:cubicBezTo>
                    <a:close/>
                  </a:path>
                </a:pathLst>
              </a:custGeom>
              <a:solidFill>
                <a:srgbClr val="BCBE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2" name="Freeform: Shape 2261">
                <a:extLst>
                  <a:ext uri="{FF2B5EF4-FFF2-40B4-BE49-F238E27FC236}">
                    <a16:creationId xmlns:a16="http://schemas.microsoft.com/office/drawing/2014/main" id="{DED0E8EC-2C75-4768-970D-16A9BA08AE28}"/>
                  </a:ext>
                </a:extLst>
              </p:cNvPr>
              <p:cNvSpPr/>
              <p:nvPr/>
            </p:nvSpPr>
            <p:spPr>
              <a:xfrm>
                <a:off x="4338550" y="2149063"/>
                <a:ext cx="140666" cy="181664"/>
              </a:xfrm>
              <a:custGeom>
                <a:avLst/>
                <a:gdLst>
                  <a:gd name="connsiteX0" fmla="*/ 0 w 140666"/>
                  <a:gd name="connsiteY0" fmla="*/ 50202 h 181664"/>
                  <a:gd name="connsiteX1" fmla="*/ 70333 w 140666"/>
                  <a:gd name="connsiteY1" fmla="*/ 172029 h 181664"/>
                  <a:gd name="connsiteX2" fmla="*/ 140666 w 140666"/>
                  <a:gd name="connsiteY2" fmla="*/ 131462 h 181664"/>
                  <a:gd name="connsiteX3" fmla="*/ 70333 w 140666"/>
                  <a:gd name="connsiteY3" fmla="*/ 9635 h 181664"/>
                  <a:gd name="connsiteX4" fmla="*/ 0 w 140666"/>
                  <a:gd name="connsiteY4" fmla="*/ 50202 h 181664"/>
                  <a:gd name="connsiteX5" fmla="*/ 16579 w 140666"/>
                  <a:gd name="connsiteY5" fmla="*/ 59748 h 181664"/>
                  <a:gd name="connsiteX6" fmla="*/ 70333 w 140666"/>
                  <a:gd name="connsiteY6" fmla="*/ 28726 h 181664"/>
                  <a:gd name="connsiteX7" fmla="*/ 124088 w 140666"/>
                  <a:gd name="connsiteY7" fmla="*/ 121791 h 181664"/>
                  <a:gd name="connsiteX8" fmla="*/ 70333 w 140666"/>
                  <a:gd name="connsiteY8" fmla="*/ 152813 h 181664"/>
                  <a:gd name="connsiteX9" fmla="*/ 16579 w 140666"/>
                  <a:gd name="connsiteY9" fmla="*/ 59748 h 181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66" h="181664">
                    <a:moveTo>
                      <a:pt x="0" y="50202"/>
                    </a:moveTo>
                    <a:cubicBezTo>
                      <a:pt x="0" y="95040"/>
                      <a:pt x="31524" y="149548"/>
                      <a:pt x="70333" y="172029"/>
                    </a:cubicBezTo>
                    <a:cubicBezTo>
                      <a:pt x="109142" y="194511"/>
                      <a:pt x="140666" y="176300"/>
                      <a:pt x="140666" y="131462"/>
                    </a:cubicBezTo>
                    <a:cubicBezTo>
                      <a:pt x="140666" y="86625"/>
                      <a:pt x="109142" y="32117"/>
                      <a:pt x="70333" y="9635"/>
                    </a:cubicBezTo>
                    <a:cubicBezTo>
                      <a:pt x="31399" y="-12846"/>
                      <a:pt x="0" y="5365"/>
                      <a:pt x="0" y="50202"/>
                    </a:cubicBezTo>
                    <a:close/>
                    <a:moveTo>
                      <a:pt x="16579" y="59748"/>
                    </a:moveTo>
                    <a:cubicBezTo>
                      <a:pt x="16579" y="25460"/>
                      <a:pt x="40693" y="11645"/>
                      <a:pt x="70333" y="28726"/>
                    </a:cubicBezTo>
                    <a:cubicBezTo>
                      <a:pt x="99974" y="45807"/>
                      <a:pt x="124088" y="87504"/>
                      <a:pt x="124088" y="121791"/>
                    </a:cubicBezTo>
                    <a:cubicBezTo>
                      <a:pt x="124088" y="156079"/>
                      <a:pt x="99974" y="169894"/>
                      <a:pt x="70333" y="152813"/>
                    </a:cubicBezTo>
                    <a:cubicBezTo>
                      <a:pt x="40567" y="135732"/>
                      <a:pt x="16579" y="94035"/>
                      <a:pt x="16579" y="59748"/>
                    </a:cubicBezTo>
                    <a:close/>
                  </a:path>
                </a:pathLst>
              </a:custGeom>
              <a:solidFill>
                <a:srgbClr val="3A3B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63" name="Graphic 4">
                <a:extLst>
                  <a:ext uri="{FF2B5EF4-FFF2-40B4-BE49-F238E27FC236}">
                    <a16:creationId xmlns:a16="http://schemas.microsoft.com/office/drawing/2014/main" id="{84FB7ED1-A2DF-40A1-A747-5F7CF3F14040}"/>
                  </a:ext>
                </a:extLst>
              </p:cNvPr>
              <p:cNvGrpSpPr/>
              <p:nvPr/>
            </p:nvGrpSpPr>
            <p:grpSpPr>
              <a:xfrm>
                <a:off x="4349979" y="2148998"/>
                <a:ext cx="129111" cy="170462"/>
                <a:chOff x="4349979" y="2148998"/>
                <a:chExt cx="129111" cy="170462"/>
              </a:xfrm>
              <a:solidFill>
                <a:srgbClr val="FFFFFF"/>
              </a:solidFill>
            </p:grpSpPr>
            <p:sp>
              <p:nvSpPr>
                <p:cNvPr id="2264" name="Freeform: Shape 2263">
                  <a:extLst>
                    <a:ext uri="{FF2B5EF4-FFF2-40B4-BE49-F238E27FC236}">
                      <a16:creationId xmlns:a16="http://schemas.microsoft.com/office/drawing/2014/main" id="{80112BD0-2943-4913-914A-A891E3258CCF}"/>
                    </a:ext>
                  </a:extLst>
                </p:cNvPr>
                <p:cNvSpPr/>
                <p:nvPr/>
              </p:nvSpPr>
              <p:spPr>
                <a:xfrm>
                  <a:off x="4349979" y="2148998"/>
                  <a:ext cx="129111" cy="170462"/>
                </a:xfrm>
                <a:custGeom>
                  <a:avLst/>
                  <a:gdLst>
                    <a:gd name="connsiteX0" fmla="*/ 128107 w 129111"/>
                    <a:gd name="connsiteY0" fmla="*/ 132658 h 170462"/>
                    <a:gd name="connsiteX1" fmla="*/ 57774 w 129111"/>
                    <a:gd name="connsiteY1" fmla="*/ 10831 h 170462"/>
                    <a:gd name="connsiteX2" fmla="*/ 0 w 129111"/>
                    <a:gd name="connsiteY2" fmla="*/ 12338 h 170462"/>
                    <a:gd name="connsiteX3" fmla="*/ 58779 w 129111"/>
                    <a:gd name="connsiteY3" fmla="*/ 9575 h 170462"/>
                    <a:gd name="connsiteX4" fmla="*/ 129111 w 129111"/>
                    <a:gd name="connsiteY4" fmla="*/ 131402 h 170462"/>
                    <a:gd name="connsiteX5" fmla="*/ 116552 w 129111"/>
                    <a:gd name="connsiteY5" fmla="*/ 170462 h 170462"/>
                    <a:gd name="connsiteX6" fmla="*/ 128107 w 129111"/>
                    <a:gd name="connsiteY6" fmla="*/ 132658 h 17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111" h="170462">
                      <a:moveTo>
                        <a:pt x="128107" y="132658"/>
                      </a:moveTo>
                      <a:cubicBezTo>
                        <a:pt x="128107" y="87821"/>
                        <a:pt x="96582" y="33313"/>
                        <a:pt x="57774" y="10831"/>
                      </a:cubicBezTo>
                      <a:cubicBezTo>
                        <a:pt x="33911" y="-2984"/>
                        <a:pt x="12811" y="-1351"/>
                        <a:pt x="0" y="12338"/>
                      </a:cubicBezTo>
                      <a:cubicBezTo>
                        <a:pt x="12559" y="-2482"/>
                        <a:pt x="34162" y="-4617"/>
                        <a:pt x="58779" y="9575"/>
                      </a:cubicBezTo>
                      <a:cubicBezTo>
                        <a:pt x="97587" y="32057"/>
                        <a:pt x="129111" y="86565"/>
                        <a:pt x="129111" y="131402"/>
                      </a:cubicBezTo>
                      <a:cubicBezTo>
                        <a:pt x="129111" y="148609"/>
                        <a:pt x="124465" y="161922"/>
                        <a:pt x="116552" y="170462"/>
                      </a:cubicBezTo>
                      <a:cubicBezTo>
                        <a:pt x="123837" y="161922"/>
                        <a:pt x="128107" y="149111"/>
                        <a:pt x="128107" y="132658"/>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5" name="Freeform: Shape 2264">
                  <a:extLst>
                    <a:ext uri="{FF2B5EF4-FFF2-40B4-BE49-F238E27FC236}">
                      <a16:creationId xmlns:a16="http://schemas.microsoft.com/office/drawing/2014/main" id="{BF2FB21B-CD0B-41A0-BB3B-ECC54A7418F2}"/>
                    </a:ext>
                  </a:extLst>
                </p:cNvPr>
                <p:cNvSpPr/>
                <p:nvPr/>
              </p:nvSpPr>
              <p:spPr>
                <a:xfrm>
                  <a:off x="4353998" y="2180050"/>
                  <a:ext cx="98843" cy="130352"/>
                </a:xfrm>
                <a:custGeom>
                  <a:avLst/>
                  <a:gdLst>
                    <a:gd name="connsiteX0" fmla="*/ 53755 w 98843"/>
                    <a:gd name="connsiteY0" fmla="*/ 123083 h 130352"/>
                    <a:gd name="connsiteX1" fmla="*/ 0 w 98843"/>
                    <a:gd name="connsiteY1" fmla="*/ 30017 h 130352"/>
                    <a:gd name="connsiteX2" fmla="*/ 9796 w 98843"/>
                    <a:gd name="connsiteY2" fmla="*/ 0 h 130352"/>
                    <a:gd name="connsiteX3" fmla="*/ 1130 w 98843"/>
                    <a:gd name="connsiteY3" fmla="*/ 28761 h 130352"/>
                    <a:gd name="connsiteX4" fmla="*/ 54885 w 98843"/>
                    <a:gd name="connsiteY4" fmla="*/ 121827 h 130352"/>
                    <a:gd name="connsiteX5" fmla="*/ 98843 w 98843"/>
                    <a:gd name="connsiteY5" fmla="*/ 120822 h 130352"/>
                    <a:gd name="connsiteX6" fmla="*/ 53755 w 98843"/>
                    <a:gd name="connsiteY6" fmla="*/ 123083 h 13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43" h="130352">
                      <a:moveTo>
                        <a:pt x="53755" y="123083"/>
                      </a:moveTo>
                      <a:cubicBezTo>
                        <a:pt x="24114" y="106002"/>
                        <a:pt x="0" y="64305"/>
                        <a:pt x="0" y="30017"/>
                      </a:cubicBezTo>
                      <a:cubicBezTo>
                        <a:pt x="0" y="16704"/>
                        <a:pt x="3642" y="6531"/>
                        <a:pt x="9796" y="0"/>
                      </a:cubicBezTo>
                      <a:cubicBezTo>
                        <a:pt x="4270" y="6531"/>
                        <a:pt x="1130" y="16327"/>
                        <a:pt x="1130" y="28761"/>
                      </a:cubicBezTo>
                      <a:cubicBezTo>
                        <a:pt x="1130" y="63049"/>
                        <a:pt x="25245" y="104746"/>
                        <a:pt x="54885" y="121827"/>
                      </a:cubicBezTo>
                      <a:cubicBezTo>
                        <a:pt x="73096" y="132377"/>
                        <a:pt x="89172" y="131121"/>
                        <a:pt x="98843" y="120822"/>
                      </a:cubicBezTo>
                      <a:cubicBezTo>
                        <a:pt x="89172" y="132251"/>
                        <a:pt x="72594" y="133884"/>
                        <a:pt x="53755" y="123083"/>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266" name="Freeform: Shape 2265">
                <a:extLst>
                  <a:ext uri="{FF2B5EF4-FFF2-40B4-BE49-F238E27FC236}">
                    <a16:creationId xmlns:a16="http://schemas.microsoft.com/office/drawing/2014/main" id="{C18E8FC9-7197-43C8-830A-01D8F33FFAD1}"/>
                  </a:ext>
                </a:extLst>
              </p:cNvPr>
              <p:cNvSpPr/>
              <p:nvPr/>
            </p:nvSpPr>
            <p:spPr>
              <a:xfrm>
                <a:off x="4407502" y="2315190"/>
                <a:ext cx="23486" cy="60913"/>
              </a:xfrm>
              <a:custGeom>
                <a:avLst/>
                <a:gdLst>
                  <a:gd name="connsiteX0" fmla="*/ 3517 w 23486"/>
                  <a:gd name="connsiteY0" fmla="*/ 54885 h 60913"/>
                  <a:gd name="connsiteX1" fmla="*/ 20095 w 23486"/>
                  <a:gd name="connsiteY1" fmla="*/ 54885 h 60913"/>
                  <a:gd name="connsiteX2" fmla="*/ 23486 w 23486"/>
                  <a:gd name="connsiteY2" fmla="*/ 50112 h 60913"/>
                  <a:gd name="connsiteX3" fmla="*/ 23486 w 23486"/>
                  <a:gd name="connsiteY3" fmla="*/ 60913 h 60913"/>
                  <a:gd name="connsiteX4" fmla="*/ 23486 w 23486"/>
                  <a:gd name="connsiteY4" fmla="*/ 60913 h 60913"/>
                  <a:gd name="connsiteX5" fmla="*/ 23486 w 23486"/>
                  <a:gd name="connsiteY5" fmla="*/ 0 h 60913"/>
                  <a:gd name="connsiteX6" fmla="*/ 0 w 23486"/>
                  <a:gd name="connsiteY6" fmla="*/ 0 h 60913"/>
                  <a:gd name="connsiteX7" fmla="*/ 0 w 23486"/>
                  <a:gd name="connsiteY7" fmla="*/ 50238 h 60913"/>
                  <a:gd name="connsiteX8" fmla="*/ 3517 w 23486"/>
                  <a:gd name="connsiteY8" fmla="*/ 54885 h 6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86" h="60913">
                    <a:moveTo>
                      <a:pt x="3517" y="54885"/>
                    </a:moveTo>
                    <a:cubicBezTo>
                      <a:pt x="8164" y="57522"/>
                      <a:pt x="15574" y="57522"/>
                      <a:pt x="20095" y="54885"/>
                    </a:cubicBezTo>
                    <a:cubicBezTo>
                      <a:pt x="22356" y="53503"/>
                      <a:pt x="23486" y="51871"/>
                      <a:pt x="23486" y="50112"/>
                    </a:cubicBezTo>
                    <a:lnTo>
                      <a:pt x="23486" y="60913"/>
                    </a:lnTo>
                    <a:lnTo>
                      <a:pt x="23486" y="60913"/>
                    </a:lnTo>
                    <a:lnTo>
                      <a:pt x="23486" y="0"/>
                    </a:lnTo>
                    <a:lnTo>
                      <a:pt x="0" y="0"/>
                    </a:lnTo>
                    <a:lnTo>
                      <a:pt x="0" y="50238"/>
                    </a:lnTo>
                    <a:cubicBezTo>
                      <a:pt x="251" y="51996"/>
                      <a:pt x="1381" y="53629"/>
                      <a:pt x="3517" y="54885"/>
                    </a:cubicBezTo>
                    <a:close/>
                  </a:path>
                </a:pathLst>
              </a:custGeom>
              <a:solidFill>
                <a:srgbClr val="3738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7" name="Freeform: Shape 2266">
                <a:extLst>
                  <a:ext uri="{FF2B5EF4-FFF2-40B4-BE49-F238E27FC236}">
                    <a16:creationId xmlns:a16="http://schemas.microsoft.com/office/drawing/2014/main" id="{E0508A8B-63E8-4E31-A06F-ECB082F01C5C}"/>
                  </a:ext>
                </a:extLst>
              </p:cNvPr>
              <p:cNvSpPr/>
              <p:nvPr/>
            </p:nvSpPr>
            <p:spPr>
              <a:xfrm>
                <a:off x="4407627" y="2359273"/>
                <a:ext cx="23611" cy="115798"/>
              </a:xfrm>
              <a:custGeom>
                <a:avLst/>
                <a:gdLst>
                  <a:gd name="connsiteX0" fmla="*/ 0 w 23611"/>
                  <a:gd name="connsiteY0" fmla="*/ 0 h 115798"/>
                  <a:gd name="connsiteX1" fmla="*/ 0 w 23611"/>
                  <a:gd name="connsiteY1" fmla="*/ 103992 h 115798"/>
                  <a:gd name="connsiteX2" fmla="*/ 11806 w 23611"/>
                  <a:gd name="connsiteY2" fmla="*/ 115798 h 115798"/>
                  <a:gd name="connsiteX3" fmla="*/ 23612 w 23611"/>
                  <a:gd name="connsiteY3" fmla="*/ 103992 h 115798"/>
                  <a:gd name="connsiteX4" fmla="*/ 23612 w 23611"/>
                  <a:gd name="connsiteY4" fmla="*/ 0 h 115798"/>
                  <a:gd name="connsiteX5" fmla="*/ 0 w 23611"/>
                  <a:gd name="connsiteY5" fmla="*/ 0 h 115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611" h="115798">
                    <a:moveTo>
                      <a:pt x="0" y="0"/>
                    </a:moveTo>
                    <a:lnTo>
                      <a:pt x="0" y="103992"/>
                    </a:lnTo>
                    <a:cubicBezTo>
                      <a:pt x="0" y="110523"/>
                      <a:pt x="5275" y="115798"/>
                      <a:pt x="11806" y="115798"/>
                    </a:cubicBezTo>
                    <a:cubicBezTo>
                      <a:pt x="18337" y="115798"/>
                      <a:pt x="23612" y="110523"/>
                      <a:pt x="23612" y="103992"/>
                    </a:cubicBezTo>
                    <a:lnTo>
                      <a:pt x="23612" y="0"/>
                    </a:lnTo>
                    <a:lnTo>
                      <a:pt x="0" y="0"/>
                    </a:lnTo>
                    <a:close/>
                  </a:path>
                </a:pathLst>
              </a:custGeom>
              <a:solidFill>
                <a:srgbClr val="9536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268" name="Graphic 4">
            <a:extLst>
              <a:ext uri="{FF2B5EF4-FFF2-40B4-BE49-F238E27FC236}">
                <a16:creationId xmlns:a16="http://schemas.microsoft.com/office/drawing/2014/main" id="{84FB7ED1-A2DF-40A1-A747-5F7CF3F14040}"/>
              </a:ext>
            </a:extLst>
          </p:cNvPr>
          <p:cNvGrpSpPr/>
          <p:nvPr/>
        </p:nvGrpSpPr>
        <p:grpSpPr>
          <a:xfrm>
            <a:off x="5139123" y="2053450"/>
            <a:ext cx="483131" cy="699688"/>
            <a:chOff x="5139123" y="2053450"/>
            <a:chExt cx="483131" cy="699688"/>
          </a:xfrm>
          <a:solidFill>
            <a:schemeClr val="accent1"/>
          </a:solidFill>
        </p:grpSpPr>
        <p:grpSp>
          <p:nvGrpSpPr>
            <p:cNvPr id="2269" name="Graphic 4">
              <a:extLst>
                <a:ext uri="{FF2B5EF4-FFF2-40B4-BE49-F238E27FC236}">
                  <a16:creationId xmlns:a16="http://schemas.microsoft.com/office/drawing/2014/main" id="{84FB7ED1-A2DF-40A1-A747-5F7CF3F14040}"/>
                </a:ext>
              </a:extLst>
            </p:cNvPr>
            <p:cNvGrpSpPr/>
            <p:nvPr/>
          </p:nvGrpSpPr>
          <p:grpSpPr>
            <a:xfrm>
              <a:off x="5139123" y="2053450"/>
              <a:ext cx="214986" cy="519711"/>
              <a:chOff x="5139123" y="2053450"/>
              <a:chExt cx="214986" cy="519711"/>
            </a:xfrm>
            <a:solidFill>
              <a:schemeClr val="accent1"/>
            </a:solidFill>
          </p:grpSpPr>
          <p:grpSp>
            <p:nvGrpSpPr>
              <p:cNvPr id="2270" name="Graphic 4">
                <a:extLst>
                  <a:ext uri="{FF2B5EF4-FFF2-40B4-BE49-F238E27FC236}">
                    <a16:creationId xmlns:a16="http://schemas.microsoft.com/office/drawing/2014/main" id="{84FB7ED1-A2DF-40A1-A747-5F7CF3F14040}"/>
                  </a:ext>
                </a:extLst>
              </p:cNvPr>
              <p:cNvGrpSpPr/>
              <p:nvPr/>
            </p:nvGrpSpPr>
            <p:grpSpPr>
              <a:xfrm>
                <a:off x="5139123" y="2053450"/>
                <a:ext cx="194765" cy="519711"/>
                <a:chOff x="5139123" y="2053450"/>
                <a:chExt cx="194765" cy="519711"/>
              </a:xfrm>
              <a:solidFill>
                <a:schemeClr val="accent1"/>
              </a:solidFill>
            </p:grpSpPr>
            <p:sp>
              <p:nvSpPr>
                <p:cNvPr id="2271" name="Freeform: Shape 2270">
                  <a:extLst>
                    <a:ext uri="{FF2B5EF4-FFF2-40B4-BE49-F238E27FC236}">
                      <a16:creationId xmlns:a16="http://schemas.microsoft.com/office/drawing/2014/main" id="{E92CEFA4-691D-4B5D-A0C0-04C79515CAC1}"/>
                    </a:ext>
                  </a:extLst>
                </p:cNvPr>
                <p:cNvSpPr/>
                <p:nvPr/>
              </p:nvSpPr>
              <p:spPr>
                <a:xfrm>
                  <a:off x="5227753" y="2506973"/>
                  <a:ext cx="58466" cy="49719"/>
                </a:xfrm>
                <a:custGeom>
                  <a:avLst/>
                  <a:gdLst>
                    <a:gd name="connsiteX0" fmla="*/ 58409 w 58466"/>
                    <a:gd name="connsiteY0" fmla="*/ 42074 h 49719"/>
                    <a:gd name="connsiteX1" fmla="*/ 58409 w 58466"/>
                    <a:gd name="connsiteY1" fmla="*/ 41823 h 49719"/>
                    <a:gd name="connsiteX2" fmla="*/ 38817 w 58466"/>
                    <a:gd name="connsiteY2" fmla="*/ 15825 h 49719"/>
                    <a:gd name="connsiteX3" fmla="*/ 31909 w 58466"/>
                    <a:gd name="connsiteY3" fmla="*/ 1256 h 49719"/>
                    <a:gd name="connsiteX4" fmla="*/ 9427 w 58466"/>
                    <a:gd name="connsiteY4" fmla="*/ 0 h 49719"/>
                    <a:gd name="connsiteX5" fmla="*/ 8 w 58466"/>
                    <a:gd name="connsiteY5" fmla="*/ 25370 h 49719"/>
                    <a:gd name="connsiteX6" fmla="*/ 8 w 58466"/>
                    <a:gd name="connsiteY6" fmla="*/ 25370 h 49719"/>
                    <a:gd name="connsiteX7" fmla="*/ 4152 w 58466"/>
                    <a:gd name="connsiteY7" fmla="*/ 31273 h 49719"/>
                    <a:gd name="connsiteX8" fmla="*/ 35049 w 58466"/>
                    <a:gd name="connsiteY8" fmla="*/ 47726 h 49719"/>
                    <a:gd name="connsiteX9" fmla="*/ 54390 w 58466"/>
                    <a:gd name="connsiteY9" fmla="*/ 46973 h 49719"/>
                    <a:gd name="connsiteX10" fmla="*/ 58409 w 58466"/>
                    <a:gd name="connsiteY10" fmla="*/ 42074 h 49719"/>
                    <a:gd name="connsiteX11" fmla="*/ 58409 w 58466"/>
                    <a:gd name="connsiteY11" fmla="*/ 42074 h 49719"/>
                    <a:gd name="connsiteX12" fmla="*/ 58409 w 58466"/>
                    <a:gd name="connsiteY12" fmla="*/ 42074 h 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466" h="49719">
                      <a:moveTo>
                        <a:pt x="58409" y="42074"/>
                      </a:moveTo>
                      <a:cubicBezTo>
                        <a:pt x="58409" y="41949"/>
                        <a:pt x="58409" y="41949"/>
                        <a:pt x="58409" y="41823"/>
                      </a:cubicBezTo>
                      <a:cubicBezTo>
                        <a:pt x="59289" y="33911"/>
                        <a:pt x="49869" y="23235"/>
                        <a:pt x="38817" y="15825"/>
                      </a:cubicBezTo>
                      <a:cubicBezTo>
                        <a:pt x="34170" y="12811"/>
                        <a:pt x="36179" y="5526"/>
                        <a:pt x="31909" y="1256"/>
                      </a:cubicBezTo>
                      <a:lnTo>
                        <a:pt x="9427" y="0"/>
                      </a:lnTo>
                      <a:cubicBezTo>
                        <a:pt x="4906" y="6657"/>
                        <a:pt x="887" y="14067"/>
                        <a:pt x="8" y="25370"/>
                      </a:cubicBezTo>
                      <a:lnTo>
                        <a:pt x="8" y="25370"/>
                      </a:lnTo>
                      <a:cubicBezTo>
                        <a:pt x="-118" y="27505"/>
                        <a:pt x="1264" y="29766"/>
                        <a:pt x="4152" y="31273"/>
                      </a:cubicBezTo>
                      <a:lnTo>
                        <a:pt x="35049" y="47726"/>
                      </a:lnTo>
                      <a:cubicBezTo>
                        <a:pt x="40449" y="50615"/>
                        <a:pt x="49115" y="50364"/>
                        <a:pt x="54390" y="46973"/>
                      </a:cubicBezTo>
                      <a:cubicBezTo>
                        <a:pt x="56902" y="45591"/>
                        <a:pt x="58158" y="43833"/>
                        <a:pt x="58409" y="42074"/>
                      </a:cubicBezTo>
                      <a:lnTo>
                        <a:pt x="58409" y="42074"/>
                      </a:lnTo>
                      <a:lnTo>
                        <a:pt x="58409" y="42074"/>
                      </a:lnTo>
                      <a:close/>
                    </a:path>
                  </a:pathLst>
                </a:custGeom>
                <a:solidFill>
                  <a:srgbClr val="43291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2" name="Freeform: Shape 2271">
                  <a:extLst>
                    <a:ext uri="{FF2B5EF4-FFF2-40B4-BE49-F238E27FC236}">
                      <a16:creationId xmlns:a16="http://schemas.microsoft.com/office/drawing/2014/main" id="{FB92175A-5223-4522-9267-E22B92E88425}"/>
                    </a:ext>
                  </a:extLst>
                </p:cNvPr>
                <p:cNvSpPr/>
                <p:nvPr/>
              </p:nvSpPr>
              <p:spPr>
                <a:xfrm>
                  <a:off x="5201512" y="2274999"/>
                  <a:ext cx="68197" cy="131623"/>
                </a:xfrm>
                <a:custGeom>
                  <a:avLst/>
                  <a:gdLst>
                    <a:gd name="connsiteX0" fmla="*/ 68198 w 68197"/>
                    <a:gd name="connsiteY0" fmla="*/ 123460 h 131623"/>
                    <a:gd name="connsiteX1" fmla="*/ 21226 w 68197"/>
                    <a:gd name="connsiteY1" fmla="*/ 131623 h 131623"/>
                    <a:gd name="connsiteX2" fmla="*/ 19593 w 68197"/>
                    <a:gd name="connsiteY2" fmla="*/ 121576 h 131623"/>
                    <a:gd name="connsiteX3" fmla="*/ 9545 w 68197"/>
                    <a:gd name="connsiteY3" fmla="*/ 63551 h 131623"/>
                    <a:gd name="connsiteX4" fmla="*/ 0 w 68197"/>
                    <a:gd name="connsiteY4" fmla="*/ 8038 h 131623"/>
                    <a:gd name="connsiteX5" fmla="*/ 46847 w 68197"/>
                    <a:gd name="connsiteY5" fmla="*/ 0 h 131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197" h="131623">
                      <a:moveTo>
                        <a:pt x="68198" y="123460"/>
                      </a:moveTo>
                      <a:lnTo>
                        <a:pt x="21226" y="131623"/>
                      </a:lnTo>
                      <a:lnTo>
                        <a:pt x="19593" y="121576"/>
                      </a:lnTo>
                      <a:lnTo>
                        <a:pt x="9545" y="63551"/>
                      </a:lnTo>
                      <a:lnTo>
                        <a:pt x="0" y="8038"/>
                      </a:lnTo>
                      <a:lnTo>
                        <a:pt x="46847" y="0"/>
                      </a:lnTo>
                      <a:close/>
                    </a:path>
                  </a:pathLst>
                </a:custGeom>
                <a:solidFill>
                  <a:srgbClr val="186F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3" name="Freeform: Shape 2272">
                  <a:extLst>
                    <a:ext uri="{FF2B5EF4-FFF2-40B4-BE49-F238E27FC236}">
                      <a16:creationId xmlns:a16="http://schemas.microsoft.com/office/drawing/2014/main" id="{07703BFE-EE15-45A8-9E35-CFBB069BF170}"/>
                    </a:ext>
                  </a:extLst>
                </p:cNvPr>
                <p:cNvSpPr/>
                <p:nvPr/>
              </p:nvSpPr>
              <p:spPr>
                <a:xfrm>
                  <a:off x="5208922" y="2315190"/>
                  <a:ext cx="15699" cy="91307"/>
                </a:xfrm>
                <a:custGeom>
                  <a:avLst/>
                  <a:gdLst>
                    <a:gd name="connsiteX0" fmla="*/ 15699 w 15699"/>
                    <a:gd name="connsiteY0" fmla="*/ 0 h 91307"/>
                    <a:gd name="connsiteX1" fmla="*/ 13816 w 15699"/>
                    <a:gd name="connsiteY1" fmla="*/ 91307 h 91307"/>
                    <a:gd name="connsiteX2" fmla="*/ 0 w 15699"/>
                    <a:gd name="connsiteY2" fmla="*/ 10801 h 91307"/>
                    <a:gd name="connsiteX3" fmla="*/ 15699 w 15699"/>
                    <a:gd name="connsiteY3" fmla="*/ 0 h 91307"/>
                  </a:gdLst>
                  <a:ahLst/>
                  <a:cxnLst>
                    <a:cxn ang="0">
                      <a:pos x="connsiteX0" y="connsiteY0"/>
                    </a:cxn>
                    <a:cxn ang="0">
                      <a:pos x="connsiteX1" y="connsiteY1"/>
                    </a:cxn>
                    <a:cxn ang="0">
                      <a:pos x="connsiteX2" y="connsiteY2"/>
                    </a:cxn>
                    <a:cxn ang="0">
                      <a:pos x="connsiteX3" y="connsiteY3"/>
                    </a:cxn>
                  </a:cxnLst>
                  <a:rect l="l" t="t" r="r" b="b"/>
                  <a:pathLst>
                    <a:path w="15699" h="91307">
                      <a:moveTo>
                        <a:pt x="15699" y="0"/>
                      </a:moveTo>
                      <a:cubicBezTo>
                        <a:pt x="9922" y="14695"/>
                        <a:pt x="10801" y="45089"/>
                        <a:pt x="13816" y="91307"/>
                      </a:cubicBezTo>
                      <a:lnTo>
                        <a:pt x="0" y="10801"/>
                      </a:lnTo>
                      <a:cubicBezTo>
                        <a:pt x="0" y="10927"/>
                        <a:pt x="8540" y="10299"/>
                        <a:pt x="15699" y="0"/>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4" name="Freeform: Shape 2273">
                  <a:extLst>
                    <a:ext uri="{FF2B5EF4-FFF2-40B4-BE49-F238E27FC236}">
                      <a16:creationId xmlns:a16="http://schemas.microsoft.com/office/drawing/2014/main" id="{79C92A54-84B1-4A3B-94D5-91C9D4D8BD81}"/>
                    </a:ext>
                  </a:extLst>
                </p:cNvPr>
                <p:cNvSpPr/>
                <p:nvPr/>
              </p:nvSpPr>
              <p:spPr>
                <a:xfrm>
                  <a:off x="5222738" y="2375637"/>
                  <a:ext cx="49275" cy="149774"/>
                </a:xfrm>
                <a:custGeom>
                  <a:avLst/>
                  <a:gdLst>
                    <a:gd name="connsiteX0" fmla="*/ 46972 w 49275"/>
                    <a:gd name="connsiteY0" fmla="*/ 22822 h 149774"/>
                    <a:gd name="connsiteX1" fmla="*/ 27882 w 49275"/>
                    <a:gd name="connsiteY1" fmla="*/ 89 h 149774"/>
                    <a:gd name="connsiteX2" fmla="*/ 8540 w 49275"/>
                    <a:gd name="connsiteY2" fmla="*/ 8002 h 149774"/>
                    <a:gd name="connsiteX3" fmla="*/ 0 w 49275"/>
                    <a:gd name="connsiteY3" fmla="*/ 30985 h 149774"/>
                    <a:gd name="connsiteX4" fmla="*/ 502 w 49275"/>
                    <a:gd name="connsiteY4" fmla="*/ 137113 h 149774"/>
                    <a:gd name="connsiteX5" fmla="*/ 7661 w 49275"/>
                    <a:gd name="connsiteY5" fmla="*/ 146407 h 149774"/>
                    <a:gd name="connsiteX6" fmla="*/ 40818 w 49275"/>
                    <a:gd name="connsiteY6" fmla="*/ 145277 h 149774"/>
                    <a:gd name="connsiteX7" fmla="*/ 47349 w 49275"/>
                    <a:gd name="connsiteY7" fmla="*/ 135480 h 149774"/>
                    <a:gd name="connsiteX8" fmla="*/ 46972 w 49275"/>
                    <a:gd name="connsiteY8" fmla="*/ 22822 h 149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275" h="149774">
                      <a:moveTo>
                        <a:pt x="46972" y="22822"/>
                      </a:moveTo>
                      <a:cubicBezTo>
                        <a:pt x="45465" y="14281"/>
                        <a:pt x="36548" y="968"/>
                        <a:pt x="27882" y="89"/>
                      </a:cubicBezTo>
                      <a:cubicBezTo>
                        <a:pt x="20723" y="-664"/>
                        <a:pt x="14192" y="3480"/>
                        <a:pt x="8540" y="8002"/>
                      </a:cubicBezTo>
                      <a:cubicBezTo>
                        <a:pt x="4521" y="11141"/>
                        <a:pt x="2135" y="26338"/>
                        <a:pt x="0" y="30985"/>
                      </a:cubicBezTo>
                      <a:cubicBezTo>
                        <a:pt x="3517" y="53718"/>
                        <a:pt x="3768" y="75697"/>
                        <a:pt x="502" y="137113"/>
                      </a:cubicBezTo>
                      <a:cubicBezTo>
                        <a:pt x="628" y="140630"/>
                        <a:pt x="3014" y="144021"/>
                        <a:pt x="7661" y="146407"/>
                      </a:cubicBezTo>
                      <a:cubicBezTo>
                        <a:pt x="16955" y="151305"/>
                        <a:pt x="31901" y="150803"/>
                        <a:pt x="40818" y="145277"/>
                      </a:cubicBezTo>
                      <a:cubicBezTo>
                        <a:pt x="45340" y="142514"/>
                        <a:pt x="47475" y="138871"/>
                        <a:pt x="47349" y="135480"/>
                      </a:cubicBezTo>
                      <a:cubicBezTo>
                        <a:pt x="48479" y="130456"/>
                        <a:pt x="51243" y="47564"/>
                        <a:pt x="46972" y="22822"/>
                      </a:cubicBezTo>
                      <a:close/>
                    </a:path>
                  </a:pathLst>
                </a:custGeom>
                <a:solidFill>
                  <a:srgbClr val="186F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5" name="Freeform: Shape 2274">
                  <a:extLst>
                    <a:ext uri="{FF2B5EF4-FFF2-40B4-BE49-F238E27FC236}">
                      <a16:creationId xmlns:a16="http://schemas.microsoft.com/office/drawing/2014/main" id="{449683FB-9609-4144-8095-151231719984}"/>
                    </a:ext>
                  </a:extLst>
                </p:cNvPr>
                <p:cNvSpPr/>
                <p:nvPr/>
              </p:nvSpPr>
              <p:spPr>
                <a:xfrm>
                  <a:off x="5224366" y="2478588"/>
                  <a:ext cx="47228" cy="23456"/>
                </a:xfrm>
                <a:custGeom>
                  <a:avLst/>
                  <a:gdLst>
                    <a:gd name="connsiteX0" fmla="*/ 507 w 47228"/>
                    <a:gd name="connsiteY0" fmla="*/ 126 h 23456"/>
                    <a:gd name="connsiteX1" fmla="*/ 7415 w 47228"/>
                    <a:gd name="connsiteY1" fmla="*/ 9922 h 23456"/>
                    <a:gd name="connsiteX2" fmla="*/ 40572 w 47228"/>
                    <a:gd name="connsiteY2" fmla="*/ 9545 h 23456"/>
                    <a:gd name="connsiteX3" fmla="*/ 47228 w 47228"/>
                    <a:gd name="connsiteY3" fmla="*/ 0 h 23456"/>
                    <a:gd name="connsiteX4" fmla="*/ 46977 w 47228"/>
                    <a:gd name="connsiteY4" fmla="*/ 9294 h 23456"/>
                    <a:gd name="connsiteX5" fmla="*/ 40321 w 47228"/>
                    <a:gd name="connsiteY5" fmla="*/ 19216 h 23456"/>
                    <a:gd name="connsiteX6" fmla="*/ 6912 w 47228"/>
                    <a:gd name="connsiteY6" fmla="*/ 19593 h 23456"/>
                    <a:gd name="connsiteX7" fmla="*/ 5 w 47228"/>
                    <a:gd name="connsiteY7" fmla="*/ 9922 h 23456"/>
                    <a:gd name="connsiteX8" fmla="*/ 507 w 47228"/>
                    <a:gd name="connsiteY8" fmla="*/ 126 h 2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228" h="23456">
                      <a:moveTo>
                        <a:pt x="507" y="126"/>
                      </a:moveTo>
                      <a:cubicBezTo>
                        <a:pt x="507" y="3642"/>
                        <a:pt x="2767" y="7159"/>
                        <a:pt x="7415" y="9922"/>
                      </a:cubicBezTo>
                      <a:cubicBezTo>
                        <a:pt x="16583" y="15323"/>
                        <a:pt x="31529" y="15071"/>
                        <a:pt x="40572" y="9545"/>
                      </a:cubicBezTo>
                      <a:cubicBezTo>
                        <a:pt x="44967" y="6908"/>
                        <a:pt x="47103" y="3391"/>
                        <a:pt x="47228" y="0"/>
                      </a:cubicBezTo>
                      <a:lnTo>
                        <a:pt x="46977" y="9294"/>
                      </a:lnTo>
                      <a:cubicBezTo>
                        <a:pt x="46851" y="12936"/>
                        <a:pt x="44967" y="16453"/>
                        <a:pt x="40321" y="19216"/>
                      </a:cubicBezTo>
                      <a:cubicBezTo>
                        <a:pt x="31152" y="24742"/>
                        <a:pt x="16206" y="24868"/>
                        <a:pt x="6912" y="19593"/>
                      </a:cubicBezTo>
                      <a:cubicBezTo>
                        <a:pt x="2265" y="16955"/>
                        <a:pt x="-121" y="13564"/>
                        <a:pt x="5" y="9922"/>
                      </a:cubicBezTo>
                      <a:lnTo>
                        <a:pt x="507" y="126"/>
                      </a:lnTo>
                      <a:close/>
                    </a:path>
                  </a:pathLst>
                </a:custGeom>
                <a:solidFill>
                  <a:srgbClr val="FFC5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6" name="Freeform: Shape 2275">
                  <a:extLst>
                    <a:ext uri="{FF2B5EF4-FFF2-40B4-BE49-F238E27FC236}">
                      <a16:creationId xmlns:a16="http://schemas.microsoft.com/office/drawing/2014/main" id="{134701CA-C145-413F-BBEC-900C172A89EC}"/>
                    </a:ext>
                  </a:extLst>
                </p:cNvPr>
                <p:cNvSpPr/>
                <p:nvPr/>
              </p:nvSpPr>
              <p:spPr>
                <a:xfrm>
                  <a:off x="5209662" y="2126658"/>
                  <a:ext cx="37077" cy="92590"/>
                </a:xfrm>
                <a:custGeom>
                  <a:avLst/>
                  <a:gdLst>
                    <a:gd name="connsiteX0" fmla="*/ 37064 w 37077"/>
                    <a:gd name="connsiteY0" fmla="*/ 74240 h 92590"/>
                    <a:gd name="connsiteX1" fmla="*/ 19983 w 37077"/>
                    <a:gd name="connsiteY1" fmla="*/ 92577 h 92590"/>
                    <a:gd name="connsiteX2" fmla="*/ 19983 w 37077"/>
                    <a:gd name="connsiteY2" fmla="*/ 92577 h 92590"/>
                    <a:gd name="connsiteX3" fmla="*/ 1646 w 37077"/>
                    <a:gd name="connsiteY3" fmla="*/ 75496 h 92590"/>
                    <a:gd name="connsiteX4" fmla="*/ 13 w 37077"/>
                    <a:gd name="connsiteY4" fmla="*/ 18350 h 92590"/>
                    <a:gd name="connsiteX5" fmla="*/ 17094 w 37077"/>
                    <a:gd name="connsiteY5" fmla="*/ 13 h 92590"/>
                    <a:gd name="connsiteX6" fmla="*/ 17094 w 37077"/>
                    <a:gd name="connsiteY6" fmla="*/ 13 h 92590"/>
                    <a:gd name="connsiteX7" fmla="*/ 35431 w 37077"/>
                    <a:gd name="connsiteY7" fmla="*/ 17094 h 92590"/>
                    <a:gd name="connsiteX8" fmla="*/ 37064 w 37077"/>
                    <a:gd name="connsiteY8" fmla="*/ 74240 h 92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077" h="92590">
                      <a:moveTo>
                        <a:pt x="37064" y="74240"/>
                      </a:moveTo>
                      <a:cubicBezTo>
                        <a:pt x="37441" y="84036"/>
                        <a:pt x="29779" y="92200"/>
                        <a:pt x="19983" y="92577"/>
                      </a:cubicBezTo>
                      <a:lnTo>
                        <a:pt x="19983" y="92577"/>
                      </a:lnTo>
                      <a:cubicBezTo>
                        <a:pt x="10186" y="92953"/>
                        <a:pt x="2023" y="85292"/>
                        <a:pt x="1646" y="75496"/>
                      </a:cubicBezTo>
                      <a:lnTo>
                        <a:pt x="13" y="18350"/>
                      </a:lnTo>
                      <a:cubicBezTo>
                        <a:pt x="-363" y="8554"/>
                        <a:pt x="7298" y="390"/>
                        <a:pt x="17094" y="13"/>
                      </a:cubicBezTo>
                      <a:lnTo>
                        <a:pt x="17094" y="13"/>
                      </a:lnTo>
                      <a:cubicBezTo>
                        <a:pt x="26890" y="-363"/>
                        <a:pt x="35054" y="7298"/>
                        <a:pt x="35431" y="17094"/>
                      </a:cubicBezTo>
                      <a:lnTo>
                        <a:pt x="37064" y="74240"/>
                      </a:ln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7" name="Freeform: Shape 2276">
                  <a:extLst>
                    <a:ext uri="{FF2B5EF4-FFF2-40B4-BE49-F238E27FC236}">
                      <a16:creationId xmlns:a16="http://schemas.microsoft.com/office/drawing/2014/main" id="{3612A16E-F818-44AC-AF66-0CB6E6EC3CAD}"/>
                    </a:ext>
                  </a:extLst>
                </p:cNvPr>
                <p:cNvSpPr/>
                <p:nvPr/>
              </p:nvSpPr>
              <p:spPr>
                <a:xfrm>
                  <a:off x="5217334" y="2190545"/>
                  <a:ext cx="58984" cy="47201"/>
                </a:xfrm>
                <a:custGeom>
                  <a:avLst/>
                  <a:gdLst>
                    <a:gd name="connsiteX0" fmla="*/ 56019 w 58984"/>
                    <a:gd name="connsiteY0" fmla="*/ 36101 h 47201"/>
                    <a:gd name="connsiteX1" fmla="*/ 37556 w 58984"/>
                    <a:gd name="connsiteY1" fmla="*/ 46148 h 47201"/>
                    <a:gd name="connsiteX2" fmla="*/ 10428 w 58984"/>
                    <a:gd name="connsiteY2" fmla="*/ 33966 h 47201"/>
                    <a:gd name="connsiteX3" fmla="*/ 1636 w 58984"/>
                    <a:gd name="connsiteY3" fmla="*/ 10479 h 47201"/>
                    <a:gd name="connsiteX4" fmla="*/ 2013 w 58984"/>
                    <a:gd name="connsiteY4" fmla="*/ 9726 h 47201"/>
                    <a:gd name="connsiteX5" fmla="*/ 5278 w 58984"/>
                    <a:gd name="connsiteY5" fmla="*/ 5204 h 47201"/>
                    <a:gd name="connsiteX6" fmla="*/ 5655 w 58984"/>
                    <a:gd name="connsiteY6" fmla="*/ 4828 h 47201"/>
                    <a:gd name="connsiteX7" fmla="*/ 8167 w 58984"/>
                    <a:gd name="connsiteY7" fmla="*/ 2818 h 47201"/>
                    <a:gd name="connsiteX8" fmla="*/ 9674 w 58984"/>
                    <a:gd name="connsiteY8" fmla="*/ 1939 h 47201"/>
                    <a:gd name="connsiteX9" fmla="*/ 24997 w 58984"/>
                    <a:gd name="connsiteY9" fmla="*/ 1562 h 47201"/>
                    <a:gd name="connsiteX10" fmla="*/ 52125 w 58984"/>
                    <a:gd name="connsiteY10" fmla="*/ 13745 h 47201"/>
                    <a:gd name="connsiteX11" fmla="*/ 56019 w 58984"/>
                    <a:gd name="connsiteY11" fmla="*/ 36101 h 4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984" h="47201">
                      <a:moveTo>
                        <a:pt x="56019" y="36101"/>
                      </a:moveTo>
                      <a:cubicBezTo>
                        <a:pt x="54512" y="39366"/>
                        <a:pt x="47855" y="50670"/>
                        <a:pt x="37556" y="46148"/>
                      </a:cubicBezTo>
                      <a:lnTo>
                        <a:pt x="10428" y="33966"/>
                      </a:lnTo>
                      <a:cubicBezTo>
                        <a:pt x="1511" y="29947"/>
                        <a:pt x="-2508" y="19397"/>
                        <a:pt x="1636" y="10479"/>
                      </a:cubicBezTo>
                      <a:cubicBezTo>
                        <a:pt x="1762" y="10228"/>
                        <a:pt x="1887" y="9977"/>
                        <a:pt x="2013" y="9726"/>
                      </a:cubicBezTo>
                      <a:cubicBezTo>
                        <a:pt x="2892" y="7968"/>
                        <a:pt x="4022" y="6460"/>
                        <a:pt x="5278" y="5204"/>
                      </a:cubicBezTo>
                      <a:cubicBezTo>
                        <a:pt x="5404" y="5079"/>
                        <a:pt x="5529" y="4953"/>
                        <a:pt x="5655" y="4828"/>
                      </a:cubicBezTo>
                      <a:cubicBezTo>
                        <a:pt x="6409" y="4074"/>
                        <a:pt x="7288" y="3446"/>
                        <a:pt x="8167" y="2818"/>
                      </a:cubicBezTo>
                      <a:cubicBezTo>
                        <a:pt x="8669" y="2441"/>
                        <a:pt x="9172" y="2190"/>
                        <a:pt x="9674" y="1939"/>
                      </a:cubicBezTo>
                      <a:cubicBezTo>
                        <a:pt x="14321" y="-447"/>
                        <a:pt x="19847" y="-699"/>
                        <a:pt x="24997" y="1562"/>
                      </a:cubicBezTo>
                      <a:lnTo>
                        <a:pt x="52125" y="13745"/>
                      </a:lnTo>
                      <a:cubicBezTo>
                        <a:pt x="61042" y="17890"/>
                        <a:pt x="60037" y="27184"/>
                        <a:pt x="56019" y="36101"/>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8" name="Freeform: Shape 2277">
                  <a:extLst>
                    <a:ext uri="{FF2B5EF4-FFF2-40B4-BE49-F238E27FC236}">
                      <a16:creationId xmlns:a16="http://schemas.microsoft.com/office/drawing/2014/main" id="{8F2117A2-034D-4CB6-ACF7-5B891A72AA1F}"/>
                    </a:ext>
                  </a:extLst>
                </p:cNvPr>
                <p:cNvSpPr/>
                <p:nvPr/>
              </p:nvSpPr>
              <p:spPr>
                <a:xfrm>
                  <a:off x="5148687" y="2128458"/>
                  <a:ext cx="101748" cy="191484"/>
                </a:xfrm>
                <a:custGeom>
                  <a:avLst/>
                  <a:gdLst>
                    <a:gd name="connsiteX0" fmla="*/ 97537 w 101748"/>
                    <a:gd name="connsiteY0" fmla="*/ 163873 h 191484"/>
                    <a:gd name="connsiteX1" fmla="*/ 91634 w 101748"/>
                    <a:gd name="connsiteY1" fmla="*/ 168520 h 191484"/>
                    <a:gd name="connsiteX2" fmla="*/ 89373 w 101748"/>
                    <a:gd name="connsiteY2" fmla="*/ 169776 h 191484"/>
                    <a:gd name="connsiteX3" fmla="*/ 68022 w 101748"/>
                    <a:gd name="connsiteY3" fmla="*/ 180577 h 191484"/>
                    <a:gd name="connsiteX4" fmla="*/ 66264 w 101748"/>
                    <a:gd name="connsiteY4" fmla="*/ 181456 h 191484"/>
                    <a:gd name="connsiteX5" fmla="*/ 65259 w 101748"/>
                    <a:gd name="connsiteY5" fmla="*/ 181959 h 191484"/>
                    <a:gd name="connsiteX6" fmla="*/ 64129 w 101748"/>
                    <a:gd name="connsiteY6" fmla="*/ 182587 h 191484"/>
                    <a:gd name="connsiteX7" fmla="*/ 62622 w 101748"/>
                    <a:gd name="connsiteY7" fmla="*/ 183340 h 191484"/>
                    <a:gd name="connsiteX8" fmla="*/ 55714 w 101748"/>
                    <a:gd name="connsiteY8" fmla="*/ 186857 h 191484"/>
                    <a:gd name="connsiteX9" fmla="*/ 31600 w 101748"/>
                    <a:gd name="connsiteY9" fmla="*/ 190750 h 191484"/>
                    <a:gd name="connsiteX10" fmla="*/ 19668 w 101748"/>
                    <a:gd name="connsiteY10" fmla="*/ 187234 h 191484"/>
                    <a:gd name="connsiteX11" fmla="*/ 19668 w 101748"/>
                    <a:gd name="connsiteY11" fmla="*/ 187234 h 191484"/>
                    <a:gd name="connsiteX12" fmla="*/ 15775 w 101748"/>
                    <a:gd name="connsiteY12" fmla="*/ 144280 h 191484"/>
                    <a:gd name="connsiteX13" fmla="*/ 7234 w 101748"/>
                    <a:gd name="connsiteY13" fmla="*/ 99443 h 191484"/>
                    <a:gd name="connsiteX14" fmla="*/ 1080 w 101748"/>
                    <a:gd name="connsiteY14" fmla="*/ 67291 h 191484"/>
                    <a:gd name="connsiteX15" fmla="*/ 1080 w 101748"/>
                    <a:gd name="connsiteY15" fmla="*/ 67291 h 191484"/>
                    <a:gd name="connsiteX16" fmla="*/ 1206 w 101748"/>
                    <a:gd name="connsiteY16" fmla="*/ 41292 h 191484"/>
                    <a:gd name="connsiteX17" fmla="*/ 1834 w 101748"/>
                    <a:gd name="connsiteY17" fmla="*/ 39660 h 191484"/>
                    <a:gd name="connsiteX18" fmla="*/ 13388 w 101748"/>
                    <a:gd name="connsiteY18" fmla="*/ 23960 h 191484"/>
                    <a:gd name="connsiteX19" fmla="*/ 36623 w 101748"/>
                    <a:gd name="connsiteY19" fmla="*/ 6754 h 191484"/>
                    <a:gd name="connsiteX20" fmla="*/ 56216 w 101748"/>
                    <a:gd name="connsiteY20" fmla="*/ 97 h 191484"/>
                    <a:gd name="connsiteX21" fmla="*/ 97160 w 101748"/>
                    <a:gd name="connsiteY21" fmla="*/ 32878 h 191484"/>
                    <a:gd name="connsiteX22" fmla="*/ 97160 w 101748"/>
                    <a:gd name="connsiteY22" fmla="*/ 32878 h 191484"/>
                    <a:gd name="connsiteX23" fmla="*/ 98416 w 101748"/>
                    <a:gd name="connsiteY23" fmla="*/ 44558 h 191484"/>
                    <a:gd name="connsiteX24" fmla="*/ 101054 w 101748"/>
                    <a:gd name="connsiteY24" fmla="*/ 142899 h 191484"/>
                    <a:gd name="connsiteX25" fmla="*/ 97537 w 101748"/>
                    <a:gd name="connsiteY25" fmla="*/ 163873 h 191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1748" h="191484">
                      <a:moveTo>
                        <a:pt x="97537" y="163873"/>
                      </a:moveTo>
                      <a:cubicBezTo>
                        <a:pt x="95904" y="165506"/>
                        <a:pt x="94020" y="167138"/>
                        <a:pt x="91634" y="168520"/>
                      </a:cubicBezTo>
                      <a:cubicBezTo>
                        <a:pt x="90880" y="168897"/>
                        <a:pt x="90127" y="169399"/>
                        <a:pt x="89373" y="169776"/>
                      </a:cubicBezTo>
                      <a:lnTo>
                        <a:pt x="68022" y="180577"/>
                      </a:lnTo>
                      <a:lnTo>
                        <a:pt x="66264" y="181456"/>
                      </a:lnTo>
                      <a:lnTo>
                        <a:pt x="65259" y="181959"/>
                      </a:lnTo>
                      <a:lnTo>
                        <a:pt x="64129" y="182587"/>
                      </a:lnTo>
                      <a:lnTo>
                        <a:pt x="62622" y="183340"/>
                      </a:lnTo>
                      <a:lnTo>
                        <a:pt x="55714" y="186857"/>
                      </a:lnTo>
                      <a:cubicBezTo>
                        <a:pt x="47927" y="191378"/>
                        <a:pt x="39387" y="192383"/>
                        <a:pt x="31600" y="190750"/>
                      </a:cubicBezTo>
                      <a:cubicBezTo>
                        <a:pt x="23813" y="189118"/>
                        <a:pt x="19166" y="195272"/>
                        <a:pt x="19668" y="187234"/>
                      </a:cubicBezTo>
                      <a:lnTo>
                        <a:pt x="19668" y="187234"/>
                      </a:lnTo>
                      <a:cubicBezTo>
                        <a:pt x="20547" y="173167"/>
                        <a:pt x="15775" y="152695"/>
                        <a:pt x="15775" y="144280"/>
                      </a:cubicBezTo>
                      <a:lnTo>
                        <a:pt x="7234" y="99443"/>
                      </a:lnTo>
                      <a:lnTo>
                        <a:pt x="1080" y="67291"/>
                      </a:lnTo>
                      <a:cubicBezTo>
                        <a:pt x="1080" y="67291"/>
                        <a:pt x="1080" y="67291"/>
                        <a:pt x="1080" y="67291"/>
                      </a:cubicBezTo>
                      <a:cubicBezTo>
                        <a:pt x="1080" y="67291"/>
                        <a:pt x="-1432" y="48075"/>
                        <a:pt x="1206" y="41292"/>
                      </a:cubicBezTo>
                      <a:cubicBezTo>
                        <a:pt x="1457" y="40790"/>
                        <a:pt x="1708" y="40162"/>
                        <a:pt x="1834" y="39660"/>
                      </a:cubicBezTo>
                      <a:cubicBezTo>
                        <a:pt x="4345" y="33882"/>
                        <a:pt x="8490" y="28733"/>
                        <a:pt x="13388" y="23960"/>
                      </a:cubicBezTo>
                      <a:cubicBezTo>
                        <a:pt x="20171" y="17429"/>
                        <a:pt x="28586" y="11652"/>
                        <a:pt x="36623" y="6754"/>
                      </a:cubicBezTo>
                      <a:cubicBezTo>
                        <a:pt x="43154" y="2735"/>
                        <a:pt x="49811" y="600"/>
                        <a:pt x="56216" y="97"/>
                      </a:cubicBezTo>
                      <a:cubicBezTo>
                        <a:pt x="75558" y="-1284"/>
                        <a:pt x="92513" y="12154"/>
                        <a:pt x="97160" y="32878"/>
                      </a:cubicBezTo>
                      <a:cubicBezTo>
                        <a:pt x="97160" y="32878"/>
                        <a:pt x="97160" y="32878"/>
                        <a:pt x="97160" y="32878"/>
                      </a:cubicBezTo>
                      <a:cubicBezTo>
                        <a:pt x="98039" y="36520"/>
                        <a:pt x="98416" y="40413"/>
                        <a:pt x="98416" y="44558"/>
                      </a:cubicBezTo>
                      <a:lnTo>
                        <a:pt x="101054" y="142899"/>
                      </a:lnTo>
                      <a:cubicBezTo>
                        <a:pt x="101054" y="152067"/>
                        <a:pt x="104068" y="156965"/>
                        <a:pt x="97537" y="163873"/>
                      </a:cubicBezTo>
                      <a:close/>
                    </a:path>
                  </a:pathLst>
                </a:custGeom>
                <a:solidFill>
                  <a:srgbClr val="186F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9" name="Freeform: Shape 2278">
                  <a:extLst>
                    <a:ext uri="{FF2B5EF4-FFF2-40B4-BE49-F238E27FC236}">
                      <a16:creationId xmlns:a16="http://schemas.microsoft.com/office/drawing/2014/main" id="{462D4831-F695-4E5E-B483-056AD548CC8C}"/>
                    </a:ext>
                  </a:extLst>
                </p:cNvPr>
                <p:cNvSpPr/>
                <p:nvPr/>
              </p:nvSpPr>
              <p:spPr>
                <a:xfrm>
                  <a:off x="5205782" y="2194870"/>
                  <a:ext cx="38055" cy="31775"/>
                </a:xfrm>
                <a:custGeom>
                  <a:avLst/>
                  <a:gdLst>
                    <a:gd name="connsiteX0" fmla="*/ 0 w 38055"/>
                    <a:gd name="connsiteY0" fmla="*/ 31775 h 31775"/>
                    <a:gd name="connsiteX1" fmla="*/ 38055 w 38055"/>
                    <a:gd name="connsiteY1" fmla="*/ 9796 h 31775"/>
                    <a:gd name="connsiteX2" fmla="*/ 38055 w 38055"/>
                    <a:gd name="connsiteY2" fmla="*/ 0 h 31775"/>
                    <a:gd name="connsiteX3" fmla="*/ 0 w 38055"/>
                    <a:gd name="connsiteY3" fmla="*/ 21979 h 31775"/>
                  </a:gdLst>
                  <a:ahLst/>
                  <a:cxnLst>
                    <a:cxn ang="0">
                      <a:pos x="connsiteX0" y="connsiteY0"/>
                    </a:cxn>
                    <a:cxn ang="0">
                      <a:pos x="connsiteX1" y="connsiteY1"/>
                    </a:cxn>
                    <a:cxn ang="0">
                      <a:pos x="connsiteX2" y="connsiteY2"/>
                    </a:cxn>
                    <a:cxn ang="0">
                      <a:pos x="connsiteX3" y="connsiteY3"/>
                    </a:cxn>
                  </a:cxnLst>
                  <a:rect l="l" t="t" r="r" b="b"/>
                  <a:pathLst>
                    <a:path w="38055" h="31775">
                      <a:moveTo>
                        <a:pt x="0" y="31775"/>
                      </a:moveTo>
                      <a:lnTo>
                        <a:pt x="38055" y="9796"/>
                      </a:lnTo>
                      <a:lnTo>
                        <a:pt x="38055" y="0"/>
                      </a:lnTo>
                      <a:lnTo>
                        <a:pt x="0" y="21979"/>
                      </a:lnTo>
                      <a:close/>
                    </a:path>
                  </a:pathLst>
                </a:custGeom>
                <a:solidFill>
                  <a:srgbClr val="FFC5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0" name="Freeform: Shape 2279">
                  <a:extLst>
                    <a:ext uri="{FF2B5EF4-FFF2-40B4-BE49-F238E27FC236}">
                      <a16:creationId xmlns:a16="http://schemas.microsoft.com/office/drawing/2014/main" id="{17F5A3F5-C348-46D9-AB55-9D9D20F7DF50}"/>
                    </a:ext>
                  </a:extLst>
                </p:cNvPr>
                <p:cNvSpPr/>
                <p:nvPr/>
              </p:nvSpPr>
              <p:spPr>
                <a:xfrm>
                  <a:off x="5200130" y="2381001"/>
                  <a:ext cx="94" cy="12559"/>
                </a:xfrm>
                <a:custGeom>
                  <a:avLst/>
                  <a:gdLst>
                    <a:gd name="connsiteX0" fmla="*/ 0 w 94"/>
                    <a:gd name="connsiteY0" fmla="*/ 0 h 12559"/>
                    <a:gd name="connsiteX1" fmla="*/ 0 w 94"/>
                    <a:gd name="connsiteY1" fmla="*/ 0 h 12559"/>
                    <a:gd name="connsiteX2" fmla="*/ 0 w 94"/>
                    <a:gd name="connsiteY2" fmla="*/ 0 h 12559"/>
                  </a:gdLst>
                  <a:ahLst/>
                  <a:cxnLst>
                    <a:cxn ang="0">
                      <a:pos x="connsiteX0" y="connsiteY0"/>
                    </a:cxn>
                    <a:cxn ang="0">
                      <a:pos x="connsiteX1" y="connsiteY1"/>
                    </a:cxn>
                    <a:cxn ang="0">
                      <a:pos x="connsiteX2" y="connsiteY2"/>
                    </a:cxn>
                  </a:cxnLst>
                  <a:rect l="l" t="t" r="r" b="b"/>
                  <a:pathLst>
                    <a:path w="94" h="12559">
                      <a:moveTo>
                        <a:pt x="0" y="0"/>
                      </a:moveTo>
                      <a:lnTo>
                        <a:pt x="0" y="0"/>
                      </a:lnTo>
                      <a:cubicBezTo>
                        <a:pt x="126" y="0"/>
                        <a:pt x="126" y="0"/>
                        <a:pt x="0" y="0"/>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1" name="Freeform: Shape 2280">
                  <a:extLst>
                    <a:ext uri="{FF2B5EF4-FFF2-40B4-BE49-F238E27FC236}">
                      <a16:creationId xmlns:a16="http://schemas.microsoft.com/office/drawing/2014/main" id="{BAD9C5BE-3BBA-4095-8E6C-251662D62692}"/>
                    </a:ext>
                  </a:extLst>
                </p:cNvPr>
                <p:cNvSpPr/>
                <p:nvPr/>
              </p:nvSpPr>
              <p:spPr>
                <a:xfrm>
                  <a:off x="5148791" y="2163033"/>
                  <a:ext cx="49455" cy="64711"/>
                </a:xfrm>
                <a:custGeom>
                  <a:avLst/>
                  <a:gdLst>
                    <a:gd name="connsiteX0" fmla="*/ 49330 w 49455"/>
                    <a:gd name="connsiteY0" fmla="*/ 54695 h 64711"/>
                    <a:gd name="connsiteX1" fmla="*/ 47572 w 49455"/>
                    <a:gd name="connsiteY1" fmla="*/ 56328 h 64711"/>
                    <a:gd name="connsiteX2" fmla="*/ 37901 w 49455"/>
                    <a:gd name="connsiteY2" fmla="*/ 60473 h 64711"/>
                    <a:gd name="connsiteX3" fmla="*/ 36770 w 49455"/>
                    <a:gd name="connsiteY3" fmla="*/ 60849 h 64711"/>
                    <a:gd name="connsiteX4" fmla="*/ 28104 w 49455"/>
                    <a:gd name="connsiteY4" fmla="*/ 63612 h 64711"/>
                    <a:gd name="connsiteX5" fmla="*/ 20694 w 49455"/>
                    <a:gd name="connsiteY5" fmla="*/ 64240 h 64711"/>
                    <a:gd name="connsiteX6" fmla="*/ 11903 w 49455"/>
                    <a:gd name="connsiteY6" fmla="*/ 64617 h 64711"/>
                    <a:gd name="connsiteX7" fmla="*/ 7130 w 49455"/>
                    <a:gd name="connsiteY7" fmla="*/ 64617 h 64711"/>
                    <a:gd name="connsiteX8" fmla="*/ 976 w 49455"/>
                    <a:gd name="connsiteY8" fmla="*/ 32465 h 64711"/>
                    <a:gd name="connsiteX9" fmla="*/ 976 w 49455"/>
                    <a:gd name="connsiteY9" fmla="*/ 32465 h 64711"/>
                    <a:gd name="connsiteX10" fmla="*/ 851 w 49455"/>
                    <a:gd name="connsiteY10" fmla="*/ 31711 h 64711"/>
                    <a:gd name="connsiteX11" fmla="*/ 725 w 49455"/>
                    <a:gd name="connsiteY11" fmla="*/ 30958 h 64711"/>
                    <a:gd name="connsiteX12" fmla="*/ 599 w 49455"/>
                    <a:gd name="connsiteY12" fmla="*/ 30079 h 64711"/>
                    <a:gd name="connsiteX13" fmla="*/ 474 w 49455"/>
                    <a:gd name="connsiteY13" fmla="*/ 29074 h 64711"/>
                    <a:gd name="connsiteX14" fmla="*/ 474 w 49455"/>
                    <a:gd name="connsiteY14" fmla="*/ 28572 h 64711"/>
                    <a:gd name="connsiteX15" fmla="*/ 474 w 49455"/>
                    <a:gd name="connsiteY15" fmla="*/ 28069 h 64711"/>
                    <a:gd name="connsiteX16" fmla="*/ 474 w 49455"/>
                    <a:gd name="connsiteY16" fmla="*/ 27441 h 64711"/>
                    <a:gd name="connsiteX17" fmla="*/ 1227 w 49455"/>
                    <a:gd name="connsiteY17" fmla="*/ 6467 h 64711"/>
                    <a:gd name="connsiteX18" fmla="*/ 1855 w 49455"/>
                    <a:gd name="connsiteY18" fmla="*/ 4834 h 64711"/>
                    <a:gd name="connsiteX19" fmla="*/ 3111 w 49455"/>
                    <a:gd name="connsiteY19" fmla="*/ 4457 h 64711"/>
                    <a:gd name="connsiteX20" fmla="*/ 29486 w 49455"/>
                    <a:gd name="connsiteY20" fmla="*/ 1820 h 64711"/>
                    <a:gd name="connsiteX21" fmla="*/ 36770 w 49455"/>
                    <a:gd name="connsiteY21" fmla="*/ 10612 h 64711"/>
                    <a:gd name="connsiteX22" fmla="*/ 49456 w 49455"/>
                    <a:gd name="connsiteY22" fmla="*/ 53439 h 64711"/>
                    <a:gd name="connsiteX23" fmla="*/ 49330 w 49455"/>
                    <a:gd name="connsiteY23" fmla="*/ 54695 h 64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455" h="64711">
                      <a:moveTo>
                        <a:pt x="49330" y="54695"/>
                      </a:moveTo>
                      <a:cubicBezTo>
                        <a:pt x="49079" y="55449"/>
                        <a:pt x="48325" y="55951"/>
                        <a:pt x="47572" y="56328"/>
                      </a:cubicBezTo>
                      <a:cubicBezTo>
                        <a:pt x="44432" y="57961"/>
                        <a:pt x="41166" y="59217"/>
                        <a:pt x="37901" y="60473"/>
                      </a:cubicBezTo>
                      <a:cubicBezTo>
                        <a:pt x="37524" y="60598"/>
                        <a:pt x="37147" y="60724"/>
                        <a:pt x="36770" y="60849"/>
                      </a:cubicBezTo>
                      <a:cubicBezTo>
                        <a:pt x="33882" y="61980"/>
                        <a:pt x="31119" y="62985"/>
                        <a:pt x="28104" y="63612"/>
                      </a:cubicBezTo>
                      <a:cubicBezTo>
                        <a:pt x="25718" y="64115"/>
                        <a:pt x="23206" y="64240"/>
                        <a:pt x="20694" y="64240"/>
                      </a:cubicBezTo>
                      <a:cubicBezTo>
                        <a:pt x="17806" y="64366"/>
                        <a:pt x="14791" y="64492"/>
                        <a:pt x="11903" y="64617"/>
                      </a:cubicBezTo>
                      <a:cubicBezTo>
                        <a:pt x="10396" y="64743"/>
                        <a:pt x="8763" y="64743"/>
                        <a:pt x="7130" y="64617"/>
                      </a:cubicBezTo>
                      <a:lnTo>
                        <a:pt x="976" y="32465"/>
                      </a:lnTo>
                      <a:cubicBezTo>
                        <a:pt x="976" y="32465"/>
                        <a:pt x="976" y="32465"/>
                        <a:pt x="976" y="32465"/>
                      </a:cubicBezTo>
                      <a:cubicBezTo>
                        <a:pt x="976" y="32465"/>
                        <a:pt x="976" y="32214"/>
                        <a:pt x="851" y="31711"/>
                      </a:cubicBezTo>
                      <a:cubicBezTo>
                        <a:pt x="851" y="31460"/>
                        <a:pt x="851" y="31209"/>
                        <a:pt x="725" y="30958"/>
                      </a:cubicBezTo>
                      <a:cubicBezTo>
                        <a:pt x="725" y="30707"/>
                        <a:pt x="725" y="30455"/>
                        <a:pt x="599" y="30079"/>
                      </a:cubicBezTo>
                      <a:cubicBezTo>
                        <a:pt x="599" y="29828"/>
                        <a:pt x="599" y="29451"/>
                        <a:pt x="474" y="29074"/>
                      </a:cubicBezTo>
                      <a:cubicBezTo>
                        <a:pt x="474" y="28948"/>
                        <a:pt x="474" y="28697"/>
                        <a:pt x="474" y="28572"/>
                      </a:cubicBezTo>
                      <a:cubicBezTo>
                        <a:pt x="474" y="28446"/>
                        <a:pt x="474" y="28195"/>
                        <a:pt x="474" y="28069"/>
                      </a:cubicBezTo>
                      <a:cubicBezTo>
                        <a:pt x="474" y="27818"/>
                        <a:pt x="474" y="27692"/>
                        <a:pt x="474" y="27441"/>
                      </a:cubicBezTo>
                      <a:cubicBezTo>
                        <a:pt x="-29" y="21287"/>
                        <a:pt x="-531" y="11114"/>
                        <a:pt x="1227" y="6467"/>
                      </a:cubicBezTo>
                      <a:cubicBezTo>
                        <a:pt x="1478" y="5965"/>
                        <a:pt x="1730" y="5337"/>
                        <a:pt x="1855" y="4834"/>
                      </a:cubicBezTo>
                      <a:cubicBezTo>
                        <a:pt x="2358" y="4709"/>
                        <a:pt x="2734" y="4583"/>
                        <a:pt x="3111" y="4457"/>
                      </a:cubicBezTo>
                      <a:cubicBezTo>
                        <a:pt x="12028" y="2071"/>
                        <a:pt x="21323" y="-2576"/>
                        <a:pt x="29486" y="1820"/>
                      </a:cubicBezTo>
                      <a:cubicBezTo>
                        <a:pt x="32877" y="3704"/>
                        <a:pt x="35640" y="8602"/>
                        <a:pt x="36770" y="10612"/>
                      </a:cubicBezTo>
                      <a:cubicBezTo>
                        <a:pt x="43553" y="23925"/>
                        <a:pt x="47823" y="38619"/>
                        <a:pt x="49456" y="53439"/>
                      </a:cubicBezTo>
                      <a:cubicBezTo>
                        <a:pt x="49330" y="53942"/>
                        <a:pt x="49330" y="54318"/>
                        <a:pt x="49330" y="54695"/>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2" name="Freeform: Shape 2281">
                  <a:extLst>
                    <a:ext uri="{FF2B5EF4-FFF2-40B4-BE49-F238E27FC236}">
                      <a16:creationId xmlns:a16="http://schemas.microsoft.com/office/drawing/2014/main" id="{7F4D05C6-D23A-4AFC-BEFF-CE3BA079D440}"/>
                    </a:ext>
                  </a:extLst>
                </p:cNvPr>
                <p:cNvSpPr/>
                <p:nvPr/>
              </p:nvSpPr>
              <p:spPr>
                <a:xfrm>
                  <a:off x="5148526" y="2169500"/>
                  <a:ext cx="38040" cy="58244"/>
                </a:xfrm>
                <a:custGeom>
                  <a:avLst/>
                  <a:gdLst>
                    <a:gd name="connsiteX0" fmla="*/ 38040 w 38040"/>
                    <a:gd name="connsiteY0" fmla="*/ 54006 h 58244"/>
                    <a:gd name="connsiteX1" fmla="*/ 36910 w 38040"/>
                    <a:gd name="connsiteY1" fmla="*/ 54383 h 58244"/>
                    <a:gd name="connsiteX2" fmla="*/ 28244 w 38040"/>
                    <a:gd name="connsiteY2" fmla="*/ 57146 h 58244"/>
                    <a:gd name="connsiteX3" fmla="*/ 20834 w 38040"/>
                    <a:gd name="connsiteY3" fmla="*/ 57774 h 58244"/>
                    <a:gd name="connsiteX4" fmla="*/ 12042 w 38040"/>
                    <a:gd name="connsiteY4" fmla="*/ 58150 h 58244"/>
                    <a:gd name="connsiteX5" fmla="*/ 7269 w 38040"/>
                    <a:gd name="connsiteY5" fmla="*/ 58150 h 58244"/>
                    <a:gd name="connsiteX6" fmla="*/ 1115 w 38040"/>
                    <a:gd name="connsiteY6" fmla="*/ 25998 h 58244"/>
                    <a:gd name="connsiteX7" fmla="*/ 1115 w 38040"/>
                    <a:gd name="connsiteY7" fmla="*/ 25998 h 58244"/>
                    <a:gd name="connsiteX8" fmla="*/ 990 w 38040"/>
                    <a:gd name="connsiteY8" fmla="*/ 25245 h 58244"/>
                    <a:gd name="connsiteX9" fmla="*/ 864 w 38040"/>
                    <a:gd name="connsiteY9" fmla="*/ 24491 h 58244"/>
                    <a:gd name="connsiteX10" fmla="*/ 739 w 38040"/>
                    <a:gd name="connsiteY10" fmla="*/ 23612 h 58244"/>
                    <a:gd name="connsiteX11" fmla="*/ 613 w 38040"/>
                    <a:gd name="connsiteY11" fmla="*/ 22607 h 58244"/>
                    <a:gd name="connsiteX12" fmla="*/ 613 w 38040"/>
                    <a:gd name="connsiteY12" fmla="*/ 22105 h 58244"/>
                    <a:gd name="connsiteX13" fmla="*/ 613 w 38040"/>
                    <a:gd name="connsiteY13" fmla="*/ 21602 h 58244"/>
                    <a:gd name="connsiteX14" fmla="*/ 613 w 38040"/>
                    <a:gd name="connsiteY14" fmla="*/ 20974 h 58244"/>
                    <a:gd name="connsiteX15" fmla="*/ 1366 w 38040"/>
                    <a:gd name="connsiteY15" fmla="*/ 0 h 58244"/>
                    <a:gd name="connsiteX16" fmla="*/ 34398 w 38040"/>
                    <a:gd name="connsiteY16" fmla="*/ 8164 h 58244"/>
                    <a:gd name="connsiteX17" fmla="*/ 38040 w 38040"/>
                    <a:gd name="connsiteY17" fmla="*/ 54006 h 58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040" h="58244">
                      <a:moveTo>
                        <a:pt x="38040" y="54006"/>
                      </a:moveTo>
                      <a:cubicBezTo>
                        <a:pt x="37663" y="54131"/>
                        <a:pt x="37287" y="54257"/>
                        <a:pt x="36910" y="54383"/>
                      </a:cubicBezTo>
                      <a:cubicBezTo>
                        <a:pt x="34021" y="55513"/>
                        <a:pt x="31258" y="56518"/>
                        <a:pt x="28244" y="57146"/>
                      </a:cubicBezTo>
                      <a:cubicBezTo>
                        <a:pt x="25857" y="57648"/>
                        <a:pt x="23345" y="57774"/>
                        <a:pt x="20834" y="57774"/>
                      </a:cubicBezTo>
                      <a:cubicBezTo>
                        <a:pt x="17945" y="57899"/>
                        <a:pt x="14931" y="58025"/>
                        <a:pt x="12042" y="58150"/>
                      </a:cubicBezTo>
                      <a:cubicBezTo>
                        <a:pt x="10535" y="58276"/>
                        <a:pt x="8902" y="58276"/>
                        <a:pt x="7269" y="58150"/>
                      </a:cubicBezTo>
                      <a:lnTo>
                        <a:pt x="1115" y="25998"/>
                      </a:lnTo>
                      <a:cubicBezTo>
                        <a:pt x="1115" y="25998"/>
                        <a:pt x="1115" y="25998"/>
                        <a:pt x="1115" y="25998"/>
                      </a:cubicBezTo>
                      <a:cubicBezTo>
                        <a:pt x="1115" y="25998"/>
                        <a:pt x="1115" y="25747"/>
                        <a:pt x="990" y="25245"/>
                      </a:cubicBezTo>
                      <a:cubicBezTo>
                        <a:pt x="990" y="24993"/>
                        <a:pt x="990" y="24742"/>
                        <a:pt x="864" y="24491"/>
                      </a:cubicBezTo>
                      <a:cubicBezTo>
                        <a:pt x="864" y="24240"/>
                        <a:pt x="864" y="23989"/>
                        <a:pt x="739" y="23612"/>
                      </a:cubicBezTo>
                      <a:cubicBezTo>
                        <a:pt x="739" y="23361"/>
                        <a:pt x="739" y="22984"/>
                        <a:pt x="613" y="22607"/>
                      </a:cubicBezTo>
                      <a:cubicBezTo>
                        <a:pt x="613" y="22481"/>
                        <a:pt x="613" y="22230"/>
                        <a:pt x="613" y="22105"/>
                      </a:cubicBezTo>
                      <a:cubicBezTo>
                        <a:pt x="613" y="21979"/>
                        <a:pt x="613" y="21728"/>
                        <a:pt x="613" y="21602"/>
                      </a:cubicBezTo>
                      <a:cubicBezTo>
                        <a:pt x="613" y="21351"/>
                        <a:pt x="613" y="21226"/>
                        <a:pt x="613" y="20974"/>
                      </a:cubicBezTo>
                      <a:cubicBezTo>
                        <a:pt x="-15" y="14192"/>
                        <a:pt x="-643" y="2889"/>
                        <a:pt x="1366" y="0"/>
                      </a:cubicBezTo>
                      <a:cubicBezTo>
                        <a:pt x="9530" y="5275"/>
                        <a:pt x="34398" y="8164"/>
                        <a:pt x="34398" y="8164"/>
                      </a:cubicBezTo>
                      <a:cubicBezTo>
                        <a:pt x="34398" y="8164"/>
                        <a:pt x="32012" y="41949"/>
                        <a:pt x="38040" y="54006"/>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3" name="Freeform: Shape 2282">
                  <a:extLst>
                    <a:ext uri="{FF2B5EF4-FFF2-40B4-BE49-F238E27FC236}">
                      <a16:creationId xmlns:a16="http://schemas.microsoft.com/office/drawing/2014/main" id="{1DB46433-BD3E-4D6C-B65D-7E8D7F3C0E4A}"/>
                    </a:ext>
                  </a:extLst>
                </p:cNvPr>
                <p:cNvSpPr/>
                <p:nvPr/>
              </p:nvSpPr>
              <p:spPr>
                <a:xfrm>
                  <a:off x="5162075" y="2128305"/>
                  <a:ext cx="76706" cy="70458"/>
                </a:xfrm>
                <a:custGeom>
                  <a:avLst/>
                  <a:gdLst>
                    <a:gd name="connsiteX0" fmla="*/ 76613 w 76706"/>
                    <a:gd name="connsiteY0" fmla="*/ 52750 h 70458"/>
                    <a:gd name="connsiteX1" fmla="*/ 41949 w 76706"/>
                    <a:gd name="connsiteY1" fmla="*/ 70459 h 70458"/>
                    <a:gd name="connsiteX2" fmla="*/ 31273 w 76706"/>
                    <a:gd name="connsiteY2" fmla="*/ 38306 h 70458"/>
                    <a:gd name="connsiteX3" fmla="*/ 4773 w 76706"/>
                    <a:gd name="connsiteY3" fmla="*/ 22858 h 70458"/>
                    <a:gd name="connsiteX4" fmla="*/ 0 w 76706"/>
                    <a:gd name="connsiteY4" fmla="*/ 23863 h 70458"/>
                    <a:gd name="connsiteX5" fmla="*/ 23235 w 76706"/>
                    <a:gd name="connsiteY5" fmla="*/ 6657 h 70458"/>
                    <a:gd name="connsiteX6" fmla="*/ 42828 w 76706"/>
                    <a:gd name="connsiteY6" fmla="*/ 0 h 70458"/>
                    <a:gd name="connsiteX7" fmla="*/ 53252 w 76706"/>
                    <a:gd name="connsiteY7" fmla="*/ 5275 h 70458"/>
                    <a:gd name="connsiteX8" fmla="*/ 76613 w 76706"/>
                    <a:gd name="connsiteY8" fmla="*/ 52750 h 70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06" h="70458">
                      <a:moveTo>
                        <a:pt x="76613" y="52750"/>
                      </a:moveTo>
                      <a:cubicBezTo>
                        <a:pt x="76613" y="52750"/>
                        <a:pt x="51620" y="64807"/>
                        <a:pt x="41949" y="70459"/>
                      </a:cubicBezTo>
                      <a:cubicBezTo>
                        <a:pt x="39688" y="59909"/>
                        <a:pt x="36925" y="47475"/>
                        <a:pt x="31273" y="38306"/>
                      </a:cubicBezTo>
                      <a:cubicBezTo>
                        <a:pt x="25496" y="29264"/>
                        <a:pt x="15448" y="21979"/>
                        <a:pt x="4773" y="22858"/>
                      </a:cubicBezTo>
                      <a:cubicBezTo>
                        <a:pt x="3140" y="22984"/>
                        <a:pt x="1507" y="23361"/>
                        <a:pt x="0" y="23863"/>
                      </a:cubicBezTo>
                      <a:cubicBezTo>
                        <a:pt x="6782" y="17332"/>
                        <a:pt x="15197" y="11555"/>
                        <a:pt x="23235" y="6657"/>
                      </a:cubicBezTo>
                      <a:cubicBezTo>
                        <a:pt x="29766" y="2637"/>
                        <a:pt x="36422" y="502"/>
                        <a:pt x="42828" y="0"/>
                      </a:cubicBezTo>
                      <a:cubicBezTo>
                        <a:pt x="46470" y="1256"/>
                        <a:pt x="49610" y="3642"/>
                        <a:pt x="53252" y="5275"/>
                      </a:cubicBezTo>
                      <a:cubicBezTo>
                        <a:pt x="79502" y="16830"/>
                        <a:pt x="76613" y="52750"/>
                        <a:pt x="76613" y="52750"/>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84" name="Graphic 4">
                  <a:extLst>
                    <a:ext uri="{FF2B5EF4-FFF2-40B4-BE49-F238E27FC236}">
                      <a16:creationId xmlns:a16="http://schemas.microsoft.com/office/drawing/2014/main" id="{84FB7ED1-A2DF-40A1-A747-5F7CF3F14040}"/>
                    </a:ext>
                  </a:extLst>
                </p:cNvPr>
                <p:cNvGrpSpPr/>
                <p:nvPr/>
              </p:nvGrpSpPr>
              <p:grpSpPr>
                <a:xfrm>
                  <a:off x="5174319" y="2053450"/>
                  <a:ext cx="73285" cy="97178"/>
                  <a:chOff x="5174319" y="2053450"/>
                  <a:chExt cx="73285" cy="97178"/>
                </a:xfrm>
                <a:solidFill>
                  <a:schemeClr val="accent1"/>
                </a:solidFill>
              </p:grpSpPr>
              <p:sp>
                <p:nvSpPr>
                  <p:cNvPr id="2285" name="Freeform: Shape 2284">
                    <a:extLst>
                      <a:ext uri="{FF2B5EF4-FFF2-40B4-BE49-F238E27FC236}">
                        <a16:creationId xmlns:a16="http://schemas.microsoft.com/office/drawing/2014/main" id="{0193E0B2-B537-4AF5-A6C7-C8E5EB83B37B}"/>
                      </a:ext>
                    </a:extLst>
                  </p:cNvPr>
                  <p:cNvSpPr/>
                  <p:nvPr/>
                </p:nvSpPr>
                <p:spPr>
                  <a:xfrm>
                    <a:off x="5185844" y="2129501"/>
                    <a:ext cx="36624" cy="21128"/>
                  </a:xfrm>
                  <a:custGeom>
                    <a:avLst/>
                    <a:gdLst>
                      <a:gd name="connsiteX0" fmla="*/ 35763 w 36624"/>
                      <a:gd name="connsiteY0" fmla="*/ 13624 h 21128"/>
                      <a:gd name="connsiteX1" fmla="*/ 31242 w 36624"/>
                      <a:gd name="connsiteY1" fmla="*/ 18020 h 21128"/>
                      <a:gd name="connsiteX2" fmla="*/ 5369 w 36624"/>
                      <a:gd name="connsiteY2" fmla="*/ 18020 h 21128"/>
                      <a:gd name="connsiteX3" fmla="*/ 5369 w 36624"/>
                      <a:gd name="connsiteY3" fmla="*/ 3074 h 21128"/>
                      <a:gd name="connsiteX4" fmla="*/ 10770 w 36624"/>
                      <a:gd name="connsiteY4" fmla="*/ 939 h 21128"/>
                      <a:gd name="connsiteX5" fmla="*/ 14035 w 36624"/>
                      <a:gd name="connsiteY5" fmla="*/ 311 h 21128"/>
                      <a:gd name="connsiteX6" fmla="*/ 31367 w 36624"/>
                      <a:gd name="connsiteY6" fmla="*/ 3074 h 21128"/>
                      <a:gd name="connsiteX7" fmla="*/ 36140 w 36624"/>
                      <a:gd name="connsiteY7" fmla="*/ 7972 h 21128"/>
                      <a:gd name="connsiteX8" fmla="*/ 35763 w 36624"/>
                      <a:gd name="connsiteY8" fmla="*/ 13624 h 2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624" h="21128">
                        <a:moveTo>
                          <a:pt x="35763" y="13624"/>
                        </a:moveTo>
                        <a:cubicBezTo>
                          <a:pt x="34884" y="15257"/>
                          <a:pt x="33377" y="16764"/>
                          <a:pt x="31242" y="18020"/>
                        </a:cubicBezTo>
                        <a:cubicBezTo>
                          <a:pt x="24083" y="22165"/>
                          <a:pt x="12528" y="22165"/>
                          <a:pt x="5369" y="18020"/>
                        </a:cubicBezTo>
                        <a:cubicBezTo>
                          <a:pt x="-1790" y="13875"/>
                          <a:pt x="-1790" y="7219"/>
                          <a:pt x="5369" y="3074"/>
                        </a:cubicBezTo>
                        <a:cubicBezTo>
                          <a:pt x="7002" y="2195"/>
                          <a:pt x="8886" y="1441"/>
                          <a:pt x="10770" y="939"/>
                        </a:cubicBezTo>
                        <a:cubicBezTo>
                          <a:pt x="11775" y="688"/>
                          <a:pt x="12905" y="437"/>
                          <a:pt x="14035" y="311"/>
                        </a:cubicBezTo>
                        <a:cubicBezTo>
                          <a:pt x="20064" y="-568"/>
                          <a:pt x="26595" y="437"/>
                          <a:pt x="31367" y="3074"/>
                        </a:cubicBezTo>
                        <a:cubicBezTo>
                          <a:pt x="33754" y="4456"/>
                          <a:pt x="35387" y="6214"/>
                          <a:pt x="36140" y="7972"/>
                        </a:cubicBezTo>
                        <a:cubicBezTo>
                          <a:pt x="36894" y="9856"/>
                          <a:pt x="36768" y="11866"/>
                          <a:pt x="35763" y="13624"/>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6" name="Freeform: Shape 2285">
                    <a:extLst>
                      <a:ext uri="{FF2B5EF4-FFF2-40B4-BE49-F238E27FC236}">
                        <a16:creationId xmlns:a16="http://schemas.microsoft.com/office/drawing/2014/main" id="{6B88095A-2590-4D05-9D26-43DD58D19436}"/>
                      </a:ext>
                    </a:extLst>
                  </p:cNvPr>
                  <p:cNvSpPr/>
                  <p:nvPr/>
                </p:nvSpPr>
                <p:spPr>
                  <a:xfrm>
                    <a:off x="5185813" y="2092636"/>
                    <a:ext cx="36673" cy="47474"/>
                  </a:xfrm>
                  <a:custGeom>
                    <a:avLst/>
                    <a:gdLst>
                      <a:gd name="connsiteX0" fmla="*/ 0 w 36673"/>
                      <a:gd name="connsiteY0" fmla="*/ 0 h 47474"/>
                      <a:gd name="connsiteX1" fmla="*/ 36674 w 36673"/>
                      <a:gd name="connsiteY1" fmla="*/ 0 h 47474"/>
                      <a:gd name="connsiteX2" fmla="*/ 36674 w 36673"/>
                      <a:gd name="connsiteY2" fmla="*/ 47475 h 47474"/>
                      <a:gd name="connsiteX3" fmla="*/ 0 w 36673"/>
                      <a:gd name="connsiteY3" fmla="*/ 47475 h 47474"/>
                    </a:gdLst>
                    <a:ahLst/>
                    <a:cxnLst>
                      <a:cxn ang="0">
                        <a:pos x="connsiteX0" y="connsiteY0"/>
                      </a:cxn>
                      <a:cxn ang="0">
                        <a:pos x="connsiteX1" y="connsiteY1"/>
                      </a:cxn>
                      <a:cxn ang="0">
                        <a:pos x="connsiteX2" y="connsiteY2"/>
                      </a:cxn>
                      <a:cxn ang="0">
                        <a:pos x="connsiteX3" y="connsiteY3"/>
                      </a:cxn>
                    </a:cxnLst>
                    <a:rect l="l" t="t" r="r" b="b"/>
                    <a:pathLst>
                      <a:path w="36673" h="47474">
                        <a:moveTo>
                          <a:pt x="0" y="0"/>
                        </a:moveTo>
                        <a:lnTo>
                          <a:pt x="36674" y="0"/>
                        </a:lnTo>
                        <a:lnTo>
                          <a:pt x="36674" y="47475"/>
                        </a:lnTo>
                        <a:lnTo>
                          <a:pt x="0" y="47475"/>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7" name="Freeform: Shape 2286">
                    <a:extLst>
                      <a:ext uri="{FF2B5EF4-FFF2-40B4-BE49-F238E27FC236}">
                        <a16:creationId xmlns:a16="http://schemas.microsoft.com/office/drawing/2014/main" id="{AD5057FE-F8A3-488E-AC53-A31BBC906D7F}"/>
                      </a:ext>
                    </a:extLst>
                  </p:cNvPr>
                  <p:cNvSpPr/>
                  <p:nvPr/>
                </p:nvSpPr>
                <p:spPr>
                  <a:xfrm>
                    <a:off x="5191778" y="2064461"/>
                    <a:ext cx="44492" cy="73293"/>
                  </a:xfrm>
                  <a:custGeom>
                    <a:avLst/>
                    <a:gdLst>
                      <a:gd name="connsiteX0" fmla="*/ 188 w 44492"/>
                      <a:gd name="connsiteY0" fmla="*/ 36464 h 73293"/>
                      <a:gd name="connsiteX1" fmla="*/ 1947 w 44492"/>
                      <a:gd name="connsiteY1" fmla="*/ 52038 h 73293"/>
                      <a:gd name="connsiteX2" fmla="*/ 8855 w 44492"/>
                      <a:gd name="connsiteY2" fmla="*/ 65979 h 73293"/>
                      <a:gd name="connsiteX3" fmla="*/ 29954 w 44492"/>
                      <a:gd name="connsiteY3" fmla="*/ 72886 h 73293"/>
                      <a:gd name="connsiteX4" fmla="*/ 35104 w 44492"/>
                      <a:gd name="connsiteY4" fmla="*/ 70877 h 73293"/>
                      <a:gd name="connsiteX5" fmla="*/ 40253 w 44492"/>
                      <a:gd name="connsiteY5" fmla="*/ 61834 h 73293"/>
                      <a:gd name="connsiteX6" fmla="*/ 44147 w 44492"/>
                      <a:gd name="connsiteY6" fmla="*/ 17750 h 73293"/>
                      <a:gd name="connsiteX7" fmla="*/ 43142 w 44492"/>
                      <a:gd name="connsiteY7" fmla="*/ 11219 h 73293"/>
                      <a:gd name="connsiteX8" fmla="*/ 28322 w 44492"/>
                      <a:gd name="connsiteY8" fmla="*/ 167 h 73293"/>
                      <a:gd name="connsiteX9" fmla="*/ 9482 w 44492"/>
                      <a:gd name="connsiteY9" fmla="*/ 4060 h 73293"/>
                      <a:gd name="connsiteX10" fmla="*/ 4961 w 44492"/>
                      <a:gd name="connsiteY10" fmla="*/ 6949 h 73293"/>
                      <a:gd name="connsiteX11" fmla="*/ 1696 w 44492"/>
                      <a:gd name="connsiteY11" fmla="*/ 10843 h 73293"/>
                      <a:gd name="connsiteX12" fmla="*/ 188 w 44492"/>
                      <a:gd name="connsiteY12" fmla="*/ 36464 h 73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492" h="73293">
                        <a:moveTo>
                          <a:pt x="188" y="36464"/>
                        </a:moveTo>
                        <a:cubicBezTo>
                          <a:pt x="439" y="41739"/>
                          <a:pt x="816" y="47014"/>
                          <a:pt x="1947" y="52038"/>
                        </a:cubicBezTo>
                        <a:cubicBezTo>
                          <a:pt x="3077" y="57187"/>
                          <a:pt x="5212" y="62085"/>
                          <a:pt x="8855" y="65979"/>
                        </a:cubicBezTo>
                        <a:cubicBezTo>
                          <a:pt x="14130" y="71630"/>
                          <a:pt x="22419" y="74394"/>
                          <a:pt x="29954" y="72886"/>
                        </a:cubicBezTo>
                        <a:cubicBezTo>
                          <a:pt x="31713" y="72510"/>
                          <a:pt x="33597" y="71882"/>
                          <a:pt x="35104" y="70877"/>
                        </a:cubicBezTo>
                        <a:cubicBezTo>
                          <a:pt x="37993" y="68742"/>
                          <a:pt x="39249" y="65225"/>
                          <a:pt x="40253" y="61834"/>
                        </a:cubicBezTo>
                        <a:cubicBezTo>
                          <a:pt x="44398" y="47642"/>
                          <a:pt x="45026" y="32570"/>
                          <a:pt x="44147" y="17750"/>
                        </a:cubicBezTo>
                        <a:cubicBezTo>
                          <a:pt x="44021" y="15615"/>
                          <a:pt x="43770" y="13354"/>
                          <a:pt x="43142" y="11219"/>
                        </a:cubicBezTo>
                        <a:cubicBezTo>
                          <a:pt x="41132" y="5065"/>
                          <a:pt x="34727" y="921"/>
                          <a:pt x="28322" y="167"/>
                        </a:cubicBezTo>
                        <a:cubicBezTo>
                          <a:pt x="21916" y="-587"/>
                          <a:pt x="15385" y="1297"/>
                          <a:pt x="9482" y="4060"/>
                        </a:cubicBezTo>
                        <a:cubicBezTo>
                          <a:pt x="7850" y="4814"/>
                          <a:pt x="6217" y="5693"/>
                          <a:pt x="4961" y="6949"/>
                        </a:cubicBezTo>
                        <a:cubicBezTo>
                          <a:pt x="3705" y="8079"/>
                          <a:pt x="2826" y="9587"/>
                          <a:pt x="1696" y="10843"/>
                        </a:cubicBezTo>
                        <a:cubicBezTo>
                          <a:pt x="188" y="12601"/>
                          <a:pt x="-314" y="28551"/>
                          <a:pt x="188" y="36464"/>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8" name="Freeform: Shape 2287">
                    <a:extLst>
                      <a:ext uri="{FF2B5EF4-FFF2-40B4-BE49-F238E27FC236}">
                        <a16:creationId xmlns:a16="http://schemas.microsoft.com/office/drawing/2014/main" id="{37593F47-D513-476B-83C2-D637EF38BF5B}"/>
                      </a:ext>
                    </a:extLst>
                  </p:cNvPr>
                  <p:cNvSpPr/>
                  <p:nvPr/>
                </p:nvSpPr>
                <p:spPr>
                  <a:xfrm>
                    <a:off x="5191716" y="2097283"/>
                    <a:ext cx="30710" cy="46248"/>
                  </a:xfrm>
                  <a:custGeom>
                    <a:avLst/>
                    <a:gdLst>
                      <a:gd name="connsiteX0" fmla="*/ 29892 w 30710"/>
                      <a:gd name="connsiteY0" fmla="*/ 45842 h 46248"/>
                      <a:gd name="connsiteX1" fmla="*/ 8791 w 30710"/>
                      <a:gd name="connsiteY1" fmla="*/ 38934 h 46248"/>
                      <a:gd name="connsiteX2" fmla="*/ 4773 w 30710"/>
                      <a:gd name="connsiteY2" fmla="*/ 33157 h 46248"/>
                      <a:gd name="connsiteX3" fmla="*/ 1884 w 30710"/>
                      <a:gd name="connsiteY3" fmla="*/ 24993 h 46248"/>
                      <a:gd name="connsiteX4" fmla="*/ 125 w 30710"/>
                      <a:gd name="connsiteY4" fmla="*/ 9420 h 46248"/>
                      <a:gd name="connsiteX5" fmla="*/ 0 w 30710"/>
                      <a:gd name="connsiteY5" fmla="*/ 0 h 46248"/>
                      <a:gd name="connsiteX6" fmla="*/ 125 w 30710"/>
                      <a:gd name="connsiteY6" fmla="*/ 3893 h 46248"/>
                      <a:gd name="connsiteX7" fmla="*/ 1884 w 30710"/>
                      <a:gd name="connsiteY7" fmla="*/ 19467 h 46248"/>
                      <a:gd name="connsiteX8" fmla="*/ 8038 w 30710"/>
                      <a:gd name="connsiteY8" fmla="*/ 32529 h 46248"/>
                      <a:gd name="connsiteX9" fmla="*/ 8791 w 30710"/>
                      <a:gd name="connsiteY9" fmla="*/ 33408 h 46248"/>
                      <a:gd name="connsiteX10" fmla="*/ 29892 w 30710"/>
                      <a:gd name="connsiteY10" fmla="*/ 40316 h 46248"/>
                      <a:gd name="connsiteX11" fmla="*/ 30017 w 30710"/>
                      <a:gd name="connsiteY11" fmla="*/ 40316 h 46248"/>
                      <a:gd name="connsiteX12" fmla="*/ 29892 w 30710"/>
                      <a:gd name="connsiteY12" fmla="*/ 45842 h 46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710" h="46248">
                        <a:moveTo>
                          <a:pt x="29892" y="45842"/>
                        </a:moveTo>
                        <a:cubicBezTo>
                          <a:pt x="22356" y="47349"/>
                          <a:pt x="14067" y="44586"/>
                          <a:pt x="8791" y="38934"/>
                        </a:cubicBezTo>
                        <a:cubicBezTo>
                          <a:pt x="7159" y="37176"/>
                          <a:pt x="5903" y="35166"/>
                          <a:pt x="4773" y="33157"/>
                        </a:cubicBezTo>
                        <a:cubicBezTo>
                          <a:pt x="3517" y="30645"/>
                          <a:pt x="2512" y="27756"/>
                          <a:pt x="1884" y="24993"/>
                        </a:cubicBezTo>
                        <a:cubicBezTo>
                          <a:pt x="754" y="19844"/>
                          <a:pt x="377" y="14569"/>
                          <a:pt x="125" y="9420"/>
                        </a:cubicBezTo>
                        <a:cubicBezTo>
                          <a:pt x="0" y="6908"/>
                          <a:pt x="0" y="3517"/>
                          <a:pt x="0" y="0"/>
                        </a:cubicBezTo>
                        <a:cubicBezTo>
                          <a:pt x="0" y="1382"/>
                          <a:pt x="0" y="2763"/>
                          <a:pt x="125" y="3893"/>
                        </a:cubicBezTo>
                        <a:cubicBezTo>
                          <a:pt x="377" y="9168"/>
                          <a:pt x="754" y="14443"/>
                          <a:pt x="1884" y="19467"/>
                        </a:cubicBezTo>
                        <a:cubicBezTo>
                          <a:pt x="3014" y="24240"/>
                          <a:pt x="4898" y="28887"/>
                          <a:pt x="8038" y="32529"/>
                        </a:cubicBezTo>
                        <a:cubicBezTo>
                          <a:pt x="8289" y="32780"/>
                          <a:pt x="8540" y="33157"/>
                          <a:pt x="8791" y="33408"/>
                        </a:cubicBezTo>
                        <a:cubicBezTo>
                          <a:pt x="14067" y="39060"/>
                          <a:pt x="22356" y="41823"/>
                          <a:pt x="29892" y="40316"/>
                        </a:cubicBezTo>
                        <a:cubicBezTo>
                          <a:pt x="29892" y="40316"/>
                          <a:pt x="30017" y="40316"/>
                          <a:pt x="30017" y="40316"/>
                        </a:cubicBezTo>
                        <a:cubicBezTo>
                          <a:pt x="31022" y="42074"/>
                          <a:pt x="30896" y="44084"/>
                          <a:pt x="29892" y="45842"/>
                        </a:cubicBezTo>
                        <a:close/>
                      </a:path>
                    </a:pathLst>
                  </a:custGeom>
                  <a:solidFill>
                    <a:srgbClr val="1D1D1B">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9" name="Freeform: Shape 2288">
                    <a:extLst>
                      <a:ext uri="{FF2B5EF4-FFF2-40B4-BE49-F238E27FC236}">
                        <a16:creationId xmlns:a16="http://schemas.microsoft.com/office/drawing/2014/main" id="{9563E4F2-6DA9-4C8D-8CBB-67F3B9C1CA48}"/>
                      </a:ext>
                    </a:extLst>
                  </p:cNvPr>
                  <p:cNvSpPr/>
                  <p:nvPr/>
                </p:nvSpPr>
                <p:spPr>
                  <a:xfrm>
                    <a:off x="5174319" y="2053450"/>
                    <a:ext cx="63900" cy="72989"/>
                  </a:xfrm>
                  <a:custGeom>
                    <a:avLst/>
                    <a:gdLst>
                      <a:gd name="connsiteX0" fmla="*/ 20159 w 63900"/>
                      <a:gd name="connsiteY0" fmla="*/ 45591 h 72989"/>
                      <a:gd name="connsiteX1" fmla="*/ 15261 w 63900"/>
                      <a:gd name="connsiteY1" fmla="*/ 42702 h 72989"/>
                      <a:gd name="connsiteX2" fmla="*/ 18024 w 63900"/>
                      <a:gd name="connsiteY2" fmla="*/ 68700 h 72989"/>
                      <a:gd name="connsiteX3" fmla="*/ 16894 w 63900"/>
                      <a:gd name="connsiteY3" fmla="*/ 72091 h 72989"/>
                      <a:gd name="connsiteX4" fmla="*/ 14633 w 63900"/>
                      <a:gd name="connsiteY4" fmla="*/ 72971 h 72989"/>
                      <a:gd name="connsiteX5" fmla="*/ 6218 w 63900"/>
                      <a:gd name="connsiteY5" fmla="*/ 68072 h 72989"/>
                      <a:gd name="connsiteX6" fmla="*/ 3078 w 63900"/>
                      <a:gd name="connsiteY6" fmla="*/ 58276 h 72989"/>
                      <a:gd name="connsiteX7" fmla="*/ 1194 w 63900"/>
                      <a:gd name="connsiteY7" fmla="*/ 45465 h 72989"/>
                      <a:gd name="connsiteX8" fmla="*/ 2199 w 63900"/>
                      <a:gd name="connsiteY8" fmla="*/ 19090 h 72989"/>
                      <a:gd name="connsiteX9" fmla="*/ 15261 w 63900"/>
                      <a:gd name="connsiteY9" fmla="*/ 4396 h 72989"/>
                      <a:gd name="connsiteX10" fmla="*/ 35733 w 63900"/>
                      <a:gd name="connsiteY10" fmla="*/ 0 h 72989"/>
                      <a:gd name="connsiteX11" fmla="*/ 52186 w 63900"/>
                      <a:gd name="connsiteY11" fmla="*/ 3893 h 72989"/>
                      <a:gd name="connsiteX12" fmla="*/ 63113 w 63900"/>
                      <a:gd name="connsiteY12" fmla="*/ 16453 h 72989"/>
                      <a:gd name="connsiteX13" fmla="*/ 63489 w 63900"/>
                      <a:gd name="connsiteY13" fmla="*/ 23486 h 72989"/>
                      <a:gd name="connsiteX14" fmla="*/ 52814 w 63900"/>
                      <a:gd name="connsiteY14" fmla="*/ 31901 h 72989"/>
                      <a:gd name="connsiteX15" fmla="*/ 29453 w 63900"/>
                      <a:gd name="connsiteY15" fmla="*/ 29766 h 72989"/>
                      <a:gd name="connsiteX16" fmla="*/ 24806 w 63900"/>
                      <a:gd name="connsiteY16" fmla="*/ 28008 h 72989"/>
                      <a:gd name="connsiteX17" fmla="*/ 20536 w 63900"/>
                      <a:gd name="connsiteY17" fmla="*/ 29892 h 72989"/>
                      <a:gd name="connsiteX18" fmla="*/ 20034 w 63900"/>
                      <a:gd name="connsiteY18" fmla="*/ 32529 h 72989"/>
                      <a:gd name="connsiteX19" fmla="*/ 20159 w 63900"/>
                      <a:gd name="connsiteY19" fmla="*/ 45591 h 7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900" h="72989">
                        <a:moveTo>
                          <a:pt x="20159" y="45591"/>
                        </a:moveTo>
                        <a:cubicBezTo>
                          <a:pt x="20034" y="45842"/>
                          <a:pt x="16517" y="43456"/>
                          <a:pt x="15261" y="42702"/>
                        </a:cubicBezTo>
                        <a:cubicBezTo>
                          <a:pt x="17522" y="51117"/>
                          <a:pt x="18527" y="60034"/>
                          <a:pt x="18024" y="68700"/>
                        </a:cubicBezTo>
                        <a:cubicBezTo>
                          <a:pt x="17898" y="69956"/>
                          <a:pt x="17773" y="71212"/>
                          <a:pt x="16894" y="72091"/>
                        </a:cubicBezTo>
                        <a:cubicBezTo>
                          <a:pt x="16266" y="72594"/>
                          <a:pt x="15512" y="72845"/>
                          <a:pt x="14633" y="72971"/>
                        </a:cubicBezTo>
                        <a:cubicBezTo>
                          <a:pt x="11242" y="73222"/>
                          <a:pt x="7977" y="70961"/>
                          <a:pt x="6218" y="68072"/>
                        </a:cubicBezTo>
                        <a:cubicBezTo>
                          <a:pt x="4460" y="65184"/>
                          <a:pt x="3707" y="61667"/>
                          <a:pt x="3078" y="58276"/>
                        </a:cubicBezTo>
                        <a:cubicBezTo>
                          <a:pt x="2325" y="54006"/>
                          <a:pt x="1697" y="49736"/>
                          <a:pt x="1194" y="45465"/>
                        </a:cubicBezTo>
                        <a:cubicBezTo>
                          <a:pt x="64" y="36799"/>
                          <a:pt x="-1192" y="27128"/>
                          <a:pt x="2199" y="19090"/>
                        </a:cubicBezTo>
                        <a:cubicBezTo>
                          <a:pt x="4837" y="12811"/>
                          <a:pt x="9358" y="7787"/>
                          <a:pt x="15261" y="4396"/>
                        </a:cubicBezTo>
                        <a:cubicBezTo>
                          <a:pt x="21164" y="1005"/>
                          <a:pt x="28951" y="0"/>
                          <a:pt x="35733" y="0"/>
                        </a:cubicBezTo>
                        <a:cubicBezTo>
                          <a:pt x="41385" y="0"/>
                          <a:pt x="47162" y="1130"/>
                          <a:pt x="52186" y="3893"/>
                        </a:cubicBezTo>
                        <a:cubicBezTo>
                          <a:pt x="57210" y="6657"/>
                          <a:pt x="61354" y="11052"/>
                          <a:pt x="63113" y="16453"/>
                        </a:cubicBezTo>
                        <a:cubicBezTo>
                          <a:pt x="63866" y="18714"/>
                          <a:pt x="64243" y="21225"/>
                          <a:pt x="63489" y="23486"/>
                        </a:cubicBezTo>
                        <a:cubicBezTo>
                          <a:pt x="62233" y="28008"/>
                          <a:pt x="57461" y="30771"/>
                          <a:pt x="52814" y="31901"/>
                        </a:cubicBezTo>
                        <a:cubicBezTo>
                          <a:pt x="45153" y="33911"/>
                          <a:pt x="36738" y="33157"/>
                          <a:pt x="29453" y="29766"/>
                        </a:cubicBezTo>
                        <a:cubicBezTo>
                          <a:pt x="27946" y="29012"/>
                          <a:pt x="26439" y="28259"/>
                          <a:pt x="24806" y="28008"/>
                        </a:cubicBezTo>
                        <a:cubicBezTo>
                          <a:pt x="23174" y="27756"/>
                          <a:pt x="21290" y="28384"/>
                          <a:pt x="20536" y="29892"/>
                        </a:cubicBezTo>
                        <a:cubicBezTo>
                          <a:pt x="20159" y="30645"/>
                          <a:pt x="20034" y="31650"/>
                          <a:pt x="20034" y="32529"/>
                        </a:cubicBezTo>
                        <a:cubicBezTo>
                          <a:pt x="20159" y="35418"/>
                          <a:pt x="20285" y="45465"/>
                          <a:pt x="20159" y="45591"/>
                        </a:cubicBezTo>
                        <a:close/>
                      </a:path>
                    </a:pathLst>
                  </a:custGeom>
                  <a:solidFill>
                    <a:srgbClr val="7B6A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0" name="Freeform: Shape 2289">
                    <a:extLst>
                      <a:ext uri="{FF2B5EF4-FFF2-40B4-BE49-F238E27FC236}">
                        <a16:creationId xmlns:a16="http://schemas.microsoft.com/office/drawing/2014/main" id="{93DD3A14-094F-4C84-8DEB-E3526B548D59}"/>
                      </a:ext>
                    </a:extLst>
                  </p:cNvPr>
                  <p:cNvSpPr/>
                  <p:nvPr/>
                </p:nvSpPr>
                <p:spPr>
                  <a:xfrm>
                    <a:off x="5194353" y="2064168"/>
                    <a:ext cx="53252" cy="29849"/>
                  </a:xfrm>
                  <a:custGeom>
                    <a:avLst/>
                    <a:gdLst>
                      <a:gd name="connsiteX0" fmla="*/ 25873 w 53252"/>
                      <a:gd name="connsiteY0" fmla="*/ 25579 h 29849"/>
                      <a:gd name="connsiteX1" fmla="*/ 41195 w 53252"/>
                      <a:gd name="connsiteY1" fmla="*/ 27338 h 29849"/>
                      <a:gd name="connsiteX2" fmla="*/ 36046 w 53252"/>
                      <a:gd name="connsiteY2" fmla="*/ 21686 h 29849"/>
                      <a:gd name="connsiteX3" fmla="*/ 53252 w 53252"/>
                      <a:gd name="connsiteY3" fmla="*/ 24700 h 29849"/>
                      <a:gd name="connsiteX4" fmla="*/ 42954 w 53252"/>
                      <a:gd name="connsiteY4" fmla="*/ 6112 h 29849"/>
                      <a:gd name="connsiteX5" fmla="*/ 36297 w 53252"/>
                      <a:gd name="connsiteY5" fmla="*/ 837 h 29849"/>
                      <a:gd name="connsiteX6" fmla="*/ 0 w 53252"/>
                      <a:gd name="connsiteY6" fmla="*/ 15029 h 29849"/>
                      <a:gd name="connsiteX7" fmla="*/ 9922 w 53252"/>
                      <a:gd name="connsiteY7" fmla="*/ 20179 h 29849"/>
                      <a:gd name="connsiteX8" fmla="*/ 19216 w 53252"/>
                      <a:gd name="connsiteY8" fmla="*/ 27589 h 29849"/>
                      <a:gd name="connsiteX9" fmla="*/ 30394 w 53252"/>
                      <a:gd name="connsiteY9" fmla="*/ 29849 h 29849"/>
                      <a:gd name="connsiteX10" fmla="*/ 25873 w 53252"/>
                      <a:gd name="connsiteY10" fmla="*/ 25579 h 2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52" h="29849">
                        <a:moveTo>
                          <a:pt x="25873" y="25579"/>
                        </a:moveTo>
                        <a:cubicBezTo>
                          <a:pt x="30771" y="27086"/>
                          <a:pt x="36046" y="27714"/>
                          <a:pt x="41195" y="27338"/>
                        </a:cubicBezTo>
                        <a:cubicBezTo>
                          <a:pt x="38558" y="26710"/>
                          <a:pt x="36422" y="24323"/>
                          <a:pt x="36046" y="21686"/>
                        </a:cubicBezTo>
                        <a:cubicBezTo>
                          <a:pt x="39186" y="23444"/>
                          <a:pt x="46596" y="27338"/>
                          <a:pt x="53252" y="24700"/>
                        </a:cubicBezTo>
                        <a:cubicBezTo>
                          <a:pt x="51996" y="24700"/>
                          <a:pt x="48354" y="21937"/>
                          <a:pt x="42954" y="6112"/>
                        </a:cubicBezTo>
                        <a:cubicBezTo>
                          <a:pt x="41823" y="2847"/>
                          <a:pt x="37804" y="1214"/>
                          <a:pt x="36297" y="837"/>
                        </a:cubicBezTo>
                        <a:cubicBezTo>
                          <a:pt x="22858" y="-2303"/>
                          <a:pt x="7787" y="3600"/>
                          <a:pt x="0" y="15029"/>
                        </a:cubicBezTo>
                        <a:cubicBezTo>
                          <a:pt x="3642" y="16034"/>
                          <a:pt x="7033" y="17918"/>
                          <a:pt x="9922" y="20179"/>
                        </a:cubicBezTo>
                        <a:cubicBezTo>
                          <a:pt x="13062" y="22691"/>
                          <a:pt x="15574" y="25830"/>
                          <a:pt x="19216" y="27589"/>
                        </a:cubicBezTo>
                        <a:cubicBezTo>
                          <a:pt x="22607" y="29347"/>
                          <a:pt x="26626" y="29598"/>
                          <a:pt x="30394" y="29849"/>
                        </a:cubicBezTo>
                        <a:cubicBezTo>
                          <a:pt x="28510" y="29222"/>
                          <a:pt x="26752" y="27589"/>
                          <a:pt x="25873" y="25579"/>
                        </a:cubicBezTo>
                        <a:close/>
                      </a:path>
                    </a:pathLst>
                  </a:custGeom>
                  <a:solidFill>
                    <a:srgbClr val="7B6A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1" name="Freeform: Shape 2290">
                    <a:extLst>
                      <a:ext uri="{FF2B5EF4-FFF2-40B4-BE49-F238E27FC236}">
                        <a16:creationId xmlns:a16="http://schemas.microsoft.com/office/drawing/2014/main" id="{3A9A3728-D84A-4A04-81E6-4E53601F4002}"/>
                      </a:ext>
                    </a:extLst>
                  </p:cNvPr>
                  <p:cNvSpPr/>
                  <p:nvPr/>
                </p:nvSpPr>
                <p:spPr>
                  <a:xfrm>
                    <a:off x="5186077" y="2092484"/>
                    <a:ext cx="9908" cy="20558"/>
                  </a:xfrm>
                  <a:custGeom>
                    <a:avLst/>
                    <a:gdLst>
                      <a:gd name="connsiteX0" fmla="*/ 3252 w 9908"/>
                      <a:gd name="connsiteY0" fmla="*/ 26 h 20558"/>
                      <a:gd name="connsiteX1" fmla="*/ 7899 w 9908"/>
                      <a:gd name="connsiteY1" fmla="*/ 3040 h 20558"/>
                      <a:gd name="connsiteX2" fmla="*/ 9532 w 9908"/>
                      <a:gd name="connsiteY2" fmla="*/ 9697 h 20558"/>
                      <a:gd name="connsiteX3" fmla="*/ 9155 w 9908"/>
                      <a:gd name="connsiteY3" fmla="*/ 18363 h 20558"/>
                      <a:gd name="connsiteX4" fmla="*/ 7774 w 9908"/>
                      <a:gd name="connsiteY4" fmla="*/ 20246 h 20558"/>
                      <a:gd name="connsiteX5" fmla="*/ 4257 w 9908"/>
                      <a:gd name="connsiteY5" fmla="*/ 19619 h 20558"/>
                      <a:gd name="connsiteX6" fmla="*/ 2499 w 9908"/>
                      <a:gd name="connsiteY6" fmla="*/ 16479 h 20558"/>
                      <a:gd name="connsiteX7" fmla="*/ 112 w 9908"/>
                      <a:gd name="connsiteY7" fmla="*/ 6557 h 20558"/>
                      <a:gd name="connsiteX8" fmla="*/ 364 w 9908"/>
                      <a:gd name="connsiteY8" fmla="*/ 2538 h 20558"/>
                      <a:gd name="connsiteX9" fmla="*/ 3252 w 9908"/>
                      <a:gd name="connsiteY9" fmla="*/ 26 h 2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08" h="20558">
                        <a:moveTo>
                          <a:pt x="3252" y="26"/>
                        </a:moveTo>
                        <a:cubicBezTo>
                          <a:pt x="5262" y="-225"/>
                          <a:pt x="7020" y="1407"/>
                          <a:pt x="7899" y="3040"/>
                        </a:cubicBezTo>
                        <a:cubicBezTo>
                          <a:pt x="9030" y="5175"/>
                          <a:pt x="9281" y="7436"/>
                          <a:pt x="9532" y="9697"/>
                        </a:cubicBezTo>
                        <a:cubicBezTo>
                          <a:pt x="9909" y="12585"/>
                          <a:pt x="10286" y="15600"/>
                          <a:pt x="9155" y="18363"/>
                        </a:cubicBezTo>
                        <a:cubicBezTo>
                          <a:pt x="8904" y="19116"/>
                          <a:pt x="8402" y="19870"/>
                          <a:pt x="7774" y="20246"/>
                        </a:cubicBezTo>
                        <a:cubicBezTo>
                          <a:pt x="6643" y="20874"/>
                          <a:pt x="5136" y="20498"/>
                          <a:pt x="4257" y="19619"/>
                        </a:cubicBezTo>
                        <a:cubicBezTo>
                          <a:pt x="3378" y="18739"/>
                          <a:pt x="2876" y="17609"/>
                          <a:pt x="2499" y="16479"/>
                        </a:cubicBezTo>
                        <a:cubicBezTo>
                          <a:pt x="1369" y="13213"/>
                          <a:pt x="489" y="9948"/>
                          <a:pt x="112" y="6557"/>
                        </a:cubicBezTo>
                        <a:cubicBezTo>
                          <a:pt x="-13" y="5175"/>
                          <a:pt x="-139" y="3794"/>
                          <a:pt x="364" y="2538"/>
                        </a:cubicBezTo>
                        <a:cubicBezTo>
                          <a:pt x="615" y="1407"/>
                          <a:pt x="1871" y="151"/>
                          <a:pt x="3252" y="26"/>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292" name="Freeform: Shape 2291">
                  <a:extLst>
                    <a:ext uri="{FF2B5EF4-FFF2-40B4-BE49-F238E27FC236}">
                      <a16:creationId xmlns:a16="http://schemas.microsoft.com/office/drawing/2014/main" id="{226ACE44-5342-481F-B115-CE49EF3A9642}"/>
                    </a:ext>
                  </a:extLst>
                </p:cNvPr>
                <p:cNvSpPr/>
                <p:nvPr/>
              </p:nvSpPr>
              <p:spPr>
                <a:xfrm>
                  <a:off x="5139123" y="2159348"/>
                  <a:ext cx="43881" cy="114013"/>
                </a:xfrm>
                <a:custGeom>
                  <a:avLst/>
                  <a:gdLst>
                    <a:gd name="connsiteX0" fmla="*/ 25715 w 43881"/>
                    <a:gd name="connsiteY0" fmla="*/ 112385 h 114013"/>
                    <a:gd name="connsiteX1" fmla="*/ 16045 w 43881"/>
                    <a:gd name="connsiteY1" fmla="*/ 113893 h 114013"/>
                    <a:gd name="connsiteX2" fmla="*/ 10895 w 43881"/>
                    <a:gd name="connsiteY2" fmla="*/ 112637 h 114013"/>
                    <a:gd name="connsiteX3" fmla="*/ 94 w 43881"/>
                    <a:gd name="connsiteY3" fmla="*/ 99198 h 114013"/>
                    <a:gd name="connsiteX4" fmla="*/ 94 w 43881"/>
                    <a:gd name="connsiteY4" fmla="*/ 98947 h 114013"/>
                    <a:gd name="connsiteX5" fmla="*/ 94 w 43881"/>
                    <a:gd name="connsiteY5" fmla="*/ 95807 h 114013"/>
                    <a:gd name="connsiteX6" fmla="*/ 8509 w 43881"/>
                    <a:gd name="connsiteY6" fmla="*/ 14547 h 114013"/>
                    <a:gd name="connsiteX7" fmla="*/ 27851 w 43881"/>
                    <a:gd name="connsiteY7" fmla="*/ 104 h 114013"/>
                    <a:gd name="connsiteX8" fmla="*/ 33000 w 43881"/>
                    <a:gd name="connsiteY8" fmla="*/ 1360 h 114013"/>
                    <a:gd name="connsiteX9" fmla="*/ 43801 w 43881"/>
                    <a:gd name="connsiteY9" fmla="*/ 18189 h 114013"/>
                    <a:gd name="connsiteX10" fmla="*/ 42797 w 43881"/>
                    <a:gd name="connsiteY10" fmla="*/ 28237 h 114013"/>
                    <a:gd name="connsiteX11" fmla="*/ 35763 w 43881"/>
                    <a:gd name="connsiteY11" fmla="*/ 96561 h 114013"/>
                    <a:gd name="connsiteX12" fmla="*/ 35512 w 43881"/>
                    <a:gd name="connsiteY12" fmla="*/ 99449 h 114013"/>
                    <a:gd name="connsiteX13" fmla="*/ 25715 w 43881"/>
                    <a:gd name="connsiteY13" fmla="*/ 112385 h 11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81" h="114013">
                      <a:moveTo>
                        <a:pt x="25715" y="112385"/>
                      </a:moveTo>
                      <a:cubicBezTo>
                        <a:pt x="22827" y="113767"/>
                        <a:pt x="19436" y="114269"/>
                        <a:pt x="16045" y="113893"/>
                      </a:cubicBezTo>
                      <a:cubicBezTo>
                        <a:pt x="14161" y="113641"/>
                        <a:pt x="12528" y="113265"/>
                        <a:pt x="10895" y="112637"/>
                      </a:cubicBezTo>
                      <a:cubicBezTo>
                        <a:pt x="4992" y="110250"/>
                        <a:pt x="848" y="105101"/>
                        <a:pt x="94" y="99198"/>
                      </a:cubicBezTo>
                      <a:cubicBezTo>
                        <a:pt x="94" y="99072"/>
                        <a:pt x="94" y="99072"/>
                        <a:pt x="94" y="98947"/>
                      </a:cubicBezTo>
                      <a:cubicBezTo>
                        <a:pt x="-31" y="97942"/>
                        <a:pt x="-31" y="96937"/>
                        <a:pt x="94" y="95807"/>
                      </a:cubicBezTo>
                      <a:lnTo>
                        <a:pt x="8509" y="14547"/>
                      </a:lnTo>
                      <a:cubicBezTo>
                        <a:pt x="9388" y="5504"/>
                        <a:pt x="18054" y="-901"/>
                        <a:pt x="27851" y="104"/>
                      </a:cubicBezTo>
                      <a:cubicBezTo>
                        <a:pt x="29735" y="355"/>
                        <a:pt x="31367" y="732"/>
                        <a:pt x="33000" y="1360"/>
                      </a:cubicBezTo>
                      <a:cubicBezTo>
                        <a:pt x="39908" y="4123"/>
                        <a:pt x="44555" y="10905"/>
                        <a:pt x="43801" y="18189"/>
                      </a:cubicBezTo>
                      <a:lnTo>
                        <a:pt x="42797" y="28237"/>
                      </a:lnTo>
                      <a:lnTo>
                        <a:pt x="35763" y="96561"/>
                      </a:lnTo>
                      <a:lnTo>
                        <a:pt x="35512" y="99449"/>
                      </a:lnTo>
                      <a:cubicBezTo>
                        <a:pt x="34633" y="105227"/>
                        <a:pt x="30865" y="109999"/>
                        <a:pt x="25715" y="112385"/>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3" name="Freeform: Shape 2292">
                  <a:extLst>
                    <a:ext uri="{FF2B5EF4-FFF2-40B4-BE49-F238E27FC236}">
                      <a16:creationId xmlns:a16="http://schemas.microsoft.com/office/drawing/2014/main" id="{946DF409-7273-49FC-831A-4C8A759A9648}"/>
                    </a:ext>
                  </a:extLst>
                </p:cNvPr>
                <p:cNvSpPr/>
                <p:nvPr/>
              </p:nvSpPr>
              <p:spPr>
                <a:xfrm>
                  <a:off x="5214145" y="2259210"/>
                  <a:ext cx="53365" cy="29671"/>
                </a:xfrm>
                <a:custGeom>
                  <a:avLst/>
                  <a:gdLst>
                    <a:gd name="connsiteX0" fmla="*/ 21277 w 53365"/>
                    <a:gd name="connsiteY0" fmla="*/ 28851 h 29671"/>
                    <a:gd name="connsiteX1" fmla="*/ 27934 w 53365"/>
                    <a:gd name="connsiteY1" fmla="*/ 29605 h 29671"/>
                    <a:gd name="connsiteX2" fmla="*/ 32581 w 53365"/>
                    <a:gd name="connsiteY2" fmla="*/ 28098 h 29671"/>
                    <a:gd name="connsiteX3" fmla="*/ 44010 w 53365"/>
                    <a:gd name="connsiteY3" fmla="*/ 23199 h 29671"/>
                    <a:gd name="connsiteX4" fmla="*/ 47401 w 53365"/>
                    <a:gd name="connsiteY4" fmla="*/ 21567 h 29671"/>
                    <a:gd name="connsiteX5" fmla="*/ 52928 w 53365"/>
                    <a:gd name="connsiteY5" fmla="*/ 15161 h 29671"/>
                    <a:gd name="connsiteX6" fmla="*/ 53179 w 53365"/>
                    <a:gd name="connsiteY6" fmla="*/ 12649 h 29671"/>
                    <a:gd name="connsiteX7" fmla="*/ 52299 w 53365"/>
                    <a:gd name="connsiteY7" fmla="*/ 11770 h 29671"/>
                    <a:gd name="connsiteX8" fmla="*/ 46020 w 53365"/>
                    <a:gd name="connsiteY8" fmla="*/ 11645 h 29671"/>
                    <a:gd name="connsiteX9" fmla="*/ 34339 w 53365"/>
                    <a:gd name="connsiteY9" fmla="*/ 10514 h 29671"/>
                    <a:gd name="connsiteX10" fmla="*/ 22910 w 53365"/>
                    <a:gd name="connsiteY10" fmla="*/ 7249 h 29671"/>
                    <a:gd name="connsiteX11" fmla="*/ 31451 w 53365"/>
                    <a:gd name="connsiteY11" fmla="*/ 8505 h 29671"/>
                    <a:gd name="connsiteX12" fmla="*/ 38107 w 53365"/>
                    <a:gd name="connsiteY12" fmla="*/ 3732 h 29671"/>
                    <a:gd name="connsiteX13" fmla="*/ 38233 w 53365"/>
                    <a:gd name="connsiteY13" fmla="*/ 2979 h 29671"/>
                    <a:gd name="connsiteX14" fmla="*/ 37856 w 53365"/>
                    <a:gd name="connsiteY14" fmla="*/ 2476 h 29671"/>
                    <a:gd name="connsiteX15" fmla="*/ 33335 w 53365"/>
                    <a:gd name="connsiteY15" fmla="*/ 843 h 29671"/>
                    <a:gd name="connsiteX16" fmla="*/ 29692 w 53365"/>
                    <a:gd name="connsiteY16" fmla="*/ 1472 h 29671"/>
                    <a:gd name="connsiteX17" fmla="*/ 25171 w 53365"/>
                    <a:gd name="connsiteY17" fmla="*/ 718 h 29671"/>
                    <a:gd name="connsiteX18" fmla="*/ 6708 w 53365"/>
                    <a:gd name="connsiteY18" fmla="*/ 3230 h 29671"/>
                    <a:gd name="connsiteX19" fmla="*/ 3820 w 53365"/>
                    <a:gd name="connsiteY19" fmla="*/ 5365 h 29671"/>
                    <a:gd name="connsiteX20" fmla="*/ 178 w 53365"/>
                    <a:gd name="connsiteY20" fmla="*/ 13152 h 29671"/>
                    <a:gd name="connsiteX21" fmla="*/ 52 w 53365"/>
                    <a:gd name="connsiteY21" fmla="*/ 15036 h 29671"/>
                    <a:gd name="connsiteX22" fmla="*/ 554 w 53365"/>
                    <a:gd name="connsiteY22" fmla="*/ 16417 h 29671"/>
                    <a:gd name="connsiteX23" fmla="*/ 9472 w 53365"/>
                    <a:gd name="connsiteY23" fmla="*/ 24958 h 29671"/>
                    <a:gd name="connsiteX24" fmla="*/ 21277 w 53365"/>
                    <a:gd name="connsiteY24" fmla="*/ 28851 h 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3365" h="29671">
                      <a:moveTo>
                        <a:pt x="21277" y="28851"/>
                      </a:moveTo>
                      <a:cubicBezTo>
                        <a:pt x="23413" y="29353"/>
                        <a:pt x="25799" y="29856"/>
                        <a:pt x="27934" y="29605"/>
                      </a:cubicBezTo>
                      <a:cubicBezTo>
                        <a:pt x="29567" y="29353"/>
                        <a:pt x="31074" y="28726"/>
                        <a:pt x="32581" y="28098"/>
                      </a:cubicBezTo>
                      <a:cubicBezTo>
                        <a:pt x="36349" y="26465"/>
                        <a:pt x="40242" y="24832"/>
                        <a:pt x="44010" y="23199"/>
                      </a:cubicBezTo>
                      <a:cubicBezTo>
                        <a:pt x="45141" y="22697"/>
                        <a:pt x="46396" y="22195"/>
                        <a:pt x="47401" y="21567"/>
                      </a:cubicBezTo>
                      <a:cubicBezTo>
                        <a:pt x="49913" y="20059"/>
                        <a:pt x="51797" y="17799"/>
                        <a:pt x="52928" y="15161"/>
                      </a:cubicBezTo>
                      <a:cubicBezTo>
                        <a:pt x="53304" y="14408"/>
                        <a:pt x="53555" y="13403"/>
                        <a:pt x="53179" y="12649"/>
                      </a:cubicBezTo>
                      <a:cubicBezTo>
                        <a:pt x="52928" y="12273"/>
                        <a:pt x="52676" y="11896"/>
                        <a:pt x="52299" y="11770"/>
                      </a:cubicBezTo>
                      <a:cubicBezTo>
                        <a:pt x="50541" y="10640"/>
                        <a:pt x="48155" y="11268"/>
                        <a:pt x="46020" y="11645"/>
                      </a:cubicBezTo>
                      <a:cubicBezTo>
                        <a:pt x="42126" y="12273"/>
                        <a:pt x="38107" y="11519"/>
                        <a:pt x="34339" y="10514"/>
                      </a:cubicBezTo>
                      <a:cubicBezTo>
                        <a:pt x="30572" y="9510"/>
                        <a:pt x="26804" y="8002"/>
                        <a:pt x="22910" y="7249"/>
                      </a:cubicBezTo>
                      <a:cubicBezTo>
                        <a:pt x="25673" y="8128"/>
                        <a:pt x="28562" y="8882"/>
                        <a:pt x="31451" y="8505"/>
                      </a:cubicBezTo>
                      <a:cubicBezTo>
                        <a:pt x="34339" y="8128"/>
                        <a:pt x="37228" y="6370"/>
                        <a:pt x="38107" y="3732"/>
                      </a:cubicBezTo>
                      <a:cubicBezTo>
                        <a:pt x="38233" y="3481"/>
                        <a:pt x="38233" y="3230"/>
                        <a:pt x="38233" y="2979"/>
                      </a:cubicBezTo>
                      <a:cubicBezTo>
                        <a:pt x="38233" y="2727"/>
                        <a:pt x="37982" y="2602"/>
                        <a:pt x="37856" y="2476"/>
                      </a:cubicBezTo>
                      <a:cubicBezTo>
                        <a:pt x="36726" y="1346"/>
                        <a:pt x="34967" y="718"/>
                        <a:pt x="33335" y="843"/>
                      </a:cubicBezTo>
                      <a:cubicBezTo>
                        <a:pt x="32079" y="969"/>
                        <a:pt x="30949" y="1472"/>
                        <a:pt x="29692" y="1472"/>
                      </a:cubicBezTo>
                      <a:cubicBezTo>
                        <a:pt x="28185" y="1597"/>
                        <a:pt x="26678" y="1095"/>
                        <a:pt x="25171" y="718"/>
                      </a:cubicBezTo>
                      <a:cubicBezTo>
                        <a:pt x="19017" y="-789"/>
                        <a:pt x="12235" y="90"/>
                        <a:pt x="6708" y="3230"/>
                      </a:cubicBezTo>
                      <a:cubicBezTo>
                        <a:pt x="5704" y="3858"/>
                        <a:pt x="4574" y="4486"/>
                        <a:pt x="3820" y="5365"/>
                      </a:cubicBezTo>
                      <a:cubicBezTo>
                        <a:pt x="1810" y="7374"/>
                        <a:pt x="806" y="10263"/>
                        <a:pt x="178" y="13152"/>
                      </a:cubicBezTo>
                      <a:cubicBezTo>
                        <a:pt x="52" y="13780"/>
                        <a:pt x="-73" y="14408"/>
                        <a:pt x="52" y="15036"/>
                      </a:cubicBezTo>
                      <a:cubicBezTo>
                        <a:pt x="178" y="15538"/>
                        <a:pt x="303" y="16040"/>
                        <a:pt x="554" y="16417"/>
                      </a:cubicBezTo>
                      <a:cubicBezTo>
                        <a:pt x="2438" y="20185"/>
                        <a:pt x="5830" y="22948"/>
                        <a:pt x="9472" y="24958"/>
                      </a:cubicBezTo>
                      <a:cubicBezTo>
                        <a:pt x="13114" y="26842"/>
                        <a:pt x="17259" y="27846"/>
                        <a:pt x="21277" y="28851"/>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94" name="Graphic 4">
                  <a:extLst>
                    <a:ext uri="{FF2B5EF4-FFF2-40B4-BE49-F238E27FC236}">
                      <a16:creationId xmlns:a16="http://schemas.microsoft.com/office/drawing/2014/main" id="{84FB7ED1-A2DF-40A1-A747-5F7CF3F14040}"/>
                    </a:ext>
                  </a:extLst>
                </p:cNvPr>
                <p:cNvGrpSpPr/>
                <p:nvPr/>
              </p:nvGrpSpPr>
              <p:grpSpPr>
                <a:xfrm>
                  <a:off x="5223491" y="2243224"/>
                  <a:ext cx="110397" cy="31901"/>
                  <a:chOff x="5223491" y="2243224"/>
                  <a:chExt cx="110397" cy="31901"/>
                </a:xfrm>
                <a:solidFill>
                  <a:schemeClr val="accent1"/>
                </a:solidFill>
              </p:grpSpPr>
              <p:sp>
                <p:nvSpPr>
                  <p:cNvPr id="2295" name="Freeform: Shape 2294">
                    <a:extLst>
                      <a:ext uri="{FF2B5EF4-FFF2-40B4-BE49-F238E27FC236}">
                        <a16:creationId xmlns:a16="http://schemas.microsoft.com/office/drawing/2014/main" id="{D18C6C9F-7493-401A-84C0-F3A52E509622}"/>
                      </a:ext>
                    </a:extLst>
                  </p:cNvPr>
                  <p:cNvSpPr/>
                  <p:nvPr/>
                </p:nvSpPr>
                <p:spPr>
                  <a:xfrm>
                    <a:off x="5324720" y="2243224"/>
                    <a:ext cx="9168" cy="7661"/>
                  </a:xfrm>
                  <a:custGeom>
                    <a:avLst/>
                    <a:gdLst>
                      <a:gd name="connsiteX0" fmla="*/ 1005 w 9168"/>
                      <a:gd name="connsiteY0" fmla="*/ 7661 h 7661"/>
                      <a:gd name="connsiteX1" fmla="*/ 0 w 9168"/>
                      <a:gd name="connsiteY1" fmla="*/ 4647 h 7661"/>
                      <a:gd name="connsiteX2" fmla="*/ 8038 w 9168"/>
                      <a:gd name="connsiteY2" fmla="*/ 0 h 7661"/>
                      <a:gd name="connsiteX3" fmla="*/ 9168 w 9168"/>
                      <a:gd name="connsiteY3" fmla="*/ 2889 h 7661"/>
                    </a:gdLst>
                    <a:ahLst/>
                    <a:cxnLst>
                      <a:cxn ang="0">
                        <a:pos x="connsiteX0" y="connsiteY0"/>
                      </a:cxn>
                      <a:cxn ang="0">
                        <a:pos x="connsiteX1" y="connsiteY1"/>
                      </a:cxn>
                      <a:cxn ang="0">
                        <a:pos x="connsiteX2" y="connsiteY2"/>
                      </a:cxn>
                      <a:cxn ang="0">
                        <a:pos x="connsiteX3" y="connsiteY3"/>
                      </a:cxn>
                    </a:cxnLst>
                    <a:rect l="l" t="t" r="r" b="b"/>
                    <a:pathLst>
                      <a:path w="9168" h="7661">
                        <a:moveTo>
                          <a:pt x="1005" y="7661"/>
                        </a:moveTo>
                        <a:lnTo>
                          <a:pt x="0" y="4647"/>
                        </a:lnTo>
                        <a:lnTo>
                          <a:pt x="8038" y="0"/>
                        </a:lnTo>
                        <a:lnTo>
                          <a:pt x="9168" y="2889"/>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6" name="Freeform: Shape 2295">
                    <a:extLst>
                      <a:ext uri="{FF2B5EF4-FFF2-40B4-BE49-F238E27FC236}">
                        <a16:creationId xmlns:a16="http://schemas.microsoft.com/office/drawing/2014/main" id="{B5B85DBF-6DFA-47E9-AE6B-98B745AC8AC9}"/>
                      </a:ext>
                    </a:extLst>
                  </p:cNvPr>
                  <p:cNvSpPr/>
                  <p:nvPr/>
                </p:nvSpPr>
                <p:spPr>
                  <a:xfrm>
                    <a:off x="5318441" y="2247871"/>
                    <a:ext cx="7284" cy="4898"/>
                  </a:xfrm>
                  <a:custGeom>
                    <a:avLst/>
                    <a:gdLst>
                      <a:gd name="connsiteX0" fmla="*/ 1005 w 7284"/>
                      <a:gd name="connsiteY0" fmla="*/ 4898 h 4898"/>
                      <a:gd name="connsiteX1" fmla="*/ 0 w 7284"/>
                      <a:gd name="connsiteY1" fmla="*/ 1884 h 4898"/>
                      <a:gd name="connsiteX2" fmla="*/ 6280 w 7284"/>
                      <a:gd name="connsiteY2" fmla="*/ 0 h 4898"/>
                      <a:gd name="connsiteX3" fmla="*/ 7284 w 7284"/>
                      <a:gd name="connsiteY3" fmla="*/ 3014 h 4898"/>
                    </a:gdLst>
                    <a:ahLst/>
                    <a:cxnLst>
                      <a:cxn ang="0">
                        <a:pos x="connsiteX0" y="connsiteY0"/>
                      </a:cxn>
                      <a:cxn ang="0">
                        <a:pos x="connsiteX1" y="connsiteY1"/>
                      </a:cxn>
                      <a:cxn ang="0">
                        <a:pos x="connsiteX2" y="connsiteY2"/>
                      </a:cxn>
                      <a:cxn ang="0">
                        <a:pos x="connsiteX3" y="connsiteY3"/>
                      </a:cxn>
                    </a:cxnLst>
                    <a:rect l="l" t="t" r="r" b="b"/>
                    <a:pathLst>
                      <a:path w="7284" h="4898">
                        <a:moveTo>
                          <a:pt x="1005" y="4898"/>
                        </a:moveTo>
                        <a:lnTo>
                          <a:pt x="0" y="1884"/>
                        </a:lnTo>
                        <a:lnTo>
                          <a:pt x="6280" y="0"/>
                        </a:lnTo>
                        <a:lnTo>
                          <a:pt x="7284" y="3014"/>
                        </a:lnTo>
                        <a:close/>
                      </a:path>
                    </a:pathLst>
                  </a:custGeom>
                  <a:solidFill>
                    <a:srgbClr val="AA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7" name="Freeform: Shape 2296">
                    <a:extLst>
                      <a:ext uri="{FF2B5EF4-FFF2-40B4-BE49-F238E27FC236}">
                        <a16:creationId xmlns:a16="http://schemas.microsoft.com/office/drawing/2014/main" id="{B72C3B9D-B952-4D06-A51F-F2C991716990}"/>
                      </a:ext>
                    </a:extLst>
                  </p:cNvPr>
                  <p:cNvSpPr/>
                  <p:nvPr/>
                </p:nvSpPr>
                <p:spPr>
                  <a:xfrm>
                    <a:off x="5294326" y="2249755"/>
                    <a:ext cx="25118" cy="16829"/>
                  </a:xfrm>
                  <a:custGeom>
                    <a:avLst/>
                    <a:gdLst>
                      <a:gd name="connsiteX0" fmla="*/ 1130 w 25118"/>
                      <a:gd name="connsiteY0" fmla="*/ 16830 h 16829"/>
                      <a:gd name="connsiteX1" fmla="*/ 0 w 25118"/>
                      <a:gd name="connsiteY1" fmla="*/ 13941 h 16829"/>
                      <a:gd name="connsiteX2" fmla="*/ 24114 w 25118"/>
                      <a:gd name="connsiteY2" fmla="*/ 0 h 16829"/>
                      <a:gd name="connsiteX3" fmla="*/ 25119 w 25118"/>
                      <a:gd name="connsiteY3" fmla="*/ 3014 h 16829"/>
                    </a:gdLst>
                    <a:ahLst/>
                    <a:cxnLst>
                      <a:cxn ang="0">
                        <a:pos x="connsiteX0" y="connsiteY0"/>
                      </a:cxn>
                      <a:cxn ang="0">
                        <a:pos x="connsiteX1" y="connsiteY1"/>
                      </a:cxn>
                      <a:cxn ang="0">
                        <a:pos x="connsiteX2" y="connsiteY2"/>
                      </a:cxn>
                      <a:cxn ang="0">
                        <a:pos x="connsiteX3" y="connsiteY3"/>
                      </a:cxn>
                    </a:cxnLst>
                    <a:rect l="l" t="t" r="r" b="b"/>
                    <a:pathLst>
                      <a:path w="25118" h="16829">
                        <a:moveTo>
                          <a:pt x="1130" y="16830"/>
                        </a:moveTo>
                        <a:lnTo>
                          <a:pt x="0" y="13941"/>
                        </a:lnTo>
                        <a:lnTo>
                          <a:pt x="24114" y="0"/>
                        </a:lnTo>
                        <a:lnTo>
                          <a:pt x="25119" y="3014"/>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8" name="Freeform: Shape 2297">
                    <a:extLst>
                      <a:ext uri="{FF2B5EF4-FFF2-40B4-BE49-F238E27FC236}">
                        <a16:creationId xmlns:a16="http://schemas.microsoft.com/office/drawing/2014/main" id="{C4AD66DB-9925-4303-BD3A-7D8D07821040}"/>
                      </a:ext>
                    </a:extLst>
                  </p:cNvPr>
                  <p:cNvSpPr/>
                  <p:nvPr/>
                </p:nvSpPr>
                <p:spPr>
                  <a:xfrm>
                    <a:off x="5294326" y="2263696"/>
                    <a:ext cx="1256" cy="4521"/>
                  </a:xfrm>
                  <a:custGeom>
                    <a:avLst/>
                    <a:gdLst>
                      <a:gd name="connsiteX0" fmla="*/ 1256 w 1256"/>
                      <a:gd name="connsiteY0" fmla="*/ 4521 h 4521"/>
                      <a:gd name="connsiteX1" fmla="*/ 126 w 1256"/>
                      <a:gd name="connsiteY1" fmla="*/ 1633 h 4521"/>
                      <a:gd name="connsiteX2" fmla="*/ 0 w 1256"/>
                      <a:gd name="connsiteY2" fmla="*/ 0 h 4521"/>
                      <a:gd name="connsiteX3" fmla="*/ 1130 w 1256"/>
                      <a:gd name="connsiteY3" fmla="*/ 2889 h 4521"/>
                    </a:gdLst>
                    <a:ahLst/>
                    <a:cxnLst>
                      <a:cxn ang="0">
                        <a:pos x="connsiteX0" y="connsiteY0"/>
                      </a:cxn>
                      <a:cxn ang="0">
                        <a:pos x="connsiteX1" y="connsiteY1"/>
                      </a:cxn>
                      <a:cxn ang="0">
                        <a:pos x="connsiteX2" y="connsiteY2"/>
                      </a:cxn>
                      <a:cxn ang="0">
                        <a:pos x="connsiteX3" y="connsiteY3"/>
                      </a:cxn>
                    </a:cxnLst>
                    <a:rect l="l" t="t" r="r" b="b"/>
                    <a:pathLst>
                      <a:path w="1256" h="4521">
                        <a:moveTo>
                          <a:pt x="1256" y="4521"/>
                        </a:moveTo>
                        <a:lnTo>
                          <a:pt x="126" y="1633"/>
                        </a:lnTo>
                        <a:lnTo>
                          <a:pt x="0" y="0"/>
                        </a:lnTo>
                        <a:lnTo>
                          <a:pt x="1130" y="2889"/>
                        </a:lnTo>
                        <a:close/>
                      </a:path>
                    </a:pathLst>
                  </a:custGeom>
                  <a:solidFill>
                    <a:srgbClr val="8181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9" name="Freeform: Shape 2298">
                    <a:extLst>
                      <a:ext uri="{FF2B5EF4-FFF2-40B4-BE49-F238E27FC236}">
                        <a16:creationId xmlns:a16="http://schemas.microsoft.com/office/drawing/2014/main" id="{6041BC49-97E7-48F4-980B-01685EBDF7BF}"/>
                      </a:ext>
                    </a:extLst>
                  </p:cNvPr>
                  <p:cNvSpPr/>
                  <p:nvPr/>
                </p:nvSpPr>
                <p:spPr>
                  <a:xfrm>
                    <a:off x="5295457" y="2247871"/>
                    <a:ext cx="31398" cy="20346"/>
                  </a:xfrm>
                  <a:custGeom>
                    <a:avLst/>
                    <a:gdLst>
                      <a:gd name="connsiteX0" fmla="*/ 1131 w 31398"/>
                      <a:gd name="connsiteY0" fmla="*/ 20346 h 20346"/>
                      <a:gd name="connsiteX1" fmla="*/ 0 w 31398"/>
                      <a:gd name="connsiteY1" fmla="*/ 17458 h 20346"/>
                      <a:gd name="connsiteX2" fmla="*/ 30268 w 31398"/>
                      <a:gd name="connsiteY2" fmla="*/ 0 h 20346"/>
                      <a:gd name="connsiteX3" fmla="*/ 31399 w 31398"/>
                      <a:gd name="connsiteY3" fmla="*/ 2889 h 20346"/>
                    </a:gdLst>
                    <a:ahLst/>
                    <a:cxnLst>
                      <a:cxn ang="0">
                        <a:pos x="connsiteX0" y="connsiteY0"/>
                      </a:cxn>
                      <a:cxn ang="0">
                        <a:pos x="connsiteX1" y="connsiteY1"/>
                      </a:cxn>
                      <a:cxn ang="0">
                        <a:pos x="connsiteX2" y="connsiteY2"/>
                      </a:cxn>
                      <a:cxn ang="0">
                        <a:pos x="connsiteX3" y="connsiteY3"/>
                      </a:cxn>
                    </a:cxnLst>
                    <a:rect l="l" t="t" r="r" b="b"/>
                    <a:pathLst>
                      <a:path w="31398" h="20346">
                        <a:moveTo>
                          <a:pt x="1131" y="20346"/>
                        </a:moveTo>
                        <a:lnTo>
                          <a:pt x="0" y="17458"/>
                        </a:lnTo>
                        <a:lnTo>
                          <a:pt x="30268" y="0"/>
                        </a:lnTo>
                        <a:lnTo>
                          <a:pt x="31399" y="2889"/>
                        </a:lnTo>
                        <a:close/>
                      </a:path>
                    </a:pathLst>
                  </a:custGeom>
                  <a:solidFill>
                    <a:srgbClr val="98463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0" name="Freeform: Shape 2299">
                    <a:extLst>
                      <a:ext uri="{FF2B5EF4-FFF2-40B4-BE49-F238E27FC236}">
                        <a16:creationId xmlns:a16="http://schemas.microsoft.com/office/drawing/2014/main" id="{CFC9875C-8185-4487-81FB-E4C203D29B68}"/>
                      </a:ext>
                    </a:extLst>
                  </p:cNvPr>
                  <p:cNvSpPr/>
                  <p:nvPr/>
                </p:nvSpPr>
                <p:spPr>
                  <a:xfrm>
                    <a:off x="5294326" y="2247871"/>
                    <a:ext cx="31398" cy="17457"/>
                  </a:xfrm>
                  <a:custGeom>
                    <a:avLst/>
                    <a:gdLst>
                      <a:gd name="connsiteX0" fmla="*/ 31399 w 31398"/>
                      <a:gd name="connsiteY0" fmla="*/ 0 h 17457"/>
                      <a:gd name="connsiteX1" fmla="*/ 1130 w 31398"/>
                      <a:gd name="connsiteY1" fmla="*/ 17458 h 17457"/>
                      <a:gd name="connsiteX2" fmla="*/ 126 w 31398"/>
                      <a:gd name="connsiteY2" fmla="*/ 17458 h 17457"/>
                      <a:gd name="connsiteX3" fmla="*/ 0 w 31398"/>
                      <a:gd name="connsiteY3" fmla="*/ 15825 h 17457"/>
                      <a:gd name="connsiteX4" fmla="*/ 24114 w 31398"/>
                      <a:gd name="connsiteY4" fmla="*/ 1884 h 17457"/>
                      <a:gd name="connsiteX5" fmla="*/ 30394 w 31398"/>
                      <a:gd name="connsiteY5" fmla="*/ 0 h 1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98" h="17457">
                        <a:moveTo>
                          <a:pt x="31399" y="0"/>
                        </a:moveTo>
                        <a:lnTo>
                          <a:pt x="1130" y="17458"/>
                        </a:lnTo>
                        <a:lnTo>
                          <a:pt x="126" y="17458"/>
                        </a:lnTo>
                        <a:lnTo>
                          <a:pt x="0" y="15825"/>
                        </a:lnTo>
                        <a:lnTo>
                          <a:pt x="24114" y="1884"/>
                        </a:lnTo>
                        <a:lnTo>
                          <a:pt x="30394" y="0"/>
                        </a:lnTo>
                        <a:close/>
                      </a:path>
                    </a:pathLst>
                  </a:custGeom>
                  <a:solidFill>
                    <a:srgbClr val="D361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1" name="Freeform: Shape 2300">
                    <a:extLst>
                      <a:ext uri="{FF2B5EF4-FFF2-40B4-BE49-F238E27FC236}">
                        <a16:creationId xmlns:a16="http://schemas.microsoft.com/office/drawing/2014/main" id="{CE464AD9-9457-4A9D-8A39-9DF89FDFB209}"/>
                      </a:ext>
                    </a:extLst>
                  </p:cNvPr>
                  <p:cNvSpPr/>
                  <p:nvPr/>
                </p:nvSpPr>
                <p:spPr>
                  <a:xfrm>
                    <a:off x="5294452" y="2265328"/>
                    <a:ext cx="2135" cy="2888"/>
                  </a:xfrm>
                  <a:custGeom>
                    <a:avLst/>
                    <a:gdLst>
                      <a:gd name="connsiteX0" fmla="*/ 1130 w 2135"/>
                      <a:gd name="connsiteY0" fmla="*/ 2889 h 2888"/>
                      <a:gd name="connsiteX1" fmla="*/ 0 w 2135"/>
                      <a:gd name="connsiteY1" fmla="*/ 0 h 2888"/>
                      <a:gd name="connsiteX2" fmla="*/ 1005 w 2135"/>
                      <a:gd name="connsiteY2" fmla="*/ 0 h 2888"/>
                      <a:gd name="connsiteX3" fmla="*/ 2135 w 2135"/>
                      <a:gd name="connsiteY3" fmla="*/ 2889 h 2888"/>
                    </a:gdLst>
                    <a:ahLst/>
                    <a:cxnLst>
                      <a:cxn ang="0">
                        <a:pos x="connsiteX0" y="connsiteY0"/>
                      </a:cxn>
                      <a:cxn ang="0">
                        <a:pos x="connsiteX1" y="connsiteY1"/>
                      </a:cxn>
                      <a:cxn ang="0">
                        <a:pos x="connsiteX2" y="connsiteY2"/>
                      </a:cxn>
                      <a:cxn ang="0">
                        <a:pos x="connsiteX3" y="connsiteY3"/>
                      </a:cxn>
                    </a:cxnLst>
                    <a:rect l="l" t="t" r="r" b="b"/>
                    <a:pathLst>
                      <a:path w="2135" h="2888">
                        <a:moveTo>
                          <a:pt x="1130" y="2889"/>
                        </a:moveTo>
                        <a:lnTo>
                          <a:pt x="0" y="0"/>
                        </a:lnTo>
                        <a:lnTo>
                          <a:pt x="1005" y="0"/>
                        </a:lnTo>
                        <a:lnTo>
                          <a:pt x="2135" y="2889"/>
                        </a:lnTo>
                        <a:close/>
                      </a:path>
                    </a:pathLst>
                  </a:custGeom>
                  <a:solidFill>
                    <a:srgbClr val="873E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2" name="Freeform: Shape 2301">
                    <a:extLst>
                      <a:ext uri="{FF2B5EF4-FFF2-40B4-BE49-F238E27FC236}">
                        <a16:creationId xmlns:a16="http://schemas.microsoft.com/office/drawing/2014/main" id="{030DC2F3-3F78-4107-9916-5D5FFF786907}"/>
                      </a:ext>
                    </a:extLst>
                  </p:cNvPr>
                  <p:cNvSpPr/>
                  <p:nvPr/>
                </p:nvSpPr>
                <p:spPr>
                  <a:xfrm>
                    <a:off x="5223491" y="2269975"/>
                    <a:ext cx="63927" cy="5149"/>
                  </a:xfrm>
                  <a:custGeom>
                    <a:avLst/>
                    <a:gdLst>
                      <a:gd name="connsiteX0" fmla="*/ 1130 w 63927"/>
                      <a:gd name="connsiteY0" fmla="*/ 5149 h 5149"/>
                      <a:gd name="connsiteX1" fmla="*/ 0 w 63927"/>
                      <a:gd name="connsiteY1" fmla="*/ 2135 h 5149"/>
                      <a:gd name="connsiteX2" fmla="*/ 62923 w 63927"/>
                      <a:gd name="connsiteY2" fmla="*/ 0 h 5149"/>
                      <a:gd name="connsiteX3" fmla="*/ 63928 w 63927"/>
                      <a:gd name="connsiteY3" fmla="*/ 3014 h 5149"/>
                    </a:gdLst>
                    <a:ahLst/>
                    <a:cxnLst>
                      <a:cxn ang="0">
                        <a:pos x="connsiteX0" y="connsiteY0"/>
                      </a:cxn>
                      <a:cxn ang="0">
                        <a:pos x="connsiteX1" y="connsiteY1"/>
                      </a:cxn>
                      <a:cxn ang="0">
                        <a:pos x="connsiteX2" y="connsiteY2"/>
                      </a:cxn>
                      <a:cxn ang="0">
                        <a:pos x="connsiteX3" y="connsiteY3"/>
                      </a:cxn>
                    </a:cxnLst>
                    <a:rect l="l" t="t" r="r" b="b"/>
                    <a:pathLst>
                      <a:path w="63927" h="5149">
                        <a:moveTo>
                          <a:pt x="1130" y="5149"/>
                        </a:moveTo>
                        <a:lnTo>
                          <a:pt x="0" y="2135"/>
                        </a:lnTo>
                        <a:lnTo>
                          <a:pt x="62923" y="0"/>
                        </a:lnTo>
                        <a:lnTo>
                          <a:pt x="63928" y="3014"/>
                        </a:lnTo>
                        <a:close/>
                      </a:path>
                    </a:pathLst>
                  </a:custGeom>
                  <a:solidFill>
                    <a:srgbClr val="94949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3" name="Freeform: Shape 2302">
                    <a:extLst>
                      <a:ext uri="{FF2B5EF4-FFF2-40B4-BE49-F238E27FC236}">
                        <a16:creationId xmlns:a16="http://schemas.microsoft.com/office/drawing/2014/main" id="{9ADC3907-0CBB-4F02-B370-4CDEB0DD8BCF}"/>
                      </a:ext>
                    </a:extLst>
                  </p:cNvPr>
                  <p:cNvSpPr/>
                  <p:nvPr/>
                </p:nvSpPr>
                <p:spPr>
                  <a:xfrm>
                    <a:off x="5223491" y="2243224"/>
                    <a:ext cx="109267" cy="28886"/>
                  </a:xfrm>
                  <a:custGeom>
                    <a:avLst/>
                    <a:gdLst>
                      <a:gd name="connsiteX0" fmla="*/ 109267 w 109267"/>
                      <a:gd name="connsiteY0" fmla="*/ 0 h 28886"/>
                      <a:gd name="connsiteX1" fmla="*/ 101229 w 109267"/>
                      <a:gd name="connsiteY1" fmla="*/ 4647 h 28886"/>
                      <a:gd name="connsiteX2" fmla="*/ 94950 w 109267"/>
                      <a:gd name="connsiteY2" fmla="*/ 6531 h 28886"/>
                      <a:gd name="connsiteX3" fmla="*/ 70835 w 109267"/>
                      <a:gd name="connsiteY3" fmla="*/ 20472 h 28886"/>
                      <a:gd name="connsiteX4" fmla="*/ 70961 w 109267"/>
                      <a:gd name="connsiteY4" fmla="*/ 22105 h 28886"/>
                      <a:gd name="connsiteX5" fmla="*/ 62923 w 109267"/>
                      <a:gd name="connsiteY5" fmla="*/ 26752 h 28886"/>
                      <a:gd name="connsiteX6" fmla="*/ 0 w 109267"/>
                      <a:gd name="connsiteY6" fmla="*/ 28887 h 28886"/>
                      <a:gd name="connsiteX7" fmla="*/ 46470 w 109267"/>
                      <a:gd name="connsiteY7" fmla="*/ 2135 h 2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267" h="28886">
                        <a:moveTo>
                          <a:pt x="109267" y="0"/>
                        </a:moveTo>
                        <a:lnTo>
                          <a:pt x="101229" y="4647"/>
                        </a:lnTo>
                        <a:lnTo>
                          <a:pt x="94950" y="6531"/>
                        </a:lnTo>
                        <a:lnTo>
                          <a:pt x="70835" y="20472"/>
                        </a:lnTo>
                        <a:lnTo>
                          <a:pt x="70961" y="22105"/>
                        </a:lnTo>
                        <a:lnTo>
                          <a:pt x="62923" y="26752"/>
                        </a:lnTo>
                        <a:lnTo>
                          <a:pt x="0" y="28887"/>
                        </a:lnTo>
                        <a:lnTo>
                          <a:pt x="46470" y="2135"/>
                        </a:lnTo>
                        <a:close/>
                      </a:path>
                    </a:pathLst>
                  </a:custGeom>
                  <a:solidFill>
                    <a:srgbClr val="E6E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4" name="Freeform: Shape 2303">
                    <a:extLst>
                      <a:ext uri="{FF2B5EF4-FFF2-40B4-BE49-F238E27FC236}">
                        <a16:creationId xmlns:a16="http://schemas.microsoft.com/office/drawing/2014/main" id="{35CD4DC0-AA19-483D-8C43-4732CFB72945}"/>
                      </a:ext>
                    </a:extLst>
                  </p:cNvPr>
                  <p:cNvSpPr/>
                  <p:nvPr/>
                </p:nvSpPr>
                <p:spPr>
                  <a:xfrm>
                    <a:off x="5286414" y="2265328"/>
                    <a:ext cx="9168" cy="7661"/>
                  </a:xfrm>
                  <a:custGeom>
                    <a:avLst/>
                    <a:gdLst>
                      <a:gd name="connsiteX0" fmla="*/ 1005 w 9168"/>
                      <a:gd name="connsiteY0" fmla="*/ 7661 h 7661"/>
                      <a:gd name="connsiteX1" fmla="*/ 0 w 9168"/>
                      <a:gd name="connsiteY1" fmla="*/ 4647 h 7661"/>
                      <a:gd name="connsiteX2" fmla="*/ 8038 w 9168"/>
                      <a:gd name="connsiteY2" fmla="*/ 0 h 7661"/>
                      <a:gd name="connsiteX3" fmla="*/ 9169 w 9168"/>
                      <a:gd name="connsiteY3" fmla="*/ 2889 h 7661"/>
                    </a:gdLst>
                    <a:ahLst/>
                    <a:cxnLst>
                      <a:cxn ang="0">
                        <a:pos x="connsiteX0" y="connsiteY0"/>
                      </a:cxn>
                      <a:cxn ang="0">
                        <a:pos x="connsiteX1" y="connsiteY1"/>
                      </a:cxn>
                      <a:cxn ang="0">
                        <a:pos x="connsiteX2" y="connsiteY2"/>
                      </a:cxn>
                      <a:cxn ang="0">
                        <a:pos x="connsiteX3" y="connsiteY3"/>
                      </a:cxn>
                    </a:cxnLst>
                    <a:rect l="l" t="t" r="r" b="b"/>
                    <a:pathLst>
                      <a:path w="9168" h="7661">
                        <a:moveTo>
                          <a:pt x="1005" y="7661"/>
                        </a:moveTo>
                        <a:lnTo>
                          <a:pt x="0" y="4647"/>
                        </a:lnTo>
                        <a:lnTo>
                          <a:pt x="8038" y="0"/>
                        </a:lnTo>
                        <a:lnTo>
                          <a:pt x="9169" y="2889"/>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05" name="Freeform: Shape 2304">
                  <a:extLst>
                    <a:ext uri="{FF2B5EF4-FFF2-40B4-BE49-F238E27FC236}">
                      <a16:creationId xmlns:a16="http://schemas.microsoft.com/office/drawing/2014/main" id="{BD8C5D91-B2E1-43A9-BED0-AA4177AB6E62}"/>
                    </a:ext>
                  </a:extLst>
                </p:cNvPr>
                <p:cNvSpPr/>
                <p:nvPr/>
              </p:nvSpPr>
              <p:spPr>
                <a:xfrm>
                  <a:off x="5214145" y="2259084"/>
                  <a:ext cx="38514" cy="29730"/>
                </a:xfrm>
                <a:custGeom>
                  <a:avLst/>
                  <a:gdLst>
                    <a:gd name="connsiteX0" fmla="*/ 37856 w 38514"/>
                    <a:gd name="connsiteY0" fmla="*/ 2476 h 29730"/>
                    <a:gd name="connsiteX1" fmla="*/ 33335 w 38514"/>
                    <a:gd name="connsiteY1" fmla="*/ 843 h 29730"/>
                    <a:gd name="connsiteX2" fmla="*/ 29692 w 38514"/>
                    <a:gd name="connsiteY2" fmla="*/ 1471 h 29730"/>
                    <a:gd name="connsiteX3" fmla="*/ 25171 w 38514"/>
                    <a:gd name="connsiteY3" fmla="*/ 718 h 29730"/>
                    <a:gd name="connsiteX4" fmla="*/ 6708 w 38514"/>
                    <a:gd name="connsiteY4" fmla="*/ 3230 h 29730"/>
                    <a:gd name="connsiteX5" fmla="*/ 3820 w 38514"/>
                    <a:gd name="connsiteY5" fmla="*/ 5365 h 29730"/>
                    <a:gd name="connsiteX6" fmla="*/ 178 w 38514"/>
                    <a:gd name="connsiteY6" fmla="*/ 13152 h 29730"/>
                    <a:gd name="connsiteX7" fmla="*/ 52 w 38514"/>
                    <a:gd name="connsiteY7" fmla="*/ 15036 h 29730"/>
                    <a:gd name="connsiteX8" fmla="*/ 554 w 38514"/>
                    <a:gd name="connsiteY8" fmla="*/ 16417 h 29730"/>
                    <a:gd name="connsiteX9" fmla="*/ 9472 w 38514"/>
                    <a:gd name="connsiteY9" fmla="*/ 24958 h 29730"/>
                    <a:gd name="connsiteX10" fmla="*/ 21277 w 38514"/>
                    <a:gd name="connsiteY10" fmla="*/ 28977 h 29730"/>
                    <a:gd name="connsiteX11" fmla="*/ 25297 w 38514"/>
                    <a:gd name="connsiteY11" fmla="*/ 29730 h 29730"/>
                    <a:gd name="connsiteX12" fmla="*/ 25297 w 38514"/>
                    <a:gd name="connsiteY12" fmla="*/ 15915 h 29730"/>
                    <a:gd name="connsiteX13" fmla="*/ 22282 w 38514"/>
                    <a:gd name="connsiteY13" fmla="*/ 10765 h 29730"/>
                    <a:gd name="connsiteX14" fmla="*/ 26929 w 38514"/>
                    <a:gd name="connsiteY14" fmla="*/ 8379 h 29730"/>
                    <a:gd name="connsiteX15" fmla="*/ 31451 w 38514"/>
                    <a:gd name="connsiteY15" fmla="*/ 8505 h 29730"/>
                    <a:gd name="connsiteX16" fmla="*/ 37856 w 38514"/>
                    <a:gd name="connsiteY16" fmla="*/ 2476 h 29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514" h="29730">
                      <a:moveTo>
                        <a:pt x="37856" y="2476"/>
                      </a:moveTo>
                      <a:cubicBezTo>
                        <a:pt x="36726" y="1346"/>
                        <a:pt x="34967" y="718"/>
                        <a:pt x="33335" y="843"/>
                      </a:cubicBezTo>
                      <a:cubicBezTo>
                        <a:pt x="32079" y="969"/>
                        <a:pt x="30949" y="1471"/>
                        <a:pt x="29692" y="1471"/>
                      </a:cubicBezTo>
                      <a:cubicBezTo>
                        <a:pt x="28185" y="1597"/>
                        <a:pt x="26678" y="1095"/>
                        <a:pt x="25171" y="718"/>
                      </a:cubicBezTo>
                      <a:cubicBezTo>
                        <a:pt x="19017" y="-789"/>
                        <a:pt x="12235" y="90"/>
                        <a:pt x="6708" y="3230"/>
                      </a:cubicBezTo>
                      <a:cubicBezTo>
                        <a:pt x="5704" y="3858"/>
                        <a:pt x="4574" y="4486"/>
                        <a:pt x="3820" y="5365"/>
                      </a:cubicBezTo>
                      <a:cubicBezTo>
                        <a:pt x="1810" y="7374"/>
                        <a:pt x="806" y="10263"/>
                        <a:pt x="178" y="13152"/>
                      </a:cubicBezTo>
                      <a:cubicBezTo>
                        <a:pt x="52" y="13780"/>
                        <a:pt x="-73" y="14408"/>
                        <a:pt x="52" y="15036"/>
                      </a:cubicBezTo>
                      <a:cubicBezTo>
                        <a:pt x="178" y="15538"/>
                        <a:pt x="303" y="16040"/>
                        <a:pt x="554" y="16417"/>
                      </a:cubicBezTo>
                      <a:cubicBezTo>
                        <a:pt x="2438" y="20185"/>
                        <a:pt x="5830" y="22948"/>
                        <a:pt x="9472" y="24958"/>
                      </a:cubicBezTo>
                      <a:cubicBezTo>
                        <a:pt x="13114" y="26842"/>
                        <a:pt x="17259" y="27972"/>
                        <a:pt x="21277" y="28977"/>
                      </a:cubicBezTo>
                      <a:cubicBezTo>
                        <a:pt x="22659" y="29354"/>
                        <a:pt x="23915" y="29605"/>
                        <a:pt x="25297" y="29730"/>
                      </a:cubicBezTo>
                      <a:lnTo>
                        <a:pt x="25297" y="15915"/>
                      </a:lnTo>
                      <a:cubicBezTo>
                        <a:pt x="21906" y="16040"/>
                        <a:pt x="20775" y="12775"/>
                        <a:pt x="22282" y="10765"/>
                      </a:cubicBezTo>
                      <a:cubicBezTo>
                        <a:pt x="23790" y="8882"/>
                        <a:pt x="25422" y="9007"/>
                        <a:pt x="26929" y="8379"/>
                      </a:cubicBezTo>
                      <a:cubicBezTo>
                        <a:pt x="28436" y="8630"/>
                        <a:pt x="29944" y="8756"/>
                        <a:pt x="31451" y="8505"/>
                      </a:cubicBezTo>
                      <a:cubicBezTo>
                        <a:pt x="41373" y="7500"/>
                        <a:pt x="37982" y="2602"/>
                        <a:pt x="37856" y="2476"/>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6" name="Freeform: Shape 2305">
                  <a:extLst>
                    <a:ext uri="{FF2B5EF4-FFF2-40B4-BE49-F238E27FC236}">
                      <a16:creationId xmlns:a16="http://schemas.microsoft.com/office/drawing/2014/main" id="{1052A25B-FFED-41BB-9C58-5E35E964802F}"/>
                    </a:ext>
                  </a:extLst>
                </p:cNvPr>
                <p:cNvSpPr/>
                <p:nvPr/>
              </p:nvSpPr>
              <p:spPr>
                <a:xfrm>
                  <a:off x="5255470" y="2206571"/>
                  <a:ext cx="20745" cy="31138"/>
                </a:xfrm>
                <a:custGeom>
                  <a:avLst/>
                  <a:gdLst>
                    <a:gd name="connsiteX0" fmla="*/ 2559 w 20745"/>
                    <a:gd name="connsiteY0" fmla="*/ 13418 h 31138"/>
                    <a:gd name="connsiteX1" fmla="*/ 2434 w 20745"/>
                    <a:gd name="connsiteY1" fmla="*/ 31001 h 31138"/>
                    <a:gd name="connsiteX2" fmla="*/ 17756 w 20745"/>
                    <a:gd name="connsiteY2" fmla="*/ 19949 h 31138"/>
                    <a:gd name="connsiteX3" fmla="*/ 17756 w 20745"/>
                    <a:gd name="connsiteY3" fmla="*/ 356 h 31138"/>
                    <a:gd name="connsiteX4" fmla="*/ 2559 w 20745"/>
                    <a:gd name="connsiteY4" fmla="*/ 13418 h 31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45" h="31138">
                      <a:moveTo>
                        <a:pt x="2559" y="13418"/>
                      </a:moveTo>
                      <a:cubicBezTo>
                        <a:pt x="-957" y="21833"/>
                        <a:pt x="-706" y="29117"/>
                        <a:pt x="2434" y="31001"/>
                      </a:cubicBezTo>
                      <a:cubicBezTo>
                        <a:pt x="10974" y="32383"/>
                        <a:pt x="16500" y="22963"/>
                        <a:pt x="17756" y="19949"/>
                      </a:cubicBezTo>
                      <a:cubicBezTo>
                        <a:pt x="21022" y="12664"/>
                        <a:pt x="22403" y="5128"/>
                        <a:pt x="17756" y="356"/>
                      </a:cubicBezTo>
                      <a:cubicBezTo>
                        <a:pt x="13235" y="-1528"/>
                        <a:pt x="6453" y="4249"/>
                        <a:pt x="2559" y="13418"/>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7" name="Freeform: Shape 2306">
                  <a:extLst>
                    <a:ext uri="{FF2B5EF4-FFF2-40B4-BE49-F238E27FC236}">
                      <a16:creationId xmlns:a16="http://schemas.microsoft.com/office/drawing/2014/main" id="{CD2AB023-7C99-4CF1-A28F-72CC34159E30}"/>
                    </a:ext>
                  </a:extLst>
                </p:cNvPr>
                <p:cNvSpPr/>
                <p:nvPr/>
              </p:nvSpPr>
              <p:spPr>
                <a:xfrm>
                  <a:off x="5258866" y="2214127"/>
                  <a:ext cx="44737" cy="41549"/>
                </a:xfrm>
                <a:custGeom>
                  <a:avLst/>
                  <a:gdLst>
                    <a:gd name="connsiteX0" fmla="*/ 16747 w 44737"/>
                    <a:gd name="connsiteY0" fmla="*/ 2094 h 41549"/>
                    <a:gd name="connsiteX1" fmla="*/ 4815 w 44737"/>
                    <a:gd name="connsiteY1" fmla="*/ 1717 h 41549"/>
                    <a:gd name="connsiteX2" fmla="*/ 2680 w 44737"/>
                    <a:gd name="connsiteY2" fmla="*/ 15155 h 41549"/>
                    <a:gd name="connsiteX3" fmla="*/ 13984 w 44737"/>
                    <a:gd name="connsiteY3" fmla="*/ 29222 h 41549"/>
                    <a:gd name="connsiteX4" fmla="*/ 18757 w 44737"/>
                    <a:gd name="connsiteY4" fmla="*/ 30352 h 41549"/>
                    <a:gd name="connsiteX5" fmla="*/ 22399 w 44737"/>
                    <a:gd name="connsiteY5" fmla="*/ 33367 h 41549"/>
                    <a:gd name="connsiteX6" fmla="*/ 26167 w 44737"/>
                    <a:gd name="connsiteY6" fmla="*/ 34874 h 41549"/>
                    <a:gd name="connsiteX7" fmla="*/ 22901 w 44737"/>
                    <a:gd name="connsiteY7" fmla="*/ 25957 h 41549"/>
                    <a:gd name="connsiteX8" fmla="*/ 40233 w 44737"/>
                    <a:gd name="connsiteY8" fmla="*/ 40777 h 41549"/>
                    <a:gd name="connsiteX9" fmla="*/ 44503 w 44737"/>
                    <a:gd name="connsiteY9" fmla="*/ 37511 h 41549"/>
                    <a:gd name="connsiteX10" fmla="*/ 35461 w 44737"/>
                    <a:gd name="connsiteY10" fmla="*/ 26710 h 41549"/>
                    <a:gd name="connsiteX11" fmla="*/ 40107 w 44737"/>
                    <a:gd name="connsiteY11" fmla="*/ 18546 h 41549"/>
                    <a:gd name="connsiteX12" fmla="*/ 30939 w 44737"/>
                    <a:gd name="connsiteY12" fmla="*/ 4731 h 41549"/>
                    <a:gd name="connsiteX13" fmla="*/ 16747 w 44737"/>
                    <a:gd name="connsiteY13" fmla="*/ 2094 h 41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737" h="41549">
                      <a:moveTo>
                        <a:pt x="16747" y="2094"/>
                      </a:moveTo>
                      <a:cubicBezTo>
                        <a:pt x="11472" y="1466"/>
                        <a:pt x="9463" y="-2051"/>
                        <a:pt x="4815" y="1717"/>
                      </a:cubicBezTo>
                      <a:cubicBezTo>
                        <a:pt x="671" y="5108"/>
                        <a:pt x="-2469" y="12392"/>
                        <a:pt x="2680" y="15155"/>
                      </a:cubicBezTo>
                      <a:cubicBezTo>
                        <a:pt x="10970" y="19551"/>
                        <a:pt x="10718" y="28217"/>
                        <a:pt x="13984" y="29222"/>
                      </a:cubicBezTo>
                      <a:cubicBezTo>
                        <a:pt x="15742" y="29724"/>
                        <a:pt x="16998" y="29473"/>
                        <a:pt x="18757" y="30352"/>
                      </a:cubicBezTo>
                      <a:cubicBezTo>
                        <a:pt x="20138" y="31106"/>
                        <a:pt x="21520" y="32111"/>
                        <a:pt x="22399" y="33367"/>
                      </a:cubicBezTo>
                      <a:cubicBezTo>
                        <a:pt x="23278" y="34623"/>
                        <a:pt x="24911" y="35753"/>
                        <a:pt x="26167" y="34874"/>
                      </a:cubicBezTo>
                      <a:cubicBezTo>
                        <a:pt x="26669" y="34497"/>
                        <a:pt x="28302" y="31734"/>
                        <a:pt x="22901" y="25957"/>
                      </a:cubicBezTo>
                      <a:cubicBezTo>
                        <a:pt x="21771" y="24701"/>
                        <a:pt x="32195" y="32362"/>
                        <a:pt x="40233" y="40777"/>
                      </a:cubicBezTo>
                      <a:cubicBezTo>
                        <a:pt x="41615" y="42158"/>
                        <a:pt x="45759" y="42033"/>
                        <a:pt x="44503" y="37511"/>
                      </a:cubicBezTo>
                      <a:cubicBezTo>
                        <a:pt x="42243" y="33116"/>
                        <a:pt x="38977" y="30101"/>
                        <a:pt x="35461" y="26710"/>
                      </a:cubicBezTo>
                      <a:cubicBezTo>
                        <a:pt x="37093" y="24952"/>
                        <a:pt x="39480" y="20933"/>
                        <a:pt x="40107" y="18546"/>
                      </a:cubicBezTo>
                      <a:cubicBezTo>
                        <a:pt x="41740" y="12267"/>
                        <a:pt x="33451" y="6364"/>
                        <a:pt x="30939" y="4731"/>
                      </a:cubicBezTo>
                      <a:cubicBezTo>
                        <a:pt x="28804" y="3224"/>
                        <a:pt x="19133" y="2345"/>
                        <a:pt x="16747" y="2094"/>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8" name="Freeform: Shape 2307">
                  <a:extLst>
                    <a:ext uri="{FF2B5EF4-FFF2-40B4-BE49-F238E27FC236}">
                      <a16:creationId xmlns:a16="http://schemas.microsoft.com/office/drawing/2014/main" id="{FC131AFB-C9F6-4200-BDB2-3A3A47A32B40}"/>
                    </a:ext>
                  </a:extLst>
                </p:cNvPr>
                <p:cNvSpPr/>
                <p:nvPr/>
              </p:nvSpPr>
              <p:spPr>
                <a:xfrm>
                  <a:off x="5139442" y="2238813"/>
                  <a:ext cx="80908" cy="45905"/>
                </a:xfrm>
                <a:custGeom>
                  <a:avLst/>
                  <a:gdLst>
                    <a:gd name="connsiteX0" fmla="*/ 80658 w 80908"/>
                    <a:gd name="connsiteY0" fmla="*/ 21492 h 45905"/>
                    <a:gd name="connsiteX1" fmla="*/ 77267 w 80908"/>
                    <a:gd name="connsiteY1" fmla="*/ 39452 h 45905"/>
                    <a:gd name="connsiteX2" fmla="*/ 59432 w 80908"/>
                    <a:gd name="connsiteY2" fmla="*/ 44978 h 45905"/>
                    <a:gd name="connsiteX3" fmla="*/ 14093 w 80908"/>
                    <a:gd name="connsiteY3" fmla="*/ 35182 h 45905"/>
                    <a:gd name="connsiteX4" fmla="*/ 11706 w 80908"/>
                    <a:gd name="connsiteY4" fmla="*/ 34554 h 45905"/>
                    <a:gd name="connsiteX5" fmla="*/ 11455 w 80908"/>
                    <a:gd name="connsiteY5" fmla="*/ 34428 h 45905"/>
                    <a:gd name="connsiteX6" fmla="*/ 403 w 80908"/>
                    <a:gd name="connsiteY6" fmla="*/ 14208 h 45905"/>
                    <a:gd name="connsiteX7" fmla="*/ 5427 w 80908"/>
                    <a:gd name="connsiteY7" fmla="*/ 5039 h 45905"/>
                    <a:gd name="connsiteX8" fmla="*/ 6934 w 80908"/>
                    <a:gd name="connsiteY8" fmla="*/ 3658 h 45905"/>
                    <a:gd name="connsiteX9" fmla="*/ 21377 w 80908"/>
                    <a:gd name="connsiteY9" fmla="*/ 392 h 45905"/>
                    <a:gd name="connsiteX10" fmla="*/ 23889 w 80908"/>
                    <a:gd name="connsiteY10" fmla="*/ 895 h 45905"/>
                    <a:gd name="connsiteX11" fmla="*/ 66717 w 80908"/>
                    <a:gd name="connsiteY11" fmla="*/ 10189 h 45905"/>
                    <a:gd name="connsiteX12" fmla="*/ 80658 w 80908"/>
                    <a:gd name="connsiteY12" fmla="*/ 21492 h 4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908" h="45905">
                      <a:moveTo>
                        <a:pt x="80658" y="21492"/>
                      </a:moveTo>
                      <a:cubicBezTo>
                        <a:pt x="82039" y="29781"/>
                        <a:pt x="77267" y="39452"/>
                        <a:pt x="77267" y="39452"/>
                      </a:cubicBezTo>
                      <a:cubicBezTo>
                        <a:pt x="74504" y="45983"/>
                        <a:pt x="69103" y="46988"/>
                        <a:pt x="59432" y="44978"/>
                      </a:cubicBezTo>
                      <a:lnTo>
                        <a:pt x="14093" y="35182"/>
                      </a:lnTo>
                      <a:cubicBezTo>
                        <a:pt x="13339" y="35056"/>
                        <a:pt x="12460" y="34805"/>
                        <a:pt x="11706" y="34554"/>
                      </a:cubicBezTo>
                      <a:cubicBezTo>
                        <a:pt x="11581" y="34554"/>
                        <a:pt x="11581" y="34554"/>
                        <a:pt x="11455" y="34428"/>
                      </a:cubicBezTo>
                      <a:cubicBezTo>
                        <a:pt x="3417" y="31414"/>
                        <a:pt x="-1481" y="22874"/>
                        <a:pt x="403" y="14208"/>
                      </a:cubicBezTo>
                      <a:cubicBezTo>
                        <a:pt x="1156" y="10565"/>
                        <a:pt x="2914" y="7425"/>
                        <a:pt x="5427" y="5039"/>
                      </a:cubicBezTo>
                      <a:cubicBezTo>
                        <a:pt x="5929" y="4537"/>
                        <a:pt x="6432" y="4160"/>
                        <a:pt x="6934" y="3658"/>
                      </a:cubicBezTo>
                      <a:cubicBezTo>
                        <a:pt x="10827" y="643"/>
                        <a:pt x="16102" y="-738"/>
                        <a:pt x="21377" y="392"/>
                      </a:cubicBezTo>
                      <a:lnTo>
                        <a:pt x="23889" y="895"/>
                      </a:lnTo>
                      <a:lnTo>
                        <a:pt x="66717" y="10189"/>
                      </a:lnTo>
                      <a:cubicBezTo>
                        <a:pt x="76136" y="11193"/>
                        <a:pt x="79779" y="15966"/>
                        <a:pt x="80658" y="21492"/>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309" name="Graphic 4">
                  <a:extLst>
                    <a:ext uri="{FF2B5EF4-FFF2-40B4-BE49-F238E27FC236}">
                      <a16:creationId xmlns:a16="http://schemas.microsoft.com/office/drawing/2014/main" id="{84FB7ED1-A2DF-40A1-A747-5F7CF3F14040}"/>
                    </a:ext>
                  </a:extLst>
                </p:cNvPr>
                <p:cNvGrpSpPr/>
                <p:nvPr/>
              </p:nvGrpSpPr>
              <p:grpSpPr>
                <a:xfrm>
                  <a:off x="5156424" y="2289641"/>
                  <a:ext cx="59648" cy="283520"/>
                  <a:chOff x="5156424" y="2289641"/>
                  <a:chExt cx="59648" cy="283520"/>
                </a:xfrm>
                <a:solidFill>
                  <a:schemeClr val="accent1"/>
                </a:solidFill>
              </p:grpSpPr>
              <p:sp>
                <p:nvSpPr>
                  <p:cNvPr id="2310" name="Freeform: Shape 2309">
                    <a:extLst>
                      <a:ext uri="{FF2B5EF4-FFF2-40B4-BE49-F238E27FC236}">
                        <a16:creationId xmlns:a16="http://schemas.microsoft.com/office/drawing/2014/main" id="{1D4F2C9A-B9BB-4509-ACC1-DE3CC307BBC1}"/>
                      </a:ext>
                    </a:extLst>
                  </p:cNvPr>
                  <p:cNvSpPr/>
                  <p:nvPr/>
                </p:nvSpPr>
                <p:spPr>
                  <a:xfrm>
                    <a:off x="5158906" y="2522798"/>
                    <a:ext cx="57166" cy="50363"/>
                  </a:xfrm>
                  <a:custGeom>
                    <a:avLst/>
                    <a:gdLst>
                      <a:gd name="connsiteX0" fmla="*/ 57049 w 57166"/>
                      <a:gd name="connsiteY0" fmla="*/ 43456 h 50363"/>
                      <a:gd name="connsiteX1" fmla="*/ 57049 w 57166"/>
                      <a:gd name="connsiteY1" fmla="*/ 43205 h 50363"/>
                      <a:gd name="connsiteX2" fmla="*/ 38587 w 57166"/>
                      <a:gd name="connsiteY2" fmla="*/ 16704 h 50363"/>
                      <a:gd name="connsiteX3" fmla="*/ 32307 w 57166"/>
                      <a:gd name="connsiteY3" fmla="*/ 2135 h 50363"/>
                      <a:gd name="connsiteX4" fmla="*/ 10202 w 57166"/>
                      <a:gd name="connsiteY4" fmla="*/ 0 h 50363"/>
                      <a:gd name="connsiteX5" fmla="*/ 29 w 57166"/>
                      <a:gd name="connsiteY5" fmla="*/ 24742 h 50363"/>
                      <a:gd name="connsiteX6" fmla="*/ 29 w 57166"/>
                      <a:gd name="connsiteY6" fmla="*/ 24742 h 50363"/>
                      <a:gd name="connsiteX7" fmla="*/ 3922 w 57166"/>
                      <a:gd name="connsiteY7" fmla="*/ 30771 h 50363"/>
                      <a:gd name="connsiteX8" fmla="*/ 33940 w 57166"/>
                      <a:gd name="connsiteY8" fmla="*/ 48103 h 50363"/>
                      <a:gd name="connsiteX9" fmla="*/ 53156 w 57166"/>
                      <a:gd name="connsiteY9" fmla="*/ 48103 h 50363"/>
                      <a:gd name="connsiteX10" fmla="*/ 57049 w 57166"/>
                      <a:gd name="connsiteY10" fmla="*/ 43456 h 50363"/>
                      <a:gd name="connsiteX11" fmla="*/ 57049 w 57166"/>
                      <a:gd name="connsiteY11" fmla="*/ 43456 h 50363"/>
                      <a:gd name="connsiteX12" fmla="*/ 57049 w 57166"/>
                      <a:gd name="connsiteY12" fmla="*/ 43456 h 50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66" h="50363">
                        <a:moveTo>
                          <a:pt x="57049" y="43456"/>
                        </a:moveTo>
                        <a:cubicBezTo>
                          <a:pt x="57049" y="43330"/>
                          <a:pt x="57049" y="43330"/>
                          <a:pt x="57049" y="43205"/>
                        </a:cubicBezTo>
                        <a:cubicBezTo>
                          <a:pt x="58305" y="35418"/>
                          <a:pt x="49262" y="24491"/>
                          <a:pt x="38587" y="16704"/>
                        </a:cubicBezTo>
                        <a:cubicBezTo>
                          <a:pt x="34191" y="13564"/>
                          <a:pt x="36326" y="6405"/>
                          <a:pt x="32307" y="2135"/>
                        </a:cubicBezTo>
                        <a:lnTo>
                          <a:pt x="10202" y="0"/>
                        </a:lnTo>
                        <a:cubicBezTo>
                          <a:pt x="5430" y="6405"/>
                          <a:pt x="1285" y="13564"/>
                          <a:pt x="29" y="24742"/>
                        </a:cubicBezTo>
                        <a:lnTo>
                          <a:pt x="29" y="24742"/>
                        </a:lnTo>
                        <a:cubicBezTo>
                          <a:pt x="-222" y="26877"/>
                          <a:pt x="1159" y="29138"/>
                          <a:pt x="3922" y="30771"/>
                        </a:cubicBezTo>
                        <a:lnTo>
                          <a:pt x="33940" y="48103"/>
                        </a:lnTo>
                        <a:cubicBezTo>
                          <a:pt x="39215" y="51117"/>
                          <a:pt x="47755" y="51117"/>
                          <a:pt x="53156" y="48103"/>
                        </a:cubicBezTo>
                        <a:cubicBezTo>
                          <a:pt x="55416" y="46847"/>
                          <a:pt x="56672" y="45214"/>
                          <a:pt x="57049" y="43456"/>
                        </a:cubicBezTo>
                        <a:lnTo>
                          <a:pt x="57049" y="43456"/>
                        </a:lnTo>
                        <a:cubicBezTo>
                          <a:pt x="57049" y="43456"/>
                          <a:pt x="57049" y="43456"/>
                          <a:pt x="57049" y="43456"/>
                        </a:cubicBezTo>
                        <a:close/>
                      </a:path>
                    </a:pathLst>
                  </a:custGeom>
                  <a:solidFill>
                    <a:srgbClr val="43291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1" name="Freeform: Shape 2310">
                    <a:extLst>
                      <a:ext uri="{FF2B5EF4-FFF2-40B4-BE49-F238E27FC236}">
                        <a16:creationId xmlns:a16="http://schemas.microsoft.com/office/drawing/2014/main" id="{9C6BC342-49B8-4FE8-BF63-B984FAAAA685}"/>
                      </a:ext>
                    </a:extLst>
                  </p:cNvPr>
                  <p:cNvSpPr/>
                  <p:nvPr/>
                </p:nvSpPr>
                <p:spPr>
                  <a:xfrm>
                    <a:off x="5156424" y="2289641"/>
                    <a:ext cx="59603" cy="251054"/>
                  </a:xfrm>
                  <a:custGeom>
                    <a:avLst/>
                    <a:gdLst>
                      <a:gd name="connsiteX0" fmla="*/ 59532 w 59603"/>
                      <a:gd name="connsiteY0" fmla="*/ 140091 h 251054"/>
                      <a:gd name="connsiteX1" fmla="*/ 59532 w 59603"/>
                      <a:gd name="connsiteY1" fmla="*/ 16129 h 251054"/>
                      <a:gd name="connsiteX2" fmla="*/ 10927 w 59603"/>
                      <a:gd name="connsiteY2" fmla="*/ 7840 h 251054"/>
                      <a:gd name="connsiteX3" fmla="*/ 9922 w 59603"/>
                      <a:gd name="connsiteY3" fmla="*/ 39239 h 251054"/>
                      <a:gd name="connsiteX4" fmla="*/ 12811 w 59603"/>
                      <a:gd name="connsiteY4" fmla="*/ 73652 h 251054"/>
                      <a:gd name="connsiteX5" fmla="*/ 12434 w 59603"/>
                      <a:gd name="connsiteY5" fmla="*/ 130797 h 251054"/>
                      <a:gd name="connsiteX6" fmla="*/ 0 w 59603"/>
                      <a:gd name="connsiteY6" fmla="*/ 237176 h 251054"/>
                      <a:gd name="connsiteX7" fmla="*/ 0 w 59603"/>
                      <a:gd name="connsiteY7" fmla="*/ 237678 h 251054"/>
                      <a:gd name="connsiteX8" fmla="*/ 0 w 59603"/>
                      <a:gd name="connsiteY8" fmla="*/ 237678 h 251054"/>
                      <a:gd name="connsiteX9" fmla="*/ 6782 w 59603"/>
                      <a:gd name="connsiteY9" fmla="*/ 247098 h 251054"/>
                      <a:gd name="connsiteX10" fmla="*/ 39562 w 59603"/>
                      <a:gd name="connsiteY10" fmla="*/ 247098 h 251054"/>
                      <a:gd name="connsiteX11" fmla="*/ 46345 w 59603"/>
                      <a:gd name="connsiteY11" fmla="*/ 237678 h 251054"/>
                      <a:gd name="connsiteX12" fmla="*/ 46345 w 59603"/>
                      <a:gd name="connsiteY12" fmla="*/ 237678 h 251054"/>
                      <a:gd name="connsiteX13" fmla="*/ 59532 w 59603"/>
                      <a:gd name="connsiteY13" fmla="*/ 140091 h 251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3" h="251054">
                        <a:moveTo>
                          <a:pt x="59532" y="140091"/>
                        </a:moveTo>
                        <a:lnTo>
                          <a:pt x="59532" y="16129"/>
                        </a:lnTo>
                        <a:cubicBezTo>
                          <a:pt x="59532" y="16129"/>
                          <a:pt x="15323" y="-13762"/>
                          <a:pt x="10927" y="7840"/>
                        </a:cubicBezTo>
                        <a:cubicBezTo>
                          <a:pt x="11555" y="14748"/>
                          <a:pt x="9796" y="26930"/>
                          <a:pt x="9922" y="39239"/>
                        </a:cubicBezTo>
                        <a:cubicBezTo>
                          <a:pt x="10173" y="53933"/>
                          <a:pt x="12434" y="60841"/>
                          <a:pt x="12811" y="73652"/>
                        </a:cubicBezTo>
                        <a:cubicBezTo>
                          <a:pt x="13438" y="103292"/>
                          <a:pt x="12434" y="130797"/>
                          <a:pt x="12434" y="130797"/>
                        </a:cubicBezTo>
                        <a:cubicBezTo>
                          <a:pt x="12434" y="160563"/>
                          <a:pt x="1130" y="202889"/>
                          <a:pt x="0" y="237176"/>
                        </a:cubicBezTo>
                        <a:cubicBezTo>
                          <a:pt x="0" y="237302"/>
                          <a:pt x="0" y="237553"/>
                          <a:pt x="0" y="237678"/>
                        </a:cubicBezTo>
                        <a:lnTo>
                          <a:pt x="0" y="237678"/>
                        </a:lnTo>
                        <a:cubicBezTo>
                          <a:pt x="0" y="241069"/>
                          <a:pt x="2261" y="244586"/>
                          <a:pt x="6782" y="247098"/>
                        </a:cubicBezTo>
                        <a:cubicBezTo>
                          <a:pt x="15825" y="252373"/>
                          <a:pt x="30519" y="252373"/>
                          <a:pt x="39562" y="247098"/>
                        </a:cubicBezTo>
                        <a:cubicBezTo>
                          <a:pt x="44084" y="244460"/>
                          <a:pt x="46345" y="241069"/>
                          <a:pt x="46345" y="237678"/>
                        </a:cubicBezTo>
                        <a:lnTo>
                          <a:pt x="46345" y="237678"/>
                        </a:lnTo>
                        <a:cubicBezTo>
                          <a:pt x="48103" y="232906"/>
                          <a:pt x="60662" y="148506"/>
                          <a:pt x="59532" y="140091"/>
                        </a:cubicBezTo>
                        <a:close/>
                      </a:path>
                    </a:pathLst>
                  </a:custGeom>
                  <a:solidFill>
                    <a:srgbClr val="186F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2" name="Freeform: Shape 2311">
                    <a:extLst>
                      <a:ext uri="{FF2B5EF4-FFF2-40B4-BE49-F238E27FC236}">
                        <a16:creationId xmlns:a16="http://schemas.microsoft.com/office/drawing/2014/main" id="{C4231422-8DED-40C7-BB97-FD5414468D7C}"/>
                      </a:ext>
                    </a:extLst>
                  </p:cNvPr>
                  <p:cNvSpPr/>
                  <p:nvPr/>
                </p:nvSpPr>
                <p:spPr>
                  <a:xfrm>
                    <a:off x="5159233" y="2487882"/>
                    <a:ext cx="49312" cy="26316"/>
                  </a:xfrm>
                  <a:custGeom>
                    <a:avLst/>
                    <a:gdLst>
                      <a:gd name="connsiteX0" fmla="*/ 79 w 49312"/>
                      <a:gd name="connsiteY0" fmla="*/ 9420 h 26316"/>
                      <a:gd name="connsiteX1" fmla="*/ 1461 w 49312"/>
                      <a:gd name="connsiteY1" fmla="*/ 0 h 26316"/>
                      <a:gd name="connsiteX2" fmla="*/ 7238 w 49312"/>
                      <a:gd name="connsiteY2" fmla="*/ 10550 h 26316"/>
                      <a:gd name="connsiteX3" fmla="*/ 41149 w 49312"/>
                      <a:gd name="connsiteY3" fmla="*/ 14569 h 26316"/>
                      <a:gd name="connsiteX4" fmla="*/ 49312 w 49312"/>
                      <a:gd name="connsiteY4" fmla="*/ 5903 h 26316"/>
                      <a:gd name="connsiteX5" fmla="*/ 47931 w 49312"/>
                      <a:gd name="connsiteY5" fmla="*/ 15071 h 26316"/>
                      <a:gd name="connsiteX6" fmla="*/ 39893 w 49312"/>
                      <a:gd name="connsiteY6" fmla="*/ 23989 h 26316"/>
                      <a:gd name="connsiteX7" fmla="*/ 5982 w 49312"/>
                      <a:gd name="connsiteY7" fmla="*/ 19970 h 26316"/>
                      <a:gd name="connsiteX8" fmla="*/ 79 w 49312"/>
                      <a:gd name="connsiteY8" fmla="*/ 9420 h 26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312" h="26316">
                        <a:moveTo>
                          <a:pt x="79" y="9420"/>
                        </a:moveTo>
                        <a:lnTo>
                          <a:pt x="1461" y="0"/>
                        </a:lnTo>
                        <a:cubicBezTo>
                          <a:pt x="1084" y="3517"/>
                          <a:pt x="2842" y="7285"/>
                          <a:pt x="7238" y="10550"/>
                        </a:cubicBezTo>
                        <a:cubicBezTo>
                          <a:pt x="16030" y="17081"/>
                          <a:pt x="31227" y="18839"/>
                          <a:pt x="41149" y="14569"/>
                        </a:cubicBezTo>
                        <a:cubicBezTo>
                          <a:pt x="46047" y="12434"/>
                          <a:pt x="48684" y="9420"/>
                          <a:pt x="49312" y="5903"/>
                        </a:cubicBezTo>
                        <a:lnTo>
                          <a:pt x="47931" y="15071"/>
                        </a:lnTo>
                        <a:cubicBezTo>
                          <a:pt x="47428" y="18714"/>
                          <a:pt x="44916" y="21853"/>
                          <a:pt x="39893" y="23989"/>
                        </a:cubicBezTo>
                        <a:cubicBezTo>
                          <a:pt x="29845" y="28259"/>
                          <a:pt x="14648" y="26501"/>
                          <a:pt x="5982" y="19970"/>
                        </a:cubicBezTo>
                        <a:cubicBezTo>
                          <a:pt x="1461" y="16704"/>
                          <a:pt x="-423" y="13062"/>
                          <a:pt x="79" y="9420"/>
                        </a:cubicBezTo>
                        <a:close/>
                      </a:path>
                    </a:pathLst>
                  </a:custGeom>
                  <a:solidFill>
                    <a:srgbClr val="FFC5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313" name="Graphic 4">
                <a:extLst>
                  <a:ext uri="{FF2B5EF4-FFF2-40B4-BE49-F238E27FC236}">
                    <a16:creationId xmlns:a16="http://schemas.microsoft.com/office/drawing/2014/main" id="{84FB7ED1-A2DF-40A1-A747-5F7CF3F14040}"/>
                  </a:ext>
                </a:extLst>
              </p:cNvPr>
              <p:cNvGrpSpPr/>
              <p:nvPr/>
            </p:nvGrpSpPr>
            <p:grpSpPr>
              <a:xfrm>
                <a:off x="5220100" y="2150032"/>
                <a:ext cx="134009" cy="154356"/>
                <a:chOff x="5220100" y="2150032"/>
                <a:chExt cx="134009" cy="154356"/>
              </a:xfrm>
              <a:solidFill>
                <a:schemeClr val="accent1"/>
              </a:solidFill>
            </p:grpSpPr>
            <p:grpSp>
              <p:nvGrpSpPr>
                <p:cNvPr id="2314" name="Graphic 4">
                  <a:extLst>
                    <a:ext uri="{FF2B5EF4-FFF2-40B4-BE49-F238E27FC236}">
                      <a16:creationId xmlns:a16="http://schemas.microsoft.com/office/drawing/2014/main" id="{84FB7ED1-A2DF-40A1-A747-5F7CF3F14040}"/>
                    </a:ext>
                  </a:extLst>
                </p:cNvPr>
                <p:cNvGrpSpPr/>
                <p:nvPr/>
              </p:nvGrpSpPr>
              <p:grpSpPr>
                <a:xfrm>
                  <a:off x="5220100" y="2150032"/>
                  <a:ext cx="134009" cy="154356"/>
                  <a:chOff x="5220100" y="2150032"/>
                  <a:chExt cx="134009" cy="154356"/>
                </a:xfrm>
                <a:solidFill>
                  <a:schemeClr val="accent1"/>
                </a:solidFill>
              </p:grpSpPr>
              <p:sp>
                <p:nvSpPr>
                  <p:cNvPr id="2315" name="Freeform: Shape 2314">
                    <a:extLst>
                      <a:ext uri="{FF2B5EF4-FFF2-40B4-BE49-F238E27FC236}">
                        <a16:creationId xmlns:a16="http://schemas.microsoft.com/office/drawing/2014/main" id="{757975F7-6C9D-4DBD-ADAB-1B7262926039}"/>
                      </a:ext>
                    </a:extLst>
                  </p:cNvPr>
                  <p:cNvSpPr/>
                  <p:nvPr/>
                </p:nvSpPr>
                <p:spPr>
                  <a:xfrm>
                    <a:off x="5296838" y="2194367"/>
                    <a:ext cx="57271" cy="110021"/>
                  </a:xfrm>
                  <a:custGeom>
                    <a:avLst/>
                    <a:gdLst>
                      <a:gd name="connsiteX0" fmla="*/ 0 w 57271"/>
                      <a:gd name="connsiteY0" fmla="*/ 110021 h 110021"/>
                      <a:gd name="connsiteX1" fmla="*/ 57271 w 57271"/>
                      <a:gd name="connsiteY1" fmla="*/ 76990 h 110021"/>
                      <a:gd name="connsiteX2" fmla="*/ 57271 w 57271"/>
                      <a:gd name="connsiteY2" fmla="*/ 0 h 110021"/>
                      <a:gd name="connsiteX3" fmla="*/ 0 w 57271"/>
                      <a:gd name="connsiteY3" fmla="*/ 33031 h 110021"/>
                    </a:gdLst>
                    <a:ahLst/>
                    <a:cxnLst>
                      <a:cxn ang="0">
                        <a:pos x="connsiteX0" y="connsiteY0"/>
                      </a:cxn>
                      <a:cxn ang="0">
                        <a:pos x="connsiteX1" y="connsiteY1"/>
                      </a:cxn>
                      <a:cxn ang="0">
                        <a:pos x="connsiteX2" y="connsiteY2"/>
                      </a:cxn>
                      <a:cxn ang="0">
                        <a:pos x="connsiteX3" y="connsiteY3"/>
                      </a:cxn>
                    </a:cxnLst>
                    <a:rect l="l" t="t" r="r" b="b"/>
                    <a:pathLst>
                      <a:path w="57271" h="110021">
                        <a:moveTo>
                          <a:pt x="0" y="110021"/>
                        </a:moveTo>
                        <a:lnTo>
                          <a:pt x="57271" y="76990"/>
                        </a:lnTo>
                        <a:lnTo>
                          <a:pt x="57271" y="0"/>
                        </a:lnTo>
                        <a:lnTo>
                          <a:pt x="0" y="3303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6" name="Freeform: Shape 2315">
                    <a:extLst>
                      <a:ext uri="{FF2B5EF4-FFF2-40B4-BE49-F238E27FC236}">
                        <a16:creationId xmlns:a16="http://schemas.microsoft.com/office/drawing/2014/main" id="{5299E268-833E-42AC-8065-FB39A72D2862}"/>
                      </a:ext>
                    </a:extLst>
                  </p:cNvPr>
                  <p:cNvSpPr/>
                  <p:nvPr/>
                </p:nvSpPr>
                <p:spPr>
                  <a:xfrm>
                    <a:off x="5220100" y="2183064"/>
                    <a:ext cx="76738" cy="121324"/>
                  </a:xfrm>
                  <a:custGeom>
                    <a:avLst/>
                    <a:gdLst>
                      <a:gd name="connsiteX0" fmla="*/ 0 w 76738"/>
                      <a:gd name="connsiteY0" fmla="*/ 77115 h 121324"/>
                      <a:gd name="connsiteX1" fmla="*/ 76739 w 76738"/>
                      <a:gd name="connsiteY1" fmla="*/ 121325 h 121324"/>
                      <a:gd name="connsiteX2" fmla="*/ 76739 w 76738"/>
                      <a:gd name="connsiteY2" fmla="*/ 44335 h 121324"/>
                      <a:gd name="connsiteX3" fmla="*/ 0 w 76738"/>
                      <a:gd name="connsiteY3" fmla="*/ 0 h 121324"/>
                    </a:gdLst>
                    <a:ahLst/>
                    <a:cxnLst>
                      <a:cxn ang="0">
                        <a:pos x="connsiteX0" y="connsiteY0"/>
                      </a:cxn>
                      <a:cxn ang="0">
                        <a:pos x="connsiteX1" y="connsiteY1"/>
                      </a:cxn>
                      <a:cxn ang="0">
                        <a:pos x="connsiteX2" y="connsiteY2"/>
                      </a:cxn>
                      <a:cxn ang="0">
                        <a:pos x="connsiteX3" y="connsiteY3"/>
                      </a:cxn>
                    </a:cxnLst>
                    <a:rect l="l" t="t" r="r" b="b"/>
                    <a:pathLst>
                      <a:path w="76738" h="121324">
                        <a:moveTo>
                          <a:pt x="0" y="77115"/>
                        </a:moveTo>
                        <a:lnTo>
                          <a:pt x="76739" y="121325"/>
                        </a:lnTo>
                        <a:lnTo>
                          <a:pt x="76739" y="44335"/>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7" name="Freeform: Shape 2316">
                    <a:extLst>
                      <a:ext uri="{FF2B5EF4-FFF2-40B4-BE49-F238E27FC236}">
                        <a16:creationId xmlns:a16="http://schemas.microsoft.com/office/drawing/2014/main" id="{46C45015-D886-40E7-8861-F37A1CE84A2E}"/>
                      </a:ext>
                    </a:extLst>
                  </p:cNvPr>
                  <p:cNvSpPr/>
                  <p:nvPr/>
                </p:nvSpPr>
                <p:spPr>
                  <a:xfrm>
                    <a:off x="5220100" y="2150032"/>
                    <a:ext cx="134009" cy="77366"/>
                  </a:xfrm>
                  <a:custGeom>
                    <a:avLst/>
                    <a:gdLst>
                      <a:gd name="connsiteX0" fmla="*/ 0 w 134009"/>
                      <a:gd name="connsiteY0" fmla="*/ 33031 h 77366"/>
                      <a:gd name="connsiteX1" fmla="*/ 35167 w 134009"/>
                      <a:gd name="connsiteY1" fmla="*/ 53378 h 77366"/>
                      <a:gd name="connsiteX2" fmla="*/ 38432 w 134009"/>
                      <a:gd name="connsiteY2" fmla="*/ 55262 h 77366"/>
                      <a:gd name="connsiteX3" fmla="*/ 76739 w 134009"/>
                      <a:gd name="connsiteY3" fmla="*/ 77366 h 77366"/>
                      <a:gd name="connsiteX4" fmla="*/ 134010 w 134009"/>
                      <a:gd name="connsiteY4" fmla="*/ 44335 h 77366"/>
                      <a:gd name="connsiteX5" fmla="*/ 95704 w 134009"/>
                      <a:gd name="connsiteY5" fmla="*/ 22230 h 77366"/>
                      <a:gd name="connsiteX6" fmla="*/ 92438 w 134009"/>
                      <a:gd name="connsiteY6" fmla="*/ 20346 h 77366"/>
                      <a:gd name="connsiteX7" fmla="*/ 57271 w 134009"/>
                      <a:gd name="connsiteY7" fmla="*/ 0 h 77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009" h="77366">
                        <a:moveTo>
                          <a:pt x="0" y="33031"/>
                        </a:moveTo>
                        <a:lnTo>
                          <a:pt x="35167" y="53378"/>
                        </a:lnTo>
                        <a:lnTo>
                          <a:pt x="38432" y="55262"/>
                        </a:lnTo>
                        <a:lnTo>
                          <a:pt x="76739" y="77366"/>
                        </a:lnTo>
                        <a:lnTo>
                          <a:pt x="134010" y="44335"/>
                        </a:lnTo>
                        <a:lnTo>
                          <a:pt x="95704" y="22230"/>
                        </a:lnTo>
                        <a:lnTo>
                          <a:pt x="92438" y="20346"/>
                        </a:lnTo>
                        <a:lnTo>
                          <a:pt x="57271"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18" name="Freeform: Shape 2317">
                  <a:extLst>
                    <a:ext uri="{FF2B5EF4-FFF2-40B4-BE49-F238E27FC236}">
                      <a16:creationId xmlns:a16="http://schemas.microsoft.com/office/drawing/2014/main" id="{39B48231-8C12-4702-9D3E-CEABE2E17D68}"/>
                    </a:ext>
                  </a:extLst>
                </p:cNvPr>
                <p:cNvSpPr/>
                <p:nvPr/>
              </p:nvSpPr>
              <p:spPr>
                <a:xfrm>
                  <a:off x="5255267" y="2170379"/>
                  <a:ext cx="60536" cy="34915"/>
                </a:xfrm>
                <a:custGeom>
                  <a:avLst/>
                  <a:gdLst>
                    <a:gd name="connsiteX0" fmla="*/ 0 w 60536"/>
                    <a:gd name="connsiteY0" fmla="*/ 33031 h 34915"/>
                    <a:gd name="connsiteX1" fmla="*/ 3265 w 60536"/>
                    <a:gd name="connsiteY1" fmla="*/ 34915 h 34915"/>
                    <a:gd name="connsiteX2" fmla="*/ 60537 w 60536"/>
                    <a:gd name="connsiteY2" fmla="*/ 1884 h 34915"/>
                    <a:gd name="connsiteX3" fmla="*/ 57271 w 60536"/>
                    <a:gd name="connsiteY3" fmla="*/ 0 h 34915"/>
                  </a:gdLst>
                  <a:ahLst/>
                  <a:cxnLst>
                    <a:cxn ang="0">
                      <a:pos x="connsiteX0" y="connsiteY0"/>
                    </a:cxn>
                    <a:cxn ang="0">
                      <a:pos x="connsiteX1" y="connsiteY1"/>
                    </a:cxn>
                    <a:cxn ang="0">
                      <a:pos x="connsiteX2" y="connsiteY2"/>
                    </a:cxn>
                    <a:cxn ang="0">
                      <a:pos x="connsiteX3" y="connsiteY3"/>
                    </a:cxn>
                  </a:cxnLst>
                  <a:rect l="l" t="t" r="r" b="b"/>
                  <a:pathLst>
                    <a:path w="60536" h="34915">
                      <a:moveTo>
                        <a:pt x="0" y="33031"/>
                      </a:moveTo>
                      <a:lnTo>
                        <a:pt x="3265" y="34915"/>
                      </a:lnTo>
                      <a:lnTo>
                        <a:pt x="60537" y="1884"/>
                      </a:lnTo>
                      <a:lnTo>
                        <a:pt x="57271"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9" name="Freeform: Shape 2318">
                  <a:extLst>
                    <a:ext uri="{FF2B5EF4-FFF2-40B4-BE49-F238E27FC236}">
                      <a16:creationId xmlns:a16="http://schemas.microsoft.com/office/drawing/2014/main" id="{FDAB5911-133C-45A9-9090-C083AC38148F}"/>
                    </a:ext>
                  </a:extLst>
                </p:cNvPr>
                <p:cNvSpPr/>
                <p:nvPr/>
              </p:nvSpPr>
              <p:spPr>
                <a:xfrm>
                  <a:off x="5270212" y="2222877"/>
                  <a:ext cx="20346" cy="27882"/>
                </a:xfrm>
                <a:custGeom>
                  <a:avLst/>
                  <a:gdLst>
                    <a:gd name="connsiteX0" fmla="*/ 0 w 20346"/>
                    <a:gd name="connsiteY0" fmla="*/ 16076 h 27882"/>
                    <a:gd name="connsiteX1" fmla="*/ 20346 w 20346"/>
                    <a:gd name="connsiteY1" fmla="*/ 27882 h 27882"/>
                    <a:gd name="connsiteX2" fmla="*/ 20346 w 20346"/>
                    <a:gd name="connsiteY2" fmla="*/ 11806 h 27882"/>
                    <a:gd name="connsiteX3" fmla="*/ 0 w 20346"/>
                    <a:gd name="connsiteY3" fmla="*/ 0 h 27882"/>
                  </a:gdLst>
                  <a:ahLst/>
                  <a:cxnLst>
                    <a:cxn ang="0">
                      <a:pos x="connsiteX0" y="connsiteY0"/>
                    </a:cxn>
                    <a:cxn ang="0">
                      <a:pos x="connsiteX1" y="connsiteY1"/>
                    </a:cxn>
                    <a:cxn ang="0">
                      <a:pos x="connsiteX2" y="connsiteY2"/>
                    </a:cxn>
                    <a:cxn ang="0">
                      <a:pos x="connsiteX3" y="connsiteY3"/>
                    </a:cxn>
                  </a:cxnLst>
                  <a:rect l="l" t="t" r="r" b="b"/>
                  <a:pathLst>
                    <a:path w="20346" h="27882">
                      <a:moveTo>
                        <a:pt x="0" y="16076"/>
                      </a:moveTo>
                      <a:lnTo>
                        <a:pt x="20346" y="27882"/>
                      </a:lnTo>
                      <a:lnTo>
                        <a:pt x="20346" y="11806"/>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320" name="Graphic 4">
              <a:extLst>
                <a:ext uri="{FF2B5EF4-FFF2-40B4-BE49-F238E27FC236}">
                  <a16:creationId xmlns:a16="http://schemas.microsoft.com/office/drawing/2014/main" id="{84FB7ED1-A2DF-40A1-A747-5F7CF3F14040}"/>
                </a:ext>
              </a:extLst>
            </p:cNvPr>
            <p:cNvGrpSpPr/>
            <p:nvPr/>
          </p:nvGrpSpPr>
          <p:grpSpPr>
            <a:xfrm>
              <a:off x="5193976" y="2313306"/>
              <a:ext cx="428278" cy="439833"/>
              <a:chOff x="5193976" y="2313306"/>
              <a:chExt cx="428278" cy="439833"/>
            </a:xfrm>
            <a:solidFill>
              <a:schemeClr val="accent1"/>
            </a:solidFill>
          </p:grpSpPr>
          <p:grpSp>
            <p:nvGrpSpPr>
              <p:cNvPr id="2321" name="Graphic 4">
                <a:extLst>
                  <a:ext uri="{FF2B5EF4-FFF2-40B4-BE49-F238E27FC236}">
                    <a16:creationId xmlns:a16="http://schemas.microsoft.com/office/drawing/2014/main" id="{84FB7ED1-A2DF-40A1-A747-5F7CF3F14040}"/>
                  </a:ext>
                </a:extLst>
              </p:cNvPr>
              <p:cNvGrpSpPr/>
              <p:nvPr/>
            </p:nvGrpSpPr>
            <p:grpSpPr>
              <a:xfrm>
                <a:off x="5349839" y="2409762"/>
                <a:ext cx="167292" cy="192787"/>
                <a:chOff x="5349839" y="2409762"/>
                <a:chExt cx="167292" cy="192787"/>
              </a:xfrm>
              <a:solidFill>
                <a:schemeClr val="accent1"/>
              </a:solidFill>
            </p:grpSpPr>
            <p:grpSp>
              <p:nvGrpSpPr>
                <p:cNvPr id="2322" name="Graphic 4">
                  <a:extLst>
                    <a:ext uri="{FF2B5EF4-FFF2-40B4-BE49-F238E27FC236}">
                      <a16:creationId xmlns:a16="http://schemas.microsoft.com/office/drawing/2014/main" id="{84FB7ED1-A2DF-40A1-A747-5F7CF3F14040}"/>
                    </a:ext>
                  </a:extLst>
                </p:cNvPr>
                <p:cNvGrpSpPr/>
                <p:nvPr/>
              </p:nvGrpSpPr>
              <p:grpSpPr>
                <a:xfrm>
                  <a:off x="5349839" y="2409762"/>
                  <a:ext cx="167292" cy="192787"/>
                  <a:chOff x="5349839" y="2409762"/>
                  <a:chExt cx="167292" cy="192787"/>
                </a:xfrm>
                <a:solidFill>
                  <a:schemeClr val="accent1"/>
                </a:solidFill>
              </p:grpSpPr>
              <p:sp>
                <p:nvSpPr>
                  <p:cNvPr id="2323" name="Freeform: Shape 2322">
                    <a:extLst>
                      <a:ext uri="{FF2B5EF4-FFF2-40B4-BE49-F238E27FC236}">
                        <a16:creationId xmlns:a16="http://schemas.microsoft.com/office/drawing/2014/main" id="{CCD55F17-D43E-4039-AA18-4D33FF640AF6}"/>
                      </a:ext>
                    </a:extLst>
                  </p:cNvPr>
                  <p:cNvSpPr/>
                  <p:nvPr/>
                </p:nvSpPr>
                <p:spPr>
                  <a:xfrm>
                    <a:off x="5445668" y="2465024"/>
                    <a:ext cx="71463" cy="137526"/>
                  </a:xfrm>
                  <a:custGeom>
                    <a:avLst/>
                    <a:gdLst>
                      <a:gd name="connsiteX0" fmla="*/ 0 w 71463"/>
                      <a:gd name="connsiteY0" fmla="*/ 137526 h 137526"/>
                      <a:gd name="connsiteX1" fmla="*/ 71463 w 71463"/>
                      <a:gd name="connsiteY1" fmla="*/ 96206 h 137526"/>
                      <a:gd name="connsiteX2" fmla="*/ 71463 w 71463"/>
                      <a:gd name="connsiteY2" fmla="*/ 0 h 137526"/>
                      <a:gd name="connsiteX3" fmla="*/ 0 w 71463"/>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463" h="137526">
                        <a:moveTo>
                          <a:pt x="0" y="137526"/>
                        </a:moveTo>
                        <a:lnTo>
                          <a:pt x="71463" y="96206"/>
                        </a:lnTo>
                        <a:lnTo>
                          <a:pt x="71463"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24" name="Freeform: Shape 2323">
                    <a:extLst>
                      <a:ext uri="{FF2B5EF4-FFF2-40B4-BE49-F238E27FC236}">
                        <a16:creationId xmlns:a16="http://schemas.microsoft.com/office/drawing/2014/main" id="{8C2F47C1-64AC-4491-95C4-9CA6C50CEFEB}"/>
                      </a:ext>
                    </a:extLst>
                  </p:cNvPr>
                  <p:cNvSpPr/>
                  <p:nvPr/>
                </p:nvSpPr>
                <p:spPr>
                  <a:xfrm>
                    <a:off x="5349839" y="2451083"/>
                    <a:ext cx="95828" cy="151467"/>
                  </a:xfrm>
                  <a:custGeom>
                    <a:avLst/>
                    <a:gdLst>
                      <a:gd name="connsiteX0" fmla="*/ 0 w 95828"/>
                      <a:gd name="connsiteY0" fmla="*/ 96206 h 151467"/>
                      <a:gd name="connsiteX1" fmla="*/ 95829 w 95828"/>
                      <a:gd name="connsiteY1" fmla="*/ 151467 h 151467"/>
                      <a:gd name="connsiteX2" fmla="*/ 95829 w 95828"/>
                      <a:gd name="connsiteY2" fmla="*/ 55262 h 151467"/>
                      <a:gd name="connsiteX3" fmla="*/ 0 w 95828"/>
                      <a:gd name="connsiteY3" fmla="*/ 0 h 151467"/>
                    </a:gdLst>
                    <a:ahLst/>
                    <a:cxnLst>
                      <a:cxn ang="0">
                        <a:pos x="connsiteX0" y="connsiteY0"/>
                      </a:cxn>
                      <a:cxn ang="0">
                        <a:pos x="connsiteX1" y="connsiteY1"/>
                      </a:cxn>
                      <a:cxn ang="0">
                        <a:pos x="connsiteX2" y="connsiteY2"/>
                      </a:cxn>
                      <a:cxn ang="0">
                        <a:pos x="connsiteX3" y="connsiteY3"/>
                      </a:cxn>
                    </a:cxnLst>
                    <a:rect l="l" t="t" r="r" b="b"/>
                    <a:pathLst>
                      <a:path w="95828" h="151467">
                        <a:moveTo>
                          <a:pt x="0" y="96206"/>
                        </a:moveTo>
                        <a:lnTo>
                          <a:pt x="95829" y="151467"/>
                        </a:lnTo>
                        <a:lnTo>
                          <a:pt x="95829"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25" name="Freeform: Shape 2324">
                    <a:extLst>
                      <a:ext uri="{FF2B5EF4-FFF2-40B4-BE49-F238E27FC236}">
                        <a16:creationId xmlns:a16="http://schemas.microsoft.com/office/drawing/2014/main" id="{0451FC3D-18E4-44B3-A2EB-53FCEEA1F61F}"/>
                      </a:ext>
                    </a:extLst>
                  </p:cNvPr>
                  <p:cNvSpPr/>
                  <p:nvPr/>
                </p:nvSpPr>
                <p:spPr>
                  <a:xfrm>
                    <a:off x="5349839" y="2409762"/>
                    <a:ext cx="167292" cy="96582"/>
                  </a:xfrm>
                  <a:custGeom>
                    <a:avLst/>
                    <a:gdLst>
                      <a:gd name="connsiteX0" fmla="*/ 0 w 167292"/>
                      <a:gd name="connsiteY0" fmla="*/ 41321 h 96582"/>
                      <a:gd name="connsiteX1" fmla="*/ 43958 w 167292"/>
                      <a:gd name="connsiteY1" fmla="*/ 66691 h 96582"/>
                      <a:gd name="connsiteX2" fmla="*/ 48103 w 167292"/>
                      <a:gd name="connsiteY2" fmla="*/ 68952 h 96582"/>
                      <a:gd name="connsiteX3" fmla="*/ 95829 w 167292"/>
                      <a:gd name="connsiteY3" fmla="*/ 96582 h 96582"/>
                      <a:gd name="connsiteX4" fmla="*/ 167292 w 167292"/>
                      <a:gd name="connsiteY4" fmla="*/ 55262 h 96582"/>
                      <a:gd name="connsiteX5" fmla="*/ 119566 w 167292"/>
                      <a:gd name="connsiteY5" fmla="*/ 27756 h 96582"/>
                      <a:gd name="connsiteX6" fmla="*/ 115547 w 167292"/>
                      <a:gd name="connsiteY6" fmla="*/ 25370 h 96582"/>
                      <a:gd name="connsiteX7" fmla="*/ 71589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8103" y="68952"/>
                        </a:lnTo>
                        <a:lnTo>
                          <a:pt x="95829" y="96582"/>
                        </a:lnTo>
                        <a:lnTo>
                          <a:pt x="167292" y="55262"/>
                        </a:lnTo>
                        <a:lnTo>
                          <a:pt x="119566" y="27756"/>
                        </a:lnTo>
                        <a:lnTo>
                          <a:pt x="115547" y="25370"/>
                        </a:lnTo>
                        <a:lnTo>
                          <a:pt x="71589"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26" name="Freeform: Shape 2325">
                  <a:extLst>
                    <a:ext uri="{FF2B5EF4-FFF2-40B4-BE49-F238E27FC236}">
                      <a16:creationId xmlns:a16="http://schemas.microsoft.com/office/drawing/2014/main" id="{D055822A-8C6D-490B-B2E8-D0C6D3C8AB47}"/>
                    </a:ext>
                  </a:extLst>
                </p:cNvPr>
                <p:cNvSpPr/>
                <p:nvPr/>
              </p:nvSpPr>
              <p:spPr>
                <a:xfrm>
                  <a:off x="5393798" y="2435133"/>
                  <a:ext cx="75607" cy="43581"/>
                </a:xfrm>
                <a:custGeom>
                  <a:avLst/>
                  <a:gdLst>
                    <a:gd name="connsiteX0" fmla="*/ 0 w 75607"/>
                    <a:gd name="connsiteY0" fmla="*/ 41321 h 43581"/>
                    <a:gd name="connsiteX1" fmla="*/ 4144 w 75607"/>
                    <a:gd name="connsiteY1" fmla="*/ 43581 h 43581"/>
                    <a:gd name="connsiteX2" fmla="*/ 75608 w 75607"/>
                    <a:gd name="connsiteY2" fmla="*/ 2386 h 43581"/>
                    <a:gd name="connsiteX3" fmla="*/ 71589 w 75607"/>
                    <a:gd name="connsiteY3" fmla="*/ 0 h 43581"/>
                  </a:gdLst>
                  <a:ahLst/>
                  <a:cxnLst>
                    <a:cxn ang="0">
                      <a:pos x="connsiteX0" y="connsiteY0"/>
                    </a:cxn>
                    <a:cxn ang="0">
                      <a:pos x="connsiteX1" y="connsiteY1"/>
                    </a:cxn>
                    <a:cxn ang="0">
                      <a:pos x="connsiteX2" y="connsiteY2"/>
                    </a:cxn>
                    <a:cxn ang="0">
                      <a:pos x="connsiteX3" y="connsiteY3"/>
                    </a:cxn>
                  </a:cxnLst>
                  <a:rect l="l" t="t" r="r" b="b"/>
                  <a:pathLst>
                    <a:path w="75607" h="43581">
                      <a:moveTo>
                        <a:pt x="0" y="41321"/>
                      </a:moveTo>
                      <a:lnTo>
                        <a:pt x="4144" y="43581"/>
                      </a:lnTo>
                      <a:lnTo>
                        <a:pt x="75608" y="2386"/>
                      </a:lnTo>
                      <a:lnTo>
                        <a:pt x="71589"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27" name="Freeform: Shape 2326">
                  <a:extLst>
                    <a:ext uri="{FF2B5EF4-FFF2-40B4-BE49-F238E27FC236}">
                      <a16:creationId xmlns:a16="http://schemas.microsoft.com/office/drawing/2014/main" id="{57DAF159-C328-4754-A1E3-1A3F6EA6A99B}"/>
                    </a:ext>
                  </a:extLst>
                </p:cNvPr>
                <p:cNvSpPr/>
                <p:nvPr/>
              </p:nvSpPr>
              <p:spPr>
                <a:xfrm>
                  <a:off x="5412385" y="2500693"/>
                  <a:ext cx="25496" cy="34789"/>
                </a:xfrm>
                <a:custGeom>
                  <a:avLst/>
                  <a:gdLst>
                    <a:gd name="connsiteX0" fmla="*/ 0 w 25496"/>
                    <a:gd name="connsiteY0" fmla="*/ 20095 h 34789"/>
                    <a:gd name="connsiteX1" fmla="*/ 25496 w 25496"/>
                    <a:gd name="connsiteY1" fmla="*/ 34790 h 34789"/>
                    <a:gd name="connsiteX2" fmla="*/ 25496 w 25496"/>
                    <a:gd name="connsiteY2" fmla="*/ 14695 h 34789"/>
                    <a:gd name="connsiteX3" fmla="*/ 0 w 25496"/>
                    <a:gd name="connsiteY3" fmla="*/ 0 h 34789"/>
                  </a:gdLst>
                  <a:ahLst/>
                  <a:cxnLst>
                    <a:cxn ang="0">
                      <a:pos x="connsiteX0" y="connsiteY0"/>
                    </a:cxn>
                    <a:cxn ang="0">
                      <a:pos x="connsiteX1" y="connsiteY1"/>
                    </a:cxn>
                    <a:cxn ang="0">
                      <a:pos x="connsiteX2" y="connsiteY2"/>
                    </a:cxn>
                    <a:cxn ang="0">
                      <a:pos x="connsiteX3" y="connsiteY3"/>
                    </a:cxn>
                  </a:cxnLst>
                  <a:rect l="l" t="t" r="r" b="b"/>
                  <a:pathLst>
                    <a:path w="25496" h="34789">
                      <a:moveTo>
                        <a:pt x="0" y="20095"/>
                      </a:moveTo>
                      <a:lnTo>
                        <a:pt x="25496" y="34790"/>
                      </a:lnTo>
                      <a:lnTo>
                        <a:pt x="25496"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28" name="Graphic 4">
                <a:extLst>
                  <a:ext uri="{FF2B5EF4-FFF2-40B4-BE49-F238E27FC236}">
                    <a16:creationId xmlns:a16="http://schemas.microsoft.com/office/drawing/2014/main" id="{84FB7ED1-A2DF-40A1-A747-5F7CF3F14040}"/>
                  </a:ext>
                </a:extLst>
              </p:cNvPr>
              <p:cNvGrpSpPr/>
              <p:nvPr/>
            </p:nvGrpSpPr>
            <p:grpSpPr>
              <a:xfrm>
                <a:off x="5349839" y="2313306"/>
                <a:ext cx="167292" cy="192787"/>
                <a:chOff x="5349839" y="2313306"/>
                <a:chExt cx="167292" cy="192787"/>
              </a:xfrm>
              <a:solidFill>
                <a:schemeClr val="accent1"/>
              </a:solidFill>
            </p:grpSpPr>
            <p:grpSp>
              <p:nvGrpSpPr>
                <p:cNvPr id="2329" name="Graphic 4">
                  <a:extLst>
                    <a:ext uri="{FF2B5EF4-FFF2-40B4-BE49-F238E27FC236}">
                      <a16:creationId xmlns:a16="http://schemas.microsoft.com/office/drawing/2014/main" id="{84FB7ED1-A2DF-40A1-A747-5F7CF3F14040}"/>
                    </a:ext>
                  </a:extLst>
                </p:cNvPr>
                <p:cNvGrpSpPr/>
                <p:nvPr/>
              </p:nvGrpSpPr>
              <p:grpSpPr>
                <a:xfrm>
                  <a:off x="5349839" y="2313306"/>
                  <a:ext cx="167292" cy="192787"/>
                  <a:chOff x="5349839" y="2313306"/>
                  <a:chExt cx="167292" cy="192787"/>
                </a:xfrm>
                <a:solidFill>
                  <a:schemeClr val="accent1"/>
                </a:solidFill>
              </p:grpSpPr>
              <p:sp>
                <p:nvSpPr>
                  <p:cNvPr id="2330" name="Freeform: Shape 2329">
                    <a:extLst>
                      <a:ext uri="{FF2B5EF4-FFF2-40B4-BE49-F238E27FC236}">
                        <a16:creationId xmlns:a16="http://schemas.microsoft.com/office/drawing/2014/main" id="{94017504-A25C-4447-8D43-4499985A4B9F}"/>
                      </a:ext>
                    </a:extLst>
                  </p:cNvPr>
                  <p:cNvSpPr/>
                  <p:nvPr/>
                </p:nvSpPr>
                <p:spPr>
                  <a:xfrm>
                    <a:off x="5445668" y="2368567"/>
                    <a:ext cx="71463" cy="137526"/>
                  </a:xfrm>
                  <a:custGeom>
                    <a:avLst/>
                    <a:gdLst>
                      <a:gd name="connsiteX0" fmla="*/ 0 w 71463"/>
                      <a:gd name="connsiteY0" fmla="*/ 137526 h 137526"/>
                      <a:gd name="connsiteX1" fmla="*/ 71463 w 71463"/>
                      <a:gd name="connsiteY1" fmla="*/ 96331 h 137526"/>
                      <a:gd name="connsiteX2" fmla="*/ 71463 w 71463"/>
                      <a:gd name="connsiteY2" fmla="*/ 0 h 137526"/>
                      <a:gd name="connsiteX3" fmla="*/ 0 w 71463"/>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463" h="137526">
                        <a:moveTo>
                          <a:pt x="0" y="137526"/>
                        </a:moveTo>
                        <a:lnTo>
                          <a:pt x="71463" y="96331"/>
                        </a:lnTo>
                        <a:lnTo>
                          <a:pt x="71463"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1" name="Freeform: Shape 2330">
                    <a:extLst>
                      <a:ext uri="{FF2B5EF4-FFF2-40B4-BE49-F238E27FC236}">
                        <a16:creationId xmlns:a16="http://schemas.microsoft.com/office/drawing/2014/main" id="{85D3010E-6F37-4866-92BE-C24DF913D195}"/>
                      </a:ext>
                    </a:extLst>
                  </p:cNvPr>
                  <p:cNvSpPr/>
                  <p:nvPr/>
                </p:nvSpPr>
                <p:spPr>
                  <a:xfrm>
                    <a:off x="5349839" y="2354626"/>
                    <a:ext cx="95828" cy="151467"/>
                  </a:xfrm>
                  <a:custGeom>
                    <a:avLst/>
                    <a:gdLst>
                      <a:gd name="connsiteX0" fmla="*/ 0 w 95828"/>
                      <a:gd name="connsiteY0" fmla="*/ 96206 h 151467"/>
                      <a:gd name="connsiteX1" fmla="*/ 95829 w 95828"/>
                      <a:gd name="connsiteY1" fmla="*/ 151467 h 151467"/>
                      <a:gd name="connsiteX2" fmla="*/ 95829 w 95828"/>
                      <a:gd name="connsiteY2" fmla="*/ 55262 h 151467"/>
                      <a:gd name="connsiteX3" fmla="*/ 0 w 95828"/>
                      <a:gd name="connsiteY3" fmla="*/ 0 h 151467"/>
                    </a:gdLst>
                    <a:ahLst/>
                    <a:cxnLst>
                      <a:cxn ang="0">
                        <a:pos x="connsiteX0" y="connsiteY0"/>
                      </a:cxn>
                      <a:cxn ang="0">
                        <a:pos x="connsiteX1" y="connsiteY1"/>
                      </a:cxn>
                      <a:cxn ang="0">
                        <a:pos x="connsiteX2" y="connsiteY2"/>
                      </a:cxn>
                      <a:cxn ang="0">
                        <a:pos x="connsiteX3" y="connsiteY3"/>
                      </a:cxn>
                    </a:cxnLst>
                    <a:rect l="l" t="t" r="r" b="b"/>
                    <a:pathLst>
                      <a:path w="95828" h="151467">
                        <a:moveTo>
                          <a:pt x="0" y="96206"/>
                        </a:moveTo>
                        <a:lnTo>
                          <a:pt x="95829" y="151467"/>
                        </a:lnTo>
                        <a:lnTo>
                          <a:pt x="95829"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2" name="Freeform: Shape 2331">
                    <a:extLst>
                      <a:ext uri="{FF2B5EF4-FFF2-40B4-BE49-F238E27FC236}">
                        <a16:creationId xmlns:a16="http://schemas.microsoft.com/office/drawing/2014/main" id="{BD6750F3-CC61-4E20-AEF9-CECD0FCC8619}"/>
                      </a:ext>
                    </a:extLst>
                  </p:cNvPr>
                  <p:cNvSpPr/>
                  <p:nvPr/>
                </p:nvSpPr>
                <p:spPr>
                  <a:xfrm>
                    <a:off x="5349839" y="2313306"/>
                    <a:ext cx="167292" cy="96582"/>
                  </a:xfrm>
                  <a:custGeom>
                    <a:avLst/>
                    <a:gdLst>
                      <a:gd name="connsiteX0" fmla="*/ 0 w 167292"/>
                      <a:gd name="connsiteY0" fmla="*/ 41321 h 96582"/>
                      <a:gd name="connsiteX1" fmla="*/ 43958 w 167292"/>
                      <a:gd name="connsiteY1" fmla="*/ 66691 h 96582"/>
                      <a:gd name="connsiteX2" fmla="*/ 48103 w 167292"/>
                      <a:gd name="connsiteY2" fmla="*/ 69077 h 96582"/>
                      <a:gd name="connsiteX3" fmla="*/ 95829 w 167292"/>
                      <a:gd name="connsiteY3" fmla="*/ 96582 h 96582"/>
                      <a:gd name="connsiteX4" fmla="*/ 167292 w 167292"/>
                      <a:gd name="connsiteY4" fmla="*/ 55262 h 96582"/>
                      <a:gd name="connsiteX5" fmla="*/ 119566 w 167292"/>
                      <a:gd name="connsiteY5" fmla="*/ 27756 h 96582"/>
                      <a:gd name="connsiteX6" fmla="*/ 115547 w 167292"/>
                      <a:gd name="connsiteY6" fmla="*/ 25370 h 96582"/>
                      <a:gd name="connsiteX7" fmla="*/ 71589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8103" y="69077"/>
                        </a:lnTo>
                        <a:lnTo>
                          <a:pt x="95829" y="96582"/>
                        </a:lnTo>
                        <a:lnTo>
                          <a:pt x="167292" y="55262"/>
                        </a:lnTo>
                        <a:lnTo>
                          <a:pt x="119566" y="27756"/>
                        </a:lnTo>
                        <a:lnTo>
                          <a:pt x="115547" y="25370"/>
                        </a:lnTo>
                        <a:lnTo>
                          <a:pt x="71589"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33" name="Freeform: Shape 2332">
                  <a:extLst>
                    <a:ext uri="{FF2B5EF4-FFF2-40B4-BE49-F238E27FC236}">
                      <a16:creationId xmlns:a16="http://schemas.microsoft.com/office/drawing/2014/main" id="{6FD97E1A-6840-4CF2-A11A-9D53881F45A0}"/>
                    </a:ext>
                  </a:extLst>
                </p:cNvPr>
                <p:cNvSpPr/>
                <p:nvPr/>
              </p:nvSpPr>
              <p:spPr>
                <a:xfrm>
                  <a:off x="5393798" y="2338676"/>
                  <a:ext cx="75607" cy="43706"/>
                </a:xfrm>
                <a:custGeom>
                  <a:avLst/>
                  <a:gdLst>
                    <a:gd name="connsiteX0" fmla="*/ 0 w 75607"/>
                    <a:gd name="connsiteY0" fmla="*/ 41321 h 43706"/>
                    <a:gd name="connsiteX1" fmla="*/ 4144 w 75607"/>
                    <a:gd name="connsiteY1" fmla="*/ 43707 h 43706"/>
                    <a:gd name="connsiteX2" fmla="*/ 75608 w 75607"/>
                    <a:gd name="connsiteY2" fmla="*/ 2386 h 43706"/>
                    <a:gd name="connsiteX3" fmla="*/ 71589 w 75607"/>
                    <a:gd name="connsiteY3" fmla="*/ 0 h 43706"/>
                  </a:gdLst>
                  <a:ahLst/>
                  <a:cxnLst>
                    <a:cxn ang="0">
                      <a:pos x="connsiteX0" y="connsiteY0"/>
                    </a:cxn>
                    <a:cxn ang="0">
                      <a:pos x="connsiteX1" y="connsiteY1"/>
                    </a:cxn>
                    <a:cxn ang="0">
                      <a:pos x="connsiteX2" y="connsiteY2"/>
                    </a:cxn>
                    <a:cxn ang="0">
                      <a:pos x="connsiteX3" y="connsiteY3"/>
                    </a:cxn>
                  </a:cxnLst>
                  <a:rect l="l" t="t" r="r" b="b"/>
                  <a:pathLst>
                    <a:path w="75607" h="43706">
                      <a:moveTo>
                        <a:pt x="0" y="41321"/>
                      </a:moveTo>
                      <a:lnTo>
                        <a:pt x="4144" y="43707"/>
                      </a:lnTo>
                      <a:lnTo>
                        <a:pt x="75608" y="2386"/>
                      </a:lnTo>
                      <a:lnTo>
                        <a:pt x="71589"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4" name="Freeform: Shape 2333">
                  <a:extLst>
                    <a:ext uri="{FF2B5EF4-FFF2-40B4-BE49-F238E27FC236}">
                      <a16:creationId xmlns:a16="http://schemas.microsoft.com/office/drawing/2014/main" id="{82B755C6-4FF2-412F-8B58-A9DCFDB44647}"/>
                    </a:ext>
                  </a:extLst>
                </p:cNvPr>
                <p:cNvSpPr/>
                <p:nvPr/>
              </p:nvSpPr>
              <p:spPr>
                <a:xfrm>
                  <a:off x="5412385" y="2404362"/>
                  <a:ext cx="25496" cy="34664"/>
                </a:xfrm>
                <a:custGeom>
                  <a:avLst/>
                  <a:gdLst>
                    <a:gd name="connsiteX0" fmla="*/ 0 w 25496"/>
                    <a:gd name="connsiteY0" fmla="*/ 20095 h 34664"/>
                    <a:gd name="connsiteX1" fmla="*/ 25496 w 25496"/>
                    <a:gd name="connsiteY1" fmla="*/ 34664 h 34664"/>
                    <a:gd name="connsiteX2" fmla="*/ 25496 w 25496"/>
                    <a:gd name="connsiteY2" fmla="*/ 14695 h 34664"/>
                    <a:gd name="connsiteX3" fmla="*/ 0 w 25496"/>
                    <a:gd name="connsiteY3" fmla="*/ 0 h 34664"/>
                  </a:gdLst>
                  <a:ahLst/>
                  <a:cxnLst>
                    <a:cxn ang="0">
                      <a:pos x="connsiteX0" y="connsiteY0"/>
                    </a:cxn>
                    <a:cxn ang="0">
                      <a:pos x="connsiteX1" y="connsiteY1"/>
                    </a:cxn>
                    <a:cxn ang="0">
                      <a:pos x="connsiteX2" y="connsiteY2"/>
                    </a:cxn>
                    <a:cxn ang="0">
                      <a:pos x="connsiteX3" y="connsiteY3"/>
                    </a:cxn>
                  </a:cxnLst>
                  <a:rect l="l" t="t" r="r" b="b"/>
                  <a:pathLst>
                    <a:path w="25496" h="34664">
                      <a:moveTo>
                        <a:pt x="0" y="20095"/>
                      </a:moveTo>
                      <a:lnTo>
                        <a:pt x="25496" y="34664"/>
                      </a:lnTo>
                      <a:lnTo>
                        <a:pt x="25496"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35" name="Graphic 4">
                <a:extLst>
                  <a:ext uri="{FF2B5EF4-FFF2-40B4-BE49-F238E27FC236}">
                    <a16:creationId xmlns:a16="http://schemas.microsoft.com/office/drawing/2014/main" id="{84FB7ED1-A2DF-40A1-A747-5F7CF3F14040}"/>
                  </a:ext>
                </a:extLst>
              </p:cNvPr>
              <p:cNvGrpSpPr/>
              <p:nvPr/>
            </p:nvGrpSpPr>
            <p:grpSpPr>
              <a:xfrm>
                <a:off x="5271971" y="2358394"/>
                <a:ext cx="167292" cy="192787"/>
                <a:chOff x="5271971" y="2358394"/>
                <a:chExt cx="167292" cy="192787"/>
              </a:xfrm>
              <a:solidFill>
                <a:schemeClr val="accent1"/>
              </a:solidFill>
            </p:grpSpPr>
            <p:grpSp>
              <p:nvGrpSpPr>
                <p:cNvPr id="2336" name="Graphic 4">
                  <a:extLst>
                    <a:ext uri="{FF2B5EF4-FFF2-40B4-BE49-F238E27FC236}">
                      <a16:creationId xmlns:a16="http://schemas.microsoft.com/office/drawing/2014/main" id="{84FB7ED1-A2DF-40A1-A747-5F7CF3F14040}"/>
                    </a:ext>
                  </a:extLst>
                </p:cNvPr>
                <p:cNvGrpSpPr/>
                <p:nvPr/>
              </p:nvGrpSpPr>
              <p:grpSpPr>
                <a:xfrm>
                  <a:off x="5271971" y="2358394"/>
                  <a:ext cx="167292" cy="192787"/>
                  <a:chOff x="5271971" y="2358394"/>
                  <a:chExt cx="167292" cy="192787"/>
                </a:xfrm>
                <a:solidFill>
                  <a:schemeClr val="accent1"/>
                </a:solidFill>
              </p:grpSpPr>
              <p:sp>
                <p:nvSpPr>
                  <p:cNvPr id="2337" name="Freeform: Shape 2336">
                    <a:extLst>
                      <a:ext uri="{FF2B5EF4-FFF2-40B4-BE49-F238E27FC236}">
                        <a16:creationId xmlns:a16="http://schemas.microsoft.com/office/drawing/2014/main" id="{FF6F2B79-CFCC-46FD-BC9D-69C1D6C704AE}"/>
                      </a:ext>
                    </a:extLst>
                  </p:cNvPr>
                  <p:cNvSpPr/>
                  <p:nvPr/>
                </p:nvSpPr>
                <p:spPr>
                  <a:xfrm>
                    <a:off x="5367674" y="2413656"/>
                    <a:ext cx="71589" cy="137526"/>
                  </a:xfrm>
                  <a:custGeom>
                    <a:avLst/>
                    <a:gdLst>
                      <a:gd name="connsiteX0" fmla="*/ 0 w 71589"/>
                      <a:gd name="connsiteY0" fmla="*/ 137526 h 137526"/>
                      <a:gd name="connsiteX1" fmla="*/ 71589 w 71589"/>
                      <a:gd name="connsiteY1" fmla="*/ 96206 h 137526"/>
                      <a:gd name="connsiteX2" fmla="*/ 71589 w 71589"/>
                      <a:gd name="connsiteY2" fmla="*/ 0 h 137526"/>
                      <a:gd name="connsiteX3" fmla="*/ 0 w 71589"/>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589" h="137526">
                        <a:moveTo>
                          <a:pt x="0" y="137526"/>
                        </a:moveTo>
                        <a:lnTo>
                          <a:pt x="71589" y="96206"/>
                        </a:lnTo>
                        <a:lnTo>
                          <a:pt x="71589"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8" name="Freeform: Shape 2337">
                    <a:extLst>
                      <a:ext uri="{FF2B5EF4-FFF2-40B4-BE49-F238E27FC236}">
                        <a16:creationId xmlns:a16="http://schemas.microsoft.com/office/drawing/2014/main" id="{D7CB1D37-8834-4485-81E3-4420EB45F791}"/>
                      </a:ext>
                    </a:extLst>
                  </p:cNvPr>
                  <p:cNvSpPr/>
                  <p:nvPr/>
                </p:nvSpPr>
                <p:spPr>
                  <a:xfrm>
                    <a:off x="5271971" y="2399715"/>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9" name="Freeform: Shape 2338">
                    <a:extLst>
                      <a:ext uri="{FF2B5EF4-FFF2-40B4-BE49-F238E27FC236}">
                        <a16:creationId xmlns:a16="http://schemas.microsoft.com/office/drawing/2014/main" id="{EF0A67FC-D1D0-4005-BCC1-3E1E3E6ED34C}"/>
                      </a:ext>
                    </a:extLst>
                  </p:cNvPr>
                  <p:cNvSpPr/>
                  <p:nvPr/>
                </p:nvSpPr>
                <p:spPr>
                  <a:xfrm>
                    <a:off x="5271971" y="2358394"/>
                    <a:ext cx="167166" cy="96582"/>
                  </a:xfrm>
                  <a:custGeom>
                    <a:avLst/>
                    <a:gdLst>
                      <a:gd name="connsiteX0" fmla="*/ 0 w 167166"/>
                      <a:gd name="connsiteY0" fmla="*/ 41321 h 96582"/>
                      <a:gd name="connsiteX1" fmla="*/ 43833 w 167166"/>
                      <a:gd name="connsiteY1" fmla="*/ 66691 h 96582"/>
                      <a:gd name="connsiteX2" fmla="*/ 47977 w 167166"/>
                      <a:gd name="connsiteY2" fmla="*/ 69077 h 96582"/>
                      <a:gd name="connsiteX3" fmla="*/ 95703 w 167166"/>
                      <a:gd name="connsiteY3" fmla="*/ 96582 h 96582"/>
                      <a:gd name="connsiteX4" fmla="*/ 167167 w 167166"/>
                      <a:gd name="connsiteY4" fmla="*/ 55262 h 96582"/>
                      <a:gd name="connsiteX5" fmla="*/ 119441 w 167166"/>
                      <a:gd name="connsiteY5" fmla="*/ 27756 h 96582"/>
                      <a:gd name="connsiteX6" fmla="*/ 115422 w 167166"/>
                      <a:gd name="connsiteY6" fmla="*/ 25370 h 96582"/>
                      <a:gd name="connsiteX7" fmla="*/ 71463 w 167166"/>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166" h="96582">
                        <a:moveTo>
                          <a:pt x="0" y="41321"/>
                        </a:moveTo>
                        <a:lnTo>
                          <a:pt x="43833" y="66691"/>
                        </a:lnTo>
                        <a:lnTo>
                          <a:pt x="47977" y="69077"/>
                        </a:lnTo>
                        <a:lnTo>
                          <a:pt x="95703" y="96582"/>
                        </a:lnTo>
                        <a:lnTo>
                          <a:pt x="167167" y="55262"/>
                        </a:lnTo>
                        <a:lnTo>
                          <a:pt x="119441" y="27756"/>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40" name="Freeform: Shape 2339">
                  <a:extLst>
                    <a:ext uri="{FF2B5EF4-FFF2-40B4-BE49-F238E27FC236}">
                      <a16:creationId xmlns:a16="http://schemas.microsoft.com/office/drawing/2014/main" id="{856A5DC4-5A06-4ED6-BBF1-D303C5B7C36E}"/>
                    </a:ext>
                  </a:extLst>
                </p:cNvPr>
                <p:cNvSpPr/>
                <p:nvPr/>
              </p:nvSpPr>
              <p:spPr>
                <a:xfrm>
                  <a:off x="5315803" y="2383764"/>
                  <a:ext cx="75607" cy="43707"/>
                </a:xfrm>
                <a:custGeom>
                  <a:avLst/>
                  <a:gdLst>
                    <a:gd name="connsiteX0" fmla="*/ 0 w 75607"/>
                    <a:gd name="connsiteY0" fmla="*/ 41321 h 43707"/>
                    <a:gd name="connsiteX1" fmla="*/ 4144 w 75607"/>
                    <a:gd name="connsiteY1" fmla="*/ 43707 h 43707"/>
                    <a:gd name="connsiteX2" fmla="*/ 75608 w 75607"/>
                    <a:gd name="connsiteY2" fmla="*/ 2386 h 43707"/>
                    <a:gd name="connsiteX3" fmla="*/ 71589 w 75607"/>
                    <a:gd name="connsiteY3" fmla="*/ 0 h 43707"/>
                  </a:gdLst>
                  <a:ahLst/>
                  <a:cxnLst>
                    <a:cxn ang="0">
                      <a:pos x="connsiteX0" y="connsiteY0"/>
                    </a:cxn>
                    <a:cxn ang="0">
                      <a:pos x="connsiteX1" y="connsiteY1"/>
                    </a:cxn>
                    <a:cxn ang="0">
                      <a:pos x="connsiteX2" y="connsiteY2"/>
                    </a:cxn>
                    <a:cxn ang="0">
                      <a:pos x="connsiteX3" y="connsiteY3"/>
                    </a:cxn>
                  </a:cxnLst>
                  <a:rect l="l" t="t" r="r" b="b"/>
                  <a:pathLst>
                    <a:path w="75607" h="43707">
                      <a:moveTo>
                        <a:pt x="0" y="41321"/>
                      </a:moveTo>
                      <a:lnTo>
                        <a:pt x="4144" y="43707"/>
                      </a:lnTo>
                      <a:lnTo>
                        <a:pt x="75608" y="2386"/>
                      </a:lnTo>
                      <a:lnTo>
                        <a:pt x="71589"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1" name="Freeform: Shape 2340">
                  <a:extLst>
                    <a:ext uri="{FF2B5EF4-FFF2-40B4-BE49-F238E27FC236}">
                      <a16:creationId xmlns:a16="http://schemas.microsoft.com/office/drawing/2014/main" id="{50C1542F-3533-4BF1-AAC7-96F670419857}"/>
                    </a:ext>
                  </a:extLst>
                </p:cNvPr>
                <p:cNvSpPr/>
                <p:nvPr/>
              </p:nvSpPr>
              <p:spPr>
                <a:xfrm>
                  <a:off x="5334517" y="2449450"/>
                  <a:ext cx="25370" cy="34664"/>
                </a:xfrm>
                <a:custGeom>
                  <a:avLst/>
                  <a:gdLst>
                    <a:gd name="connsiteX0" fmla="*/ 0 w 25370"/>
                    <a:gd name="connsiteY0" fmla="*/ 19970 h 34664"/>
                    <a:gd name="connsiteX1" fmla="*/ 25370 w 25370"/>
                    <a:gd name="connsiteY1" fmla="*/ 34664 h 34664"/>
                    <a:gd name="connsiteX2" fmla="*/ 25370 w 25370"/>
                    <a:gd name="connsiteY2" fmla="*/ 14569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19970"/>
                      </a:moveTo>
                      <a:lnTo>
                        <a:pt x="25370" y="34664"/>
                      </a:lnTo>
                      <a:lnTo>
                        <a:pt x="25370" y="14569"/>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42" name="Graphic 4">
                <a:extLst>
                  <a:ext uri="{FF2B5EF4-FFF2-40B4-BE49-F238E27FC236}">
                    <a16:creationId xmlns:a16="http://schemas.microsoft.com/office/drawing/2014/main" id="{84FB7ED1-A2DF-40A1-A747-5F7CF3F14040}"/>
                  </a:ext>
                </a:extLst>
              </p:cNvPr>
              <p:cNvGrpSpPr/>
              <p:nvPr/>
            </p:nvGrpSpPr>
            <p:grpSpPr>
              <a:xfrm>
                <a:off x="5193976" y="2499940"/>
                <a:ext cx="167292" cy="192787"/>
                <a:chOff x="5193976" y="2499940"/>
                <a:chExt cx="167292" cy="192787"/>
              </a:xfrm>
              <a:solidFill>
                <a:schemeClr val="accent1"/>
              </a:solidFill>
            </p:grpSpPr>
            <p:grpSp>
              <p:nvGrpSpPr>
                <p:cNvPr id="2343" name="Graphic 4">
                  <a:extLst>
                    <a:ext uri="{FF2B5EF4-FFF2-40B4-BE49-F238E27FC236}">
                      <a16:creationId xmlns:a16="http://schemas.microsoft.com/office/drawing/2014/main" id="{84FB7ED1-A2DF-40A1-A747-5F7CF3F14040}"/>
                    </a:ext>
                  </a:extLst>
                </p:cNvPr>
                <p:cNvGrpSpPr/>
                <p:nvPr/>
              </p:nvGrpSpPr>
              <p:grpSpPr>
                <a:xfrm>
                  <a:off x="5193976" y="2499940"/>
                  <a:ext cx="167292" cy="192787"/>
                  <a:chOff x="5193976" y="2499940"/>
                  <a:chExt cx="167292" cy="192787"/>
                </a:xfrm>
                <a:solidFill>
                  <a:schemeClr val="accent1"/>
                </a:solidFill>
              </p:grpSpPr>
              <p:sp>
                <p:nvSpPr>
                  <p:cNvPr id="2344" name="Freeform: Shape 2343">
                    <a:extLst>
                      <a:ext uri="{FF2B5EF4-FFF2-40B4-BE49-F238E27FC236}">
                        <a16:creationId xmlns:a16="http://schemas.microsoft.com/office/drawing/2014/main" id="{34D21ADC-0E15-456E-ACC8-686E72347FA2}"/>
                      </a:ext>
                    </a:extLst>
                  </p:cNvPr>
                  <p:cNvSpPr/>
                  <p:nvPr/>
                </p:nvSpPr>
                <p:spPr>
                  <a:xfrm>
                    <a:off x="5289679" y="2555201"/>
                    <a:ext cx="71589" cy="137526"/>
                  </a:xfrm>
                  <a:custGeom>
                    <a:avLst/>
                    <a:gdLst>
                      <a:gd name="connsiteX0" fmla="*/ 0 w 71589"/>
                      <a:gd name="connsiteY0" fmla="*/ 137526 h 137526"/>
                      <a:gd name="connsiteX1" fmla="*/ 71589 w 71589"/>
                      <a:gd name="connsiteY1" fmla="*/ 96206 h 137526"/>
                      <a:gd name="connsiteX2" fmla="*/ 71589 w 71589"/>
                      <a:gd name="connsiteY2" fmla="*/ 0 h 137526"/>
                      <a:gd name="connsiteX3" fmla="*/ 0 w 71589"/>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589" h="137526">
                        <a:moveTo>
                          <a:pt x="0" y="137526"/>
                        </a:moveTo>
                        <a:lnTo>
                          <a:pt x="71589" y="96206"/>
                        </a:lnTo>
                        <a:lnTo>
                          <a:pt x="71589"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5" name="Freeform: Shape 2344">
                    <a:extLst>
                      <a:ext uri="{FF2B5EF4-FFF2-40B4-BE49-F238E27FC236}">
                        <a16:creationId xmlns:a16="http://schemas.microsoft.com/office/drawing/2014/main" id="{A2AE4F9E-9A0C-4BB9-ADCA-A447117794C6}"/>
                      </a:ext>
                    </a:extLst>
                  </p:cNvPr>
                  <p:cNvSpPr/>
                  <p:nvPr/>
                </p:nvSpPr>
                <p:spPr>
                  <a:xfrm>
                    <a:off x="5193976" y="2541260"/>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6" name="Freeform: Shape 2345">
                    <a:extLst>
                      <a:ext uri="{FF2B5EF4-FFF2-40B4-BE49-F238E27FC236}">
                        <a16:creationId xmlns:a16="http://schemas.microsoft.com/office/drawing/2014/main" id="{DB46315F-E3B6-4CCB-8B7F-0B508B0A64E7}"/>
                      </a:ext>
                    </a:extLst>
                  </p:cNvPr>
                  <p:cNvSpPr/>
                  <p:nvPr/>
                </p:nvSpPr>
                <p:spPr>
                  <a:xfrm>
                    <a:off x="5193976" y="2499940"/>
                    <a:ext cx="167292" cy="96582"/>
                  </a:xfrm>
                  <a:custGeom>
                    <a:avLst/>
                    <a:gdLst>
                      <a:gd name="connsiteX0" fmla="*/ 0 w 167292"/>
                      <a:gd name="connsiteY0" fmla="*/ 41321 h 96582"/>
                      <a:gd name="connsiteX1" fmla="*/ 43958 w 167292"/>
                      <a:gd name="connsiteY1" fmla="*/ 66691 h 96582"/>
                      <a:gd name="connsiteX2" fmla="*/ 47977 w 167292"/>
                      <a:gd name="connsiteY2" fmla="*/ 68952 h 96582"/>
                      <a:gd name="connsiteX3" fmla="*/ 95703 w 167292"/>
                      <a:gd name="connsiteY3" fmla="*/ 96582 h 96582"/>
                      <a:gd name="connsiteX4" fmla="*/ 167292 w 167292"/>
                      <a:gd name="connsiteY4" fmla="*/ 55262 h 96582"/>
                      <a:gd name="connsiteX5" fmla="*/ 119566 w 167292"/>
                      <a:gd name="connsiteY5" fmla="*/ 27756 h 96582"/>
                      <a:gd name="connsiteX6" fmla="*/ 115422 w 167292"/>
                      <a:gd name="connsiteY6" fmla="*/ 25370 h 96582"/>
                      <a:gd name="connsiteX7" fmla="*/ 71463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7977" y="68952"/>
                        </a:lnTo>
                        <a:lnTo>
                          <a:pt x="95703" y="96582"/>
                        </a:lnTo>
                        <a:lnTo>
                          <a:pt x="167292" y="55262"/>
                        </a:lnTo>
                        <a:lnTo>
                          <a:pt x="119566" y="27756"/>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47" name="Freeform: Shape 2346">
                  <a:extLst>
                    <a:ext uri="{FF2B5EF4-FFF2-40B4-BE49-F238E27FC236}">
                      <a16:creationId xmlns:a16="http://schemas.microsoft.com/office/drawing/2014/main" id="{F3A672D9-12AD-4C57-9BCA-81802921D5C4}"/>
                    </a:ext>
                  </a:extLst>
                </p:cNvPr>
                <p:cNvSpPr/>
                <p:nvPr/>
              </p:nvSpPr>
              <p:spPr>
                <a:xfrm>
                  <a:off x="5237934" y="2525310"/>
                  <a:ext cx="75607" cy="43581"/>
                </a:xfrm>
                <a:custGeom>
                  <a:avLst/>
                  <a:gdLst>
                    <a:gd name="connsiteX0" fmla="*/ 0 w 75607"/>
                    <a:gd name="connsiteY0" fmla="*/ 41321 h 43581"/>
                    <a:gd name="connsiteX1" fmla="*/ 4019 w 75607"/>
                    <a:gd name="connsiteY1" fmla="*/ 43581 h 43581"/>
                    <a:gd name="connsiteX2" fmla="*/ 75608 w 75607"/>
                    <a:gd name="connsiteY2" fmla="*/ 2386 h 43581"/>
                    <a:gd name="connsiteX3" fmla="*/ 71463 w 75607"/>
                    <a:gd name="connsiteY3" fmla="*/ 0 h 43581"/>
                  </a:gdLst>
                  <a:ahLst/>
                  <a:cxnLst>
                    <a:cxn ang="0">
                      <a:pos x="connsiteX0" y="connsiteY0"/>
                    </a:cxn>
                    <a:cxn ang="0">
                      <a:pos x="connsiteX1" y="connsiteY1"/>
                    </a:cxn>
                    <a:cxn ang="0">
                      <a:pos x="connsiteX2" y="connsiteY2"/>
                    </a:cxn>
                    <a:cxn ang="0">
                      <a:pos x="connsiteX3" y="connsiteY3"/>
                    </a:cxn>
                  </a:cxnLst>
                  <a:rect l="l" t="t" r="r" b="b"/>
                  <a:pathLst>
                    <a:path w="75607" h="43581">
                      <a:moveTo>
                        <a:pt x="0" y="41321"/>
                      </a:moveTo>
                      <a:lnTo>
                        <a:pt x="4019" y="43581"/>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8" name="Freeform: Shape 2347">
                  <a:extLst>
                    <a:ext uri="{FF2B5EF4-FFF2-40B4-BE49-F238E27FC236}">
                      <a16:creationId xmlns:a16="http://schemas.microsoft.com/office/drawing/2014/main" id="{D530DCB0-CAE5-40FC-8DC8-FB659543EB8A}"/>
                    </a:ext>
                  </a:extLst>
                </p:cNvPr>
                <p:cNvSpPr/>
                <p:nvPr/>
              </p:nvSpPr>
              <p:spPr>
                <a:xfrm>
                  <a:off x="5256523" y="2590996"/>
                  <a:ext cx="25370" cy="34664"/>
                </a:xfrm>
                <a:custGeom>
                  <a:avLst/>
                  <a:gdLst>
                    <a:gd name="connsiteX0" fmla="*/ 0 w 25370"/>
                    <a:gd name="connsiteY0" fmla="*/ 19970 h 34664"/>
                    <a:gd name="connsiteX1" fmla="*/ 25370 w 25370"/>
                    <a:gd name="connsiteY1" fmla="*/ 34664 h 34664"/>
                    <a:gd name="connsiteX2" fmla="*/ 25370 w 25370"/>
                    <a:gd name="connsiteY2" fmla="*/ 14569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19970"/>
                      </a:moveTo>
                      <a:lnTo>
                        <a:pt x="25370" y="34664"/>
                      </a:lnTo>
                      <a:lnTo>
                        <a:pt x="25370" y="14569"/>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49" name="Graphic 4">
                <a:extLst>
                  <a:ext uri="{FF2B5EF4-FFF2-40B4-BE49-F238E27FC236}">
                    <a16:creationId xmlns:a16="http://schemas.microsoft.com/office/drawing/2014/main" id="{84FB7ED1-A2DF-40A1-A747-5F7CF3F14040}"/>
                  </a:ext>
                </a:extLst>
              </p:cNvPr>
              <p:cNvGrpSpPr/>
              <p:nvPr/>
            </p:nvGrpSpPr>
            <p:grpSpPr>
              <a:xfrm>
                <a:off x="5193976" y="2403483"/>
                <a:ext cx="167292" cy="192787"/>
                <a:chOff x="5193976" y="2403483"/>
                <a:chExt cx="167292" cy="192787"/>
              </a:xfrm>
              <a:solidFill>
                <a:schemeClr val="accent1"/>
              </a:solidFill>
            </p:grpSpPr>
            <p:grpSp>
              <p:nvGrpSpPr>
                <p:cNvPr id="2350" name="Graphic 4">
                  <a:extLst>
                    <a:ext uri="{FF2B5EF4-FFF2-40B4-BE49-F238E27FC236}">
                      <a16:creationId xmlns:a16="http://schemas.microsoft.com/office/drawing/2014/main" id="{84FB7ED1-A2DF-40A1-A747-5F7CF3F14040}"/>
                    </a:ext>
                  </a:extLst>
                </p:cNvPr>
                <p:cNvGrpSpPr/>
                <p:nvPr/>
              </p:nvGrpSpPr>
              <p:grpSpPr>
                <a:xfrm>
                  <a:off x="5193976" y="2403483"/>
                  <a:ext cx="167292" cy="192787"/>
                  <a:chOff x="5193976" y="2403483"/>
                  <a:chExt cx="167292" cy="192787"/>
                </a:xfrm>
                <a:solidFill>
                  <a:schemeClr val="accent1"/>
                </a:solidFill>
              </p:grpSpPr>
              <p:sp>
                <p:nvSpPr>
                  <p:cNvPr id="2351" name="Freeform: Shape 2350">
                    <a:extLst>
                      <a:ext uri="{FF2B5EF4-FFF2-40B4-BE49-F238E27FC236}">
                        <a16:creationId xmlns:a16="http://schemas.microsoft.com/office/drawing/2014/main" id="{BC715F39-FEF6-4DE1-BC30-6997573919F1}"/>
                      </a:ext>
                    </a:extLst>
                  </p:cNvPr>
                  <p:cNvSpPr/>
                  <p:nvPr/>
                </p:nvSpPr>
                <p:spPr>
                  <a:xfrm>
                    <a:off x="5289679" y="2458870"/>
                    <a:ext cx="71589" cy="137400"/>
                  </a:xfrm>
                  <a:custGeom>
                    <a:avLst/>
                    <a:gdLst>
                      <a:gd name="connsiteX0" fmla="*/ 0 w 71589"/>
                      <a:gd name="connsiteY0" fmla="*/ 137401 h 137400"/>
                      <a:gd name="connsiteX1" fmla="*/ 71589 w 71589"/>
                      <a:gd name="connsiteY1" fmla="*/ 96206 h 137400"/>
                      <a:gd name="connsiteX2" fmla="*/ 71589 w 71589"/>
                      <a:gd name="connsiteY2" fmla="*/ 0 h 137400"/>
                      <a:gd name="connsiteX3" fmla="*/ 0 w 71589"/>
                      <a:gd name="connsiteY3" fmla="*/ 41195 h 137400"/>
                    </a:gdLst>
                    <a:ahLst/>
                    <a:cxnLst>
                      <a:cxn ang="0">
                        <a:pos x="connsiteX0" y="connsiteY0"/>
                      </a:cxn>
                      <a:cxn ang="0">
                        <a:pos x="connsiteX1" y="connsiteY1"/>
                      </a:cxn>
                      <a:cxn ang="0">
                        <a:pos x="connsiteX2" y="connsiteY2"/>
                      </a:cxn>
                      <a:cxn ang="0">
                        <a:pos x="connsiteX3" y="connsiteY3"/>
                      </a:cxn>
                    </a:cxnLst>
                    <a:rect l="l" t="t" r="r" b="b"/>
                    <a:pathLst>
                      <a:path w="71589" h="137400">
                        <a:moveTo>
                          <a:pt x="0" y="137401"/>
                        </a:moveTo>
                        <a:lnTo>
                          <a:pt x="71589" y="96206"/>
                        </a:lnTo>
                        <a:lnTo>
                          <a:pt x="71589" y="0"/>
                        </a:lnTo>
                        <a:lnTo>
                          <a:pt x="0" y="41195"/>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2" name="Freeform: Shape 2351">
                    <a:extLst>
                      <a:ext uri="{FF2B5EF4-FFF2-40B4-BE49-F238E27FC236}">
                        <a16:creationId xmlns:a16="http://schemas.microsoft.com/office/drawing/2014/main" id="{4FEF267D-784A-4BD3-B263-B32B73B2AE3D}"/>
                      </a:ext>
                    </a:extLst>
                  </p:cNvPr>
                  <p:cNvSpPr/>
                  <p:nvPr/>
                </p:nvSpPr>
                <p:spPr>
                  <a:xfrm>
                    <a:off x="5193976" y="2444803"/>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3" name="Freeform: Shape 2352">
                    <a:extLst>
                      <a:ext uri="{FF2B5EF4-FFF2-40B4-BE49-F238E27FC236}">
                        <a16:creationId xmlns:a16="http://schemas.microsoft.com/office/drawing/2014/main" id="{FD5E2561-EF3C-44AD-B612-B0627815C5C4}"/>
                      </a:ext>
                    </a:extLst>
                  </p:cNvPr>
                  <p:cNvSpPr/>
                  <p:nvPr/>
                </p:nvSpPr>
                <p:spPr>
                  <a:xfrm>
                    <a:off x="5193976" y="2403483"/>
                    <a:ext cx="167292" cy="96582"/>
                  </a:xfrm>
                  <a:custGeom>
                    <a:avLst/>
                    <a:gdLst>
                      <a:gd name="connsiteX0" fmla="*/ 0 w 167292"/>
                      <a:gd name="connsiteY0" fmla="*/ 41321 h 96582"/>
                      <a:gd name="connsiteX1" fmla="*/ 43958 w 167292"/>
                      <a:gd name="connsiteY1" fmla="*/ 66691 h 96582"/>
                      <a:gd name="connsiteX2" fmla="*/ 47977 w 167292"/>
                      <a:gd name="connsiteY2" fmla="*/ 69077 h 96582"/>
                      <a:gd name="connsiteX3" fmla="*/ 95703 w 167292"/>
                      <a:gd name="connsiteY3" fmla="*/ 96582 h 96582"/>
                      <a:gd name="connsiteX4" fmla="*/ 167292 w 167292"/>
                      <a:gd name="connsiteY4" fmla="*/ 55387 h 96582"/>
                      <a:gd name="connsiteX5" fmla="*/ 119566 w 167292"/>
                      <a:gd name="connsiteY5" fmla="*/ 27756 h 96582"/>
                      <a:gd name="connsiteX6" fmla="*/ 115422 w 167292"/>
                      <a:gd name="connsiteY6" fmla="*/ 25370 h 96582"/>
                      <a:gd name="connsiteX7" fmla="*/ 71463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7977" y="69077"/>
                        </a:lnTo>
                        <a:lnTo>
                          <a:pt x="95703" y="96582"/>
                        </a:lnTo>
                        <a:lnTo>
                          <a:pt x="167292" y="55387"/>
                        </a:lnTo>
                        <a:lnTo>
                          <a:pt x="119566" y="27756"/>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54" name="Freeform: Shape 2353">
                  <a:extLst>
                    <a:ext uri="{FF2B5EF4-FFF2-40B4-BE49-F238E27FC236}">
                      <a16:creationId xmlns:a16="http://schemas.microsoft.com/office/drawing/2014/main" id="{75A674D2-8561-4BF2-AF23-CA4561CE367F}"/>
                    </a:ext>
                  </a:extLst>
                </p:cNvPr>
                <p:cNvSpPr/>
                <p:nvPr/>
              </p:nvSpPr>
              <p:spPr>
                <a:xfrm>
                  <a:off x="5237934" y="2428853"/>
                  <a:ext cx="75607" cy="43706"/>
                </a:xfrm>
                <a:custGeom>
                  <a:avLst/>
                  <a:gdLst>
                    <a:gd name="connsiteX0" fmla="*/ 0 w 75607"/>
                    <a:gd name="connsiteY0" fmla="*/ 41321 h 43706"/>
                    <a:gd name="connsiteX1" fmla="*/ 4019 w 75607"/>
                    <a:gd name="connsiteY1" fmla="*/ 43707 h 43706"/>
                    <a:gd name="connsiteX2" fmla="*/ 75608 w 75607"/>
                    <a:gd name="connsiteY2" fmla="*/ 2386 h 43706"/>
                    <a:gd name="connsiteX3" fmla="*/ 71463 w 75607"/>
                    <a:gd name="connsiteY3" fmla="*/ 0 h 43706"/>
                  </a:gdLst>
                  <a:ahLst/>
                  <a:cxnLst>
                    <a:cxn ang="0">
                      <a:pos x="connsiteX0" y="connsiteY0"/>
                    </a:cxn>
                    <a:cxn ang="0">
                      <a:pos x="connsiteX1" y="connsiteY1"/>
                    </a:cxn>
                    <a:cxn ang="0">
                      <a:pos x="connsiteX2" y="connsiteY2"/>
                    </a:cxn>
                    <a:cxn ang="0">
                      <a:pos x="connsiteX3" y="connsiteY3"/>
                    </a:cxn>
                  </a:cxnLst>
                  <a:rect l="l" t="t" r="r" b="b"/>
                  <a:pathLst>
                    <a:path w="75607" h="43706">
                      <a:moveTo>
                        <a:pt x="0" y="41321"/>
                      </a:moveTo>
                      <a:lnTo>
                        <a:pt x="4019" y="43707"/>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5" name="Freeform: Shape 2354">
                  <a:extLst>
                    <a:ext uri="{FF2B5EF4-FFF2-40B4-BE49-F238E27FC236}">
                      <a16:creationId xmlns:a16="http://schemas.microsoft.com/office/drawing/2014/main" id="{C603877F-3CBF-453C-A88D-DD3319A1C07B}"/>
                    </a:ext>
                  </a:extLst>
                </p:cNvPr>
                <p:cNvSpPr/>
                <p:nvPr/>
              </p:nvSpPr>
              <p:spPr>
                <a:xfrm>
                  <a:off x="5256523" y="2494539"/>
                  <a:ext cx="25370" cy="34664"/>
                </a:xfrm>
                <a:custGeom>
                  <a:avLst/>
                  <a:gdLst>
                    <a:gd name="connsiteX0" fmla="*/ 0 w 25370"/>
                    <a:gd name="connsiteY0" fmla="*/ 20095 h 34664"/>
                    <a:gd name="connsiteX1" fmla="*/ 25370 w 25370"/>
                    <a:gd name="connsiteY1" fmla="*/ 34664 h 34664"/>
                    <a:gd name="connsiteX2" fmla="*/ 25370 w 25370"/>
                    <a:gd name="connsiteY2" fmla="*/ 14695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20095"/>
                      </a:moveTo>
                      <a:lnTo>
                        <a:pt x="25370" y="34664"/>
                      </a:lnTo>
                      <a:lnTo>
                        <a:pt x="25370"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56" name="Graphic 4">
                <a:extLst>
                  <a:ext uri="{FF2B5EF4-FFF2-40B4-BE49-F238E27FC236}">
                    <a16:creationId xmlns:a16="http://schemas.microsoft.com/office/drawing/2014/main" id="{84FB7ED1-A2DF-40A1-A747-5F7CF3F14040}"/>
                  </a:ext>
                </a:extLst>
              </p:cNvPr>
              <p:cNvGrpSpPr/>
              <p:nvPr/>
            </p:nvGrpSpPr>
            <p:grpSpPr>
              <a:xfrm>
                <a:off x="5454962" y="2470174"/>
                <a:ext cx="167292" cy="192787"/>
                <a:chOff x="5454962" y="2470174"/>
                <a:chExt cx="167292" cy="192787"/>
              </a:xfrm>
              <a:solidFill>
                <a:schemeClr val="accent1"/>
              </a:solidFill>
            </p:grpSpPr>
            <p:grpSp>
              <p:nvGrpSpPr>
                <p:cNvPr id="2357" name="Graphic 4">
                  <a:extLst>
                    <a:ext uri="{FF2B5EF4-FFF2-40B4-BE49-F238E27FC236}">
                      <a16:creationId xmlns:a16="http://schemas.microsoft.com/office/drawing/2014/main" id="{84FB7ED1-A2DF-40A1-A747-5F7CF3F14040}"/>
                    </a:ext>
                  </a:extLst>
                </p:cNvPr>
                <p:cNvGrpSpPr/>
                <p:nvPr/>
              </p:nvGrpSpPr>
              <p:grpSpPr>
                <a:xfrm>
                  <a:off x="5454962" y="2470174"/>
                  <a:ext cx="167292" cy="192787"/>
                  <a:chOff x="5454962" y="2470174"/>
                  <a:chExt cx="167292" cy="192787"/>
                </a:xfrm>
                <a:solidFill>
                  <a:schemeClr val="accent1"/>
                </a:solidFill>
              </p:grpSpPr>
              <p:sp>
                <p:nvSpPr>
                  <p:cNvPr id="2358" name="Freeform: Shape 2357">
                    <a:extLst>
                      <a:ext uri="{FF2B5EF4-FFF2-40B4-BE49-F238E27FC236}">
                        <a16:creationId xmlns:a16="http://schemas.microsoft.com/office/drawing/2014/main" id="{2FB3F4FE-85F9-4A5A-8BAF-2AC8257A38DC}"/>
                      </a:ext>
                    </a:extLst>
                  </p:cNvPr>
                  <p:cNvSpPr/>
                  <p:nvPr/>
                </p:nvSpPr>
                <p:spPr>
                  <a:xfrm>
                    <a:off x="5550791" y="2525435"/>
                    <a:ext cx="71463" cy="137526"/>
                  </a:xfrm>
                  <a:custGeom>
                    <a:avLst/>
                    <a:gdLst>
                      <a:gd name="connsiteX0" fmla="*/ 0 w 71463"/>
                      <a:gd name="connsiteY0" fmla="*/ 137526 h 137526"/>
                      <a:gd name="connsiteX1" fmla="*/ 71463 w 71463"/>
                      <a:gd name="connsiteY1" fmla="*/ 96331 h 137526"/>
                      <a:gd name="connsiteX2" fmla="*/ 71463 w 71463"/>
                      <a:gd name="connsiteY2" fmla="*/ 0 h 137526"/>
                      <a:gd name="connsiteX3" fmla="*/ 0 w 71463"/>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463" h="137526">
                        <a:moveTo>
                          <a:pt x="0" y="137526"/>
                        </a:moveTo>
                        <a:lnTo>
                          <a:pt x="71463" y="96331"/>
                        </a:lnTo>
                        <a:lnTo>
                          <a:pt x="71463"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9" name="Freeform: Shape 2358">
                    <a:extLst>
                      <a:ext uri="{FF2B5EF4-FFF2-40B4-BE49-F238E27FC236}">
                        <a16:creationId xmlns:a16="http://schemas.microsoft.com/office/drawing/2014/main" id="{0F7F01F2-4470-4DC2-96B0-D5E30C36D77A}"/>
                      </a:ext>
                    </a:extLst>
                  </p:cNvPr>
                  <p:cNvSpPr/>
                  <p:nvPr/>
                </p:nvSpPr>
                <p:spPr>
                  <a:xfrm>
                    <a:off x="5454962" y="2511494"/>
                    <a:ext cx="95828" cy="151467"/>
                  </a:xfrm>
                  <a:custGeom>
                    <a:avLst/>
                    <a:gdLst>
                      <a:gd name="connsiteX0" fmla="*/ 0 w 95828"/>
                      <a:gd name="connsiteY0" fmla="*/ 96206 h 151467"/>
                      <a:gd name="connsiteX1" fmla="*/ 95829 w 95828"/>
                      <a:gd name="connsiteY1" fmla="*/ 151467 h 151467"/>
                      <a:gd name="connsiteX2" fmla="*/ 95829 w 95828"/>
                      <a:gd name="connsiteY2" fmla="*/ 55262 h 151467"/>
                      <a:gd name="connsiteX3" fmla="*/ 0 w 95828"/>
                      <a:gd name="connsiteY3" fmla="*/ 0 h 151467"/>
                    </a:gdLst>
                    <a:ahLst/>
                    <a:cxnLst>
                      <a:cxn ang="0">
                        <a:pos x="connsiteX0" y="connsiteY0"/>
                      </a:cxn>
                      <a:cxn ang="0">
                        <a:pos x="connsiteX1" y="connsiteY1"/>
                      </a:cxn>
                      <a:cxn ang="0">
                        <a:pos x="connsiteX2" y="connsiteY2"/>
                      </a:cxn>
                      <a:cxn ang="0">
                        <a:pos x="connsiteX3" y="connsiteY3"/>
                      </a:cxn>
                    </a:cxnLst>
                    <a:rect l="l" t="t" r="r" b="b"/>
                    <a:pathLst>
                      <a:path w="95828" h="151467">
                        <a:moveTo>
                          <a:pt x="0" y="96206"/>
                        </a:moveTo>
                        <a:lnTo>
                          <a:pt x="95829" y="151467"/>
                        </a:lnTo>
                        <a:lnTo>
                          <a:pt x="95829"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0" name="Freeform: Shape 2359">
                    <a:extLst>
                      <a:ext uri="{FF2B5EF4-FFF2-40B4-BE49-F238E27FC236}">
                        <a16:creationId xmlns:a16="http://schemas.microsoft.com/office/drawing/2014/main" id="{B0DA4412-26D9-4FB5-8491-E4335DACACC5}"/>
                      </a:ext>
                    </a:extLst>
                  </p:cNvPr>
                  <p:cNvSpPr/>
                  <p:nvPr/>
                </p:nvSpPr>
                <p:spPr>
                  <a:xfrm>
                    <a:off x="5454962" y="2470174"/>
                    <a:ext cx="167292" cy="96582"/>
                  </a:xfrm>
                  <a:custGeom>
                    <a:avLst/>
                    <a:gdLst>
                      <a:gd name="connsiteX0" fmla="*/ 0 w 167292"/>
                      <a:gd name="connsiteY0" fmla="*/ 41321 h 96582"/>
                      <a:gd name="connsiteX1" fmla="*/ 43958 w 167292"/>
                      <a:gd name="connsiteY1" fmla="*/ 66691 h 96582"/>
                      <a:gd name="connsiteX2" fmla="*/ 48103 w 167292"/>
                      <a:gd name="connsiteY2" fmla="*/ 69077 h 96582"/>
                      <a:gd name="connsiteX3" fmla="*/ 95829 w 167292"/>
                      <a:gd name="connsiteY3" fmla="*/ 96582 h 96582"/>
                      <a:gd name="connsiteX4" fmla="*/ 167292 w 167292"/>
                      <a:gd name="connsiteY4" fmla="*/ 55262 h 96582"/>
                      <a:gd name="connsiteX5" fmla="*/ 119566 w 167292"/>
                      <a:gd name="connsiteY5" fmla="*/ 27756 h 96582"/>
                      <a:gd name="connsiteX6" fmla="*/ 115422 w 167292"/>
                      <a:gd name="connsiteY6" fmla="*/ 25370 h 96582"/>
                      <a:gd name="connsiteX7" fmla="*/ 71589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8103" y="69077"/>
                        </a:lnTo>
                        <a:lnTo>
                          <a:pt x="95829" y="96582"/>
                        </a:lnTo>
                        <a:lnTo>
                          <a:pt x="167292" y="55262"/>
                        </a:lnTo>
                        <a:lnTo>
                          <a:pt x="119566" y="27756"/>
                        </a:lnTo>
                        <a:lnTo>
                          <a:pt x="115422" y="25370"/>
                        </a:lnTo>
                        <a:lnTo>
                          <a:pt x="71589"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61" name="Freeform: Shape 2360">
                  <a:extLst>
                    <a:ext uri="{FF2B5EF4-FFF2-40B4-BE49-F238E27FC236}">
                      <a16:creationId xmlns:a16="http://schemas.microsoft.com/office/drawing/2014/main" id="{7F92DF49-BCB0-49B9-ACFF-F9CBD61F272A}"/>
                    </a:ext>
                  </a:extLst>
                </p:cNvPr>
                <p:cNvSpPr/>
                <p:nvPr/>
              </p:nvSpPr>
              <p:spPr>
                <a:xfrm>
                  <a:off x="5498920" y="2495544"/>
                  <a:ext cx="75607" cy="43707"/>
                </a:xfrm>
                <a:custGeom>
                  <a:avLst/>
                  <a:gdLst>
                    <a:gd name="connsiteX0" fmla="*/ 0 w 75607"/>
                    <a:gd name="connsiteY0" fmla="*/ 41321 h 43707"/>
                    <a:gd name="connsiteX1" fmla="*/ 4144 w 75607"/>
                    <a:gd name="connsiteY1" fmla="*/ 43707 h 43707"/>
                    <a:gd name="connsiteX2" fmla="*/ 75608 w 75607"/>
                    <a:gd name="connsiteY2" fmla="*/ 2386 h 43707"/>
                    <a:gd name="connsiteX3" fmla="*/ 71463 w 75607"/>
                    <a:gd name="connsiteY3" fmla="*/ 0 h 43707"/>
                  </a:gdLst>
                  <a:ahLst/>
                  <a:cxnLst>
                    <a:cxn ang="0">
                      <a:pos x="connsiteX0" y="connsiteY0"/>
                    </a:cxn>
                    <a:cxn ang="0">
                      <a:pos x="connsiteX1" y="connsiteY1"/>
                    </a:cxn>
                    <a:cxn ang="0">
                      <a:pos x="connsiteX2" y="connsiteY2"/>
                    </a:cxn>
                    <a:cxn ang="0">
                      <a:pos x="connsiteX3" y="connsiteY3"/>
                    </a:cxn>
                  </a:cxnLst>
                  <a:rect l="l" t="t" r="r" b="b"/>
                  <a:pathLst>
                    <a:path w="75607" h="43707">
                      <a:moveTo>
                        <a:pt x="0" y="41321"/>
                      </a:moveTo>
                      <a:lnTo>
                        <a:pt x="4144" y="43707"/>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2" name="Freeform: Shape 2361">
                  <a:extLst>
                    <a:ext uri="{FF2B5EF4-FFF2-40B4-BE49-F238E27FC236}">
                      <a16:creationId xmlns:a16="http://schemas.microsoft.com/office/drawing/2014/main" id="{BA6547B5-1BFD-41C2-94F5-E25436AFBA12}"/>
                    </a:ext>
                  </a:extLst>
                </p:cNvPr>
                <p:cNvSpPr/>
                <p:nvPr/>
              </p:nvSpPr>
              <p:spPr>
                <a:xfrm>
                  <a:off x="5517509" y="2561230"/>
                  <a:ext cx="25370" cy="34664"/>
                </a:xfrm>
                <a:custGeom>
                  <a:avLst/>
                  <a:gdLst>
                    <a:gd name="connsiteX0" fmla="*/ 0 w 25370"/>
                    <a:gd name="connsiteY0" fmla="*/ 20095 h 34664"/>
                    <a:gd name="connsiteX1" fmla="*/ 25370 w 25370"/>
                    <a:gd name="connsiteY1" fmla="*/ 34664 h 34664"/>
                    <a:gd name="connsiteX2" fmla="*/ 25370 w 25370"/>
                    <a:gd name="connsiteY2" fmla="*/ 14695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20095"/>
                      </a:moveTo>
                      <a:lnTo>
                        <a:pt x="25370" y="34664"/>
                      </a:lnTo>
                      <a:lnTo>
                        <a:pt x="25370"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63" name="Graphic 4">
                <a:extLst>
                  <a:ext uri="{FF2B5EF4-FFF2-40B4-BE49-F238E27FC236}">
                    <a16:creationId xmlns:a16="http://schemas.microsoft.com/office/drawing/2014/main" id="{84FB7ED1-A2DF-40A1-A747-5F7CF3F14040}"/>
                  </a:ext>
                </a:extLst>
              </p:cNvPr>
              <p:cNvGrpSpPr/>
              <p:nvPr/>
            </p:nvGrpSpPr>
            <p:grpSpPr>
              <a:xfrm>
                <a:off x="5376968" y="2515262"/>
                <a:ext cx="167291" cy="192787"/>
                <a:chOff x="5376968" y="2515262"/>
                <a:chExt cx="167291" cy="192787"/>
              </a:xfrm>
              <a:solidFill>
                <a:schemeClr val="accent1"/>
              </a:solidFill>
            </p:grpSpPr>
            <p:grpSp>
              <p:nvGrpSpPr>
                <p:cNvPr id="2364" name="Graphic 4">
                  <a:extLst>
                    <a:ext uri="{FF2B5EF4-FFF2-40B4-BE49-F238E27FC236}">
                      <a16:creationId xmlns:a16="http://schemas.microsoft.com/office/drawing/2014/main" id="{84FB7ED1-A2DF-40A1-A747-5F7CF3F14040}"/>
                    </a:ext>
                  </a:extLst>
                </p:cNvPr>
                <p:cNvGrpSpPr/>
                <p:nvPr/>
              </p:nvGrpSpPr>
              <p:grpSpPr>
                <a:xfrm>
                  <a:off x="5376968" y="2515262"/>
                  <a:ext cx="167291" cy="192787"/>
                  <a:chOff x="5376968" y="2515262"/>
                  <a:chExt cx="167291" cy="192787"/>
                </a:xfrm>
                <a:solidFill>
                  <a:schemeClr val="accent1"/>
                </a:solidFill>
              </p:grpSpPr>
              <p:sp>
                <p:nvSpPr>
                  <p:cNvPr id="2365" name="Freeform: Shape 2364">
                    <a:extLst>
                      <a:ext uri="{FF2B5EF4-FFF2-40B4-BE49-F238E27FC236}">
                        <a16:creationId xmlns:a16="http://schemas.microsoft.com/office/drawing/2014/main" id="{4F191B77-8F6B-4734-970F-49A9A3EA9099}"/>
                      </a:ext>
                    </a:extLst>
                  </p:cNvPr>
                  <p:cNvSpPr/>
                  <p:nvPr/>
                </p:nvSpPr>
                <p:spPr>
                  <a:xfrm>
                    <a:off x="5472797" y="2570524"/>
                    <a:ext cx="71463" cy="137526"/>
                  </a:xfrm>
                  <a:custGeom>
                    <a:avLst/>
                    <a:gdLst>
                      <a:gd name="connsiteX0" fmla="*/ 0 w 71463"/>
                      <a:gd name="connsiteY0" fmla="*/ 137526 h 137526"/>
                      <a:gd name="connsiteX1" fmla="*/ 71463 w 71463"/>
                      <a:gd name="connsiteY1" fmla="*/ 96206 h 137526"/>
                      <a:gd name="connsiteX2" fmla="*/ 71463 w 71463"/>
                      <a:gd name="connsiteY2" fmla="*/ 0 h 137526"/>
                      <a:gd name="connsiteX3" fmla="*/ 0 w 71463"/>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463" h="137526">
                        <a:moveTo>
                          <a:pt x="0" y="137526"/>
                        </a:moveTo>
                        <a:lnTo>
                          <a:pt x="71463" y="96206"/>
                        </a:lnTo>
                        <a:lnTo>
                          <a:pt x="71463"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6" name="Freeform: Shape 2365">
                    <a:extLst>
                      <a:ext uri="{FF2B5EF4-FFF2-40B4-BE49-F238E27FC236}">
                        <a16:creationId xmlns:a16="http://schemas.microsoft.com/office/drawing/2014/main" id="{577D0201-C9CF-4E4C-A1AB-5F97CA19B5D8}"/>
                      </a:ext>
                    </a:extLst>
                  </p:cNvPr>
                  <p:cNvSpPr/>
                  <p:nvPr/>
                </p:nvSpPr>
                <p:spPr>
                  <a:xfrm>
                    <a:off x="5376968" y="2556583"/>
                    <a:ext cx="95828" cy="151467"/>
                  </a:xfrm>
                  <a:custGeom>
                    <a:avLst/>
                    <a:gdLst>
                      <a:gd name="connsiteX0" fmla="*/ 0 w 95828"/>
                      <a:gd name="connsiteY0" fmla="*/ 96206 h 151467"/>
                      <a:gd name="connsiteX1" fmla="*/ 95829 w 95828"/>
                      <a:gd name="connsiteY1" fmla="*/ 151467 h 151467"/>
                      <a:gd name="connsiteX2" fmla="*/ 95829 w 95828"/>
                      <a:gd name="connsiteY2" fmla="*/ 55262 h 151467"/>
                      <a:gd name="connsiteX3" fmla="*/ 0 w 95828"/>
                      <a:gd name="connsiteY3" fmla="*/ 0 h 151467"/>
                    </a:gdLst>
                    <a:ahLst/>
                    <a:cxnLst>
                      <a:cxn ang="0">
                        <a:pos x="connsiteX0" y="connsiteY0"/>
                      </a:cxn>
                      <a:cxn ang="0">
                        <a:pos x="connsiteX1" y="connsiteY1"/>
                      </a:cxn>
                      <a:cxn ang="0">
                        <a:pos x="connsiteX2" y="connsiteY2"/>
                      </a:cxn>
                      <a:cxn ang="0">
                        <a:pos x="connsiteX3" y="connsiteY3"/>
                      </a:cxn>
                    </a:cxnLst>
                    <a:rect l="l" t="t" r="r" b="b"/>
                    <a:pathLst>
                      <a:path w="95828" h="151467">
                        <a:moveTo>
                          <a:pt x="0" y="96206"/>
                        </a:moveTo>
                        <a:lnTo>
                          <a:pt x="95829" y="151467"/>
                        </a:lnTo>
                        <a:lnTo>
                          <a:pt x="95829"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7" name="Freeform: Shape 2366">
                    <a:extLst>
                      <a:ext uri="{FF2B5EF4-FFF2-40B4-BE49-F238E27FC236}">
                        <a16:creationId xmlns:a16="http://schemas.microsoft.com/office/drawing/2014/main" id="{BA1C07CA-7D58-4FB6-A30F-5244C862DA94}"/>
                      </a:ext>
                    </a:extLst>
                  </p:cNvPr>
                  <p:cNvSpPr/>
                  <p:nvPr/>
                </p:nvSpPr>
                <p:spPr>
                  <a:xfrm>
                    <a:off x="5376968" y="2515262"/>
                    <a:ext cx="167291" cy="96582"/>
                  </a:xfrm>
                  <a:custGeom>
                    <a:avLst/>
                    <a:gdLst>
                      <a:gd name="connsiteX0" fmla="*/ 0 w 167291"/>
                      <a:gd name="connsiteY0" fmla="*/ 41321 h 96582"/>
                      <a:gd name="connsiteX1" fmla="*/ 43958 w 167291"/>
                      <a:gd name="connsiteY1" fmla="*/ 66691 h 96582"/>
                      <a:gd name="connsiteX2" fmla="*/ 48103 w 167291"/>
                      <a:gd name="connsiteY2" fmla="*/ 69077 h 96582"/>
                      <a:gd name="connsiteX3" fmla="*/ 95829 w 167291"/>
                      <a:gd name="connsiteY3" fmla="*/ 96582 h 96582"/>
                      <a:gd name="connsiteX4" fmla="*/ 167292 w 167291"/>
                      <a:gd name="connsiteY4" fmla="*/ 55262 h 96582"/>
                      <a:gd name="connsiteX5" fmla="*/ 119566 w 167291"/>
                      <a:gd name="connsiteY5" fmla="*/ 27756 h 96582"/>
                      <a:gd name="connsiteX6" fmla="*/ 115547 w 167291"/>
                      <a:gd name="connsiteY6" fmla="*/ 25370 h 96582"/>
                      <a:gd name="connsiteX7" fmla="*/ 71589 w 167291"/>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1" h="96582">
                        <a:moveTo>
                          <a:pt x="0" y="41321"/>
                        </a:moveTo>
                        <a:lnTo>
                          <a:pt x="43958" y="66691"/>
                        </a:lnTo>
                        <a:lnTo>
                          <a:pt x="48103" y="69077"/>
                        </a:lnTo>
                        <a:lnTo>
                          <a:pt x="95829" y="96582"/>
                        </a:lnTo>
                        <a:lnTo>
                          <a:pt x="167292" y="55262"/>
                        </a:lnTo>
                        <a:lnTo>
                          <a:pt x="119566" y="27756"/>
                        </a:lnTo>
                        <a:lnTo>
                          <a:pt x="115547" y="25370"/>
                        </a:lnTo>
                        <a:lnTo>
                          <a:pt x="71589"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68" name="Freeform: Shape 2367">
                  <a:extLst>
                    <a:ext uri="{FF2B5EF4-FFF2-40B4-BE49-F238E27FC236}">
                      <a16:creationId xmlns:a16="http://schemas.microsoft.com/office/drawing/2014/main" id="{111637D3-961B-4B6C-A7A8-4FB83A3FCB72}"/>
                    </a:ext>
                  </a:extLst>
                </p:cNvPr>
                <p:cNvSpPr/>
                <p:nvPr/>
              </p:nvSpPr>
              <p:spPr>
                <a:xfrm>
                  <a:off x="5420926" y="2540632"/>
                  <a:ext cx="75607" cy="43707"/>
                </a:xfrm>
                <a:custGeom>
                  <a:avLst/>
                  <a:gdLst>
                    <a:gd name="connsiteX0" fmla="*/ 0 w 75607"/>
                    <a:gd name="connsiteY0" fmla="*/ 41321 h 43707"/>
                    <a:gd name="connsiteX1" fmla="*/ 4144 w 75607"/>
                    <a:gd name="connsiteY1" fmla="*/ 43707 h 43707"/>
                    <a:gd name="connsiteX2" fmla="*/ 75608 w 75607"/>
                    <a:gd name="connsiteY2" fmla="*/ 2386 h 43707"/>
                    <a:gd name="connsiteX3" fmla="*/ 71589 w 75607"/>
                    <a:gd name="connsiteY3" fmla="*/ 0 h 43707"/>
                  </a:gdLst>
                  <a:ahLst/>
                  <a:cxnLst>
                    <a:cxn ang="0">
                      <a:pos x="connsiteX0" y="connsiteY0"/>
                    </a:cxn>
                    <a:cxn ang="0">
                      <a:pos x="connsiteX1" y="connsiteY1"/>
                    </a:cxn>
                    <a:cxn ang="0">
                      <a:pos x="connsiteX2" y="connsiteY2"/>
                    </a:cxn>
                    <a:cxn ang="0">
                      <a:pos x="connsiteX3" y="connsiteY3"/>
                    </a:cxn>
                  </a:cxnLst>
                  <a:rect l="l" t="t" r="r" b="b"/>
                  <a:pathLst>
                    <a:path w="75607" h="43707">
                      <a:moveTo>
                        <a:pt x="0" y="41321"/>
                      </a:moveTo>
                      <a:lnTo>
                        <a:pt x="4144" y="43707"/>
                      </a:lnTo>
                      <a:lnTo>
                        <a:pt x="75608" y="2386"/>
                      </a:lnTo>
                      <a:lnTo>
                        <a:pt x="71589"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9" name="Freeform: Shape 2368">
                  <a:extLst>
                    <a:ext uri="{FF2B5EF4-FFF2-40B4-BE49-F238E27FC236}">
                      <a16:creationId xmlns:a16="http://schemas.microsoft.com/office/drawing/2014/main" id="{CBB1D2C6-5591-49F6-BBB0-4A6536205893}"/>
                    </a:ext>
                  </a:extLst>
                </p:cNvPr>
                <p:cNvSpPr/>
                <p:nvPr/>
              </p:nvSpPr>
              <p:spPr>
                <a:xfrm>
                  <a:off x="5439514" y="2606318"/>
                  <a:ext cx="25495" cy="34664"/>
                </a:xfrm>
                <a:custGeom>
                  <a:avLst/>
                  <a:gdLst>
                    <a:gd name="connsiteX0" fmla="*/ 0 w 25495"/>
                    <a:gd name="connsiteY0" fmla="*/ 19970 h 34664"/>
                    <a:gd name="connsiteX1" fmla="*/ 25496 w 25495"/>
                    <a:gd name="connsiteY1" fmla="*/ 34664 h 34664"/>
                    <a:gd name="connsiteX2" fmla="*/ 25496 w 25495"/>
                    <a:gd name="connsiteY2" fmla="*/ 14569 h 34664"/>
                    <a:gd name="connsiteX3" fmla="*/ 0 w 25495"/>
                    <a:gd name="connsiteY3" fmla="*/ 0 h 34664"/>
                  </a:gdLst>
                  <a:ahLst/>
                  <a:cxnLst>
                    <a:cxn ang="0">
                      <a:pos x="connsiteX0" y="connsiteY0"/>
                    </a:cxn>
                    <a:cxn ang="0">
                      <a:pos x="connsiteX1" y="connsiteY1"/>
                    </a:cxn>
                    <a:cxn ang="0">
                      <a:pos x="connsiteX2" y="connsiteY2"/>
                    </a:cxn>
                    <a:cxn ang="0">
                      <a:pos x="connsiteX3" y="connsiteY3"/>
                    </a:cxn>
                  </a:cxnLst>
                  <a:rect l="l" t="t" r="r" b="b"/>
                  <a:pathLst>
                    <a:path w="25495" h="34664">
                      <a:moveTo>
                        <a:pt x="0" y="19970"/>
                      </a:moveTo>
                      <a:lnTo>
                        <a:pt x="25496" y="34664"/>
                      </a:lnTo>
                      <a:lnTo>
                        <a:pt x="25496" y="14569"/>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70" name="Graphic 4">
                <a:extLst>
                  <a:ext uri="{FF2B5EF4-FFF2-40B4-BE49-F238E27FC236}">
                    <a16:creationId xmlns:a16="http://schemas.microsoft.com/office/drawing/2014/main" id="{84FB7ED1-A2DF-40A1-A747-5F7CF3F14040}"/>
                  </a:ext>
                </a:extLst>
              </p:cNvPr>
              <p:cNvGrpSpPr/>
              <p:nvPr/>
            </p:nvGrpSpPr>
            <p:grpSpPr>
              <a:xfrm>
                <a:off x="5299099" y="2560351"/>
                <a:ext cx="167292" cy="192788"/>
                <a:chOff x="5299099" y="2560351"/>
                <a:chExt cx="167292" cy="192788"/>
              </a:xfrm>
              <a:solidFill>
                <a:schemeClr val="accent1"/>
              </a:solidFill>
            </p:grpSpPr>
            <p:grpSp>
              <p:nvGrpSpPr>
                <p:cNvPr id="2371" name="Graphic 4">
                  <a:extLst>
                    <a:ext uri="{FF2B5EF4-FFF2-40B4-BE49-F238E27FC236}">
                      <a16:creationId xmlns:a16="http://schemas.microsoft.com/office/drawing/2014/main" id="{84FB7ED1-A2DF-40A1-A747-5F7CF3F14040}"/>
                    </a:ext>
                  </a:extLst>
                </p:cNvPr>
                <p:cNvGrpSpPr/>
                <p:nvPr/>
              </p:nvGrpSpPr>
              <p:grpSpPr>
                <a:xfrm>
                  <a:off x="5299099" y="2560351"/>
                  <a:ext cx="167292" cy="192788"/>
                  <a:chOff x="5299099" y="2560351"/>
                  <a:chExt cx="167292" cy="192788"/>
                </a:xfrm>
                <a:solidFill>
                  <a:schemeClr val="accent1"/>
                </a:solidFill>
              </p:grpSpPr>
              <p:sp>
                <p:nvSpPr>
                  <p:cNvPr id="2372" name="Freeform: Shape 2371">
                    <a:extLst>
                      <a:ext uri="{FF2B5EF4-FFF2-40B4-BE49-F238E27FC236}">
                        <a16:creationId xmlns:a16="http://schemas.microsoft.com/office/drawing/2014/main" id="{959F85EA-7E0F-4A43-A165-94946F7B5434}"/>
                      </a:ext>
                    </a:extLst>
                  </p:cNvPr>
                  <p:cNvSpPr/>
                  <p:nvPr/>
                </p:nvSpPr>
                <p:spPr>
                  <a:xfrm>
                    <a:off x="5394802" y="2615612"/>
                    <a:ext cx="71589" cy="137526"/>
                  </a:xfrm>
                  <a:custGeom>
                    <a:avLst/>
                    <a:gdLst>
                      <a:gd name="connsiteX0" fmla="*/ 0 w 71589"/>
                      <a:gd name="connsiteY0" fmla="*/ 137526 h 137526"/>
                      <a:gd name="connsiteX1" fmla="*/ 71589 w 71589"/>
                      <a:gd name="connsiteY1" fmla="*/ 96206 h 137526"/>
                      <a:gd name="connsiteX2" fmla="*/ 71589 w 71589"/>
                      <a:gd name="connsiteY2" fmla="*/ 0 h 137526"/>
                      <a:gd name="connsiteX3" fmla="*/ 0 w 71589"/>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589" h="137526">
                        <a:moveTo>
                          <a:pt x="0" y="137526"/>
                        </a:moveTo>
                        <a:lnTo>
                          <a:pt x="71589" y="96206"/>
                        </a:lnTo>
                        <a:lnTo>
                          <a:pt x="71589"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73" name="Freeform: Shape 2372">
                    <a:extLst>
                      <a:ext uri="{FF2B5EF4-FFF2-40B4-BE49-F238E27FC236}">
                        <a16:creationId xmlns:a16="http://schemas.microsoft.com/office/drawing/2014/main" id="{60E776C9-ED3C-4FFF-85F0-30F6C9C903DD}"/>
                      </a:ext>
                    </a:extLst>
                  </p:cNvPr>
                  <p:cNvSpPr/>
                  <p:nvPr/>
                </p:nvSpPr>
                <p:spPr>
                  <a:xfrm>
                    <a:off x="5299099" y="2601671"/>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74" name="Freeform: Shape 2373">
                    <a:extLst>
                      <a:ext uri="{FF2B5EF4-FFF2-40B4-BE49-F238E27FC236}">
                        <a16:creationId xmlns:a16="http://schemas.microsoft.com/office/drawing/2014/main" id="{F1A7BF81-78B9-4803-8478-16C8E45E8749}"/>
                      </a:ext>
                    </a:extLst>
                  </p:cNvPr>
                  <p:cNvSpPr/>
                  <p:nvPr/>
                </p:nvSpPr>
                <p:spPr>
                  <a:xfrm>
                    <a:off x="5299099" y="2560351"/>
                    <a:ext cx="167292" cy="96582"/>
                  </a:xfrm>
                  <a:custGeom>
                    <a:avLst/>
                    <a:gdLst>
                      <a:gd name="connsiteX0" fmla="*/ 0 w 167292"/>
                      <a:gd name="connsiteY0" fmla="*/ 41321 h 96582"/>
                      <a:gd name="connsiteX1" fmla="*/ 43958 w 167292"/>
                      <a:gd name="connsiteY1" fmla="*/ 66691 h 96582"/>
                      <a:gd name="connsiteX2" fmla="*/ 47977 w 167292"/>
                      <a:gd name="connsiteY2" fmla="*/ 68952 h 96582"/>
                      <a:gd name="connsiteX3" fmla="*/ 95703 w 167292"/>
                      <a:gd name="connsiteY3" fmla="*/ 96582 h 96582"/>
                      <a:gd name="connsiteX4" fmla="*/ 167292 w 167292"/>
                      <a:gd name="connsiteY4" fmla="*/ 55262 h 96582"/>
                      <a:gd name="connsiteX5" fmla="*/ 119566 w 167292"/>
                      <a:gd name="connsiteY5" fmla="*/ 27757 h 96582"/>
                      <a:gd name="connsiteX6" fmla="*/ 115422 w 167292"/>
                      <a:gd name="connsiteY6" fmla="*/ 25370 h 96582"/>
                      <a:gd name="connsiteX7" fmla="*/ 71463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7977" y="68952"/>
                        </a:lnTo>
                        <a:lnTo>
                          <a:pt x="95703" y="96582"/>
                        </a:lnTo>
                        <a:lnTo>
                          <a:pt x="167292" y="55262"/>
                        </a:lnTo>
                        <a:lnTo>
                          <a:pt x="119566" y="27757"/>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75" name="Freeform: Shape 2374">
                  <a:extLst>
                    <a:ext uri="{FF2B5EF4-FFF2-40B4-BE49-F238E27FC236}">
                      <a16:creationId xmlns:a16="http://schemas.microsoft.com/office/drawing/2014/main" id="{3E34A68F-1530-48A2-994B-3EB61BA585DC}"/>
                    </a:ext>
                  </a:extLst>
                </p:cNvPr>
                <p:cNvSpPr/>
                <p:nvPr/>
              </p:nvSpPr>
              <p:spPr>
                <a:xfrm>
                  <a:off x="5343057" y="2585721"/>
                  <a:ext cx="75607" cy="43581"/>
                </a:xfrm>
                <a:custGeom>
                  <a:avLst/>
                  <a:gdLst>
                    <a:gd name="connsiteX0" fmla="*/ 0 w 75607"/>
                    <a:gd name="connsiteY0" fmla="*/ 41321 h 43581"/>
                    <a:gd name="connsiteX1" fmla="*/ 4019 w 75607"/>
                    <a:gd name="connsiteY1" fmla="*/ 43581 h 43581"/>
                    <a:gd name="connsiteX2" fmla="*/ 75608 w 75607"/>
                    <a:gd name="connsiteY2" fmla="*/ 2386 h 43581"/>
                    <a:gd name="connsiteX3" fmla="*/ 71463 w 75607"/>
                    <a:gd name="connsiteY3" fmla="*/ 0 h 43581"/>
                  </a:gdLst>
                  <a:ahLst/>
                  <a:cxnLst>
                    <a:cxn ang="0">
                      <a:pos x="connsiteX0" y="connsiteY0"/>
                    </a:cxn>
                    <a:cxn ang="0">
                      <a:pos x="connsiteX1" y="connsiteY1"/>
                    </a:cxn>
                    <a:cxn ang="0">
                      <a:pos x="connsiteX2" y="connsiteY2"/>
                    </a:cxn>
                    <a:cxn ang="0">
                      <a:pos x="connsiteX3" y="connsiteY3"/>
                    </a:cxn>
                  </a:cxnLst>
                  <a:rect l="l" t="t" r="r" b="b"/>
                  <a:pathLst>
                    <a:path w="75607" h="43581">
                      <a:moveTo>
                        <a:pt x="0" y="41321"/>
                      </a:moveTo>
                      <a:lnTo>
                        <a:pt x="4019" y="43581"/>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76" name="Freeform: Shape 2375">
                  <a:extLst>
                    <a:ext uri="{FF2B5EF4-FFF2-40B4-BE49-F238E27FC236}">
                      <a16:creationId xmlns:a16="http://schemas.microsoft.com/office/drawing/2014/main" id="{FD185975-3E79-407B-A2EE-C8F6191237E4}"/>
                    </a:ext>
                  </a:extLst>
                </p:cNvPr>
                <p:cNvSpPr/>
                <p:nvPr/>
              </p:nvSpPr>
              <p:spPr>
                <a:xfrm>
                  <a:off x="5361645" y="2651281"/>
                  <a:ext cx="25370" cy="34789"/>
                </a:xfrm>
                <a:custGeom>
                  <a:avLst/>
                  <a:gdLst>
                    <a:gd name="connsiteX0" fmla="*/ 0 w 25370"/>
                    <a:gd name="connsiteY0" fmla="*/ 20095 h 34789"/>
                    <a:gd name="connsiteX1" fmla="*/ 25370 w 25370"/>
                    <a:gd name="connsiteY1" fmla="*/ 34790 h 34789"/>
                    <a:gd name="connsiteX2" fmla="*/ 25370 w 25370"/>
                    <a:gd name="connsiteY2" fmla="*/ 14695 h 34789"/>
                    <a:gd name="connsiteX3" fmla="*/ 0 w 25370"/>
                    <a:gd name="connsiteY3" fmla="*/ 0 h 34789"/>
                  </a:gdLst>
                  <a:ahLst/>
                  <a:cxnLst>
                    <a:cxn ang="0">
                      <a:pos x="connsiteX0" y="connsiteY0"/>
                    </a:cxn>
                    <a:cxn ang="0">
                      <a:pos x="connsiteX1" y="connsiteY1"/>
                    </a:cxn>
                    <a:cxn ang="0">
                      <a:pos x="connsiteX2" y="connsiteY2"/>
                    </a:cxn>
                    <a:cxn ang="0">
                      <a:pos x="connsiteX3" y="connsiteY3"/>
                    </a:cxn>
                  </a:cxnLst>
                  <a:rect l="l" t="t" r="r" b="b"/>
                  <a:pathLst>
                    <a:path w="25370" h="34789">
                      <a:moveTo>
                        <a:pt x="0" y="20095"/>
                      </a:moveTo>
                      <a:lnTo>
                        <a:pt x="25370" y="34790"/>
                      </a:lnTo>
                      <a:lnTo>
                        <a:pt x="25370"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77" name="Graphic 4">
                <a:extLst>
                  <a:ext uri="{FF2B5EF4-FFF2-40B4-BE49-F238E27FC236}">
                    <a16:creationId xmlns:a16="http://schemas.microsoft.com/office/drawing/2014/main" id="{84FB7ED1-A2DF-40A1-A747-5F7CF3F14040}"/>
                  </a:ext>
                </a:extLst>
              </p:cNvPr>
              <p:cNvGrpSpPr/>
              <p:nvPr/>
            </p:nvGrpSpPr>
            <p:grpSpPr>
              <a:xfrm>
                <a:off x="5299099" y="2463894"/>
                <a:ext cx="167292" cy="192787"/>
                <a:chOff x="5299099" y="2463894"/>
                <a:chExt cx="167292" cy="192787"/>
              </a:xfrm>
              <a:solidFill>
                <a:schemeClr val="accent1"/>
              </a:solidFill>
            </p:grpSpPr>
            <p:grpSp>
              <p:nvGrpSpPr>
                <p:cNvPr id="2378" name="Graphic 4">
                  <a:extLst>
                    <a:ext uri="{FF2B5EF4-FFF2-40B4-BE49-F238E27FC236}">
                      <a16:creationId xmlns:a16="http://schemas.microsoft.com/office/drawing/2014/main" id="{84FB7ED1-A2DF-40A1-A747-5F7CF3F14040}"/>
                    </a:ext>
                  </a:extLst>
                </p:cNvPr>
                <p:cNvGrpSpPr/>
                <p:nvPr/>
              </p:nvGrpSpPr>
              <p:grpSpPr>
                <a:xfrm>
                  <a:off x="5299099" y="2463894"/>
                  <a:ext cx="167292" cy="192787"/>
                  <a:chOff x="5299099" y="2463894"/>
                  <a:chExt cx="167292" cy="192787"/>
                </a:xfrm>
                <a:solidFill>
                  <a:schemeClr val="accent1"/>
                </a:solidFill>
              </p:grpSpPr>
              <p:sp>
                <p:nvSpPr>
                  <p:cNvPr id="2379" name="Freeform: Shape 2378">
                    <a:extLst>
                      <a:ext uri="{FF2B5EF4-FFF2-40B4-BE49-F238E27FC236}">
                        <a16:creationId xmlns:a16="http://schemas.microsoft.com/office/drawing/2014/main" id="{07F04DCD-335D-40FB-BD3A-6EFA351779D8}"/>
                      </a:ext>
                    </a:extLst>
                  </p:cNvPr>
                  <p:cNvSpPr/>
                  <p:nvPr/>
                </p:nvSpPr>
                <p:spPr>
                  <a:xfrm>
                    <a:off x="5394802" y="2519156"/>
                    <a:ext cx="71589" cy="137526"/>
                  </a:xfrm>
                  <a:custGeom>
                    <a:avLst/>
                    <a:gdLst>
                      <a:gd name="connsiteX0" fmla="*/ 0 w 71589"/>
                      <a:gd name="connsiteY0" fmla="*/ 137526 h 137526"/>
                      <a:gd name="connsiteX1" fmla="*/ 71589 w 71589"/>
                      <a:gd name="connsiteY1" fmla="*/ 96331 h 137526"/>
                      <a:gd name="connsiteX2" fmla="*/ 71589 w 71589"/>
                      <a:gd name="connsiteY2" fmla="*/ 0 h 137526"/>
                      <a:gd name="connsiteX3" fmla="*/ 0 w 71589"/>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589" h="137526">
                        <a:moveTo>
                          <a:pt x="0" y="137526"/>
                        </a:moveTo>
                        <a:lnTo>
                          <a:pt x="71589" y="96331"/>
                        </a:lnTo>
                        <a:lnTo>
                          <a:pt x="71589"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0" name="Freeform: Shape 2379">
                    <a:extLst>
                      <a:ext uri="{FF2B5EF4-FFF2-40B4-BE49-F238E27FC236}">
                        <a16:creationId xmlns:a16="http://schemas.microsoft.com/office/drawing/2014/main" id="{B9F653C9-9333-4E62-AE6F-74F9CA13FE21}"/>
                      </a:ext>
                    </a:extLst>
                  </p:cNvPr>
                  <p:cNvSpPr/>
                  <p:nvPr/>
                </p:nvSpPr>
                <p:spPr>
                  <a:xfrm>
                    <a:off x="5299099" y="2505214"/>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1" name="Freeform: Shape 2380">
                    <a:extLst>
                      <a:ext uri="{FF2B5EF4-FFF2-40B4-BE49-F238E27FC236}">
                        <a16:creationId xmlns:a16="http://schemas.microsoft.com/office/drawing/2014/main" id="{DC9D6E41-5AA0-4654-B7AF-44D045574AFA}"/>
                      </a:ext>
                    </a:extLst>
                  </p:cNvPr>
                  <p:cNvSpPr/>
                  <p:nvPr/>
                </p:nvSpPr>
                <p:spPr>
                  <a:xfrm>
                    <a:off x="5299099" y="2463894"/>
                    <a:ext cx="167292" cy="96582"/>
                  </a:xfrm>
                  <a:custGeom>
                    <a:avLst/>
                    <a:gdLst>
                      <a:gd name="connsiteX0" fmla="*/ 0 w 167292"/>
                      <a:gd name="connsiteY0" fmla="*/ 41321 h 96582"/>
                      <a:gd name="connsiteX1" fmla="*/ 43958 w 167292"/>
                      <a:gd name="connsiteY1" fmla="*/ 66691 h 96582"/>
                      <a:gd name="connsiteX2" fmla="*/ 47977 w 167292"/>
                      <a:gd name="connsiteY2" fmla="*/ 69077 h 96582"/>
                      <a:gd name="connsiteX3" fmla="*/ 95703 w 167292"/>
                      <a:gd name="connsiteY3" fmla="*/ 96582 h 96582"/>
                      <a:gd name="connsiteX4" fmla="*/ 167292 w 167292"/>
                      <a:gd name="connsiteY4" fmla="*/ 55387 h 96582"/>
                      <a:gd name="connsiteX5" fmla="*/ 119566 w 167292"/>
                      <a:gd name="connsiteY5" fmla="*/ 27756 h 96582"/>
                      <a:gd name="connsiteX6" fmla="*/ 115422 w 167292"/>
                      <a:gd name="connsiteY6" fmla="*/ 25370 h 96582"/>
                      <a:gd name="connsiteX7" fmla="*/ 71463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7977" y="69077"/>
                        </a:lnTo>
                        <a:lnTo>
                          <a:pt x="95703" y="96582"/>
                        </a:lnTo>
                        <a:lnTo>
                          <a:pt x="167292" y="55387"/>
                        </a:lnTo>
                        <a:lnTo>
                          <a:pt x="119566" y="27756"/>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82" name="Freeform: Shape 2381">
                  <a:extLst>
                    <a:ext uri="{FF2B5EF4-FFF2-40B4-BE49-F238E27FC236}">
                      <a16:creationId xmlns:a16="http://schemas.microsoft.com/office/drawing/2014/main" id="{087C0EC3-596E-424F-8333-35B38ADA17E3}"/>
                    </a:ext>
                  </a:extLst>
                </p:cNvPr>
                <p:cNvSpPr/>
                <p:nvPr/>
              </p:nvSpPr>
              <p:spPr>
                <a:xfrm>
                  <a:off x="5343057" y="2489264"/>
                  <a:ext cx="75607" cy="43707"/>
                </a:xfrm>
                <a:custGeom>
                  <a:avLst/>
                  <a:gdLst>
                    <a:gd name="connsiteX0" fmla="*/ 0 w 75607"/>
                    <a:gd name="connsiteY0" fmla="*/ 41321 h 43707"/>
                    <a:gd name="connsiteX1" fmla="*/ 4019 w 75607"/>
                    <a:gd name="connsiteY1" fmla="*/ 43707 h 43707"/>
                    <a:gd name="connsiteX2" fmla="*/ 75608 w 75607"/>
                    <a:gd name="connsiteY2" fmla="*/ 2386 h 43707"/>
                    <a:gd name="connsiteX3" fmla="*/ 71463 w 75607"/>
                    <a:gd name="connsiteY3" fmla="*/ 0 h 43707"/>
                  </a:gdLst>
                  <a:ahLst/>
                  <a:cxnLst>
                    <a:cxn ang="0">
                      <a:pos x="connsiteX0" y="connsiteY0"/>
                    </a:cxn>
                    <a:cxn ang="0">
                      <a:pos x="connsiteX1" y="connsiteY1"/>
                    </a:cxn>
                    <a:cxn ang="0">
                      <a:pos x="connsiteX2" y="connsiteY2"/>
                    </a:cxn>
                    <a:cxn ang="0">
                      <a:pos x="connsiteX3" y="connsiteY3"/>
                    </a:cxn>
                  </a:cxnLst>
                  <a:rect l="l" t="t" r="r" b="b"/>
                  <a:pathLst>
                    <a:path w="75607" h="43707">
                      <a:moveTo>
                        <a:pt x="0" y="41321"/>
                      </a:moveTo>
                      <a:lnTo>
                        <a:pt x="4019" y="43707"/>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3" name="Freeform: Shape 2382">
                  <a:extLst>
                    <a:ext uri="{FF2B5EF4-FFF2-40B4-BE49-F238E27FC236}">
                      <a16:creationId xmlns:a16="http://schemas.microsoft.com/office/drawing/2014/main" id="{445427B0-D93B-4C68-9695-9A0C95728BD2}"/>
                    </a:ext>
                  </a:extLst>
                </p:cNvPr>
                <p:cNvSpPr/>
                <p:nvPr/>
              </p:nvSpPr>
              <p:spPr>
                <a:xfrm>
                  <a:off x="5361645" y="2554950"/>
                  <a:ext cx="25370" cy="34664"/>
                </a:xfrm>
                <a:custGeom>
                  <a:avLst/>
                  <a:gdLst>
                    <a:gd name="connsiteX0" fmla="*/ 0 w 25370"/>
                    <a:gd name="connsiteY0" fmla="*/ 20095 h 34664"/>
                    <a:gd name="connsiteX1" fmla="*/ 25370 w 25370"/>
                    <a:gd name="connsiteY1" fmla="*/ 34664 h 34664"/>
                    <a:gd name="connsiteX2" fmla="*/ 25370 w 25370"/>
                    <a:gd name="connsiteY2" fmla="*/ 14695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20095"/>
                      </a:moveTo>
                      <a:lnTo>
                        <a:pt x="25370" y="34664"/>
                      </a:lnTo>
                      <a:lnTo>
                        <a:pt x="25370"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2384" name="Graphic 4">
            <a:extLst>
              <a:ext uri="{FF2B5EF4-FFF2-40B4-BE49-F238E27FC236}">
                <a16:creationId xmlns:a16="http://schemas.microsoft.com/office/drawing/2014/main" id="{84FB7ED1-A2DF-40A1-A747-5F7CF3F14040}"/>
              </a:ext>
            </a:extLst>
          </p:cNvPr>
          <p:cNvGrpSpPr/>
          <p:nvPr/>
        </p:nvGrpSpPr>
        <p:grpSpPr>
          <a:xfrm>
            <a:off x="4232171" y="2726927"/>
            <a:ext cx="851281" cy="668251"/>
            <a:chOff x="4232171" y="2726927"/>
            <a:chExt cx="851281" cy="668251"/>
          </a:xfrm>
          <a:solidFill>
            <a:schemeClr val="accent1"/>
          </a:solidFill>
        </p:grpSpPr>
        <p:grpSp>
          <p:nvGrpSpPr>
            <p:cNvPr id="2385" name="Graphic 4">
              <a:extLst>
                <a:ext uri="{FF2B5EF4-FFF2-40B4-BE49-F238E27FC236}">
                  <a16:creationId xmlns:a16="http://schemas.microsoft.com/office/drawing/2014/main" id="{84FB7ED1-A2DF-40A1-A747-5F7CF3F14040}"/>
                </a:ext>
              </a:extLst>
            </p:cNvPr>
            <p:cNvGrpSpPr/>
            <p:nvPr/>
          </p:nvGrpSpPr>
          <p:grpSpPr>
            <a:xfrm>
              <a:off x="4232171" y="2840804"/>
              <a:ext cx="283843" cy="216525"/>
              <a:chOff x="4232171" y="2840804"/>
              <a:chExt cx="283843" cy="216525"/>
            </a:xfrm>
            <a:solidFill>
              <a:schemeClr val="accent1"/>
            </a:solidFill>
          </p:grpSpPr>
          <p:grpSp>
            <p:nvGrpSpPr>
              <p:cNvPr id="2386" name="Graphic 4">
                <a:extLst>
                  <a:ext uri="{FF2B5EF4-FFF2-40B4-BE49-F238E27FC236}">
                    <a16:creationId xmlns:a16="http://schemas.microsoft.com/office/drawing/2014/main" id="{84FB7ED1-A2DF-40A1-A747-5F7CF3F14040}"/>
                  </a:ext>
                </a:extLst>
              </p:cNvPr>
              <p:cNvGrpSpPr/>
              <p:nvPr/>
            </p:nvGrpSpPr>
            <p:grpSpPr>
              <a:xfrm>
                <a:off x="4262188" y="2925455"/>
                <a:ext cx="253826" cy="131874"/>
                <a:chOff x="4262188" y="2925455"/>
                <a:chExt cx="253826" cy="131874"/>
              </a:xfrm>
              <a:solidFill>
                <a:schemeClr val="accent1"/>
              </a:solidFill>
            </p:grpSpPr>
            <p:sp>
              <p:nvSpPr>
                <p:cNvPr id="2387" name="Freeform: Shape 2386">
                  <a:extLst>
                    <a:ext uri="{FF2B5EF4-FFF2-40B4-BE49-F238E27FC236}">
                      <a16:creationId xmlns:a16="http://schemas.microsoft.com/office/drawing/2014/main" id="{ACC46229-0C0C-4A29-B9CD-31E0BAD23721}"/>
                    </a:ext>
                  </a:extLst>
                </p:cNvPr>
                <p:cNvSpPr/>
                <p:nvPr/>
              </p:nvSpPr>
              <p:spPr>
                <a:xfrm>
                  <a:off x="4343699" y="2925455"/>
                  <a:ext cx="120822" cy="131874"/>
                </a:xfrm>
                <a:custGeom>
                  <a:avLst/>
                  <a:gdLst>
                    <a:gd name="connsiteX0" fmla="*/ 0 w 120822"/>
                    <a:gd name="connsiteY0" fmla="*/ 131875 h 131874"/>
                    <a:gd name="connsiteX1" fmla="*/ 120823 w 120822"/>
                    <a:gd name="connsiteY1" fmla="*/ 62169 h 131874"/>
                    <a:gd name="connsiteX2" fmla="*/ 120823 w 120822"/>
                    <a:gd name="connsiteY2" fmla="*/ 0 h 131874"/>
                    <a:gd name="connsiteX3" fmla="*/ 0 w 120822"/>
                    <a:gd name="connsiteY3" fmla="*/ 69831 h 131874"/>
                  </a:gdLst>
                  <a:ahLst/>
                  <a:cxnLst>
                    <a:cxn ang="0">
                      <a:pos x="connsiteX0" y="connsiteY0"/>
                    </a:cxn>
                    <a:cxn ang="0">
                      <a:pos x="connsiteX1" y="connsiteY1"/>
                    </a:cxn>
                    <a:cxn ang="0">
                      <a:pos x="connsiteX2" y="connsiteY2"/>
                    </a:cxn>
                    <a:cxn ang="0">
                      <a:pos x="connsiteX3" y="connsiteY3"/>
                    </a:cxn>
                  </a:cxnLst>
                  <a:rect l="l" t="t" r="r" b="b"/>
                  <a:pathLst>
                    <a:path w="120822" h="131874">
                      <a:moveTo>
                        <a:pt x="0" y="131875"/>
                      </a:moveTo>
                      <a:lnTo>
                        <a:pt x="120823" y="62169"/>
                      </a:lnTo>
                      <a:lnTo>
                        <a:pt x="120823" y="0"/>
                      </a:lnTo>
                      <a:lnTo>
                        <a:pt x="0" y="69831"/>
                      </a:lnTo>
                      <a:close/>
                    </a:path>
                  </a:pathLst>
                </a:custGeom>
                <a:solidFill>
                  <a:srgbClr val="C997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8" name="Freeform: Shape 2387">
                  <a:extLst>
                    <a:ext uri="{FF2B5EF4-FFF2-40B4-BE49-F238E27FC236}">
                      <a16:creationId xmlns:a16="http://schemas.microsoft.com/office/drawing/2014/main" id="{AFA84434-ACD2-45A8-ADF6-FFAAB8CF523C}"/>
                    </a:ext>
                  </a:extLst>
                </p:cNvPr>
                <p:cNvSpPr/>
                <p:nvPr/>
              </p:nvSpPr>
              <p:spPr>
                <a:xfrm>
                  <a:off x="4343699" y="2937261"/>
                  <a:ext cx="172316" cy="73598"/>
                </a:xfrm>
                <a:custGeom>
                  <a:avLst/>
                  <a:gdLst>
                    <a:gd name="connsiteX0" fmla="*/ 172316 w 172316"/>
                    <a:gd name="connsiteY0" fmla="*/ 3768 h 73598"/>
                    <a:gd name="connsiteX1" fmla="*/ 172316 w 172316"/>
                    <a:gd name="connsiteY1" fmla="*/ 0 h 73598"/>
                    <a:gd name="connsiteX2" fmla="*/ 0 w 172316"/>
                    <a:gd name="connsiteY2" fmla="*/ 58025 h 73598"/>
                    <a:gd name="connsiteX3" fmla="*/ 0 w 172316"/>
                    <a:gd name="connsiteY3" fmla="*/ 61793 h 73598"/>
                    <a:gd name="connsiteX4" fmla="*/ 51368 w 172316"/>
                    <a:gd name="connsiteY4" fmla="*/ 73599 h 7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316" h="73598">
                      <a:moveTo>
                        <a:pt x="172316" y="3768"/>
                      </a:moveTo>
                      <a:lnTo>
                        <a:pt x="172316" y="0"/>
                      </a:lnTo>
                      <a:lnTo>
                        <a:pt x="0" y="58025"/>
                      </a:lnTo>
                      <a:lnTo>
                        <a:pt x="0" y="61793"/>
                      </a:lnTo>
                      <a:lnTo>
                        <a:pt x="51368" y="73599"/>
                      </a:lnTo>
                      <a:close/>
                    </a:path>
                  </a:pathLst>
                </a:custGeom>
                <a:solidFill>
                  <a:srgbClr val="BF893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9" name="Freeform: Shape 2388">
                  <a:extLst>
                    <a:ext uri="{FF2B5EF4-FFF2-40B4-BE49-F238E27FC236}">
                      <a16:creationId xmlns:a16="http://schemas.microsoft.com/office/drawing/2014/main" id="{23F6F4CE-14BE-4931-BF09-82F98A507394}"/>
                    </a:ext>
                  </a:extLst>
                </p:cNvPr>
                <p:cNvSpPr/>
                <p:nvPr/>
              </p:nvSpPr>
              <p:spPr>
                <a:xfrm>
                  <a:off x="4262188" y="2948062"/>
                  <a:ext cx="81510" cy="109267"/>
                </a:xfrm>
                <a:custGeom>
                  <a:avLst/>
                  <a:gdLst>
                    <a:gd name="connsiteX0" fmla="*/ 0 w 81510"/>
                    <a:gd name="connsiteY0" fmla="*/ 0 h 109267"/>
                    <a:gd name="connsiteX1" fmla="*/ 81511 w 81510"/>
                    <a:gd name="connsiteY1" fmla="*/ 47224 h 109267"/>
                    <a:gd name="connsiteX2" fmla="*/ 81511 w 81510"/>
                    <a:gd name="connsiteY2" fmla="*/ 109267 h 109267"/>
                    <a:gd name="connsiteX3" fmla="*/ 0 w 81510"/>
                    <a:gd name="connsiteY3" fmla="*/ 62295 h 109267"/>
                  </a:gdLst>
                  <a:ahLst/>
                  <a:cxnLst>
                    <a:cxn ang="0">
                      <a:pos x="connsiteX0" y="connsiteY0"/>
                    </a:cxn>
                    <a:cxn ang="0">
                      <a:pos x="connsiteX1" y="connsiteY1"/>
                    </a:cxn>
                    <a:cxn ang="0">
                      <a:pos x="connsiteX2" y="connsiteY2"/>
                    </a:cxn>
                    <a:cxn ang="0">
                      <a:pos x="connsiteX3" y="connsiteY3"/>
                    </a:cxn>
                  </a:cxnLst>
                  <a:rect l="l" t="t" r="r" b="b"/>
                  <a:pathLst>
                    <a:path w="81510" h="109267">
                      <a:moveTo>
                        <a:pt x="0" y="0"/>
                      </a:moveTo>
                      <a:lnTo>
                        <a:pt x="81511" y="47224"/>
                      </a:lnTo>
                      <a:lnTo>
                        <a:pt x="81511" y="109267"/>
                      </a:lnTo>
                      <a:lnTo>
                        <a:pt x="0" y="62295"/>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0" name="Freeform: Shape 2389">
                  <a:extLst>
                    <a:ext uri="{FF2B5EF4-FFF2-40B4-BE49-F238E27FC236}">
                      <a16:creationId xmlns:a16="http://schemas.microsoft.com/office/drawing/2014/main" id="{76C65991-0991-4B18-8347-18DDBED927C7}"/>
                    </a:ext>
                  </a:extLst>
                </p:cNvPr>
                <p:cNvSpPr/>
                <p:nvPr/>
              </p:nvSpPr>
              <p:spPr>
                <a:xfrm>
                  <a:off x="4303007" y="3000812"/>
                  <a:ext cx="32403" cy="40567"/>
                </a:xfrm>
                <a:custGeom>
                  <a:avLst/>
                  <a:gdLst>
                    <a:gd name="connsiteX0" fmla="*/ 0 w 32403"/>
                    <a:gd name="connsiteY0" fmla="*/ 0 h 40567"/>
                    <a:gd name="connsiteX1" fmla="*/ 32403 w 32403"/>
                    <a:gd name="connsiteY1" fmla="*/ 18839 h 40567"/>
                    <a:gd name="connsiteX2" fmla="*/ 32403 w 32403"/>
                    <a:gd name="connsiteY2" fmla="*/ 40567 h 40567"/>
                    <a:gd name="connsiteX3" fmla="*/ 0 w 32403"/>
                    <a:gd name="connsiteY3" fmla="*/ 21728 h 40567"/>
                  </a:gdLst>
                  <a:ahLst/>
                  <a:cxnLst>
                    <a:cxn ang="0">
                      <a:pos x="connsiteX0" y="connsiteY0"/>
                    </a:cxn>
                    <a:cxn ang="0">
                      <a:pos x="connsiteX1" y="connsiteY1"/>
                    </a:cxn>
                    <a:cxn ang="0">
                      <a:pos x="connsiteX2" y="connsiteY2"/>
                    </a:cxn>
                    <a:cxn ang="0">
                      <a:pos x="connsiteX3" y="connsiteY3"/>
                    </a:cxn>
                  </a:cxnLst>
                  <a:rect l="l" t="t" r="r" b="b"/>
                  <a:pathLst>
                    <a:path w="32403" h="40567">
                      <a:moveTo>
                        <a:pt x="0" y="0"/>
                      </a:moveTo>
                      <a:lnTo>
                        <a:pt x="32403" y="18839"/>
                      </a:lnTo>
                      <a:lnTo>
                        <a:pt x="32403" y="40567"/>
                      </a:lnTo>
                      <a:lnTo>
                        <a:pt x="0" y="21728"/>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91" name="Freeform: Shape 2390">
                <a:extLst>
                  <a:ext uri="{FF2B5EF4-FFF2-40B4-BE49-F238E27FC236}">
                    <a16:creationId xmlns:a16="http://schemas.microsoft.com/office/drawing/2014/main" id="{2FE68C63-57B1-4955-B5E2-315C4A6EB4B9}"/>
                  </a:ext>
                </a:extLst>
              </p:cNvPr>
              <p:cNvSpPr/>
              <p:nvPr/>
            </p:nvSpPr>
            <p:spPr>
              <a:xfrm>
                <a:off x="4295220" y="2967403"/>
                <a:ext cx="11931" cy="33282"/>
              </a:xfrm>
              <a:custGeom>
                <a:avLst/>
                <a:gdLst>
                  <a:gd name="connsiteX0" fmla="*/ 0 w 11931"/>
                  <a:gd name="connsiteY0" fmla="*/ 0 h 33282"/>
                  <a:gd name="connsiteX1" fmla="*/ 11680 w 11931"/>
                  <a:gd name="connsiteY1" fmla="*/ 6531 h 33282"/>
                  <a:gd name="connsiteX2" fmla="*/ 11931 w 11931"/>
                  <a:gd name="connsiteY2" fmla="*/ 33283 h 33282"/>
                  <a:gd name="connsiteX3" fmla="*/ 0 w 11931"/>
                  <a:gd name="connsiteY3" fmla="*/ 26124 h 33282"/>
                </a:gdLst>
                <a:ahLst/>
                <a:cxnLst>
                  <a:cxn ang="0">
                    <a:pos x="connsiteX0" y="connsiteY0"/>
                  </a:cxn>
                  <a:cxn ang="0">
                    <a:pos x="connsiteX1" y="connsiteY1"/>
                  </a:cxn>
                  <a:cxn ang="0">
                    <a:pos x="connsiteX2" y="connsiteY2"/>
                  </a:cxn>
                  <a:cxn ang="0">
                    <a:pos x="connsiteX3" y="connsiteY3"/>
                  </a:cxn>
                </a:cxnLst>
                <a:rect l="l" t="t" r="r" b="b"/>
                <a:pathLst>
                  <a:path w="11931" h="33282">
                    <a:moveTo>
                      <a:pt x="0" y="0"/>
                    </a:moveTo>
                    <a:lnTo>
                      <a:pt x="11680" y="6531"/>
                    </a:lnTo>
                    <a:lnTo>
                      <a:pt x="11931" y="33283"/>
                    </a:lnTo>
                    <a:lnTo>
                      <a:pt x="0" y="26124"/>
                    </a:lnTo>
                    <a:close/>
                  </a:path>
                </a:pathLst>
              </a:custGeom>
              <a:solidFill>
                <a:srgbClr val="C2BFB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392" name="Graphic 4">
                <a:extLst>
                  <a:ext uri="{FF2B5EF4-FFF2-40B4-BE49-F238E27FC236}">
                    <a16:creationId xmlns:a16="http://schemas.microsoft.com/office/drawing/2014/main" id="{84FB7ED1-A2DF-40A1-A747-5F7CF3F14040}"/>
                  </a:ext>
                </a:extLst>
              </p:cNvPr>
              <p:cNvGrpSpPr/>
              <p:nvPr/>
            </p:nvGrpSpPr>
            <p:grpSpPr>
              <a:xfrm>
                <a:off x="4306147" y="3006212"/>
                <a:ext cx="26123" cy="29766"/>
                <a:chOff x="4306147" y="3006212"/>
                <a:chExt cx="26123" cy="29766"/>
              </a:xfrm>
              <a:solidFill>
                <a:srgbClr val="000000"/>
              </a:solidFill>
            </p:grpSpPr>
            <p:sp>
              <p:nvSpPr>
                <p:cNvPr id="2393" name="Freeform: Shape 2392">
                  <a:extLst>
                    <a:ext uri="{FF2B5EF4-FFF2-40B4-BE49-F238E27FC236}">
                      <a16:creationId xmlns:a16="http://schemas.microsoft.com/office/drawing/2014/main" id="{364DC601-34FD-4ED9-929F-3608E0F5700E}"/>
                    </a:ext>
                  </a:extLst>
                </p:cNvPr>
                <p:cNvSpPr/>
                <p:nvPr/>
              </p:nvSpPr>
              <p:spPr>
                <a:xfrm>
                  <a:off x="4306147" y="3006212"/>
                  <a:ext cx="1381" cy="15448"/>
                </a:xfrm>
                <a:custGeom>
                  <a:avLst/>
                  <a:gdLst>
                    <a:gd name="connsiteX0" fmla="*/ 0 w 1381"/>
                    <a:gd name="connsiteY0" fmla="*/ 0 h 15448"/>
                    <a:gd name="connsiteX1" fmla="*/ 1382 w 1381"/>
                    <a:gd name="connsiteY1" fmla="*/ 754 h 15448"/>
                    <a:gd name="connsiteX2" fmla="*/ 1382 w 1381"/>
                    <a:gd name="connsiteY2" fmla="*/ 15448 h 15448"/>
                    <a:gd name="connsiteX3" fmla="*/ 0 w 1381"/>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754"/>
                      </a:lnTo>
                      <a:lnTo>
                        <a:pt x="1382"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4" name="Freeform: Shape 2393">
                  <a:extLst>
                    <a:ext uri="{FF2B5EF4-FFF2-40B4-BE49-F238E27FC236}">
                      <a16:creationId xmlns:a16="http://schemas.microsoft.com/office/drawing/2014/main" id="{C463DF32-89D7-44FE-BFA9-43E02A97FE7C}"/>
                    </a:ext>
                  </a:extLst>
                </p:cNvPr>
                <p:cNvSpPr/>
                <p:nvPr/>
              </p:nvSpPr>
              <p:spPr>
                <a:xfrm>
                  <a:off x="4308910" y="3007845"/>
                  <a:ext cx="1381" cy="15322"/>
                </a:xfrm>
                <a:custGeom>
                  <a:avLst/>
                  <a:gdLst>
                    <a:gd name="connsiteX0" fmla="*/ 0 w 1381"/>
                    <a:gd name="connsiteY0" fmla="*/ 0 h 15322"/>
                    <a:gd name="connsiteX1" fmla="*/ 1381 w 1381"/>
                    <a:gd name="connsiteY1" fmla="*/ 754 h 15322"/>
                    <a:gd name="connsiteX2" fmla="*/ 1381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1" y="754"/>
                      </a:lnTo>
                      <a:lnTo>
                        <a:pt x="1381"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5" name="Freeform: Shape 2394">
                  <a:extLst>
                    <a:ext uri="{FF2B5EF4-FFF2-40B4-BE49-F238E27FC236}">
                      <a16:creationId xmlns:a16="http://schemas.microsoft.com/office/drawing/2014/main" id="{9C315C11-B4F3-4D6D-9142-A66ACA650C51}"/>
                    </a:ext>
                  </a:extLst>
                </p:cNvPr>
                <p:cNvSpPr/>
                <p:nvPr/>
              </p:nvSpPr>
              <p:spPr>
                <a:xfrm>
                  <a:off x="4311673" y="3009478"/>
                  <a:ext cx="1256" cy="15322"/>
                </a:xfrm>
                <a:custGeom>
                  <a:avLst/>
                  <a:gdLst>
                    <a:gd name="connsiteX0" fmla="*/ 0 w 1256"/>
                    <a:gd name="connsiteY0" fmla="*/ 0 h 15322"/>
                    <a:gd name="connsiteX1" fmla="*/ 1256 w 1256"/>
                    <a:gd name="connsiteY1" fmla="*/ 754 h 15322"/>
                    <a:gd name="connsiteX2" fmla="*/ 1256 w 1256"/>
                    <a:gd name="connsiteY2" fmla="*/ 15323 h 15322"/>
                    <a:gd name="connsiteX3" fmla="*/ 0 w 1256"/>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256" h="15322">
                      <a:moveTo>
                        <a:pt x="0" y="0"/>
                      </a:moveTo>
                      <a:lnTo>
                        <a:pt x="1256" y="754"/>
                      </a:lnTo>
                      <a:lnTo>
                        <a:pt x="1256"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6" name="Freeform: Shape 2395">
                  <a:extLst>
                    <a:ext uri="{FF2B5EF4-FFF2-40B4-BE49-F238E27FC236}">
                      <a16:creationId xmlns:a16="http://schemas.microsoft.com/office/drawing/2014/main" id="{A91D606C-0F39-4454-8B76-00C7D53B6CA4}"/>
                    </a:ext>
                  </a:extLst>
                </p:cNvPr>
                <p:cNvSpPr/>
                <p:nvPr/>
              </p:nvSpPr>
              <p:spPr>
                <a:xfrm>
                  <a:off x="4314436" y="3010985"/>
                  <a:ext cx="1256" cy="15448"/>
                </a:xfrm>
                <a:custGeom>
                  <a:avLst/>
                  <a:gdLst>
                    <a:gd name="connsiteX0" fmla="*/ 0 w 1256"/>
                    <a:gd name="connsiteY0" fmla="*/ 0 h 15448"/>
                    <a:gd name="connsiteX1" fmla="*/ 1256 w 1256"/>
                    <a:gd name="connsiteY1" fmla="*/ 879 h 15448"/>
                    <a:gd name="connsiteX2" fmla="*/ 1256 w 1256"/>
                    <a:gd name="connsiteY2" fmla="*/ 15448 h 15448"/>
                    <a:gd name="connsiteX3" fmla="*/ 0 w 1256"/>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879"/>
                      </a:lnTo>
                      <a:lnTo>
                        <a:pt x="1256"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7" name="Freeform: Shape 2396">
                  <a:extLst>
                    <a:ext uri="{FF2B5EF4-FFF2-40B4-BE49-F238E27FC236}">
                      <a16:creationId xmlns:a16="http://schemas.microsoft.com/office/drawing/2014/main" id="{F1C53EAC-EA35-4043-A195-515D45887FCC}"/>
                    </a:ext>
                  </a:extLst>
                </p:cNvPr>
                <p:cNvSpPr/>
                <p:nvPr/>
              </p:nvSpPr>
              <p:spPr>
                <a:xfrm>
                  <a:off x="4317199" y="3012618"/>
                  <a:ext cx="1256" cy="15448"/>
                </a:xfrm>
                <a:custGeom>
                  <a:avLst/>
                  <a:gdLst>
                    <a:gd name="connsiteX0" fmla="*/ 0 w 1256"/>
                    <a:gd name="connsiteY0" fmla="*/ 0 h 15448"/>
                    <a:gd name="connsiteX1" fmla="*/ 1256 w 1256"/>
                    <a:gd name="connsiteY1" fmla="*/ 754 h 15448"/>
                    <a:gd name="connsiteX2" fmla="*/ 1256 w 1256"/>
                    <a:gd name="connsiteY2" fmla="*/ 15448 h 15448"/>
                    <a:gd name="connsiteX3" fmla="*/ 0 w 1256"/>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754"/>
                      </a:lnTo>
                      <a:lnTo>
                        <a:pt x="1256"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8" name="Freeform: Shape 2397">
                  <a:extLst>
                    <a:ext uri="{FF2B5EF4-FFF2-40B4-BE49-F238E27FC236}">
                      <a16:creationId xmlns:a16="http://schemas.microsoft.com/office/drawing/2014/main" id="{DCACAEAE-2CFC-4A4A-955B-05B2E97F6CFF}"/>
                    </a:ext>
                  </a:extLst>
                </p:cNvPr>
                <p:cNvSpPr/>
                <p:nvPr/>
              </p:nvSpPr>
              <p:spPr>
                <a:xfrm>
                  <a:off x="4319836" y="3014250"/>
                  <a:ext cx="1381" cy="15322"/>
                </a:xfrm>
                <a:custGeom>
                  <a:avLst/>
                  <a:gdLst>
                    <a:gd name="connsiteX0" fmla="*/ 0 w 1381"/>
                    <a:gd name="connsiteY0" fmla="*/ 0 h 15322"/>
                    <a:gd name="connsiteX1" fmla="*/ 1382 w 1381"/>
                    <a:gd name="connsiteY1" fmla="*/ 754 h 15322"/>
                    <a:gd name="connsiteX2" fmla="*/ 1382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2" y="754"/>
                      </a:lnTo>
                      <a:lnTo>
                        <a:pt x="1382"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9" name="Freeform: Shape 2398">
                  <a:extLst>
                    <a:ext uri="{FF2B5EF4-FFF2-40B4-BE49-F238E27FC236}">
                      <a16:creationId xmlns:a16="http://schemas.microsoft.com/office/drawing/2014/main" id="{FA855E50-811C-4ABC-8927-A9A7838C7B74}"/>
                    </a:ext>
                  </a:extLst>
                </p:cNvPr>
                <p:cNvSpPr/>
                <p:nvPr/>
              </p:nvSpPr>
              <p:spPr>
                <a:xfrm>
                  <a:off x="4322599" y="3015757"/>
                  <a:ext cx="1381" cy="15448"/>
                </a:xfrm>
                <a:custGeom>
                  <a:avLst/>
                  <a:gdLst>
                    <a:gd name="connsiteX0" fmla="*/ 0 w 1381"/>
                    <a:gd name="connsiteY0" fmla="*/ 0 h 15448"/>
                    <a:gd name="connsiteX1" fmla="*/ 1382 w 1381"/>
                    <a:gd name="connsiteY1" fmla="*/ 879 h 15448"/>
                    <a:gd name="connsiteX2" fmla="*/ 1382 w 1381"/>
                    <a:gd name="connsiteY2" fmla="*/ 15448 h 15448"/>
                    <a:gd name="connsiteX3" fmla="*/ 0 w 1381"/>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879"/>
                      </a:lnTo>
                      <a:lnTo>
                        <a:pt x="1382"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0" name="Freeform: Shape 2399">
                  <a:extLst>
                    <a:ext uri="{FF2B5EF4-FFF2-40B4-BE49-F238E27FC236}">
                      <a16:creationId xmlns:a16="http://schemas.microsoft.com/office/drawing/2014/main" id="{30A80B17-8F34-48F9-996E-C35D6AB57D7C}"/>
                    </a:ext>
                  </a:extLst>
                </p:cNvPr>
                <p:cNvSpPr/>
                <p:nvPr/>
              </p:nvSpPr>
              <p:spPr>
                <a:xfrm>
                  <a:off x="4325363" y="3017390"/>
                  <a:ext cx="1381" cy="15448"/>
                </a:xfrm>
                <a:custGeom>
                  <a:avLst/>
                  <a:gdLst>
                    <a:gd name="connsiteX0" fmla="*/ 0 w 1381"/>
                    <a:gd name="connsiteY0" fmla="*/ 0 h 15448"/>
                    <a:gd name="connsiteX1" fmla="*/ 1382 w 1381"/>
                    <a:gd name="connsiteY1" fmla="*/ 754 h 15448"/>
                    <a:gd name="connsiteX2" fmla="*/ 1382 w 1381"/>
                    <a:gd name="connsiteY2" fmla="*/ 15448 h 15448"/>
                    <a:gd name="connsiteX3" fmla="*/ 0 w 1381"/>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754"/>
                      </a:lnTo>
                      <a:lnTo>
                        <a:pt x="1382"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1" name="Freeform: Shape 2400">
                  <a:extLst>
                    <a:ext uri="{FF2B5EF4-FFF2-40B4-BE49-F238E27FC236}">
                      <a16:creationId xmlns:a16="http://schemas.microsoft.com/office/drawing/2014/main" id="{C3C1E38D-6AD4-4B01-B126-4E988A8F9A0B}"/>
                    </a:ext>
                  </a:extLst>
                </p:cNvPr>
                <p:cNvSpPr/>
                <p:nvPr/>
              </p:nvSpPr>
              <p:spPr>
                <a:xfrm>
                  <a:off x="4328126" y="3019023"/>
                  <a:ext cx="1381" cy="15322"/>
                </a:xfrm>
                <a:custGeom>
                  <a:avLst/>
                  <a:gdLst>
                    <a:gd name="connsiteX0" fmla="*/ 0 w 1381"/>
                    <a:gd name="connsiteY0" fmla="*/ 0 h 15322"/>
                    <a:gd name="connsiteX1" fmla="*/ 1382 w 1381"/>
                    <a:gd name="connsiteY1" fmla="*/ 754 h 15322"/>
                    <a:gd name="connsiteX2" fmla="*/ 1382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2" y="754"/>
                      </a:lnTo>
                      <a:lnTo>
                        <a:pt x="1382"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2" name="Freeform: Shape 2401">
                  <a:extLst>
                    <a:ext uri="{FF2B5EF4-FFF2-40B4-BE49-F238E27FC236}">
                      <a16:creationId xmlns:a16="http://schemas.microsoft.com/office/drawing/2014/main" id="{A36D620F-F846-4677-9935-0CAD40008BB4}"/>
                    </a:ext>
                  </a:extLst>
                </p:cNvPr>
                <p:cNvSpPr/>
                <p:nvPr/>
              </p:nvSpPr>
              <p:spPr>
                <a:xfrm>
                  <a:off x="4330889" y="3020656"/>
                  <a:ext cx="1381" cy="15322"/>
                </a:xfrm>
                <a:custGeom>
                  <a:avLst/>
                  <a:gdLst>
                    <a:gd name="connsiteX0" fmla="*/ 0 w 1381"/>
                    <a:gd name="connsiteY0" fmla="*/ 0 h 15322"/>
                    <a:gd name="connsiteX1" fmla="*/ 1381 w 1381"/>
                    <a:gd name="connsiteY1" fmla="*/ 754 h 15322"/>
                    <a:gd name="connsiteX2" fmla="*/ 1381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1" y="754"/>
                      </a:lnTo>
                      <a:lnTo>
                        <a:pt x="1381"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03" name="Graphic 4">
                <a:extLst>
                  <a:ext uri="{FF2B5EF4-FFF2-40B4-BE49-F238E27FC236}">
                    <a16:creationId xmlns:a16="http://schemas.microsoft.com/office/drawing/2014/main" id="{84FB7ED1-A2DF-40A1-A747-5F7CF3F14040}"/>
                  </a:ext>
                </a:extLst>
              </p:cNvPr>
              <p:cNvGrpSpPr/>
              <p:nvPr/>
            </p:nvGrpSpPr>
            <p:grpSpPr>
              <a:xfrm>
                <a:off x="4232171" y="2840804"/>
                <a:ext cx="283843" cy="166161"/>
                <a:chOff x="4232171" y="2840804"/>
                <a:chExt cx="283843" cy="166161"/>
              </a:xfrm>
              <a:solidFill>
                <a:schemeClr val="accent1"/>
              </a:solidFill>
            </p:grpSpPr>
            <p:sp>
              <p:nvSpPr>
                <p:cNvPr id="2404" name="Freeform: Shape 2403">
                  <a:extLst>
                    <a:ext uri="{FF2B5EF4-FFF2-40B4-BE49-F238E27FC236}">
                      <a16:creationId xmlns:a16="http://schemas.microsoft.com/office/drawing/2014/main" id="{A14195F1-E21E-4D79-ACAC-4CA4FBD34B9E}"/>
                    </a:ext>
                  </a:extLst>
                </p:cNvPr>
                <p:cNvSpPr/>
                <p:nvPr/>
              </p:nvSpPr>
              <p:spPr>
                <a:xfrm>
                  <a:off x="4232171" y="2882125"/>
                  <a:ext cx="150839" cy="69704"/>
                </a:xfrm>
                <a:custGeom>
                  <a:avLst/>
                  <a:gdLst>
                    <a:gd name="connsiteX0" fmla="*/ 0 w 150839"/>
                    <a:gd name="connsiteY0" fmla="*/ 32152 h 69704"/>
                    <a:gd name="connsiteX1" fmla="*/ 30017 w 150839"/>
                    <a:gd name="connsiteY1" fmla="*/ 69705 h 69704"/>
                    <a:gd name="connsiteX2" fmla="*/ 150839 w 150839"/>
                    <a:gd name="connsiteY2" fmla="*/ 0 h 69704"/>
                    <a:gd name="connsiteX3" fmla="*/ 0 w 150839"/>
                    <a:gd name="connsiteY3" fmla="*/ 28384 h 69704"/>
                  </a:gdLst>
                  <a:ahLst/>
                  <a:cxnLst>
                    <a:cxn ang="0">
                      <a:pos x="connsiteX0" y="connsiteY0"/>
                    </a:cxn>
                    <a:cxn ang="0">
                      <a:pos x="connsiteX1" y="connsiteY1"/>
                    </a:cxn>
                    <a:cxn ang="0">
                      <a:pos x="connsiteX2" y="connsiteY2"/>
                    </a:cxn>
                    <a:cxn ang="0">
                      <a:pos x="connsiteX3" y="connsiteY3"/>
                    </a:cxn>
                  </a:cxnLst>
                  <a:rect l="l" t="t" r="r" b="b"/>
                  <a:pathLst>
                    <a:path w="150839" h="69704">
                      <a:moveTo>
                        <a:pt x="0" y="32152"/>
                      </a:moveTo>
                      <a:lnTo>
                        <a:pt x="30017" y="69705"/>
                      </a:lnTo>
                      <a:lnTo>
                        <a:pt x="150839" y="0"/>
                      </a:lnTo>
                      <a:lnTo>
                        <a:pt x="0" y="28384"/>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5" name="Freeform: Shape 2404">
                  <a:extLst>
                    <a:ext uri="{FF2B5EF4-FFF2-40B4-BE49-F238E27FC236}">
                      <a16:creationId xmlns:a16="http://schemas.microsoft.com/office/drawing/2014/main" id="{2E93D8B9-0B21-4406-9039-5DDCC59E4E62}"/>
                    </a:ext>
                  </a:extLst>
                </p:cNvPr>
                <p:cNvSpPr/>
                <p:nvPr/>
              </p:nvSpPr>
              <p:spPr>
                <a:xfrm>
                  <a:off x="4232171" y="2840804"/>
                  <a:ext cx="150839" cy="107258"/>
                </a:xfrm>
                <a:custGeom>
                  <a:avLst/>
                  <a:gdLst>
                    <a:gd name="connsiteX0" fmla="*/ 0 w 150839"/>
                    <a:gd name="connsiteY0" fmla="*/ 69705 h 107258"/>
                    <a:gd name="connsiteX1" fmla="*/ 30017 w 150839"/>
                    <a:gd name="connsiteY1" fmla="*/ 107258 h 107258"/>
                    <a:gd name="connsiteX2" fmla="*/ 150839 w 150839"/>
                    <a:gd name="connsiteY2" fmla="*/ 37427 h 107258"/>
                    <a:gd name="connsiteX3" fmla="*/ 120822 w 150839"/>
                    <a:gd name="connsiteY3" fmla="*/ 0 h 107258"/>
                  </a:gdLst>
                  <a:ahLst/>
                  <a:cxnLst>
                    <a:cxn ang="0">
                      <a:pos x="connsiteX0" y="connsiteY0"/>
                    </a:cxn>
                    <a:cxn ang="0">
                      <a:pos x="connsiteX1" y="connsiteY1"/>
                    </a:cxn>
                    <a:cxn ang="0">
                      <a:pos x="connsiteX2" y="connsiteY2"/>
                    </a:cxn>
                    <a:cxn ang="0">
                      <a:pos x="connsiteX3" y="connsiteY3"/>
                    </a:cxn>
                  </a:cxnLst>
                  <a:rect l="l" t="t" r="r" b="b"/>
                  <a:pathLst>
                    <a:path w="150839" h="107258">
                      <a:moveTo>
                        <a:pt x="0" y="69705"/>
                      </a:moveTo>
                      <a:lnTo>
                        <a:pt x="30017" y="107258"/>
                      </a:lnTo>
                      <a:lnTo>
                        <a:pt x="150839" y="37427"/>
                      </a:lnTo>
                      <a:lnTo>
                        <a:pt x="120822" y="0"/>
                      </a:lnTo>
                      <a:close/>
                    </a:path>
                  </a:pathLst>
                </a:custGeom>
                <a:solidFill>
                  <a:srgbClr val="FFDC9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6" name="Freeform: Shape 2405">
                  <a:extLst>
                    <a:ext uri="{FF2B5EF4-FFF2-40B4-BE49-F238E27FC236}">
                      <a16:creationId xmlns:a16="http://schemas.microsoft.com/office/drawing/2014/main" id="{B8CCC412-DE40-4C26-971B-F817FEC48FCB}"/>
                    </a:ext>
                  </a:extLst>
                </p:cNvPr>
                <p:cNvSpPr/>
                <p:nvPr/>
              </p:nvSpPr>
              <p:spPr>
                <a:xfrm>
                  <a:off x="4343699" y="2925455"/>
                  <a:ext cx="172316" cy="81510"/>
                </a:xfrm>
                <a:custGeom>
                  <a:avLst/>
                  <a:gdLst>
                    <a:gd name="connsiteX0" fmla="*/ 172316 w 172316"/>
                    <a:gd name="connsiteY0" fmla="*/ 11806 h 81510"/>
                    <a:gd name="connsiteX1" fmla="*/ 120823 w 172316"/>
                    <a:gd name="connsiteY1" fmla="*/ 0 h 81510"/>
                    <a:gd name="connsiteX2" fmla="*/ 0 w 172316"/>
                    <a:gd name="connsiteY2" fmla="*/ 69831 h 81510"/>
                    <a:gd name="connsiteX3" fmla="*/ 51368 w 172316"/>
                    <a:gd name="connsiteY3" fmla="*/ 81511 h 81510"/>
                  </a:gdLst>
                  <a:ahLst/>
                  <a:cxnLst>
                    <a:cxn ang="0">
                      <a:pos x="connsiteX0" y="connsiteY0"/>
                    </a:cxn>
                    <a:cxn ang="0">
                      <a:pos x="connsiteX1" y="connsiteY1"/>
                    </a:cxn>
                    <a:cxn ang="0">
                      <a:pos x="connsiteX2" y="connsiteY2"/>
                    </a:cxn>
                    <a:cxn ang="0">
                      <a:pos x="connsiteX3" y="connsiteY3"/>
                    </a:cxn>
                  </a:cxnLst>
                  <a:rect l="l" t="t" r="r" b="b"/>
                  <a:pathLst>
                    <a:path w="172316" h="81510">
                      <a:moveTo>
                        <a:pt x="172316" y="11806"/>
                      </a:moveTo>
                      <a:lnTo>
                        <a:pt x="120823" y="0"/>
                      </a:lnTo>
                      <a:lnTo>
                        <a:pt x="0" y="69831"/>
                      </a:lnTo>
                      <a:lnTo>
                        <a:pt x="51368" y="81511"/>
                      </a:lnTo>
                      <a:close/>
                    </a:path>
                  </a:pathLst>
                </a:custGeom>
                <a:solidFill>
                  <a:srgbClr val="D6AC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407" name="Freeform: Shape 2406">
                <a:extLst>
                  <a:ext uri="{FF2B5EF4-FFF2-40B4-BE49-F238E27FC236}">
                    <a16:creationId xmlns:a16="http://schemas.microsoft.com/office/drawing/2014/main" id="{D2EB0C07-A5BB-4DAF-9112-AB3D0A5A904F}"/>
                  </a:ext>
                </a:extLst>
              </p:cNvPr>
              <p:cNvSpPr/>
              <p:nvPr/>
            </p:nvSpPr>
            <p:spPr>
              <a:xfrm>
                <a:off x="4262188" y="2878231"/>
                <a:ext cx="202333" cy="117054"/>
              </a:xfrm>
              <a:custGeom>
                <a:avLst/>
                <a:gdLst>
                  <a:gd name="connsiteX0" fmla="*/ 120822 w 202333"/>
                  <a:gd name="connsiteY0" fmla="*/ 0 h 117054"/>
                  <a:gd name="connsiteX1" fmla="*/ 202333 w 202333"/>
                  <a:gd name="connsiteY1" fmla="*/ 47224 h 117054"/>
                  <a:gd name="connsiteX2" fmla="*/ 81511 w 202333"/>
                  <a:gd name="connsiteY2" fmla="*/ 117054 h 117054"/>
                  <a:gd name="connsiteX3" fmla="*/ 0 w 202333"/>
                  <a:gd name="connsiteY3" fmla="*/ 69831 h 117054"/>
                </a:gdLst>
                <a:ahLst/>
                <a:cxnLst>
                  <a:cxn ang="0">
                    <a:pos x="connsiteX0" y="connsiteY0"/>
                  </a:cxn>
                  <a:cxn ang="0">
                    <a:pos x="connsiteX1" y="connsiteY1"/>
                  </a:cxn>
                  <a:cxn ang="0">
                    <a:pos x="connsiteX2" y="connsiteY2"/>
                  </a:cxn>
                  <a:cxn ang="0">
                    <a:pos x="connsiteX3" y="connsiteY3"/>
                  </a:cxn>
                </a:cxnLst>
                <a:rect l="l" t="t" r="r" b="b"/>
                <a:pathLst>
                  <a:path w="202333" h="117054">
                    <a:moveTo>
                      <a:pt x="120822" y="0"/>
                    </a:moveTo>
                    <a:lnTo>
                      <a:pt x="202333" y="47224"/>
                    </a:lnTo>
                    <a:lnTo>
                      <a:pt x="81511" y="117054"/>
                    </a:lnTo>
                    <a:lnTo>
                      <a:pt x="0" y="69831"/>
                    </a:lnTo>
                    <a:close/>
                  </a:path>
                </a:pathLst>
              </a:custGeom>
              <a:solidFill>
                <a:srgbClr val="EBC26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8" name="Freeform: Shape 2407">
                <a:extLst>
                  <a:ext uri="{FF2B5EF4-FFF2-40B4-BE49-F238E27FC236}">
                    <a16:creationId xmlns:a16="http://schemas.microsoft.com/office/drawing/2014/main" id="{D5A49BBA-CCB7-45C6-83FB-858ADE0A4E4C}"/>
                  </a:ext>
                </a:extLst>
              </p:cNvPr>
              <p:cNvSpPr/>
              <p:nvPr/>
            </p:nvSpPr>
            <p:spPr>
              <a:xfrm>
                <a:off x="4271985" y="2883883"/>
                <a:ext cx="182740" cy="105750"/>
              </a:xfrm>
              <a:custGeom>
                <a:avLst/>
                <a:gdLst>
                  <a:gd name="connsiteX0" fmla="*/ 0 w 182740"/>
                  <a:gd name="connsiteY0" fmla="*/ 64179 h 105750"/>
                  <a:gd name="connsiteX1" fmla="*/ 45591 w 182740"/>
                  <a:gd name="connsiteY1" fmla="*/ 90679 h 105750"/>
                  <a:gd name="connsiteX2" fmla="*/ 71715 w 182740"/>
                  <a:gd name="connsiteY2" fmla="*/ 105751 h 105750"/>
                  <a:gd name="connsiteX3" fmla="*/ 111026 w 182740"/>
                  <a:gd name="connsiteY3" fmla="*/ 83018 h 105750"/>
                  <a:gd name="connsiteX4" fmla="*/ 135014 w 182740"/>
                  <a:gd name="connsiteY4" fmla="*/ 69203 h 105750"/>
                  <a:gd name="connsiteX5" fmla="*/ 182740 w 182740"/>
                  <a:gd name="connsiteY5" fmla="*/ 41572 h 105750"/>
                  <a:gd name="connsiteX6" fmla="*/ 111026 w 182740"/>
                  <a:gd name="connsiteY6" fmla="*/ 0 h 10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740" h="105750">
                    <a:moveTo>
                      <a:pt x="0" y="64179"/>
                    </a:moveTo>
                    <a:lnTo>
                      <a:pt x="45591" y="90679"/>
                    </a:lnTo>
                    <a:lnTo>
                      <a:pt x="71715" y="105751"/>
                    </a:lnTo>
                    <a:lnTo>
                      <a:pt x="111026" y="83018"/>
                    </a:lnTo>
                    <a:lnTo>
                      <a:pt x="135014" y="69203"/>
                    </a:lnTo>
                    <a:lnTo>
                      <a:pt x="182740" y="41572"/>
                    </a:lnTo>
                    <a:lnTo>
                      <a:pt x="111026" y="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9" name="Freeform: Shape 2408">
                <a:extLst>
                  <a:ext uri="{FF2B5EF4-FFF2-40B4-BE49-F238E27FC236}">
                    <a16:creationId xmlns:a16="http://schemas.microsoft.com/office/drawing/2014/main" id="{42F4F771-1B35-43A0-BAA8-E33025DC403A}"/>
                  </a:ext>
                </a:extLst>
              </p:cNvPr>
              <p:cNvSpPr/>
              <p:nvPr/>
            </p:nvSpPr>
            <p:spPr>
              <a:xfrm>
                <a:off x="4271985" y="2883883"/>
                <a:ext cx="111025" cy="105750"/>
              </a:xfrm>
              <a:custGeom>
                <a:avLst/>
                <a:gdLst>
                  <a:gd name="connsiteX0" fmla="*/ 0 w 111025"/>
                  <a:gd name="connsiteY0" fmla="*/ 64179 h 105750"/>
                  <a:gd name="connsiteX1" fmla="*/ 45591 w 111025"/>
                  <a:gd name="connsiteY1" fmla="*/ 90679 h 105750"/>
                  <a:gd name="connsiteX2" fmla="*/ 71715 w 111025"/>
                  <a:gd name="connsiteY2" fmla="*/ 105751 h 105750"/>
                  <a:gd name="connsiteX3" fmla="*/ 111026 w 111025"/>
                  <a:gd name="connsiteY3" fmla="*/ 83018 h 105750"/>
                  <a:gd name="connsiteX4" fmla="*/ 111026 w 111025"/>
                  <a:gd name="connsiteY4" fmla="*/ 0 h 10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25" h="105750">
                    <a:moveTo>
                      <a:pt x="0" y="64179"/>
                    </a:moveTo>
                    <a:lnTo>
                      <a:pt x="45591" y="90679"/>
                    </a:lnTo>
                    <a:lnTo>
                      <a:pt x="71715" y="105751"/>
                    </a:lnTo>
                    <a:lnTo>
                      <a:pt x="111026" y="83018"/>
                    </a:lnTo>
                    <a:lnTo>
                      <a:pt x="111026" y="0"/>
                    </a:lnTo>
                    <a:close/>
                  </a:path>
                </a:pathLst>
              </a:custGeom>
              <a:solidFill>
                <a:srgbClr val="C997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0" name="Freeform: Shape 2409">
                <a:extLst>
                  <a:ext uri="{FF2B5EF4-FFF2-40B4-BE49-F238E27FC236}">
                    <a16:creationId xmlns:a16="http://schemas.microsoft.com/office/drawing/2014/main" id="{320052F8-D155-47DE-A57E-D66F701C6CE7}"/>
                  </a:ext>
                </a:extLst>
              </p:cNvPr>
              <p:cNvSpPr/>
              <p:nvPr/>
            </p:nvSpPr>
            <p:spPr>
              <a:xfrm>
                <a:off x="4308910" y="2932865"/>
                <a:ext cx="98089" cy="56768"/>
              </a:xfrm>
              <a:custGeom>
                <a:avLst/>
                <a:gdLst>
                  <a:gd name="connsiteX0" fmla="*/ 0 w 98089"/>
                  <a:gd name="connsiteY0" fmla="*/ 36548 h 56768"/>
                  <a:gd name="connsiteX1" fmla="*/ 8666 w 98089"/>
                  <a:gd name="connsiteY1" fmla="*/ 41698 h 56768"/>
                  <a:gd name="connsiteX2" fmla="*/ 34790 w 98089"/>
                  <a:gd name="connsiteY2" fmla="*/ 56769 h 56768"/>
                  <a:gd name="connsiteX3" fmla="*/ 74101 w 98089"/>
                  <a:gd name="connsiteY3" fmla="*/ 34036 h 56768"/>
                  <a:gd name="connsiteX4" fmla="*/ 98090 w 98089"/>
                  <a:gd name="connsiteY4" fmla="*/ 20221 h 56768"/>
                  <a:gd name="connsiteX5" fmla="*/ 74101 w 98089"/>
                  <a:gd name="connsiteY5" fmla="*/ 6280 h 56768"/>
                  <a:gd name="connsiteX6" fmla="*/ 63300 w 98089"/>
                  <a:gd name="connsiteY6" fmla="*/ 0 h 56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89" h="56768">
                    <a:moveTo>
                      <a:pt x="0" y="36548"/>
                    </a:moveTo>
                    <a:lnTo>
                      <a:pt x="8666" y="41698"/>
                    </a:lnTo>
                    <a:lnTo>
                      <a:pt x="34790" y="56769"/>
                    </a:lnTo>
                    <a:lnTo>
                      <a:pt x="74101" y="34036"/>
                    </a:lnTo>
                    <a:lnTo>
                      <a:pt x="98090" y="20221"/>
                    </a:lnTo>
                    <a:lnTo>
                      <a:pt x="74101" y="6280"/>
                    </a:lnTo>
                    <a:lnTo>
                      <a:pt x="63300" y="0"/>
                    </a:lnTo>
                    <a:close/>
                  </a:path>
                </a:pathLst>
              </a:custGeom>
              <a:solidFill>
                <a:srgbClr val="B3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1" name="Freeform: Shape 2410">
                <a:extLst>
                  <a:ext uri="{FF2B5EF4-FFF2-40B4-BE49-F238E27FC236}">
                    <a16:creationId xmlns:a16="http://schemas.microsoft.com/office/drawing/2014/main" id="{EC6CE567-0A6E-41DE-8DEF-66CB9FDD434B}"/>
                  </a:ext>
                </a:extLst>
              </p:cNvPr>
              <p:cNvSpPr/>
              <p:nvPr/>
            </p:nvSpPr>
            <p:spPr>
              <a:xfrm>
                <a:off x="4343699" y="2995285"/>
                <a:ext cx="51368" cy="15573"/>
              </a:xfrm>
              <a:custGeom>
                <a:avLst/>
                <a:gdLst>
                  <a:gd name="connsiteX0" fmla="*/ 51368 w 51368"/>
                  <a:gd name="connsiteY0" fmla="*/ 11680 h 15573"/>
                  <a:gd name="connsiteX1" fmla="*/ 51368 w 51368"/>
                  <a:gd name="connsiteY1" fmla="*/ 15574 h 15573"/>
                  <a:gd name="connsiteX2" fmla="*/ 0 w 51368"/>
                  <a:gd name="connsiteY2" fmla="*/ 3768 h 15573"/>
                  <a:gd name="connsiteX3" fmla="*/ 0 w 51368"/>
                  <a:gd name="connsiteY3" fmla="*/ 0 h 15573"/>
                </a:gdLst>
                <a:ahLst/>
                <a:cxnLst>
                  <a:cxn ang="0">
                    <a:pos x="connsiteX0" y="connsiteY0"/>
                  </a:cxn>
                  <a:cxn ang="0">
                    <a:pos x="connsiteX1" y="connsiteY1"/>
                  </a:cxn>
                  <a:cxn ang="0">
                    <a:pos x="connsiteX2" y="connsiteY2"/>
                  </a:cxn>
                  <a:cxn ang="0">
                    <a:pos x="connsiteX3" y="connsiteY3"/>
                  </a:cxn>
                </a:cxnLst>
                <a:rect l="l" t="t" r="r" b="b"/>
                <a:pathLst>
                  <a:path w="51368" h="15573">
                    <a:moveTo>
                      <a:pt x="51368" y="11680"/>
                    </a:moveTo>
                    <a:lnTo>
                      <a:pt x="51368" y="15574"/>
                    </a:lnTo>
                    <a:lnTo>
                      <a:pt x="0" y="3768"/>
                    </a:lnTo>
                    <a:lnTo>
                      <a:pt x="0" y="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412" name="Freeform: Shape 2411">
              <a:extLst>
                <a:ext uri="{FF2B5EF4-FFF2-40B4-BE49-F238E27FC236}">
                  <a16:creationId xmlns:a16="http://schemas.microsoft.com/office/drawing/2014/main" id="{77CD8D32-0E5E-4600-960C-66B79A8A53EF}"/>
                </a:ext>
              </a:extLst>
            </p:cNvPr>
            <p:cNvSpPr/>
            <p:nvPr/>
          </p:nvSpPr>
          <p:spPr>
            <a:xfrm>
              <a:off x="4622771" y="2972427"/>
              <a:ext cx="23611" cy="49861"/>
            </a:xfrm>
            <a:custGeom>
              <a:avLst/>
              <a:gdLst>
                <a:gd name="connsiteX0" fmla="*/ 1130 w 23611"/>
                <a:gd name="connsiteY0" fmla="*/ 2261 h 49861"/>
                <a:gd name="connsiteX1" fmla="*/ 10801 w 23611"/>
                <a:gd name="connsiteY1" fmla="*/ 8541 h 49861"/>
                <a:gd name="connsiteX2" fmla="*/ 19467 w 23611"/>
                <a:gd name="connsiteY2" fmla="*/ 23863 h 49861"/>
                <a:gd name="connsiteX3" fmla="*/ 11178 w 23611"/>
                <a:gd name="connsiteY3" fmla="*/ 48731 h 49861"/>
                <a:gd name="connsiteX4" fmla="*/ 14444 w 23611"/>
                <a:gd name="connsiteY4" fmla="*/ 49861 h 49861"/>
                <a:gd name="connsiteX5" fmla="*/ 23612 w 23611"/>
                <a:gd name="connsiteY5" fmla="*/ 23863 h 49861"/>
                <a:gd name="connsiteX6" fmla="*/ 14695 w 23611"/>
                <a:gd name="connsiteY6" fmla="*/ 7410 h 49861"/>
                <a:gd name="connsiteX7" fmla="*/ 2512 w 23611"/>
                <a:gd name="connsiteY7" fmla="*/ 0 h 49861"/>
                <a:gd name="connsiteX8" fmla="*/ 0 w 23611"/>
                <a:gd name="connsiteY8" fmla="*/ 1382 h 49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11" h="49861">
                  <a:moveTo>
                    <a:pt x="1130" y="2261"/>
                  </a:moveTo>
                  <a:lnTo>
                    <a:pt x="10801" y="8541"/>
                  </a:lnTo>
                  <a:lnTo>
                    <a:pt x="19467" y="23863"/>
                  </a:lnTo>
                  <a:lnTo>
                    <a:pt x="11178" y="48731"/>
                  </a:lnTo>
                  <a:lnTo>
                    <a:pt x="14444" y="49861"/>
                  </a:lnTo>
                  <a:lnTo>
                    <a:pt x="23612" y="23863"/>
                  </a:lnTo>
                  <a:lnTo>
                    <a:pt x="14695" y="7410"/>
                  </a:lnTo>
                  <a:lnTo>
                    <a:pt x="2512" y="0"/>
                  </a:lnTo>
                  <a:lnTo>
                    <a:pt x="0" y="1382"/>
                  </a:lnTo>
                  <a:close/>
                </a:path>
              </a:pathLst>
            </a:custGeom>
            <a:solidFill>
              <a:srgbClr val="7F7C7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3" name="Freeform: Shape 2412">
              <a:extLst>
                <a:ext uri="{FF2B5EF4-FFF2-40B4-BE49-F238E27FC236}">
                  <a16:creationId xmlns:a16="http://schemas.microsoft.com/office/drawing/2014/main" id="{A7D3D293-2539-402A-8C7F-9E3E9FFEA0BD}"/>
                </a:ext>
              </a:extLst>
            </p:cNvPr>
            <p:cNvSpPr/>
            <p:nvPr/>
          </p:nvSpPr>
          <p:spPr>
            <a:xfrm>
              <a:off x="4764191" y="3019902"/>
              <a:ext cx="118687" cy="89423"/>
            </a:xfrm>
            <a:custGeom>
              <a:avLst/>
              <a:gdLst>
                <a:gd name="connsiteX0" fmla="*/ 0 w 118687"/>
                <a:gd name="connsiteY0" fmla="*/ 89424 h 89423"/>
                <a:gd name="connsiteX1" fmla="*/ 118687 w 118687"/>
                <a:gd name="connsiteY1" fmla="*/ 20974 h 89423"/>
                <a:gd name="connsiteX2" fmla="*/ 118687 w 118687"/>
                <a:gd name="connsiteY2" fmla="*/ 0 h 89423"/>
                <a:gd name="connsiteX3" fmla="*/ 0 w 118687"/>
                <a:gd name="connsiteY3" fmla="*/ 68575 h 89423"/>
              </a:gdLst>
              <a:ahLst/>
              <a:cxnLst>
                <a:cxn ang="0">
                  <a:pos x="connsiteX0" y="connsiteY0"/>
                </a:cxn>
                <a:cxn ang="0">
                  <a:pos x="connsiteX1" y="connsiteY1"/>
                </a:cxn>
                <a:cxn ang="0">
                  <a:pos x="connsiteX2" y="connsiteY2"/>
                </a:cxn>
                <a:cxn ang="0">
                  <a:pos x="connsiteX3" y="connsiteY3"/>
                </a:cxn>
              </a:cxnLst>
              <a:rect l="l" t="t" r="r" b="b"/>
              <a:pathLst>
                <a:path w="118687" h="89423">
                  <a:moveTo>
                    <a:pt x="0" y="89424"/>
                  </a:moveTo>
                  <a:lnTo>
                    <a:pt x="118687" y="20974"/>
                  </a:lnTo>
                  <a:lnTo>
                    <a:pt x="118687" y="0"/>
                  </a:lnTo>
                  <a:lnTo>
                    <a:pt x="0" y="68575"/>
                  </a:lnTo>
                  <a:close/>
                </a:path>
              </a:pathLst>
            </a:custGeom>
            <a:solidFill>
              <a:srgbClr val="3C3E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4" name="Freeform: Shape 2413">
              <a:extLst>
                <a:ext uri="{FF2B5EF4-FFF2-40B4-BE49-F238E27FC236}">
                  <a16:creationId xmlns:a16="http://schemas.microsoft.com/office/drawing/2014/main" id="{B7CE97AB-463E-4466-A8BB-F4A9C5AF5FF3}"/>
                </a:ext>
              </a:extLst>
            </p:cNvPr>
            <p:cNvSpPr/>
            <p:nvPr/>
          </p:nvSpPr>
          <p:spPr>
            <a:xfrm>
              <a:off x="4645504" y="3019902"/>
              <a:ext cx="118687" cy="89423"/>
            </a:xfrm>
            <a:custGeom>
              <a:avLst/>
              <a:gdLst>
                <a:gd name="connsiteX0" fmla="*/ 118687 w 118687"/>
                <a:gd name="connsiteY0" fmla="*/ 89424 h 89423"/>
                <a:gd name="connsiteX1" fmla="*/ 0 w 118687"/>
                <a:gd name="connsiteY1" fmla="*/ 20974 h 89423"/>
                <a:gd name="connsiteX2" fmla="*/ 0 w 118687"/>
                <a:gd name="connsiteY2" fmla="*/ 0 h 89423"/>
                <a:gd name="connsiteX3" fmla="*/ 118687 w 118687"/>
                <a:gd name="connsiteY3" fmla="*/ 68575 h 89423"/>
              </a:gdLst>
              <a:ahLst/>
              <a:cxnLst>
                <a:cxn ang="0">
                  <a:pos x="connsiteX0" y="connsiteY0"/>
                </a:cxn>
                <a:cxn ang="0">
                  <a:pos x="connsiteX1" y="connsiteY1"/>
                </a:cxn>
                <a:cxn ang="0">
                  <a:pos x="connsiteX2" y="connsiteY2"/>
                </a:cxn>
                <a:cxn ang="0">
                  <a:pos x="connsiteX3" y="connsiteY3"/>
                </a:cxn>
              </a:cxnLst>
              <a:rect l="l" t="t" r="r" b="b"/>
              <a:pathLst>
                <a:path w="118687" h="89423">
                  <a:moveTo>
                    <a:pt x="118687" y="89424"/>
                  </a:moveTo>
                  <a:lnTo>
                    <a:pt x="0" y="20974"/>
                  </a:lnTo>
                  <a:lnTo>
                    <a:pt x="0" y="0"/>
                  </a:lnTo>
                  <a:lnTo>
                    <a:pt x="118687" y="68575"/>
                  </a:lnTo>
                  <a:close/>
                </a:path>
              </a:pathLst>
            </a:custGeom>
            <a:solidFill>
              <a:srgbClr val="555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5" name="Freeform: Shape 2414">
              <a:extLst>
                <a:ext uri="{FF2B5EF4-FFF2-40B4-BE49-F238E27FC236}">
                  <a16:creationId xmlns:a16="http://schemas.microsoft.com/office/drawing/2014/main" id="{0FD3D148-9BE2-438D-A452-52A0529375F7}"/>
                </a:ext>
              </a:extLst>
            </p:cNvPr>
            <p:cNvSpPr/>
            <p:nvPr/>
          </p:nvSpPr>
          <p:spPr>
            <a:xfrm>
              <a:off x="4645504" y="2951453"/>
              <a:ext cx="237374" cy="137023"/>
            </a:xfrm>
            <a:custGeom>
              <a:avLst/>
              <a:gdLst>
                <a:gd name="connsiteX0" fmla="*/ 237375 w 237374"/>
                <a:gd name="connsiteY0" fmla="*/ 68575 h 137023"/>
                <a:gd name="connsiteX1" fmla="*/ 118687 w 237374"/>
                <a:gd name="connsiteY1" fmla="*/ 137024 h 137023"/>
                <a:gd name="connsiteX2" fmla="*/ 0 w 237374"/>
                <a:gd name="connsiteY2" fmla="*/ 68449 h 137023"/>
                <a:gd name="connsiteX3" fmla="*/ 118687 w 237374"/>
                <a:gd name="connsiteY3" fmla="*/ 0 h 137023"/>
              </a:gdLst>
              <a:ahLst/>
              <a:cxnLst>
                <a:cxn ang="0">
                  <a:pos x="connsiteX0" y="connsiteY0"/>
                </a:cxn>
                <a:cxn ang="0">
                  <a:pos x="connsiteX1" y="connsiteY1"/>
                </a:cxn>
                <a:cxn ang="0">
                  <a:pos x="connsiteX2" y="connsiteY2"/>
                </a:cxn>
                <a:cxn ang="0">
                  <a:pos x="connsiteX3" y="connsiteY3"/>
                </a:cxn>
              </a:cxnLst>
              <a:rect l="l" t="t" r="r" b="b"/>
              <a:pathLst>
                <a:path w="237374" h="137023">
                  <a:moveTo>
                    <a:pt x="237375" y="68575"/>
                  </a:moveTo>
                  <a:lnTo>
                    <a:pt x="118687" y="137024"/>
                  </a:lnTo>
                  <a:lnTo>
                    <a:pt x="0" y="68449"/>
                  </a:lnTo>
                  <a:lnTo>
                    <a:pt x="118687" y="0"/>
                  </a:lnTo>
                  <a:close/>
                </a:path>
              </a:pathLst>
            </a:custGeom>
            <a:solidFill>
              <a:srgbClr val="858B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416" name="Graphic 4">
              <a:extLst>
                <a:ext uri="{FF2B5EF4-FFF2-40B4-BE49-F238E27FC236}">
                  <a16:creationId xmlns:a16="http://schemas.microsoft.com/office/drawing/2014/main" id="{84FB7ED1-A2DF-40A1-A747-5F7CF3F14040}"/>
                </a:ext>
              </a:extLst>
            </p:cNvPr>
            <p:cNvGrpSpPr/>
            <p:nvPr/>
          </p:nvGrpSpPr>
          <p:grpSpPr>
            <a:xfrm>
              <a:off x="4687327" y="2969413"/>
              <a:ext cx="153602" cy="93191"/>
              <a:chOff x="4687327" y="2969413"/>
              <a:chExt cx="153602" cy="93191"/>
            </a:xfrm>
            <a:solidFill>
              <a:schemeClr val="accent1"/>
            </a:solidFill>
          </p:grpSpPr>
          <p:sp>
            <p:nvSpPr>
              <p:cNvPr id="2417" name="Freeform: Shape 2416">
                <a:extLst>
                  <a:ext uri="{FF2B5EF4-FFF2-40B4-BE49-F238E27FC236}">
                    <a16:creationId xmlns:a16="http://schemas.microsoft.com/office/drawing/2014/main" id="{4F815464-2C27-43E3-9CBA-897207AB0D29}"/>
                  </a:ext>
                </a:extLst>
              </p:cNvPr>
              <p:cNvSpPr/>
              <p:nvPr/>
            </p:nvSpPr>
            <p:spPr>
              <a:xfrm>
                <a:off x="4687327" y="2975944"/>
                <a:ext cx="153476" cy="86660"/>
              </a:xfrm>
              <a:custGeom>
                <a:avLst/>
                <a:gdLst>
                  <a:gd name="connsiteX0" fmla="*/ 126 w 153476"/>
                  <a:gd name="connsiteY0" fmla="*/ 34790 h 86660"/>
                  <a:gd name="connsiteX1" fmla="*/ 4647 w 153476"/>
                  <a:gd name="connsiteY1" fmla="*/ 28636 h 86660"/>
                  <a:gd name="connsiteX2" fmla="*/ 76738 w 153476"/>
                  <a:gd name="connsiteY2" fmla="*/ 0 h 86660"/>
                  <a:gd name="connsiteX3" fmla="*/ 148830 w 153476"/>
                  <a:gd name="connsiteY3" fmla="*/ 28636 h 86660"/>
                  <a:gd name="connsiteX4" fmla="*/ 153351 w 153476"/>
                  <a:gd name="connsiteY4" fmla="*/ 34790 h 86660"/>
                  <a:gd name="connsiteX5" fmla="*/ 153351 w 153476"/>
                  <a:gd name="connsiteY5" fmla="*/ 42326 h 86660"/>
                  <a:gd name="connsiteX6" fmla="*/ 153351 w 153476"/>
                  <a:gd name="connsiteY6" fmla="*/ 42326 h 86660"/>
                  <a:gd name="connsiteX7" fmla="*/ 153477 w 153476"/>
                  <a:gd name="connsiteY7" fmla="*/ 43330 h 86660"/>
                  <a:gd name="connsiteX8" fmla="*/ 76738 w 153476"/>
                  <a:gd name="connsiteY8" fmla="*/ 86661 h 86660"/>
                  <a:gd name="connsiteX9" fmla="*/ 0 w 153476"/>
                  <a:gd name="connsiteY9" fmla="*/ 43330 h 86660"/>
                  <a:gd name="connsiteX10" fmla="*/ 126 w 153476"/>
                  <a:gd name="connsiteY10" fmla="*/ 42326 h 86660"/>
                  <a:gd name="connsiteX11" fmla="*/ 0 w 153476"/>
                  <a:gd name="connsiteY11" fmla="*/ 42326 h 86660"/>
                  <a:gd name="connsiteX12" fmla="*/ 0 w 153476"/>
                  <a:gd name="connsiteY12" fmla="*/ 34790 h 86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476" h="86660">
                    <a:moveTo>
                      <a:pt x="126" y="34790"/>
                    </a:moveTo>
                    <a:lnTo>
                      <a:pt x="4647" y="28636"/>
                    </a:lnTo>
                    <a:cubicBezTo>
                      <a:pt x="15323" y="11932"/>
                      <a:pt x="43456" y="0"/>
                      <a:pt x="76738" y="0"/>
                    </a:cubicBezTo>
                    <a:cubicBezTo>
                      <a:pt x="110021" y="0"/>
                      <a:pt x="138280" y="11932"/>
                      <a:pt x="148830" y="28636"/>
                    </a:cubicBezTo>
                    <a:lnTo>
                      <a:pt x="153351" y="34790"/>
                    </a:lnTo>
                    <a:lnTo>
                      <a:pt x="153351" y="42326"/>
                    </a:lnTo>
                    <a:lnTo>
                      <a:pt x="153351" y="42326"/>
                    </a:lnTo>
                    <a:cubicBezTo>
                      <a:pt x="153351" y="42702"/>
                      <a:pt x="153477" y="42954"/>
                      <a:pt x="153477" y="43330"/>
                    </a:cubicBezTo>
                    <a:cubicBezTo>
                      <a:pt x="153477" y="67319"/>
                      <a:pt x="119189" y="86661"/>
                      <a:pt x="76738" y="86661"/>
                    </a:cubicBezTo>
                    <a:cubicBezTo>
                      <a:pt x="34413" y="86661"/>
                      <a:pt x="0" y="67319"/>
                      <a:pt x="0" y="43330"/>
                    </a:cubicBezTo>
                    <a:cubicBezTo>
                      <a:pt x="0" y="42954"/>
                      <a:pt x="126" y="42702"/>
                      <a:pt x="126" y="42326"/>
                    </a:cubicBezTo>
                    <a:lnTo>
                      <a:pt x="0" y="42326"/>
                    </a:lnTo>
                    <a:lnTo>
                      <a:pt x="0" y="34790"/>
                    </a:lnTo>
                    <a:close/>
                  </a:path>
                </a:pathLst>
              </a:custGeom>
              <a:solidFill>
                <a:srgbClr val="3C3E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8" name="Freeform: Shape 2417">
                <a:extLst>
                  <a:ext uri="{FF2B5EF4-FFF2-40B4-BE49-F238E27FC236}">
                    <a16:creationId xmlns:a16="http://schemas.microsoft.com/office/drawing/2014/main" id="{27B89118-50E8-4C4F-8F72-90CADD8E47EA}"/>
                  </a:ext>
                </a:extLst>
              </p:cNvPr>
              <p:cNvSpPr/>
              <p:nvPr/>
            </p:nvSpPr>
            <p:spPr>
              <a:xfrm>
                <a:off x="4687452" y="2969413"/>
                <a:ext cx="153476" cy="86660"/>
              </a:xfrm>
              <a:custGeom>
                <a:avLst/>
                <a:gdLst>
                  <a:gd name="connsiteX0" fmla="*/ 153477 w 153476"/>
                  <a:gd name="connsiteY0" fmla="*/ 43330 h 86660"/>
                  <a:gd name="connsiteX1" fmla="*/ 76738 w 153476"/>
                  <a:gd name="connsiteY1" fmla="*/ 86660 h 86660"/>
                  <a:gd name="connsiteX2" fmla="*/ 0 w 153476"/>
                  <a:gd name="connsiteY2" fmla="*/ 43330 h 86660"/>
                  <a:gd name="connsiteX3" fmla="*/ 76738 w 153476"/>
                  <a:gd name="connsiteY3" fmla="*/ 0 h 86660"/>
                  <a:gd name="connsiteX4" fmla="*/ 153477 w 153476"/>
                  <a:gd name="connsiteY4" fmla="*/ 43330 h 86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76" h="86660">
                    <a:moveTo>
                      <a:pt x="153477" y="43330"/>
                    </a:moveTo>
                    <a:cubicBezTo>
                      <a:pt x="153477" y="67261"/>
                      <a:pt x="119120" y="86660"/>
                      <a:pt x="76738" y="86660"/>
                    </a:cubicBezTo>
                    <a:cubicBezTo>
                      <a:pt x="34357" y="86660"/>
                      <a:pt x="0" y="67261"/>
                      <a:pt x="0" y="43330"/>
                    </a:cubicBezTo>
                    <a:cubicBezTo>
                      <a:pt x="0" y="19400"/>
                      <a:pt x="34357" y="0"/>
                      <a:pt x="76738" y="0"/>
                    </a:cubicBezTo>
                    <a:cubicBezTo>
                      <a:pt x="119120" y="0"/>
                      <a:pt x="153477" y="19400"/>
                      <a:pt x="153477" y="43330"/>
                    </a:cubicBezTo>
                    <a:close/>
                  </a:path>
                </a:pathLst>
              </a:custGeom>
              <a:solidFill>
                <a:srgbClr val="9398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19" name="Graphic 4">
              <a:extLst>
                <a:ext uri="{FF2B5EF4-FFF2-40B4-BE49-F238E27FC236}">
                  <a16:creationId xmlns:a16="http://schemas.microsoft.com/office/drawing/2014/main" id="{84FB7ED1-A2DF-40A1-A747-5F7CF3F14040}"/>
                </a:ext>
              </a:extLst>
            </p:cNvPr>
            <p:cNvGrpSpPr/>
            <p:nvPr/>
          </p:nvGrpSpPr>
          <p:grpSpPr>
            <a:xfrm>
              <a:off x="4758790" y="3063609"/>
              <a:ext cx="15322" cy="14569"/>
              <a:chOff x="4758790" y="3063609"/>
              <a:chExt cx="15322" cy="14569"/>
            </a:xfrm>
            <a:solidFill>
              <a:schemeClr val="accent1"/>
            </a:solidFill>
          </p:grpSpPr>
          <p:grpSp>
            <p:nvGrpSpPr>
              <p:cNvPr id="2420" name="Graphic 4">
                <a:extLst>
                  <a:ext uri="{FF2B5EF4-FFF2-40B4-BE49-F238E27FC236}">
                    <a16:creationId xmlns:a16="http://schemas.microsoft.com/office/drawing/2014/main" id="{84FB7ED1-A2DF-40A1-A747-5F7CF3F14040}"/>
                  </a:ext>
                </a:extLst>
              </p:cNvPr>
              <p:cNvGrpSpPr/>
              <p:nvPr/>
            </p:nvGrpSpPr>
            <p:grpSpPr>
              <a:xfrm>
                <a:off x="4758790" y="3064739"/>
                <a:ext cx="15322" cy="13438"/>
                <a:chOff x="4758790" y="3064739"/>
                <a:chExt cx="15322" cy="13438"/>
              </a:xfrm>
              <a:solidFill>
                <a:schemeClr val="accent1"/>
              </a:solidFill>
            </p:grpSpPr>
            <p:sp>
              <p:nvSpPr>
                <p:cNvPr id="2421" name="Freeform: Shape 2420">
                  <a:extLst>
                    <a:ext uri="{FF2B5EF4-FFF2-40B4-BE49-F238E27FC236}">
                      <a16:creationId xmlns:a16="http://schemas.microsoft.com/office/drawing/2014/main" id="{8EE951EA-95B9-4877-BA9F-B8E96B67BCFB}"/>
                    </a:ext>
                  </a:extLst>
                </p:cNvPr>
                <p:cNvSpPr/>
                <p:nvPr/>
              </p:nvSpPr>
              <p:spPr>
                <a:xfrm>
                  <a:off x="4758790" y="3064991"/>
                  <a:ext cx="15322" cy="13187"/>
                </a:xfrm>
                <a:custGeom>
                  <a:avLst/>
                  <a:gdLst>
                    <a:gd name="connsiteX0" fmla="*/ 0 w 15322"/>
                    <a:gd name="connsiteY0" fmla="*/ 4019 h 13187"/>
                    <a:gd name="connsiteX1" fmla="*/ 0 w 15322"/>
                    <a:gd name="connsiteY1" fmla="*/ 8917 h 13187"/>
                    <a:gd name="connsiteX2" fmla="*/ 4270 w 15322"/>
                    <a:gd name="connsiteY2" fmla="*/ 12811 h 13187"/>
                    <a:gd name="connsiteX3" fmla="*/ 5149 w 15322"/>
                    <a:gd name="connsiteY3" fmla="*/ 13062 h 13187"/>
                    <a:gd name="connsiteX4" fmla="*/ 5526 w 15322"/>
                    <a:gd name="connsiteY4" fmla="*/ 13062 h 13187"/>
                    <a:gd name="connsiteX5" fmla="*/ 5777 w 15322"/>
                    <a:gd name="connsiteY5" fmla="*/ 13062 h 13187"/>
                    <a:gd name="connsiteX6" fmla="*/ 6028 w 15322"/>
                    <a:gd name="connsiteY6" fmla="*/ 13062 h 13187"/>
                    <a:gd name="connsiteX7" fmla="*/ 6782 w 15322"/>
                    <a:gd name="connsiteY7" fmla="*/ 13187 h 13187"/>
                    <a:gd name="connsiteX8" fmla="*/ 7159 w 15322"/>
                    <a:gd name="connsiteY8" fmla="*/ 13187 h 13187"/>
                    <a:gd name="connsiteX9" fmla="*/ 7661 w 15322"/>
                    <a:gd name="connsiteY9" fmla="*/ 13187 h 13187"/>
                    <a:gd name="connsiteX10" fmla="*/ 8289 w 15322"/>
                    <a:gd name="connsiteY10" fmla="*/ 13187 h 13187"/>
                    <a:gd name="connsiteX11" fmla="*/ 8666 w 15322"/>
                    <a:gd name="connsiteY11" fmla="*/ 13187 h 13187"/>
                    <a:gd name="connsiteX12" fmla="*/ 9420 w 15322"/>
                    <a:gd name="connsiteY12" fmla="*/ 13062 h 13187"/>
                    <a:gd name="connsiteX13" fmla="*/ 9671 w 15322"/>
                    <a:gd name="connsiteY13" fmla="*/ 13062 h 13187"/>
                    <a:gd name="connsiteX14" fmla="*/ 9922 w 15322"/>
                    <a:gd name="connsiteY14" fmla="*/ 13062 h 13187"/>
                    <a:gd name="connsiteX15" fmla="*/ 10299 w 15322"/>
                    <a:gd name="connsiteY15" fmla="*/ 13062 h 13187"/>
                    <a:gd name="connsiteX16" fmla="*/ 11178 w 15322"/>
                    <a:gd name="connsiteY16" fmla="*/ 12811 h 13187"/>
                    <a:gd name="connsiteX17" fmla="*/ 11555 w 15322"/>
                    <a:gd name="connsiteY17" fmla="*/ 12685 h 13187"/>
                    <a:gd name="connsiteX18" fmla="*/ 12308 w 15322"/>
                    <a:gd name="connsiteY18" fmla="*/ 12434 h 13187"/>
                    <a:gd name="connsiteX19" fmla="*/ 12559 w 15322"/>
                    <a:gd name="connsiteY19" fmla="*/ 12308 h 13187"/>
                    <a:gd name="connsiteX20" fmla="*/ 13187 w 15322"/>
                    <a:gd name="connsiteY20" fmla="*/ 12057 h 13187"/>
                    <a:gd name="connsiteX21" fmla="*/ 13439 w 15322"/>
                    <a:gd name="connsiteY21" fmla="*/ 11931 h 13187"/>
                    <a:gd name="connsiteX22" fmla="*/ 14192 w 15322"/>
                    <a:gd name="connsiteY22" fmla="*/ 11429 h 13187"/>
                    <a:gd name="connsiteX23" fmla="*/ 14318 w 15322"/>
                    <a:gd name="connsiteY23" fmla="*/ 11303 h 13187"/>
                    <a:gd name="connsiteX24" fmla="*/ 14694 w 15322"/>
                    <a:gd name="connsiteY24" fmla="*/ 10927 h 13187"/>
                    <a:gd name="connsiteX25" fmla="*/ 14946 w 15322"/>
                    <a:gd name="connsiteY25" fmla="*/ 10550 h 13187"/>
                    <a:gd name="connsiteX26" fmla="*/ 15071 w 15322"/>
                    <a:gd name="connsiteY26" fmla="*/ 10299 h 13187"/>
                    <a:gd name="connsiteX27" fmla="*/ 15197 w 15322"/>
                    <a:gd name="connsiteY27" fmla="*/ 10048 h 13187"/>
                    <a:gd name="connsiteX28" fmla="*/ 15197 w 15322"/>
                    <a:gd name="connsiteY28" fmla="*/ 10048 h 13187"/>
                    <a:gd name="connsiteX29" fmla="*/ 15197 w 15322"/>
                    <a:gd name="connsiteY29" fmla="*/ 9922 h 13187"/>
                    <a:gd name="connsiteX30" fmla="*/ 15197 w 15322"/>
                    <a:gd name="connsiteY30" fmla="*/ 9796 h 13187"/>
                    <a:gd name="connsiteX31" fmla="*/ 15323 w 15322"/>
                    <a:gd name="connsiteY31" fmla="*/ 9168 h 13187"/>
                    <a:gd name="connsiteX32" fmla="*/ 15323 w 15322"/>
                    <a:gd name="connsiteY32" fmla="*/ 4270 h 13187"/>
                    <a:gd name="connsiteX33" fmla="*/ 12057 w 15322"/>
                    <a:gd name="connsiteY33" fmla="*/ 754 h 13187"/>
                    <a:gd name="connsiteX34" fmla="*/ 11303 w 15322"/>
                    <a:gd name="connsiteY34" fmla="*/ 502 h 13187"/>
                    <a:gd name="connsiteX35" fmla="*/ 10927 w 15322"/>
                    <a:gd name="connsiteY35" fmla="*/ 377 h 13187"/>
                    <a:gd name="connsiteX36" fmla="*/ 7536 w 15322"/>
                    <a:gd name="connsiteY36" fmla="*/ 0 h 13187"/>
                    <a:gd name="connsiteX37" fmla="*/ 4144 w 15322"/>
                    <a:gd name="connsiteY37" fmla="*/ 377 h 13187"/>
                    <a:gd name="connsiteX38" fmla="*/ 0 w 15322"/>
                    <a:gd name="connsiteY38" fmla="*/ 401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322" h="13187">
                      <a:moveTo>
                        <a:pt x="0" y="4019"/>
                      </a:moveTo>
                      <a:lnTo>
                        <a:pt x="0" y="8917"/>
                      </a:lnTo>
                      <a:cubicBezTo>
                        <a:pt x="0" y="10550"/>
                        <a:pt x="1758" y="12057"/>
                        <a:pt x="4270" y="12811"/>
                      </a:cubicBezTo>
                      <a:cubicBezTo>
                        <a:pt x="4521" y="12936"/>
                        <a:pt x="4773" y="12936"/>
                        <a:pt x="5149" y="13062"/>
                      </a:cubicBezTo>
                      <a:cubicBezTo>
                        <a:pt x="5275" y="13062"/>
                        <a:pt x="5400" y="13062"/>
                        <a:pt x="5526" y="13062"/>
                      </a:cubicBezTo>
                      <a:cubicBezTo>
                        <a:pt x="5652" y="13062"/>
                        <a:pt x="5652" y="13062"/>
                        <a:pt x="5777" y="13062"/>
                      </a:cubicBezTo>
                      <a:cubicBezTo>
                        <a:pt x="5903" y="13062"/>
                        <a:pt x="5903" y="13062"/>
                        <a:pt x="6028" y="13062"/>
                      </a:cubicBezTo>
                      <a:cubicBezTo>
                        <a:pt x="6280" y="13062"/>
                        <a:pt x="6531" y="13062"/>
                        <a:pt x="6782" y="13187"/>
                      </a:cubicBezTo>
                      <a:cubicBezTo>
                        <a:pt x="6908" y="13187"/>
                        <a:pt x="7033" y="13187"/>
                        <a:pt x="7159" y="13187"/>
                      </a:cubicBezTo>
                      <a:cubicBezTo>
                        <a:pt x="7284" y="13187"/>
                        <a:pt x="7536" y="13187"/>
                        <a:pt x="7661" y="13187"/>
                      </a:cubicBezTo>
                      <a:cubicBezTo>
                        <a:pt x="7913" y="13187"/>
                        <a:pt x="8038" y="13187"/>
                        <a:pt x="8289" y="13187"/>
                      </a:cubicBezTo>
                      <a:cubicBezTo>
                        <a:pt x="8415" y="13187"/>
                        <a:pt x="8540" y="13187"/>
                        <a:pt x="8666" y="13187"/>
                      </a:cubicBezTo>
                      <a:cubicBezTo>
                        <a:pt x="8917" y="13187"/>
                        <a:pt x="9168" y="13187"/>
                        <a:pt x="9420" y="13062"/>
                      </a:cubicBezTo>
                      <a:cubicBezTo>
                        <a:pt x="9545" y="13062"/>
                        <a:pt x="9671" y="13062"/>
                        <a:pt x="9671" y="13062"/>
                      </a:cubicBezTo>
                      <a:cubicBezTo>
                        <a:pt x="9796" y="13062"/>
                        <a:pt x="9796" y="13062"/>
                        <a:pt x="9922" y="13062"/>
                      </a:cubicBezTo>
                      <a:cubicBezTo>
                        <a:pt x="10047" y="13062"/>
                        <a:pt x="10173" y="13062"/>
                        <a:pt x="10299" y="13062"/>
                      </a:cubicBezTo>
                      <a:cubicBezTo>
                        <a:pt x="10550" y="13062"/>
                        <a:pt x="10927" y="12936"/>
                        <a:pt x="11178" y="12811"/>
                      </a:cubicBezTo>
                      <a:cubicBezTo>
                        <a:pt x="11303" y="12811"/>
                        <a:pt x="11429" y="12685"/>
                        <a:pt x="11555" y="12685"/>
                      </a:cubicBezTo>
                      <a:cubicBezTo>
                        <a:pt x="11806" y="12559"/>
                        <a:pt x="12057" y="12559"/>
                        <a:pt x="12308" y="12434"/>
                      </a:cubicBezTo>
                      <a:cubicBezTo>
                        <a:pt x="12434" y="12434"/>
                        <a:pt x="12434" y="12308"/>
                        <a:pt x="12559" y="12308"/>
                      </a:cubicBezTo>
                      <a:cubicBezTo>
                        <a:pt x="12811" y="12183"/>
                        <a:pt x="12936" y="12057"/>
                        <a:pt x="13187" y="12057"/>
                      </a:cubicBezTo>
                      <a:cubicBezTo>
                        <a:pt x="13313" y="12057"/>
                        <a:pt x="13313" y="11931"/>
                        <a:pt x="13439" y="11931"/>
                      </a:cubicBezTo>
                      <a:cubicBezTo>
                        <a:pt x="13690" y="11806"/>
                        <a:pt x="13941" y="11555"/>
                        <a:pt x="14192" y="11429"/>
                      </a:cubicBezTo>
                      <a:cubicBezTo>
                        <a:pt x="14192" y="11429"/>
                        <a:pt x="14318" y="11303"/>
                        <a:pt x="14318" y="11303"/>
                      </a:cubicBezTo>
                      <a:cubicBezTo>
                        <a:pt x="14443" y="11178"/>
                        <a:pt x="14569" y="11052"/>
                        <a:pt x="14694" y="10927"/>
                      </a:cubicBezTo>
                      <a:cubicBezTo>
                        <a:pt x="14820" y="10801"/>
                        <a:pt x="14946" y="10675"/>
                        <a:pt x="14946" y="10550"/>
                      </a:cubicBezTo>
                      <a:cubicBezTo>
                        <a:pt x="14946" y="10424"/>
                        <a:pt x="15071" y="10299"/>
                        <a:pt x="15071" y="10299"/>
                      </a:cubicBezTo>
                      <a:cubicBezTo>
                        <a:pt x="15071" y="10173"/>
                        <a:pt x="15197" y="10048"/>
                        <a:pt x="15197" y="10048"/>
                      </a:cubicBezTo>
                      <a:cubicBezTo>
                        <a:pt x="15197" y="10048"/>
                        <a:pt x="15197" y="10048"/>
                        <a:pt x="15197" y="10048"/>
                      </a:cubicBezTo>
                      <a:cubicBezTo>
                        <a:pt x="15197" y="10048"/>
                        <a:pt x="15197" y="9922"/>
                        <a:pt x="15197" y="9922"/>
                      </a:cubicBezTo>
                      <a:cubicBezTo>
                        <a:pt x="15197" y="9922"/>
                        <a:pt x="15197" y="9922"/>
                        <a:pt x="15197" y="9796"/>
                      </a:cubicBezTo>
                      <a:cubicBezTo>
                        <a:pt x="15197" y="9545"/>
                        <a:pt x="15323" y="9420"/>
                        <a:pt x="15323" y="9168"/>
                      </a:cubicBezTo>
                      <a:lnTo>
                        <a:pt x="15323" y="4270"/>
                      </a:lnTo>
                      <a:cubicBezTo>
                        <a:pt x="15323" y="2763"/>
                        <a:pt x="14067" y="1507"/>
                        <a:pt x="12057" y="754"/>
                      </a:cubicBezTo>
                      <a:cubicBezTo>
                        <a:pt x="11806" y="628"/>
                        <a:pt x="11555" y="628"/>
                        <a:pt x="11303" y="502"/>
                      </a:cubicBezTo>
                      <a:cubicBezTo>
                        <a:pt x="11178" y="502"/>
                        <a:pt x="11052" y="377"/>
                        <a:pt x="10927" y="377"/>
                      </a:cubicBezTo>
                      <a:cubicBezTo>
                        <a:pt x="9922" y="126"/>
                        <a:pt x="8791" y="0"/>
                        <a:pt x="7536" y="0"/>
                      </a:cubicBezTo>
                      <a:cubicBezTo>
                        <a:pt x="6280" y="0"/>
                        <a:pt x="5149" y="126"/>
                        <a:pt x="4144" y="377"/>
                      </a:cubicBezTo>
                      <a:cubicBezTo>
                        <a:pt x="1758" y="879"/>
                        <a:pt x="0" y="2386"/>
                        <a:pt x="0" y="4019"/>
                      </a:cubicBezTo>
                      <a:close/>
                    </a:path>
                  </a:pathLst>
                </a:custGeom>
                <a:solidFill>
                  <a:srgbClr val="59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2" name="Freeform: Shape 2421">
                  <a:extLst>
                    <a:ext uri="{FF2B5EF4-FFF2-40B4-BE49-F238E27FC236}">
                      <a16:creationId xmlns:a16="http://schemas.microsoft.com/office/drawing/2014/main" id="{7C2CFF08-6283-4F87-A460-C77BA5F73EB1}"/>
                    </a:ext>
                  </a:extLst>
                </p:cNvPr>
                <p:cNvSpPr/>
                <p:nvPr/>
              </p:nvSpPr>
              <p:spPr>
                <a:xfrm>
                  <a:off x="4758790" y="3065242"/>
                  <a:ext cx="4395" cy="12559"/>
                </a:xfrm>
                <a:custGeom>
                  <a:avLst/>
                  <a:gdLst>
                    <a:gd name="connsiteX0" fmla="*/ 4270 w 4395"/>
                    <a:gd name="connsiteY0" fmla="*/ 0 h 12559"/>
                    <a:gd name="connsiteX1" fmla="*/ 4396 w 4395"/>
                    <a:gd name="connsiteY1" fmla="*/ 0 h 12559"/>
                    <a:gd name="connsiteX2" fmla="*/ 4396 w 4395"/>
                    <a:gd name="connsiteY2" fmla="*/ 12559 h 12559"/>
                    <a:gd name="connsiteX3" fmla="*/ 4270 w 4395"/>
                    <a:gd name="connsiteY3" fmla="*/ 12559 h 12559"/>
                    <a:gd name="connsiteX4" fmla="*/ 0 w 4395"/>
                    <a:gd name="connsiteY4" fmla="*/ 8666 h 12559"/>
                    <a:gd name="connsiteX5" fmla="*/ 0 w 4395"/>
                    <a:gd name="connsiteY5" fmla="*/ 3768 h 12559"/>
                    <a:gd name="connsiteX6" fmla="*/ 4270 w 4395"/>
                    <a:gd name="connsiteY6"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5" h="12559">
                      <a:moveTo>
                        <a:pt x="4270" y="0"/>
                      </a:moveTo>
                      <a:cubicBezTo>
                        <a:pt x="4270" y="0"/>
                        <a:pt x="4396" y="0"/>
                        <a:pt x="4396" y="0"/>
                      </a:cubicBezTo>
                      <a:lnTo>
                        <a:pt x="4396" y="12559"/>
                      </a:lnTo>
                      <a:cubicBezTo>
                        <a:pt x="4396" y="12559"/>
                        <a:pt x="4270" y="12559"/>
                        <a:pt x="4270" y="12559"/>
                      </a:cubicBezTo>
                      <a:cubicBezTo>
                        <a:pt x="1758" y="11806"/>
                        <a:pt x="0" y="10424"/>
                        <a:pt x="0" y="8666"/>
                      </a:cubicBezTo>
                      <a:lnTo>
                        <a:pt x="0" y="3768"/>
                      </a:lnTo>
                      <a:cubicBezTo>
                        <a:pt x="0" y="2135"/>
                        <a:pt x="1758" y="628"/>
                        <a:pt x="4270" y="0"/>
                      </a:cubicBezTo>
                      <a:close/>
                    </a:path>
                  </a:pathLst>
                </a:custGeom>
                <a:solidFill>
                  <a:srgbClr val="6B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3" name="Freeform: Shape 2422">
                  <a:extLst>
                    <a:ext uri="{FF2B5EF4-FFF2-40B4-BE49-F238E27FC236}">
                      <a16:creationId xmlns:a16="http://schemas.microsoft.com/office/drawing/2014/main" id="{66178F4B-E6D6-40BD-B5E5-193E58D83CB4}"/>
                    </a:ext>
                  </a:extLst>
                </p:cNvPr>
                <p:cNvSpPr/>
                <p:nvPr/>
              </p:nvSpPr>
              <p:spPr>
                <a:xfrm>
                  <a:off x="4767582" y="3064865"/>
                  <a:ext cx="6531" cy="12936"/>
                </a:xfrm>
                <a:custGeom>
                  <a:avLst/>
                  <a:gdLst>
                    <a:gd name="connsiteX0" fmla="*/ 0 w 6531"/>
                    <a:gd name="connsiteY0" fmla="*/ 0 h 12936"/>
                    <a:gd name="connsiteX1" fmla="*/ 2135 w 6531"/>
                    <a:gd name="connsiteY1" fmla="*/ 251 h 12936"/>
                    <a:gd name="connsiteX2" fmla="*/ 2512 w 6531"/>
                    <a:gd name="connsiteY2" fmla="*/ 377 h 12936"/>
                    <a:gd name="connsiteX3" fmla="*/ 3266 w 6531"/>
                    <a:gd name="connsiteY3" fmla="*/ 628 h 12936"/>
                    <a:gd name="connsiteX4" fmla="*/ 6531 w 6531"/>
                    <a:gd name="connsiteY4" fmla="*/ 4145 h 12936"/>
                    <a:gd name="connsiteX5" fmla="*/ 6531 w 6531"/>
                    <a:gd name="connsiteY5" fmla="*/ 9043 h 12936"/>
                    <a:gd name="connsiteX6" fmla="*/ 6405 w 6531"/>
                    <a:gd name="connsiteY6" fmla="*/ 9671 h 12936"/>
                    <a:gd name="connsiteX7" fmla="*/ 6405 w 6531"/>
                    <a:gd name="connsiteY7" fmla="*/ 9796 h 12936"/>
                    <a:gd name="connsiteX8" fmla="*/ 6405 w 6531"/>
                    <a:gd name="connsiteY8" fmla="*/ 9922 h 12936"/>
                    <a:gd name="connsiteX9" fmla="*/ 6405 w 6531"/>
                    <a:gd name="connsiteY9" fmla="*/ 9922 h 12936"/>
                    <a:gd name="connsiteX10" fmla="*/ 6280 w 6531"/>
                    <a:gd name="connsiteY10" fmla="*/ 10173 h 12936"/>
                    <a:gd name="connsiteX11" fmla="*/ 6154 w 6531"/>
                    <a:gd name="connsiteY11" fmla="*/ 10424 h 12936"/>
                    <a:gd name="connsiteX12" fmla="*/ 5903 w 6531"/>
                    <a:gd name="connsiteY12" fmla="*/ 10801 h 12936"/>
                    <a:gd name="connsiteX13" fmla="*/ 5526 w 6531"/>
                    <a:gd name="connsiteY13" fmla="*/ 11178 h 12936"/>
                    <a:gd name="connsiteX14" fmla="*/ 5401 w 6531"/>
                    <a:gd name="connsiteY14" fmla="*/ 11304 h 12936"/>
                    <a:gd name="connsiteX15" fmla="*/ 4647 w 6531"/>
                    <a:gd name="connsiteY15" fmla="*/ 11806 h 12936"/>
                    <a:gd name="connsiteX16" fmla="*/ 4396 w 6531"/>
                    <a:gd name="connsiteY16" fmla="*/ 11932 h 12936"/>
                    <a:gd name="connsiteX17" fmla="*/ 3768 w 6531"/>
                    <a:gd name="connsiteY17" fmla="*/ 12183 h 12936"/>
                    <a:gd name="connsiteX18" fmla="*/ 3517 w 6531"/>
                    <a:gd name="connsiteY18" fmla="*/ 12308 h 12936"/>
                    <a:gd name="connsiteX19" fmla="*/ 2763 w 6531"/>
                    <a:gd name="connsiteY19" fmla="*/ 12559 h 12936"/>
                    <a:gd name="connsiteX20" fmla="*/ 2386 w 6531"/>
                    <a:gd name="connsiteY20" fmla="*/ 12685 h 12936"/>
                    <a:gd name="connsiteX21" fmla="*/ 1507 w 6531"/>
                    <a:gd name="connsiteY21" fmla="*/ 12936 h 12936"/>
                    <a:gd name="connsiteX22" fmla="*/ 1130 w 6531"/>
                    <a:gd name="connsiteY22" fmla="*/ 12936 h 12936"/>
                    <a:gd name="connsiteX23" fmla="*/ 879 w 6531"/>
                    <a:gd name="connsiteY23" fmla="*/ 12936 h 12936"/>
                    <a:gd name="connsiteX24" fmla="*/ 628 w 6531"/>
                    <a:gd name="connsiteY24" fmla="*/ 12936 h 12936"/>
                    <a:gd name="connsiteX25" fmla="*/ 251 w 6531"/>
                    <a:gd name="connsiteY25" fmla="*/ 12936 h 12936"/>
                    <a:gd name="connsiteX26" fmla="*/ 251 w 6531"/>
                    <a:gd name="connsiteY26" fmla="*/ 0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531" h="12936">
                      <a:moveTo>
                        <a:pt x="0" y="0"/>
                      </a:moveTo>
                      <a:cubicBezTo>
                        <a:pt x="754" y="126"/>
                        <a:pt x="1507" y="126"/>
                        <a:pt x="2135" y="251"/>
                      </a:cubicBezTo>
                      <a:cubicBezTo>
                        <a:pt x="2261" y="251"/>
                        <a:pt x="2386" y="377"/>
                        <a:pt x="2512" y="377"/>
                      </a:cubicBezTo>
                      <a:cubicBezTo>
                        <a:pt x="2763" y="502"/>
                        <a:pt x="3015" y="502"/>
                        <a:pt x="3266" y="628"/>
                      </a:cubicBezTo>
                      <a:cubicBezTo>
                        <a:pt x="5149" y="1382"/>
                        <a:pt x="6531" y="2638"/>
                        <a:pt x="6531" y="4145"/>
                      </a:cubicBezTo>
                      <a:lnTo>
                        <a:pt x="6531" y="9043"/>
                      </a:lnTo>
                      <a:cubicBezTo>
                        <a:pt x="6531" y="9294"/>
                        <a:pt x="6531" y="9420"/>
                        <a:pt x="6405" y="9671"/>
                      </a:cubicBezTo>
                      <a:cubicBezTo>
                        <a:pt x="6405" y="9671"/>
                        <a:pt x="6405" y="9671"/>
                        <a:pt x="6405" y="9796"/>
                      </a:cubicBezTo>
                      <a:cubicBezTo>
                        <a:pt x="6405" y="9796"/>
                        <a:pt x="6405" y="9922"/>
                        <a:pt x="6405" y="9922"/>
                      </a:cubicBezTo>
                      <a:cubicBezTo>
                        <a:pt x="6405" y="9922"/>
                        <a:pt x="6405" y="9922"/>
                        <a:pt x="6405" y="9922"/>
                      </a:cubicBezTo>
                      <a:cubicBezTo>
                        <a:pt x="6405" y="10048"/>
                        <a:pt x="6280" y="10173"/>
                        <a:pt x="6280" y="10173"/>
                      </a:cubicBezTo>
                      <a:cubicBezTo>
                        <a:pt x="6280" y="10299"/>
                        <a:pt x="6154" y="10424"/>
                        <a:pt x="6154" y="10424"/>
                      </a:cubicBezTo>
                      <a:cubicBezTo>
                        <a:pt x="6029" y="10550"/>
                        <a:pt x="6029" y="10676"/>
                        <a:pt x="5903" y="10801"/>
                      </a:cubicBezTo>
                      <a:cubicBezTo>
                        <a:pt x="5778" y="10927"/>
                        <a:pt x="5652" y="11052"/>
                        <a:pt x="5526" y="11178"/>
                      </a:cubicBezTo>
                      <a:cubicBezTo>
                        <a:pt x="5526" y="11178"/>
                        <a:pt x="5401" y="11304"/>
                        <a:pt x="5401" y="11304"/>
                      </a:cubicBezTo>
                      <a:cubicBezTo>
                        <a:pt x="5149" y="11429"/>
                        <a:pt x="4898" y="11680"/>
                        <a:pt x="4647" y="11806"/>
                      </a:cubicBezTo>
                      <a:cubicBezTo>
                        <a:pt x="4522" y="11806"/>
                        <a:pt x="4522" y="11932"/>
                        <a:pt x="4396" y="11932"/>
                      </a:cubicBezTo>
                      <a:cubicBezTo>
                        <a:pt x="4270" y="12057"/>
                        <a:pt x="4019" y="12183"/>
                        <a:pt x="3768" y="12183"/>
                      </a:cubicBezTo>
                      <a:cubicBezTo>
                        <a:pt x="3642" y="12183"/>
                        <a:pt x="3642" y="12308"/>
                        <a:pt x="3517" y="12308"/>
                      </a:cubicBezTo>
                      <a:cubicBezTo>
                        <a:pt x="3266" y="12434"/>
                        <a:pt x="3015" y="12559"/>
                        <a:pt x="2763" y="12559"/>
                      </a:cubicBezTo>
                      <a:cubicBezTo>
                        <a:pt x="2638" y="12559"/>
                        <a:pt x="2512" y="12685"/>
                        <a:pt x="2386" y="12685"/>
                      </a:cubicBezTo>
                      <a:cubicBezTo>
                        <a:pt x="2135" y="12811"/>
                        <a:pt x="1884" y="12811"/>
                        <a:pt x="1507" y="12936"/>
                      </a:cubicBezTo>
                      <a:cubicBezTo>
                        <a:pt x="1382" y="12936"/>
                        <a:pt x="1256" y="12936"/>
                        <a:pt x="1130" y="12936"/>
                      </a:cubicBezTo>
                      <a:cubicBezTo>
                        <a:pt x="1005" y="12936"/>
                        <a:pt x="1005" y="12936"/>
                        <a:pt x="879" y="12936"/>
                      </a:cubicBezTo>
                      <a:cubicBezTo>
                        <a:pt x="754" y="12936"/>
                        <a:pt x="628" y="12936"/>
                        <a:pt x="628" y="12936"/>
                      </a:cubicBezTo>
                      <a:cubicBezTo>
                        <a:pt x="502" y="12936"/>
                        <a:pt x="377" y="12936"/>
                        <a:pt x="251" y="12936"/>
                      </a:cubicBezTo>
                      <a:lnTo>
                        <a:pt x="251" y="0"/>
                      </a:lnTo>
                      <a:close/>
                    </a:path>
                  </a:pathLst>
                </a:custGeom>
                <a:solidFill>
                  <a:srgbClr val="47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4" name="Freeform: Shape 2423">
                  <a:extLst>
                    <a:ext uri="{FF2B5EF4-FFF2-40B4-BE49-F238E27FC236}">
                      <a16:creationId xmlns:a16="http://schemas.microsoft.com/office/drawing/2014/main" id="{73B61706-44C5-4025-BE8C-8DE418252ABB}"/>
                    </a:ext>
                  </a:extLst>
                </p:cNvPr>
                <p:cNvSpPr/>
                <p:nvPr/>
              </p:nvSpPr>
              <p:spPr>
                <a:xfrm>
                  <a:off x="4771601" y="3066121"/>
                  <a:ext cx="2386" cy="10675"/>
                </a:xfrm>
                <a:custGeom>
                  <a:avLst/>
                  <a:gdLst>
                    <a:gd name="connsiteX0" fmla="*/ 0 w 2386"/>
                    <a:gd name="connsiteY0" fmla="*/ 0 h 10675"/>
                    <a:gd name="connsiteX1" fmla="*/ 2386 w 2386"/>
                    <a:gd name="connsiteY1" fmla="*/ 2889 h 10675"/>
                    <a:gd name="connsiteX2" fmla="*/ 2386 w 2386"/>
                    <a:gd name="connsiteY2" fmla="*/ 7787 h 10675"/>
                    <a:gd name="connsiteX3" fmla="*/ 2261 w 2386"/>
                    <a:gd name="connsiteY3" fmla="*/ 8415 h 10675"/>
                    <a:gd name="connsiteX4" fmla="*/ 2261 w 2386"/>
                    <a:gd name="connsiteY4" fmla="*/ 8540 h 10675"/>
                    <a:gd name="connsiteX5" fmla="*/ 2261 w 2386"/>
                    <a:gd name="connsiteY5" fmla="*/ 8666 h 10675"/>
                    <a:gd name="connsiteX6" fmla="*/ 2261 w 2386"/>
                    <a:gd name="connsiteY6" fmla="*/ 8666 h 10675"/>
                    <a:gd name="connsiteX7" fmla="*/ 2135 w 2386"/>
                    <a:gd name="connsiteY7" fmla="*/ 8917 h 10675"/>
                    <a:gd name="connsiteX8" fmla="*/ 2010 w 2386"/>
                    <a:gd name="connsiteY8" fmla="*/ 9168 h 10675"/>
                    <a:gd name="connsiteX9" fmla="*/ 1759 w 2386"/>
                    <a:gd name="connsiteY9" fmla="*/ 9545 h 10675"/>
                    <a:gd name="connsiteX10" fmla="*/ 1382 w 2386"/>
                    <a:gd name="connsiteY10" fmla="*/ 9922 h 10675"/>
                    <a:gd name="connsiteX11" fmla="*/ 1256 w 2386"/>
                    <a:gd name="connsiteY11" fmla="*/ 10048 h 10675"/>
                    <a:gd name="connsiteX12" fmla="*/ 502 w 2386"/>
                    <a:gd name="connsiteY12" fmla="*/ 10550 h 10675"/>
                    <a:gd name="connsiteX13" fmla="*/ 251 w 2386"/>
                    <a:gd name="connsiteY13" fmla="*/ 10676 h 10675"/>
                    <a:gd name="connsiteX14" fmla="*/ 126 w 2386"/>
                    <a:gd name="connsiteY14" fmla="*/ 10676 h 10675"/>
                    <a:gd name="connsiteX15" fmla="*/ 126 w 2386"/>
                    <a:gd name="connsiteY15"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6" h="10675">
                      <a:moveTo>
                        <a:pt x="0" y="0"/>
                      </a:moveTo>
                      <a:cubicBezTo>
                        <a:pt x="1382" y="754"/>
                        <a:pt x="2386" y="1758"/>
                        <a:pt x="2386" y="2889"/>
                      </a:cubicBezTo>
                      <a:lnTo>
                        <a:pt x="2386" y="7787"/>
                      </a:lnTo>
                      <a:cubicBezTo>
                        <a:pt x="2386" y="8038"/>
                        <a:pt x="2386" y="8164"/>
                        <a:pt x="2261" y="8415"/>
                      </a:cubicBezTo>
                      <a:cubicBezTo>
                        <a:pt x="2261" y="8415"/>
                        <a:pt x="2261" y="8415"/>
                        <a:pt x="2261" y="8540"/>
                      </a:cubicBezTo>
                      <a:cubicBezTo>
                        <a:pt x="2261" y="8540"/>
                        <a:pt x="2261" y="8666"/>
                        <a:pt x="2261" y="8666"/>
                      </a:cubicBezTo>
                      <a:cubicBezTo>
                        <a:pt x="2261" y="8666"/>
                        <a:pt x="2261" y="8666"/>
                        <a:pt x="2261" y="8666"/>
                      </a:cubicBezTo>
                      <a:cubicBezTo>
                        <a:pt x="2261" y="8792"/>
                        <a:pt x="2135" y="8917"/>
                        <a:pt x="2135" y="8917"/>
                      </a:cubicBezTo>
                      <a:cubicBezTo>
                        <a:pt x="2135" y="9043"/>
                        <a:pt x="2010" y="9168"/>
                        <a:pt x="2010" y="9168"/>
                      </a:cubicBezTo>
                      <a:cubicBezTo>
                        <a:pt x="1884" y="9294"/>
                        <a:pt x="1884" y="9420"/>
                        <a:pt x="1759" y="9545"/>
                      </a:cubicBezTo>
                      <a:cubicBezTo>
                        <a:pt x="1633" y="9671"/>
                        <a:pt x="1507" y="9796"/>
                        <a:pt x="1382" y="9922"/>
                      </a:cubicBezTo>
                      <a:cubicBezTo>
                        <a:pt x="1382" y="9922"/>
                        <a:pt x="1256" y="10048"/>
                        <a:pt x="1256" y="10048"/>
                      </a:cubicBezTo>
                      <a:cubicBezTo>
                        <a:pt x="1005" y="10173"/>
                        <a:pt x="754" y="10424"/>
                        <a:pt x="502" y="10550"/>
                      </a:cubicBezTo>
                      <a:cubicBezTo>
                        <a:pt x="377" y="10550"/>
                        <a:pt x="377" y="10676"/>
                        <a:pt x="251" y="10676"/>
                      </a:cubicBezTo>
                      <a:cubicBezTo>
                        <a:pt x="251" y="10676"/>
                        <a:pt x="126" y="10676"/>
                        <a:pt x="126" y="10676"/>
                      </a:cubicBezTo>
                      <a:lnTo>
                        <a:pt x="126" y="0"/>
                      </a:lnTo>
                      <a:close/>
                    </a:path>
                  </a:pathLst>
                </a:custGeom>
                <a:solidFill>
                  <a:srgbClr val="38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5" name="Freeform: Shape 2424">
                  <a:extLst>
                    <a:ext uri="{FF2B5EF4-FFF2-40B4-BE49-F238E27FC236}">
                      <a16:creationId xmlns:a16="http://schemas.microsoft.com/office/drawing/2014/main" id="{B4160318-5459-4FC6-AB96-35AF65DDEECC}"/>
                    </a:ext>
                  </a:extLst>
                </p:cNvPr>
                <p:cNvSpPr/>
                <p:nvPr/>
              </p:nvSpPr>
              <p:spPr>
                <a:xfrm>
                  <a:off x="4758790" y="3064739"/>
                  <a:ext cx="15322" cy="8540"/>
                </a:xfrm>
                <a:custGeom>
                  <a:avLst/>
                  <a:gdLst>
                    <a:gd name="connsiteX0" fmla="*/ 0 w 15322"/>
                    <a:gd name="connsiteY0" fmla="*/ 4270 h 8540"/>
                    <a:gd name="connsiteX1" fmla="*/ 4270 w 15322"/>
                    <a:gd name="connsiteY1" fmla="*/ 8164 h 8540"/>
                    <a:gd name="connsiteX2" fmla="*/ 7661 w 15322"/>
                    <a:gd name="connsiteY2" fmla="*/ 8540 h 8540"/>
                    <a:gd name="connsiteX3" fmla="*/ 11052 w 15322"/>
                    <a:gd name="connsiteY3" fmla="*/ 8164 h 8540"/>
                    <a:gd name="connsiteX4" fmla="*/ 15323 w 15322"/>
                    <a:gd name="connsiteY4" fmla="*/ 4270 h 8540"/>
                    <a:gd name="connsiteX5" fmla="*/ 12057 w 15322"/>
                    <a:gd name="connsiteY5" fmla="*/ 754 h 8540"/>
                    <a:gd name="connsiteX6" fmla="*/ 11303 w 15322"/>
                    <a:gd name="connsiteY6" fmla="*/ 502 h 8540"/>
                    <a:gd name="connsiteX7" fmla="*/ 10927 w 15322"/>
                    <a:gd name="connsiteY7" fmla="*/ 377 h 8540"/>
                    <a:gd name="connsiteX8" fmla="*/ 7536 w 15322"/>
                    <a:gd name="connsiteY8" fmla="*/ 0 h 8540"/>
                    <a:gd name="connsiteX9" fmla="*/ 4144 w 15322"/>
                    <a:gd name="connsiteY9" fmla="*/ 377 h 8540"/>
                    <a:gd name="connsiteX10" fmla="*/ 0 w 15322"/>
                    <a:gd name="connsiteY10" fmla="*/ 427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22" h="8540">
                      <a:moveTo>
                        <a:pt x="0" y="4270"/>
                      </a:moveTo>
                      <a:cubicBezTo>
                        <a:pt x="0" y="5903"/>
                        <a:pt x="1758" y="7410"/>
                        <a:pt x="4270" y="8164"/>
                      </a:cubicBezTo>
                      <a:cubicBezTo>
                        <a:pt x="5275" y="8415"/>
                        <a:pt x="6405" y="8540"/>
                        <a:pt x="7661" y="8540"/>
                      </a:cubicBezTo>
                      <a:cubicBezTo>
                        <a:pt x="8917" y="8540"/>
                        <a:pt x="10047" y="8415"/>
                        <a:pt x="11052" y="8164"/>
                      </a:cubicBezTo>
                      <a:cubicBezTo>
                        <a:pt x="13564" y="7410"/>
                        <a:pt x="15323" y="6028"/>
                        <a:pt x="15323" y="4270"/>
                      </a:cubicBezTo>
                      <a:cubicBezTo>
                        <a:pt x="15323" y="2763"/>
                        <a:pt x="14067" y="1507"/>
                        <a:pt x="12057" y="754"/>
                      </a:cubicBezTo>
                      <a:cubicBezTo>
                        <a:pt x="11806" y="628"/>
                        <a:pt x="11555" y="628"/>
                        <a:pt x="11303" y="502"/>
                      </a:cubicBezTo>
                      <a:cubicBezTo>
                        <a:pt x="11178" y="502"/>
                        <a:pt x="11052" y="377"/>
                        <a:pt x="10927" y="377"/>
                      </a:cubicBezTo>
                      <a:cubicBezTo>
                        <a:pt x="9922" y="126"/>
                        <a:pt x="8791" y="0"/>
                        <a:pt x="7536" y="0"/>
                      </a:cubicBezTo>
                      <a:cubicBezTo>
                        <a:pt x="6280" y="0"/>
                        <a:pt x="5149" y="126"/>
                        <a:pt x="4144" y="377"/>
                      </a:cubicBezTo>
                      <a:cubicBezTo>
                        <a:pt x="1758" y="1130"/>
                        <a:pt x="0" y="2638"/>
                        <a:pt x="0" y="4270"/>
                      </a:cubicBezTo>
                      <a:close/>
                    </a:path>
                  </a:pathLst>
                </a:custGeom>
                <a:solidFill>
                  <a:srgbClr val="84727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26" name="Graphic 4">
                <a:extLst>
                  <a:ext uri="{FF2B5EF4-FFF2-40B4-BE49-F238E27FC236}">
                    <a16:creationId xmlns:a16="http://schemas.microsoft.com/office/drawing/2014/main" id="{84FB7ED1-A2DF-40A1-A747-5F7CF3F14040}"/>
                  </a:ext>
                </a:extLst>
              </p:cNvPr>
              <p:cNvGrpSpPr/>
              <p:nvPr/>
            </p:nvGrpSpPr>
            <p:grpSpPr>
              <a:xfrm>
                <a:off x="4761679" y="3063609"/>
                <a:ext cx="9419" cy="7661"/>
                <a:chOff x="4761679" y="3063609"/>
                <a:chExt cx="9419" cy="7661"/>
              </a:xfrm>
              <a:solidFill>
                <a:schemeClr val="accent1"/>
              </a:solidFill>
            </p:grpSpPr>
            <p:sp>
              <p:nvSpPr>
                <p:cNvPr id="2427" name="Freeform: Shape 2426">
                  <a:extLst>
                    <a:ext uri="{FF2B5EF4-FFF2-40B4-BE49-F238E27FC236}">
                      <a16:creationId xmlns:a16="http://schemas.microsoft.com/office/drawing/2014/main" id="{A1AD8620-C3AD-499D-A1C5-2AC0B495DD19}"/>
                    </a:ext>
                  </a:extLst>
                </p:cNvPr>
                <p:cNvSpPr/>
                <p:nvPr/>
              </p:nvSpPr>
              <p:spPr>
                <a:xfrm>
                  <a:off x="4761679" y="3063735"/>
                  <a:ext cx="9419" cy="7535"/>
                </a:xfrm>
                <a:custGeom>
                  <a:avLst/>
                  <a:gdLst>
                    <a:gd name="connsiteX0" fmla="*/ 0 w 9419"/>
                    <a:gd name="connsiteY0" fmla="*/ 2512 h 7535"/>
                    <a:gd name="connsiteX1" fmla="*/ 0 w 9419"/>
                    <a:gd name="connsiteY1" fmla="*/ 5024 h 7535"/>
                    <a:gd name="connsiteX2" fmla="*/ 2638 w 9419"/>
                    <a:gd name="connsiteY2" fmla="*/ 7410 h 7535"/>
                    <a:gd name="connsiteX3" fmla="*/ 3140 w 9419"/>
                    <a:gd name="connsiteY3" fmla="*/ 7536 h 7535"/>
                    <a:gd name="connsiteX4" fmla="*/ 3391 w 9419"/>
                    <a:gd name="connsiteY4" fmla="*/ 7536 h 7535"/>
                    <a:gd name="connsiteX5" fmla="*/ 3517 w 9419"/>
                    <a:gd name="connsiteY5" fmla="*/ 7536 h 7535"/>
                    <a:gd name="connsiteX6" fmla="*/ 3642 w 9419"/>
                    <a:gd name="connsiteY6" fmla="*/ 7536 h 7535"/>
                    <a:gd name="connsiteX7" fmla="*/ 4145 w 9419"/>
                    <a:gd name="connsiteY7" fmla="*/ 7536 h 7535"/>
                    <a:gd name="connsiteX8" fmla="*/ 4396 w 9419"/>
                    <a:gd name="connsiteY8" fmla="*/ 7536 h 7535"/>
                    <a:gd name="connsiteX9" fmla="*/ 4773 w 9419"/>
                    <a:gd name="connsiteY9" fmla="*/ 7536 h 7535"/>
                    <a:gd name="connsiteX10" fmla="*/ 5149 w 9419"/>
                    <a:gd name="connsiteY10" fmla="*/ 7536 h 7535"/>
                    <a:gd name="connsiteX11" fmla="*/ 5401 w 9419"/>
                    <a:gd name="connsiteY11" fmla="*/ 7536 h 7535"/>
                    <a:gd name="connsiteX12" fmla="*/ 5903 w 9419"/>
                    <a:gd name="connsiteY12" fmla="*/ 7536 h 7535"/>
                    <a:gd name="connsiteX13" fmla="*/ 6029 w 9419"/>
                    <a:gd name="connsiteY13" fmla="*/ 7536 h 7535"/>
                    <a:gd name="connsiteX14" fmla="*/ 6154 w 9419"/>
                    <a:gd name="connsiteY14" fmla="*/ 7536 h 7535"/>
                    <a:gd name="connsiteX15" fmla="*/ 6405 w 9419"/>
                    <a:gd name="connsiteY15" fmla="*/ 7536 h 7535"/>
                    <a:gd name="connsiteX16" fmla="*/ 6908 w 9419"/>
                    <a:gd name="connsiteY16" fmla="*/ 7410 h 7535"/>
                    <a:gd name="connsiteX17" fmla="*/ 7159 w 9419"/>
                    <a:gd name="connsiteY17" fmla="*/ 7285 h 7535"/>
                    <a:gd name="connsiteX18" fmla="*/ 7661 w 9419"/>
                    <a:gd name="connsiteY18" fmla="*/ 7159 h 7535"/>
                    <a:gd name="connsiteX19" fmla="*/ 7787 w 9419"/>
                    <a:gd name="connsiteY19" fmla="*/ 7033 h 7535"/>
                    <a:gd name="connsiteX20" fmla="*/ 8164 w 9419"/>
                    <a:gd name="connsiteY20" fmla="*/ 6908 h 7535"/>
                    <a:gd name="connsiteX21" fmla="*/ 8289 w 9419"/>
                    <a:gd name="connsiteY21" fmla="*/ 6782 h 7535"/>
                    <a:gd name="connsiteX22" fmla="*/ 8666 w 9419"/>
                    <a:gd name="connsiteY22" fmla="*/ 6531 h 7535"/>
                    <a:gd name="connsiteX23" fmla="*/ 8792 w 9419"/>
                    <a:gd name="connsiteY23" fmla="*/ 6405 h 7535"/>
                    <a:gd name="connsiteX24" fmla="*/ 9043 w 9419"/>
                    <a:gd name="connsiteY24" fmla="*/ 6154 h 7535"/>
                    <a:gd name="connsiteX25" fmla="*/ 9169 w 9419"/>
                    <a:gd name="connsiteY25" fmla="*/ 5903 h 7535"/>
                    <a:gd name="connsiteX26" fmla="*/ 9294 w 9419"/>
                    <a:gd name="connsiteY26" fmla="*/ 5777 h 7535"/>
                    <a:gd name="connsiteX27" fmla="*/ 9420 w 9419"/>
                    <a:gd name="connsiteY27" fmla="*/ 5652 h 7535"/>
                    <a:gd name="connsiteX28" fmla="*/ 9420 w 9419"/>
                    <a:gd name="connsiteY28" fmla="*/ 5652 h 7535"/>
                    <a:gd name="connsiteX29" fmla="*/ 9420 w 9419"/>
                    <a:gd name="connsiteY29" fmla="*/ 5526 h 7535"/>
                    <a:gd name="connsiteX30" fmla="*/ 9420 w 9419"/>
                    <a:gd name="connsiteY30" fmla="*/ 5526 h 7535"/>
                    <a:gd name="connsiteX31" fmla="*/ 9420 w 9419"/>
                    <a:gd name="connsiteY31" fmla="*/ 5149 h 7535"/>
                    <a:gd name="connsiteX32" fmla="*/ 9420 w 9419"/>
                    <a:gd name="connsiteY32" fmla="*/ 2638 h 7535"/>
                    <a:gd name="connsiteX33" fmla="*/ 7410 w 9419"/>
                    <a:gd name="connsiteY33" fmla="*/ 502 h 7535"/>
                    <a:gd name="connsiteX34" fmla="*/ 7033 w 9419"/>
                    <a:gd name="connsiteY34" fmla="*/ 377 h 7535"/>
                    <a:gd name="connsiteX35" fmla="*/ 6782 w 9419"/>
                    <a:gd name="connsiteY35" fmla="*/ 251 h 7535"/>
                    <a:gd name="connsiteX36" fmla="*/ 4773 w 9419"/>
                    <a:gd name="connsiteY36" fmla="*/ 0 h 7535"/>
                    <a:gd name="connsiteX37" fmla="*/ 2763 w 9419"/>
                    <a:gd name="connsiteY37" fmla="*/ 251 h 7535"/>
                    <a:gd name="connsiteX38" fmla="*/ 0 w 9419"/>
                    <a:gd name="connsiteY38" fmla="*/ 251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419" h="7535">
                      <a:moveTo>
                        <a:pt x="0" y="2512"/>
                      </a:moveTo>
                      <a:lnTo>
                        <a:pt x="0" y="5024"/>
                      </a:lnTo>
                      <a:cubicBezTo>
                        <a:pt x="0" y="6028"/>
                        <a:pt x="1005" y="6908"/>
                        <a:pt x="2638" y="7410"/>
                      </a:cubicBezTo>
                      <a:cubicBezTo>
                        <a:pt x="2763" y="7410"/>
                        <a:pt x="3015" y="7536"/>
                        <a:pt x="3140" y="7536"/>
                      </a:cubicBezTo>
                      <a:cubicBezTo>
                        <a:pt x="3266" y="7536"/>
                        <a:pt x="3266" y="7536"/>
                        <a:pt x="3391" y="7536"/>
                      </a:cubicBezTo>
                      <a:cubicBezTo>
                        <a:pt x="3391" y="7536"/>
                        <a:pt x="3517" y="7536"/>
                        <a:pt x="3517" y="7536"/>
                      </a:cubicBezTo>
                      <a:cubicBezTo>
                        <a:pt x="3517" y="7536"/>
                        <a:pt x="3642" y="7536"/>
                        <a:pt x="3642" y="7536"/>
                      </a:cubicBezTo>
                      <a:cubicBezTo>
                        <a:pt x="3768" y="7536"/>
                        <a:pt x="3893" y="7536"/>
                        <a:pt x="4145" y="7536"/>
                      </a:cubicBezTo>
                      <a:cubicBezTo>
                        <a:pt x="4271" y="7536"/>
                        <a:pt x="4271" y="7536"/>
                        <a:pt x="4396" y="7536"/>
                      </a:cubicBezTo>
                      <a:cubicBezTo>
                        <a:pt x="4522" y="7536"/>
                        <a:pt x="4647" y="7536"/>
                        <a:pt x="4773" y="7536"/>
                      </a:cubicBezTo>
                      <a:cubicBezTo>
                        <a:pt x="4898" y="7536"/>
                        <a:pt x="5024" y="7536"/>
                        <a:pt x="5149" y="7536"/>
                      </a:cubicBezTo>
                      <a:cubicBezTo>
                        <a:pt x="5275" y="7536"/>
                        <a:pt x="5275" y="7536"/>
                        <a:pt x="5401" y="7536"/>
                      </a:cubicBezTo>
                      <a:cubicBezTo>
                        <a:pt x="5526" y="7536"/>
                        <a:pt x="5652" y="7536"/>
                        <a:pt x="5903" y="7536"/>
                      </a:cubicBezTo>
                      <a:cubicBezTo>
                        <a:pt x="5903" y="7536"/>
                        <a:pt x="6029" y="7536"/>
                        <a:pt x="6029" y="7536"/>
                      </a:cubicBezTo>
                      <a:cubicBezTo>
                        <a:pt x="6029" y="7536"/>
                        <a:pt x="6154" y="7536"/>
                        <a:pt x="6154" y="7536"/>
                      </a:cubicBezTo>
                      <a:cubicBezTo>
                        <a:pt x="6280" y="7536"/>
                        <a:pt x="6280" y="7536"/>
                        <a:pt x="6405" y="7536"/>
                      </a:cubicBezTo>
                      <a:cubicBezTo>
                        <a:pt x="6531" y="7536"/>
                        <a:pt x="6782" y="7410"/>
                        <a:pt x="6908" y="7410"/>
                      </a:cubicBezTo>
                      <a:cubicBezTo>
                        <a:pt x="7033" y="7410"/>
                        <a:pt x="7033" y="7410"/>
                        <a:pt x="7159" y="7285"/>
                      </a:cubicBezTo>
                      <a:cubicBezTo>
                        <a:pt x="7285" y="7285"/>
                        <a:pt x="7536" y="7159"/>
                        <a:pt x="7661" y="7159"/>
                      </a:cubicBezTo>
                      <a:cubicBezTo>
                        <a:pt x="7661" y="7159"/>
                        <a:pt x="7787" y="7159"/>
                        <a:pt x="7787" y="7033"/>
                      </a:cubicBezTo>
                      <a:cubicBezTo>
                        <a:pt x="7913" y="7033"/>
                        <a:pt x="8038" y="6908"/>
                        <a:pt x="8164" y="6908"/>
                      </a:cubicBezTo>
                      <a:cubicBezTo>
                        <a:pt x="8164" y="6908"/>
                        <a:pt x="8289" y="6908"/>
                        <a:pt x="8289" y="6782"/>
                      </a:cubicBezTo>
                      <a:cubicBezTo>
                        <a:pt x="8415" y="6657"/>
                        <a:pt x="8541" y="6531"/>
                        <a:pt x="8666" y="6531"/>
                      </a:cubicBezTo>
                      <a:cubicBezTo>
                        <a:pt x="8666" y="6531"/>
                        <a:pt x="8792" y="6405"/>
                        <a:pt x="8792" y="6405"/>
                      </a:cubicBezTo>
                      <a:cubicBezTo>
                        <a:pt x="8918" y="6280"/>
                        <a:pt x="8918" y="6280"/>
                        <a:pt x="9043" y="6154"/>
                      </a:cubicBezTo>
                      <a:cubicBezTo>
                        <a:pt x="9043" y="6028"/>
                        <a:pt x="9169" y="6028"/>
                        <a:pt x="9169" y="5903"/>
                      </a:cubicBezTo>
                      <a:cubicBezTo>
                        <a:pt x="9169" y="5903"/>
                        <a:pt x="9294" y="5777"/>
                        <a:pt x="9294" y="5777"/>
                      </a:cubicBezTo>
                      <a:cubicBezTo>
                        <a:pt x="9294" y="5777"/>
                        <a:pt x="9294" y="5652"/>
                        <a:pt x="9420" y="5652"/>
                      </a:cubicBezTo>
                      <a:cubicBezTo>
                        <a:pt x="9420" y="5652"/>
                        <a:pt x="9420" y="5652"/>
                        <a:pt x="9420" y="5652"/>
                      </a:cubicBezTo>
                      <a:cubicBezTo>
                        <a:pt x="9420" y="5652"/>
                        <a:pt x="9420" y="5652"/>
                        <a:pt x="9420" y="5526"/>
                      </a:cubicBezTo>
                      <a:cubicBezTo>
                        <a:pt x="9420" y="5526"/>
                        <a:pt x="9420" y="5526"/>
                        <a:pt x="9420" y="5526"/>
                      </a:cubicBezTo>
                      <a:cubicBezTo>
                        <a:pt x="9420" y="5401"/>
                        <a:pt x="9420" y="5275"/>
                        <a:pt x="9420" y="5149"/>
                      </a:cubicBezTo>
                      <a:lnTo>
                        <a:pt x="9420" y="2638"/>
                      </a:lnTo>
                      <a:cubicBezTo>
                        <a:pt x="9420" y="1758"/>
                        <a:pt x="8666" y="1005"/>
                        <a:pt x="7410" y="502"/>
                      </a:cubicBezTo>
                      <a:cubicBezTo>
                        <a:pt x="7285" y="502"/>
                        <a:pt x="7159" y="377"/>
                        <a:pt x="7033" y="377"/>
                      </a:cubicBezTo>
                      <a:cubicBezTo>
                        <a:pt x="6908" y="377"/>
                        <a:pt x="6908" y="377"/>
                        <a:pt x="6782" y="251"/>
                      </a:cubicBezTo>
                      <a:cubicBezTo>
                        <a:pt x="6154" y="126"/>
                        <a:pt x="5526" y="0"/>
                        <a:pt x="4773" y="0"/>
                      </a:cubicBezTo>
                      <a:cubicBezTo>
                        <a:pt x="4019" y="0"/>
                        <a:pt x="3391" y="126"/>
                        <a:pt x="2763" y="251"/>
                      </a:cubicBezTo>
                      <a:cubicBezTo>
                        <a:pt x="1131" y="628"/>
                        <a:pt x="0" y="1507"/>
                        <a:pt x="0" y="2512"/>
                      </a:cubicBezTo>
                      <a:close/>
                    </a:path>
                  </a:pathLst>
                </a:custGeom>
                <a:solidFill>
                  <a:srgbClr val="C2C2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8" name="Freeform: Shape 2427">
                  <a:extLst>
                    <a:ext uri="{FF2B5EF4-FFF2-40B4-BE49-F238E27FC236}">
                      <a16:creationId xmlns:a16="http://schemas.microsoft.com/office/drawing/2014/main" id="{0A2E5EF2-20E0-44DC-8AA9-7396FF50A7FC}"/>
                    </a:ext>
                  </a:extLst>
                </p:cNvPr>
                <p:cNvSpPr/>
                <p:nvPr/>
              </p:nvSpPr>
              <p:spPr>
                <a:xfrm>
                  <a:off x="4761679" y="3063930"/>
                  <a:ext cx="2763" cy="7340"/>
                </a:xfrm>
                <a:custGeom>
                  <a:avLst/>
                  <a:gdLst>
                    <a:gd name="connsiteX0" fmla="*/ 2638 w 2763"/>
                    <a:gd name="connsiteY0" fmla="*/ 56 h 7340"/>
                    <a:gd name="connsiteX1" fmla="*/ 2638 w 2763"/>
                    <a:gd name="connsiteY1" fmla="*/ 56 h 7340"/>
                    <a:gd name="connsiteX2" fmla="*/ 2763 w 2763"/>
                    <a:gd name="connsiteY2" fmla="*/ 7340 h 7340"/>
                    <a:gd name="connsiteX3" fmla="*/ 2638 w 2763"/>
                    <a:gd name="connsiteY3" fmla="*/ 7340 h 7340"/>
                    <a:gd name="connsiteX4" fmla="*/ 0 w 2763"/>
                    <a:gd name="connsiteY4" fmla="*/ 4954 h 7340"/>
                    <a:gd name="connsiteX5" fmla="*/ 0 w 2763"/>
                    <a:gd name="connsiteY5" fmla="*/ 2442 h 7340"/>
                    <a:gd name="connsiteX6" fmla="*/ 2638 w 2763"/>
                    <a:gd name="connsiteY6" fmla="*/ 56 h 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3" h="7340">
                      <a:moveTo>
                        <a:pt x="2638" y="56"/>
                      </a:moveTo>
                      <a:cubicBezTo>
                        <a:pt x="2638" y="-70"/>
                        <a:pt x="2763" y="56"/>
                        <a:pt x="2638" y="56"/>
                      </a:cubicBezTo>
                      <a:lnTo>
                        <a:pt x="2763" y="7340"/>
                      </a:lnTo>
                      <a:cubicBezTo>
                        <a:pt x="2763" y="7340"/>
                        <a:pt x="2763" y="7340"/>
                        <a:pt x="2638" y="7340"/>
                      </a:cubicBezTo>
                      <a:cubicBezTo>
                        <a:pt x="1131" y="6964"/>
                        <a:pt x="0" y="5959"/>
                        <a:pt x="0" y="4954"/>
                      </a:cubicBezTo>
                      <a:lnTo>
                        <a:pt x="0" y="2442"/>
                      </a:lnTo>
                      <a:cubicBezTo>
                        <a:pt x="0" y="1312"/>
                        <a:pt x="1131" y="433"/>
                        <a:pt x="2638" y="56"/>
                      </a:cubicBezTo>
                      <a:close/>
                    </a:path>
                  </a:pathLst>
                </a:custGeom>
                <a:solidFill>
                  <a:srgbClr val="D4D4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9" name="Freeform: Shape 2428">
                  <a:extLst>
                    <a:ext uri="{FF2B5EF4-FFF2-40B4-BE49-F238E27FC236}">
                      <a16:creationId xmlns:a16="http://schemas.microsoft.com/office/drawing/2014/main" id="{63DE21B5-B5A5-479F-9D30-E66B747848E7}"/>
                    </a:ext>
                  </a:extLst>
                </p:cNvPr>
                <p:cNvSpPr/>
                <p:nvPr/>
              </p:nvSpPr>
              <p:spPr>
                <a:xfrm>
                  <a:off x="4767080" y="3063735"/>
                  <a:ext cx="4018" cy="7535"/>
                </a:xfrm>
                <a:custGeom>
                  <a:avLst/>
                  <a:gdLst>
                    <a:gd name="connsiteX0" fmla="*/ 0 w 4018"/>
                    <a:gd name="connsiteY0" fmla="*/ 0 h 7535"/>
                    <a:gd name="connsiteX1" fmla="*/ 1381 w 4018"/>
                    <a:gd name="connsiteY1" fmla="*/ 126 h 7535"/>
                    <a:gd name="connsiteX2" fmla="*/ 1632 w 4018"/>
                    <a:gd name="connsiteY2" fmla="*/ 251 h 7535"/>
                    <a:gd name="connsiteX3" fmla="*/ 2010 w 4018"/>
                    <a:gd name="connsiteY3" fmla="*/ 377 h 7535"/>
                    <a:gd name="connsiteX4" fmla="*/ 4019 w 4018"/>
                    <a:gd name="connsiteY4" fmla="*/ 2512 h 7535"/>
                    <a:gd name="connsiteX5" fmla="*/ 4019 w 4018"/>
                    <a:gd name="connsiteY5" fmla="*/ 5024 h 7535"/>
                    <a:gd name="connsiteX6" fmla="*/ 4019 w 4018"/>
                    <a:gd name="connsiteY6" fmla="*/ 5401 h 7535"/>
                    <a:gd name="connsiteX7" fmla="*/ 4019 w 4018"/>
                    <a:gd name="connsiteY7" fmla="*/ 5401 h 7535"/>
                    <a:gd name="connsiteX8" fmla="*/ 4019 w 4018"/>
                    <a:gd name="connsiteY8" fmla="*/ 5526 h 7535"/>
                    <a:gd name="connsiteX9" fmla="*/ 4019 w 4018"/>
                    <a:gd name="connsiteY9" fmla="*/ 5526 h 7535"/>
                    <a:gd name="connsiteX10" fmla="*/ 3893 w 4018"/>
                    <a:gd name="connsiteY10" fmla="*/ 5777 h 7535"/>
                    <a:gd name="connsiteX11" fmla="*/ 3768 w 4018"/>
                    <a:gd name="connsiteY11" fmla="*/ 5903 h 7535"/>
                    <a:gd name="connsiteX12" fmla="*/ 3642 w 4018"/>
                    <a:gd name="connsiteY12" fmla="*/ 6154 h 7535"/>
                    <a:gd name="connsiteX13" fmla="*/ 3391 w 4018"/>
                    <a:gd name="connsiteY13" fmla="*/ 6405 h 7535"/>
                    <a:gd name="connsiteX14" fmla="*/ 3265 w 4018"/>
                    <a:gd name="connsiteY14" fmla="*/ 6531 h 7535"/>
                    <a:gd name="connsiteX15" fmla="*/ 2888 w 4018"/>
                    <a:gd name="connsiteY15" fmla="*/ 6782 h 7535"/>
                    <a:gd name="connsiteX16" fmla="*/ 2763 w 4018"/>
                    <a:gd name="connsiteY16" fmla="*/ 6908 h 7535"/>
                    <a:gd name="connsiteX17" fmla="*/ 2386 w 4018"/>
                    <a:gd name="connsiteY17" fmla="*/ 7033 h 7535"/>
                    <a:gd name="connsiteX18" fmla="*/ 2261 w 4018"/>
                    <a:gd name="connsiteY18" fmla="*/ 7159 h 7535"/>
                    <a:gd name="connsiteX19" fmla="*/ 1758 w 4018"/>
                    <a:gd name="connsiteY19" fmla="*/ 7285 h 7535"/>
                    <a:gd name="connsiteX20" fmla="*/ 1507 w 4018"/>
                    <a:gd name="connsiteY20" fmla="*/ 7410 h 7535"/>
                    <a:gd name="connsiteX21" fmla="*/ 1005 w 4018"/>
                    <a:gd name="connsiteY21" fmla="*/ 7536 h 7535"/>
                    <a:gd name="connsiteX22" fmla="*/ 754 w 4018"/>
                    <a:gd name="connsiteY22" fmla="*/ 7536 h 7535"/>
                    <a:gd name="connsiteX23" fmla="*/ 628 w 4018"/>
                    <a:gd name="connsiteY23" fmla="*/ 7536 h 7535"/>
                    <a:gd name="connsiteX24" fmla="*/ 502 w 4018"/>
                    <a:gd name="connsiteY24" fmla="*/ 7536 h 7535"/>
                    <a:gd name="connsiteX25" fmla="*/ 251 w 4018"/>
                    <a:gd name="connsiteY25" fmla="*/ 7536 h 7535"/>
                    <a:gd name="connsiteX26" fmla="*/ 251 w 4018"/>
                    <a:gd name="connsiteY26" fmla="*/ 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8" h="7535">
                      <a:moveTo>
                        <a:pt x="0" y="0"/>
                      </a:moveTo>
                      <a:cubicBezTo>
                        <a:pt x="502" y="0"/>
                        <a:pt x="879" y="0"/>
                        <a:pt x="1381" y="126"/>
                      </a:cubicBezTo>
                      <a:cubicBezTo>
                        <a:pt x="1507" y="126"/>
                        <a:pt x="1507" y="126"/>
                        <a:pt x="1632" y="251"/>
                      </a:cubicBezTo>
                      <a:cubicBezTo>
                        <a:pt x="1758" y="251"/>
                        <a:pt x="1884" y="377"/>
                        <a:pt x="2010" y="377"/>
                      </a:cubicBezTo>
                      <a:cubicBezTo>
                        <a:pt x="3265" y="879"/>
                        <a:pt x="4019" y="1633"/>
                        <a:pt x="4019" y="2512"/>
                      </a:cubicBezTo>
                      <a:lnTo>
                        <a:pt x="4019" y="5024"/>
                      </a:lnTo>
                      <a:cubicBezTo>
                        <a:pt x="4019" y="5149"/>
                        <a:pt x="4019" y="5275"/>
                        <a:pt x="4019" y="5401"/>
                      </a:cubicBezTo>
                      <a:cubicBezTo>
                        <a:pt x="4019" y="5401"/>
                        <a:pt x="4019" y="5401"/>
                        <a:pt x="4019" y="5401"/>
                      </a:cubicBezTo>
                      <a:cubicBezTo>
                        <a:pt x="4019" y="5401"/>
                        <a:pt x="4019" y="5526"/>
                        <a:pt x="4019" y="5526"/>
                      </a:cubicBezTo>
                      <a:cubicBezTo>
                        <a:pt x="4019" y="5526"/>
                        <a:pt x="4019" y="5526"/>
                        <a:pt x="4019" y="5526"/>
                      </a:cubicBezTo>
                      <a:cubicBezTo>
                        <a:pt x="4019" y="5652"/>
                        <a:pt x="4019" y="5652"/>
                        <a:pt x="3893" y="5777"/>
                      </a:cubicBezTo>
                      <a:cubicBezTo>
                        <a:pt x="3893" y="5777"/>
                        <a:pt x="3768" y="5903"/>
                        <a:pt x="3768" y="5903"/>
                      </a:cubicBezTo>
                      <a:cubicBezTo>
                        <a:pt x="3768" y="6028"/>
                        <a:pt x="3642" y="6028"/>
                        <a:pt x="3642" y="6154"/>
                      </a:cubicBezTo>
                      <a:cubicBezTo>
                        <a:pt x="3517" y="6280"/>
                        <a:pt x="3517" y="6280"/>
                        <a:pt x="3391" y="6405"/>
                      </a:cubicBezTo>
                      <a:cubicBezTo>
                        <a:pt x="3391" y="6405"/>
                        <a:pt x="3265" y="6405"/>
                        <a:pt x="3265" y="6531"/>
                      </a:cubicBezTo>
                      <a:cubicBezTo>
                        <a:pt x="3140" y="6657"/>
                        <a:pt x="3014" y="6782"/>
                        <a:pt x="2888" y="6782"/>
                      </a:cubicBezTo>
                      <a:cubicBezTo>
                        <a:pt x="2888" y="6782"/>
                        <a:pt x="2763" y="6782"/>
                        <a:pt x="2763" y="6908"/>
                      </a:cubicBezTo>
                      <a:cubicBezTo>
                        <a:pt x="2637" y="6908"/>
                        <a:pt x="2512" y="7033"/>
                        <a:pt x="2386" y="7033"/>
                      </a:cubicBezTo>
                      <a:cubicBezTo>
                        <a:pt x="2386" y="7033"/>
                        <a:pt x="2261" y="7033"/>
                        <a:pt x="2261" y="7159"/>
                      </a:cubicBezTo>
                      <a:cubicBezTo>
                        <a:pt x="2135" y="7285"/>
                        <a:pt x="2010" y="7285"/>
                        <a:pt x="1758" y="7285"/>
                      </a:cubicBezTo>
                      <a:cubicBezTo>
                        <a:pt x="1632" y="7285"/>
                        <a:pt x="1632" y="7285"/>
                        <a:pt x="1507" y="7410"/>
                      </a:cubicBezTo>
                      <a:cubicBezTo>
                        <a:pt x="1381" y="7410"/>
                        <a:pt x="1130" y="7536"/>
                        <a:pt x="1005" y="7536"/>
                      </a:cubicBezTo>
                      <a:cubicBezTo>
                        <a:pt x="879" y="7536"/>
                        <a:pt x="879" y="7536"/>
                        <a:pt x="754" y="7536"/>
                      </a:cubicBezTo>
                      <a:cubicBezTo>
                        <a:pt x="754" y="7536"/>
                        <a:pt x="628" y="7536"/>
                        <a:pt x="628" y="7536"/>
                      </a:cubicBezTo>
                      <a:cubicBezTo>
                        <a:pt x="628" y="7536"/>
                        <a:pt x="502" y="7536"/>
                        <a:pt x="502" y="7536"/>
                      </a:cubicBezTo>
                      <a:cubicBezTo>
                        <a:pt x="377" y="7536"/>
                        <a:pt x="377" y="7536"/>
                        <a:pt x="251" y="7536"/>
                      </a:cubicBezTo>
                      <a:lnTo>
                        <a:pt x="251" y="0"/>
                      </a:ln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0" name="Freeform: Shape 2429">
                  <a:extLst>
                    <a:ext uri="{FF2B5EF4-FFF2-40B4-BE49-F238E27FC236}">
                      <a16:creationId xmlns:a16="http://schemas.microsoft.com/office/drawing/2014/main" id="{B2E85D91-15A0-4BFD-84F5-55472C1888BC}"/>
                    </a:ext>
                  </a:extLst>
                </p:cNvPr>
                <p:cNvSpPr/>
                <p:nvPr/>
              </p:nvSpPr>
              <p:spPr>
                <a:xfrm>
                  <a:off x="4769591" y="3064488"/>
                  <a:ext cx="1381" cy="6154"/>
                </a:xfrm>
                <a:custGeom>
                  <a:avLst/>
                  <a:gdLst>
                    <a:gd name="connsiteX0" fmla="*/ 0 w 1381"/>
                    <a:gd name="connsiteY0" fmla="*/ 0 h 6154"/>
                    <a:gd name="connsiteX1" fmla="*/ 1382 w 1381"/>
                    <a:gd name="connsiteY1" fmla="*/ 1758 h 6154"/>
                    <a:gd name="connsiteX2" fmla="*/ 1382 w 1381"/>
                    <a:gd name="connsiteY2" fmla="*/ 4270 h 6154"/>
                    <a:gd name="connsiteX3" fmla="*/ 1382 w 1381"/>
                    <a:gd name="connsiteY3" fmla="*/ 4647 h 6154"/>
                    <a:gd name="connsiteX4" fmla="*/ 1382 w 1381"/>
                    <a:gd name="connsiteY4" fmla="*/ 4647 h 6154"/>
                    <a:gd name="connsiteX5" fmla="*/ 1382 w 1381"/>
                    <a:gd name="connsiteY5" fmla="*/ 4773 h 6154"/>
                    <a:gd name="connsiteX6" fmla="*/ 1382 w 1381"/>
                    <a:gd name="connsiteY6" fmla="*/ 4773 h 6154"/>
                    <a:gd name="connsiteX7" fmla="*/ 1256 w 1381"/>
                    <a:gd name="connsiteY7" fmla="*/ 5024 h 6154"/>
                    <a:gd name="connsiteX8" fmla="*/ 1130 w 1381"/>
                    <a:gd name="connsiteY8" fmla="*/ 5149 h 6154"/>
                    <a:gd name="connsiteX9" fmla="*/ 1005 w 1381"/>
                    <a:gd name="connsiteY9" fmla="*/ 5401 h 6154"/>
                    <a:gd name="connsiteX10" fmla="*/ 754 w 1381"/>
                    <a:gd name="connsiteY10" fmla="*/ 5652 h 6154"/>
                    <a:gd name="connsiteX11" fmla="*/ 628 w 1381"/>
                    <a:gd name="connsiteY11" fmla="*/ 5777 h 6154"/>
                    <a:gd name="connsiteX12" fmla="*/ 251 w 1381"/>
                    <a:gd name="connsiteY12" fmla="*/ 6029 h 6154"/>
                    <a:gd name="connsiteX13" fmla="*/ 126 w 1381"/>
                    <a:gd name="connsiteY13" fmla="*/ 6154 h 6154"/>
                    <a:gd name="connsiteX14" fmla="*/ 0 w 1381"/>
                    <a:gd name="connsiteY14" fmla="*/ 6154 h 6154"/>
                    <a:gd name="connsiteX15" fmla="*/ 0 w 1381"/>
                    <a:gd name="connsiteY15" fmla="*/ 0 h 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1" h="6154">
                      <a:moveTo>
                        <a:pt x="0" y="0"/>
                      </a:moveTo>
                      <a:cubicBezTo>
                        <a:pt x="879" y="502"/>
                        <a:pt x="1382" y="1130"/>
                        <a:pt x="1382" y="1758"/>
                      </a:cubicBezTo>
                      <a:lnTo>
                        <a:pt x="1382" y="4270"/>
                      </a:lnTo>
                      <a:cubicBezTo>
                        <a:pt x="1382" y="4396"/>
                        <a:pt x="1382" y="4521"/>
                        <a:pt x="1382" y="4647"/>
                      </a:cubicBezTo>
                      <a:cubicBezTo>
                        <a:pt x="1382" y="4647"/>
                        <a:pt x="1382" y="4647"/>
                        <a:pt x="1382" y="4647"/>
                      </a:cubicBezTo>
                      <a:cubicBezTo>
                        <a:pt x="1382" y="4647"/>
                        <a:pt x="1382" y="4773"/>
                        <a:pt x="1382" y="4773"/>
                      </a:cubicBezTo>
                      <a:cubicBezTo>
                        <a:pt x="1382" y="4773"/>
                        <a:pt x="1382" y="4773"/>
                        <a:pt x="1382" y="4773"/>
                      </a:cubicBezTo>
                      <a:cubicBezTo>
                        <a:pt x="1382" y="4898"/>
                        <a:pt x="1382" y="4898"/>
                        <a:pt x="1256" y="5024"/>
                      </a:cubicBezTo>
                      <a:cubicBezTo>
                        <a:pt x="1256" y="5024"/>
                        <a:pt x="1130" y="5149"/>
                        <a:pt x="1130" y="5149"/>
                      </a:cubicBezTo>
                      <a:cubicBezTo>
                        <a:pt x="1130" y="5275"/>
                        <a:pt x="1005" y="5275"/>
                        <a:pt x="1005" y="5401"/>
                      </a:cubicBezTo>
                      <a:cubicBezTo>
                        <a:pt x="879" y="5526"/>
                        <a:pt x="879" y="5526"/>
                        <a:pt x="754" y="5652"/>
                      </a:cubicBezTo>
                      <a:cubicBezTo>
                        <a:pt x="754" y="5652"/>
                        <a:pt x="628" y="5652"/>
                        <a:pt x="628" y="5777"/>
                      </a:cubicBezTo>
                      <a:cubicBezTo>
                        <a:pt x="502" y="5903"/>
                        <a:pt x="377" y="6029"/>
                        <a:pt x="251" y="6029"/>
                      </a:cubicBezTo>
                      <a:cubicBezTo>
                        <a:pt x="251" y="6029"/>
                        <a:pt x="126" y="6029"/>
                        <a:pt x="126" y="6154"/>
                      </a:cubicBezTo>
                      <a:cubicBezTo>
                        <a:pt x="126" y="6154"/>
                        <a:pt x="126" y="6154"/>
                        <a:pt x="0" y="6154"/>
                      </a:cubicBezTo>
                      <a:lnTo>
                        <a:pt x="0" y="0"/>
                      </a:lnTo>
                      <a:close/>
                    </a:path>
                  </a:pathLst>
                </a:custGeom>
                <a:solidFill>
                  <a:srgbClr val="A1A1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1" name="Freeform: Shape 2430">
                  <a:extLst>
                    <a:ext uri="{FF2B5EF4-FFF2-40B4-BE49-F238E27FC236}">
                      <a16:creationId xmlns:a16="http://schemas.microsoft.com/office/drawing/2014/main" id="{04E3FD41-6FE4-482E-B1E1-6A9EAF437765}"/>
                    </a:ext>
                  </a:extLst>
                </p:cNvPr>
                <p:cNvSpPr/>
                <p:nvPr/>
              </p:nvSpPr>
              <p:spPr>
                <a:xfrm>
                  <a:off x="4761679" y="3063609"/>
                  <a:ext cx="9294" cy="5274"/>
                </a:xfrm>
                <a:custGeom>
                  <a:avLst/>
                  <a:gdLst>
                    <a:gd name="connsiteX0" fmla="*/ 0 w 9294"/>
                    <a:gd name="connsiteY0" fmla="*/ 2637 h 5274"/>
                    <a:gd name="connsiteX1" fmla="*/ 2638 w 9294"/>
                    <a:gd name="connsiteY1" fmla="*/ 5024 h 5274"/>
                    <a:gd name="connsiteX2" fmla="*/ 4647 w 9294"/>
                    <a:gd name="connsiteY2" fmla="*/ 5275 h 5274"/>
                    <a:gd name="connsiteX3" fmla="*/ 6657 w 9294"/>
                    <a:gd name="connsiteY3" fmla="*/ 5024 h 5274"/>
                    <a:gd name="connsiteX4" fmla="*/ 9294 w 9294"/>
                    <a:gd name="connsiteY4" fmla="*/ 2637 h 5274"/>
                    <a:gd name="connsiteX5" fmla="*/ 7285 w 9294"/>
                    <a:gd name="connsiteY5" fmla="*/ 502 h 5274"/>
                    <a:gd name="connsiteX6" fmla="*/ 6908 w 9294"/>
                    <a:gd name="connsiteY6" fmla="*/ 377 h 5274"/>
                    <a:gd name="connsiteX7" fmla="*/ 6657 w 9294"/>
                    <a:gd name="connsiteY7" fmla="*/ 251 h 5274"/>
                    <a:gd name="connsiteX8" fmla="*/ 4647 w 9294"/>
                    <a:gd name="connsiteY8" fmla="*/ 0 h 5274"/>
                    <a:gd name="connsiteX9" fmla="*/ 2638 w 9294"/>
                    <a:gd name="connsiteY9" fmla="*/ 251 h 5274"/>
                    <a:gd name="connsiteX10" fmla="*/ 0 w 9294"/>
                    <a:gd name="connsiteY10" fmla="*/ 2637 h 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94" h="5274">
                      <a:moveTo>
                        <a:pt x="0" y="2637"/>
                      </a:moveTo>
                      <a:cubicBezTo>
                        <a:pt x="0" y="3642"/>
                        <a:pt x="1005" y="4521"/>
                        <a:pt x="2638" y="5024"/>
                      </a:cubicBezTo>
                      <a:cubicBezTo>
                        <a:pt x="3266" y="5149"/>
                        <a:pt x="3893" y="5275"/>
                        <a:pt x="4647" y="5275"/>
                      </a:cubicBezTo>
                      <a:cubicBezTo>
                        <a:pt x="5401" y="5275"/>
                        <a:pt x="6029" y="5149"/>
                        <a:pt x="6657" y="5024"/>
                      </a:cubicBezTo>
                      <a:cubicBezTo>
                        <a:pt x="8164" y="4647"/>
                        <a:pt x="9294" y="3642"/>
                        <a:pt x="9294" y="2637"/>
                      </a:cubicBezTo>
                      <a:cubicBezTo>
                        <a:pt x="9294" y="1758"/>
                        <a:pt x="8541" y="1005"/>
                        <a:pt x="7285" y="502"/>
                      </a:cubicBezTo>
                      <a:cubicBezTo>
                        <a:pt x="7159" y="502"/>
                        <a:pt x="7033" y="377"/>
                        <a:pt x="6908" y="377"/>
                      </a:cubicBezTo>
                      <a:cubicBezTo>
                        <a:pt x="6782" y="377"/>
                        <a:pt x="6782" y="377"/>
                        <a:pt x="6657" y="251"/>
                      </a:cubicBezTo>
                      <a:cubicBezTo>
                        <a:pt x="6029" y="126"/>
                        <a:pt x="5401" y="0"/>
                        <a:pt x="4647" y="0"/>
                      </a:cubicBezTo>
                      <a:cubicBezTo>
                        <a:pt x="3893" y="0"/>
                        <a:pt x="3266" y="126"/>
                        <a:pt x="2638" y="251"/>
                      </a:cubicBezTo>
                      <a:cubicBezTo>
                        <a:pt x="1131" y="754"/>
                        <a:pt x="0" y="1633"/>
                        <a:pt x="0" y="2637"/>
                      </a:cubicBez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432" name="Graphic 4">
              <a:extLst>
                <a:ext uri="{FF2B5EF4-FFF2-40B4-BE49-F238E27FC236}">
                  <a16:creationId xmlns:a16="http://schemas.microsoft.com/office/drawing/2014/main" id="{84FB7ED1-A2DF-40A1-A747-5F7CF3F14040}"/>
                </a:ext>
              </a:extLst>
            </p:cNvPr>
            <p:cNvGrpSpPr/>
            <p:nvPr/>
          </p:nvGrpSpPr>
          <p:grpSpPr>
            <a:xfrm>
              <a:off x="4662459" y="3007845"/>
              <a:ext cx="15448" cy="14443"/>
              <a:chOff x="4662459" y="3007845"/>
              <a:chExt cx="15448" cy="14443"/>
            </a:xfrm>
            <a:solidFill>
              <a:schemeClr val="accent1"/>
            </a:solidFill>
          </p:grpSpPr>
          <p:grpSp>
            <p:nvGrpSpPr>
              <p:cNvPr id="2433" name="Graphic 4">
                <a:extLst>
                  <a:ext uri="{FF2B5EF4-FFF2-40B4-BE49-F238E27FC236}">
                    <a16:creationId xmlns:a16="http://schemas.microsoft.com/office/drawing/2014/main" id="{84FB7ED1-A2DF-40A1-A747-5F7CF3F14040}"/>
                  </a:ext>
                </a:extLst>
              </p:cNvPr>
              <p:cNvGrpSpPr/>
              <p:nvPr/>
            </p:nvGrpSpPr>
            <p:grpSpPr>
              <a:xfrm>
                <a:off x="4662459" y="3008850"/>
                <a:ext cx="15448" cy="13438"/>
                <a:chOff x="4662459" y="3008850"/>
                <a:chExt cx="15448" cy="13438"/>
              </a:xfrm>
              <a:solidFill>
                <a:schemeClr val="accent1"/>
              </a:solidFill>
            </p:grpSpPr>
            <p:sp>
              <p:nvSpPr>
                <p:cNvPr id="2434" name="Freeform: Shape 2433">
                  <a:extLst>
                    <a:ext uri="{FF2B5EF4-FFF2-40B4-BE49-F238E27FC236}">
                      <a16:creationId xmlns:a16="http://schemas.microsoft.com/office/drawing/2014/main" id="{96E7A931-2480-4CD0-AB0D-72EB8B7A587B}"/>
                    </a:ext>
                  </a:extLst>
                </p:cNvPr>
                <p:cNvSpPr/>
                <p:nvPr/>
              </p:nvSpPr>
              <p:spPr>
                <a:xfrm>
                  <a:off x="4662585" y="3009101"/>
                  <a:ext cx="15322" cy="13187"/>
                </a:xfrm>
                <a:custGeom>
                  <a:avLst/>
                  <a:gdLst>
                    <a:gd name="connsiteX0" fmla="*/ 0 w 15322"/>
                    <a:gd name="connsiteY0" fmla="*/ 4019 h 13187"/>
                    <a:gd name="connsiteX1" fmla="*/ 0 w 15322"/>
                    <a:gd name="connsiteY1" fmla="*/ 8917 h 13187"/>
                    <a:gd name="connsiteX2" fmla="*/ 4270 w 15322"/>
                    <a:gd name="connsiteY2" fmla="*/ 12811 h 13187"/>
                    <a:gd name="connsiteX3" fmla="*/ 5149 w 15322"/>
                    <a:gd name="connsiteY3" fmla="*/ 13062 h 13187"/>
                    <a:gd name="connsiteX4" fmla="*/ 5526 w 15322"/>
                    <a:gd name="connsiteY4" fmla="*/ 13062 h 13187"/>
                    <a:gd name="connsiteX5" fmla="*/ 5777 w 15322"/>
                    <a:gd name="connsiteY5" fmla="*/ 13062 h 13187"/>
                    <a:gd name="connsiteX6" fmla="*/ 6029 w 15322"/>
                    <a:gd name="connsiteY6" fmla="*/ 13062 h 13187"/>
                    <a:gd name="connsiteX7" fmla="*/ 6782 w 15322"/>
                    <a:gd name="connsiteY7" fmla="*/ 13187 h 13187"/>
                    <a:gd name="connsiteX8" fmla="*/ 7159 w 15322"/>
                    <a:gd name="connsiteY8" fmla="*/ 13187 h 13187"/>
                    <a:gd name="connsiteX9" fmla="*/ 7661 w 15322"/>
                    <a:gd name="connsiteY9" fmla="*/ 13187 h 13187"/>
                    <a:gd name="connsiteX10" fmla="*/ 8289 w 15322"/>
                    <a:gd name="connsiteY10" fmla="*/ 13187 h 13187"/>
                    <a:gd name="connsiteX11" fmla="*/ 8666 w 15322"/>
                    <a:gd name="connsiteY11" fmla="*/ 13187 h 13187"/>
                    <a:gd name="connsiteX12" fmla="*/ 9420 w 15322"/>
                    <a:gd name="connsiteY12" fmla="*/ 13062 h 13187"/>
                    <a:gd name="connsiteX13" fmla="*/ 9671 w 15322"/>
                    <a:gd name="connsiteY13" fmla="*/ 13062 h 13187"/>
                    <a:gd name="connsiteX14" fmla="*/ 9922 w 15322"/>
                    <a:gd name="connsiteY14" fmla="*/ 13062 h 13187"/>
                    <a:gd name="connsiteX15" fmla="*/ 10299 w 15322"/>
                    <a:gd name="connsiteY15" fmla="*/ 13062 h 13187"/>
                    <a:gd name="connsiteX16" fmla="*/ 11178 w 15322"/>
                    <a:gd name="connsiteY16" fmla="*/ 12811 h 13187"/>
                    <a:gd name="connsiteX17" fmla="*/ 11555 w 15322"/>
                    <a:gd name="connsiteY17" fmla="*/ 12685 h 13187"/>
                    <a:gd name="connsiteX18" fmla="*/ 12308 w 15322"/>
                    <a:gd name="connsiteY18" fmla="*/ 12434 h 13187"/>
                    <a:gd name="connsiteX19" fmla="*/ 12559 w 15322"/>
                    <a:gd name="connsiteY19" fmla="*/ 12308 h 13187"/>
                    <a:gd name="connsiteX20" fmla="*/ 13187 w 15322"/>
                    <a:gd name="connsiteY20" fmla="*/ 12057 h 13187"/>
                    <a:gd name="connsiteX21" fmla="*/ 13439 w 15322"/>
                    <a:gd name="connsiteY21" fmla="*/ 11931 h 13187"/>
                    <a:gd name="connsiteX22" fmla="*/ 14192 w 15322"/>
                    <a:gd name="connsiteY22" fmla="*/ 11429 h 13187"/>
                    <a:gd name="connsiteX23" fmla="*/ 14318 w 15322"/>
                    <a:gd name="connsiteY23" fmla="*/ 11303 h 13187"/>
                    <a:gd name="connsiteX24" fmla="*/ 14694 w 15322"/>
                    <a:gd name="connsiteY24" fmla="*/ 10927 h 13187"/>
                    <a:gd name="connsiteX25" fmla="*/ 14946 w 15322"/>
                    <a:gd name="connsiteY25" fmla="*/ 10550 h 13187"/>
                    <a:gd name="connsiteX26" fmla="*/ 15071 w 15322"/>
                    <a:gd name="connsiteY26" fmla="*/ 10299 h 13187"/>
                    <a:gd name="connsiteX27" fmla="*/ 15197 w 15322"/>
                    <a:gd name="connsiteY27" fmla="*/ 10047 h 13187"/>
                    <a:gd name="connsiteX28" fmla="*/ 15197 w 15322"/>
                    <a:gd name="connsiteY28" fmla="*/ 10047 h 13187"/>
                    <a:gd name="connsiteX29" fmla="*/ 15197 w 15322"/>
                    <a:gd name="connsiteY29" fmla="*/ 9922 h 13187"/>
                    <a:gd name="connsiteX30" fmla="*/ 15197 w 15322"/>
                    <a:gd name="connsiteY30" fmla="*/ 9796 h 13187"/>
                    <a:gd name="connsiteX31" fmla="*/ 15323 w 15322"/>
                    <a:gd name="connsiteY31" fmla="*/ 9168 h 13187"/>
                    <a:gd name="connsiteX32" fmla="*/ 15323 w 15322"/>
                    <a:gd name="connsiteY32" fmla="*/ 4270 h 13187"/>
                    <a:gd name="connsiteX33" fmla="*/ 12057 w 15322"/>
                    <a:gd name="connsiteY33" fmla="*/ 754 h 13187"/>
                    <a:gd name="connsiteX34" fmla="*/ 11303 w 15322"/>
                    <a:gd name="connsiteY34" fmla="*/ 502 h 13187"/>
                    <a:gd name="connsiteX35" fmla="*/ 10927 w 15322"/>
                    <a:gd name="connsiteY35" fmla="*/ 377 h 13187"/>
                    <a:gd name="connsiteX36" fmla="*/ 7536 w 15322"/>
                    <a:gd name="connsiteY36" fmla="*/ 0 h 13187"/>
                    <a:gd name="connsiteX37" fmla="*/ 4144 w 15322"/>
                    <a:gd name="connsiteY37" fmla="*/ 377 h 13187"/>
                    <a:gd name="connsiteX38" fmla="*/ 0 w 15322"/>
                    <a:gd name="connsiteY38" fmla="*/ 401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322" h="13187">
                      <a:moveTo>
                        <a:pt x="0" y="4019"/>
                      </a:moveTo>
                      <a:lnTo>
                        <a:pt x="0" y="8917"/>
                      </a:lnTo>
                      <a:cubicBezTo>
                        <a:pt x="0" y="10550"/>
                        <a:pt x="1758" y="12057"/>
                        <a:pt x="4270" y="12811"/>
                      </a:cubicBezTo>
                      <a:cubicBezTo>
                        <a:pt x="4521" y="12936"/>
                        <a:pt x="4773" y="12936"/>
                        <a:pt x="5149" y="13062"/>
                      </a:cubicBezTo>
                      <a:cubicBezTo>
                        <a:pt x="5275" y="13062"/>
                        <a:pt x="5400" y="13062"/>
                        <a:pt x="5526" y="13062"/>
                      </a:cubicBezTo>
                      <a:cubicBezTo>
                        <a:pt x="5652" y="13062"/>
                        <a:pt x="5652" y="13062"/>
                        <a:pt x="5777" y="13062"/>
                      </a:cubicBezTo>
                      <a:cubicBezTo>
                        <a:pt x="5903" y="13062"/>
                        <a:pt x="5903" y="13062"/>
                        <a:pt x="6029" y="13062"/>
                      </a:cubicBezTo>
                      <a:cubicBezTo>
                        <a:pt x="6280" y="13062"/>
                        <a:pt x="6531" y="13062"/>
                        <a:pt x="6782" y="13187"/>
                      </a:cubicBezTo>
                      <a:cubicBezTo>
                        <a:pt x="6908" y="13187"/>
                        <a:pt x="7033" y="13187"/>
                        <a:pt x="7159" y="13187"/>
                      </a:cubicBezTo>
                      <a:cubicBezTo>
                        <a:pt x="7284" y="13187"/>
                        <a:pt x="7536" y="13187"/>
                        <a:pt x="7661" y="13187"/>
                      </a:cubicBezTo>
                      <a:cubicBezTo>
                        <a:pt x="7913" y="13187"/>
                        <a:pt x="8038" y="13187"/>
                        <a:pt x="8289" y="13187"/>
                      </a:cubicBezTo>
                      <a:cubicBezTo>
                        <a:pt x="8415" y="13187"/>
                        <a:pt x="8540" y="13187"/>
                        <a:pt x="8666" y="13187"/>
                      </a:cubicBezTo>
                      <a:cubicBezTo>
                        <a:pt x="8917" y="13187"/>
                        <a:pt x="9169" y="13187"/>
                        <a:pt x="9420" y="13062"/>
                      </a:cubicBezTo>
                      <a:cubicBezTo>
                        <a:pt x="9545" y="13062"/>
                        <a:pt x="9671" y="13062"/>
                        <a:pt x="9671" y="13062"/>
                      </a:cubicBezTo>
                      <a:cubicBezTo>
                        <a:pt x="9796" y="13062"/>
                        <a:pt x="9796" y="13062"/>
                        <a:pt x="9922" y="13062"/>
                      </a:cubicBezTo>
                      <a:cubicBezTo>
                        <a:pt x="10047" y="13062"/>
                        <a:pt x="10173" y="13062"/>
                        <a:pt x="10299" y="13062"/>
                      </a:cubicBezTo>
                      <a:cubicBezTo>
                        <a:pt x="10550" y="13062"/>
                        <a:pt x="10927" y="12936"/>
                        <a:pt x="11178" y="12811"/>
                      </a:cubicBezTo>
                      <a:cubicBezTo>
                        <a:pt x="11303" y="12811"/>
                        <a:pt x="11429" y="12685"/>
                        <a:pt x="11555" y="12685"/>
                      </a:cubicBezTo>
                      <a:cubicBezTo>
                        <a:pt x="11806" y="12559"/>
                        <a:pt x="12057" y="12559"/>
                        <a:pt x="12308" y="12434"/>
                      </a:cubicBezTo>
                      <a:cubicBezTo>
                        <a:pt x="12434" y="12434"/>
                        <a:pt x="12434" y="12308"/>
                        <a:pt x="12559" y="12308"/>
                      </a:cubicBezTo>
                      <a:cubicBezTo>
                        <a:pt x="12811" y="12183"/>
                        <a:pt x="12936" y="12057"/>
                        <a:pt x="13187" y="12057"/>
                      </a:cubicBezTo>
                      <a:cubicBezTo>
                        <a:pt x="13313" y="12057"/>
                        <a:pt x="13313" y="11931"/>
                        <a:pt x="13439" y="11931"/>
                      </a:cubicBezTo>
                      <a:cubicBezTo>
                        <a:pt x="13690" y="11806"/>
                        <a:pt x="13941" y="11555"/>
                        <a:pt x="14192" y="11429"/>
                      </a:cubicBezTo>
                      <a:cubicBezTo>
                        <a:pt x="14192" y="11429"/>
                        <a:pt x="14318" y="11303"/>
                        <a:pt x="14318" y="11303"/>
                      </a:cubicBezTo>
                      <a:cubicBezTo>
                        <a:pt x="14443" y="11178"/>
                        <a:pt x="14569" y="11052"/>
                        <a:pt x="14694" y="10927"/>
                      </a:cubicBezTo>
                      <a:cubicBezTo>
                        <a:pt x="14820" y="10801"/>
                        <a:pt x="14946" y="10675"/>
                        <a:pt x="14946" y="10550"/>
                      </a:cubicBezTo>
                      <a:cubicBezTo>
                        <a:pt x="14946" y="10424"/>
                        <a:pt x="15071" y="10299"/>
                        <a:pt x="15071" y="10299"/>
                      </a:cubicBezTo>
                      <a:cubicBezTo>
                        <a:pt x="15071" y="10173"/>
                        <a:pt x="15197" y="10047"/>
                        <a:pt x="15197" y="10047"/>
                      </a:cubicBezTo>
                      <a:cubicBezTo>
                        <a:pt x="15197" y="10047"/>
                        <a:pt x="15197" y="10047"/>
                        <a:pt x="15197" y="10047"/>
                      </a:cubicBezTo>
                      <a:cubicBezTo>
                        <a:pt x="15197" y="10047"/>
                        <a:pt x="15197" y="9922"/>
                        <a:pt x="15197" y="9922"/>
                      </a:cubicBezTo>
                      <a:cubicBezTo>
                        <a:pt x="15197" y="9922"/>
                        <a:pt x="15197" y="9922"/>
                        <a:pt x="15197" y="9796"/>
                      </a:cubicBezTo>
                      <a:cubicBezTo>
                        <a:pt x="15197" y="9545"/>
                        <a:pt x="15323" y="9420"/>
                        <a:pt x="15323" y="9168"/>
                      </a:cubicBezTo>
                      <a:lnTo>
                        <a:pt x="15323" y="4270"/>
                      </a:lnTo>
                      <a:cubicBezTo>
                        <a:pt x="15323" y="2763"/>
                        <a:pt x="14067" y="1507"/>
                        <a:pt x="12057" y="754"/>
                      </a:cubicBezTo>
                      <a:cubicBezTo>
                        <a:pt x="11806" y="628"/>
                        <a:pt x="11555" y="628"/>
                        <a:pt x="11303" y="502"/>
                      </a:cubicBezTo>
                      <a:cubicBezTo>
                        <a:pt x="11178" y="502"/>
                        <a:pt x="11052" y="377"/>
                        <a:pt x="10927" y="377"/>
                      </a:cubicBezTo>
                      <a:cubicBezTo>
                        <a:pt x="9922" y="126"/>
                        <a:pt x="8791" y="0"/>
                        <a:pt x="7536" y="0"/>
                      </a:cubicBezTo>
                      <a:cubicBezTo>
                        <a:pt x="6280" y="0"/>
                        <a:pt x="5149" y="126"/>
                        <a:pt x="4144" y="377"/>
                      </a:cubicBezTo>
                      <a:cubicBezTo>
                        <a:pt x="1633" y="879"/>
                        <a:pt x="0" y="2386"/>
                        <a:pt x="0" y="4019"/>
                      </a:cubicBezTo>
                      <a:close/>
                    </a:path>
                  </a:pathLst>
                </a:custGeom>
                <a:solidFill>
                  <a:srgbClr val="59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5" name="Freeform: Shape 2434">
                  <a:extLst>
                    <a:ext uri="{FF2B5EF4-FFF2-40B4-BE49-F238E27FC236}">
                      <a16:creationId xmlns:a16="http://schemas.microsoft.com/office/drawing/2014/main" id="{E7664A70-BCE0-4ADC-B206-059B99EBE523}"/>
                    </a:ext>
                  </a:extLst>
                </p:cNvPr>
                <p:cNvSpPr/>
                <p:nvPr/>
              </p:nvSpPr>
              <p:spPr>
                <a:xfrm>
                  <a:off x="4662459" y="3009352"/>
                  <a:ext cx="4395" cy="12559"/>
                </a:xfrm>
                <a:custGeom>
                  <a:avLst/>
                  <a:gdLst>
                    <a:gd name="connsiteX0" fmla="*/ 4270 w 4395"/>
                    <a:gd name="connsiteY0" fmla="*/ 0 h 12559"/>
                    <a:gd name="connsiteX1" fmla="*/ 4396 w 4395"/>
                    <a:gd name="connsiteY1" fmla="*/ 0 h 12559"/>
                    <a:gd name="connsiteX2" fmla="*/ 4396 w 4395"/>
                    <a:gd name="connsiteY2" fmla="*/ 12559 h 12559"/>
                    <a:gd name="connsiteX3" fmla="*/ 4270 w 4395"/>
                    <a:gd name="connsiteY3" fmla="*/ 12559 h 12559"/>
                    <a:gd name="connsiteX4" fmla="*/ 0 w 4395"/>
                    <a:gd name="connsiteY4" fmla="*/ 8666 h 12559"/>
                    <a:gd name="connsiteX5" fmla="*/ 0 w 4395"/>
                    <a:gd name="connsiteY5" fmla="*/ 3768 h 12559"/>
                    <a:gd name="connsiteX6" fmla="*/ 4270 w 4395"/>
                    <a:gd name="connsiteY6"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5" h="12559">
                      <a:moveTo>
                        <a:pt x="4270" y="0"/>
                      </a:moveTo>
                      <a:cubicBezTo>
                        <a:pt x="4270" y="0"/>
                        <a:pt x="4396" y="0"/>
                        <a:pt x="4396" y="0"/>
                      </a:cubicBezTo>
                      <a:lnTo>
                        <a:pt x="4396" y="12559"/>
                      </a:lnTo>
                      <a:cubicBezTo>
                        <a:pt x="4396" y="12559"/>
                        <a:pt x="4270" y="12559"/>
                        <a:pt x="4270" y="12559"/>
                      </a:cubicBezTo>
                      <a:cubicBezTo>
                        <a:pt x="1759" y="11806"/>
                        <a:pt x="0" y="10424"/>
                        <a:pt x="0" y="8666"/>
                      </a:cubicBezTo>
                      <a:lnTo>
                        <a:pt x="0" y="3768"/>
                      </a:lnTo>
                      <a:cubicBezTo>
                        <a:pt x="126" y="2135"/>
                        <a:pt x="1759" y="628"/>
                        <a:pt x="4270" y="0"/>
                      </a:cubicBezTo>
                      <a:close/>
                    </a:path>
                  </a:pathLst>
                </a:custGeom>
                <a:solidFill>
                  <a:srgbClr val="6B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6" name="Freeform: Shape 2435">
                  <a:extLst>
                    <a:ext uri="{FF2B5EF4-FFF2-40B4-BE49-F238E27FC236}">
                      <a16:creationId xmlns:a16="http://schemas.microsoft.com/office/drawing/2014/main" id="{12616984-6AD2-410C-A0A8-ECB01E2EDB27}"/>
                    </a:ext>
                  </a:extLst>
                </p:cNvPr>
                <p:cNvSpPr/>
                <p:nvPr/>
              </p:nvSpPr>
              <p:spPr>
                <a:xfrm>
                  <a:off x="4671251" y="3009101"/>
                  <a:ext cx="6530" cy="12936"/>
                </a:xfrm>
                <a:custGeom>
                  <a:avLst/>
                  <a:gdLst>
                    <a:gd name="connsiteX0" fmla="*/ 0 w 6530"/>
                    <a:gd name="connsiteY0" fmla="*/ 0 h 12936"/>
                    <a:gd name="connsiteX1" fmla="*/ 2135 w 6530"/>
                    <a:gd name="connsiteY1" fmla="*/ 251 h 12936"/>
                    <a:gd name="connsiteX2" fmla="*/ 2512 w 6530"/>
                    <a:gd name="connsiteY2" fmla="*/ 377 h 12936"/>
                    <a:gd name="connsiteX3" fmla="*/ 3265 w 6530"/>
                    <a:gd name="connsiteY3" fmla="*/ 628 h 12936"/>
                    <a:gd name="connsiteX4" fmla="*/ 6531 w 6530"/>
                    <a:gd name="connsiteY4" fmla="*/ 4144 h 12936"/>
                    <a:gd name="connsiteX5" fmla="*/ 6531 w 6530"/>
                    <a:gd name="connsiteY5" fmla="*/ 9043 h 12936"/>
                    <a:gd name="connsiteX6" fmla="*/ 6405 w 6530"/>
                    <a:gd name="connsiteY6" fmla="*/ 9671 h 12936"/>
                    <a:gd name="connsiteX7" fmla="*/ 6405 w 6530"/>
                    <a:gd name="connsiteY7" fmla="*/ 9796 h 12936"/>
                    <a:gd name="connsiteX8" fmla="*/ 6405 w 6530"/>
                    <a:gd name="connsiteY8" fmla="*/ 9922 h 12936"/>
                    <a:gd name="connsiteX9" fmla="*/ 6405 w 6530"/>
                    <a:gd name="connsiteY9" fmla="*/ 9922 h 12936"/>
                    <a:gd name="connsiteX10" fmla="*/ 6280 w 6530"/>
                    <a:gd name="connsiteY10" fmla="*/ 10173 h 12936"/>
                    <a:gd name="connsiteX11" fmla="*/ 6154 w 6530"/>
                    <a:gd name="connsiteY11" fmla="*/ 10424 h 12936"/>
                    <a:gd name="connsiteX12" fmla="*/ 5903 w 6530"/>
                    <a:gd name="connsiteY12" fmla="*/ 10801 h 12936"/>
                    <a:gd name="connsiteX13" fmla="*/ 5526 w 6530"/>
                    <a:gd name="connsiteY13" fmla="*/ 11178 h 12936"/>
                    <a:gd name="connsiteX14" fmla="*/ 5400 w 6530"/>
                    <a:gd name="connsiteY14" fmla="*/ 11303 h 12936"/>
                    <a:gd name="connsiteX15" fmla="*/ 4647 w 6530"/>
                    <a:gd name="connsiteY15" fmla="*/ 11806 h 12936"/>
                    <a:gd name="connsiteX16" fmla="*/ 4396 w 6530"/>
                    <a:gd name="connsiteY16" fmla="*/ 11931 h 12936"/>
                    <a:gd name="connsiteX17" fmla="*/ 3768 w 6530"/>
                    <a:gd name="connsiteY17" fmla="*/ 12183 h 12936"/>
                    <a:gd name="connsiteX18" fmla="*/ 3517 w 6530"/>
                    <a:gd name="connsiteY18" fmla="*/ 12308 h 12936"/>
                    <a:gd name="connsiteX19" fmla="*/ 2763 w 6530"/>
                    <a:gd name="connsiteY19" fmla="*/ 12559 h 12936"/>
                    <a:gd name="connsiteX20" fmla="*/ 2386 w 6530"/>
                    <a:gd name="connsiteY20" fmla="*/ 12685 h 12936"/>
                    <a:gd name="connsiteX21" fmla="*/ 1507 w 6530"/>
                    <a:gd name="connsiteY21" fmla="*/ 12936 h 12936"/>
                    <a:gd name="connsiteX22" fmla="*/ 1130 w 6530"/>
                    <a:gd name="connsiteY22" fmla="*/ 12936 h 12936"/>
                    <a:gd name="connsiteX23" fmla="*/ 879 w 6530"/>
                    <a:gd name="connsiteY23" fmla="*/ 12936 h 12936"/>
                    <a:gd name="connsiteX24" fmla="*/ 628 w 6530"/>
                    <a:gd name="connsiteY24" fmla="*/ 12936 h 12936"/>
                    <a:gd name="connsiteX25" fmla="*/ 251 w 6530"/>
                    <a:gd name="connsiteY25" fmla="*/ 12936 h 12936"/>
                    <a:gd name="connsiteX26" fmla="*/ 251 w 6530"/>
                    <a:gd name="connsiteY26" fmla="*/ 0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530" h="12936">
                      <a:moveTo>
                        <a:pt x="0" y="0"/>
                      </a:moveTo>
                      <a:cubicBezTo>
                        <a:pt x="754" y="126"/>
                        <a:pt x="1507" y="126"/>
                        <a:pt x="2135" y="251"/>
                      </a:cubicBezTo>
                      <a:cubicBezTo>
                        <a:pt x="2261" y="251"/>
                        <a:pt x="2386" y="377"/>
                        <a:pt x="2512" y="377"/>
                      </a:cubicBezTo>
                      <a:cubicBezTo>
                        <a:pt x="2763" y="502"/>
                        <a:pt x="3014" y="502"/>
                        <a:pt x="3265" y="628"/>
                      </a:cubicBezTo>
                      <a:cubicBezTo>
                        <a:pt x="5149" y="1381"/>
                        <a:pt x="6531" y="2637"/>
                        <a:pt x="6531" y="4144"/>
                      </a:cubicBezTo>
                      <a:lnTo>
                        <a:pt x="6531" y="9043"/>
                      </a:lnTo>
                      <a:cubicBezTo>
                        <a:pt x="6531" y="9294"/>
                        <a:pt x="6531" y="9420"/>
                        <a:pt x="6405" y="9671"/>
                      </a:cubicBezTo>
                      <a:cubicBezTo>
                        <a:pt x="6405" y="9671"/>
                        <a:pt x="6405" y="9671"/>
                        <a:pt x="6405" y="9796"/>
                      </a:cubicBezTo>
                      <a:cubicBezTo>
                        <a:pt x="6405" y="9796"/>
                        <a:pt x="6405" y="9922"/>
                        <a:pt x="6405" y="9922"/>
                      </a:cubicBezTo>
                      <a:cubicBezTo>
                        <a:pt x="6405" y="9922"/>
                        <a:pt x="6405" y="9922"/>
                        <a:pt x="6405" y="9922"/>
                      </a:cubicBezTo>
                      <a:cubicBezTo>
                        <a:pt x="6405" y="10047"/>
                        <a:pt x="6280" y="10173"/>
                        <a:pt x="6280" y="10173"/>
                      </a:cubicBezTo>
                      <a:cubicBezTo>
                        <a:pt x="6280" y="10299"/>
                        <a:pt x="6154" y="10424"/>
                        <a:pt x="6154" y="10424"/>
                      </a:cubicBezTo>
                      <a:cubicBezTo>
                        <a:pt x="6028" y="10550"/>
                        <a:pt x="6028" y="10675"/>
                        <a:pt x="5903" y="10801"/>
                      </a:cubicBezTo>
                      <a:cubicBezTo>
                        <a:pt x="5777" y="10927"/>
                        <a:pt x="5652" y="11052"/>
                        <a:pt x="5526" y="11178"/>
                      </a:cubicBezTo>
                      <a:cubicBezTo>
                        <a:pt x="5526" y="11178"/>
                        <a:pt x="5400" y="11303"/>
                        <a:pt x="5400" y="11303"/>
                      </a:cubicBezTo>
                      <a:cubicBezTo>
                        <a:pt x="5149" y="11429"/>
                        <a:pt x="4898" y="11680"/>
                        <a:pt x="4647" y="11806"/>
                      </a:cubicBezTo>
                      <a:cubicBezTo>
                        <a:pt x="4521" y="11806"/>
                        <a:pt x="4521" y="11931"/>
                        <a:pt x="4396" y="11931"/>
                      </a:cubicBezTo>
                      <a:cubicBezTo>
                        <a:pt x="4270" y="12057"/>
                        <a:pt x="4019" y="12183"/>
                        <a:pt x="3768" y="12183"/>
                      </a:cubicBezTo>
                      <a:cubicBezTo>
                        <a:pt x="3642" y="12183"/>
                        <a:pt x="3642" y="12308"/>
                        <a:pt x="3517" y="12308"/>
                      </a:cubicBezTo>
                      <a:cubicBezTo>
                        <a:pt x="3265" y="12434"/>
                        <a:pt x="3014" y="12559"/>
                        <a:pt x="2763" y="12559"/>
                      </a:cubicBezTo>
                      <a:cubicBezTo>
                        <a:pt x="2637" y="12559"/>
                        <a:pt x="2512" y="12685"/>
                        <a:pt x="2386" y="12685"/>
                      </a:cubicBezTo>
                      <a:cubicBezTo>
                        <a:pt x="2135" y="12811"/>
                        <a:pt x="1884" y="12811"/>
                        <a:pt x="1507" y="12936"/>
                      </a:cubicBezTo>
                      <a:cubicBezTo>
                        <a:pt x="1381" y="12936"/>
                        <a:pt x="1256" y="12936"/>
                        <a:pt x="1130" y="12936"/>
                      </a:cubicBezTo>
                      <a:cubicBezTo>
                        <a:pt x="1005" y="12936"/>
                        <a:pt x="1005" y="12936"/>
                        <a:pt x="879" y="12936"/>
                      </a:cubicBezTo>
                      <a:cubicBezTo>
                        <a:pt x="754" y="12936"/>
                        <a:pt x="628" y="12936"/>
                        <a:pt x="628" y="12936"/>
                      </a:cubicBezTo>
                      <a:cubicBezTo>
                        <a:pt x="502" y="12936"/>
                        <a:pt x="377" y="12936"/>
                        <a:pt x="251" y="12936"/>
                      </a:cubicBezTo>
                      <a:lnTo>
                        <a:pt x="251" y="0"/>
                      </a:lnTo>
                      <a:close/>
                    </a:path>
                  </a:pathLst>
                </a:custGeom>
                <a:solidFill>
                  <a:srgbClr val="47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7" name="Freeform: Shape 2436">
                  <a:extLst>
                    <a:ext uri="{FF2B5EF4-FFF2-40B4-BE49-F238E27FC236}">
                      <a16:creationId xmlns:a16="http://schemas.microsoft.com/office/drawing/2014/main" id="{7455ADFE-DAD5-4CBF-B4AE-680AACB3D96B}"/>
                    </a:ext>
                  </a:extLst>
                </p:cNvPr>
                <p:cNvSpPr/>
                <p:nvPr/>
              </p:nvSpPr>
              <p:spPr>
                <a:xfrm>
                  <a:off x="4675395" y="3010231"/>
                  <a:ext cx="2386" cy="10675"/>
                </a:xfrm>
                <a:custGeom>
                  <a:avLst/>
                  <a:gdLst>
                    <a:gd name="connsiteX0" fmla="*/ 0 w 2386"/>
                    <a:gd name="connsiteY0" fmla="*/ 0 h 10675"/>
                    <a:gd name="connsiteX1" fmla="*/ 2386 w 2386"/>
                    <a:gd name="connsiteY1" fmla="*/ 2889 h 10675"/>
                    <a:gd name="connsiteX2" fmla="*/ 2386 w 2386"/>
                    <a:gd name="connsiteY2" fmla="*/ 7787 h 10675"/>
                    <a:gd name="connsiteX3" fmla="*/ 2261 w 2386"/>
                    <a:gd name="connsiteY3" fmla="*/ 8415 h 10675"/>
                    <a:gd name="connsiteX4" fmla="*/ 2261 w 2386"/>
                    <a:gd name="connsiteY4" fmla="*/ 8540 h 10675"/>
                    <a:gd name="connsiteX5" fmla="*/ 2261 w 2386"/>
                    <a:gd name="connsiteY5" fmla="*/ 8666 h 10675"/>
                    <a:gd name="connsiteX6" fmla="*/ 2261 w 2386"/>
                    <a:gd name="connsiteY6" fmla="*/ 8666 h 10675"/>
                    <a:gd name="connsiteX7" fmla="*/ 2135 w 2386"/>
                    <a:gd name="connsiteY7" fmla="*/ 8917 h 10675"/>
                    <a:gd name="connsiteX8" fmla="*/ 2010 w 2386"/>
                    <a:gd name="connsiteY8" fmla="*/ 9168 h 10675"/>
                    <a:gd name="connsiteX9" fmla="*/ 1759 w 2386"/>
                    <a:gd name="connsiteY9" fmla="*/ 9545 h 10675"/>
                    <a:gd name="connsiteX10" fmla="*/ 1382 w 2386"/>
                    <a:gd name="connsiteY10" fmla="*/ 9922 h 10675"/>
                    <a:gd name="connsiteX11" fmla="*/ 1256 w 2386"/>
                    <a:gd name="connsiteY11" fmla="*/ 10048 h 10675"/>
                    <a:gd name="connsiteX12" fmla="*/ 502 w 2386"/>
                    <a:gd name="connsiteY12" fmla="*/ 10550 h 10675"/>
                    <a:gd name="connsiteX13" fmla="*/ 251 w 2386"/>
                    <a:gd name="connsiteY13" fmla="*/ 10675 h 10675"/>
                    <a:gd name="connsiteX14" fmla="*/ 126 w 2386"/>
                    <a:gd name="connsiteY14" fmla="*/ 10675 h 10675"/>
                    <a:gd name="connsiteX15" fmla="*/ 126 w 2386"/>
                    <a:gd name="connsiteY15"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6" h="10675">
                      <a:moveTo>
                        <a:pt x="0" y="0"/>
                      </a:moveTo>
                      <a:cubicBezTo>
                        <a:pt x="1382" y="754"/>
                        <a:pt x="2386" y="1758"/>
                        <a:pt x="2386" y="2889"/>
                      </a:cubicBezTo>
                      <a:lnTo>
                        <a:pt x="2386" y="7787"/>
                      </a:lnTo>
                      <a:cubicBezTo>
                        <a:pt x="2386" y="8038"/>
                        <a:pt x="2386" y="8164"/>
                        <a:pt x="2261" y="8415"/>
                      </a:cubicBezTo>
                      <a:cubicBezTo>
                        <a:pt x="2261" y="8415"/>
                        <a:pt x="2261" y="8415"/>
                        <a:pt x="2261" y="8540"/>
                      </a:cubicBezTo>
                      <a:cubicBezTo>
                        <a:pt x="2261" y="8540"/>
                        <a:pt x="2261" y="8666"/>
                        <a:pt x="2261" y="8666"/>
                      </a:cubicBezTo>
                      <a:cubicBezTo>
                        <a:pt x="2261" y="8666"/>
                        <a:pt x="2261" y="8666"/>
                        <a:pt x="2261" y="8666"/>
                      </a:cubicBezTo>
                      <a:cubicBezTo>
                        <a:pt x="2261" y="8792"/>
                        <a:pt x="2135" y="8917"/>
                        <a:pt x="2135" y="8917"/>
                      </a:cubicBezTo>
                      <a:cubicBezTo>
                        <a:pt x="2135" y="9043"/>
                        <a:pt x="2010" y="9168"/>
                        <a:pt x="2010" y="9168"/>
                      </a:cubicBezTo>
                      <a:cubicBezTo>
                        <a:pt x="1884" y="9294"/>
                        <a:pt x="1884" y="9420"/>
                        <a:pt x="1759" y="9545"/>
                      </a:cubicBezTo>
                      <a:cubicBezTo>
                        <a:pt x="1633" y="9671"/>
                        <a:pt x="1507" y="9796"/>
                        <a:pt x="1382" y="9922"/>
                      </a:cubicBezTo>
                      <a:cubicBezTo>
                        <a:pt x="1382" y="9922"/>
                        <a:pt x="1256" y="10048"/>
                        <a:pt x="1256" y="10048"/>
                      </a:cubicBezTo>
                      <a:cubicBezTo>
                        <a:pt x="1005" y="10173"/>
                        <a:pt x="754" y="10424"/>
                        <a:pt x="502" y="10550"/>
                      </a:cubicBezTo>
                      <a:cubicBezTo>
                        <a:pt x="377" y="10550"/>
                        <a:pt x="377" y="10675"/>
                        <a:pt x="251" y="10675"/>
                      </a:cubicBezTo>
                      <a:cubicBezTo>
                        <a:pt x="251" y="10675"/>
                        <a:pt x="126" y="10675"/>
                        <a:pt x="126" y="10675"/>
                      </a:cubicBezTo>
                      <a:lnTo>
                        <a:pt x="126" y="0"/>
                      </a:lnTo>
                      <a:close/>
                    </a:path>
                  </a:pathLst>
                </a:custGeom>
                <a:solidFill>
                  <a:srgbClr val="38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8" name="Freeform: Shape 2437">
                  <a:extLst>
                    <a:ext uri="{FF2B5EF4-FFF2-40B4-BE49-F238E27FC236}">
                      <a16:creationId xmlns:a16="http://schemas.microsoft.com/office/drawing/2014/main" id="{E99B34D2-ADAF-47E9-A869-B8C1231DB532}"/>
                    </a:ext>
                  </a:extLst>
                </p:cNvPr>
                <p:cNvSpPr/>
                <p:nvPr/>
              </p:nvSpPr>
              <p:spPr>
                <a:xfrm>
                  <a:off x="4662585" y="3008850"/>
                  <a:ext cx="15322" cy="8540"/>
                </a:xfrm>
                <a:custGeom>
                  <a:avLst/>
                  <a:gdLst>
                    <a:gd name="connsiteX0" fmla="*/ 0 w 15322"/>
                    <a:gd name="connsiteY0" fmla="*/ 4270 h 8540"/>
                    <a:gd name="connsiteX1" fmla="*/ 4270 w 15322"/>
                    <a:gd name="connsiteY1" fmla="*/ 8164 h 8540"/>
                    <a:gd name="connsiteX2" fmla="*/ 7661 w 15322"/>
                    <a:gd name="connsiteY2" fmla="*/ 8540 h 8540"/>
                    <a:gd name="connsiteX3" fmla="*/ 11052 w 15322"/>
                    <a:gd name="connsiteY3" fmla="*/ 8164 h 8540"/>
                    <a:gd name="connsiteX4" fmla="*/ 15323 w 15322"/>
                    <a:gd name="connsiteY4" fmla="*/ 4270 h 8540"/>
                    <a:gd name="connsiteX5" fmla="*/ 12057 w 15322"/>
                    <a:gd name="connsiteY5" fmla="*/ 754 h 8540"/>
                    <a:gd name="connsiteX6" fmla="*/ 11303 w 15322"/>
                    <a:gd name="connsiteY6" fmla="*/ 502 h 8540"/>
                    <a:gd name="connsiteX7" fmla="*/ 10927 w 15322"/>
                    <a:gd name="connsiteY7" fmla="*/ 377 h 8540"/>
                    <a:gd name="connsiteX8" fmla="*/ 7536 w 15322"/>
                    <a:gd name="connsiteY8" fmla="*/ 0 h 8540"/>
                    <a:gd name="connsiteX9" fmla="*/ 4144 w 15322"/>
                    <a:gd name="connsiteY9" fmla="*/ 377 h 8540"/>
                    <a:gd name="connsiteX10" fmla="*/ 0 w 15322"/>
                    <a:gd name="connsiteY10" fmla="*/ 427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22" h="8540">
                      <a:moveTo>
                        <a:pt x="0" y="4270"/>
                      </a:moveTo>
                      <a:cubicBezTo>
                        <a:pt x="0" y="5903"/>
                        <a:pt x="1758" y="7410"/>
                        <a:pt x="4270" y="8164"/>
                      </a:cubicBezTo>
                      <a:cubicBezTo>
                        <a:pt x="5275" y="8415"/>
                        <a:pt x="6405" y="8540"/>
                        <a:pt x="7661" y="8540"/>
                      </a:cubicBezTo>
                      <a:cubicBezTo>
                        <a:pt x="8917" y="8540"/>
                        <a:pt x="10047" y="8415"/>
                        <a:pt x="11052" y="8164"/>
                      </a:cubicBezTo>
                      <a:cubicBezTo>
                        <a:pt x="13564" y="7410"/>
                        <a:pt x="15323" y="6028"/>
                        <a:pt x="15323" y="4270"/>
                      </a:cubicBezTo>
                      <a:cubicBezTo>
                        <a:pt x="15323" y="2763"/>
                        <a:pt x="14067" y="1507"/>
                        <a:pt x="12057" y="754"/>
                      </a:cubicBezTo>
                      <a:cubicBezTo>
                        <a:pt x="11806" y="628"/>
                        <a:pt x="11555" y="628"/>
                        <a:pt x="11303" y="502"/>
                      </a:cubicBezTo>
                      <a:cubicBezTo>
                        <a:pt x="11178" y="502"/>
                        <a:pt x="11052" y="377"/>
                        <a:pt x="10927" y="377"/>
                      </a:cubicBezTo>
                      <a:cubicBezTo>
                        <a:pt x="9922" y="126"/>
                        <a:pt x="8791" y="0"/>
                        <a:pt x="7536" y="0"/>
                      </a:cubicBezTo>
                      <a:cubicBezTo>
                        <a:pt x="6280" y="0"/>
                        <a:pt x="5149" y="126"/>
                        <a:pt x="4144" y="377"/>
                      </a:cubicBezTo>
                      <a:cubicBezTo>
                        <a:pt x="1633" y="1130"/>
                        <a:pt x="0" y="2637"/>
                        <a:pt x="0" y="4270"/>
                      </a:cubicBezTo>
                      <a:close/>
                    </a:path>
                  </a:pathLst>
                </a:custGeom>
                <a:solidFill>
                  <a:srgbClr val="84727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39" name="Graphic 4">
                <a:extLst>
                  <a:ext uri="{FF2B5EF4-FFF2-40B4-BE49-F238E27FC236}">
                    <a16:creationId xmlns:a16="http://schemas.microsoft.com/office/drawing/2014/main" id="{84FB7ED1-A2DF-40A1-A747-5F7CF3F14040}"/>
                  </a:ext>
                </a:extLst>
              </p:cNvPr>
              <p:cNvGrpSpPr/>
              <p:nvPr/>
            </p:nvGrpSpPr>
            <p:grpSpPr>
              <a:xfrm>
                <a:off x="4665473" y="3007845"/>
                <a:ext cx="9419" cy="7661"/>
                <a:chOff x="4665473" y="3007845"/>
                <a:chExt cx="9419" cy="7661"/>
              </a:xfrm>
              <a:solidFill>
                <a:schemeClr val="accent1"/>
              </a:solidFill>
            </p:grpSpPr>
            <p:sp>
              <p:nvSpPr>
                <p:cNvPr id="2440" name="Freeform: Shape 2439">
                  <a:extLst>
                    <a:ext uri="{FF2B5EF4-FFF2-40B4-BE49-F238E27FC236}">
                      <a16:creationId xmlns:a16="http://schemas.microsoft.com/office/drawing/2014/main" id="{C6145B5E-A622-46A5-848B-520A334806D1}"/>
                    </a:ext>
                  </a:extLst>
                </p:cNvPr>
                <p:cNvSpPr/>
                <p:nvPr/>
              </p:nvSpPr>
              <p:spPr>
                <a:xfrm>
                  <a:off x="4665473" y="3007970"/>
                  <a:ext cx="9419" cy="7535"/>
                </a:xfrm>
                <a:custGeom>
                  <a:avLst/>
                  <a:gdLst>
                    <a:gd name="connsiteX0" fmla="*/ 0 w 9419"/>
                    <a:gd name="connsiteY0" fmla="*/ 2512 h 7535"/>
                    <a:gd name="connsiteX1" fmla="*/ 0 w 9419"/>
                    <a:gd name="connsiteY1" fmla="*/ 5024 h 7535"/>
                    <a:gd name="connsiteX2" fmla="*/ 2637 w 9419"/>
                    <a:gd name="connsiteY2" fmla="*/ 7410 h 7535"/>
                    <a:gd name="connsiteX3" fmla="*/ 3140 w 9419"/>
                    <a:gd name="connsiteY3" fmla="*/ 7536 h 7535"/>
                    <a:gd name="connsiteX4" fmla="*/ 3391 w 9419"/>
                    <a:gd name="connsiteY4" fmla="*/ 7536 h 7535"/>
                    <a:gd name="connsiteX5" fmla="*/ 3517 w 9419"/>
                    <a:gd name="connsiteY5" fmla="*/ 7536 h 7535"/>
                    <a:gd name="connsiteX6" fmla="*/ 3642 w 9419"/>
                    <a:gd name="connsiteY6" fmla="*/ 7536 h 7535"/>
                    <a:gd name="connsiteX7" fmla="*/ 4144 w 9419"/>
                    <a:gd name="connsiteY7" fmla="*/ 7536 h 7535"/>
                    <a:gd name="connsiteX8" fmla="*/ 4396 w 9419"/>
                    <a:gd name="connsiteY8" fmla="*/ 7536 h 7535"/>
                    <a:gd name="connsiteX9" fmla="*/ 4772 w 9419"/>
                    <a:gd name="connsiteY9" fmla="*/ 7536 h 7535"/>
                    <a:gd name="connsiteX10" fmla="*/ 5149 w 9419"/>
                    <a:gd name="connsiteY10" fmla="*/ 7536 h 7535"/>
                    <a:gd name="connsiteX11" fmla="*/ 5400 w 9419"/>
                    <a:gd name="connsiteY11" fmla="*/ 7536 h 7535"/>
                    <a:gd name="connsiteX12" fmla="*/ 5903 w 9419"/>
                    <a:gd name="connsiteY12" fmla="*/ 7536 h 7535"/>
                    <a:gd name="connsiteX13" fmla="*/ 6028 w 9419"/>
                    <a:gd name="connsiteY13" fmla="*/ 7536 h 7535"/>
                    <a:gd name="connsiteX14" fmla="*/ 6154 w 9419"/>
                    <a:gd name="connsiteY14" fmla="*/ 7536 h 7535"/>
                    <a:gd name="connsiteX15" fmla="*/ 6405 w 9419"/>
                    <a:gd name="connsiteY15" fmla="*/ 7536 h 7535"/>
                    <a:gd name="connsiteX16" fmla="*/ 6908 w 9419"/>
                    <a:gd name="connsiteY16" fmla="*/ 7410 h 7535"/>
                    <a:gd name="connsiteX17" fmla="*/ 7159 w 9419"/>
                    <a:gd name="connsiteY17" fmla="*/ 7285 h 7535"/>
                    <a:gd name="connsiteX18" fmla="*/ 7661 w 9419"/>
                    <a:gd name="connsiteY18" fmla="*/ 7159 h 7535"/>
                    <a:gd name="connsiteX19" fmla="*/ 7787 w 9419"/>
                    <a:gd name="connsiteY19" fmla="*/ 7033 h 7535"/>
                    <a:gd name="connsiteX20" fmla="*/ 8164 w 9419"/>
                    <a:gd name="connsiteY20" fmla="*/ 6908 h 7535"/>
                    <a:gd name="connsiteX21" fmla="*/ 8289 w 9419"/>
                    <a:gd name="connsiteY21" fmla="*/ 6782 h 7535"/>
                    <a:gd name="connsiteX22" fmla="*/ 8666 w 9419"/>
                    <a:gd name="connsiteY22" fmla="*/ 6531 h 7535"/>
                    <a:gd name="connsiteX23" fmla="*/ 8791 w 9419"/>
                    <a:gd name="connsiteY23" fmla="*/ 6405 h 7535"/>
                    <a:gd name="connsiteX24" fmla="*/ 9042 w 9419"/>
                    <a:gd name="connsiteY24" fmla="*/ 6154 h 7535"/>
                    <a:gd name="connsiteX25" fmla="*/ 9168 w 9419"/>
                    <a:gd name="connsiteY25" fmla="*/ 5903 h 7535"/>
                    <a:gd name="connsiteX26" fmla="*/ 9294 w 9419"/>
                    <a:gd name="connsiteY26" fmla="*/ 5777 h 7535"/>
                    <a:gd name="connsiteX27" fmla="*/ 9420 w 9419"/>
                    <a:gd name="connsiteY27" fmla="*/ 5652 h 7535"/>
                    <a:gd name="connsiteX28" fmla="*/ 9420 w 9419"/>
                    <a:gd name="connsiteY28" fmla="*/ 5652 h 7535"/>
                    <a:gd name="connsiteX29" fmla="*/ 9420 w 9419"/>
                    <a:gd name="connsiteY29" fmla="*/ 5526 h 7535"/>
                    <a:gd name="connsiteX30" fmla="*/ 9420 w 9419"/>
                    <a:gd name="connsiteY30" fmla="*/ 5526 h 7535"/>
                    <a:gd name="connsiteX31" fmla="*/ 9420 w 9419"/>
                    <a:gd name="connsiteY31" fmla="*/ 5149 h 7535"/>
                    <a:gd name="connsiteX32" fmla="*/ 9420 w 9419"/>
                    <a:gd name="connsiteY32" fmla="*/ 2638 h 7535"/>
                    <a:gd name="connsiteX33" fmla="*/ 7410 w 9419"/>
                    <a:gd name="connsiteY33" fmla="*/ 502 h 7535"/>
                    <a:gd name="connsiteX34" fmla="*/ 7033 w 9419"/>
                    <a:gd name="connsiteY34" fmla="*/ 377 h 7535"/>
                    <a:gd name="connsiteX35" fmla="*/ 6782 w 9419"/>
                    <a:gd name="connsiteY35" fmla="*/ 251 h 7535"/>
                    <a:gd name="connsiteX36" fmla="*/ 4772 w 9419"/>
                    <a:gd name="connsiteY36" fmla="*/ 0 h 7535"/>
                    <a:gd name="connsiteX37" fmla="*/ 2763 w 9419"/>
                    <a:gd name="connsiteY37" fmla="*/ 251 h 7535"/>
                    <a:gd name="connsiteX38" fmla="*/ 0 w 9419"/>
                    <a:gd name="connsiteY38" fmla="*/ 251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419" h="7535">
                      <a:moveTo>
                        <a:pt x="0" y="2512"/>
                      </a:moveTo>
                      <a:lnTo>
                        <a:pt x="0" y="5024"/>
                      </a:lnTo>
                      <a:cubicBezTo>
                        <a:pt x="0" y="6029"/>
                        <a:pt x="1005" y="6908"/>
                        <a:pt x="2637" y="7410"/>
                      </a:cubicBezTo>
                      <a:cubicBezTo>
                        <a:pt x="2763" y="7410"/>
                        <a:pt x="3014" y="7536"/>
                        <a:pt x="3140" y="7536"/>
                      </a:cubicBezTo>
                      <a:cubicBezTo>
                        <a:pt x="3265" y="7536"/>
                        <a:pt x="3265" y="7536"/>
                        <a:pt x="3391" y="7536"/>
                      </a:cubicBezTo>
                      <a:cubicBezTo>
                        <a:pt x="3391" y="7536"/>
                        <a:pt x="3517" y="7536"/>
                        <a:pt x="3517" y="7536"/>
                      </a:cubicBezTo>
                      <a:cubicBezTo>
                        <a:pt x="3517" y="7536"/>
                        <a:pt x="3642" y="7536"/>
                        <a:pt x="3642" y="7536"/>
                      </a:cubicBezTo>
                      <a:cubicBezTo>
                        <a:pt x="3768" y="7536"/>
                        <a:pt x="3893" y="7536"/>
                        <a:pt x="4144" y="7536"/>
                      </a:cubicBezTo>
                      <a:cubicBezTo>
                        <a:pt x="4270" y="7536"/>
                        <a:pt x="4270" y="7536"/>
                        <a:pt x="4396" y="7536"/>
                      </a:cubicBezTo>
                      <a:cubicBezTo>
                        <a:pt x="4521" y="7536"/>
                        <a:pt x="4647" y="7536"/>
                        <a:pt x="4772" y="7536"/>
                      </a:cubicBezTo>
                      <a:cubicBezTo>
                        <a:pt x="4898" y="7536"/>
                        <a:pt x="5024" y="7536"/>
                        <a:pt x="5149" y="7536"/>
                      </a:cubicBezTo>
                      <a:cubicBezTo>
                        <a:pt x="5275" y="7536"/>
                        <a:pt x="5275" y="7536"/>
                        <a:pt x="5400" y="7536"/>
                      </a:cubicBezTo>
                      <a:cubicBezTo>
                        <a:pt x="5526" y="7536"/>
                        <a:pt x="5652" y="7536"/>
                        <a:pt x="5903" y="7536"/>
                      </a:cubicBezTo>
                      <a:cubicBezTo>
                        <a:pt x="5903" y="7536"/>
                        <a:pt x="6028" y="7536"/>
                        <a:pt x="6028" y="7536"/>
                      </a:cubicBezTo>
                      <a:cubicBezTo>
                        <a:pt x="6028" y="7536"/>
                        <a:pt x="6154" y="7536"/>
                        <a:pt x="6154" y="7536"/>
                      </a:cubicBezTo>
                      <a:cubicBezTo>
                        <a:pt x="6280" y="7536"/>
                        <a:pt x="6280" y="7536"/>
                        <a:pt x="6405" y="7536"/>
                      </a:cubicBezTo>
                      <a:cubicBezTo>
                        <a:pt x="6531" y="7536"/>
                        <a:pt x="6782" y="7410"/>
                        <a:pt x="6908" y="7410"/>
                      </a:cubicBezTo>
                      <a:cubicBezTo>
                        <a:pt x="7033" y="7410"/>
                        <a:pt x="7033" y="7410"/>
                        <a:pt x="7159" y="7285"/>
                      </a:cubicBezTo>
                      <a:cubicBezTo>
                        <a:pt x="7284" y="7285"/>
                        <a:pt x="7535" y="7159"/>
                        <a:pt x="7661" y="7159"/>
                      </a:cubicBezTo>
                      <a:cubicBezTo>
                        <a:pt x="7661" y="7159"/>
                        <a:pt x="7787" y="7159"/>
                        <a:pt x="7787" y="7033"/>
                      </a:cubicBezTo>
                      <a:cubicBezTo>
                        <a:pt x="7912" y="7033"/>
                        <a:pt x="8038" y="6908"/>
                        <a:pt x="8164" y="6908"/>
                      </a:cubicBezTo>
                      <a:cubicBezTo>
                        <a:pt x="8164" y="6908"/>
                        <a:pt x="8289" y="6908"/>
                        <a:pt x="8289" y="6782"/>
                      </a:cubicBezTo>
                      <a:cubicBezTo>
                        <a:pt x="8415" y="6657"/>
                        <a:pt x="8540" y="6531"/>
                        <a:pt x="8666" y="6531"/>
                      </a:cubicBezTo>
                      <a:cubicBezTo>
                        <a:pt x="8666" y="6531"/>
                        <a:pt x="8791" y="6405"/>
                        <a:pt x="8791" y="6405"/>
                      </a:cubicBezTo>
                      <a:cubicBezTo>
                        <a:pt x="8917" y="6280"/>
                        <a:pt x="8917" y="6280"/>
                        <a:pt x="9042" y="6154"/>
                      </a:cubicBezTo>
                      <a:cubicBezTo>
                        <a:pt x="9042" y="6029"/>
                        <a:pt x="9168" y="6029"/>
                        <a:pt x="9168" y="5903"/>
                      </a:cubicBezTo>
                      <a:cubicBezTo>
                        <a:pt x="9168" y="5903"/>
                        <a:pt x="9294" y="5777"/>
                        <a:pt x="9294" y="5777"/>
                      </a:cubicBezTo>
                      <a:cubicBezTo>
                        <a:pt x="9294" y="5777"/>
                        <a:pt x="9294" y="5652"/>
                        <a:pt x="9420" y="5652"/>
                      </a:cubicBezTo>
                      <a:cubicBezTo>
                        <a:pt x="9420" y="5652"/>
                        <a:pt x="9420" y="5652"/>
                        <a:pt x="9420" y="5652"/>
                      </a:cubicBezTo>
                      <a:cubicBezTo>
                        <a:pt x="9420" y="5652"/>
                        <a:pt x="9420" y="5652"/>
                        <a:pt x="9420" y="5526"/>
                      </a:cubicBezTo>
                      <a:cubicBezTo>
                        <a:pt x="9420" y="5526"/>
                        <a:pt x="9420" y="5526"/>
                        <a:pt x="9420" y="5526"/>
                      </a:cubicBezTo>
                      <a:cubicBezTo>
                        <a:pt x="9420" y="5401"/>
                        <a:pt x="9420" y="5275"/>
                        <a:pt x="9420" y="5149"/>
                      </a:cubicBezTo>
                      <a:lnTo>
                        <a:pt x="9420" y="2638"/>
                      </a:lnTo>
                      <a:cubicBezTo>
                        <a:pt x="9420" y="1758"/>
                        <a:pt x="8666" y="1005"/>
                        <a:pt x="7410" y="502"/>
                      </a:cubicBezTo>
                      <a:cubicBezTo>
                        <a:pt x="7284" y="502"/>
                        <a:pt x="7159" y="377"/>
                        <a:pt x="7033" y="377"/>
                      </a:cubicBezTo>
                      <a:cubicBezTo>
                        <a:pt x="6908" y="377"/>
                        <a:pt x="6908" y="377"/>
                        <a:pt x="6782" y="251"/>
                      </a:cubicBezTo>
                      <a:cubicBezTo>
                        <a:pt x="6154" y="126"/>
                        <a:pt x="5526" y="0"/>
                        <a:pt x="4772" y="0"/>
                      </a:cubicBezTo>
                      <a:cubicBezTo>
                        <a:pt x="4019" y="0"/>
                        <a:pt x="3391" y="126"/>
                        <a:pt x="2763" y="251"/>
                      </a:cubicBezTo>
                      <a:cubicBezTo>
                        <a:pt x="1005" y="502"/>
                        <a:pt x="0" y="1382"/>
                        <a:pt x="0" y="2512"/>
                      </a:cubicBezTo>
                      <a:close/>
                    </a:path>
                  </a:pathLst>
                </a:custGeom>
                <a:solidFill>
                  <a:srgbClr val="C2C2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1" name="Freeform: Shape 2440">
                  <a:extLst>
                    <a:ext uri="{FF2B5EF4-FFF2-40B4-BE49-F238E27FC236}">
                      <a16:creationId xmlns:a16="http://schemas.microsoft.com/office/drawing/2014/main" id="{E91617F9-ECA8-4FDF-BDCE-A94391019001}"/>
                    </a:ext>
                  </a:extLst>
                </p:cNvPr>
                <p:cNvSpPr/>
                <p:nvPr/>
              </p:nvSpPr>
              <p:spPr>
                <a:xfrm>
                  <a:off x="4665473" y="3008096"/>
                  <a:ext cx="2762" cy="7284"/>
                </a:xfrm>
                <a:custGeom>
                  <a:avLst/>
                  <a:gdLst>
                    <a:gd name="connsiteX0" fmla="*/ 2637 w 2762"/>
                    <a:gd name="connsiteY0" fmla="*/ 0 h 7284"/>
                    <a:gd name="connsiteX1" fmla="*/ 2637 w 2762"/>
                    <a:gd name="connsiteY1" fmla="*/ 0 h 7284"/>
                    <a:gd name="connsiteX2" fmla="*/ 2763 w 2762"/>
                    <a:gd name="connsiteY2" fmla="*/ 7285 h 7284"/>
                    <a:gd name="connsiteX3" fmla="*/ 2637 w 2762"/>
                    <a:gd name="connsiteY3" fmla="*/ 7285 h 7284"/>
                    <a:gd name="connsiteX4" fmla="*/ 0 w 2762"/>
                    <a:gd name="connsiteY4" fmla="*/ 4898 h 7284"/>
                    <a:gd name="connsiteX5" fmla="*/ 0 w 2762"/>
                    <a:gd name="connsiteY5" fmla="*/ 2386 h 7284"/>
                    <a:gd name="connsiteX6" fmla="*/ 2637 w 2762"/>
                    <a:gd name="connsiteY6" fmla="*/ 0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2" h="7284">
                      <a:moveTo>
                        <a:pt x="2637" y="0"/>
                      </a:moveTo>
                      <a:cubicBezTo>
                        <a:pt x="2637" y="0"/>
                        <a:pt x="2637" y="0"/>
                        <a:pt x="2637" y="0"/>
                      </a:cubicBezTo>
                      <a:lnTo>
                        <a:pt x="2763" y="7285"/>
                      </a:lnTo>
                      <a:cubicBezTo>
                        <a:pt x="2763" y="7285"/>
                        <a:pt x="2763" y="7285"/>
                        <a:pt x="2637" y="7285"/>
                      </a:cubicBezTo>
                      <a:cubicBezTo>
                        <a:pt x="1130" y="6908"/>
                        <a:pt x="0" y="5903"/>
                        <a:pt x="0" y="4898"/>
                      </a:cubicBezTo>
                      <a:lnTo>
                        <a:pt x="0" y="2386"/>
                      </a:lnTo>
                      <a:cubicBezTo>
                        <a:pt x="0" y="1256"/>
                        <a:pt x="1005" y="377"/>
                        <a:pt x="2637" y="0"/>
                      </a:cubicBezTo>
                      <a:close/>
                    </a:path>
                  </a:pathLst>
                </a:custGeom>
                <a:solidFill>
                  <a:srgbClr val="D4D4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2" name="Freeform: Shape 2441">
                  <a:extLst>
                    <a:ext uri="{FF2B5EF4-FFF2-40B4-BE49-F238E27FC236}">
                      <a16:creationId xmlns:a16="http://schemas.microsoft.com/office/drawing/2014/main" id="{A2B2D017-0CF9-45C8-A124-54B9CF049400}"/>
                    </a:ext>
                  </a:extLst>
                </p:cNvPr>
                <p:cNvSpPr/>
                <p:nvPr/>
              </p:nvSpPr>
              <p:spPr>
                <a:xfrm>
                  <a:off x="4670874" y="3007845"/>
                  <a:ext cx="4019" cy="7535"/>
                </a:xfrm>
                <a:custGeom>
                  <a:avLst/>
                  <a:gdLst>
                    <a:gd name="connsiteX0" fmla="*/ 0 w 4019"/>
                    <a:gd name="connsiteY0" fmla="*/ 0 h 7535"/>
                    <a:gd name="connsiteX1" fmla="*/ 1381 w 4019"/>
                    <a:gd name="connsiteY1" fmla="*/ 126 h 7535"/>
                    <a:gd name="connsiteX2" fmla="*/ 1633 w 4019"/>
                    <a:gd name="connsiteY2" fmla="*/ 251 h 7535"/>
                    <a:gd name="connsiteX3" fmla="*/ 2010 w 4019"/>
                    <a:gd name="connsiteY3" fmla="*/ 377 h 7535"/>
                    <a:gd name="connsiteX4" fmla="*/ 4019 w 4019"/>
                    <a:gd name="connsiteY4" fmla="*/ 2512 h 7535"/>
                    <a:gd name="connsiteX5" fmla="*/ 4019 w 4019"/>
                    <a:gd name="connsiteY5" fmla="*/ 5024 h 7535"/>
                    <a:gd name="connsiteX6" fmla="*/ 4019 w 4019"/>
                    <a:gd name="connsiteY6" fmla="*/ 5400 h 7535"/>
                    <a:gd name="connsiteX7" fmla="*/ 4019 w 4019"/>
                    <a:gd name="connsiteY7" fmla="*/ 5400 h 7535"/>
                    <a:gd name="connsiteX8" fmla="*/ 4019 w 4019"/>
                    <a:gd name="connsiteY8" fmla="*/ 5526 h 7535"/>
                    <a:gd name="connsiteX9" fmla="*/ 4019 w 4019"/>
                    <a:gd name="connsiteY9" fmla="*/ 5526 h 7535"/>
                    <a:gd name="connsiteX10" fmla="*/ 3893 w 4019"/>
                    <a:gd name="connsiteY10" fmla="*/ 5777 h 7535"/>
                    <a:gd name="connsiteX11" fmla="*/ 3768 w 4019"/>
                    <a:gd name="connsiteY11" fmla="*/ 5903 h 7535"/>
                    <a:gd name="connsiteX12" fmla="*/ 3642 w 4019"/>
                    <a:gd name="connsiteY12" fmla="*/ 6154 h 7535"/>
                    <a:gd name="connsiteX13" fmla="*/ 3391 w 4019"/>
                    <a:gd name="connsiteY13" fmla="*/ 6405 h 7535"/>
                    <a:gd name="connsiteX14" fmla="*/ 3265 w 4019"/>
                    <a:gd name="connsiteY14" fmla="*/ 6531 h 7535"/>
                    <a:gd name="connsiteX15" fmla="*/ 2888 w 4019"/>
                    <a:gd name="connsiteY15" fmla="*/ 6782 h 7535"/>
                    <a:gd name="connsiteX16" fmla="*/ 2763 w 4019"/>
                    <a:gd name="connsiteY16" fmla="*/ 6908 h 7535"/>
                    <a:gd name="connsiteX17" fmla="*/ 2386 w 4019"/>
                    <a:gd name="connsiteY17" fmla="*/ 7033 h 7535"/>
                    <a:gd name="connsiteX18" fmla="*/ 2261 w 4019"/>
                    <a:gd name="connsiteY18" fmla="*/ 7159 h 7535"/>
                    <a:gd name="connsiteX19" fmla="*/ 1758 w 4019"/>
                    <a:gd name="connsiteY19" fmla="*/ 7285 h 7535"/>
                    <a:gd name="connsiteX20" fmla="*/ 1507 w 4019"/>
                    <a:gd name="connsiteY20" fmla="*/ 7410 h 7535"/>
                    <a:gd name="connsiteX21" fmla="*/ 1005 w 4019"/>
                    <a:gd name="connsiteY21" fmla="*/ 7536 h 7535"/>
                    <a:gd name="connsiteX22" fmla="*/ 754 w 4019"/>
                    <a:gd name="connsiteY22" fmla="*/ 7536 h 7535"/>
                    <a:gd name="connsiteX23" fmla="*/ 628 w 4019"/>
                    <a:gd name="connsiteY23" fmla="*/ 7536 h 7535"/>
                    <a:gd name="connsiteX24" fmla="*/ 502 w 4019"/>
                    <a:gd name="connsiteY24" fmla="*/ 7536 h 7535"/>
                    <a:gd name="connsiteX25" fmla="*/ 251 w 4019"/>
                    <a:gd name="connsiteY25" fmla="*/ 7536 h 7535"/>
                    <a:gd name="connsiteX26" fmla="*/ 251 w 4019"/>
                    <a:gd name="connsiteY26" fmla="*/ 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9" h="7535">
                      <a:moveTo>
                        <a:pt x="0" y="0"/>
                      </a:moveTo>
                      <a:cubicBezTo>
                        <a:pt x="502" y="0"/>
                        <a:pt x="879" y="0"/>
                        <a:pt x="1381" y="126"/>
                      </a:cubicBezTo>
                      <a:cubicBezTo>
                        <a:pt x="1507" y="126"/>
                        <a:pt x="1507" y="126"/>
                        <a:pt x="1633" y="251"/>
                      </a:cubicBezTo>
                      <a:cubicBezTo>
                        <a:pt x="1758" y="251"/>
                        <a:pt x="1884" y="377"/>
                        <a:pt x="2010" y="377"/>
                      </a:cubicBezTo>
                      <a:cubicBezTo>
                        <a:pt x="3265" y="879"/>
                        <a:pt x="4019" y="1633"/>
                        <a:pt x="4019" y="2512"/>
                      </a:cubicBezTo>
                      <a:lnTo>
                        <a:pt x="4019" y="5024"/>
                      </a:lnTo>
                      <a:cubicBezTo>
                        <a:pt x="4019" y="5149"/>
                        <a:pt x="4019" y="5275"/>
                        <a:pt x="4019" y="5400"/>
                      </a:cubicBezTo>
                      <a:cubicBezTo>
                        <a:pt x="4019" y="5400"/>
                        <a:pt x="4019" y="5400"/>
                        <a:pt x="4019" y="5400"/>
                      </a:cubicBezTo>
                      <a:cubicBezTo>
                        <a:pt x="4019" y="5400"/>
                        <a:pt x="4019" y="5526"/>
                        <a:pt x="4019" y="5526"/>
                      </a:cubicBezTo>
                      <a:cubicBezTo>
                        <a:pt x="4019" y="5526"/>
                        <a:pt x="4019" y="5526"/>
                        <a:pt x="4019" y="5526"/>
                      </a:cubicBezTo>
                      <a:cubicBezTo>
                        <a:pt x="4019" y="5652"/>
                        <a:pt x="4019" y="5652"/>
                        <a:pt x="3893" y="5777"/>
                      </a:cubicBezTo>
                      <a:cubicBezTo>
                        <a:pt x="3893" y="5777"/>
                        <a:pt x="3768" y="5903"/>
                        <a:pt x="3768" y="5903"/>
                      </a:cubicBezTo>
                      <a:cubicBezTo>
                        <a:pt x="3768" y="6028"/>
                        <a:pt x="3642" y="6028"/>
                        <a:pt x="3642" y="6154"/>
                      </a:cubicBezTo>
                      <a:cubicBezTo>
                        <a:pt x="3517" y="6280"/>
                        <a:pt x="3517" y="6280"/>
                        <a:pt x="3391" y="6405"/>
                      </a:cubicBezTo>
                      <a:cubicBezTo>
                        <a:pt x="3391" y="6405"/>
                        <a:pt x="3265" y="6405"/>
                        <a:pt x="3265" y="6531"/>
                      </a:cubicBezTo>
                      <a:cubicBezTo>
                        <a:pt x="3140" y="6657"/>
                        <a:pt x="3014" y="6782"/>
                        <a:pt x="2888" y="6782"/>
                      </a:cubicBezTo>
                      <a:cubicBezTo>
                        <a:pt x="2888" y="6782"/>
                        <a:pt x="2763" y="6782"/>
                        <a:pt x="2763" y="6908"/>
                      </a:cubicBezTo>
                      <a:cubicBezTo>
                        <a:pt x="2637" y="6908"/>
                        <a:pt x="2512" y="7033"/>
                        <a:pt x="2386" y="7033"/>
                      </a:cubicBezTo>
                      <a:cubicBezTo>
                        <a:pt x="2386" y="7033"/>
                        <a:pt x="2261" y="7033"/>
                        <a:pt x="2261" y="7159"/>
                      </a:cubicBezTo>
                      <a:cubicBezTo>
                        <a:pt x="2135" y="7285"/>
                        <a:pt x="2010" y="7285"/>
                        <a:pt x="1758" y="7285"/>
                      </a:cubicBezTo>
                      <a:cubicBezTo>
                        <a:pt x="1633" y="7285"/>
                        <a:pt x="1633" y="7285"/>
                        <a:pt x="1507" y="7410"/>
                      </a:cubicBezTo>
                      <a:cubicBezTo>
                        <a:pt x="1381" y="7410"/>
                        <a:pt x="1130" y="7536"/>
                        <a:pt x="1005" y="7536"/>
                      </a:cubicBezTo>
                      <a:cubicBezTo>
                        <a:pt x="879" y="7536"/>
                        <a:pt x="879" y="7536"/>
                        <a:pt x="754" y="7536"/>
                      </a:cubicBezTo>
                      <a:cubicBezTo>
                        <a:pt x="754" y="7536"/>
                        <a:pt x="628" y="7536"/>
                        <a:pt x="628" y="7536"/>
                      </a:cubicBezTo>
                      <a:cubicBezTo>
                        <a:pt x="628" y="7536"/>
                        <a:pt x="502" y="7536"/>
                        <a:pt x="502" y="7536"/>
                      </a:cubicBezTo>
                      <a:cubicBezTo>
                        <a:pt x="377" y="7536"/>
                        <a:pt x="377" y="7536"/>
                        <a:pt x="251" y="7536"/>
                      </a:cubicBezTo>
                      <a:lnTo>
                        <a:pt x="251" y="0"/>
                      </a:ln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3" name="Freeform: Shape 2442">
                  <a:extLst>
                    <a:ext uri="{FF2B5EF4-FFF2-40B4-BE49-F238E27FC236}">
                      <a16:creationId xmlns:a16="http://schemas.microsoft.com/office/drawing/2014/main" id="{78F6A75E-1EBF-4297-A54E-6CE7C9EF5457}"/>
                    </a:ext>
                  </a:extLst>
                </p:cNvPr>
                <p:cNvSpPr/>
                <p:nvPr/>
              </p:nvSpPr>
              <p:spPr>
                <a:xfrm>
                  <a:off x="4673386" y="3008598"/>
                  <a:ext cx="1381" cy="6154"/>
                </a:xfrm>
                <a:custGeom>
                  <a:avLst/>
                  <a:gdLst>
                    <a:gd name="connsiteX0" fmla="*/ 0 w 1381"/>
                    <a:gd name="connsiteY0" fmla="*/ 0 h 6154"/>
                    <a:gd name="connsiteX1" fmla="*/ 1382 w 1381"/>
                    <a:gd name="connsiteY1" fmla="*/ 1758 h 6154"/>
                    <a:gd name="connsiteX2" fmla="*/ 1382 w 1381"/>
                    <a:gd name="connsiteY2" fmla="*/ 4270 h 6154"/>
                    <a:gd name="connsiteX3" fmla="*/ 1382 w 1381"/>
                    <a:gd name="connsiteY3" fmla="*/ 4647 h 6154"/>
                    <a:gd name="connsiteX4" fmla="*/ 1382 w 1381"/>
                    <a:gd name="connsiteY4" fmla="*/ 4647 h 6154"/>
                    <a:gd name="connsiteX5" fmla="*/ 1382 w 1381"/>
                    <a:gd name="connsiteY5" fmla="*/ 4773 h 6154"/>
                    <a:gd name="connsiteX6" fmla="*/ 1382 w 1381"/>
                    <a:gd name="connsiteY6" fmla="*/ 4773 h 6154"/>
                    <a:gd name="connsiteX7" fmla="*/ 1256 w 1381"/>
                    <a:gd name="connsiteY7" fmla="*/ 5024 h 6154"/>
                    <a:gd name="connsiteX8" fmla="*/ 1130 w 1381"/>
                    <a:gd name="connsiteY8" fmla="*/ 5149 h 6154"/>
                    <a:gd name="connsiteX9" fmla="*/ 1005 w 1381"/>
                    <a:gd name="connsiteY9" fmla="*/ 5401 h 6154"/>
                    <a:gd name="connsiteX10" fmla="*/ 754 w 1381"/>
                    <a:gd name="connsiteY10" fmla="*/ 5652 h 6154"/>
                    <a:gd name="connsiteX11" fmla="*/ 628 w 1381"/>
                    <a:gd name="connsiteY11" fmla="*/ 5777 h 6154"/>
                    <a:gd name="connsiteX12" fmla="*/ 251 w 1381"/>
                    <a:gd name="connsiteY12" fmla="*/ 6028 h 6154"/>
                    <a:gd name="connsiteX13" fmla="*/ 126 w 1381"/>
                    <a:gd name="connsiteY13" fmla="*/ 6154 h 6154"/>
                    <a:gd name="connsiteX14" fmla="*/ 0 w 1381"/>
                    <a:gd name="connsiteY14" fmla="*/ 6154 h 6154"/>
                    <a:gd name="connsiteX15" fmla="*/ 0 w 1381"/>
                    <a:gd name="connsiteY15" fmla="*/ 0 h 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1" h="6154">
                      <a:moveTo>
                        <a:pt x="0" y="0"/>
                      </a:moveTo>
                      <a:cubicBezTo>
                        <a:pt x="879" y="502"/>
                        <a:pt x="1382" y="1130"/>
                        <a:pt x="1382" y="1758"/>
                      </a:cubicBezTo>
                      <a:lnTo>
                        <a:pt x="1382" y="4270"/>
                      </a:lnTo>
                      <a:cubicBezTo>
                        <a:pt x="1382" y="4396"/>
                        <a:pt x="1382" y="4521"/>
                        <a:pt x="1382" y="4647"/>
                      </a:cubicBezTo>
                      <a:cubicBezTo>
                        <a:pt x="1382" y="4647"/>
                        <a:pt x="1382" y="4647"/>
                        <a:pt x="1382" y="4647"/>
                      </a:cubicBezTo>
                      <a:cubicBezTo>
                        <a:pt x="1382" y="4647"/>
                        <a:pt x="1382" y="4773"/>
                        <a:pt x="1382" y="4773"/>
                      </a:cubicBezTo>
                      <a:cubicBezTo>
                        <a:pt x="1382" y="4773"/>
                        <a:pt x="1382" y="4773"/>
                        <a:pt x="1382" y="4773"/>
                      </a:cubicBezTo>
                      <a:cubicBezTo>
                        <a:pt x="1382" y="4898"/>
                        <a:pt x="1382" y="4898"/>
                        <a:pt x="1256" y="5024"/>
                      </a:cubicBezTo>
                      <a:cubicBezTo>
                        <a:pt x="1256" y="5024"/>
                        <a:pt x="1130" y="5149"/>
                        <a:pt x="1130" y="5149"/>
                      </a:cubicBezTo>
                      <a:cubicBezTo>
                        <a:pt x="1130" y="5275"/>
                        <a:pt x="1005" y="5275"/>
                        <a:pt x="1005" y="5401"/>
                      </a:cubicBezTo>
                      <a:cubicBezTo>
                        <a:pt x="879" y="5526"/>
                        <a:pt x="879" y="5526"/>
                        <a:pt x="754" y="5652"/>
                      </a:cubicBezTo>
                      <a:cubicBezTo>
                        <a:pt x="754" y="5652"/>
                        <a:pt x="628" y="5652"/>
                        <a:pt x="628" y="5777"/>
                      </a:cubicBezTo>
                      <a:cubicBezTo>
                        <a:pt x="502" y="5903"/>
                        <a:pt x="377" y="6028"/>
                        <a:pt x="251" y="6028"/>
                      </a:cubicBezTo>
                      <a:cubicBezTo>
                        <a:pt x="251" y="6028"/>
                        <a:pt x="126" y="6028"/>
                        <a:pt x="126" y="6154"/>
                      </a:cubicBezTo>
                      <a:cubicBezTo>
                        <a:pt x="126" y="6154"/>
                        <a:pt x="126" y="6154"/>
                        <a:pt x="0" y="6154"/>
                      </a:cubicBezTo>
                      <a:lnTo>
                        <a:pt x="0" y="0"/>
                      </a:lnTo>
                      <a:close/>
                    </a:path>
                  </a:pathLst>
                </a:custGeom>
                <a:solidFill>
                  <a:srgbClr val="A1A1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4" name="Freeform: Shape 2443">
                  <a:extLst>
                    <a:ext uri="{FF2B5EF4-FFF2-40B4-BE49-F238E27FC236}">
                      <a16:creationId xmlns:a16="http://schemas.microsoft.com/office/drawing/2014/main" id="{3CAAD500-E072-4DB1-8335-44982D2629BC}"/>
                    </a:ext>
                  </a:extLst>
                </p:cNvPr>
                <p:cNvSpPr/>
                <p:nvPr/>
              </p:nvSpPr>
              <p:spPr>
                <a:xfrm>
                  <a:off x="4665473" y="3007845"/>
                  <a:ext cx="9293" cy="5274"/>
                </a:xfrm>
                <a:custGeom>
                  <a:avLst/>
                  <a:gdLst>
                    <a:gd name="connsiteX0" fmla="*/ 0 w 9293"/>
                    <a:gd name="connsiteY0" fmla="*/ 2637 h 5274"/>
                    <a:gd name="connsiteX1" fmla="*/ 2637 w 9293"/>
                    <a:gd name="connsiteY1" fmla="*/ 5024 h 5274"/>
                    <a:gd name="connsiteX2" fmla="*/ 4647 w 9293"/>
                    <a:gd name="connsiteY2" fmla="*/ 5275 h 5274"/>
                    <a:gd name="connsiteX3" fmla="*/ 6657 w 9293"/>
                    <a:gd name="connsiteY3" fmla="*/ 5024 h 5274"/>
                    <a:gd name="connsiteX4" fmla="*/ 9294 w 9293"/>
                    <a:gd name="connsiteY4" fmla="*/ 2637 h 5274"/>
                    <a:gd name="connsiteX5" fmla="*/ 7284 w 9293"/>
                    <a:gd name="connsiteY5" fmla="*/ 502 h 5274"/>
                    <a:gd name="connsiteX6" fmla="*/ 6908 w 9293"/>
                    <a:gd name="connsiteY6" fmla="*/ 377 h 5274"/>
                    <a:gd name="connsiteX7" fmla="*/ 6657 w 9293"/>
                    <a:gd name="connsiteY7" fmla="*/ 251 h 5274"/>
                    <a:gd name="connsiteX8" fmla="*/ 4647 w 9293"/>
                    <a:gd name="connsiteY8" fmla="*/ 0 h 5274"/>
                    <a:gd name="connsiteX9" fmla="*/ 2637 w 9293"/>
                    <a:gd name="connsiteY9" fmla="*/ 251 h 5274"/>
                    <a:gd name="connsiteX10" fmla="*/ 0 w 9293"/>
                    <a:gd name="connsiteY10" fmla="*/ 2637 h 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93" h="5274">
                      <a:moveTo>
                        <a:pt x="0" y="2637"/>
                      </a:moveTo>
                      <a:cubicBezTo>
                        <a:pt x="0" y="3642"/>
                        <a:pt x="1005" y="4521"/>
                        <a:pt x="2637" y="5024"/>
                      </a:cubicBezTo>
                      <a:cubicBezTo>
                        <a:pt x="3265" y="5149"/>
                        <a:pt x="3893" y="5275"/>
                        <a:pt x="4647" y="5275"/>
                      </a:cubicBezTo>
                      <a:cubicBezTo>
                        <a:pt x="5400" y="5275"/>
                        <a:pt x="6028" y="5149"/>
                        <a:pt x="6657" y="5024"/>
                      </a:cubicBezTo>
                      <a:cubicBezTo>
                        <a:pt x="8164" y="4647"/>
                        <a:pt x="9294" y="3642"/>
                        <a:pt x="9294" y="2637"/>
                      </a:cubicBezTo>
                      <a:cubicBezTo>
                        <a:pt x="9294" y="1758"/>
                        <a:pt x="8540" y="1005"/>
                        <a:pt x="7284" y="502"/>
                      </a:cubicBezTo>
                      <a:cubicBezTo>
                        <a:pt x="7159" y="502"/>
                        <a:pt x="7033" y="377"/>
                        <a:pt x="6908" y="377"/>
                      </a:cubicBezTo>
                      <a:cubicBezTo>
                        <a:pt x="6782" y="377"/>
                        <a:pt x="6782" y="377"/>
                        <a:pt x="6657" y="251"/>
                      </a:cubicBezTo>
                      <a:cubicBezTo>
                        <a:pt x="6028" y="126"/>
                        <a:pt x="5400" y="0"/>
                        <a:pt x="4647" y="0"/>
                      </a:cubicBezTo>
                      <a:cubicBezTo>
                        <a:pt x="3893" y="0"/>
                        <a:pt x="3265" y="126"/>
                        <a:pt x="2637" y="251"/>
                      </a:cubicBezTo>
                      <a:cubicBezTo>
                        <a:pt x="1005" y="628"/>
                        <a:pt x="0" y="1507"/>
                        <a:pt x="0" y="2637"/>
                      </a:cubicBez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445" name="Graphic 4">
              <a:extLst>
                <a:ext uri="{FF2B5EF4-FFF2-40B4-BE49-F238E27FC236}">
                  <a16:creationId xmlns:a16="http://schemas.microsoft.com/office/drawing/2014/main" id="{84FB7ED1-A2DF-40A1-A747-5F7CF3F14040}"/>
                </a:ext>
              </a:extLst>
            </p:cNvPr>
            <p:cNvGrpSpPr/>
            <p:nvPr/>
          </p:nvGrpSpPr>
          <p:grpSpPr>
            <a:xfrm>
              <a:off x="4852484" y="3009729"/>
              <a:ext cx="15322" cy="14569"/>
              <a:chOff x="4852484" y="3009729"/>
              <a:chExt cx="15322" cy="14569"/>
            </a:xfrm>
            <a:solidFill>
              <a:schemeClr val="accent1"/>
            </a:solidFill>
          </p:grpSpPr>
          <p:grpSp>
            <p:nvGrpSpPr>
              <p:cNvPr id="2446" name="Graphic 4">
                <a:extLst>
                  <a:ext uri="{FF2B5EF4-FFF2-40B4-BE49-F238E27FC236}">
                    <a16:creationId xmlns:a16="http://schemas.microsoft.com/office/drawing/2014/main" id="{84FB7ED1-A2DF-40A1-A747-5F7CF3F14040}"/>
                  </a:ext>
                </a:extLst>
              </p:cNvPr>
              <p:cNvGrpSpPr/>
              <p:nvPr/>
            </p:nvGrpSpPr>
            <p:grpSpPr>
              <a:xfrm>
                <a:off x="4852484" y="3010859"/>
                <a:ext cx="15322" cy="13438"/>
                <a:chOff x="4852484" y="3010859"/>
                <a:chExt cx="15322" cy="13438"/>
              </a:xfrm>
              <a:solidFill>
                <a:schemeClr val="accent1"/>
              </a:solidFill>
            </p:grpSpPr>
            <p:sp>
              <p:nvSpPr>
                <p:cNvPr id="2447" name="Freeform: Shape 2446">
                  <a:extLst>
                    <a:ext uri="{FF2B5EF4-FFF2-40B4-BE49-F238E27FC236}">
                      <a16:creationId xmlns:a16="http://schemas.microsoft.com/office/drawing/2014/main" id="{29C01C0C-4D9E-4CDB-A846-715FA9C4D4EB}"/>
                    </a:ext>
                  </a:extLst>
                </p:cNvPr>
                <p:cNvSpPr/>
                <p:nvPr/>
              </p:nvSpPr>
              <p:spPr>
                <a:xfrm>
                  <a:off x="4852484" y="3011110"/>
                  <a:ext cx="15322" cy="13187"/>
                </a:xfrm>
                <a:custGeom>
                  <a:avLst/>
                  <a:gdLst>
                    <a:gd name="connsiteX0" fmla="*/ 0 w 15322"/>
                    <a:gd name="connsiteY0" fmla="*/ 4019 h 13187"/>
                    <a:gd name="connsiteX1" fmla="*/ 0 w 15322"/>
                    <a:gd name="connsiteY1" fmla="*/ 8917 h 13187"/>
                    <a:gd name="connsiteX2" fmla="*/ 4270 w 15322"/>
                    <a:gd name="connsiteY2" fmla="*/ 12811 h 13187"/>
                    <a:gd name="connsiteX3" fmla="*/ 5149 w 15322"/>
                    <a:gd name="connsiteY3" fmla="*/ 13062 h 13187"/>
                    <a:gd name="connsiteX4" fmla="*/ 5526 w 15322"/>
                    <a:gd name="connsiteY4" fmla="*/ 13062 h 13187"/>
                    <a:gd name="connsiteX5" fmla="*/ 5777 w 15322"/>
                    <a:gd name="connsiteY5" fmla="*/ 13062 h 13187"/>
                    <a:gd name="connsiteX6" fmla="*/ 6029 w 15322"/>
                    <a:gd name="connsiteY6" fmla="*/ 13062 h 13187"/>
                    <a:gd name="connsiteX7" fmla="*/ 6782 w 15322"/>
                    <a:gd name="connsiteY7" fmla="*/ 13187 h 13187"/>
                    <a:gd name="connsiteX8" fmla="*/ 7159 w 15322"/>
                    <a:gd name="connsiteY8" fmla="*/ 13187 h 13187"/>
                    <a:gd name="connsiteX9" fmla="*/ 7661 w 15322"/>
                    <a:gd name="connsiteY9" fmla="*/ 13187 h 13187"/>
                    <a:gd name="connsiteX10" fmla="*/ 8289 w 15322"/>
                    <a:gd name="connsiteY10" fmla="*/ 13187 h 13187"/>
                    <a:gd name="connsiteX11" fmla="*/ 8666 w 15322"/>
                    <a:gd name="connsiteY11" fmla="*/ 13187 h 13187"/>
                    <a:gd name="connsiteX12" fmla="*/ 9420 w 15322"/>
                    <a:gd name="connsiteY12" fmla="*/ 13062 h 13187"/>
                    <a:gd name="connsiteX13" fmla="*/ 9671 w 15322"/>
                    <a:gd name="connsiteY13" fmla="*/ 13062 h 13187"/>
                    <a:gd name="connsiteX14" fmla="*/ 9922 w 15322"/>
                    <a:gd name="connsiteY14" fmla="*/ 13062 h 13187"/>
                    <a:gd name="connsiteX15" fmla="*/ 10299 w 15322"/>
                    <a:gd name="connsiteY15" fmla="*/ 13062 h 13187"/>
                    <a:gd name="connsiteX16" fmla="*/ 11178 w 15322"/>
                    <a:gd name="connsiteY16" fmla="*/ 12811 h 13187"/>
                    <a:gd name="connsiteX17" fmla="*/ 11555 w 15322"/>
                    <a:gd name="connsiteY17" fmla="*/ 12685 h 13187"/>
                    <a:gd name="connsiteX18" fmla="*/ 12308 w 15322"/>
                    <a:gd name="connsiteY18" fmla="*/ 12434 h 13187"/>
                    <a:gd name="connsiteX19" fmla="*/ 12559 w 15322"/>
                    <a:gd name="connsiteY19" fmla="*/ 12308 h 13187"/>
                    <a:gd name="connsiteX20" fmla="*/ 13187 w 15322"/>
                    <a:gd name="connsiteY20" fmla="*/ 12057 h 13187"/>
                    <a:gd name="connsiteX21" fmla="*/ 13439 w 15322"/>
                    <a:gd name="connsiteY21" fmla="*/ 11931 h 13187"/>
                    <a:gd name="connsiteX22" fmla="*/ 14192 w 15322"/>
                    <a:gd name="connsiteY22" fmla="*/ 11429 h 13187"/>
                    <a:gd name="connsiteX23" fmla="*/ 14318 w 15322"/>
                    <a:gd name="connsiteY23" fmla="*/ 11304 h 13187"/>
                    <a:gd name="connsiteX24" fmla="*/ 14695 w 15322"/>
                    <a:gd name="connsiteY24" fmla="*/ 10927 h 13187"/>
                    <a:gd name="connsiteX25" fmla="*/ 14946 w 15322"/>
                    <a:gd name="connsiteY25" fmla="*/ 10550 h 13187"/>
                    <a:gd name="connsiteX26" fmla="*/ 15072 w 15322"/>
                    <a:gd name="connsiteY26" fmla="*/ 10299 h 13187"/>
                    <a:gd name="connsiteX27" fmla="*/ 15197 w 15322"/>
                    <a:gd name="connsiteY27" fmla="*/ 10048 h 13187"/>
                    <a:gd name="connsiteX28" fmla="*/ 15197 w 15322"/>
                    <a:gd name="connsiteY28" fmla="*/ 10048 h 13187"/>
                    <a:gd name="connsiteX29" fmla="*/ 15197 w 15322"/>
                    <a:gd name="connsiteY29" fmla="*/ 9922 h 13187"/>
                    <a:gd name="connsiteX30" fmla="*/ 15197 w 15322"/>
                    <a:gd name="connsiteY30" fmla="*/ 9796 h 13187"/>
                    <a:gd name="connsiteX31" fmla="*/ 15323 w 15322"/>
                    <a:gd name="connsiteY31" fmla="*/ 9169 h 13187"/>
                    <a:gd name="connsiteX32" fmla="*/ 15323 w 15322"/>
                    <a:gd name="connsiteY32" fmla="*/ 4270 h 13187"/>
                    <a:gd name="connsiteX33" fmla="*/ 12057 w 15322"/>
                    <a:gd name="connsiteY33" fmla="*/ 754 h 13187"/>
                    <a:gd name="connsiteX34" fmla="*/ 11303 w 15322"/>
                    <a:gd name="connsiteY34" fmla="*/ 502 h 13187"/>
                    <a:gd name="connsiteX35" fmla="*/ 10927 w 15322"/>
                    <a:gd name="connsiteY35" fmla="*/ 377 h 13187"/>
                    <a:gd name="connsiteX36" fmla="*/ 7536 w 15322"/>
                    <a:gd name="connsiteY36" fmla="*/ 0 h 13187"/>
                    <a:gd name="connsiteX37" fmla="*/ 4144 w 15322"/>
                    <a:gd name="connsiteY37" fmla="*/ 377 h 13187"/>
                    <a:gd name="connsiteX38" fmla="*/ 0 w 15322"/>
                    <a:gd name="connsiteY38" fmla="*/ 401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322" h="13187">
                      <a:moveTo>
                        <a:pt x="0" y="4019"/>
                      </a:moveTo>
                      <a:lnTo>
                        <a:pt x="0" y="8917"/>
                      </a:lnTo>
                      <a:cubicBezTo>
                        <a:pt x="0" y="10550"/>
                        <a:pt x="1759" y="12057"/>
                        <a:pt x="4270" y="12811"/>
                      </a:cubicBezTo>
                      <a:cubicBezTo>
                        <a:pt x="4522" y="12936"/>
                        <a:pt x="4773" y="12936"/>
                        <a:pt x="5149" y="13062"/>
                      </a:cubicBezTo>
                      <a:cubicBezTo>
                        <a:pt x="5275" y="13062"/>
                        <a:pt x="5400" y="13062"/>
                        <a:pt x="5526" y="13062"/>
                      </a:cubicBezTo>
                      <a:cubicBezTo>
                        <a:pt x="5652" y="13062"/>
                        <a:pt x="5652" y="13062"/>
                        <a:pt x="5777" y="13062"/>
                      </a:cubicBezTo>
                      <a:cubicBezTo>
                        <a:pt x="5903" y="13062"/>
                        <a:pt x="5903" y="13062"/>
                        <a:pt x="6029" y="13062"/>
                      </a:cubicBezTo>
                      <a:cubicBezTo>
                        <a:pt x="6280" y="13062"/>
                        <a:pt x="6531" y="13062"/>
                        <a:pt x="6782" y="13187"/>
                      </a:cubicBezTo>
                      <a:cubicBezTo>
                        <a:pt x="6908" y="13187"/>
                        <a:pt x="7033" y="13187"/>
                        <a:pt x="7159" y="13187"/>
                      </a:cubicBezTo>
                      <a:cubicBezTo>
                        <a:pt x="7284" y="13187"/>
                        <a:pt x="7536" y="13187"/>
                        <a:pt x="7661" y="13187"/>
                      </a:cubicBezTo>
                      <a:cubicBezTo>
                        <a:pt x="7913" y="13187"/>
                        <a:pt x="8038" y="13187"/>
                        <a:pt x="8289" y="13187"/>
                      </a:cubicBezTo>
                      <a:cubicBezTo>
                        <a:pt x="8415" y="13187"/>
                        <a:pt x="8540" y="13187"/>
                        <a:pt x="8666" y="13187"/>
                      </a:cubicBezTo>
                      <a:cubicBezTo>
                        <a:pt x="8917" y="13187"/>
                        <a:pt x="9169" y="13187"/>
                        <a:pt x="9420" y="13062"/>
                      </a:cubicBezTo>
                      <a:cubicBezTo>
                        <a:pt x="9545" y="13062"/>
                        <a:pt x="9671" y="13062"/>
                        <a:pt x="9671" y="13062"/>
                      </a:cubicBezTo>
                      <a:cubicBezTo>
                        <a:pt x="9796" y="13062"/>
                        <a:pt x="9796" y="13062"/>
                        <a:pt x="9922" y="13062"/>
                      </a:cubicBezTo>
                      <a:cubicBezTo>
                        <a:pt x="10047" y="13062"/>
                        <a:pt x="10173" y="13062"/>
                        <a:pt x="10299" y="13062"/>
                      </a:cubicBezTo>
                      <a:cubicBezTo>
                        <a:pt x="10550" y="13062"/>
                        <a:pt x="10927" y="12936"/>
                        <a:pt x="11178" y="12811"/>
                      </a:cubicBezTo>
                      <a:cubicBezTo>
                        <a:pt x="11303" y="12811"/>
                        <a:pt x="11429" y="12685"/>
                        <a:pt x="11555" y="12685"/>
                      </a:cubicBezTo>
                      <a:cubicBezTo>
                        <a:pt x="11806" y="12559"/>
                        <a:pt x="12057" y="12559"/>
                        <a:pt x="12308" y="12434"/>
                      </a:cubicBezTo>
                      <a:cubicBezTo>
                        <a:pt x="12434" y="12434"/>
                        <a:pt x="12434" y="12308"/>
                        <a:pt x="12559" y="12308"/>
                      </a:cubicBezTo>
                      <a:cubicBezTo>
                        <a:pt x="12811" y="12183"/>
                        <a:pt x="12936" y="12057"/>
                        <a:pt x="13187" y="12057"/>
                      </a:cubicBezTo>
                      <a:cubicBezTo>
                        <a:pt x="13313" y="12057"/>
                        <a:pt x="13313" y="11931"/>
                        <a:pt x="13439" y="11931"/>
                      </a:cubicBezTo>
                      <a:cubicBezTo>
                        <a:pt x="13690" y="11806"/>
                        <a:pt x="13941" y="11555"/>
                        <a:pt x="14192" y="11429"/>
                      </a:cubicBezTo>
                      <a:cubicBezTo>
                        <a:pt x="14192" y="11429"/>
                        <a:pt x="14318" y="11304"/>
                        <a:pt x="14318" y="11304"/>
                      </a:cubicBezTo>
                      <a:cubicBezTo>
                        <a:pt x="14443" y="11178"/>
                        <a:pt x="14569" y="11052"/>
                        <a:pt x="14695" y="10927"/>
                      </a:cubicBezTo>
                      <a:cubicBezTo>
                        <a:pt x="14820" y="10801"/>
                        <a:pt x="14946" y="10676"/>
                        <a:pt x="14946" y="10550"/>
                      </a:cubicBezTo>
                      <a:cubicBezTo>
                        <a:pt x="14946" y="10424"/>
                        <a:pt x="15072" y="10299"/>
                        <a:pt x="15072" y="10299"/>
                      </a:cubicBezTo>
                      <a:cubicBezTo>
                        <a:pt x="15072" y="10173"/>
                        <a:pt x="15197" y="10048"/>
                        <a:pt x="15197" y="10048"/>
                      </a:cubicBezTo>
                      <a:cubicBezTo>
                        <a:pt x="15197" y="10048"/>
                        <a:pt x="15197" y="10048"/>
                        <a:pt x="15197" y="10048"/>
                      </a:cubicBezTo>
                      <a:cubicBezTo>
                        <a:pt x="15197" y="10048"/>
                        <a:pt x="15197" y="9922"/>
                        <a:pt x="15197" y="9922"/>
                      </a:cubicBezTo>
                      <a:cubicBezTo>
                        <a:pt x="15197" y="9922"/>
                        <a:pt x="15197" y="9922"/>
                        <a:pt x="15197" y="9796"/>
                      </a:cubicBezTo>
                      <a:cubicBezTo>
                        <a:pt x="15197" y="9545"/>
                        <a:pt x="15323" y="9420"/>
                        <a:pt x="15323" y="9169"/>
                      </a:cubicBezTo>
                      <a:lnTo>
                        <a:pt x="15323" y="4270"/>
                      </a:lnTo>
                      <a:cubicBezTo>
                        <a:pt x="15323" y="2763"/>
                        <a:pt x="14067" y="1507"/>
                        <a:pt x="12057" y="754"/>
                      </a:cubicBezTo>
                      <a:cubicBezTo>
                        <a:pt x="11806" y="628"/>
                        <a:pt x="11555" y="628"/>
                        <a:pt x="11303" y="502"/>
                      </a:cubicBezTo>
                      <a:cubicBezTo>
                        <a:pt x="11178" y="502"/>
                        <a:pt x="11052" y="377"/>
                        <a:pt x="10927" y="377"/>
                      </a:cubicBezTo>
                      <a:cubicBezTo>
                        <a:pt x="9922" y="126"/>
                        <a:pt x="8792" y="0"/>
                        <a:pt x="7536" y="0"/>
                      </a:cubicBezTo>
                      <a:cubicBezTo>
                        <a:pt x="6280" y="0"/>
                        <a:pt x="5149" y="126"/>
                        <a:pt x="4144" y="377"/>
                      </a:cubicBezTo>
                      <a:cubicBezTo>
                        <a:pt x="1759" y="754"/>
                        <a:pt x="0" y="2261"/>
                        <a:pt x="0" y="4019"/>
                      </a:cubicBezTo>
                      <a:close/>
                    </a:path>
                  </a:pathLst>
                </a:custGeom>
                <a:solidFill>
                  <a:srgbClr val="59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8" name="Freeform: Shape 2447">
                  <a:extLst>
                    <a:ext uri="{FF2B5EF4-FFF2-40B4-BE49-F238E27FC236}">
                      <a16:creationId xmlns:a16="http://schemas.microsoft.com/office/drawing/2014/main" id="{77DC6114-0854-498E-818D-1CC8CFF2DB0D}"/>
                    </a:ext>
                  </a:extLst>
                </p:cNvPr>
                <p:cNvSpPr/>
                <p:nvPr/>
              </p:nvSpPr>
              <p:spPr>
                <a:xfrm>
                  <a:off x="4852484" y="3011236"/>
                  <a:ext cx="4395" cy="12559"/>
                </a:xfrm>
                <a:custGeom>
                  <a:avLst/>
                  <a:gdLst>
                    <a:gd name="connsiteX0" fmla="*/ 4270 w 4395"/>
                    <a:gd name="connsiteY0" fmla="*/ 0 h 12559"/>
                    <a:gd name="connsiteX1" fmla="*/ 4396 w 4395"/>
                    <a:gd name="connsiteY1" fmla="*/ 0 h 12559"/>
                    <a:gd name="connsiteX2" fmla="*/ 4396 w 4395"/>
                    <a:gd name="connsiteY2" fmla="*/ 12559 h 12559"/>
                    <a:gd name="connsiteX3" fmla="*/ 4270 w 4395"/>
                    <a:gd name="connsiteY3" fmla="*/ 12559 h 12559"/>
                    <a:gd name="connsiteX4" fmla="*/ 0 w 4395"/>
                    <a:gd name="connsiteY4" fmla="*/ 8666 h 12559"/>
                    <a:gd name="connsiteX5" fmla="*/ 0 w 4395"/>
                    <a:gd name="connsiteY5" fmla="*/ 3768 h 12559"/>
                    <a:gd name="connsiteX6" fmla="*/ 4270 w 4395"/>
                    <a:gd name="connsiteY6"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5" h="12559">
                      <a:moveTo>
                        <a:pt x="4270" y="0"/>
                      </a:moveTo>
                      <a:cubicBezTo>
                        <a:pt x="4270" y="0"/>
                        <a:pt x="4396" y="0"/>
                        <a:pt x="4396" y="0"/>
                      </a:cubicBezTo>
                      <a:lnTo>
                        <a:pt x="4396" y="12559"/>
                      </a:lnTo>
                      <a:cubicBezTo>
                        <a:pt x="4396" y="12559"/>
                        <a:pt x="4270" y="12559"/>
                        <a:pt x="4270" y="12559"/>
                      </a:cubicBezTo>
                      <a:cubicBezTo>
                        <a:pt x="1759" y="11806"/>
                        <a:pt x="0" y="10424"/>
                        <a:pt x="0" y="8666"/>
                      </a:cubicBezTo>
                      <a:lnTo>
                        <a:pt x="0" y="3768"/>
                      </a:lnTo>
                      <a:cubicBezTo>
                        <a:pt x="0" y="2135"/>
                        <a:pt x="1759" y="628"/>
                        <a:pt x="4270" y="0"/>
                      </a:cubicBezTo>
                      <a:close/>
                    </a:path>
                  </a:pathLst>
                </a:custGeom>
                <a:solidFill>
                  <a:srgbClr val="6B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9" name="Freeform: Shape 2448">
                  <a:extLst>
                    <a:ext uri="{FF2B5EF4-FFF2-40B4-BE49-F238E27FC236}">
                      <a16:creationId xmlns:a16="http://schemas.microsoft.com/office/drawing/2014/main" id="{9002FB89-B839-4C1A-9E7E-3688176FE33D}"/>
                    </a:ext>
                  </a:extLst>
                </p:cNvPr>
                <p:cNvSpPr/>
                <p:nvPr/>
              </p:nvSpPr>
              <p:spPr>
                <a:xfrm>
                  <a:off x="4861150" y="3010985"/>
                  <a:ext cx="6530" cy="12936"/>
                </a:xfrm>
                <a:custGeom>
                  <a:avLst/>
                  <a:gdLst>
                    <a:gd name="connsiteX0" fmla="*/ 0 w 6530"/>
                    <a:gd name="connsiteY0" fmla="*/ 0 h 12936"/>
                    <a:gd name="connsiteX1" fmla="*/ 2135 w 6530"/>
                    <a:gd name="connsiteY1" fmla="*/ 251 h 12936"/>
                    <a:gd name="connsiteX2" fmla="*/ 2512 w 6530"/>
                    <a:gd name="connsiteY2" fmla="*/ 377 h 12936"/>
                    <a:gd name="connsiteX3" fmla="*/ 3266 w 6530"/>
                    <a:gd name="connsiteY3" fmla="*/ 628 h 12936"/>
                    <a:gd name="connsiteX4" fmla="*/ 6531 w 6530"/>
                    <a:gd name="connsiteY4" fmla="*/ 4145 h 12936"/>
                    <a:gd name="connsiteX5" fmla="*/ 6531 w 6530"/>
                    <a:gd name="connsiteY5" fmla="*/ 9043 h 12936"/>
                    <a:gd name="connsiteX6" fmla="*/ 6405 w 6530"/>
                    <a:gd name="connsiteY6" fmla="*/ 9671 h 12936"/>
                    <a:gd name="connsiteX7" fmla="*/ 6405 w 6530"/>
                    <a:gd name="connsiteY7" fmla="*/ 9796 h 12936"/>
                    <a:gd name="connsiteX8" fmla="*/ 6405 w 6530"/>
                    <a:gd name="connsiteY8" fmla="*/ 9922 h 12936"/>
                    <a:gd name="connsiteX9" fmla="*/ 6405 w 6530"/>
                    <a:gd name="connsiteY9" fmla="*/ 9922 h 12936"/>
                    <a:gd name="connsiteX10" fmla="*/ 6280 w 6530"/>
                    <a:gd name="connsiteY10" fmla="*/ 10173 h 12936"/>
                    <a:gd name="connsiteX11" fmla="*/ 6154 w 6530"/>
                    <a:gd name="connsiteY11" fmla="*/ 10424 h 12936"/>
                    <a:gd name="connsiteX12" fmla="*/ 5903 w 6530"/>
                    <a:gd name="connsiteY12" fmla="*/ 10801 h 12936"/>
                    <a:gd name="connsiteX13" fmla="*/ 5526 w 6530"/>
                    <a:gd name="connsiteY13" fmla="*/ 11178 h 12936"/>
                    <a:gd name="connsiteX14" fmla="*/ 5400 w 6530"/>
                    <a:gd name="connsiteY14" fmla="*/ 11303 h 12936"/>
                    <a:gd name="connsiteX15" fmla="*/ 4647 w 6530"/>
                    <a:gd name="connsiteY15" fmla="*/ 11806 h 12936"/>
                    <a:gd name="connsiteX16" fmla="*/ 4396 w 6530"/>
                    <a:gd name="connsiteY16" fmla="*/ 11931 h 12936"/>
                    <a:gd name="connsiteX17" fmla="*/ 3768 w 6530"/>
                    <a:gd name="connsiteY17" fmla="*/ 12183 h 12936"/>
                    <a:gd name="connsiteX18" fmla="*/ 3517 w 6530"/>
                    <a:gd name="connsiteY18" fmla="*/ 12308 h 12936"/>
                    <a:gd name="connsiteX19" fmla="*/ 2763 w 6530"/>
                    <a:gd name="connsiteY19" fmla="*/ 12559 h 12936"/>
                    <a:gd name="connsiteX20" fmla="*/ 2386 w 6530"/>
                    <a:gd name="connsiteY20" fmla="*/ 12685 h 12936"/>
                    <a:gd name="connsiteX21" fmla="*/ 1507 w 6530"/>
                    <a:gd name="connsiteY21" fmla="*/ 12936 h 12936"/>
                    <a:gd name="connsiteX22" fmla="*/ 1130 w 6530"/>
                    <a:gd name="connsiteY22" fmla="*/ 12936 h 12936"/>
                    <a:gd name="connsiteX23" fmla="*/ 879 w 6530"/>
                    <a:gd name="connsiteY23" fmla="*/ 12936 h 12936"/>
                    <a:gd name="connsiteX24" fmla="*/ 628 w 6530"/>
                    <a:gd name="connsiteY24" fmla="*/ 12936 h 12936"/>
                    <a:gd name="connsiteX25" fmla="*/ 251 w 6530"/>
                    <a:gd name="connsiteY25" fmla="*/ 12936 h 12936"/>
                    <a:gd name="connsiteX26" fmla="*/ 251 w 6530"/>
                    <a:gd name="connsiteY26" fmla="*/ 0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530" h="12936">
                      <a:moveTo>
                        <a:pt x="0" y="0"/>
                      </a:moveTo>
                      <a:cubicBezTo>
                        <a:pt x="754" y="126"/>
                        <a:pt x="1507" y="126"/>
                        <a:pt x="2135" y="251"/>
                      </a:cubicBezTo>
                      <a:cubicBezTo>
                        <a:pt x="2261" y="251"/>
                        <a:pt x="2386" y="377"/>
                        <a:pt x="2512" y="377"/>
                      </a:cubicBezTo>
                      <a:cubicBezTo>
                        <a:pt x="2763" y="502"/>
                        <a:pt x="3014" y="502"/>
                        <a:pt x="3266" y="628"/>
                      </a:cubicBezTo>
                      <a:cubicBezTo>
                        <a:pt x="5149" y="1382"/>
                        <a:pt x="6531" y="2637"/>
                        <a:pt x="6531" y="4145"/>
                      </a:cubicBezTo>
                      <a:lnTo>
                        <a:pt x="6531" y="9043"/>
                      </a:lnTo>
                      <a:cubicBezTo>
                        <a:pt x="6531" y="9294"/>
                        <a:pt x="6531" y="9420"/>
                        <a:pt x="6405" y="9671"/>
                      </a:cubicBezTo>
                      <a:cubicBezTo>
                        <a:pt x="6405" y="9671"/>
                        <a:pt x="6405" y="9671"/>
                        <a:pt x="6405" y="9796"/>
                      </a:cubicBezTo>
                      <a:cubicBezTo>
                        <a:pt x="6405" y="9796"/>
                        <a:pt x="6405" y="9922"/>
                        <a:pt x="6405" y="9922"/>
                      </a:cubicBezTo>
                      <a:cubicBezTo>
                        <a:pt x="6405" y="9922"/>
                        <a:pt x="6405" y="9922"/>
                        <a:pt x="6405" y="9922"/>
                      </a:cubicBezTo>
                      <a:cubicBezTo>
                        <a:pt x="6405" y="10048"/>
                        <a:pt x="6280" y="10173"/>
                        <a:pt x="6280" y="10173"/>
                      </a:cubicBezTo>
                      <a:cubicBezTo>
                        <a:pt x="6280" y="10299"/>
                        <a:pt x="6154" y="10424"/>
                        <a:pt x="6154" y="10424"/>
                      </a:cubicBezTo>
                      <a:cubicBezTo>
                        <a:pt x="6029" y="10550"/>
                        <a:pt x="6029" y="10676"/>
                        <a:pt x="5903" y="10801"/>
                      </a:cubicBezTo>
                      <a:cubicBezTo>
                        <a:pt x="5777" y="10927"/>
                        <a:pt x="5652" y="11052"/>
                        <a:pt x="5526" y="11178"/>
                      </a:cubicBezTo>
                      <a:cubicBezTo>
                        <a:pt x="5526" y="11178"/>
                        <a:pt x="5400" y="11303"/>
                        <a:pt x="5400" y="11303"/>
                      </a:cubicBezTo>
                      <a:cubicBezTo>
                        <a:pt x="5149" y="11429"/>
                        <a:pt x="4898" y="11680"/>
                        <a:pt x="4647" y="11806"/>
                      </a:cubicBezTo>
                      <a:cubicBezTo>
                        <a:pt x="4521" y="11806"/>
                        <a:pt x="4521" y="11931"/>
                        <a:pt x="4396" y="11931"/>
                      </a:cubicBezTo>
                      <a:cubicBezTo>
                        <a:pt x="4270" y="12057"/>
                        <a:pt x="4019" y="12183"/>
                        <a:pt x="3768" y="12183"/>
                      </a:cubicBezTo>
                      <a:cubicBezTo>
                        <a:pt x="3642" y="12183"/>
                        <a:pt x="3642" y="12308"/>
                        <a:pt x="3517" y="12308"/>
                      </a:cubicBezTo>
                      <a:cubicBezTo>
                        <a:pt x="3266" y="12434"/>
                        <a:pt x="3014" y="12559"/>
                        <a:pt x="2763" y="12559"/>
                      </a:cubicBezTo>
                      <a:cubicBezTo>
                        <a:pt x="2637" y="12559"/>
                        <a:pt x="2512" y="12685"/>
                        <a:pt x="2386" y="12685"/>
                      </a:cubicBezTo>
                      <a:cubicBezTo>
                        <a:pt x="2135" y="12811"/>
                        <a:pt x="1884" y="12811"/>
                        <a:pt x="1507" y="12936"/>
                      </a:cubicBezTo>
                      <a:cubicBezTo>
                        <a:pt x="1381" y="12936"/>
                        <a:pt x="1256" y="12936"/>
                        <a:pt x="1130" y="12936"/>
                      </a:cubicBezTo>
                      <a:cubicBezTo>
                        <a:pt x="1005" y="12936"/>
                        <a:pt x="1005" y="12936"/>
                        <a:pt x="879" y="12936"/>
                      </a:cubicBezTo>
                      <a:cubicBezTo>
                        <a:pt x="754" y="12936"/>
                        <a:pt x="628" y="12936"/>
                        <a:pt x="628" y="12936"/>
                      </a:cubicBezTo>
                      <a:cubicBezTo>
                        <a:pt x="502" y="12936"/>
                        <a:pt x="377" y="12936"/>
                        <a:pt x="251" y="12936"/>
                      </a:cubicBezTo>
                      <a:lnTo>
                        <a:pt x="251" y="0"/>
                      </a:lnTo>
                      <a:close/>
                    </a:path>
                  </a:pathLst>
                </a:custGeom>
                <a:solidFill>
                  <a:srgbClr val="47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0" name="Freeform: Shape 2449">
                  <a:extLst>
                    <a:ext uri="{FF2B5EF4-FFF2-40B4-BE49-F238E27FC236}">
                      <a16:creationId xmlns:a16="http://schemas.microsoft.com/office/drawing/2014/main" id="{1292D6DD-7313-425B-A588-8B3C06CCE2D0}"/>
                    </a:ext>
                  </a:extLst>
                </p:cNvPr>
                <p:cNvSpPr/>
                <p:nvPr/>
              </p:nvSpPr>
              <p:spPr>
                <a:xfrm>
                  <a:off x="4865294" y="3012115"/>
                  <a:ext cx="2386" cy="10675"/>
                </a:xfrm>
                <a:custGeom>
                  <a:avLst/>
                  <a:gdLst>
                    <a:gd name="connsiteX0" fmla="*/ 0 w 2386"/>
                    <a:gd name="connsiteY0" fmla="*/ 0 h 10675"/>
                    <a:gd name="connsiteX1" fmla="*/ 2386 w 2386"/>
                    <a:gd name="connsiteY1" fmla="*/ 2889 h 10675"/>
                    <a:gd name="connsiteX2" fmla="*/ 2386 w 2386"/>
                    <a:gd name="connsiteY2" fmla="*/ 7787 h 10675"/>
                    <a:gd name="connsiteX3" fmla="*/ 2261 w 2386"/>
                    <a:gd name="connsiteY3" fmla="*/ 8415 h 10675"/>
                    <a:gd name="connsiteX4" fmla="*/ 2261 w 2386"/>
                    <a:gd name="connsiteY4" fmla="*/ 8541 h 10675"/>
                    <a:gd name="connsiteX5" fmla="*/ 2261 w 2386"/>
                    <a:gd name="connsiteY5" fmla="*/ 8666 h 10675"/>
                    <a:gd name="connsiteX6" fmla="*/ 2261 w 2386"/>
                    <a:gd name="connsiteY6" fmla="*/ 8666 h 10675"/>
                    <a:gd name="connsiteX7" fmla="*/ 2135 w 2386"/>
                    <a:gd name="connsiteY7" fmla="*/ 8917 h 10675"/>
                    <a:gd name="connsiteX8" fmla="*/ 2010 w 2386"/>
                    <a:gd name="connsiteY8" fmla="*/ 9168 h 10675"/>
                    <a:gd name="connsiteX9" fmla="*/ 1759 w 2386"/>
                    <a:gd name="connsiteY9" fmla="*/ 9545 h 10675"/>
                    <a:gd name="connsiteX10" fmla="*/ 1382 w 2386"/>
                    <a:gd name="connsiteY10" fmla="*/ 9922 h 10675"/>
                    <a:gd name="connsiteX11" fmla="*/ 1256 w 2386"/>
                    <a:gd name="connsiteY11" fmla="*/ 10048 h 10675"/>
                    <a:gd name="connsiteX12" fmla="*/ 502 w 2386"/>
                    <a:gd name="connsiteY12" fmla="*/ 10550 h 10675"/>
                    <a:gd name="connsiteX13" fmla="*/ 251 w 2386"/>
                    <a:gd name="connsiteY13" fmla="*/ 10676 h 10675"/>
                    <a:gd name="connsiteX14" fmla="*/ 126 w 2386"/>
                    <a:gd name="connsiteY14" fmla="*/ 10676 h 10675"/>
                    <a:gd name="connsiteX15" fmla="*/ 126 w 2386"/>
                    <a:gd name="connsiteY15"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6" h="10675">
                      <a:moveTo>
                        <a:pt x="0" y="0"/>
                      </a:moveTo>
                      <a:cubicBezTo>
                        <a:pt x="1382" y="754"/>
                        <a:pt x="2386" y="1758"/>
                        <a:pt x="2386" y="2889"/>
                      </a:cubicBezTo>
                      <a:lnTo>
                        <a:pt x="2386" y="7787"/>
                      </a:lnTo>
                      <a:cubicBezTo>
                        <a:pt x="2386" y="8038"/>
                        <a:pt x="2386" y="8164"/>
                        <a:pt x="2261" y="8415"/>
                      </a:cubicBezTo>
                      <a:cubicBezTo>
                        <a:pt x="2261" y="8415"/>
                        <a:pt x="2261" y="8415"/>
                        <a:pt x="2261" y="8541"/>
                      </a:cubicBezTo>
                      <a:cubicBezTo>
                        <a:pt x="2261" y="8541"/>
                        <a:pt x="2261" y="8666"/>
                        <a:pt x="2261" y="8666"/>
                      </a:cubicBezTo>
                      <a:cubicBezTo>
                        <a:pt x="2261" y="8666"/>
                        <a:pt x="2261" y="8666"/>
                        <a:pt x="2261" y="8666"/>
                      </a:cubicBezTo>
                      <a:cubicBezTo>
                        <a:pt x="2261" y="8792"/>
                        <a:pt x="2135" y="8917"/>
                        <a:pt x="2135" y="8917"/>
                      </a:cubicBezTo>
                      <a:cubicBezTo>
                        <a:pt x="2135" y="9043"/>
                        <a:pt x="2010" y="9168"/>
                        <a:pt x="2010" y="9168"/>
                      </a:cubicBezTo>
                      <a:cubicBezTo>
                        <a:pt x="1884" y="9294"/>
                        <a:pt x="1884" y="9420"/>
                        <a:pt x="1759" y="9545"/>
                      </a:cubicBezTo>
                      <a:cubicBezTo>
                        <a:pt x="1633" y="9671"/>
                        <a:pt x="1507" y="9796"/>
                        <a:pt x="1382" y="9922"/>
                      </a:cubicBezTo>
                      <a:cubicBezTo>
                        <a:pt x="1382" y="9922"/>
                        <a:pt x="1256" y="10048"/>
                        <a:pt x="1256" y="10048"/>
                      </a:cubicBezTo>
                      <a:cubicBezTo>
                        <a:pt x="1005" y="10173"/>
                        <a:pt x="754" y="10424"/>
                        <a:pt x="502" y="10550"/>
                      </a:cubicBezTo>
                      <a:cubicBezTo>
                        <a:pt x="377" y="10550"/>
                        <a:pt x="377" y="10676"/>
                        <a:pt x="251" y="10676"/>
                      </a:cubicBezTo>
                      <a:cubicBezTo>
                        <a:pt x="251" y="10676"/>
                        <a:pt x="126" y="10676"/>
                        <a:pt x="126" y="10676"/>
                      </a:cubicBezTo>
                      <a:lnTo>
                        <a:pt x="126" y="0"/>
                      </a:lnTo>
                      <a:close/>
                    </a:path>
                  </a:pathLst>
                </a:custGeom>
                <a:solidFill>
                  <a:srgbClr val="38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1" name="Freeform: Shape 2450">
                  <a:extLst>
                    <a:ext uri="{FF2B5EF4-FFF2-40B4-BE49-F238E27FC236}">
                      <a16:creationId xmlns:a16="http://schemas.microsoft.com/office/drawing/2014/main" id="{841DFA1B-66E4-4DD8-9DE6-8BD51F0EC352}"/>
                    </a:ext>
                  </a:extLst>
                </p:cNvPr>
                <p:cNvSpPr/>
                <p:nvPr/>
              </p:nvSpPr>
              <p:spPr>
                <a:xfrm>
                  <a:off x="4852484" y="3010859"/>
                  <a:ext cx="15322" cy="8540"/>
                </a:xfrm>
                <a:custGeom>
                  <a:avLst/>
                  <a:gdLst>
                    <a:gd name="connsiteX0" fmla="*/ 0 w 15322"/>
                    <a:gd name="connsiteY0" fmla="*/ 4270 h 8540"/>
                    <a:gd name="connsiteX1" fmla="*/ 4270 w 15322"/>
                    <a:gd name="connsiteY1" fmla="*/ 8164 h 8540"/>
                    <a:gd name="connsiteX2" fmla="*/ 7661 w 15322"/>
                    <a:gd name="connsiteY2" fmla="*/ 8540 h 8540"/>
                    <a:gd name="connsiteX3" fmla="*/ 11052 w 15322"/>
                    <a:gd name="connsiteY3" fmla="*/ 8164 h 8540"/>
                    <a:gd name="connsiteX4" fmla="*/ 15323 w 15322"/>
                    <a:gd name="connsiteY4" fmla="*/ 4270 h 8540"/>
                    <a:gd name="connsiteX5" fmla="*/ 12057 w 15322"/>
                    <a:gd name="connsiteY5" fmla="*/ 754 h 8540"/>
                    <a:gd name="connsiteX6" fmla="*/ 11303 w 15322"/>
                    <a:gd name="connsiteY6" fmla="*/ 502 h 8540"/>
                    <a:gd name="connsiteX7" fmla="*/ 10927 w 15322"/>
                    <a:gd name="connsiteY7" fmla="*/ 377 h 8540"/>
                    <a:gd name="connsiteX8" fmla="*/ 7536 w 15322"/>
                    <a:gd name="connsiteY8" fmla="*/ 0 h 8540"/>
                    <a:gd name="connsiteX9" fmla="*/ 4144 w 15322"/>
                    <a:gd name="connsiteY9" fmla="*/ 377 h 8540"/>
                    <a:gd name="connsiteX10" fmla="*/ 0 w 15322"/>
                    <a:gd name="connsiteY10" fmla="*/ 427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22" h="8540">
                      <a:moveTo>
                        <a:pt x="0" y="4270"/>
                      </a:moveTo>
                      <a:cubicBezTo>
                        <a:pt x="0" y="5903"/>
                        <a:pt x="1759" y="7410"/>
                        <a:pt x="4270" y="8164"/>
                      </a:cubicBezTo>
                      <a:cubicBezTo>
                        <a:pt x="5275" y="8415"/>
                        <a:pt x="6405" y="8540"/>
                        <a:pt x="7661" y="8540"/>
                      </a:cubicBezTo>
                      <a:cubicBezTo>
                        <a:pt x="8917" y="8540"/>
                        <a:pt x="10047" y="8415"/>
                        <a:pt x="11052" y="8164"/>
                      </a:cubicBezTo>
                      <a:cubicBezTo>
                        <a:pt x="13564" y="7410"/>
                        <a:pt x="15323" y="6028"/>
                        <a:pt x="15323" y="4270"/>
                      </a:cubicBezTo>
                      <a:cubicBezTo>
                        <a:pt x="15323" y="2763"/>
                        <a:pt x="14067" y="1507"/>
                        <a:pt x="12057" y="754"/>
                      </a:cubicBezTo>
                      <a:cubicBezTo>
                        <a:pt x="11806" y="628"/>
                        <a:pt x="11555" y="628"/>
                        <a:pt x="11303" y="502"/>
                      </a:cubicBezTo>
                      <a:cubicBezTo>
                        <a:pt x="11178" y="502"/>
                        <a:pt x="11052" y="377"/>
                        <a:pt x="10927" y="377"/>
                      </a:cubicBezTo>
                      <a:cubicBezTo>
                        <a:pt x="9922" y="126"/>
                        <a:pt x="8792" y="0"/>
                        <a:pt x="7536" y="0"/>
                      </a:cubicBezTo>
                      <a:cubicBezTo>
                        <a:pt x="6280" y="0"/>
                        <a:pt x="5149" y="126"/>
                        <a:pt x="4144" y="377"/>
                      </a:cubicBezTo>
                      <a:cubicBezTo>
                        <a:pt x="1759" y="1005"/>
                        <a:pt x="0" y="2512"/>
                        <a:pt x="0" y="4270"/>
                      </a:cubicBezTo>
                      <a:close/>
                    </a:path>
                  </a:pathLst>
                </a:custGeom>
                <a:solidFill>
                  <a:srgbClr val="84727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52" name="Graphic 4">
                <a:extLst>
                  <a:ext uri="{FF2B5EF4-FFF2-40B4-BE49-F238E27FC236}">
                    <a16:creationId xmlns:a16="http://schemas.microsoft.com/office/drawing/2014/main" id="{84FB7ED1-A2DF-40A1-A747-5F7CF3F14040}"/>
                  </a:ext>
                </a:extLst>
              </p:cNvPr>
              <p:cNvGrpSpPr/>
              <p:nvPr/>
            </p:nvGrpSpPr>
            <p:grpSpPr>
              <a:xfrm>
                <a:off x="4855373" y="3009729"/>
                <a:ext cx="9419" cy="7661"/>
                <a:chOff x="4855373" y="3009729"/>
                <a:chExt cx="9419" cy="7661"/>
              </a:xfrm>
              <a:solidFill>
                <a:schemeClr val="accent1"/>
              </a:solidFill>
            </p:grpSpPr>
            <p:sp>
              <p:nvSpPr>
                <p:cNvPr id="2453" name="Freeform: Shape 2452">
                  <a:extLst>
                    <a:ext uri="{FF2B5EF4-FFF2-40B4-BE49-F238E27FC236}">
                      <a16:creationId xmlns:a16="http://schemas.microsoft.com/office/drawing/2014/main" id="{8E806566-C987-4BFC-94F7-9E711D11C173}"/>
                    </a:ext>
                  </a:extLst>
                </p:cNvPr>
                <p:cNvSpPr/>
                <p:nvPr/>
              </p:nvSpPr>
              <p:spPr>
                <a:xfrm>
                  <a:off x="4855373" y="3009854"/>
                  <a:ext cx="9419" cy="7535"/>
                </a:xfrm>
                <a:custGeom>
                  <a:avLst/>
                  <a:gdLst>
                    <a:gd name="connsiteX0" fmla="*/ 0 w 9419"/>
                    <a:gd name="connsiteY0" fmla="*/ 2512 h 7535"/>
                    <a:gd name="connsiteX1" fmla="*/ 0 w 9419"/>
                    <a:gd name="connsiteY1" fmla="*/ 5024 h 7535"/>
                    <a:gd name="connsiteX2" fmla="*/ 2637 w 9419"/>
                    <a:gd name="connsiteY2" fmla="*/ 7410 h 7535"/>
                    <a:gd name="connsiteX3" fmla="*/ 3140 w 9419"/>
                    <a:gd name="connsiteY3" fmla="*/ 7536 h 7535"/>
                    <a:gd name="connsiteX4" fmla="*/ 3391 w 9419"/>
                    <a:gd name="connsiteY4" fmla="*/ 7536 h 7535"/>
                    <a:gd name="connsiteX5" fmla="*/ 3517 w 9419"/>
                    <a:gd name="connsiteY5" fmla="*/ 7536 h 7535"/>
                    <a:gd name="connsiteX6" fmla="*/ 3642 w 9419"/>
                    <a:gd name="connsiteY6" fmla="*/ 7536 h 7535"/>
                    <a:gd name="connsiteX7" fmla="*/ 4144 w 9419"/>
                    <a:gd name="connsiteY7" fmla="*/ 7536 h 7535"/>
                    <a:gd name="connsiteX8" fmla="*/ 4396 w 9419"/>
                    <a:gd name="connsiteY8" fmla="*/ 7536 h 7535"/>
                    <a:gd name="connsiteX9" fmla="*/ 4773 w 9419"/>
                    <a:gd name="connsiteY9" fmla="*/ 7536 h 7535"/>
                    <a:gd name="connsiteX10" fmla="*/ 5149 w 9419"/>
                    <a:gd name="connsiteY10" fmla="*/ 7536 h 7535"/>
                    <a:gd name="connsiteX11" fmla="*/ 5400 w 9419"/>
                    <a:gd name="connsiteY11" fmla="*/ 7536 h 7535"/>
                    <a:gd name="connsiteX12" fmla="*/ 5903 w 9419"/>
                    <a:gd name="connsiteY12" fmla="*/ 7536 h 7535"/>
                    <a:gd name="connsiteX13" fmla="*/ 6028 w 9419"/>
                    <a:gd name="connsiteY13" fmla="*/ 7536 h 7535"/>
                    <a:gd name="connsiteX14" fmla="*/ 6154 w 9419"/>
                    <a:gd name="connsiteY14" fmla="*/ 7536 h 7535"/>
                    <a:gd name="connsiteX15" fmla="*/ 6405 w 9419"/>
                    <a:gd name="connsiteY15" fmla="*/ 7536 h 7535"/>
                    <a:gd name="connsiteX16" fmla="*/ 6908 w 9419"/>
                    <a:gd name="connsiteY16" fmla="*/ 7410 h 7535"/>
                    <a:gd name="connsiteX17" fmla="*/ 7159 w 9419"/>
                    <a:gd name="connsiteY17" fmla="*/ 7285 h 7535"/>
                    <a:gd name="connsiteX18" fmla="*/ 7661 w 9419"/>
                    <a:gd name="connsiteY18" fmla="*/ 7159 h 7535"/>
                    <a:gd name="connsiteX19" fmla="*/ 7787 w 9419"/>
                    <a:gd name="connsiteY19" fmla="*/ 7033 h 7535"/>
                    <a:gd name="connsiteX20" fmla="*/ 8164 w 9419"/>
                    <a:gd name="connsiteY20" fmla="*/ 6908 h 7535"/>
                    <a:gd name="connsiteX21" fmla="*/ 8289 w 9419"/>
                    <a:gd name="connsiteY21" fmla="*/ 6782 h 7535"/>
                    <a:gd name="connsiteX22" fmla="*/ 8666 w 9419"/>
                    <a:gd name="connsiteY22" fmla="*/ 6531 h 7535"/>
                    <a:gd name="connsiteX23" fmla="*/ 8791 w 9419"/>
                    <a:gd name="connsiteY23" fmla="*/ 6405 h 7535"/>
                    <a:gd name="connsiteX24" fmla="*/ 9043 w 9419"/>
                    <a:gd name="connsiteY24" fmla="*/ 6154 h 7535"/>
                    <a:gd name="connsiteX25" fmla="*/ 9168 w 9419"/>
                    <a:gd name="connsiteY25" fmla="*/ 5903 h 7535"/>
                    <a:gd name="connsiteX26" fmla="*/ 9294 w 9419"/>
                    <a:gd name="connsiteY26" fmla="*/ 5777 h 7535"/>
                    <a:gd name="connsiteX27" fmla="*/ 9420 w 9419"/>
                    <a:gd name="connsiteY27" fmla="*/ 5652 h 7535"/>
                    <a:gd name="connsiteX28" fmla="*/ 9420 w 9419"/>
                    <a:gd name="connsiteY28" fmla="*/ 5652 h 7535"/>
                    <a:gd name="connsiteX29" fmla="*/ 9420 w 9419"/>
                    <a:gd name="connsiteY29" fmla="*/ 5526 h 7535"/>
                    <a:gd name="connsiteX30" fmla="*/ 9420 w 9419"/>
                    <a:gd name="connsiteY30" fmla="*/ 5526 h 7535"/>
                    <a:gd name="connsiteX31" fmla="*/ 9420 w 9419"/>
                    <a:gd name="connsiteY31" fmla="*/ 5149 h 7535"/>
                    <a:gd name="connsiteX32" fmla="*/ 9420 w 9419"/>
                    <a:gd name="connsiteY32" fmla="*/ 2637 h 7535"/>
                    <a:gd name="connsiteX33" fmla="*/ 7410 w 9419"/>
                    <a:gd name="connsiteY33" fmla="*/ 502 h 7535"/>
                    <a:gd name="connsiteX34" fmla="*/ 7033 w 9419"/>
                    <a:gd name="connsiteY34" fmla="*/ 377 h 7535"/>
                    <a:gd name="connsiteX35" fmla="*/ 6782 w 9419"/>
                    <a:gd name="connsiteY35" fmla="*/ 251 h 7535"/>
                    <a:gd name="connsiteX36" fmla="*/ 4773 w 9419"/>
                    <a:gd name="connsiteY36" fmla="*/ 0 h 7535"/>
                    <a:gd name="connsiteX37" fmla="*/ 2763 w 9419"/>
                    <a:gd name="connsiteY37" fmla="*/ 251 h 7535"/>
                    <a:gd name="connsiteX38" fmla="*/ 0 w 9419"/>
                    <a:gd name="connsiteY38" fmla="*/ 251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419" h="7535">
                      <a:moveTo>
                        <a:pt x="0" y="2512"/>
                      </a:moveTo>
                      <a:lnTo>
                        <a:pt x="0" y="5024"/>
                      </a:lnTo>
                      <a:cubicBezTo>
                        <a:pt x="0" y="6028"/>
                        <a:pt x="1005" y="6908"/>
                        <a:pt x="2637" y="7410"/>
                      </a:cubicBezTo>
                      <a:cubicBezTo>
                        <a:pt x="2763" y="7410"/>
                        <a:pt x="3014" y="7536"/>
                        <a:pt x="3140" y="7536"/>
                      </a:cubicBezTo>
                      <a:cubicBezTo>
                        <a:pt x="3265" y="7536"/>
                        <a:pt x="3265" y="7536"/>
                        <a:pt x="3391" y="7536"/>
                      </a:cubicBezTo>
                      <a:cubicBezTo>
                        <a:pt x="3391" y="7536"/>
                        <a:pt x="3517" y="7536"/>
                        <a:pt x="3517" y="7536"/>
                      </a:cubicBezTo>
                      <a:cubicBezTo>
                        <a:pt x="3517" y="7536"/>
                        <a:pt x="3642" y="7536"/>
                        <a:pt x="3642" y="7536"/>
                      </a:cubicBezTo>
                      <a:cubicBezTo>
                        <a:pt x="3768" y="7536"/>
                        <a:pt x="3893" y="7536"/>
                        <a:pt x="4144" y="7536"/>
                      </a:cubicBezTo>
                      <a:cubicBezTo>
                        <a:pt x="4270" y="7536"/>
                        <a:pt x="4270" y="7536"/>
                        <a:pt x="4396" y="7536"/>
                      </a:cubicBezTo>
                      <a:cubicBezTo>
                        <a:pt x="4521" y="7536"/>
                        <a:pt x="4647" y="7536"/>
                        <a:pt x="4773" y="7536"/>
                      </a:cubicBezTo>
                      <a:cubicBezTo>
                        <a:pt x="4898" y="7536"/>
                        <a:pt x="5024" y="7536"/>
                        <a:pt x="5149" y="7536"/>
                      </a:cubicBezTo>
                      <a:cubicBezTo>
                        <a:pt x="5275" y="7536"/>
                        <a:pt x="5275" y="7536"/>
                        <a:pt x="5400" y="7536"/>
                      </a:cubicBezTo>
                      <a:cubicBezTo>
                        <a:pt x="5526" y="7536"/>
                        <a:pt x="5652" y="7536"/>
                        <a:pt x="5903" y="7536"/>
                      </a:cubicBezTo>
                      <a:cubicBezTo>
                        <a:pt x="5903" y="7536"/>
                        <a:pt x="6028" y="7536"/>
                        <a:pt x="6028" y="7536"/>
                      </a:cubicBezTo>
                      <a:cubicBezTo>
                        <a:pt x="6028" y="7536"/>
                        <a:pt x="6154" y="7536"/>
                        <a:pt x="6154" y="7536"/>
                      </a:cubicBezTo>
                      <a:cubicBezTo>
                        <a:pt x="6280" y="7536"/>
                        <a:pt x="6280" y="7536"/>
                        <a:pt x="6405" y="7536"/>
                      </a:cubicBezTo>
                      <a:cubicBezTo>
                        <a:pt x="6531" y="7536"/>
                        <a:pt x="6782" y="7410"/>
                        <a:pt x="6908" y="7410"/>
                      </a:cubicBezTo>
                      <a:cubicBezTo>
                        <a:pt x="7033" y="7410"/>
                        <a:pt x="7033" y="7410"/>
                        <a:pt x="7159" y="7285"/>
                      </a:cubicBezTo>
                      <a:cubicBezTo>
                        <a:pt x="7284" y="7285"/>
                        <a:pt x="7535" y="7159"/>
                        <a:pt x="7661" y="7159"/>
                      </a:cubicBezTo>
                      <a:cubicBezTo>
                        <a:pt x="7661" y="7159"/>
                        <a:pt x="7787" y="7159"/>
                        <a:pt x="7787" y="7033"/>
                      </a:cubicBezTo>
                      <a:cubicBezTo>
                        <a:pt x="7913" y="7033"/>
                        <a:pt x="8038" y="6908"/>
                        <a:pt x="8164" y="6908"/>
                      </a:cubicBezTo>
                      <a:cubicBezTo>
                        <a:pt x="8164" y="6908"/>
                        <a:pt x="8289" y="6908"/>
                        <a:pt x="8289" y="6782"/>
                      </a:cubicBezTo>
                      <a:cubicBezTo>
                        <a:pt x="8415" y="6657"/>
                        <a:pt x="8540" y="6531"/>
                        <a:pt x="8666" y="6531"/>
                      </a:cubicBezTo>
                      <a:cubicBezTo>
                        <a:pt x="8666" y="6531"/>
                        <a:pt x="8791" y="6405"/>
                        <a:pt x="8791" y="6405"/>
                      </a:cubicBezTo>
                      <a:cubicBezTo>
                        <a:pt x="8917" y="6280"/>
                        <a:pt x="8917" y="6280"/>
                        <a:pt x="9043" y="6154"/>
                      </a:cubicBezTo>
                      <a:cubicBezTo>
                        <a:pt x="9043" y="6028"/>
                        <a:pt x="9168" y="6028"/>
                        <a:pt x="9168" y="5903"/>
                      </a:cubicBezTo>
                      <a:cubicBezTo>
                        <a:pt x="9168" y="5903"/>
                        <a:pt x="9294" y="5777"/>
                        <a:pt x="9294" y="5777"/>
                      </a:cubicBezTo>
                      <a:cubicBezTo>
                        <a:pt x="9294" y="5777"/>
                        <a:pt x="9294" y="5652"/>
                        <a:pt x="9420" y="5652"/>
                      </a:cubicBezTo>
                      <a:cubicBezTo>
                        <a:pt x="9420" y="5652"/>
                        <a:pt x="9420" y="5652"/>
                        <a:pt x="9420" y="5652"/>
                      </a:cubicBezTo>
                      <a:cubicBezTo>
                        <a:pt x="9420" y="5652"/>
                        <a:pt x="9420" y="5652"/>
                        <a:pt x="9420" y="5526"/>
                      </a:cubicBezTo>
                      <a:cubicBezTo>
                        <a:pt x="9420" y="5526"/>
                        <a:pt x="9420" y="5526"/>
                        <a:pt x="9420" y="5526"/>
                      </a:cubicBezTo>
                      <a:cubicBezTo>
                        <a:pt x="9420" y="5400"/>
                        <a:pt x="9420" y="5275"/>
                        <a:pt x="9420" y="5149"/>
                      </a:cubicBezTo>
                      <a:lnTo>
                        <a:pt x="9420" y="2637"/>
                      </a:lnTo>
                      <a:cubicBezTo>
                        <a:pt x="9420" y="1758"/>
                        <a:pt x="8666" y="1005"/>
                        <a:pt x="7410" y="502"/>
                      </a:cubicBezTo>
                      <a:cubicBezTo>
                        <a:pt x="7284" y="502"/>
                        <a:pt x="7159" y="377"/>
                        <a:pt x="7033" y="377"/>
                      </a:cubicBezTo>
                      <a:cubicBezTo>
                        <a:pt x="6908" y="377"/>
                        <a:pt x="6908" y="377"/>
                        <a:pt x="6782" y="251"/>
                      </a:cubicBezTo>
                      <a:cubicBezTo>
                        <a:pt x="6154" y="126"/>
                        <a:pt x="5526" y="0"/>
                        <a:pt x="4773" y="0"/>
                      </a:cubicBezTo>
                      <a:cubicBezTo>
                        <a:pt x="4019" y="0"/>
                        <a:pt x="3391" y="126"/>
                        <a:pt x="2763" y="251"/>
                      </a:cubicBezTo>
                      <a:cubicBezTo>
                        <a:pt x="1130" y="502"/>
                        <a:pt x="0" y="1382"/>
                        <a:pt x="0" y="2512"/>
                      </a:cubicBezTo>
                      <a:close/>
                    </a:path>
                  </a:pathLst>
                </a:custGeom>
                <a:solidFill>
                  <a:srgbClr val="C2C2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4" name="Freeform: Shape 2453">
                  <a:extLst>
                    <a:ext uri="{FF2B5EF4-FFF2-40B4-BE49-F238E27FC236}">
                      <a16:creationId xmlns:a16="http://schemas.microsoft.com/office/drawing/2014/main" id="{D51CE375-6A10-46F8-82C6-42CB78B700E1}"/>
                    </a:ext>
                  </a:extLst>
                </p:cNvPr>
                <p:cNvSpPr/>
                <p:nvPr/>
              </p:nvSpPr>
              <p:spPr>
                <a:xfrm>
                  <a:off x="4855373" y="3009980"/>
                  <a:ext cx="2763" cy="7284"/>
                </a:xfrm>
                <a:custGeom>
                  <a:avLst/>
                  <a:gdLst>
                    <a:gd name="connsiteX0" fmla="*/ 2637 w 2763"/>
                    <a:gd name="connsiteY0" fmla="*/ 0 h 7284"/>
                    <a:gd name="connsiteX1" fmla="*/ 2637 w 2763"/>
                    <a:gd name="connsiteY1" fmla="*/ 0 h 7284"/>
                    <a:gd name="connsiteX2" fmla="*/ 2763 w 2763"/>
                    <a:gd name="connsiteY2" fmla="*/ 7285 h 7284"/>
                    <a:gd name="connsiteX3" fmla="*/ 2637 w 2763"/>
                    <a:gd name="connsiteY3" fmla="*/ 7285 h 7284"/>
                    <a:gd name="connsiteX4" fmla="*/ 0 w 2763"/>
                    <a:gd name="connsiteY4" fmla="*/ 4898 h 7284"/>
                    <a:gd name="connsiteX5" fmla="*/ 0 w 2763"/>
                    <a:gd name="connsiteY5" fmla="*/ 2386 h 7284"/>
                    <a:gd name="connsiteX6" fmla="*/ 2637 w 2763"/>
                    <a:gd name="connsiteY6" fmla="*/ 0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3" h="7284">
                      <a:moveTo>
                        <a:pt x="2637" y="0"/>
                      </a:moveTo>
                      <a:cubicBezTo>
                        <a:pt x="2637" y="0"/>
                        <a:pt x="2637" y="0"/>
                        <a:pt x="2637" y="0"/>
                      </a:cubicBezTo>
                      <a:lnTo>
                        <a:pt x="2763" y="7285"/>
                      </a:lnTo>
                      <a:cubicBezTo>
                        <a:pt x="2763" y="7285"/>
                        <a:pt x="2763" y="7285"/>
                        <a:pt x="2637" y="7285"/>
                      </a:cubicBezTo>
                      <a:cubicBezTo>
                        <a:pt x="1130" y="6908"/>
                        <a:pt x="0" y="5903"/>
                        <a:pt x="0" y="4898"/>
                      </a:cubicBezTo>
                      <a:lnTo>
                        <a:pt x="0" y="2386"/>
                      </a:lnTo>
                      <a:cubicBezTo>
                        <a:pt x="0" y="1256"/>
                        <a:pt x="1130" y="377"/>
                        <a:pt x="2637" y="0"/>
                      </a:cubicBezTo>
                      <a:close/>
                    </a:path>
                  </a:pathLst>
                </a:custGeom>
                <a:solidFill>
                  <a:srgbClr val="D4D4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5" name="Freeform: Shape 2454">
                  <a:extLst>
                    <a:ext uri="{FF2B5EF4-FFF2-40B4-BE49-F238E27FC236}">
                      <a16:creationId xmlns:a16="http://schemas.microsoft.com/office/drawing/2014/main" id="{08A1679D-55FF-4A97-AFA8-EF32452FA6FE}"/>
                    </a:ext>
                  </a:extLst>
                </p:cNvPr>
                <p:cNvSpPr/>
                <p:nvPr/>
              </p:nvSpPr>
              <p:spPr>
                <a:xfrm>
                  <a:off x="4860773" y="3009854"/>
                  <a:ext cx="4019" cy="7535"/>
                </a:xfrm>
                <a:custGeom>
                  <a:avLst/>
                  <a:gdLst>
                    <a:gd name="connsiteX0" fmla="*/ 0 w 4019"/>
                    <a:gd name="connsiteY0" fmla="*/ 0 h 7535"/>
                    <a:gd name="connsiteX1" fmla="*/ 1381 w 4019"/>
                    <a:gd name="connsiteY1" fmla="*/ 126 h 7535"/>
                    <a:gd name="connsiteX2" fmla="*/ 1633 w 4019"/>
                    <a:gd name="connsiteY2" fmla="*/ 251 h 7535"/>
                    <a:gd name="connsiteX3" fmla="*/ 2010 w 4019"/>
                    <a:gd name="connsiteY3" fmla="*/ 377 h 7535"/>
                    <a:gd name="connsiteX4" fmla="*/ 4019 w 4019"/>
                    <a:gd name="connsiteY4" fmla="*/ 2512 h 7535"/>
                    <a:gd name="connsiteX5" fmla="*/ 4019 w 4019"/>
                    <a:gd name="connsiteY5" fmla="*/ 5024 h 7535"/>
                    <a:gd name="connsiteX6" fmla="*/ 4019 w 4019"/>
                    <a:gd name="connsiteY6" fmla="*/ 5400 h 7535"/>
                    <a:gd name="connsiteX7" fmla="*/ 4019 w 4019"/>
                    <a:gd name="connsiteY7" fmla="*/ 5400 h 7535"/>
                    <a:gd name="connsiteX8" fmla="*/ 4019 w 4019"/>
                    <a:gd name="connsiteY8" fmla="*/ 5526 h 7535"/>
                    <a:gd name="connsiteX9" fmla="*/ 4019 w 4019"/>
                    <a:gd name="connsiteY9" fmla="*/ 5526 h 7535"/>
                    <a:gd name="connsiteX10" fmla="*/ 3893 w 4019"/>
                    <a:gd name="connsiteY10" fmla="*/ 5777 h 7535"/>
                    <a:gd name="connsiteX11" fmla="*/ 3768 w 4019"/>
                    <a:gd name="connsiteY11" fmla="*/ 5903 h 7535"/>
                    <a:gd name="connsiteX12" fmla="*/ 3642 w 4019"/>
                    <a:gd name="connsiteY12" fmla="*/ 6154 h 7535"/>
                    <a:gd name="connsiteX13" fmla="*/ 3391 w 4019"/>
                    <a:gd name="connsiteY13" fmla="*/ 6405 h 7535"/>
                    <a:gd name="connsiteX14" fmla="*/ 3266 w 4019"/>
                    <a:gd name="connsiteY14" fmla="*/ 6531 h 7535"/>
                    <a:gd name="connsiteX15" fmla="*/ 2889 w 4019"/>
                    <a:gd name="connsiteY15" fmla="*/ 6782 h 7535"/>
                    <a:gd name="connsiteX16" fmla="*/ 2763 w 4019"/>
                    <a:gd name="connsiteY16" fmla="*/ 6908 h 7535"/>
                    <a:gd name="connsiteX17" fmla="*/ 2386 w 4019"/>
                    <a:gd name="connsiteY17" fmla="*/ 7033 h 7535"/>
                    <a:gd name="connsiteX18" fmla="*/ 2261 w 4019"/>
                    <a:gd name="connsiteY18" fmla="*/ 7159 h 7535"/>
                    <a:gd name="connsiteX19" fmla="*/ 1758 w 4019"/>
                    <a:gd name="connsiteY19" fmla="*/ 7285 h 7535"/>
                    <a:gd name="connsiteX20" fmla="*/ 1507 w 4019"/>
                    <a:gd name="connsiteY20" fmla="*/ 7410 h 7535"/>
                    <a:gd name="connsiteX21" fmla="*/ 1005 w 4019"/>
                    <a:gd name="connsiteY21" fmla="*/ 7536 h 7535"/>
                    <a:gd name="connsiteX22" fmla="*/ 754 w 4019"/>
                    <a:gd name="connsiteY22" fmla="*/ 7536 h 7535"/>
                    <a:gd name="connsiteX23" fmla="*/ 628 w 4019"/>
                    <a:gd name="connsiteY23" fmla="*/ 7536 h 7535"/>
                    <a:gd name="connsiteX24" fmla="*/ 502 w 4019"/>
                    <a:gd name="connsiteY24" fmla="*/ 7536 h 7535"/>
                    <a:gd name="connsiteX25" fmla="*/ 251 w 4019"/>
                    <a:gd name="connsiteY25" fmla="*/ 7536 h 7535"/>
                    <a:gd name="connsiteX26" fmla="*/ 251 w 4019"/>
                    <a:gd name="connsiteY26" fmla="*/ 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9" h="7535">
                      <a:moveTo>
                        <a:pt x="0" y="0"/>
                      </a:moveTo>
                      <a:cubicBezTo>
                        <a:pt x="502" y="0"/>
                        <a:pt x="879" y="0"/>
                        <a:pt x="1381" y="126"/>
                      </a:cubicBezTo>
                      <a:cubicBezTo>
                        <a:pt x="1507" y="126"/>
                        <a:pt x="1507" y="126"/>
                        <a:pt x="1633" y="251"/>
                      </a:cubicBezTo>
                      <a:cubicBezTo>
                        <a:pt x="1758" y="251"/>
                        <a:pt x="1884" y="377"/>
                        <a:pt x="2010" y="377"/>
                      </a:cubicBezTo>
                      <a:cubicBezTo>
                        <a:pt x="3266" y="879"/>
                        <a:pt x="4019" y="1633"/>
                        <a:pt x="4019" y="2512"/>
                      </a:cubicBezTo>
                      <a:lnTo>
                        <a:pt x="4019" y="5024"/>
                      </a:lnTo>
                      <a:cubicBezTo>
                        <a:pt x="4019" y="5149"/>
                        <a:pt x="4019" y="5275"/>
                        <a:pt x="4019" y="5400"/>
                      </a:cubicBezTo>
                      <a:cubicBezTo>
                        <a:pt x="4019" y="5400"/>
                        <a:pt x="4019" y="5400"/>
                        <a:pt x="4019" y="5400"/>
                      </a:cubicBezTo>
                      <a:cubicBezTo>
                        <a:pt x="4019" y="5400"/>
                        <a:pt x="4019" y="5526"/>
                        <a:pt x="4019" y="5526"/>
                      </a:cubicBezTo>
                      <a:cubicBezTo>
                        <a:pt x="4019" y="5526"/>
                        <a:pt x="4019" y="5526"/>
                        <a:pt x="4019" y="5526"/>
                      </a:cubicBezTo>
                      <a:cubicBezTo>
                        <a:pt x="4019" y="5652"/>
                        <a:pt x="4019" y="5652"/>
                        <a:pt x="3893" y="5777"/>
                      </a:cubicBezTo>
                      <a:cubicBezTo>
                        <a:pt x="3893" y="5777"/>
                        <a:pt x="3768" y="5903"/>
                        <a:pt x="3768" y="5903"/>
                      </a:cubicBezTo>
                      <a:cubicBezTo>
                        <a:pt x="3768" y="6028"/>
                        <a:pt x="3642" y="6028"/>
                        <a:pt x="3642" y="6154"/>
                      </a:cubicBezTo>
                      <a:cubicBezTo>
                        <a:pt x="3517" y="6280"/>
                        <a:pt x="3517" y="6280"/>
                        <a:pt x="3391" y="6405"/>
                      </a:cubicBezTo>
                      <a:cubicBezTo>
                        <a:pt x="3391" y="6405"/>
                        <a:pt x="3266" y="6405"/>
                        <a:pt x="3266" y="6531"/>
                      </a:cubicBezTo>
                      <a:cubicBezTo>
                        <a:pt x="3140" y="6657"/>
                        <a:pt x="3014" y="6782"/>
                        <a:pt x="2889" y="6782"/>
                      </a:cubicBezTo>
                      <a:cubicBezTo>
                        <a:pt x="2889" y="6782"/>
                        <a:pt x="2763" y="6782"/>
                        <a:pt x="2763" y="6908"/>
                      </a:cubicBezTo>
                      <a:cubicBezTo>
                        <a:pt x="2637" y="6908"/>
                        <a:pt x="2512" y="7033"/>
                        <a:pt x="2386" y="7033"/>
                      </a:cubicBezTo>
                      <a:cubicBezTo>
                        <a:pt x="2386" y="7033"/>
                        <a:pt x="2261" y="7033"/>
                        <a:pt x="2261" y="7159"/>
                      </a:cubicBezTo>
                      <a:cubicBezTo>
                        <a:pt x="2135" y="7285"/>
                        <a:pt x="2010" y="7285"/>
                        <a:pt x="1758" y="7285"/>
                      </a:cubicBezTo>
                      <a:cubicBezTo>
                        <a:pt x="1633" y="7285"/>
                        <a:pt x="1633" y="7285"/>
                        <a:pt x="1507" y="7410"/>
                      </a:cubicBezTo>
                      <a:cubicBezTo>
                        <a:pt x="1381" y="7410"/>
                        <a:pt x="1130" y="7536"/>
                        <a:pt x="1005" y="7536"/>
                      </a:cubicBezTo>
                      <a:cubicBezTo>
                        <a:pt x="879" y="7536"/>
                        <a:pt x="879" y="7536"/>
                        <a:pt x="754" y="7536"/>
                      </a:cubicBezTo>
                      <a:cubicBezTo>
                        <a:pt x="754" y="7536"/>
                        <a:pt x="628" y="7536"/>
                        <a:pt x="628" y="7536"/>
                      </a:cubicBezTo>
                      <a:cubicBezTo>
                        <a:pt x="628" y="7536"/>
                        <a:pt x="502" y="7536"/>
                        <a:pt x="502" y="7536"/>
                      </a:cubicBezTo>
                      <a:cubicBezTo>
                        <a:pt x="377" y="7536"/>
                        <a:pt x="377" y="7536"/>
                        <a:pt x="251" y="7536"/>
                      </a:cubicBezTo>
                      <a:lnTo>
                        <a:pt x="251" y="0"/>
                      </a:ln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6" name="Freeform: Shape 2455">
                  <a:extLst>
                    <a:ext uri="{FF2B5EF4-FFF2-40B4-BE49-F238E27FC236}">
                      <a16:creationId xmlns:a16="http://schemas.microsoft.com/office/drawing/2014/main" id="{81A5B1D2-D459-4B9C-A10B-39EB0DDEC266}"/>
                    </a:ext>
                  </a:extLst>
                </p:cNvPr>
                <p:cNvSpPr/>
                <p:nvPr/>
              </p:nvSpPr>
              <p:spPr>
                <a:xfrm>
                  <a:off x="4863285" y="3010482"/>
                  <a:ext cx="1381" cy="6154"/>
                </a:xfrm>
                <a:custGeom>
                  <a:avLst/>
                  <a:gdLst>
                    <a:gd name="connsiteX0" fmla="*/ 0 w 1381"/>
                    <a:gd name="connsiteY0" fmla="*/ 0 h 6154"/>
                    <a:gd name="connsiteX1" fmla="*/ 1381 w 1381"/>
                    <a:gd name="connsiteY1" fmla="*/ 1759 h 6154"/>
                    <a:gd name="connsiteX2" fmla="*/ 1381 w 1381"/>
                    <a:gd name="connsiteY2" fmla="*/ 4270 h 6154"/>
                    <a:gd name="connsiteX3" fmla="*/ 1381 w 1381"/>
                    <a:gd name="connsiteY3" fmla="*/ 4647 h 6154"/>
                    <a:gd name="connsiteX4" fmla="*/ 1381 w 1381"/>
                    <a:gd name="connsiteY4" fmla="*/ 4647 h 6154"/>
                    <a:gd name="connsiteX5" fmla="*/ 1381 w 1381"/>
                    <a:gd name="connsiteY5" fmla="*/ 4773 h 6154"/>
                    <a:gd name="connsiteX6" fmla="*/ 1381 w 1381"/>
                    <a:gd name="connsiteY6" fmla="*/ 4773 h 6154"/>
                    <a:gd name="connsiteX7" fmla="*/ 1256 w 1381"/>
                    <a:gd name="connsiteY7" fmla="*/ 5024 h 6154"/>
                    <a:gd name="connsiteX8" fmla="*/ 1130 w 1381"/>
                    <a:gd name="connsiteY8" fmla="*/ 5149 h 6154"/>
                    <a:gd name="connsiteX9" fmla="*/ 1005 w 1381"/>
                    <a:gd name="connsiteY9" fmla="*/ 5401 h 6154"/>
                    <a:gd name="connsiteX10" fmla="*/ 754 w 1381"/>
                    <a:gd name="connsiteY10" fmla="*/ 5652 h 6154"/>
                    <a:gd name="connsiteX11" fmla="*/ 628 w 1381"/>
                    <a:gd name="connsiteY11" fmla="*/ 5777 h 6154"/>
                    <a:gd name="connsiteX12" fmla="*/ 251 w 1381"/>
                    <a:gd name="connsiteY12" fmla="*/ 6029 h 6154"/>
                    <a:gd name="connsiteX13" fmla="*/ 125 w 1381"/>
                    <a:gd name="connsiteY13" fmla="*/ 6154 h 6154"/>
                    <a:gd name="connsiteX14" fmla="*/ 0 w 1381"/>
                    <a:gd name="connsiteY14" fmla="*/ 6154 h 6154"/>
                    <a:gd name="connsiteX15" fmla="*/ 0 w 1381"/>
                    <a:gd name="connsiteY15" fmla="*/ 0 h 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1" h="6154">
                      <a:moveTo>
                        <a:pt x="0" y="0"/>
                      </a:moveTo>
                      <a:cubicBezTo>
                        <a:pt x="879" y="502"/>
                        <a:pt x="1381" y="1130"/>
                        <a:pt x="1381" y="1759"/>
                      </a:cubicBezTo>
                      <a:lnTo>
                        <a:pt x="1381" y="4270"/>
                      </a:lnTo>
                      <a:cubicBezTo>
                        <a:pt x="1381" y="4396"/>
                        <a:pt x="1381" y="4521"/>
                        <a:pt x="1381" y="4647"/>
                      </a:cubicBezTo>
                      <a:cubicBezTo>
                        <a:pt x="1381" y="4647"/>
                        <a:pt x="1381" y="4647"/>
                        <a:pt x="1381" y="4647"/>
                      </a:cubicBezTo>
                      <a:cubicBezTo>
                        <a:pt x="1381" y="4647"/>
                        <a:pt x="1381" y="4773"/>
                        <a:pt x="1381" y="4773"/>
                      </a:cubicBezTo>
                      <a:cubicBezTo>
                        <a:pt x="1381" y="4773"/>
                        <a:pt x="1381" y="4773"/>
                        <a:pt x="1381" y="4773"/>
                      </a:cubicBezTo>
                      <a:cubicBezTo>
                        <a:pt x="1381" y="4898"/>
                        <a:pt x="1381" y="4898"/>
                        <a:pt x="1256" y="5024"/>
                      </a:cubicBezTo>
                      <a:cubicBezTo>
                        <a:pt x="1256" y="5024"/>
                        <a:pt x="1130" y="5149"/>
                        <a:pt x="1130" y="5149"/>
                      </a:cubicBezTo>
                      <a:cubicBezTo>
                        <a:pt x="1130" y="5275"/>
                        <a:pt x="1005" y="5275"/>
                        <a:pt x="1005" y="5401"/>
                      </a:cubicBezTo>
                      <a:cubicBezTo>
                        <a:pt x="879" y="5526"/>
                        <a:pt x="879" y="5526"/>
                        <a:pt x="754" y="5652"/>
                      </a:cubicBezTo>
                      <a:cubicBezTo>
                        <a:pt x="754" y="5652"/>
                        <a:pt x="628" y="5652"/>
                        <a:pt x="628" y="5777"/>
                      </a:cubicBezTo>
                      <a:cubicBezTo>
                        <a:pt x="502" y="5903"/>
                        <a:pt x="377" y="6029"/>
                        <a:pt x="251" y="6029"/>
                      </a:cubicBezTo>
                      <a:cubicBezTo>
                        <a:pt x="251" y="6029"/>
                        <a:pt x="125" y="6029"/>
                        <a:pt x="125" y="6154"/>
                      </a:cubicBezTo>
                      <a:cubicBezTo>
                        <a:pt x="125" y="6154"/>
                        <a:pt x="125" y="6154"/>
                        <a:pt x="0" y="6154"/>
                      </a:cubicBezTo>
                      <a:lnTo>
                        <a:pt x="0" y="0"/>
                      </a:lnTo>
                      <a:close/>
                    </a:path>
                  </a:pathLst>
                </a:custGeom>
                <a:solidFill>
                  <a:srgbClr val="A1A1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7" name="Freeform: Shape 2456">
                  <a:extLst>
                    <a:ext uri="{FF2B5EF4-FFF2-40B4-BE49-F238E27FC236}">
                      <a16:creationId xmlns:a16="http://schemas.microsoft.com/office/drawing/2014/main" id="{FFB67E03-D725-4630-A661-9CB2A02F7C69}"/>
                    </a:ext>
                  </a:extLst>
                </p:cNvPr>
                <p:cNvSpPr/>
                <p:nvPr/>
              </p:nvSpPr>
              <p:spPr>
                <a:xfrm>
                  <a:off x="4855373" y="3009729"/>
                  <a:ext cx="9293" cy="5274"/>
                </a:xfrm>
                <a:custGeom>
                  <a:avLst/>
                  <a:gdLst>
                    <a:gd name="connsiteX0" fmla="*/ 0 w 9293"/>
                    <a:gd name="connsiteY0" fmla="*/ 2638 h 5274"/>
                    <a:gd name="connsiteX1" fmla="*/ 2637 w 9293"/>
                    <a:gd name="connsiteY1" fmla="*/ 5024 h 5274"/>
                    <a:gd name="connsiteX2" fmla="*/ 4647 w 9293"/>
                    <a:gd name="connsiteY2" fmla="*/ 5275 h 5274"/>
                    <a:gd name="connsiteX3" fmla="*/ 6657 w 9293"/>
                    <a:gd name="connsiteY3" fmla="*/ 5024 h 5274"/>
                    <a:gd name="connsiteX4" fmla="*/ 9294 w 9293"/>
                    <a:gd name="connsiteY4" fmla="*/ 2638 h 5274"/>
                    <a:gd name="connsiteX5" fmla="*/ 7284 w 9293"/>
                    <a:gd name="connsiteY5" fmla="*/ 502 h 5274"/>
                    <a:gd name="connsiteX6" fmla="*/ 6908 w 9293"/>
                    <a:gd name="connsiteY6" fmla="*/ 377 h 5274"/>
                    <a:gd name="connsiteX7" fmla="*/ 6657 w 9293"/>
                    <a:gd name="connsiteY7" fmla="*/ 251 h 5274"/>
                    <a:gd name="connsiteX8" fmla="*/ 4647 w 9293"/>
                    <a:gd name="connsiteY8" fmla="*/ 0 h 5274"/>
                    <a:gd name="connsiteX9" fmla="*/ 2637 w 9293"/>
                    <a:gd name="connsiteY9" fmla="*/ 251 h 5274"/>
                    <a:gd name="connsiteX10" fmla="*/ 0 w 9293"/>
                    <a:gd name="connsiteY10" fmla="*/ 2638 h 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93" h="5274">
                      <a:moveTo>
                        <a:pt x="0" y="2638"/>
                      </a:moveTo>
                      <a:cubicBezTo>
                        <a:pt x="0" y="3642"/>
                        <a:pt x="1005" y="4521"/>
                        <a:pt x="2637" y="5024"/>
                      </a:cubicBezTo>
                      <a:cubicBezTo>
                        <a:pt x="3265" y="5149"/>
                        <a:pt x="3893" y="5275"/>
                        <a:pt x="4647" y="5275"/>
                      </a:cubicBezTo>
                      <a:cubicBezTo>
                        <a:pt x="5400" y="5275"/>
                        <a:pt x="6028" y="5149"/>
                        <a:pt x="6657" y="5024"/>
                      </a:cubicBezTo>
                      <a:cubicBezTo>
                        <a:pt x="8164" y="4647"/>
                        <a:pt x="9294" y="3642"/>
                        <a:pt x="9294" y="2638"/>
                      </a:cubicBezTo>
                      <a:cubicBezTo>
                        <a:pt x="9294" y="1758"/>
                        <a:pt x="8540" y="1005"/>
                        <a:pt x="7284" y="502"/>
                      </a:cubicBezTo>
                      <a:cubicBezTo>
                        <a:pt x="7159" y="502"/>
                        <a:pt x="7033" y="377"/>
                        <a:pt x="6908" y="377"/>
                      </a:cubicBezTo>
                      <a:cubicBezTo>
                        <a:pt x="6782" y="377"/>
                        <a:pt x="6782" y="377"/>
                        <a:pt x="6657" y="251"/>
                      </a:cubicBezTo>
                      <a:cubicBezTo>
                        <a:pt x="6028" y="126"/>
                        <a:pt x="5400" y="0"/>
                        <a:pt x="4647" y="0"/>
                      </a:cubicBezTo>
                      <a:cubicBezTo>
                        <a:pt x="3893" y="0"/>
                        <a:pt x="3265" y="126"/>
                        <a:pt x="2637" y="251"/>
                      </a:cubicBezTo>
                      <a:cubicBezTo>
                        <a:pt x="1130" y="628"/>
                        <a:pt x="0" y="1507"/>
                        <a:pt x="0" y="2638"/>
                      </a:cubicBez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458" name="Graphic 4">
              <a:extLst>
                <a:ext uri="{FF2B5EF4-FFF2-40B4-BE49-F238E27FC236}">
                  <a16:creationId xmlns:a16="http://schemas.microsoft.com/office/drawing/2014/main" id="{84FB7ED1-A2DF-40A1-A747-5F7CF3F14040}"/>
                </a:ext>
              </a:extLst>
            </p:cNvPr>
            <p:cNvGrpSpPr/>
            <p:nvPr/>
          </p:nvGrpSpPr>
          <p:grpSpPr>
            <a:xfrm>
              <a:off x="4756153" y="2953839"/>
              <a:ext cx="15322" cy="14569"/>
              <a:chOff x="4756153" y="2953839"/>
              <a:chExt cx="15322" cy="14569"/>
            </a:xfrm>
            <a:solidFill>
              <a:schemeClr val="accent1"/>
            </a:solidFill>
          </p:grpSpPr>
          <p:grpSp>
            <p:nvGrpSpPr>
              <p:cNvPr id="2459" name="Graphic 4">
                <a:extLst>
                  <a:ext uri="{FF2B5EF4-FFF2-40B4-BE49-F238E27FC236}">
                    <a16:creationId xmlns:a16="http://schemas.microsoft.com/office/drawing/2014/main" id="{84FB7ED1-A2DF-40A1-A747-5F7CF3F14040}"/>
                  </a:ext>
                </a:extLst>
              </p:cNvPr>
              <p:cNvGrpSpPr/>
              <p:nvPr/>
            </p:nvGrpSpPr>
            <p:grpSpPr>
              <a:xfrm>
                <a:off x="4756153" y="2954969"/>
                <a:ext cx="15322" cy="13438"/>
                <a:chOff x="4756153" y="2954969"/>
                <a:chExt cx="15322" cy="13438"/>
              </a:xfrm>
              <a:solidFill>
                <a:schemeClr val="accent1"/>
              </a:solidFill>
            </p:grpSpPr>
            <p:sp>
              <p:nvSpPr>
                <p:cNvPr id="2460" name="Freeform: Shape 2459">
                  <a:extLst>
                    <a:ext uri="{FF2B5EF4-FFF2-40B4-BE49-F238E27FC236}">
                      <a16:creationId xmlns:a16="http://schemas.microsoft.com/office/drawing/2014/main" id="{656DEC1D-0340-42F2-92F0-A054B447ADB5}"/>
                    </a:ext>
                  </a:extLst>
                </p:cNvPr>
                <p:cNvSpPr/>
                <p:nvPr/>
              </p:nvSpPr>
              <p:spPr>
                <a:xfrm>
                  <a:off x="4756153" y="2955221"/>
                  <a:ext cx="15322" cy="13187"/>
                </a:xfrm>
                <a:custGeom>
                  <a:avLst/>
                  <a:gdLst>
                    <a:gd name="connsiteX0" fmla="*/ 0 w 15322"/>
                    <a:gd name="connsiteY0" fmla="*/ 4019 h 13187"/>
                    <a:gd name="connsiteX1" fmla="*/ 0 w 15322"/>
                    <a:gd name="connsiteY1" fmla="*/ 8917 h 13187"/>
                    <a:gd name="connsiteX2" fmla="*/ 4271 w 15322"/>
                    <a:gd name="connsiteY2" fmla="*/ 12811 h 13187"/>
                    <a:gd name="connsiteX3" fmla="*/ 5149 w 15322"/>
                    <a:gd name="connsiteY3" fmla="*/ 13062 h 13187"/>
                    <a:gd name="connsiteX4" fmla="*/ 5526 w 15322"/>
                    <a:gd name="connsiteY4" fmla="*/ 13062 h 13187"/>
                    <a:gd name="connsiteX5" fmla="*/ 5778 w 15322"/>
                    <a:gd name="connsiteY5" fmla="*/ 13062 h 13187"/>
                    <a:gd name="connsiteX6" fmla="*/ 6029 w 15322"/>
                    <a:gd name="connsiteY6" fmla="*/ 13062 h 13187"/>
                    <a:gd name="connsiteX7" fmla="*/ 6782 w 15322"/>
                    <a:gd name="connsiteY7" fmla="*/ 13187 h 13187"/>
                    <a:gd name="connsiteX8" fmla="*/ 7159 w 15322"/>
                    <a:gd name="connsiteY8" fmla="*/ 13187 h 13187"/>
                    <a:gd name="connsiteX9" fmla="*/ 7661 w 15322"/>
                    <a:gd name="connsiteY9" fmla="*/ 13187 h 13187"/>
                    <a:gd name="connsiteX10" fmla="*/ 8289 w 15322"/>
                    <a:gd name="connsiteY10" fmla="*/ 13187 h 13187"/>
                    <a:gd name="connsiteX11" fmla="*/ 8666 w 15322"/>
                    <a:gd name="connsiteY11" fmla="*/ 13187 h 13187"/>
                    <a:gd name="connsiteX12" fmla="*/ 9420 w 15322"/>
                    <a:gd name="connsiteY12" fmla="*/ 13062 h 13187"/>
                    <a:gd name="connsiteX13" fmla="*/ 9671 w 15322"/>
                    <a:gd name="connsiteY13" fmla="*/ 13062 h 13187"/>
                    <a:gd name="connsiteX14" fmla="*/ 9922 w 15322"/>
                    <a:gd name="connsiteY14" fmla="*/ 13062 h 13187"/>
                    <a:gd name="connsiteX15" fmla="*/ 10299 w 15322"/>
                    <a:gd name="connsiteY15" fmla="*/ 13062 h 13187"/>
                    <a:gd name="connsiteX16" fmla="*/ 11178 w 15322"/>
                    <a:gd name="connsiteY16" fmla="*/ 12811 h 13187"/>
                    <a:gd name="connsiteX17" fmla="*/ 11555 w 15322"/>
                    <a:gd name="connsiteY17" fmla="*/ 12685 h 13187"/>
                    <a:gd name="connsiteX18" fmla="*/ 12308 w 15322"/>
                    <a:gd name="connsiteY18" fmla="*/ 12434 h 13187"/>
                    <a:gd name="connsiteX19" fmla="*/ 12559 w 15322"/>
                    <a:gd name="connsiteY19" fmla="*/ 12308 h 13187"/>
                    <a:gd name="connsiteX20" fmla="*/ 13188 w 15322"/>
                    <a:gd name="connsiteY20" fmla="*/ 12057 h 13187"/>
                    <a:gd name="connsiteX21" fmla="*/ 13439 w 15322"/>
                    <a:gd name="connsiteY21" fmla="*/ 11931 h 13187"/>
                    <a:gd name="connsiteX22" fmla="*/ 14192 w 15322"/>
                    <a:gd name="connsiteY22" fmla="*/ 11429 h 13187"/>
                    <a:gd name="connsiteX23" fmla="*/ 14318 w 15322"/>
                    <a:gd name="connsiteY23" fmla="*/ 11303 h 13187"/>
                    <a:gd name="connsiteX24" fmla="*/ 14695 w 15322"/>
                    <a:gd name="connsiteY24" fmla="*/ 10927 h 13187"/>
                    <a:gd name="connsiteX25" fmla="*/ 14946 w 15322"/>
                    <a:gd name="connsiteY25" fmla="*/ 10550 h 13187"/>
                    <a:gd name="connsiteX26" fmla="*/ 15072 w 15322"/>
                    <a:gd name="connsiteY26" fmla="*/ 10299 h 13187"/>
                    <a:gd name="connsiteX27" fmla="*/ 15197 w 15322"/>
                    <a:gd name="connsiteY27" fmla="*/ 10048 h 13187"/>
                    <a:gd name="connsiteX28" fmla="*/ 15197 w 15322"/>
                    <a:gd name="connsiteY28" fmla="*/ 10048 h 13187"/>
                    <a:gd name="connsiteX29" fmla="*/ 15197 w 15322"/>
                    <a:gd name="connsiteY29" fmla="*/ 9922 h 13187"/>
                    <a:gd name="connsiteX30" fmla="*/ 15197 w 15322"/>
                    <a:gd name="connsiteY30" fmla="*/ 9796 h 13187"/>
                    <a:gd name="connsiteX31" fmla="*/ 15323 w 15322"/>
                    <a:gd name="connsiteY31" fmla="*/ 9168 h 13187"/>
                    <a:gd name="connsiteX32" fmla="*/ 15323 w 15322"/>
                    <a:gd name="connsiteY32" fmla="*/ 4270 h 13187"/>
                    <a:gd name="connsiteX33" fmla="*/ 12057 w 15322"/>
                    <a:gd name="connsiteY33" fmla="*/ 754 h 13187"/>
                    <a:gd name="connsiteX34" fmla="*/ 11304 w 15322"/>
                    <a:gd name="connsiteY34" fmla="*/ 502 h 13187"/>
                    <a:gd name="connsiteX35" fmla="*/ 10927 w 15322"/>
                    <a:gd name="connsiteY35" fmla="*/ 377 h 13187"/>
                    <a:gd name="connsiteX36" fmla="*/ 7536 w 15322"/>
                    <a:gd name="connsiteY36" fmla="*/ 0 h 13187"/>
                    <a:gd name="connsiteX37" fmla="*/ 4145 w 15322"/>
                    <a:gd name="connsiteY37" fmla="*/ 377 h 13187"/>
                    <a:gd name="connsiteX38" fmla="*/ 0 w 15322"/>
                    <a:gd name="connsiteY38" fmla="*/ 401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322" h="13187">
                      <a:moveTo>
                        <a:pt x="0" y="4019"/>
                      </a:moveTo>
                      <a:lnTo>
                        <a:pt x="0" y="8917"/>
                      </a:lnTo>
                      <a:cubicBezTo>
                        <a:pt x="0" y="10550"/>
                        <a:pt x="1759" y="12057"/>
                        <a:pt x="4271" y="12811"/>
                      </a:cubicBezTo>
                      <a:cubicBezTo>
                        <a:pt x="4522" y="12936"/>
                        <a:pt x="4773" y="12936"/>
                        <a:pt x="5149" y="13062"/>
                      </a:cubicBezTo>
                      <a:cubicBezTo>
                        <a:pt x="5275" y="13062"/>
                        <a:pt x="5401" y="13062"/>
                        <a:pt x="5526" y="13062"/>
                      </a:cubicBezTo>
                      <a:cubicBezTo>
                        <a:pt x="5652" y="13062"/>
                        <a:pt x="5652" y="13062"/>
                        <a:pt x="5778" y="13062"/>
                      </a:cubicBezTo>
                      <a:cubicBezTo>
                        <a:pt x="5903" y="13062"/>
                        <a:pt x="5903" y="13062"/>
                        <a:pt x="6029" y="13062"/>
                      </a:cubicBezTo>
                      <a:cubicBezTo>
                        <a:pt x="6280" y="13062"/>
                        <a:pt x="6531" y="13062"/>
                        <a:pt x="6782" y="13187"/>
                      </a:cubicBezTo>
                      <a:cubicBezTo>
                        <a:pt x="6908" y="13187"/>
                        <a:pt x="7034" y="13187"/>
                        <a:pt x="7159" y="13187"/>
                      </a:cubicBezTo>
                      <a:cubicBezTo>
                        <a:pt x="7285" y="13187"/>
                        <a:pt x="7536" y="13187"/>
                        <a:pt x="7661" y="13187"/>
                      </a:cubicBezTo>
                      <a:cubicBezTo>
                        <a:pt x="7913" y="13187"/>
                        <a:pt x="8038" y="13187"/>
                        <a:pt x="8289" y="13187"/>
                      </a:cubicBezTo>
                      <a:cubicBezTo>
                        <a:pt x="8415" y="13187"/>
                        <a:pt x="8541" y="13187"/>
                        <a:pt x="8666" y="13187"/>
                      </a:cubicBezTo>
                      <a:cubicBezTo>
                        <a:pt x="8918" y="13187"/>
                        <a:pt x="9169" y="13187"/>
                        <a:pt x="9420" y="13062"/>
                      </a:cubicBezTo>
                      <a:cubicBezTo>
                        <a:pt x="9545" y="13062"/>
                        <a:pt x="9671" y="13062"/>
                        <a:pt x="9671" y="13062"/>
                      </a:cubicBezTo>
                      <a:cubicBezTo>
                        <a:pt x="9797" y="13062"/>
                        <a:pt x="9797" y="13062"/>
                        <a:pt x="9922" y="13062"/>
                      </a:cubicBezTo>
                      <a:cubicBezTo>
                        <a:pt x="10048" y="13062"/>
                        <a:pt x="10174" y="13062"/>
                        <a:pt x="10299" y="13062"/>
                      </a:cubicBezTo>
                      <a:cubicBezTo>
                        <a:pt x="10550" y="13062"/>
                        <a:pt x="10927" y="12936"/>
                        <a:pt x="11178" y="12811"/>
                      </a:cubicBezTo>
                      <a:cubicBezTo>
                        <a:pt x="11304" y="12811"/>
                        <a:pt x="11429" y="12685"/>
                        <a:pt x="11555" y="12685"/>
                      </a:cubicBezTo>
                      <a:cubicBezTo>
                        <a:pt x="11806" y="12559"/>
                        <a:pt x="12057" y="12559"/>
                        <a:pt x="12308" y="12434"/>
                      </a:cubicBezTo>
                      <a:cubicBezTo>
                        <a:pt x="12434" y="12434"/>
                        <a:pt x="12434" y="12308"/>
                        <a:pt x="12559" y="12308"/>
                      </a:cubicBezTo>
                      <a:cubicBezTo>
                        <a:pt x="12811" y="12183"/>
                        <a:pt x="12937" y="12057"/>
                        <a:pt x="13188" y="12057"/>
                      </a:cubicBezTo>
                      <a:cubicBezTo>
                        <a:pt x="13313" y="12057"/>
                        <a:pt x="13313" y="11931"/>
                        <a:pt x="13439" y="11931"/>
                      </a:cubicBezTo>
                      <a:cubicBezTo>
                        <a:pt x="13690" y="11806"/>
                        <a:pt x="13941" y="11555"/>
                        <a:pt x="14192" y="11429"/>
                      </a:cubicBezTo>
                      <a:cubicBezTo>
                        <a:pt x="14192" y="11429"/>
                        <a:pt x="14318" y="11303"/>
                        <a:pt x="14318" y="11303"/>
                      </a:cubicBezTo>
                      <a:cubicBezTo>
                        <a:pt x="14444" y="11178"/>
                        <a:pt x="14569" y="11052"/>
                        <a:pt x="14695" y="10927"/>
                      </a:cubicBezTo>
                      <a:cubicBezTo>
                        <a:pt x="14820" y="10801"/>
                        <a:pt x="14946" y="10676"/>
                        <a:pt x="14946" y="10550"/>
                      </a:cubicBezTo>
                      <a:cubicBezTo>
                        <a:pt x="14946" y="10424"/>
                        <a:pt x="15072" y="10299"/>
                        <a:pt x="15072" y="10299"/>
                      </a:cubicBezTo>
                      <a:cubicBezTo>
                        <a:pt x="15072" y="10173"/>
                        <a:pt x="15197" y="10048"/>
                        <a:pt x="15197" y="10048"/>
                      </a:cubicBezTo>
                      <a:cubicBezTo>
                        <a:pt x="15197" y="10048"/>
                        <a:pt x="15197" y="10048"/>
                        <a:pt x="15197" y="10048"/>
                      </a:cubicBezTo>
                      <a:cubicBezTo>
                        <a:pt x="15197" y="10048"/>
                        <a:pt x="15197" y="9922"/>
                        <a:pt x="15197" y="9922"/>
                      </a:cubicBezTo>
                      <a:cubicBezTo>
                        <a:pt x="15197" y="9922"/>
                        <a:pt x="15197" y="9922"/>
                        <a:pt x="15197" y="9796"/>
                      </a:cubicBezTo>
                      <a:cubicBezTo>
                        <a:pt x="15197" y="9545"/>
                        <a:pt x="15323" y="9420"/>
                        <a:pt x="15323" y="9168"/>
                      </a:cubicBezTo>
                      <a:lnTo>
                        <a:pt x="15323" y="4270"/>
                      </a:lnTo>
                      <a:cubicBezTo>
                        <a:pt x="15323" y="2763"/>
                        <a:pt x="14067" y="1507"/>
                        <a:pt x="12057" y="754"/>
                      </a:cubicBezTo>
                      <a:cubicBezTo>
                        <a:pt x="11806" y="628"/>
                        <a:pt x="11555" y="628"/>
                        <a:pt x="11304" y="502"/>
                      </a:cubicBezTo>
                      <a:cubicBezTo>
                        <a:pt x="11178" y="502"/>
                        <a:pt x="11052" y="377"/>
                        <a:pt x="10927" y="377"/>
                      </a:cubicBezTo>
                      <a:cubicBezTo>
                        <a:pt x="9922" y="126"/>
                        <a:pt x="8792" y="0"/>
                        <a:pt x="7536" y="0"/>
                      </a:cubicBezTo>
                      <a:cubicBezTo>
                        <a:pt x="6280" y="0"/>
                        <a:pt x="5149" y="126"/>
                        <a:pt x="4145" y="377"/>
                      </a:cubicBezTo>
                      <a:cubicBezTo>
                        <a:pt x="1759" y="879"/>
                        <a:pt x="0" y="2261"/>
                        <a:pt x="0" y="4019"/>
                      </a:cubicBezTo>
                      <a:close/>
                    </a:path>
                  </a:pathLst>
                </a:custGeom>
                <a:solidFill>
                  <a:srgbClr val="59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1" name="Freeform: Shape 2460">
                  <a:extLst>
                    <a:ext uri="{FF2B5EF4-FFF2-40B4-BE49-F238E27FC236}">
                      <a16:creationId xmlns:a16="http://schemas.microsoft.com/office/drawing/2014/main" id="{FBD0C521-D705-4AB5-8322-B462FFA670C6}"/>
                    </a:ext>
                  </a:extLst>
                </p:cNvPr>
                <p:cNvSpPr/>
                <p:nvPr/>
              </p:nvSpPr>
              <p:spPr>
                <a:xfrm>
                  <a:off x="4756153" y="2955346"/>
                  <a:ext cx="4395" cy="12559"/>
                </a:xfrm>
                <a:custGeom>
                  <a:avLst/>
                  <a:gdLst>
                    <a:gd name="connsiteX0" fmla="*/ 4271 w 4395"/>
                    <a:gd name="connsiteY0" fmla="*/ 0 h 12559"/>
                    <a:gd name="connsiteX1" fmla="*/ 4396 w 4395"/>
                    <a:gd name="connsiteY1" fmla="*/ 0 h 12559"/>
                    <a:gd name="connsiteX2" fmla="*/ 4396 w 4395"/>
                    <a:gd name="connsiteY2" fmla="*/ 12559 h 12559"/>
                    <a:gd name="connsiteX3" fmla="*/ 4271 w 4395"/>
                    <a:gd name="connsiteY3" fmla="*/ 12559 h 12559"/>
                    <a:gd name="connsiteX4" fmla="*/ 0 w 4395"/>
                    <a:gd name="connsiteY4" fmla="*/ 8666 h 12559"/>
                    <a:gd name="connsiteX5" fmla="*/ 0 w 4395"/>
                    <a:gd name="connsiteY5" fmla="*/ 3768 h 12559"/>
                    <a:gd name="connsiteX6" fmla="*/ 4271 w 4395"/>
                    <a:gd name="connsiteY6"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5" h="12559">
                      <a:moveTo>
                        <a:pt x="4271" y="0"/>
                      </a:moveTo>
                      <a:cubicBezTo>
                        <a:pt x="4271" y="0"/>
                        <a:pt x="4396" y="0"/>
                        <a:pt x="4396" y="0"/>
                      </a:cubicBezTo>
                      <a:lnTo>
                        <a:pt x="4396" y="12559"/>
                      </a:lnTo>
                      <a:cubicBezTo>
                        <a:pt x="4396" y="12559"/>
                        <a:pt x="4271" y="12559"/>
                        <a:pt x="4271" y="12559"/>
                      </a:cubicBezTo>
                      <a:cubicBezTo>
                        <a:pt x="1759" y="11806"/>
                        <a:pt x="0" y="10424"/>
                        <a:pt x="0" y="8666"/>
                      </a:cubicBezTo>
                      <a:lnTo>
                        <a:pt x="0" y="3768"/>
                      </a:lnTo>
                      <a:cubicBezTo>
                        <a:pt x="0" y="2135"/>
                        <a:pt x="1759" y="754"/>
                        <a:pt x="4271" y="0"/>
                      </a:cubicBezTo>
                      <a:close/>
                    </a:path>
                  </a:pathLst>
                </a:custGeom>
                <a:solidFill>
                  <a:srgbClr val="6B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2" name="Freeform: Shape 2461">
                  <a:extLst>
                    <a:ext uri="{FF2B5EF4-FFF2-40B4-BE49-F238E27FC236}">
                      <a16:creationId xmlns:a16="http://schemas.microsoft.com/office/drawing/2014/main" id="{557CB6D1-7B5C-486D-995B-D41A27282D4F}"/>
                    </a:ext>
                  </a:extLst>
                </p:cNvPr>
                <p:cNvSpPr/>
                <p:nvPr/>
              </p:nvSpPr>
              <p:spPr>
                <a:xfrm>
                  <a:off x="4764944" y="2955095"/>
                  <a:ext cx="6530" cy="12936"/>
                </a:xfrm>
                <a:custGeom>
                  <a:avLst/>
                  <a:gdLst>
                    <a:gd name="connsiteX0" fmla="*/ 0 w 6530"/>
                    <a:gd name="connsiteY0" fmla="*/ 0 h 12936"/>
                    <a:gd name="connsiteX1" fmla="*/ 2135 w 6530"/>
                    <a:gd name="connsiteY1" fmla="*/ 251 h 12936"/>
                    <a:gd name="connsiteX2" fmla="*/ 2512 w 6530"/>
                    <a:gd name="connsiteY2" fmla="*/ 377 h 12936"/>
                    <a:gd name="connsiteX3" fmla="*/ 3266 w 6530"/>
                    <a:gd name="connsiteY3" fmla="*/ 628 h 12936"/>
                    <a:gd name="connsiteX4" fmla="*/ 6531 w 6530"/>
                    <a:gd name="connsiteY4" fmla="*/ 4145 h 12936"/>
                    <a:gd name="connsiteX5" fmla="*/ 6531 w 6530"/>
                    <a:gd name="connsiteY5" fmla="*/ 9043 h 12936"/>
                    <a:gd name="connsiteX6" fmla="*/ 6405 w 6530"/>
                    <a:gd name="connsiteY6" fmla="*/ 9671 h 12936"/>
                    <a:gd name="connsiteX7" fmla="*/ 6405 w 6530"/>
                    <a:gd name="connsiteY7" fmla="*/ 9796 h 12936"/>
                    <a:gd name="connsiteX8" fmla="*/ 6405 w 6530"/>
                    <a:gd name="connsiteY8" fmla="*/ 9922 h 12936"/>
                    <a:gd name="connsiteX9" fmla="*/ 6405 w 6530"/>
                    <a:gd name="connsiteY9" fmla="*/ 9922 h 12936"/>
                    <a:gd name="connsiteX10" fmla="*/ 6280 w 6530"/>
                    <a:gd name="connsiteY10" fmla="*/ 10173 h 12936"/>
                    <a:gd name="connsiteX11" fmla="*/ 6154 w 6530"/>
                    <a:gd name="connsiteY11" fmla="*/ 10424 h 12936"/>
                    <a:gd name="connsiteX12" fmla="*/ 5903 w 6530"/>
                    <a:gd name="connsiteY12" fmla="*/ 10801 h 12936"/>
                    <a:gd name="connsiteX13" fmla="*/ 5526 w 6530"/>
                    <a:gd name="connsiteY13" fmla="*/ 11178 h 12936"/>
                    <a:gd name="connsiteX14" fmla="*/ 5400 w 6530"/>
                    <a:gd name="connsiteY14" fmla="*/ 11303 h 12936"/>
                    <a:gd name="connsiteX15" fmla="*/ 4647 w 6530"/>
                    <a:gd name="connsiteY15" fmla="*/ 11806 h 12936"/>
                    <a:gd name="connsiteX16" fmla="*/ 4396 w 6530"/>
                    <a:gd name="connsiteY16" fmla="*/ 11931 h 12936"/>
                    <a:gd name="connsiteX17" fmla="*/ 3768 w 6530"/>
                    <a:gd name="connsiteY17" fmla="*/ 12183 h 12936"/>
                    <a:gd name="connsiteX18" fmla="*/ 3517 w 6530"/>
                    <a:gd name="connsiteY18" fmla="*/ 12308 h 12936"/>
                    <a:gd name="connsiteX19" fmla="*/ 2763 w 6530"/>
                    <a:gd name="connsiteY19" fmla="*/ 12559 h 12936"/>
                    <a:gd name="connsiteX20" fmla="*/ 2386 w 6530"/>
                    <a:gd name="connsiteY20" fmla="*/ 12685 h 12936"/>
                    <a:gd name="connsiteX21" fmla="*/ 1507 w 6530"/>
                    <a:gd name="connsiteY21" fmla="*/ 12936 h 12936"/>
                    <a:gd name="connsiteX22" fmla="*/ 1130 w 6530"/>
                    <a:gd name="connsiteY22" fmla="*/ 12936 h 12936"/>
                    <a:gd name="connsiteX23" fmla="*/ 879 w 6530"/>
                    <a:gd name="connsiteY23" fmla="*/ 12936 h 12936"/>
                    <a:gd name="connsiteX24" fmla="*/ 628 w 6530"/>
                    <a:gd name="connsiteY24" fmla="*/ 12936 h 12936"/>
                    <a:gd name="connsiteX25" fmla="*/ 251 w 6530"/>
                    <a:gd name="connsiteY25" fmla="*/ 12936 h 12936"/>
                    <a:gd name="connsiteX26" fmla="*/ 251 w 6530"/>
                    <a:gd name="connsiteY26" fmla="*/ 0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530" h="12936">
                      <a:moveTo>
                        <a:pt x="0" y="0"/>
                      </a:moveTo>
                      <a:cubicBezTo>
                        <a:pt x="754" y="126"/>
                        <a:pt x="1507" y="126"/>
                        <a:pt x="2135" y="251"/>
                      </a:cubicBezTo>
                      <a:cubicBezTo>
                        <a:pt x="2261" y="251"/>
                        <a:pt x="2386" y="377"/>
                        <a:pt x="2512" y="377"/>
                      </a:cubicBezTo>
                      <a:cubicBezTo>
                        <a:pt x="2763" y="502"/>
                        <a:pt x="3014" y="502"/>
                        <a:pt x="3266" y="628"/>
                      </a:cubicBezTo>
                      <a:cubicBezTo>
                        <a:pt x="5149" y="1382"/>
                        <a:pt x="6531" y="2637"/>
                        <a:pt x="6531" y="4145"/>
                      </a:cubicBezTo>
                      <a:lnTo>
                        <a:pt x="6531" y="9043"/>
                      </a:lnTo>
                      <a:cubicBezTo>
                        <a:pt x="6531" y="9294"/>
                        <a:pt x="6531" y="9420"/>
                        <a:pt x="6405" y="9671"/>
                      </a:cubicBezTo>
                      <a:cubicBezTo>
                        <a:pt x="6405" y="9671"/>
                        <a:pt x="6405" y="9671"/>
                        <a:pt x="6405" y="9796"/>
                      </a:cubicBezTo>
                      <a:cubicBezTo>
                        <a:pt x="6405" y="9796"/>
                        <a:pt x="6405" y="9922"/>
                        <a:pt x="6405" y="9922"/>
                      </a:cubicBezTo>
                      <a:cubicBezTo>
                        <a:pt x="6405" y="9922"/>
                        <a:pt x="6405" y="9922"/>
                        <a:pt x="6405" y="9922"/>
                      </a:cubicBezTo>
                      <a:cubicBezTo>
                        <a:pt x="6405" y="10048"/>
                        <a:pt x="6280" y="10173"/>
                        <a:pt x="6280" y="10173"/>
                      </a:cubicBezTo>
                      <a:cubicBezTo>
                        <a:pt x="6280" y="10299"/>
                        <a:pt x="6154" y="10424"/>
                        <a:pt x="6154" y="10424"/>
                      </a:cubicBezTo>
                      <a:cubicBezTo>
                        <a:pt x="6029" y="10550"/>
                        <a:pt x="6029" y="10675"/>
                        <a:pt x="5903" y="10801"/>
                      </a:cubicBezTo>
                      <a:cubicBezTo>
                        <a:pt x="5777" y="10927"/>
                        <a:pt x="5652" y="11052"/>
                        <a:pt x="5526" y="11178"/>
                      </a:cubicBezTo>
                      <a:cubicBezTo>
                        <a:pt x="5526" y="11178"/>
                        <a:pt x="5400" y="11303"/>
                        <a:pt x="5400" y="11303"/>
                      </a:cubicBezTo>
                      <a:cubicBezTo>
                        <a:pt x="5149" y="11429"/>
                        <a:pt x="4898" y="11680"/>
                        <a:pt x="4647" y="11806"/>
                      </a:cubicBezTo>
                      <a:cubicBezTo>
                        <a:pt x="4522" y="11806"/>
                        <a:pt x="4522" y="11931"/>
                        <a:pt x="4396" y="11931"/>
                      </a:cubicBezTo>
                      <a:cubicBezTo>
                        <a:pt x="4270" y="12057"/>
                        <a:pt x="4019" y="12183"/>
                        <a:pt x="3768" y="12183"/>
                      </a:cubicBezTo>
                      <a:cubicBezTo>
                        <a:pt x="3642" y="12183"/>
                        <a:pt x="3642" y="12308"/>
                        <a:pt x="3517" y="12308"/>
                      </a:cubicBezTo>
                      <a:cubicBezTo>
                        <a:pt x="3266" y="12434"/>
                        <a:pt x="3014" y="12559"/>
                        <a:pt x="2763" y="12559"/>
                      </a:cubicBezTo>
                      <a:cubicBezTo>
                        <a:pt x="2637" y="12559"/>
                        <a:pt x="2512" y="12685"/>
                        <a:pt x="2386" y="12685"/>
                      </a:cubicBezTo>
                      <a:cubicBezTo>
                        <a:pt x="2135" y="12811"/>
                        <a:pt x="1884" y="12811"/>
                        <a:pt x="1507" y="12936"/>
                      </a:cubicBezTo>
                      <a:cubicBezTo>
                        <a:pt x="1382" y="12936"/>
                        <a:pt x="1256" y="12936"/>
                        <a:pt x="1130" y="12936"/>
                      </a:cubicBezTo>
                      <a:cubicBezTo>
                        <a:pt x="1005" y="12936"/>
                        <a:pt x="1005" y="12936"/>
                        <a:pt x="879" y="12936"/>
                      </a:cubicBezTo>
                      <a:cubicBezTo>
                        <a:pt x="754" y="12936"/>
                        <a:pt x="628" y="12936"/>
                        <a:pt x="628" y="12936"/>
                      </a:cubicBezTo>
                      <a:cubicBezTo>
                        <a:pt x="502" y="12936"/>
                        <a:pt x="377" y="12936"/>
                        <a:pt x="251" y="12936"/>
                      </a:cubicBezTo>
                      <a:lnTo>
                        <a:pt x="251" y="0"/>
                      </a:lnTo>
                      <a:close/>
                    </a:path>
                  </a:pathLst>
                </a:custGeom>
                <a:solidFill>
                  <a:srgbClr val="47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3" name="Freeform: Shape 2462">
                  <a:extLst>
                    <a:ext uri="{FF2B5EF4-FFF2-40B4-BE49-F238E27FC236}">
                      <a16:creationId xmlns:a16="http://schemas.microsoft.com/office/drawing/2014/main" id="{CDEDCD29-8C97-4D22-A365-2F8CAD6FBA38}"/>
                    </a:ext>
                  </a:extLst>
                </p:cNvPr>
                <p:cNvSpPr/>
                <p:nvPr/>
              </p:nvSpPr>
              <p:spPr>
                <a:xfrm>
                  <a:off x="4768963" y="2956225"/>
                  <a:ext cx="2386" cy="10675"/>
                </a:xfrm>
                <a:custGeom>
                  <a:avLst/>
                  <a:gdLst>
                    <a:gd name="connsiteX0" fmla="*/ 0 w 2386"/>
                    <a:gd name="connsiteY0" fmla="*/ 0 h 10675"/>
                    <a:gd name="connsiteX1" fmla="*/ 2386 w 2386"/>
                    <a:gd name="connsiteY1" fmla="*/ 2889 h 10675"/>
                    <a:gd name="connsiteX2" fmla="*/ 2386 w 2386"/>
                    <a:gd name="connsiteY2" fmla="*/ 7787 h 10675"/>
                    <a:gd name="connsiteX3" fmla="*/ 2261 w 2386"/>
                    <a:gd name="connsiteY3" fmla="*/ 8415 h 10675"/>
                    <a:gd name="connsiteX4" fmla="*/ 2261 w 2386"/>
                    <a:gd name="connsiteY4" fmla="*/ 8540 h 10675"/>
                    <a:gd name="connsiteX5" fmla="*/ 2261 w 2386"/>
                    <a:gd name="connsiteY5" fmla="*/ 8666 h 10675"/>
                    <a:gd name="connsiteX6" fmla="*/ 2261 w 2386"/>
                    <a:gd name="connsiteY6" fmla="*/ 8666 h 10675"/>
                    <a:gd name="connsiteX7" fmla="*/ 2135 w 2386"/>
                    <a:gd name="connsiteY7" fmla="*/ 8917 h 10675"/>
                    <a:gd name="connsiteX8" fmla="*/ 2010 w 2386"/>
                    <a:gd name="connsiteY8" fmla="*/ 9168 h 10675"/>
                    <a:gd name="connsiteX9" fmla="*/ 1758 w 2386"/>
                    <a:gd name="connsiteY9" fmla="*/ 9545 h 10675"/>
                    <a:gd name="connsiteX10" fmla="*/ 1381 w 2386"/>
                    <a:gd name="connsiteY10" fmla="*/ 9922 h 10675"/>
                    <a:gd name="connsiteX11" fmla="*/ 1256 w 2386"/>
                    <a:gd name="connsiteY11" fmla="*/ 10048 h 10675"/>
                    <a:gd name="connsiteX12" fmla="*/ 502 w 2386"/>
                    <a:gd name="connsiteY12" fmla="*/ 10550 h 10675"/>
                    <a:gd name="connsiteX13" fmla="*/ 251 w 2386"/>
                    <a:gd name="connsiteY13" fmla="*/ 10676 h 10675"/>
                    <a:gd name="connsiteX14" fmla="*/ 126 w 2386"/>
                    <a:gd name="connsiteY14" fmla="*/ 10676 h 10675"/>
                    <a:gd name="connsiteX15" fmla="*/ 126 w 2386"/>
                    <a:gd name="connsiteY15"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6" h="10675">
                      <a:moveTo>
                        <a:pt x="0" y="0"/>
                      </a:moveTo>
                      <a:cubicBezTo>
                        <a:pt x="1381" y="754"/>
                        <a:pt x="2386" y="1758"/>
                        <a:pt x="2386" y="2889"/>
                      </a:cubicBezTo>
                      <a:lnTo>
                        <a:pt x="2386" y="7787"/>
                      </a:lnTo>
                      <a:cubicBezTo>
                        <a:pt x="2386" y="8038"/>
                        <a:pt x="2386" y="8164"/>
                        <a:pt x="2261" y="8415"/>
                      </a:cubicBezTo>
                      <a:cubicBezTo>
                        <a:pt x="2261" y="8415"/>
                        <a:pt x="2261" y="8415"/>
                        <a:pt x="2261" y="8540"/>
                      </a:cubicBezTo>
                      <a:cubicBezTo>
                        <a:pt x="2261" y="8540"/>
                        <a:pt x="2261" y="8666"/>
                        <a:pt x="2261" y="8666"/>
                      </a:cubicBezTo>
                      <a:cubicBezTo>
                        <a:pt x="2261" y="8666"/>
                        <a:pt x="2261" y="8666"/>
                        <a:pt x="2261" y="8666"/>
                      </a:cubicBezTo>
                      <a:cubicBezTo>
                        <a:pt x="2261" y="8792"/>
                        <a:pt x="2135" y="8917"/>
                        <a:pt x="2135" y="8917"/>
                      </a:cubicBezTo>
                      <a:cubicBezTo>
                        <a:pt x="2135" y="9043"/>
                        <a:pt x="2010" y="9168"/>
                        <a:pt x="2010" y="9168"/>
                      </a:cubicBezTo>
                      <a:cubicBezTo>
                        <a:pt x="1884" y="9294"/>
                        <a:pt x="1884" y="9420"/>
                        <a:pt x="1758" y="9545"/>
                      </a:cubicBezTo>
                      <a:cubicBezTo>
                        <a:pt x="1633" y="9671"/>
                        <a:pt x="1507" y="9796"/>
                        <a:pt x="1381" y="9922"/>
                      </a:cubicBezTo>
                      <a:cubicBezTo>
                        <a:pt x="1381" y="9922"/>
                        <a:pt x="1256" y="10048"/>
                        <a:pt x="1256" y="10048"/>
                      </a:cubicBezTo>
                      <a:cubicBezTo>
                        <a:pt x="1005" y="10173"/>
                        <a:pt x="754" y="10424"/>
                        <a:pt x="502" y="10550"/>
                      </a:cubicBezTo>
                      <a:cubicBezTo>
                        <a:pt x="377" y="10550"/>
                        <a:pt x="377" y="10676"/>
                        <a:pt x="251" y="10676"/>
                      </a:cubicBezTo>
                      <a:cubicBezTo>
                        <a:pt x="251" y="10676"/>
                        <a:pt x="126" y="10676"/>
                        <a:pt x="126" y="10676"/>
                      </a:cubicBezTo>
                      <a:lnTo>
                        <a:pt x="126" y="0"/>
                      </a:lnTo>
                      <a:close/>
                    </a:path>
                  </a:pathLst>
                </a:custGeom>
                <a:solidFill>
                  <a:srgbClr val="38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4" name="Freeform: Shape 2463">
                  <a:extLst>
                    <a:ext uri="{FF2B5EF4-FFF2-40B4-BE49-F238E27FC236}">
                      <a16:creationId xmlns:a16="http://schemas.microsoft.com/office/drawing/2014/main" id="{37960BF2-01D1-4219-A1C8-0CF4838E2821}"/>
                    </a:ext>
                  </a:extLst>
                </p:cNvPr>
                <p:cNvSpPr/>
                <p:nvPr/>
              </p:nvSpPr>
              <p:spPr>
                <a:xfrm>
                  <a:off x="4756153" y="2954969"/>
                  <a:ext cx="15322" cy="8540"/>
                </a:xfrm>
                <a:custGeom>
                  <a:avLst/>
                  <a:gdLst>
                    <a:gd name="connsiteX0" fmla="*/ 0 w 15322"/>
                    <a:gd name="connsiteY0" fmla="*/ 4270 h 8540"/>
                    <a:gd name="connsiteX1" fmla="*/ 4271 w 15322"/>
                    <a:gd name="connsiteY1" fmla="*/ 8164 h 8540"/>
                    <a:gd name="connsiteX2" fmla="*/ 7661 w 15322"/>
                    <a:gd name="connsiteY2" fmla="*/ 8541 h 8540"/>
                    <a:gd name="connsiteX3" fmla="*/ 11052 w 15322"/>
                    <a:gd name="connsiteY3" fmla="*/ 8164 h 8540"/>
                    <a:gd name="connsiteX4" fmla="*/ 15323 w 15322"/>
                    <a:gd name="connsiteY4" fmla="*/ 4270 h 8540"/>
                    <a:gd name="connsiteX5" fmla="*/ 12057 w 15322"/>
                    <a:gd name="connsiteY5" fmla="*/ 754 h 8540"/>
                    <a:gd name="connsiteX6" fmla="*/ 11304 w 15322"/>
                    <a:gd name="connsiteY6" fmla="*/ 502 h 8540"/>
                    <a:gd name="connsiteX7" fmla="*/ 10927 w 15322"/>
                    <a:gd name="connsiteY7" fmla="*/ 377 h 8540"/>
                    <a:gd name="connsiteX8" fmla="*/ 7536 w 15322"/>
                    <a:gd name="connsiteY8" fmla="*/ 0 h 8540"/>
                    <a:gd name="connsiteX9" fmla="*/ 4145 w 15322"/>
                    <a:gd name="connsiteY9" fmla="*/ 377 h 8540"/>
                    <a:gd name="connsiteX10" fmla="*/ 0 w 15322"/>
                    <a:gd name="connsiteY10" fmla="*/ 427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22" h="8540">
                      <a:moveTo>
                        <a:pt x="0" y="4270"/>
                      </a:moveTo>
                      <a:cubicBezTo>
                        <a:pt x="0" y="5903"/>
                        <a:pt x="1759" y="7410"/>
                        <a:pt x="4271" y="8164"/>
                      </a:cubicBezTo>
                      <a:cubicBezTo>
                        <a:pt x="5275" y="8415"/>
                        <a:pt x="6405" y="8541"/>
                        <a:pt x="7661" y="8541"/>
                      </a:cubicBezTo>
                      <a:cubicBezTo>
                        <a:pt x="8918" y="8541"/>
                        <a:pt x="10048" y="8415"/>
                        <a:pt x="11052" y="8164"/>
                      </a:cubicBezTo>
                      <a:cubicBezTo>
                        <a:pt x="13564" y="7410"/>
                        <a:pt x="15323" y="6029"/>
                        <a:pt x="15323" y="4270"/>
                      </a:cubicBezTo>
                      <a:cubicBezTo>
                        <a:pt x="15323" y="2763"/>
                        <a:pt x="14067" y="1507"/>
                        <a:pt x="12057" y="754"/>
                      </a:cubicBezTo>
                      <a:cubicBezTo>
                        <a:pt x="11806" y="628"/>
                        <a:pt x="11555" y="628"/>
                        <a:pt x="11304" y="502"/>
                      </a:cubicBezTo>
                      <a:cubicBezTo>
                        <a:pt x="11178" y="502"/>
                        <a:pt x="11052" y="377"/>
                        <a:pt x="10927" y="377"/>
                      </a:cubicBezTo>
                      <a:cubicBezTo>
                        <a:pt x="9922" y="126"/>
                        <a:pt x="8792" y="0"/>
                        <a:pt x="7536" y="0"/>
                      </a:cubicBezTo>
                      <a:cubicBezTo>
                        <a:pt x="6280" y="0"/>
                        <a:pt x="5149" y="126"/>
                        <a:pt x="4145" y="377"/>
                      </a:cubicBezTo>
                      <a:cubicBezTo>
                        <a:pt x="1759" y="1130"/>
                        <a:pt x="0" y="2512"/>
                        <a:pt x="0" y="4270"/>
                      </a:cubicBezTo>
                      <a:close/>
                    </a:path>
                  </a:pathLst>
                </a:custGeom>
                <a:solidFill>
                  <a:srgbClr val="84727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65" name="Graphic 4">
                <a:extLst>
                  <a:ext uri="{FF2B5EF4-FFF2-40B4-BE49-F238E27FC236}">
                    <a16:creationId xmlns:a16="http://schemas.microsoft.com/office/drawing/2014/main" id="{84FB7ED1-A2DF-40A1-A747-5F7CF3F14040}"/>
                  </a:ext>
                </a:extLst>
              </p:cNvPr>
              <p:cNvGrpSpPr/>
              <p:nvPr/>
            </p:nvGrpSpPr>
            <p:grpSpPr>
              <a:xfrm>
                <a:off x="4759041" y="2953839"/>
                <a:ext cx="9419" cy="7661"/>
                <a:chOff x="4759041" y="2953839"/>
                <a:chExt cx="9419" cy="7661"/>
              </a:xfrm>
              <a:solidFill>
                <a:schemeClr val="accent1"/>
              </a:solidFill>
            </p:grpSpPr>
            <p:sp>
              <p:nvSpPr>
                <p:cNvPr id="2466" name="Freeform: Shape 2465">
                  <a:extLst>
                    <a:ext uri="{FF2B5EF4-FFF2-40B4-BE49-F238E27FC236}">
                      <a16:creationId xmlns:a16="http://schemas.microsoft.com/office/drawing/2014/main" id="{CD1A88A5-1824-4B8E-9266-96FCFE252D3E}"/>
                    </a:ext>
                  </a:extLst>
                </p:cNvPr>
                <p:cNvSpPr/>
                <p:nvPr/>
              </p:nvSpPr>
              <p:spPr>
                <a:xfrm>
                  <a:off x="4759041" y="2953965"/>
                  <a:ext cx="9419" cy="7535"/>
                </a:xfrm>
                <a:custGeom>
                  <a:avLst/>
                  <a:gdLst>
                    <a:gd name="connsiteX0" fmla="*/ 0 w 9419"/>
                    <a:gd name="connsiteY0" fmla="*/ 2512 h 7535"/>
                    <a:gd name="connsiteX1" fmla="*/ 0 w 9419"/>
                    <a:gd name="connsiteY1" fmla="*/ 5024 h 7535"/>
                    <a:gd name="connsiteX2" fmla="*/ 2637 w 9419"/>
                    <a:gd name="connsiteY2" fmla="*/ 7410 h 7535"/>
                    <a:gd name="connsiteX3" fmla="*/ 3140 w 9419"/>
                    <a:gd name="connsiteY3" fmla="*/ 7536 h 7535"/>
                    <a:gd name="connsiteX4" fmla="*/ 3391 w 9419"/>
                    <a:gd name="connsiteY4" fmla="*/ 7536 h 7535"/>
                    <a:gd name="connsiteX5" fmla="*/ 3517 w 9419"/>
                    <a:gd name="connsiteY5" fmla="*/ 7536 h 7535"/>
                    <a:gd name="connsiteX6" fmla="*/ 3642 w 9419"/>
                    <a:gd name="connsiteY6" fmla="*/ 7536 h 7535"/>
                    <a:gd name="connsiteX7" fmla="*/ 4145 w 9419"/>
                    <a:gd name="connsiteY7" fmla="*/ 7536 h 7535"/>
                    <a:gd name="connsiteX8" fmla="*/ 4396 w 9419"/>
                    <a:gd name="connsiteY8" fmla="*/ 7536 h 7535"/>
                    <a:gd name="connsiteX9" fmla="*/ 4773 w 9419"/>
                    <a:gd name="connsiteY9" fmla="*/ 7536 h 7535"/>
                    <a:gd name="connsiteX10" fmla="*/ 5149 w 9419"/>
                    <a:gd name="connsiteY10" fmla="*/ 7536 h 7535"/>
                    <a:gd name="connsiteX11" fmla="*/ 5400 w 9419"/>
                    <a:gd name="connsiteY11" fmla="*/ 7536 h 7535"/>
                    <a:gd name="connsiteX12" fmla="*/ 5903 w 9419"/>
                    <a:gd name="connsiteY12" fmla="*/ 7536 h 7535"/>
                    <a:gd name="connsiteX13" fmla="*/ 6029 w 9419"/>
                    <a:gd name="connsiteY13" fmla="*/ 7536 h 7535"/>
                    <a:gd name="connsiteX14" fmla="*/ 6154 w 9419"/>
                    <a:gd name="connsiteY14" fmla="*/ 7536 h 7535"/>
                    <a:gd name="connsiteX15" fmla="*/ 6405 w 9419"/>
                    <a:gd name="connsiteY15" fmla="*/ 7536 h 7535"/>
                    <a:gd name="connsiteX16" fmla="*/ 6908 w 9419"/>
                    <a:gd name="connsiteY16" fmla="*/ 7410 h 7535"/>
                    <a:gd name="connsiteX17" fmla="*/ 7159 w 9419"/>
                    <a:gd name="connsiteY17" fmla="*/ 7285 h 7535"/>
                    <a:gd name="connsiteX18" fmla="*/ 7661 w 9419"/>
                    <a:gd name="connsiteY18" fmla="*/ 7159 h 7535"/>
                    <a:gd name="connsiteX19" fmla="*/ 7787 w 9419"/>
                    <a:gd name="connsiteY19" fmla="*/ 7033 h 7535"/>
                    <a:gd name="connsiteX20" fmla="*/ 8164 w 9419"/>
                    <a:gd name="connsiteY20" fmla="*/ 6908 h 7535"/>
                    <a:gd name="connsiteX21" fmla="*/ 8289 w 9419"/>
                    <a:gd name="connsiteY21" fmla="*/ 6782 h 7535"/>
                    <a:gd name="connsiteX22" fmla="*/ 8666 w 9419"/>
                    <a:gd name="connsiteY22" fmla="*/ 6531 h 7535"/>
                    <a:gd name="connsiteX23" fmla="*/ 8792 w 9419"/>
                    <a:gd name="connsiteY23" fmla="*/ 6405 h 7535"/>
                    <a:gd name="connsiteX24" fmla="*/ 9043 w 9419"/>
                    <a:gd name="connsiteY24" fmla="*/ 6154 h 7535"/>
                    <a:gd name="connsiteX25" fmla="*/ 9169 w 9419"/>
                    <a:gd name="connsiteY25" fmla="*/ 5903 h 7535"/>
                    <a:gd name="connsiteX26" fmla="*/ 9294 w 9419"/>
                    <a:gd name="connsiteY26" fmla="*/ 5777 h 7535"/>
                    <a:gd name="connsiteX27" fmla="*/ 9420 w 9419"/>
                    <a:gd name="connsiteY27" fmla="*/ 5652 h 7535"/>
                    <a:gd name="connsiteX28" fmla="*/ 9420 w 9419"/>
                    <a:gd name="connsiteY28" fmla="*/ 5652 h 7535"/>
                    <a:gd name="connsiteX29" fmla="*/ 9420 w 9419"/>
                    <a:gd name="connsiteY29" fmla="*/ 5526 h 7535"/>
                    <a:gd name="connsiteX30" fmla="*/ 9420 w 9419"/>
                    <a:gd name="connsiteY30" fmla="*/ 5526 h 7535"/>
                    <a:gd name="connsiteX31" fmla="*/ 9420 w 9419"/>
                    <a:gd name="connsiteY31" fmla="*/ 5149 h 7535"/>
                    <a:gd name="connsiteX32" fmla="*/ 9420 w 9419"/>
                    <a:gd name="connsiteY32" fmla="*/ 2638 h 7535"/>
                    <a:gd name="connsiteX33" fmla="*/ 7410 w 9419"/>
                    <a:gd name="connsiteY33" fmla="*/ 502 h 7535"/>
                    <a:gd name="connsiteX34" fmla="*/ 7033 w 9419"/>
                    <a:gd name="connsiteY34" fmla="*/ 377 h 7535"/>
                    <a:gd name="connsiteX35" fmla="*/ 6782 w 9419"/>
                    <a:gd name="connsiteY35" fmla="*/ 251 h 7535"/>
                    <a:gd name="connsiteX36" fmla="*/ 4773 w 9419"/>
                    <a:gd name="connsiteY36" fmla="*/ 0 h 7535"/>
                    <a:gd name="connsiteX37" fmla="*/ 2763 w 9419"/>
                    <a:gd name="connsiteY37" fmla="*/ 251 h 7535"/>
                    <a:gd name="connsiteX38" fmla="*/ 0 w 9419"/>
                    <a:gd name="connsiteY38" fmla="*/ 251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419" h="7535">
                      <a:moveTo>
                        <a:pt x="0" y="2512"/>
                      </a:moveTo>
                      <a:lnTo>
                        <a:pt x="0" y="5024"/>
                      </a:lnTo>
                      <a:cubicBezTo>
                        <a:pt x="0" y="6029"/>
                        <a:pt x="1005" y="6908"/>
                        <a:pt x="2637" y="7410"/>
                      </a:cubicBezTo>
                      <a:cubicBezTo>
                        <a:pt x="2763" y="7410"/>
                        <a:pt x="3014" y="7536"/>
                        <a:pt x="3140" y="7536"/>
                      </a:cubicBezTo>
                      <a:cubicBezTo>
                        <a:pt x="3266" y="7536"/>
                        <a:pt x="3266" y="7536"/>
                        <a:pt x="3391" y="7536"/>
                      </a:cubicBezTo>
                      <a:cubicBezTo>
                        <a:pt x="3391" y="7536"/>
                        <a:pt x="3517" y="7536"/>
                        <a:pt x="3517" y="7536"/>
                      </a:cubicBezTo>
                      <a:cubicBezTo>
                        <a:pt x="3517" y="7536"/>
                        <a:pt x="3642" y="7536"/>
                        <a:pt x="3642" y="7536"/>
                      </a:cubicBezTo>
                      <a:cubicBezTo>
                        <a:pt x="3768" y="7536"/>
                        <a:pt x="3893" y="7536"/>
                        <a:pt x="4145" y="7536"/>
                      </a:cubicBezTo>
                      <a:cubicBezTo>
                        <a:pt x="4270" y="7536"/>
                        <a:pt x="4270" y="7536"/>
                        <a:pt x="4396" y="7536"/>
                      </a:cubicBezTo>
                      <a:cubicBezTo>
                        <a:pt x="4522" y="7536"/>
                        <a:pt x="4647" y="7536"/>
                        <a:pt x="4773" y="7536"/>
                      </a:cubicBezTo>
                      <a:cubicBezTo>
                        <a:pt x="4898" y="7536"/>
                        <a:pt x="5024" y="7536"/>
                        <a:pt x="5149" y="7536"/>
                      </a:cubicBezTo>
                      <a:cubicBezTo>
                        <a:pt x="5275" y="7536"/>
                        <a:pt x="5275" y="7536"/>
                        <a:pt x="5400" y="7536"/>
                      </a:cubicBezTo>
                      <a:cubicBezTo>
                        <a:pt x="5526" y="7536"/>
                        <a:pt x="5652" y="7536"/>
                        <a:pt x="5903" y="7536"/>
                      </a:cubicBezTo>
                      <a:cubicBezTo>
                        <a:pt x="5903" y="7536"/>
                        <a:pt x="6029" y="7536"/>
                        <a:pt x="6029" y="7536"/>
                      </a:cubicBezTo>
                      <a:cubicBezTo>
                        <a:pt x="6029" y="7536"/>
                        <a:pt x="6154" y="7536"/>
                        <a:pt x="6154" y="7536"/>
                      </a:cubicBezTo>
                      <a:cubicBezTo>
                        <a:pt x="6280" y="7536"/>
                        <a:pt x="6280" y="7536"/>
                        <a:pt x="6405" y="7536"/>
                      </a:cubicBezTo>
                      <a:cubicBezTo>
                        <a:pt x="6531" y="7536"/>
                        <a:pt x="6782" y="7410"/>
                        <a:pt x="6908" y="7410"/>
                      </a:cubicBezTo>
                      <a:cubicBezTo>
                        <a:pt x="7033" y="7410"/>
                        <a:pt x="7033" y="7410"/>
                        <a:pt x="7159" y="7285"/>
                      </a:cubicBezTo>
                      <a:cubicBezTo>
                        <a:pt x="7285" y="7285"/>
                        <a:pt x="7536" y="7159"/>
                        <a:pt x="7661" y="7159"/>
                      </a:cubicBezTo>
                      <a:cubicBezTo>
                        <a:pt x="7661" y="7159"/>
                        <a:pt x="7787" y="7159"/>
                        <a:pt x="7787" y="7033"/>
                      </a:cubicBezTo>
                      <a:cubicBezTo>
                        <a:pt x="7913" y="7033"/>
                        <a:pt x="8038" y="6908"/>
                        <a:pt x="8164" y="6908"/>
                      </a:cubicBezTo>
                      <a:cubicBezTo>
                        <a:pt x="8164" y="6908"/>
                        <a:pt x="8289" y="6908"/>
                        <a:pt x="8289" y="6782"/>
                      </a:cubicBezTo>
                      <a:cubicBezTo>
                        <a:pt x="8415" y="6657"/>
                        <a:pt x="8540" y="6531"/>
                        <a:pt x="8666" y="6531"/>
                      </a:cubicBezTo>
                      <a:cubicBezTo>
                        <a:pt x="8666" y="6531"/>
                        <a:pt x="8792" y="6405"/>
                        <a:pt x="8792" y="6405"/>
                      </a:cubicBezTo>
                      <a:cubicBezTo>
                        <a:pt x="8917" y="6280"/>
                        <a:pt x="8917" y="6280"/>
                        <a:pt x="9043" y="6154"/>
                      </a:cubicBezTo>
                      <a:cubicBezTo>
                        <a:pt x="9043" y="6029"/>
                        <a:pt x="9169" y="6029"/>
                        <a:pt x="9169" y="5903"/>
                      </a:cubicBezTo>
                      <a:cubicBezTo>
                        <a:pt x="9169" y="5903"/>
                        <a:pt x="9294" y="5777"/>
                        <a:pt x="9294" y="5777"/>
                      </a:cubicBezTo>
                      <a:cubicBezTo>
                        <a:pt x="9294" y="5777"/>
                        <a:pt x="9294" y="5652"/>
                        <a:pt x="9420" y="5652"/>
                      </a:cubicBezTo>
                      <a:cubicBezTo>
                        <a:pt x="9420" y="5652"/>
                        <a:pt x="9420" y="5652"/>
                        <a:pt x="9420" y="5652"/>
                      </a:cubicBezTo>
                      <a:cubicBezTo>
                        <a:pt x="9420" y="5652"/>
                        <a:pt x="9420" y="5652"/>
                        <a:pt x="9420" y="5526"/>
                      </a:cubicBezTo>
                      <a:cubicBezTo>
                        <a:pt x="9420" y="5526"/>
                        <a:pt x="9420" y="5526"/>
                        <a:pt x="9420" y="5526"/>
                      </a:cubicBezTo>
                      <a:cubicBezTo>
                        <a:pt x="9420" y="5401"/>
                        <a:pt x="9420" y="5275"/>
                        <a:pt x="9420" y="5149"/>
                      </a:cubicBezTo>
                      <a:lnTo>
                        <a:pt x="9420" y="2638"/>
                      </a:lnTo>
                      <a:cubicBezTo>
                        <a:pt x="9420" y="1759"/>
                        <a:pt x="8666" y="1005"/>
                        <a:pt x="7410" y="502"/>
                      </a:cubicBezTo>
                      <a:cubicBezTo>
                        <a:pt x="7285" y="502"/>
                        <a:pt x="7159" y="377"/>
                        <a:pt x="7033" y="377"/>
                      </a:cubicBezTo>
                      <a:cubicBezTo>
                        <a:pt x="6908" y="377"/>
                        <a:pt x="6908" y="377"/>
                        <a:pt x="6782" y="251"/>
                      </a:cubicBezTo>
                      <a:cubicBezTo>
                        <a:pt x="6154" y="126"/>
                        <a:pt x="5526" y="0"/>
                        <a:pt x="4773" y="0"/>
                      </a:cubicBezTo>
                      <a:cubicBezTo>
                        <a:pt x="4019" y="0"/>
                        <a:pt x="3391" y="126"/>
                        <a:pt x="2763" y="251"/>
                      </a:cubicBezTo>
                      <a:cubicBezTo>
                        <a:pt x="1130" y="628"/>
                        <a:pt x="0" y="1507"/>
                        <a:pt x="0" y="2512"/>
                      </a:cubicBezTo>
                      <a:close/>
                    </a:path>
                  </a:pathLst>
                </a:custGeom>
                <a:solidFill>
                  <a:srgbClr val="C2C2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7" name="Freeform: Shape 2466">
                  <a:extLst>
                    <a:ext uri="{FF2B5EF4-FFF2-40B4-BE49-F238E27FC236}">
                      <a16:creationId xmlns:a16="http://schemas.microsoft.com/office/drawing/2014/main" id="{81F546D8-292A-449B-8D09-7891EF98F073}"/>
                    </a:ext>
                  </a:extLst>
                </p:cNvPr>
                <p:cNvSpPr/>
                <p:nvPr/>
              </p:nvSpPr>
              <p:spPr>
                <a:xfrm>
                  <a:off x="4759041" y="2954090"/>
                  <a:ext cx="2763" cy="7284"/>
                </a:xfrm>
                <a:custGeom>
                  <a:avLst/>
                  <a:gdLst>
                    <a:gd name="connsiteX0" fmla="*/ 2637 w 2763"/>
                    <a:gd name="connsiteY0" fmla="*/ 0 h 7284"/>
                    <a:gd name="connsiteX1" fmla="*/ 2637 w 2763"/>
                    <a:gd name="connsiteY1" fmla="*/ 0 h 7284"/>
                    <a:gd name="connsiteX2" fmla="*/ 2763 w 2763"/>
                    <a:gd name="connsiteY2" fmla="*/ 7285 h 7284"/>
                    <a:gd name="connsiteX3" fmla="*/ 2637 w 2763"/>
                    <a:gd name="connsiteY3" fmla="*/ 7285 h 7284"/>
                    <a:gd name="connsiteX4" fmla="*/ 0 w 2763"/>
                    <a:gd name="connsiteY4" fmla="*/ 4898 h 7284"/>
                    <a:gd name="connsiteX5" fmla="*/ 0 w 2763"/>
                    <a:gd name="connsiteY5" fmla="*/ 2386 h 7284"/>
                    <a:gd name="connsiteX6" fmla="*/ 2637 w 2763"/>
                    <a:gd name="connsiteY6" fmla="*/ 0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3" h="7284">
                      <a:moveTo>
                        <a:pt x="2637" y="0"/>
                      </a:moveTo>
                      <a:cubicBezTo>
                        <a:pt x="2637" y="0"/>
                        <a:pt x="2763" y="0"/>
                        <a:pt x="2637" y="0"/>
                      </a:cubicBezTo>
                      <a:lnTo>
                        <a:pt x="2763" y="7285"/>
                      </a:lnTo>
                      <a:cubicBezTo>
                        <a:pt x="2763" y="7285"/>
                        <a:pt x="2763" y="7285"/>
                        <a:pt x="2637" y="7285"/>
                      </a:cubicBezTo>
                      <a:cubicBezTo>
                        <a:pt x="1130" y="6908"/>
                        <a:pt x="0" y="5903"/>
                        <a:pt x="0" y="4898"/>
                      </a:cubicBezTo>
                      <a:lnTo>
                        <a:pt x="0" y="2386"/>
                      </a:lnTo>
                      <a:cubicBezTo>
                        <a:pt x="0" y="1382"/>
                        <a:pt x="1130" y="502"/>
                        <a:pt x="2637" y="0"/>
                      </a:cubicBezTo>
                      <a:close/>
                    </a:path>
                  </a:pathLst>
                </a:custGeom>
                <a:solidFill>
                  <a:srgbClr val="D4D4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8" name="Freeform: Shape 2467">
                  <a:extLst>
                    <a:ext uri="{FF2B5EF4-FFF2-40B4-BE49-F238E27FC236}">
                      <a16:creationId xmlns:a16="http://schemas.microsoft.com/office/drawing/2014/main" id="{4E93514C-BBA8-4343-8357-D8F6A4BBEC02}"/>
                    </a:ext>
                  </a:extLst>
                </p:cNvPr>
                <p:cNvSpPr/>
                <p:nvPr/>
              </p:nvSpPr>
              <p:spPr>
                <a:xfrm>
                  <a:off x="4764442" y="2953965"/>
                  <a:ext cx="4019" cy="7535"/>
                </a:xfrm>
                <a:custGeom>
                  <a:avLst/>
                  <a:gdLst>
                    <a:gd name="connsiteX0" fmla="*/ 0 w 4019"/>
                    <a:gd name="connsiteY0" fmla="*/ 0 h 7535"/>
                    <a:gd name="connsiteX1" fmla="*/ 1382 w 4019"/>
                    <a:gd name="connsiteY1" fmla="*/ 126 h 7535"/>
                    <a:gd name="connsiteX2" fmla="*/ 1633 w 4019"/>
                    <a:gd name="connsiteY2" fmla="*/ 251 h 7535"/>
                    <a:gd name="connsiteX3" fmla="*/ 2010 w 4019"/>
                    <a:gd name="connsiteY3" fmla="*/ 377 h 7535"/>
                    <a:gd name="connsiteX4" fmla="*/ 4019 w 4019"/>
                    <a:gd name="connsiteY4" fmla="*/ 2512 h 7535"/>
                    <a:gd name="connsiteX5" fmla="*/ 4019 w 4019"/>
                    <a:gd name="connsiteY5" fmla="*/ 5024 h 7535"/>
                    <a:gd name="connsiteX6" fmla="*/ 4019 w 4019"/>
                    <a:gd name="connsiteY6" fmla="*/ 5401 h 7535"/>
                    <a:gd name="connsiteX7" fmla="*/ 4019 w 4019"/>
                    <a:gd name="connsiteY7" fmla="*/ 5401 h 7535"/>
                    <a:gd name="connsiteX8" fmla="*/ 4019 w 4019"/>
                    <a:gd name="connsiteY8" fmla="*/ 5526 h 7535"/>
                    <a:gd name="connsiteX9" fmla="*/ 4019 w 4019"/>
                    <a:gd name="connsiteY9" fmla="*/ 5526 h 7535"/>
                    <a:gd name="connsiteX10" fmla="*/ 3893 w 4019"/>
                    <a:gd name="connsiteY10" fmla="*/ 5777 h 7535"/>
                    <a:gd name="connsiteX11" fmla="*/ 3768 w 4019"/>
                    <a:gd name="connsiteY11" fmla="*/ 5903 h 7535"/>
                    <a:gd name="connsiteX12" fmla="*/ 3642 w 4019"/>
                    <a:gd name="connsiteY12" fmla="*/ 6154 h 7535"/>
                    <a:gd name="connsiteX13" fmla="*/ 3391 w 4019"/>
                    <a:gd name="connsiteY13" fmla="*/ 6405 h 7535"/>
                    <a:gd name="connsiteX14" fmla="*/ 3266 w 4019"/>
                    <a:gd name="connsiteY14" fmla="*/ 6531 h 7535"/>
                    <a:gd name="connsiteX15" fmla="*/ 2889 w 4019"/>
                    <a:gd name="connsiteY15" fmla="*/ 6782 h 7535"/>
                    <a:gd name="connsiteX16" fmla="*/ 2763 w 4019"/>
                    <a:gd name="connsiteY16" fmla="*/ 6908 h 7535"/>
                    <a:gd name="connsiteX17" fmla="*/ 2386 w 4019"/>
                    <a:gd name="connsiteY17" fmla="*/ 7033 h 7535"/>
                    <a:gd name="connsiteX18" fmla="*/ 2261 w 4019"/>
                    <a:gd name="connsiteY18" fmla="*/ 7159 h 7535"/>
                    <a:gd name="connsiteX19" fmla="*/ 1759 w 4019"/>
                    <a:gd name="connsiteY19" fmla="*/ 7285 h 7535"/>
                    <a:gd name="connsiteX20" fmla="*/ 1507 w 4019"/>
                    <a:gd name="connsiteY20" fmla="*/ 7410 h 7535"/>
                    <a:gd name="connsiteX21" fmla="*/ 1005 w 4019"/>
                    <a:gd name="connsiteY21" fmla="*/ 7536 h 7535"/>
                    <a:gd name="connsiteX22" fmla="*/ 754 w 4019"/>
                    <a:gd name="connsiteY22" fmla="*/ 7536 h 7535"/>
                    <a:gd name="connsiteX23" fmla="*/ 628 w 4019"/>
                    <a:gd name="connsiteY23" fmla="*/ 7536 h 7535"/>
                    <a:gd name="connsiteX24" fmla="*/ 502 w 4019"/>
                    <a:gd name="connsiteY24" fmla="*/ 7536 h 7535"/>
                    <a:gd name="connsiteX25" fmla="*/ 251 w 4019"/>
                    <a:gd name="connsiteY25" fmla="*/ 7536 h 7535"/>
                    <a:gd name="connsiteX26" fmla="*/ 251 w 4019"/>
                    <a:gd name="connsiteY26" fmla="*/ 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9" h="7535">
                      <a:moveTo>
                        <a:pt x="0" y="0"/>
                      </a:moveTo>
                      <a:cubicBezTo>
                        <a:pt x="502" y="0"/>
                        <a:pt x="879" y="0"/>
                        <a:pt x="1382" y="126"/>
                      </a:cubicBezTo>
                      <a:cubicBezTo>
                        <a:pt x="1507" y="126"/>
                        <a:pt x="1507" y="126"/>
                        <a:pt x="1633" y="251"/>
                      </a:cubicBezTo>
                      <a:cubicBezTo>
                        <a:pt x="1759" y="251"/>
                        <a:pt x="1884" y="377"/>
                        <a:pt x="2010" y="377"/>
                      </a:cubicBezTo>
                      <a:cubicBezTo>
                        <a:pt x="3266" y="879"/>
                        <a:pt x="4019" y="1633"/>
                        <a:pt x="4019" y="2512"/>
                      </a:cubicBezTo>
                      <a:lnTo>
                        <a:pt x="4019" y="5024"/>
                      </a:lnTo>
                      <a:cubicBezTo>
                        <a:pt x="4019" y="5149"/>
                        <a:pt x="4019" y="5275"/>
                        <a:pt x="4019" y="5401"/>
                      </a:cubicBezTo>
                      <a:cubicBezTo>
                        <a:pt x="4019" y="5401"/>
                        <a:pt x="4019" y="5401"/>
                        <a:pt x="4019" y="5401"/>
                      </a:cubicBezTo>
                      <a:cubicBezTo>
                        <a:pt x="4019" y="5401"/>
                        <a:pt x="4019" y="5526"/>
                        <a:pt x="4019" y="5526"/>
                      </a:cubicBezTo>
                      <a:cubicBezTo>
                        <a:pt x="4019" y="5526"/>
                        <a:pt x="4019" y="5526"/>
                        <a:pt x="4019" y="5526"/>
                      </a:cubicBezTo>
                      <a:cubicBezTo>
                        <a:pt x="4019" y="5652"/>
                        <a:pt x="4019" y="5652"/>
                        <a:pt x="3893" y="5777"/>
                      </a:cubicBezTo>
                      <a:cubicBezTo>
                        <a:pt x="3893" y="5777"/>
                        <a:pt x="3768" y="5903"/>
                        <a:pt x="3768" y="5903"/>
                      </a:cubicBezTo>
                      <a:cubicBezTo>
                        <a:pt x="3768" y="6029"/>
                        <a:pt x="3642" y="6029"/>
                        <a:pt x="3642" y="6154"/>
                      </a:cubicBezTo>
                      <a:cubicBezTo>
                        <a:pt x="3517" y="6280"/>
                        <a:pt x="3517" y="6280"/>
                        <a:pt x="3391" y="6405"/>
                      </a:cubicBezTo>
                      <a:cubicBezTo>
                        <a:pt x="3391" y="6405"/>
                        <a:pt x="3266" y="6405"/>
                        <a:pt x="3266" y="6531"/>
                      </a:cubicBezTo>
                      <a:cubicBezTo>
                        <a:pt x="3140" y="6657"/>
                        <a:pt x="3015" y="6782"/>
                        <a:pt x="2889" y="6782"/>
                      </a:cubicBezTo>
                      <a:cubicBezTo>
                        <a:pt x="2889" y="6782"/>
                        <a:pt x="2763" y="6782"/>
                        <a:pt x="2763" y="6908"/>
                      </a:cubicBezTo>
                      <a:cubicBezTo>
                        <a:pt x="2638" y="6908"/>
                        <a:pt x="2512" y="7033"/>
                        <a:pt x="2386" y="7033"/>
                      </a:cubicBezTo>
                      <a:cubicBezTo>
                        <a:pt x="2386" y="7033"/>
                        <a:pt x="2261" y="7033"/>
                        <a:pt x="2261" y="7159"/>
                      </a:cubicBezTo>
                      <a:cubicBezTo>
                        <a:pt x="2135" y="7285"/>
                        <a:pt x="2010" y="7285"/>
                        <a:pt x="1759" y="7285"/>
                      </a:cubicBezTo>
                      <a:cubicBezTo>
                        <a:pt x="1633" y="7285"/>
                        <a:pt x="1633" y="7285"/>
                        <a:pt x="1507" y="7410"/>
                      </a:cubicBezTo>
                      <a:cubicBezTo>
                        <a:pt x="1382" y="7410"/>
                        <a:pt x="1130" y="7536"/>
                        <a:pt x="1005" y="7536"/>
                      </a:cubicBezTo>
                      <a:cubicBezTo>
                        <a:pt x="879" y="7536"/>
                        <a:pt x="879" y="7536"/>
                        <a:pt x="754" y="7536"/>
                      </a:cubicBezTo>
                      <a:cubicBezTo>
                        <a:pt x="754" y="7536"/>
                        <a:pt x="628" y="7536"/>
                        <a:pt x="628" y="7536"/>
                      </a:cubicBezTo>
                      <a:cubicBezTo>
                        <a:pt x="628" y="7536"/>
                        <a:pt x="502" y="7536"/>
                        <a:pt x="502" y="7536"/>
                      </a:cubicBezTo>
                      <a:cubicBezTo>
                        <a:pt x="377" y="7536"/>
                        <a:pt x="377" y="7536"/>
                        <a:pt x="251" y="7536"/>
                      </a:cubicBezTo>
                      <a:lnTo>
                        <a:pt x="251" y="0"/>
                      </a:ln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9" name="Freeform: Shape 2468">
                  <a:extLst>
                    <a:ext uri="{FF2B5EF4-FFF2-40B4-BE49-F238E27FC236}">
                      <a16:creationId xmlns:a16="http://schemas.microsoft.com/office/drawing/2014/main" id="{75FF2864-1BD0-4263-885F-ADB447792520}"/>
                    </a:ext>
                  </a:extLst>
                </p:cNvPr>
                <p:cNvSpPr/>
                <p:nvPr/>
              </p:nvSpPr>
              <p:spPr>
                <a:xfrm>
                  <a:off x="4766954" y="2954718"/>
                  <a:ext cx="1381" cy="6154"/>
                </a:xfrm>
                <a:custGeom>
                  <a:avLst/>
                  <a:gdLst>
                    <a:gd name="connsiteX0" fmla="*/ 0 w 1381"/>
                    <a:gd name="connsiteY0" fmla="*/ 0 h 6154"/>
                    <a:gd name="connsiteX1" fmla="*/ 1381 w 1381"/>
                    <a:gd name="connsiteY1" fmla="*/ 1758 h 6154"/>
                    <a:gd name="connsiteX2" fmla="*/ 1381 w 1381"/>
                    <a:gd name="connsiteY2" fmla="*/ 4270 h 6154"/>
                    <a:gd name="connsiteX3" fmla="*/ 1381 w 1381"/>
                    <a:gd name="connsiteY3" fmla="*/ 4647 h 6154"/>
                    <a:gd name="connsiteX4" fmla="*/ 1381 w 1381"/>
                    <a:gd name="connsiteY4" fmla="*/ 4647 h 6154"/>
                    <a:gd name="connsiteX5" fmla="*/ 1381 w 1381"/>
                    <a:gd name="connsiteY5" fmla="*/ 4772 h 6154"/>
                    <a:gd name="connsiteX6" fmla="*/ 1381 w 1381"/>
                    <a:gd name="connsiteY6" fmla="*/ 4772 h 6154"/>
                    <a:gd name="connsiteX7" fmla="*/ 1256 w 1381"/>
                    <a:gd name="connsiteY7" fmla="*/ 5024 h 6154"/>
                    <a:gd name="connsiteX8" fmla="*/ 1130 w 1381"/>
                    <a:gd name="connsiteY8" fmla="*/ 5149 h 6154"/>
                    <a:gd name="connsiteX9" fmla="*/ 1005 w 1381"/>
                    <a:gd name="connsiteY9" fmla="*/ 5400 h 6154"/>
                    <a:gd name="connsiteX10" fmla="*/ 754 w 1381"/>
                    <a:gd name="connsiteY10" fmla="*/ 5652 h 6154"/>
                    <a:gd name="connsiteX11" fmla="*/ 628 w 1381"/>
                    <a:gd name="connsiteY11" fmla="*/ 5777 h 6154"/>
                    <a:gd name="connsiteX12" fmla="*/ 251 w 1381"/>
                    <a:gd name="connsiteY12" fmla="*/ 6028 h 6154"/>
                    <a:gd name="connsiteX13" fmla="*/ 126 w 1381"/>
                    <a:gd name="connsiteY13" fmla="*/ 6154 h 6154"/>
                    <a:gd name="connsiteX14" fmla="*/ 0 w 1381"/>
                    <a:gd name="connsiteY14" fmla="*/ 6154 h 6154"/>
                    <a:gd name="connsiteX15" fmla="*/ 0 w 1381"/>
                    <a:gd name="connsiteY15" fmla="*/ 0 h 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1" h="6154">
                      <a:moveTo>
                        <a:pt x="0" y="0"/>
                      </a:moveTo>
                      <a:cubicBezTo>
                        <a:pt x="879" y="502"/>
                        <a:pt x="1381" y="1130"/>
                        <a:pt x="1381" y="1758"/>
                      </a:cubicBezTo>
                      <a:lnTo>
                        <a:pt x="1381" y="4270"/>
                      </a:lnTo>
                      <a:cubicBezTo>
                        <a:pt x="1381" y="4396"/>
                        <a:pt x="1381" y="4521"/>
                        <a:pt x="1381" y="4647"/>
                      </a:cubicBezTo>
                      <a:cubicBezTo>
                        <a:pt x="1381" y="4647"/>
                        <a:pt x="1381" y="4647"/>
                        <a:pt x="1381" y="4647"/>
                      </a:cubicBezTo>
                      <a:cubicBezTo>
                        <a:pt x="1381" y="4647"/>
                        <a:pt x="1381" y="4772"/>
                        <a:pt x="1381" y="4772"/>
                      </a:cubicBezTo>
                      <a:cubicBezTo>
                        <a:pt x="1381" y="4772"/>
                        <a:pt x="1381" y="4772"/>
                        <a:pt x="1381" y="4772"/>
                      </a:cubicBezTo>
                      <a:cubicBezTo>
                        <a:pt x="1381" y="4898"/>
                        <a:pt x="1381" y="4898"/>
                        <a:pt x="1256" y="5024"/>
                      </a:cubicBezTo>
                      <a:cubicBezTo>
                        <a:pt x="1256" y="5024"/>
                        <a:pt x="1130" y="5149"/>
                        <a:pt x="1130" y="5149"/>
                      </a:cubicBezTo>
                      <a:cubicBezTo>
                        <a:pt x="1130" y="5275"/>
                        <a:pt x="1005" y="5275"/>
                        <a:pt x="1005" y="5400"/>
                      </a:cubicBezTo>
                      <a:cubicBezTo>
                        <a:pt x="879" y="5526"/>
                        <a:pt x="879" y="5526"/>
                        <a:pt x="754" y="5652"/>
                      </a:cubicBezTo>
                      <a:cubicBezTo>
                        <a:pt x="754" y="5652"/>
                        <a:pt x="628" y="5652"/>
                        <a:pt x="628" y="5777"/>
                      </a:cubicBezTo>
                      <a:cubicBezTo>
                        <a:pt x="502" y="5903"/>
                        <a:pt x="377" y="6028"/>
                        <a:pt x="251" y="6028"/>
                      </a:cubicBezTo>
                      <a:cubicBezTo>
                        <a:pt x="251" y="6028"/>
                        <a:pt x="126" y="6028"/>
                        <a:pt x="126" y="6154"/>
                      </a:cubicBezTo>
                      <a:cubicBezTo>
                        <a:pt x="126" y="6154"/>
                        <a:pt x="126" y="6154"/>
                        <a:pt x="0" y="6154"/>
                      </a:cubicBezTo>
                      <a:lnTo>
                        <a:pt x="0" y="0"/>
                      </a:lnTo>
                      <a:close/>
                    </a:path>
                  </a:pathLst>
                </a:custGeom>
                <a:solidFill>
                  <a:srgbClr val="A1A1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0" name="Freeform: Shape 2469">
                  <a:extLst>
                    <a:ext uri="{FF2B5EF4-FFF2-40B4-BE49-F238E27FC236}">
                      <a16:creationId xmlns:a16="http://schemas.microsoft.com/office/drawing/2014/main" id="{A8B7B58B-FD9B-48FA-A0BD-240FE4A8D60B}"/>
                    </a:ext>
                  </a:extLst>
                </p:cNvPr>
                <p:cNvSpPr/>
                <p:nvPr/>
              </p:nvSpPr>
              <p:spPr>
                <a:xfrm>
                  <a:off x="4759041" y="2953839"/>
                  <a:ext cx="9293" cy="5274"/>
                </a:xfrm>
                <a:custGeom>
                  <a:avLst/>
                  <a:gdLst>
                    <a:gd name="connsiteX0" fmla="*/ 0 w 9293"/>
                    <a:gd name="connsiteY0" fmla="*/ 2638 h 5274"/>
                    <a:gd name="connsiteX1" fmla="*/ 2637 w 9293"/>
                    <a:gd name="connsiteY1" fmla="*/ 5024 h 5274"/>
                    <a:gd name="connsiteX2" fmla="*/ 4647 w 9293"/>
                    <a:gd name="connsiteY2" fmla="*/ 5275 h 5274"/>
                    <a:gd name="connsiteX3" fmla="*/ 6657 w 9293"/>
                    <a:gd name="connsiteY3" fmla="*/ 5024 h 5274"/>
                    <a:gd name="connsiteX4" fmla="*/ 9294 w 9293"/>
                    <a:gd name="connsiteY4" fmla="*/ 2638 h 5274"/>
                    <a:gd name="connsiteX5" fmla="*/ 7285 w 9293"/>
                    <a:gd name="connsiteY5" fmla="*/ 502 h 5274"/>
                    <a:gd name="connsiteX6" fmla="*/ 6908 w 9293"/>
                    <a:gd name="connsiteY6" fmla="*/ 377 h 5274"/>
                    <a:gd name="connsiteX7" fmla="*/ 6657 w 9293"/>
                    <a:gd name="connsiteY7" fmla="*/ 251 h 5274"/>
                    <a:gd name="connsiteX8" fmla="*/ 4647 w 9293"/>
                    <a:gd name="connsiteY8" fmla="*/ 0 h 5274"/>
                    <a:gd name="connsiteX9" fmla="*/ 2637 w 9293"/>
                    <a:gd name="connsiteY9" fmla="*/ 251 h 5274"/>
                    <a:gd name="connsiteX10" fmla="*/ 0 w 9293"/>
                    <a:gd name="connsiteY10" fmla="*/ 2638 h 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93" h="5274">
                      <a:moveTo>
                        <a:pt x="0" y="2638"/>
                      </a:moveTo>
                      <a:cubicBezTo>
                        <a:pt x="0" y="3642"/>
                        <a:pt x="1005" y="4521"/>
                        <a:pt x="2637" y="5024"/>
                      </a:cubicBezTo>
                      <a:cubicBezTo>
                        <a:pt x="3266" y="5149"/>
                        <a:pt x="3893" y="5275"/>
                        <a:pt x="4647" y="5275"/>
                      </a:cubicBezTo>
                      <a:cubicBezTo>
                        <a:pt x="5400" y="5275"/>
                        <a:pt x="6029" y="5149"/>
                        <a:pt x="6657" y="5024"/>
                      </a:cubicBezTo>
                      <a:cubicBezTo>
                        <a:pt x="8164" y="4647"/>
                        <a:pt x="9294" y="3642"/>
                        <a:pt x="9294" y="2638"/>
                      </a:cubicBezTo>
                      <a:cubicBezTo>
                        <a:pt x="9294" y="1758"/>
                        <a:pt x="8540" y="1005"/>
                        <a:pt x="7285" y="502"/>
                      </a:cubicBezTo>
                      <a:cubicBezTo>
                        <a:pt x="7159" y="502"/>
                        <a:pt x="7033" y="377"/>
                        <a:pt x="6908" y="377"/>
                      </a:cubicBezTo>
                      <a:cubicBezTo>
                        <a:pt x="6782" y="377"/>
                        <a:pt x="6782" y="377"/>
                        <a:pt x="6657" y="251"/>
                      </a:cubicBezTo>
                      <a:cubicBezTo>
                        <a:pt x="6029" y="126"/>
                        <a:pt x="5400" y="0"/>
                        <a:pt x="4647" y="0"/>
                      </a:cubicBezTo>
                      <a:cubicBezTo>
                        <a:pt x="3893" y="0"/>
                        <a:pt x="3266" y="126"/>
                        <a:pt x="2637" y="251"/>
                      </a:cubicBezTo>
                      <a:cubicBezTo>
                        <a:pt x="1130" y="754"/>
                        <a:pt x="0" y="1633"/>
                        <a:pt x="0" y="2638"/>
                      </a:cubicBez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471" name="Freeform: Shape 2470">
              <a:extLst>
                <a:ext uri="{FF2B5EF4-FFF2-40B4-BE49-F238E27FC236}">
                  <a16:creationId xmlns:a16="http://schemas.microsoft.com/office/drawing/2014/main" id="{E34B68B3-78F7-4F90-95A9-6FB752573ACC}"/>
                </a:ext>
              </a:extLst>
            </p:cNvPr>
            <p:cNvSpPr/>
            <p:nvPr/>
          </p:nvSpPr>
          <p:spPr>
            <a:xfrm>
              <a:off x="4703026" y="2976321"/>
              <a:ext cx="122454" cy="40190"/>
            </a:xfrm>
            <a:custGeom>
              <a:avLst/>
              <a:gdLst>
                <a:gd name="connsiteX0" fmla="*/ 61165 w 122454"/>
                <a:gd name="connsiteY0" fmla="*/ 0 h 40190"/>
                <a:gd name="connsiteX1" fmla="*/ 0 w 122454"/>
                <a:gd name="connsiteY1" fmla="*/ 30519 h 40190"/>
                <a:gd name="connsiteX2" fmla="*/ 251 w 122454"/>
                <a:gd name="connsiteY2" fmla="*/ 32529 h 40190"/>
                <a:gd name="connsiteX3" fmla="*/ 251 w 122454"/>
                <a:gd name="connsiteY3" fmla="*/ 32529 h 40190"/>
                <a:gd name="connsiteX4" fmla="*/ 0 w 122454"/>
                <a:gd name="connsiteY4" fmla="*/ 40190 h 40190"/>
                <a:gd name="connsiteX5" fmla="*/ 122455 w 122454"/>
                <a:gd name="connsiteY5" fmla="*/ 40190 h 40190"/>
                <a:gd name="connsiteX6" fmla="*/ 122455 w 122454"/>
                <a:gd name="connsiteY6" fmla="*/ 30519 h 40190"/>
                <a:gd name="connsiteX7" fmla="*/ 61165 w 122454"/>
                <a:gd name="connsiteY7" fmla="*/ 0 h 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454" h="40190">
                  <a:moveTo>
                    <a:pt x="61165" y="0"/>
                  </a:moveTo>
                  <a:cubicBezTo>
                    <a:pt x="27380" y="0"/>
                    <a:pt x="0" y="13690"/>
                    <a:pt x="0" y="30519"/>
                  </a:cubicBezTo>
                  <a:cubicBezTo>
                    <a:pt x="0" y="31147"/>
                    <a:pt x="126" y="31901"/>
                    <a:pt x="251" y="32529"/>
                  </a:cubicBezTo>
                  <a:lnTo>
                    <a:pt x="251" y="32529"/>
                  </a:lnTo>
                  <a:lnTo>
                    <a:pt x="0" y="40190"/>
                  </a:lnTo>
                  <a:lnTo>
                    <a:pt x="122455" y="40190"/>
                  </a:lnTo>
                  <a:lnTo>
                    <a:pt x="122455" y="30519"/>
                  </a:lnTo>
                  <a:cubicBezTo>
                    <a:pt x="122455" y="13564"/>
                    <a:pt x="95075" y="0"/>
                    <a:pt x="61165" y="0"/>
                  </a:cubicBezTo>
                  <a:close/>
                </a:path>
              </a:pathLst>
            </a:custGeom>
            <a:solidFill>
              <a:srgbClr val="61616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2" name="Freeform: Shape 2471">
              <a:extLst>
                <a:ext uri="{FF2B5EF4-FFF2-40B4-BE49-F238E27FC236}">
                  <a16:creationId xmlns:a16="http://schemas.microsoft.com/office/drawing/2014/main" id="{18FE87BB-EC5C-4CFA-B14A-FBA7A5EC0376}"/>
                </a:ext>
              </a:extLst>
            </p:cNvPr>
            <p:cNvSpPr/>
            <p:nvPr/>
          </p:nvSpPr>
          <p:spPr>
            <a:xfrm>
              <a:off x="4703026" y="2985990"/>
              <a:ext cx="122454" cy="60914"/>
            </a:xfrm>
            <a:custGeom>
              <a:avLst/>
              <a:gdLst>
                <a:gd name="connsiteX0" fmla="*/ 0 w 122454"/>
                <a:gd name="connsiteY0" fmla="*/ 30395 h 60914"/>
                <a:gd name="connsiteX1" fmla="*/ 42200 w 122454"/>
                <a:gd name="connsiteY1" fmla="*/ 59407 h 60914"/>
                <a:gd name="connsiteX2" fmla="*/ 61165 w 122454"/>
                <a:gd name="connsiteY2" fmla="*/ 60914 h 60914"/>
                <a:gd name="connsiteX3" fmla="*/ 80255 w 122454"/>
                <a:gd name="connsiteY3" fmla="*/ 59407 h 60914"/>
                <a:gd name="connsiteX4" fmla="*/ 122455 w 122454"/>
                <a:gd name="connsiteY4" fmla="*/ 30395 h 60914"/>
                <a:gd name="connsiteX5" fmla="*/ 61290 w 122454"/>
                <a:gd name="connsiteY5" fmla="*/ 1 h 60914"/>
                <a:gd name="connsiteX6" fmla="*/ 0 w 122454"/>
                <a:gd name="connsiteY6" fmla="*/ 30395 h 60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54" h="60914">
                  <a:moveTo>
                    <a:pt x="0" y="30395"/>
                  </a:moveTo>
                  <a:cubicBezTo>
                    <a:pt x="0" y="43959"/>
                    <a:pt x="17709" y="55388"/>
                    <a:pt x="42200" y="59407"/>
                  </a:cubicBezTo>
                  <a:cubicBezTo>
                    <a:pt x="48228" y="60412"/>
                    <a:pt x="54508" y="60914"/>
                    <a:pt x="61165" y="60914"/>
                  </a:cubicBezTo>
                  <a:cubicBezTo>
                    <a:pt x="67821" y="60914"/>
                    <a:pt x="74227" y="60412"/>
                    <a:pt x="80255" y="59407"/>
                  </a:cubicBezTo>
                  <a:cubicBezTo>
                    <a:pt x="104746" y="55388"/>
                    <a:pt x="122455" y="43959"/>
                    <a:pt x="122455" y="30395"/>
                  </a:cubicBezTo>
                  <a:cubicBezTo>
                    <a:pt x="122455" y="13565"/>
                    <a:pt x="95075" y="1"/>
                    <a:pt x="61290" y="1"/>
                  </a:cubicBezTo>
                  <a:cubicBezTo>
                    <a:pt x="27380" y="-125"/>
                    <a:pt x="0" y="13565"/>
                    <a:pt x="0" y="30395"/>
                  </a:cubicBez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3" name="Freeform: Shape 2472">
              <a:extLst>
                <a:ext uri="{FF2B5EF4-FFF2-40B4-BE49-F238E27FC236}">
                  <a16:creationId xmlns:a16="http://schemas.microsoft.com/office/drawing/2014/main" id="{79BDF016-833F-4F1A-B62C-F18545C6E151}"/>
                </a:ext>
              </a:extLst>
            </p:cNvPr>
            <p:cNvSpPr/>
            <p:nvPr/>
          </p:nvSpPr>
          <p:spPr>
            <a:xfrm>
              <a:off x="4745226" y="3025303"/>
              <a:ext cx="38306" cy="21602"/>
            </a:xfrm>
            <a:custGeom>
              <a:avLst/>
              <a:gdLst>
                <a:gd name="connsiteX0" fmla="*/ 0 w 38306"/>
                <a:gd name="connsiteY0" fmla="*/ 18337 h 21602"/>
                <a:gd name="connsiteX1" fmla="*/ 0 w 38306"/>
                <a:gd name="connsiteY1" fmla="*/ 19090 h 21602"/>
                <a:gd name="connsiteX2" fmla="*/ 126 w 38306"/>
                <a:gd name="connsiteY2" fmla="*/ 20095 h 21602"/>
                <a:gd name="connsiteX3" fmla="*/ 19091 w 38306"/>
                <a:gd name="connsiteY3" fmla="*/ 21602 h 21602"/>
                <a:gd name="connsiteX4" fmla="*/ 38181 w 38306"/>
                <a:gd name="connsiteY4" fmla="*/ 20095 h 21602"/>
                <a:gd name="connsiteX5" fmla="*/ 38307 w 38306"/>
                <a:gd name="connsiteY5" fmla="*/ 19090 h 21602"/>
                <a:gd name="connsiteX6" fmla="*/ 38307 w 38306"/>
                <a:gd name="connsiteY6" fmla="*/ 0 h 21602"/>
                <a:gd name="connsiteX7" fmla="*/ 0 w 38306"/>
                <a:gd name="connsiteY7" fmla="*/ 0 h 21602"/>
                <a:gd name="connsiteX8" fmla="*/ 0 w 38306"/>
                <a:gd name="connsiteY8" fmla="*/ 18337 h 2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6" h="21602">
                  <a:moveTo>
                    <a:pt x="0" y="18337"/>
                  </a:moveTo>
                  <a:cubicBezTo>
                    <a:pt x="0" y="18588"/>
                    <a:pt x="0" y="18839"/>
                    <a:pt x="0" y="19090"/>
                  </a:cubicBezTo>
                  <a:cubicBezTo>
                    <a:pt x="0" y="19467"/>
                    <a:pt x="0" y="19718"/>
                    <a:pt x="126" y="20095"/>
                  </a:cubicBezTo>
                  <a:cubicBezTo>
                    <a:pt x="6154" y="21100"/>
                    <a:pt x="12434" y="21602"/>
                    <a:pt x="19091" y="21602"/>
                  </a:cubicBezTo>
                  <a:cubicBezTo>
                    <a:pt x="25747" y="21602"/>
                    <a:pt x="32152" y="21100"/>
                    <a:pt x="38181" y="20095"/>
                  </a:cubicBezTo>
                  <a:cubicBezTo>
                    <a:pt x="38181" y="19718"/>
                    <a:pt x="38307" y="19467"/>
                    <a:pt x="38307" y="19090"/>
                  </a:cubicBezTo>
                  <a:lnTo>
                    <a:pt x="38307" y="0"/>
                  </a:lnTo>
                  <a:lnTo>
                    <a:pt x="0" y="0"/>
                  </a:lnTo>
                  <a:lnTo>
                    <a:pt x="0" y="18337"/>
                  </a:lnTo>
                  <a:close/>
                </a:path>
              </a:pathLst>
            </a:custGeom>
            <a:solidFill>
              <a:srgbClr val="9E481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4" name="Freeform: Shape 2473">
              <a:extLst>
                <a:ext uri="{FF2B5EF4-FFF2-40B4-BE49-F238E27FC236}">
                  <a16:creationId xmlns:a16="http://schemas.microsoft.com/office/drawing/2014/main" id="{A60E6FD6-2302-4DB2-8B8A-E2228FA91660}"/>
                </a:ext>
              </a:extLst>
            </p:cNvPr>
            <p:cNvSpPr/>
            <p:nvPr/>
          </p:nvSpPr>
          <p:spPr>
            <a:xfrm>
              <a:off x="4745100" y="3014501"/>
              <a:ext cx="38180" cy="21602"/>
            </a:xfrm>
            <a:custGeom>
              <a:avLst/>
              <a:gdLst>
                <a:gd name="connsiteX0" fmla="*/ 38181 w 38180"/>
                <a:gd name="connsiteY0" fmla="*/ 10801 h 21602"/>
                <a:gd name="connsiteX1" fmla="*/ 19090 w 38180"/>
                <a:gd name="connsiteY1" fmla="*/ 21602 h 21602"/>
                <a:gd name="connsiteX2" fmla="*/ 0 w 38180"/>
                <a:gd name="connsiteY2" fmla="*/ 10801 h 21602"/>
                <a:gd name="connsiteX3" fmla="*/ 19090 w 38180"/>
                <a:gd name="connsiteY3" fmla="*/ 0 h 21602"/>
                <a:gd name="connsiteX4" fmla="*/ 38181 w 38180"/>
                <a:gd name="connsiteY4" fmla="*/ 10801 h 21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80" h="21602">
                  <a:moveTo>
                    <a:pt x="38181" y="10801"/>
                  </a:moveTo>
                  <a:cubicBezTo>
                    <a:pt x="38181" y="16766"/>
                    <a:pt x="29633" y="21602"/>
                    <a:pt x="19090" y="21602"/>
                  </a:cubicBezTo>
                  <a:cubicBezTo>
                    <a:pt x="8547" y="21602"/>
                    <a:pt x="0" y="16766"/>
                    <a:pt x="0" y="10801"/>
                  </a:cubicBezTo>
                  <a:cubicBezTo>
                    <a:pt x="0" y="4836"/>
                    <a:pt x="8547" y="0"/>
                    <a:pt x="19090" y="0"/>
                  </a:cubicBezTo>
                  <a:cubicBezTo>
                    <a:pt x="29634" y="0"/>
                    <a:pt x="38181" y="4836"/>
                    <a:pt x="38181" y="10801"/>
                  </a:cubicBezTo>
                  <a:close/>
                </a:path>
              </a:pathLst>
            </a:custGeom>
            <a:solidFill>
              <a:srgbClr val="6B2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475" name="Graphic 4">
              <a:extLst>
                <a:ext uri="{FF2B5EF4-FFF2-40B4-BE49-F238E27FC236}">
                  <a16:creationId xmlns:a16="http://schemas.microsoft.com/office/drawing/2014/main" id="{84FB7ED1-A2DF-40A1-A747-5F7CF3F14040}"/>
                </a:ext>
              </a:extLst>
            </p:cNvPr>
            <p:cNvGrpSpPr/>
            <p:nvPr/>
          </p:nvGrpSpPr>
          <p:grpSpPr>
            <a:xfrm>
              <a:off x="4700514" y="2956351"/>
              <a:ext cx="127353" cy="83269"/>
              <a:chOff x="4700514" y="2956351"/>
              <a:chExt cx="127353" cy="83269"/>
            </a:xfrm>
            <a:solidFill>
              <a:schemeClr val="accent1"/>
            </a:solidFill>
          </p:grpSpPr>
          <p:sp>
            <p:nvSpPr>
              <p:cNvPr id="2476" name="Freeform: Shape 2475">
                <a:extLst>
                  <a:ext uri="{FF2B5EF4-FFF2-40B4-BE49-F238E27FC236}">
                    <a16:creationId xmlns:a16="http://schemas.microsoft.com/office/drawing/2014/main" id="{CC3B4D9A-D0FE-4742-862C-2413D09BCE83}"/>
                  </a:ext>
                </a:extLst>
              </p:cNvPr>
              <p:cNvSpPr/>
              <p:nvPr/>
            </p:nvSpPr>
            <p:spPr>
              <a:xfrm>
                <a:off x="4700514" y="2992271"/>
                <a:ext cx="127353" cy="47349"/>
              </a:xfrm>
              <a:custGeom>
                <a:avLst/>
                <a:gdLst>
                  <a:gd name="connsiteX0" fmla="*/ 63677 w 127353"/>
                  <a:gd name="connsiteY0" fmla="*/ 47349 h 47349"/>
                  <a:gd name="connsiteX1" fmla="*/ 0 w 127353"/>
                  <a:gd name="connsiteY1" fmla="*/ 11429 h 47349"/>
                  <a:gd name="connsiteX2" fmla="*/ 251 w 127353"/>
                  <a:gd name="connsiteY2" fmla="*/ 9043 h 47349"/>
                  <a:gd name="connsiteX3" fmla="*/ 251 w 127353"/>
                  <a:gd name="connsiteY3" fmla="*/ 9043 h 47349"/>
                  <a:gd name="connsiteX4" fmla="*/ 0 w 127353"/>
                  <a:gd name="connsiteY4" fmla="*/ 0 h 47349"/>
                  <a:gd name="connsiteX5" fmla="*/ 127353 w 127353"/>
                  <a:gd name="connsiteY5" fmla="*/ 0 h 47349"/>
                  <a:gd name="connsiteX6" fmla="*/ 127353 w 127353"/>
                  <a:gd name="connsiteY6" fmla="*/ 11429 h 47349"/>
                  <a:gd name="connsiteX7" fmla="*/ 63677 w 127353"/>
                  <a:gd name="connsiteY7" fmla="*/ 47349 h 4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353" h="47349">
                    <a:moveTo>
                      <a:pt x="63677" y="47349"/>
                    </a:moveTo>
                    <a:cubicBezTo>
                      <a:pt x="28510" y="47349"/>
                      <a:pt x="0" y="31273"/>
                      <a:pt x="0" y="11429"/>
                    </a:cubicBezTo>
                    <a:cubicBezTo>
                      <a:pt x="0" y="10676"/>
                      <a:pt x="126" y="9922"/>
                      <a:pt x="251" y="9043"/>
                    </a:cubicBezTo>
                    <a:lnTo>
                      <a:pt x="251" y="9043"/>
                    </a:lnTo>
                    <a:lnTo>
                      <a:pt x="0" y="0"/>
                    </a:lnTo>
                    <a:lnTo>
                      <a:pt x="127353" y="0"/>
                    </a:lnTo>
                    <a:lnTo>
                      <a:pt x="127353" y="11429"/>
                    </a:lnTo>
                    <a:cubicBezTo>
                      <a:pt x="127479" y="31273"/>
                      <a:pt x="98969" y="47349"/>
                      <a:pt x="63677" y="47349"/>
                    </a:cubicBez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7" name="Freeform: Shape 2476">
                <a:extLst>
                  <a:ext uri="{FF2B5EF4-FFF2-40B4-BE49-F238E27FC236}">
                    <a16:creationId xmlns:a16="http://schemas.microsoft.com/office/drawing/2014/main" id="{879DE876-C758-4734-A11D-90E7842CE558}"/>
                  </a:ext>
                </a:extLst>
              </p:cNvPr>
              <p:cNvSpPr/>
              <p:nvPr/>
            </p:nvSpPr>
            <p:spPr>
              <a:xfrm>
                <a:off x="4700514" y="2956351"/>
                <a:ext cx="127353" cy="71840"/>
              </a:xfrm>
              <a:custGeom>
                <a:avLst/>
                <a:gdLst>
                  <a:gd name="connsiteX0" fmla="*/ 127353 w 127353"/>
                  <a:gd name="connsiteY0" fmla="*/ 35920 h 71840"/>
                  <a:gd name="connsiteX1" fmla="*/ 63677 w 127353"/>
                  <a:gd name="connsiteY1" fmla="*/ 71840 h 71840"/>
                  <a:gd name="connsiteX2" fmla="*/ 0 w 127353"/>
                  <a:gd name="connsiteY2" fmla="*/ 35920 h 71840"/>
                  <a:gd name="connsiteX3" fmla="*/ 63677 w 127353"/>
                  <a:gd name="connsiteY3" fmla="*/ 0 h 71840"/>
                  <a:gd name="connsiteX4" fmla="*/ 127353 w 127353"/>
                  <a:gd name="connsiteY4" fmla="*/ 35920 h 71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353" h="71840">
                    <a:moveTo>
                      <a:pt x="127353" y="35920"/>
                    </a:moveTo>
                    <a:cubicBezTo>
                      <a:pt x="127353" y="55758"/>
                      <a:pt x="98844" y="71840"/>
                      <a:pt x="63677" y="71840"/>
                    </a:cubicBezTo>
                    <a:cubicBezTo>
                      <a:pt x="28509" y="71840"/>
                      <a:pt x="0" y="55758"/>
                      <a:pt x="0" y="35920"/>
                    </a:cubicBezTo>
                    <a:cubicBezTo>
                      <a:pt x="0" y="16082"/>
                      <a:pt x="28509" y="0"/>
                      <a:pt x="63677" y="0"/>
                    </a:cubicBezTo>
                    <a:cubicBezTo>
                      <a:pt x="98844" y="0"/>
                      <a:pt x="127353" y="16082"/>
                      <a:pt x="127353" y="35920"/>
                    </a:cubicBezTo>
                    <a:close/>
                  </a:path>
                </a:pathLst>
              </a:custGeom>
              <a:solidFill>
                <a:srgbClr val="CC6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78" name="Graphic 4">
              <a:extLst>
                <a:ext uri="{FF2B5EF4-FFF2-40B4-BE49-F238E27FC236}">
                  <a16:creationId xmlns:a16="http://schemas.microsoft.com/office/drawing/2014/main" id="{84FB7ED1-A2DF-40A1-A747-5F7CF3F14040}"/>
                </a:ext>
              </a:extLst>
            </p:cNvPr>
            <p:cNvGrpSpPr/>
            <p:nvPr/>
          </p:nvGrpSpPr>
          <p:grpSpPr>
            <a:xfrm>
              <a:off x="4724880" y="2944671"/>
              <a:ext cx="85278" cy="71965"/>
              <a:chOff x="4724880" y="2944671"/>
              <a:chExt cx="85278" cy="71965"/>
            </a:xfrm>
            <a:solidFill>
              <a:schemeClr val="accent1"/>
            </a:solidFill>
          </p:grpSpPr>
          <p:sp>
            <p:nvSpPr>
              <p:cNvPr id="2479" name="Freeform: Shape 2478">
                <a:extLst>
                  <a:ext uri="{FF2B5EF4-FFF2-40B4-BE49-F238E27FC236}">
                    <a16:creationId xmlns:a16="http://schemas.microsoft.com/office/drawing/2014/main" id="{0D832F1E-6165-452A-83E8-445FBAB05709}"/>
                  </a:ext>
                </a:extLst>
              </p:cNvPr>
              <p:cNvSpPr/>
              <p:nvPr/>
            </p:nvSpPr>
            <p:spPr>
              <a:xfrm>
                <a:off x="4782025" y="2977576"/>
                <a:ext cx="28133" cy="39059"/>
              </a:xfrm>
              <a:custGeom>
                <a:avLst/>
                <a:gdLst>
                  <a:gd name="connsiteX0" fmla="*/ 0 w 28133"/>
                  <a:gd name="connsiteY0" fmla="*/ 39060 h 39059"/>
                  <a:gd name="connsiteX1" fmla="*/ 28133 w 28133"/>
                  <a:gd name="connsiteY1" fmla="*/ 22733 h 39059"/>
                  <a:gd name="connsiteX2" fmla="*/ 24240 w 28133"/>
                  <a:gd name="connsiteY2" fmla="*/ 0 h 39059"/>
                  <a:gd name="connsiteX3" fmla="*/ 0 w 28133"/>
                  <a:gd name="connsiteY3" fmla="*/ 13941 h 39059"/>
                </a:gdLst>
                <a:ahLst/>
                <a:cxnLst>
                  <a:cxn ang="0">
                    <a:pos x="connsiteX0" y="connsiteY0"/>
                  </a:cxn>
                  <a:cxn ang="0">
                    <a:pos x="connsiteX1" y="connsiteY1"/>
                  </a:cxn>
                  <a:cxn ang="0">
                    <a:pos x="connsiteX2" y="connsiteY2"/>
                  </a:cxn>
                  <a:cxn ang="0">
                    <a:pos x="connsiteX3" y="connsiteY3"/>
                  </a:cxn>
                </a:cxnLst>
                <a:rect l="l" t="t" r="r" b="b"/>
                <a:pathLst>
                  <a:path w="28133" h="39059">
                    <a:moveTo>
                      <a:pt x="0" y="39060"/>
                    </a:moveTo>
                    <a:lnTo>
                      <a:pt x="28133" y="22733"/>
                    </a:lnTo>
                    <a:lnTo>
                      <a:pt x="24240" y="0"/>
                    </a:lnTo>
                    <a:lnTo>
                      <a:pt x="0" y="13941"/>
                    </a:lnTo>
                    <a:close/>
                  </a:path>
                </a:pathLst>
              </a:custGeom>
              <a:solidFill>
                <a:srgbClr val="AC5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0" name="Freeform: Shape 2479">
                <a:extLst>
                  <a:ext uri="{FF2B5EF4-FFF2-40B4-BE49-F238E27FC236}">
                    <a16:creationId xmlns:a16="http://schemas.microsoft.com/office/drawing/2014/main" id="{38989063-2728-4988-935D-75C4C025BD3F}"/>
                  </a:ext>
                </a:extLst>
              </p:cNvPr>
              <p:cNvSpPr/>
              <p:nvPr/>
            </p:nvSpPr>
            <p:spPr>
              <a:xfrm>
                <a:off x="4724880" y="2958612"/>
                <a:ext cx="57145" cy="58024"/>
              </a:xfrm>
              <a:custGeom>
                <a:avLst/>
                <a:gdLst>
                  <a:gd name="connsiteX0" fmla="*/ 57146 w 57145"/>
                  <a:gd name="connsiteY0" fmla="*/ 58025 h 58024"/>
                  <a:gd name="connsiteX1" fmla="*/ 0 w 57145"/>
                  <a:gd name="connsiteY1" fmla="*/ 25119 h 58024"/>
                  <a:gd name="connsiteX2" fmla="*/ 0 w 57145"/>
                  <a:gd name="connsiteY2" fmla="*/ 0 h 58024"/>
                  <a:gd name="connsiteX3" fmla="*/ 57146 w 57145"/>
                  <a:gd name="connsiteY3" fmla="*/ 32906 h 58024"/>
                </a:gdLst>
                <a:ahLst/>
                <a:cxnLst>
                  <a:cxn ang="0">
                    <a:pos x="connsiteX0" y="connsiteY0"/>
                  </a:cxn>
                  <a:cxn ang="0">
                    <a:pos x="connsiteX1" y="connsiteY1"/>
                  </a:cxn>
                  <a:cxn ang="0">
                    <a:pos x="connsiteX2" y="connsiteY2"/>
                  </a:cxn>
                  <a:cxn ang="0">
                    <a:pos x="connsiteX3" y="connsiteY3"/>
                  </a:cxn>
                </a:cxnLst>
                <a:rect l="l" t="t" r="r" b="b"/>
                <a:pathLst>
                  <a:path w="57145" h="58024">
                    <a:moveTo>
                      <a:pt x="57146" y="58025"/>
                    </a:moveTo>
                    <a:lnTo>
                      <a:pt x="0" y="25119"/>
                    </a:lnTo>
                    <a:lnTo>
                      <a:pt x="0" y="0"/>
                    </a:lnTo>
                    <a:lnTo>
                      <a:pt x="57146" y="32906"/>
                    </a:lnTo>
                    <a:close/>
                  </a:path>
                </a:pathLst>
              </a:custGeom>
              <a:solidFill>
                <a:srgbClr val="EB9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1" name="Freeform: Shape 2480">
                <a:extLst>
                  <a:ext uri="{FF2B5EF4-FFF2-40B4-BE49-F238E27FC236}">
                    <a16:creationId xmlns:a16="http://schemas.microsoft.com/office/drawing/2014/main" id="{05B68377-1ECD-4CBF-813E-F7EEEFC5763E}"/>
                  </a:ext>
                </a:extLst>
              </p:cNvPr>
              <p:cNvSpPr/>
              <p:nvPr/>
            </p:nvSpPr>
            <p:spPr>
              <a:xfrm>
                <a:off x="4724880" y="2944671"/>
                <a:ext cx="81385" cy="46846"/>
              </a:xfrm>
              <a:custGeom>
                <a:avLst/>
                <a:gdLst>
                  <a:gd name="connsiteX0" fmla="*/ 81386 w 81385"/>
                  <a:gd name="connsiteY0" fmla="*/ 32906 h 46846"/>
                  <a:gd name="connsiteX1" fmla="*/ 57146 w 81385"/>
                  <a:gd name="connsiteY1" fmla="*/ 46847 h 46846"/>
                  <a:gd name="connsiteX2" fmla="*/ 0 w 81385"/>
                  <a:gd name="connsiteY2" fmla="*/ 13941 h 46846"/>
                  <a:gd name="connsiteX3" fmla="*/ 24240 w 81385"/>
                  <a:gd name="connsiteY3" fmla="*/ 0 h 46846"/>
                </a:gdLst>
                <a:ahLst/>
                <a:cxnLst>
                  <a:cxn ang="0">
                    <a:pos x="connsiteX0" y="connsiteY0"/>
                  </a:cxn>
                  <a:cxn ang="0">
                    <a:pos x="connsiteX1" y="connsiteY1"/>
                  </a:cxn>
                  <a:cxn ang="0">
                    <a:pos x="connsiteX2" y="connsiteY2"/>
                  </a:cxn>
                  <a:cxn ang="0">
                    <a:pos x="connsiteX3" y="connsiteY3"/>
                  </a:cxn>
                </a:cxnLst>
                <a:rect l="l" t="t" r="r" b="b"/>
                <a:pathLst>
                  <a:path w="81385" h="46846">
                    <a:moveTo>
                      <a:pt x="81386" y="32906"/>
                    </a:moveTo>
                    <a:lnTo>
                      <a:pt x="57146" y="46847"/>
                    </a:lnTo>
                    <a:lnTo>
                      <a:pt x="0" y="13941"/>
                    </a:lnTo>
                    <a:lnTo>
                      <a:pt x="24240" y="0"/>
                    </a:lnTo>
                    <a:close/>
                  </a:path>
                </a:pathLst>
              </a:custGeom>
              <a:solidFill>
                <a:srgbClr val="C05F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82" name="Graphic 4">
              <a:extLst>
                <a:ext uri="{FF2B5EF4-FFF2-40B4-BE49-F238E27FC236}">
                  <a16:creationId xmlns:a16="http://schemas.microsoft.com/office/drawing/2014/main" id="{84FB7ED1-A2DF-40A1-A747-5F7CF3F14040}"/>
                </a:ext>
              </a:extLst>
            </p:cNvPr>
            <p:cNvGrpSpPr/>
            <p:nvPr/>
          </p:nvGrpSpPr>
          <p:grpSpPr>
            <a:xfrm>
              <a:off x="4712806" y="2919087"/>
              <a:ext cx="44651" cy="50413"/>
              <a:chOff x="4712806" y="2919087"/>
              <a:chExt cx="44651" cy="50413"/>
            </a:xfrm>
            <a:solidFill>
              <a:schemeClr val="accent1"/>
            </a:solidFill>
          </p:grpSpPr>
          <p:sp>
            <p:nvSpPr>
              <p:cNvPr id="2483" name="Freeform: Shape 2482">
                <a:extLst>
                  <a:ext uri="{FF2B5EF4-FFF2-40B4-BE49-F238E27FC236}">
                    <a16:creationId xmlns:a16="http://schemas.microsoft.com/office/drawing/2014/main" id="{8D21E809-E25A-4CF2-B361-A69D353E6006}"/>
                  </a:ext>
                </a:extLst>
              </p:cNvPr>
              <p:cNvSpPr/>
              <p:nvPr/>
            </p:nvSpPr>
            <p:spPr>
              <a:xfrm>
                <a:off x="4712806" y="2919087"/>
                <a:ext cx="39830" cy="49446"/>
              </a:xfrm>
              <a:custGeom>
                <a:avLst/>
                <a:gdLst>
                  <a:gd name="connsiteX0" fmla="*/ 5166 w 39830"/>
                  <a:gd name="connsiteY0" fmla="*/ 15285 h 49446"/>
                  <a:gd name="connsiteX1" fmla="*/ 29280 w 39830"/>
                  <a:gd name="connsiteY1" fmla="*/ 1093 h 49446"/>
                  <a:gd name="connsiteX2" fmla="*/ 30034 w 39830"/>
                  <a:gd name="connsiteY2" fmla="*/ 1595 h 49446"/>
                  <a:gd name="connsiteX3" fmla="*/ 30034 w 39830"/>
                  <a:gd name="connsiteY3" fmla="*/ 1595 h 49446"/>
                  <a:gd name="connsiteX4" fmla="*/ 39830 w 39830"/>
                  <a:gd name="connsiteY4" fmla="*/ 7247 h 49446"/>
                  <a:gd name="connsiteX5" fmla="*/ 15465 w 39830"/>
                  <a:gd name="connsiteY5" fmla="*/ 49446 h 49446"/>
                  <a:gd name="connsiteX6" fmla="*/ 4915 w 39830"/>
                  <a:gd name="connsiteY6" fmla="*/ 43292 h 49446"/>
                  <a:gd name="connsiteX7" fmla="*/ 5166 w 39830"/>
                  <a:gd name="connsiteY7" fmla="*/ 15285 h 4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30" h="49446">
                    <a:moveTo>
                      <a:pt x="5166" y="15285"/>
                    </a:moveTo>
                    <a:cubicBezTo>
                      <a:pt x="11948" y="3604"/>
                      <a:pt x="22624" y="-2675"/>
                      <a:pt x="29280" y="1093"/>
                    </a:cubicBezTo>
                    <a:cubicBezTo>
                      <a:pt x="29532" y="1218"/>
                      <a:pt x="29783" y="1469"/>
                      <a:pt x="30034" y="1595"/>
                    </a:cubicBezTo>
                    <a:lnTo>
                      <a:pt x="30034" y="1595"/>
                    </a:lnTo>
                    <a:lnTo>
                      <a:pt x="39830" y="7247"/>
                    </a:lnTo>
                    <a:lnTo>
                      <a:pt x="15465" y="49446"/>
                    </a:lnTo>
                    <a:lnTo>
                      <a:pt x="4915" y="43292"/>
                    </a:lnTo>
                    <a:cubicBezTo>
                      <a:pt x="-1742" y="39399"/>
                      <a:pt x="-1616" y="26839"/>
                      <a:pt x="5166" y="15285"/>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4" name="Freeform: Shape 2483">
                <a:extLst>
                  <a:ext uri="{FF2B5EF4-FFF2-40B4-BE49-F238E27FC236}">
                    <a16:creationId xmlns:a16="http://schemas.microsoft.com/office/drawing/2014/main" id="{91C25B90-798C-4B78-9751-D5FBC2B91D68}"/>
                  </a:ext>
                </a:extLst>
              </p:cNvPr>
              <p:cNvSpPr/>
              <p:nvPr/>
            </p:nvSpPr>
            <p:spPr>
              <a:xfrm>
                <a:off x="4723356" y="2925241"/>
                <a:ext cx="34101" cy="44259"/>
              </a:xfrm>
              <a:custGeom>
                <a:avLst/>
                <a:gdLst>
                  <a:gd name="connsiteX0" fmla="*/ 4915 w 34101"/>
                  <a:gd name="connsiteY0" fmla="*/ 43167 h 44259"/>
                  <a:gd name="connsiteX1" fmla="*/ 29029 w 34101"/>
                  <a:gd name="connsiteY1" fmla="*/ 28975 h 44259"/>
                  <a:gd name="connsiteX2" fmla="*/ 29280 w 34101"/>
                  <a:gd name="connsiteY2" fmla="*/ 1093 h 44259"/>
                  <a:gd name="connsiteX3" fmla="*/ 5166 w 34101"/>
                  <a:gd name="connsiteY3" fmla="*/ 15285 h 44259"/>
                  <a:gd name="connsiteX4" fmla="*/ 4915 w 34101"/>
                  <a:gd name="connsiteY4" fmla="*/ 43167 h 44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01" h="44259">
                    <a:moveTo>
                      <a:pt x="4915" y="43167"/>
                    </a:moveTo>
                    <a:cubicBezTo>
                      <a:pt x="11446" y="46935"/>
                      <a:pt x="22247" y="40655"/>
                      <a:pt x="29029" y="28975"/>
                    </a:cubicBezTo>
                    <a:cubicBezTo>
                      <a:pt x="35686" y="17294"/>
                      <a:pt x="35811" y="4860"/>
                      <a:pt x="29280" y="1093"/>
                    </a:cubicBezTo>
                    <a:cubicBezTo>
                      <a:pt x="22749" y="-2675"/>
                      <a:pt x="11948" y="3604"/>
                      <a:pt x="5166" y="15285"/>
                    </a:cubicBezTo>
                    <a:cubicBezTo>
                      <a:pt x="-1616" y="26840"/>
                      <a:pt x="-1742" y="39399"/>
                      <a:pt x="4915" y="43167"/>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485" name="Freeform: Shape 2484">
              <a:extLst>
                <a:ext uri="{FF2B5EF4-FFF2-40B4-BE49-F238E27FC236}">
                  <a16:creationId xmlns:a16="http://schemas.microsoft.com/office/drawing/2014/main" id="{7DC3533E-FDDD-4212-9F8F-8F50E432AAFE}"/>
                </a:ext>
              </a:extLst>
            </p:cNvPr>
            <p:cNvSpPr/>
            <p:nvPr/>
          </p:nvSpPr>
          <p:spPr>
            <a:xfrm>
              <a:off x="4732864" y="2930663"/>
              <a:ext cx="57702" cy="43145"/>
            </a:xfrm>
            <a:custGeom>
              <a:avLst/>
              <a:gdLst>
                <a:gd name="connsiteX0" fmla="*/ 40496 w 57702"/>
                <a:gd name="connsiteY0" fmla="*/ 43146 h 43145"/>
                <a:gd name="connsiteX1" fmla="*/ 57702 w 57702"/>
                <a:gd name="connsiteY1" fmla="*/ 22925 h 43145"/>
                <a:gd name="connsiteX2" fmla="*/ 19019 w 57702"/>
                <a:gd name="connsiteY2" fmla="*/ 695 h 43145"/>
                <a:gd name="connsiteX3" fmla="*/ 3571 w 57702"/>
                <a:gd name="connsiteY3" fmla="*/ 5970 h 43145"/>
                <a:gd name="connsiteX4" fmla="*/ 2064 w 57702"/>
                <a:gd name="connsiteY4" fmla="*/ 21166 h 43145"/>
                <a:gd name="connsiteX5" fmla="*/ 40496 w 57702"/>
                <a:gd name="connsiteY5" fmla="*/ 43146 h 4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702" h="43145">
                  <a:moveTo>
                    <a:pt x="40496" y="43146"/>
                  </a:moveTo>
                  <a:lnTo>
                    <a:pt x="57702" y="22925"/>
                  </a:lnTo>
                  <a:lnTo>
                    <a:pt x="19019" y="695"/>
                  </a:lnTo>
                  <a:cubicBezTo>
                    <a:pt x="19019" y="695"/>
                    <a:pt x="9474" y="-2822"/>
                    <a:pt x="3571" y="5970"/>
                  </a:cubicBezTo>
                  <a:cubicBezTo>
                    <a:pt x="-3462" y="16520"/>
                    <a:pt x="2064" y="21166"/>
                    <a:pt x="2064" y="21166"/>
                  </a:cubicBezTo>
                  <a:lnTo>
                    <a:pt x="40496" y="43146"/>
                  </a:lnTo>
                  <a:close/>
                </a:path>
              </a:pathLst>
            </a:custGeom>
            <a:solidFill>
              <a:srgbClr val="566B6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6" name="Freeform: Shape 2485">
              <a:extLst>
                <a:ext uri="{FF2B5EF4-FFF2-40B4-BE49-F238E27FC236}">
                  <a16:creationId xmlns:a16="http://schemas.microsoft.com/office/drawing/2014/main" id="{2C000E8F-CABD-4755-ACB8-46096F157561}"/>
                </a:ext>
              </a:extLst>
            </p:cNvPr>
            <p:cNvSpPr/>
            <p:nvPr/>
          </p:nvSpPr>
          <p:spPr>
            <a:xfrm>
              <a:off x="4563616" y="2847997"/>
              <a:ext cx="39311" cy="51585"/>
            </a:xfrm>
            <a:custGeom>
              <a:avLst/>
              <a:gdLst>
                <a:gd name="connsiteX0" fmla="*/ 0 w 39311"/>
                <a:gd name="connsiteY0" fmla="*/ 42291 h 51585"/>
                <a:gd name="connsiteX1" fmla="*/ 0 w 39311"/>
                <a:gd name="connsiteY1" fmla="*/ 25964 h 51585"/>
                <a:gd name="connsiteX2" fmla="*/ 9922 w 39311"/>
                <a:gd name="connsiteY2" fmla="*/ 9009 h 51585"/>
                <a:gd name="connsiteX3" fmla="*/ 23361 w 39311"/>
                <a:gd name="connsiteY3" fmla="*/ 1347 h 51585"/>
                <a:gd name="connsiteX4" fmla="*/ 34664 w 39311"/>
                <a:gd name="connsiteY4" fmla="*/ 2352 h 51585"/>
                <a:gd name="connsiteX5" fmla="*/ 34664 w 39311"/>
                <a:gd name="connsiteY5" fmla="*/ 2226 h 51585"/>
                <a:gd name="connsiteX6" fmla="*/ 39311 w 39311"/>
                <a:gd name="connsiteY6" fmla="*/ 5115 h 51585"/>
                <a:gd name="connsiteX7" fmla="*/ 38055 w 39311"/>
                <a:gd name="connsiteY7" fmla="*/ 7124 h 51585"/>
                <a:gd name="connsiteX8" fmla="*/ 38558 w 39311"/>
                <a:gd name="connsiteY8" fmla="*/ 10264 h 51585"/>
                <a:gd name="connsiteX9" fmla="*/ 38558 w 39311"/>
                <a:gd name="connsiteY9" fmla="*/ 18302 h 51585"/>
                <a:gd name="connsiteX10" fmla="*/ 26877 w 39311"/>
                <a:gd name="connsiteY10" fmla="*/ 38398 h 51585"/>
                <a:gd name="connsiteX11" fmla="*/ 12057 w 39311"/>
                <a:gd name="connsiteY11" fmla="*/ 46812 h 51585"/>
                <a:gd name="connsiteX12" fmla="*/ 8917 w 39311"/>
                <a:gd name="connsiteY12" fmla="*/ 51585 h 51585"/>
                <a:gd name="connsiteX13" fmla="*/ 3517 w 39311"/>
                <a:gd name="connsiteY13" fmla="*/ 48194 h 51585"/>
                <a:gd name="connsiteX14" fmla="*/ 2889 w 39311"/>
                <a:gd name="connsiteY14" fmla="*/ 47817 h 51585"/>
                <a:gd name="connsiteX15" fmla="*/ 2512 w 39311"/>
                <a:gd name="connsiteY15" fmla="*/ 47566 h 51585"/>
                <a:gd name="connsiteX16" fmla="*/ 2512 w 39311"/>
                <a:gd name="connsiteY16" fmla="*/ 47566 h 51585"/>
                <a:gd name="connsiteX17" fmla="*/ 0 w 39311"/>
                <a:gd name="connsiteY17" fmla="*/ 42291 h 5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311" h="51585">
                  <a:moveTo>
                    <a:pt x="0" y="42291"/>
                  </a:moveTo>
                  <a:lnTo>
                    <a:pt x="0" y="25964"/>
                  </a:lnTo>
                  <a:cubicBezTo>
                    <a:pt x="0" y="18930"/>
                    <a:pt x="3768" y="12399"/>
                    <a:pt x="9922" y="9009"/>
                  </a:cubicBezTo>
                  <a:lnTo>
                    <a:pt x="23361" y="1347"/>
                  </a:lnTo>
                  <a:cubicBezTo>
                    <a:pt x="27254" y="-914"/>
                    <a:pt x="31650" y="-160"/>
                    <a:pt x="34664" y="2352"/>
                  </a:cubicBezTo>
                  <a:lnTo>
                    <a:pt x="34664" y="2226"/>
                  </a:lnTo>
                  <a:lnTo>
                    <a:pt x="39311" y="5115"/>
                  </a:lnTo>
                  <a:lnTo>
                    <a:pt x="38055" y="7124"/>
                  </a:lnTo>
                  <a:cubicBezTo>
                    <a:pt x="38432" y="8129"/>
                    <a:pt x="38558" y="9134"/>
                    <a:pt x="38558" y="10264"/>
                  </a:cubicBezTo>
                  <a:lnTo>
                    <a:pt x="38558" y="18302"/>
                  </a:lnTo>
                  <a:cubicBezTo>
                    <a:pt x="38558" y="26592"/>
                    <a:pt x="34036" y="34253"/>
                    <a:pt x="26877" y="38398"/>
                  </a:cubicBezTo>
                  <a:lnTo>
                    <a:pt x="12057" y="46812"/>
                  </a:lnTo>
                  <a:lnTo>
                    <a:pt x="8917" y="51585"/>
                  </a:lnTo>
                  <a:lnTo>
                    <a:pt x="3517" y="48194"/>
                  </a:lnTo>
                  <a:cubicBezTo>
                    <a:pt x="3266" y="48069"/>
                    <a:pt x="3140" y="47943"/>
                    <a:pt x="2889" y="47817"/>
                  </a:cubicBezTo>
                  <a:lnTo>
                    <a:pt x="2512" y="47566"/>
                  </a:lnTo>
                  <a:lnTo>
                    <a:pt x="2512" y="47566"/>
                  </a:lnTo>
                  <a:cubicBezTo>
                    <a:pt x="1005" y="46184"/>
                    <a:pt x="0" y="44426"/>
                    <a:pt x="0" y="42291"/>
                  </a:cubicBez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7" name="Freeform: Shape 2486">
              <a:extLst>
                <a:ext uri="{FF2B5EF4-FFF2-40B4-BE49-F238E27FC236}">
                  <a16:creationId xmlns:a16="http://schemas.microsoft.com/office/drawing/2014/main" id="{801CAA3B-73F6-4999-85B6-50A5FF76070A}"/>
                </a:ext>
              </a:extLst>
            </p:cNvPr>
            <p:cNvSpPr/>
            <p:nvPr/>
          </p:nvSpPr>
          <p:spPr>
            <a:xfrm>
              <a:off x="4563616" y="2865923"/>
              <a:ext cx="23611" cy="33282"/>
            </a:xfrm>
            <a:custGeom>
              <a:avLst/>
              <a:gdLst>
                <a:gd name="connsiteX0" fmla="*/ 0 w 23611"/>
                <a:gd name="connsiteY0" fmla="*/ 24365 h 33282"/>
                <a:gd name="connsiteX1" fmla="*/ 0 w 23611"/>
                <a:gd name="connsiteY1" fmla="*/ 8038 h 33282"/>
                <a:gd name="connsiteX2" fmla="*/ 1884 w 23611"/>
                <a:gd name="connsiteY2" fmla="*/ 0 h 33282"/>
                <a:gd name="connsiteX3" fmla="*/ 23612 w 23611"/>
                <a:gd name="connsiteY3" fmla="*/ 13941 h 33282"/>
                <a:gd name="connsiteX4" fmla="*/ 22230 w 23611"/>
                <a:gd name="connsiteY4" fmla="*/ 22984 h 33282"/>
                <a:gd name="connsiteX5" fmla="*/ 8164 w 23611"/>
                <a:gd name="connsiteY5" fmla="*/ 33283 h 33282"/>
                <a:gd name="connsiteX6" fmla="*/ 0 w 23611"/>
                <a:gd name="connsiteY6" fmla="*/ 24365 h 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11" h="33282">
                  <a:moveTo>
                    <a:pt x="0" y="24365"/>
                  </a:moveTo>
                  <a:lnTo>
                    <a:pt x="0" y="8038"/>
                  </a:lnTo>
                  <a:cubicBezTo>
                    <a:pt x="0" y="5149"/>
                    <a:pt x="754" y="2512"/>
                    <a:pt x="1884" y="0"/>
                  </a:cubicBezTo>
                  <a:lnTo>
                    <a:pt x="23612" y="13941"/>
                  </a:lnTo>
                  <a:lnTo>
                    <a:pt x="22230" y="22984"/>
                  </a:lnTo>
                  <a:lnTo>
                    <a:pt x="8164" y="33283"/>
                  </a:lnTo>
                  <a:cubicBezTo>
                    <a:pt x="8164" y="33157"/>
                    <a:pt x="0" y="30143"/>
                    <a:pt x="0" y="24365"/>
                  </a:cubicBezTo>
                  <a:close/>
                </a:path>
              </a:pathLst>
            </a:custGeom>
            <a:solidFill>
              <a:srgbClr val="D072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8" name="Freeform: Shape 2487">
              <a:extLst>
                <a:ext uri="{FF2B5EF4-FFF2-40B4-BE49-F238E27FC236}">
                  <a16:creationId xmlns:a16="http://schemas.microsoft.com/office/drawing/2014/main" id="{326603E6-5F07-4F3F-909B-4D6F23AE51A9}"/>
                </a:ext>
              </a:extLst>
            </p:cNvPr>
            <p:cNvSpPr/>
            <p:nvPr/>
          </p:nvSpPr>
          <p:spPr>
            <a:xfrm>
              <a:off x="4569016" y="2851370"/>
              <a:ext cx="38431" cy="48845"/>
            </a:xfrm>
            <a:custGeom>
              <a:avLst/>
              <a:gdLst>
                <a:gd name="connsiteX0" fmla="*/ 38432 w 38431"/>
                <a:gd name="connsiteY0" fmla="*/ 10157 h 48845"/>
                <a:gd name="connsiteX1" fmla="*/ 38432 w 38431"/>
                <a:gd name="connsiteY1" fmla="*/ 18196 h 48845"/>
                <a:gd name="connsiteX2" fmla="*/ 26752 w 38431"/>
                <a:gd name="connsiteY2" fmla="*/ 38291 h 48845"/>
                <a:gd name="connsiteX3" fmla="*/ 9671 w 38431"/>
                <a:gd name="connsiteY3" fmla="*/ 47961 h 48845"/>
                <a:gd name="connsiteX4" fmla="*/ 0 w 38431"/>
                <a:gd name="connsiteY4" fmla="*/ 42310 h 48845"/>
                <a:gd name="connsiteX5" fmla="*/ 0 w 38431"/>
                <a:gd name="connsiteY5" fmla="*/ 25982 h 48845"/>
                <a:gd name="connsiteX6" fmla="*/ 9922 w 38431"/>
                <a:gd name="connsiteY6" fmla="*/ 9027 h 48845"/>
                <a:gd name="connsiteX7" fmla="*/ 23361 w 38431"/>
                <a:gd name="connsiteY7" fmla="*/ 1366 h 48845"/>
                <a:gd name="connsiteX8" fmla="*/ 38432 w 38431"/>
                <a:gd name="connsiteY8" fmla="*/ 10157 h 48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431" h="48845">
                  <a:moveTo>
                    <a:pt x="38432" y="10157"/>
                  </a:moveTo>
                  <a:lnTo>
                    <a:pt x="38432" y="18196"/>
                  </a:lnTo>
                  <a:cubicBezTo>
                    <a:pt x="38432" y="26485"/>
                    <a:pt x="33911" y="34146"/>
                    <a:pt x="26752" y="38291"/>
                  </a:cubicBezTo>
                  <a:lnTo>
                    <a:pt x="9671" y="47961"/>
                  </a:lnTo>
                  <a:cubicBezTo>
                    <a:pt x="5275" y="50473"/>
                    <a:pt x="0" y="47333"/>
                    <a:pt x="0" y="42310"/>
                  </a:cubicBezTo>
                  <a:lnTo>
                    <a:pt x="0" y="25982"/>
                  </a:lnTo>
                  <a:cubicBezTo>
                    <a:pt x="0" y="18949"/>
                    <a:pt x="3768" y="12418"/>
                    <a:pt x="9922" y="9027"/>
                  </a:cubicBezTo>
                  <a:lnTo>
                    <a:pt x="23361" y="1366"/>
                  </a:lnTo>
                  <a:cubicBezTo>
                    <a:pt x="30017" y="-2528"/>
                    <a:pt x="38432" y="2370"/>
                    <a:pt x="38432" y="10157"/>
                  </a:cubicBezTo>
                  <a:close/>
                </a:path>
              </a:pathLst>
            </a:custGeom>
            <a:solidFill>
              <a:srgbClr val="C05F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9" name="Freeform: Shape 2488">
              <a:extLst>
                <a:ext uri="{FF2B5EF4-FFF2-40B4-BE49-F238E27FC236}">
                  <a16:creationId xmlns:a16="http://schemas.microsoft.com/office/drawing/2014/main" id="{60471940-5282-4228-86DD-7D9D16A2F13C}"/>
                </a:ext>
              </a:extLst>
            </p:cNvPr>
            <p:cNvSpPr/>
            <p:nvPr/>
          </p:nvSpPr>
          <p:spPr>
            <a:xfrm>
              <a:off x="4615909" y="2810494"/>
              <a:ext cx="29720" cy="37092"/>
            </a:xfrm>
            <a:custGeom>
              <a:avLst/>
              <a:gdLst>
                <a:gd name="connsiteX0" fmla="*/ 3848 w 29720"/>
                <a:gd name="connsiteY0" fmla="*/ 11471 h 37092"/>
                <a:gd name="connsiteX1" fmla="*/ 21933 w 29720"/>
                <a:gd name="connsiteY1" fmla="*/ 795 h 37092"/>
                <a:gd name="connsiteX2" fmla="*/ 22436 w 29720"/>
                <a:gd name="connsiteY2" fmla="*/ 1172 h 37092"/>
                <a:gd name="connsiteX3" fmla="*/ 22436 w 29720"/>
                <a:gd name="connsiteY3" fmla="*/ 1172 h 37092"/>
                <a:gd name="connsiteX4" fmla="*/ 29720 w 29720"/>
                <a:gd name="connsiteY4" fmla="*/ 5442 h 37092"/>
                <a:gd name="connsiteX5" fmla="*/ 11509 w 29720"/>
                <a:gd name="connsiteY5" fmla="*/ 37092 h 37092"/>
                <a:gd name="connsiteX6" fmla="*/ 3597 w 29720"/>
                <a:gd name="connsiteY6" fmla="*/ 32445 h 37092"/>
                <a:gd name="connsiteX7" fmla="*/ 3848 w 29720"/>
                <a:gd name="connsiteY7" fmla="*/ 11471 h 37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20" h="37092">
                  <a:moveTo>
                    <a:pt x="3848" y="11471"/>
                  </a:moveTo>
                  <a:cubicBezTo>
                    <a:pt x="8871" y="2679"/>
                    <a:pt x="16910" y="-1968"/>
                    <a:pt x="21933" y="795"/>
                  </a:cubicBezTo>
                  <a:cubicBezTo>
                    <a:pt x="22184" y="921"/>
                    <a:pt x="22310" y="1046"/>
                    <a:pt x="22436" y="1172"/>
                  </a:cubicBezTo>
                  <a:lnTo>
                    <a:pt x="22436" y="1172"/>
                  </a:lnTo>
                  <a:lnTo>
                    <a:pt x="29720" y="5442"/>
                  </a:lnTo>
                  <a:lnTo>
                    <a:pt x="11509" y="37092"/>
                  </a:lnTo>
                  <a:lnTo>
                    <a:pt x="3597" y="32445"/>
                  </a:lnTo>
                  <a:cubicBezTo>
                    <a:pt x="-1302" y="29556"/>
                    <a:pt x="-1176" y="20262"/>
                    <a:pt x="3848" y="11471"/>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0" name="Freeform: Shape 2489">
              <a:extLst>
                <a:ext uri="{FF2B5EF4-FFF2-40B4-BE49-F238E27FC236}">
                  <a16:creationId xmlns:a16="http://schemas.microsoft.com/office/drawing/2014/main" id="{99AD567D-7530-4F64-9AD5-D113BD8A5C3F}"/>
                </a:ext>
              </a:extLst>
            </p:cNvPr>
            <p:cNvSpPr/>
            <p:nvPr/>
          </p:nvSpPr>
          <p:spPr>
            <a:xfrm>
              <a:off x="4618604" y="2811005"/>
              <a:ext cx="36048" cy="41840"/>
            </a:xfrm>
            <a:custGeom>
              <a:avLst/>
              <a:gdLst>
                <a:gd name="connsiteX0" fmla="*/ 27130 w 36048"/>
                <a:gd name="connsiteY0" fmla="*/ 5149 h 41840"/>
                <a:gd name="connsiteX1" fmla="*/ 26943 w 36048"/>
                <a:gd name="connsiteY1" fmla="*/ 26070 h 41840"/>
                <a:gd name="connsiteX2" fmla="*/ 8919 w 36048"/>
                <a:gd name="connsiteY2" fmla="*/ 36691 h 41840"/>
                <a:gd name="connsiteX3" fmla="*/ 9105 w 36048"/>
                <a:gd name="connsiteY3" fmla="*/ 15771 h 41840"/>
                <a:gd name="connsiteX4" fmla="*/ 27130 w 36048"/>
                <a:gd name="connsiteY4" fmla="*/ 5149 h 41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48" h="41840">
                  <a:moveTo>
                    <a:pt x="27130" y="5149"/>
                  </a:moveTo>
                  <a:cubicBezTo>
                    <a:pt x="32056" y="7993"/>
                    <a:pt x="31972" y="17360"/>
                    <a:pt x="26943" y="26070"/>
                  </a:cubicBezTo>
                  <a:cubicBezTo>
                    <a:pt x="21914" y="34780"/>
                    <a:pt x="13844" y="39535"/>
                    <a:pt x="8919" y="36691"/>
                  </a:cubicBezTo>
                  <a:cubicBezTo>
                    <a:pt x="3993" y="33847"/>
                    <a:pt x="4077" y="24481"/>
                    <a:pt x="9105" y="15771"/>
                  </a:cubicBezTo>
                  <a:cubicBezTo>
                    <a:pt x="14134" y="7061"/>
                    <a:pt x="22204" y="2305"/>
                    <a:pt x="27130" y="5149"/>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1" name="Freeform: Shape 2490">
              <a:extLst>
                <a:ext uri="{FF2B5EF4-FFF2-40B4-BE49-F238E27FC236}">
                  <a16:creationId xmlns:a16="http://schemas.microsoft.com/office/drawing/2014/main" id="{13DB4146-BA96-4EF6-8BC3-8B65E560D71B}"/>
                </a:ext>
              </a:extLst>
            </p:cNvPr>
            <p:cNvSpPr/>
            <p:nvPr/>
          </p:nvSpPr>
          <p:spPr>
            <a:xfrm>
              <a:off x="4673086" y="2726927"/>
              <a:ext cx="39736" cy="49446"/>
            </a:xfrm>
            <a:custGeom>
              <a:avLst/>
              <a:gdLst>
                <a:gd name="connsiteX0" fmla="*/ 5072 w 39736"/>
                <a:gd name="connsiteY0" fmla="*/ 15285 h 49446"/>
                <a:gd name="connsiteX1" fmla="*/ 29186 w 39736"/>
                <a:gd name="connsiteY1" fmla="*/ 1093 h 49446"/>
                <a:gd name="connsiteX2" fmla="*/ 29940 w 39736"/>
                <a:gd name="connsiteY2" fmla="*/ 1595 h 49446"/>
                <a:gd name="connsiteX3" fmla="*/ 29940 w 39736"/>
                <a:gd name="connsiteY3" fmla="*/ 1595 h 49446"/>
                <a:gd name="connsiteX4" fmla="*/ 39736 w 39736"/>
                <a:gd name="connsiteY4" fmla="*/ 7247 h 49446"/>
                <a:gd name="connsiteX5" fmla="*/ 15371 w 39736"/>
                <a:gd name="connsiteY5" fmla="*/ 49446 h 49446"/>
                <a:gd name="connsiteX6" fmla="*/ 4821 w 39736"/>
                <a:gd name="connsiteY6" fmla="*/ 43292 h 49446"/>
                <a:gd name="connsiteX7" fmla="*/ 5072 w 39736"/>
                <a:gd name="connsiteY7" fmla="*/ 15285 h 4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36" h="49446">
                  <a:moveTo>
                    <a:pt x="5072" y="15285"/>
                  </a:moveTo>
                  <a:cubicBezTo>
                    <a:pt x="11728" y="3604"/>
                    <a:pt x="22530" y="-2675"/>
                    <a:pt x="29186" y="1093"/>
                  </a:cubicBezTo>
                  <a:cubicBezTo>
                    <a:pt x="29437" y="1218"/>
                    <a:pt x="29688" y="1469"/>
                    <a:pt x="29940" y="1595"/>
                  </a:cubicBezTo>
                  <a:lnTo>
                    <a:pt x="29940" y="1595"/>
                  </a:lnTo>
                  <a:lnTo>
                    <a:pt x="39736" y="7247"/>
                  </a:lnTo>
                  <a:lnTo>
                    <a:pt x="15371" y="49446"/>
                  </a:lnTo>
                  <a:lnTo>
                    <a:pt x="4821" y="43292"/>
                  </a:lnTo>
                  <a:cubicBezTo>
                    <a:pt x="-1710" y="39399"/>
                    <a:pt x="-1585" y="26839"/>
                    <a:pt x="5072" y="15285"/>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2" name="Freeform: Shape 2491">
              <a:extLst>
                <a:ext uri="{FF2B5EF4-FFF2-40B4-BE49-F238E27FC236}">
                  <a16:creationId xmlns:a16="http://schemas.microsoft.com/office/drawing/2014/main" id="{8CE77065-96DE-4ADE-ADA0-7AA5A1FAE2F5}"/>
                </a:ext>
              </a:extLst>
            </p:cNvPr>
            <p:cNvSpPr/>
            <p:nvPr/>
          </p:nvSpPr>
          <p:spPr>
            <a:xfrm>
              <a:off x="4683636" y="2733081"/>
              <a:ext cx="34053" cy="44259"/>
            </a:xfrm>
            <a:custGeom>
              <a:avLst/>
              <a:gdLst>
                <a:gd name="connsiteX0" fmla="*/ 4821 w 34053"/>
                <a:gd name="connsiteY0" fmla="*/ 43167 h 44259"/>
                <a:gd name="connsiteX1" fmla="*/ 28935 w 34053"/>
                <a:gd name="connsiteY1" fmla="*/ 28975 h 44259"/>
                <a:gd name="connsiteX2" fmla="*/ 29186 w 34053"/>
                <a:gd name="connsiteY2" fmla="*/ 1093 h 44259"/>
                <a:gd name="connsiteX3" fmla="*/ 5072 w 34053"/>
                <a:gd name="connsiteY3" fmla="*/ 15285 h 44259"/>
                <a:gd name="connsiteX4" fmla="*/ 4821 w 34053"/>
                <a:gd name="connsiteY4" fmla="*/ 43167 h 44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3" h="44259">
                  <a:moveTo>
                    <a:pt x="4821" y="43167"/>
                  </a:moveTo>
                  <a:cubicBezTo>
                    <a:pt x="11352" y="46935"/>
                    <a:pt x="22153" y="40655"/>
                    <a:pt x="28935" y="28975"/>
                  </a:cubicBezTo>
                  <a:cubicBezTo>
                    <a:pt x="35717" y="17294"/>
                    <a:pt x="35717" y="4860"/>
                    <a:pt x="29186" y="1093"/>
                  </a:cubicBezTo>
                  <a:cubicBezTo>
                    <a:pt x="22655" y="-2675"/>
                    <a:pt x="11854" y="3604"/>
                    <a:pt x="5072" y="15285"/>
                  </a:cubicBezTo>
                  <a:cubicBezTo>
                    <a:pt x="-1585" y="26840"/>
                    <a:pt x="-1710" y="39399"/>
                    <a:pt x="4821" y="43167"/>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3" name="Freeform: Shape 2492">
              <a:extLst>
                <a:ext uri="{FF2B5EF4-FFF2-40B4-BE49-F238E27FC236}">
                  <a16:creationId xmlns:a16="http://schemas.microsoft.com/office/drawing/2014/main" id="{CCBA3036-0A9D-4FC2-BC59-7C9D5C9419B7}"/>
                </a:ext>
              </a:extLst>
            </p:cNvPr>
            <p:cNvSpPr/>
            <p:nvPr/>
          </p:nvSpPr>
          <p:spPr>
            <a:xfrm>
              <a:off x="4706166" y="2778258"/>
              <a:ext cx="73849" cy="190652"/>
            </a:xfrm>
            <a:custGeom>
              <a:avLst/>
              <a:gdLst>
                <a:gd name="connsiteX0" fmla="*/ 47098 w 73849"/>
                <a:gd name="connsiteY0" fmla="*/ 27129 h 190652"/>
                <a:gd name="connsiteX1" fmla="*/ 0 w 73849"/>
                <a:gd name="connsiteY1" fmla="*/ 0 h 190652"/>
                <a:gd name="connsiteX2" fmla="*/ 27505 w 73849"/>
                <a:gd name="connsiteY2" fmla="*/ 164027 h 190652"/>
                <a:gd name="connsiteX3" fmla="*/ 73850 w 73849"/>
                <a:gd name="connsiteY3" fmla="*/ 190653 h 190652"/>
              </a:gdLst>
              <a:ahLst/>
              <a:cxnLst>
                <a:cxn ang="0">
                  <a:pos x="connsiteX0" y="connsiteY0"/>
                </a:cxn>
                <a:cxn ang="0">
                  <a:pos x="connsiteX1" y="connsiteY1"/>
                </a:cxn>
                <a:cxn ang="0">
                  <a:pos x="connsiteX2" y="connsiteY2"/>
                </a:cxn>
                <a:cxn ang="0">
                  <a:pos x="connsiteX3" y="connsiteY3"/>
                </a:cxn>
              </a:cxnLst>
              <a:rect l="l" t="t" r="r" b="b"/>
              <a:pathLst>
                <a:path w="73849" h="190652">
                  <a:moveTo>
                    <a:pt x="47098" y="27129"/>
                  </a:moveTo>
                  <a:lnTo>
                    <a:pt x="0" y="0"/>
                  </a:lnTo>
                  <a:lnTo>
                    <a:pt x="27505" y="164027"/>
                  </a:lnTo>
                  <a:lnTo>
                    <a:pt x="73850" y="190653"/>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4" name="Freeform: Shape 2493">
              <a:extLst>
                <a:ext uri="{FF2B5EF4-FFF2-40B4-BE49-F238E27FC236}">
                  <a16:creationId xmlns:a16="http://schemas.microsoft.com/office/drawing/2014/main" id="{E85F02FA-D02D-48F3-A73F-FBB6AD501D71}"/>
                </a:ext>
              </a:extLst>
            </p:cNvPr>
            <p:cNvSpPr/>
            <p:nvPr/>
          </p:nvSpPr>
          <p:spPr>
            <a:xfrm>
              <a:off x="4753264" y="2785040"/>
              <a:ext cx="50740" cy="183870"/>
            </a:xfrm>
            <a:custGeom>
              <a:avLst/>
              <a:gdLst>
                <a:gd name="connsiteX0" fmla="*/ 0 w 50740"/>
                <a:gd name="connsiteY0" fmla="*/ 20346 h 183870"/>
                <a:gd name="connsiteX1" fmla="*/ 17206 w 50740"/>
                <a:gd name="connsiteY1" fmla="*/ 0 h 183870"/>
                <a:gd name="connsiteX2" fmla="*/ 50740 w 50740"/>
                <a:gd name="connsiteY2" fmla="*/ 170055 h 183870"/>
                <a:gd name="connsiteX3" fmla="*/ 26752 w 50740"/>
                <a:gd name="connsiteY3" fmla="*/ 183871 h 183870"/>
              </a:gdLst>
              <a:ahLst/>
              <a:cxnLst>
                <a:cxn ang="0">
                  <a:pos x="connsiteX0" y="connsiteY0"/>
                </a:cxn>
                <a:cxn ang="0">
                  <a:pos x="connsiteX1" y="connsiteY1"/>
                </a:cxn>
                <a:cxn ang="0">
                  <a:pos x="connsiteX2" y="connsiteY2"/>
                </a:cxn>
                <a:cxn ang="0">
                  <a:pos x="connsiteX3" y="connsiteY3"/>
                </a:cxn>
              </a:cxnLst>
              <a:rect l="l" t="t" r="r" b="b"/>
              <a:pathLst>
                <a:path w="50740" h="183870">
                  <a:moveTo>
                    <a:pt x="0" y="20346"/>
                  </a:moveTo>
                  <a:lnTo>
                    <a:pt x="17206" y="0"/>
                  </a:lnTo>
                  <a:lnTo>
                    <a:pt x="50740" y="170055"/>
                  </a:lnTo>
                  <a:lnTo>
                    <a:pt x="26752" y="183871"/>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5" name="Freeform: Shape 2494">
              <a:extLst>
                <a:ext uri="{FF2B5EF4-FFF2-40B4-BE49-F238E27FC236}">
                  <a16:creationId xmlns:a16="http://schemas.microsoft.com/office/drawing/2014/main" id="{1B7E9FF6-76CE-4BAE-9814-94BBC6E8BF1F}"/>
                </a:ext>
              </a:extLst>
            </p:cNvPr>
            <p:cNvSpPr/>
            <p:nvPr/>
          </p:nvSpPr>
          <p:spPr>
            <a:xfrm>
              <a:off x="4693176" y="2738503"/>
              <a:ext cx="57702" cy="43145"/>
            </a:xfrm>
            <a:custGeom>
              <a:avLst/>
              <a:gdLst>
                <a:gd name="connsiteX0" fmla="*/ 40496 w 57702"/>
                <a:gd name="connsiteY0" fmla="*/ 43146 h 43145"/>
                <a:gd name="connsiteX1" fmla="*/ 57702 w 57702"/>
                <a:gd name="connsiteY1" fmla="*/ 22925 h 43145"/>
                <a:gd name="connsiteX2" fmla="*/ 19019 w 57702"/>
                <a:gd name="connsiteY2" fmla="*/ 695 h 43145"/>
                <a:gd name="connsiteX3" fmla="*/ 3571 w 57702"/>
                <a:gd name="connsiteY3" fmla="*/ 5970 h 43145"/>
                <a:gd name="connsiteX4" fmla="*/ 2064 w 57702"/>
                <a:gd name="connsiteY4" fmla="*/ 21167 h 43145"/>
                <a:gd name="connsiteX5" fmla="*/ 40496 w 57702"/>
                <a:gd name="connsiteY5" fmla="*/ 43146 h 4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702" h="43145">
                  <a:moveTo>
                    <a:pt x="40496" y="43146"/>
                  </a:moveTo>
                  <a:lnTo>
                    <a:pt x="57702" y="22925"/>
                  </a:lnTo>
                  <a:lnTo>
                    <a:pt x="19019" y="695"/>
                  </a:lnTo>
                  <a:cubicBezTo>
                    <a:pt x="19019" y="695"/>
                    <a:pt x="9474" y="-2822"/>
                    <a:pt x="3571" y="5970"/>
                  </a:cubicBezTo>
                  <a:cubicBezTo>
                    <a:pt x="-3462" y="16520"/>
                    <a:pt x="2064" y="21167"/>
                    <a:pt x="2064" y="21167"/>
                  </a:cubicBezTo>
                  <a:lnTo>
                    <a:pt x="40496" y="43146"/>
                  </a:lnTo>
                  <a:close/>
                </a:path>
              </a:pathLst>
            </a:custGeom>
            <a:solidFill>
              <a:srgbClr val="566B6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6" name="Freeform: Shape 2495">
              <a:extLst>
                <a:ext uri="{FF2B5EF4-FFF2-40B4-BE49-F238E27FC236}">
                  <a16:creationId xmlns:a16="http://schemas.microsoft.com/office/drawing/2014/main" id="{27CB4E6D-F664-4734-B483-408E8A24DCAC}"/>
                </a:ext>
              </a:extLst>
            </p:cNvPr>
            <p:cNvSpPr/>
            <p:nvPr/>
          </p:nvSpPr>
          <p:spPr>
            <a:xfrm>
              <a:off x="4640857" y="2754646"/>
              <a:ext cx="92814" cy="90553"/>
            </a:xfrm>
            <a:custGeom>
              <a:avLst/>
              <a:gdLst>
                <a:gd name="connsiteX0" fmla="*/ 47098 w 92814"/>
                <a:gd name="connsiteY0" fmla="*/ 90554 h 90553"/>
                <a:gd name="connsiteX1" fmla="*/ 92815 w 92814"/>
                <a:gd name="connsiteY1" fmla="*/ 27003 h 90553"/>
                <a:gd name="connsiteX2" fmla="*/ 45591 w 92814"/>
                <a:gd name="connsiteY2" fmla="*/ 0 h 90553"/>
                <a:gd name="connsiteX3" fmla="*/ 0 w 92814"/>
                <a:gd name="connsiteY3" fmla="*/ 63551 h 90553"/>
              </a:gdLst>
              <a:ahLst/>
              <a:cxnLst>
                <a:cxn ang="0">
                  <a:pos x="connsiteX0" y="connsiteY0"/>
                </a:cxn>
                <a:cxn ang="0">
                  <a:pos x="connsiteX1" y="connsiteY1"/>
                </a:cxn>
                <a:cxn ang="0">
                  <a:pos x="connsiteX2" y="connsiteY2"/>
                </a:cxn>
                <a:cxn ang="0">
                  <a:pos x="connsiteX3" y="connsiteY3"/>
                </a:cxn>
              </a:cxnLst>
              <a:rect l="l" t="t" r="r" b="b"/>
              <a:pathLst>
                <a:path w="92814" h="90553">
                  <a:moveTo>
                    <a:pt x="47098" y="90554"/>
                  </a:moveTo>
                  <a:lnTo>
                    <a:pt x="92815" y="27003"/>
                  </a:lnTo>
                  <a:lnTo>
                    <a:pt x="45591" y="0"/>
                  </a:lnTo>
                  <a:lnTo>
                    <a:pt x="0" y="63551"/>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7" name="Freeform: Shape 2496">
              <a:extLst>
                <a:ext uri="{FF2B5EF4-FFF2-40B4-BE49-F238E27FC236}">
                  <a16:creationId xmlns:a16="http://schemas.microsoft.com/office/drawing/2014/main" id="{46FB249B-E645-4F6C-94FF-13E5A8AED53A}"/>
                </a:ext>
              </a:extLst>
            </p:cNvPr>
            <p:cNvSpPr/>
            <p:nvPr/>
          </p:nvSpPr>
          <p:spPr>
            <a:xfrm>
              <a:off x="4640857" y="2818197"/>
              <a:ext cx="54257" cy="42576"/>
            </a:xfrm>
            <a:custGeom>
              <a:avLst/>
              <a:gdLst>
                <a:gd name="connsiteX0" fmla="*/ 0 w 54257"/>
                <a:gd name="connsiteY0" fmla="*/ 0 h 42576"/>
                <a:gd name="connsiteX1" fmla="*/ 7913 w 54257"/>
                <a:gd name="connsiteY1" fmla="*/ 10801 h 42576"/>
                <a:gd name="connsiteX2" fmla="*/ 54257 w 54257"/>
                <a:gd name="connsiteY2" fmla="*/ 42577 h 42576"/>
                <a:gd name="connsiteX3" fmla="*/ 47098 w 54257"/>
                <a:gd name="connsiteY3" fmla="*/ 27003 h 42576"/>
              </a:gdLst>
              <a:ahLst/>
              <a:cxnLst>
                <a:cxn ang="0">
                  <a:pos x="connsiteX0" y="connsiteY0"/>
                </a:cxn>
                <a:cxn ang="0">
                  <a:pos x="connsiteX1" y="connsiteY1"/>
                </a:cxn>
                <a:cxn ang="0">
                  <a:pos x="connsiteX2" y="connsiteY2"/>
                </a:cxn>
                <a:cxn ang="0">
                  <a:pos x="connsiteX3" y="connsiteY3"/>
                </a:cxn>
              </a:cxnLst>
              <a:rect l="l" t="t" r="r" b="b"/>
              <a:pathLst>
                <a:path w="54257" h="42576">
                  <a:moveTo>
                    <a:pt x="0" y="0"/>
                  </a:moveTo>
                  <a:lnTo>
                    <a:pt x="7913" y="10801"/>
                  </a:lnTo>
                  <a:lnTo>
                    <a:pt x="54257" y="42577"/>
                  </a:lnTo>
                  <a:lnTo>
                    <a:pt x="47098" y="27003"/>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8" name="Freeform: Shape 2497">
              <a:extLst>
                <a:ext uri="{FF2B5EF4-FFF2-40B4-BE49-F238E27FC236}">
                  <a16:creationId xmlns:a16="http://schemas.microsoft.com/office/drawing/2014/main" id="{A6ECE197-9E30-418F-A457-3102A32F2F29}"/>
                </a:ext>
              </a:extLst>
            </p:cNvPr>
            <p:cNvSpPr/>
            <p:nvPr/>
          </p:nvSpPr>
          <p:spPr>
            <a:xfrm>
              <a:off x="4687955" y="2781649"/>
              <a:ext cx="61667" cy="79627"/>
            </a:xfrm>
            <a:custGeom>
              <a:avLst/>
              <a:gdLst>
                <a:gd name="connsiteX0" fmla="*/ 45717 w 61667"/>
                <a:gd name="connsiteY0" fmla="*/ 0 h 79627"/>
                <a:gd name="connsiteX1" fmla="*/ 61667 w 61667"/>
                <a:gd name="connsiteY1" fmla="*/ 18839 h 79627"/>
                <a:gd name="connsiteX2" fmla="*/ 10801 w 61667"/>
                <a:gd name="connsiteY2" fmla="*/ 79627 h 79627"/>
                <a:gd name="connsiteX3" fmla="*/ 0 w 61667"/>
                <a:gd name="connsiteY3" fmla="*/ 63551 h 79627"/>
              </a:gdLst>
              <a:ahLst/>
              <a:cxnLst>
                <a:cxn ang="0">
                  <a:pos x="connsiteX0" y="connsiteY0"/>
                </a:cxn>
                <a:cxn ang="0">
                  <a:pos x="connsiteX1" y="connsiteY1"/>
                </a:cxn>
                <a:cxn ang="0">
                  <a:pos x="connsiteX2" y="connsiteY2"/>
                </a:cxn>
                <a:cxn ang="0">
                  <a:pos x="connsiteX3" y="connsiteY3"/>
                </a:cxn>
              </a:cxnLst>
              <a:rect l="l" t="t" r="r" b="b"/>
              <a:pathLst>
                <a:path w="61667" h="79627">
                  <a:moveTo>
                    <a:pt x="45717" y="0"/>
                  </a:moveTo>
                  <a:lnTo>
                    <a:pt x="61667" y="18839"/>
                  </a:lnTo>
                  <a:lnTo>
                    <a:pt x="10801" y="79627"/>
                  </a:lnTo>
                  <a:lnTo>
                    <a:pt x="0" y="63551"/>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9" name="Freeform: Shape 2498">
              <a:extLst>
                <a:ext uri="{FF2B5EF4-FFF2-40B4-BE49-F238E27FC236}">
                  <a16:creationId xmlns:a16="http://schemas.microsoft.com/office/drawing/2014/main" id="{7C073B27-A301-47F0-BA08-5B869FBDEE1C}"/>
                </a:ext>
              </a:extLst>
            </p:cNvPr>
            <p:cNvSpPr/>
            <p:nvPr/>
          </p:nvSpPr>
          <p:spPr>
            <a:xfrm>
              <a:off x="4626413" y="2861653"/>
              <a:ext cx="61416" cy="53126"/>
            </a:xfrm>
            <a:custGeom>
              <a:avLst/>
              <a:gdLst>
                <a:gd name="connsiteX0" fmla="*/ 46345 w 61416"/>
                <a:gd name="connsiteY0" fmla="*/ 0 h 53126"/>
                <a:gd name="connsiteX1" fmla="*/ 61416 w 61416"/>
                <a:gd name="connsiteY1" fmla="*/ 17709 h 53126"/>
                <a:gd name="connsiteX2" fmla="*/ 0 w 61416"/>
                <a:gd name="connsiteY2" fmla="*/ 53127 h 53126"/>
                <a:gd name="connsiteX3" fmla="*/ 0 w 61416"/>
                <a:gd name="connsiteY3" fmla="*/ 26249 h 53126"/>
              </a:gdLst>
              <a:ahLst/>
              <a:cxnLst>
                <a:cxn ang="0">
                  <a:pos x="connsiteX0" y="connsiteY0"/>
                </a:cxn>
                <a:cxn ang="0">
                  <a:pos x="connsiteX1" y="connsiteY1"/>
                </a:cxn>
                <a:cxn ang="0">
                  <a:pos x="connsiteX2" y="connsiteY2"/>
                </a:cxn>
                <a:cxn ang="0">
                  <a:pos x="connsiteX3" y="connsiteY3"/>
                </a:cxn>
              </a:cxnLst>
              <a:rect l="l" t="t" r="r" b="b"/>
              <a:pathLst>
                <a:path w="61416" h="53126">
                  <a:moveTo>
                    <a:pt x="46345" y="0"/>
                  </a:moveTo>
                  <a:lnTo>
                    <a:pt x="61416" y="17709"/>
                  </a:lnTo>
                  <a:lnTo>
                    <a:pt x="0" y="53127"/>
                  </a:lnTo>
                  <a:lnTo>
                    <a:pt x="0" y="26249"/>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0" name="Freeform: Shape 2499">
              <a:extLst>
                <a:ext uri="{FF2B5EF4-FFF2-40B4-BE49-F238E27FC236}">
                  <a16:creationId xmlns:a16="http://schemas.microsoft.com/office/drawing/2014/main" id="{AD11479D-5242-40CE-9802-0BD982E2F419}"/>
                </a:ext>
              </a:extLst>
            </p:cNvPr>
            <p:cNvSpPr/>
            <p:nvPr/>
          </p:nvSpPr>
          <p:spPr>
            <a:xfrm>
              <a:off x="4628208" y="2823348"/>
              <a:ext cx="65775" cy="46844"/>
            </a:xfrm>
            <a:custGeom>
              <a:avLst/>
              <a:gdLst>
                <a:gd name="connsiteX0" fmla="*/ 50704 w 65775"/>
                <a:gd name="connsiteY0" fmla="*/ 46845 h 46844"/>
                <a:gd name="connsiteX1" fmla="*/ 65775 w 65775"/>
                <a:gd name="connsiteY1" fmla="*/ 29136 h 46844"/>
                <a:gd name="connsiteX2" fmla="*/ 16542 w 65775"/>
                <a:gd name="connsiteY2" fmla="*/ 626 h 46844"/>
                <a:gd name="connsiteX3" fmla="*/ 3104 w 65775"/>
                <a:gd name="connsiteY3" fmla="*/ 5273 h 46844"/>
                <a:gd name="connsiteX4" fmla="*/ 1848 w 65775"/>
                <a:gd name="connsiteY4" fmla="*/ 18586 h 46844"/>
                <a:gd name="connsiteX5" fmla="*/ 50704 w 65775"/>
                <a:gd name="connsiteY5" fmla="*/ 46845 h 4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775" h="46844">
                  <a:moveTo>
                    <a:pt x="50704" y="46845"/>
                  </a:moveTo>
                  <a:lnTo>
                    <a:pt x="65775" y="29136"/>
                  </a:lnTo>
                  <a:lnTo>
                    <a:pt x="16542" y="626"/>
                  </a:lnTo>
                  <a:cubicBezTo>
                    <a:pt x="16542" y="626"/>
                    <a:pt x="8253" y="-2514"/>
                    <a:pt x="3104" y="5273"/>
                  </a:cubicBezTo>
                  <a:cubicBezTo>
                    <a:pt x="-3051" y="14441"/>
                    <a:pt x="1848" y="18586"/>
                    <a:pt x="1848" y="18586"/>
                  </a:cubicBezTo>
                  <a:lnTo>
                    <a:pt x="50704" y="46845"/>
                  </a:lnTo>
                  <a:close/>
                </a:path>
              </a:pathLst>
            </a:custGeom>
            <a:solidFill>
              <a:srgbClr val="566B6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1" name="Freeform: Shape 2500">
              <a:extLst>
                <a:ext uri="{FF2B5EF4-FFF2-40B4-BE49-F238E27FC236}">
                  <a16:creationId xmlns:a16="http://schemas.microsoft.com/office/drawing/2014/main" id="{4B084A47-785A-4F32-A987-B8A9D28BBD08}"/>
                </a:ext>
              </a:extLst>
            </p:cNvPr>
            <p:cNvSpPr/>
            <p:nvPr/>
          </p:nvSpPr>
          <p:spPr>
            <a:xfrm>
              <a:off x="4730358" y="2760084"/>
              <a:ext cx="39736" cy="49446"/>
            </a:xfrm>
            <a:custGeom>
              <a:avLst/>
              <a:gdLst>
                <a:gd name="connsiteX0" fmla="*/ 5072 w 39736"/>
                <a:gd name="connsiteY0" fmla="*/ 15285 h 49446"/>
                <a:gd name="connsiteX1" fmla="*/ 29186 w 39736"/>
                <a:gd name="connsiteY1" fmla="*/ 1093 h 49446"/>
                <a:gd name="connsiteX2" fmla="*/ 29940 w 39736"/>
                <a:gd name="connsiteY2" fmla="*/ 1595 h 49446"/>
                <a:gd name="connsiteX3" fmla="*/ 29940 w 39736"/>
                <a:gd name="connsiteY3" fmla="*/ 1595 h 49446"/>
                <a:gd name="connsiteX4" fmla="*/ 39736 w 39736"/>
                <a:gd name="connsiteY4" fmla="*/ 7247 h 49446"/>
                <a:gd name="connsiteX5" fmla="*/ 15371 w 39736"/>
                <a:gd name="connsiteY5" fmla="*/ 49446 h 49446"/>
                <a:gd name="connsiteX6" fmla="*/ 4821 w 39736"/>
                <a:gd name="connsiteY6" fmla="*/ 43292 h 49446"/>
                <a:gd name="connsiteX7" fmla="*/ 5072 w 39736"/>
                <a:gd name="connsiteY7" fmla="*/ 15285 h 4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36" h="49446">
                  <a:moveTo>
                    <a:pt x="5072" y="15285"/>
                  </a:moveTo>
                  <a:cubicBezTo>
                    <a:pt x="11854" y="3604"/>
                    <a:pt x="22530" y="-2675"/>
                    <a:pt x="29186" y="1093"/>
                  </a:cubicBezTo>
                  <a:cubicBezTo>
                    <a:pt x="29437" y="1218"/>
                    <a:pt x="29689" y="1469"/>
                    <a:pt x="29940" y="1595"/>
                  </a:cubicBezTo>
                  <a:lnTo>
                    <a:pt x="29940" y="1595"/>
                  </a:lnTo>
                  <a:lnTo>
                    <a:pt x="39736" y="7247"/>
                  </a:lnTo>
                  <a:lnTo>
                    <a:pt x="15371" y="49446"/>
                  </a:lnTo>
                  <a:lnTo>
                    <a:pt x="4821" y="43292"/>
                  </a:lnTo>
                  <a:cubicBezTo>
                    <a:pt x="-1710" y="39399"/>
                    <a:pt x="-1585" y="26840"/>
                    <a:pt x="5072" y="15285"/>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2" name="Freeform: Shape 2501">
              <a:extLst>
                <a:ext uri="{FF2B5EF4-FFF2-40B4-BE49-F238E27FC236}">
                  <a16:creationId xmlns:a16="http://schemas.microsoft.com/office/drawing/2014/main" id="{0853BF33-4536-4245-9C99-B43D534B5E22}"/>
                </a:ext>
              </a:extLst>
            </p:cNvPr>
            <p:cNvSpPr/>
            <p:nvPr/>
          </p:nvSpPr>
          <p:spPr>
            <a:xfrm>
              <a:off x="4740861" y="2766238"/>
              <a:ext cx="34053" cy="44259"/>
            </a:xfrm>
            <a:custGeom>
              <a:avLst/>
              <a:gdLst>
                <a:gd name="connsiteX0" fmla="*/ 4867 w 34053"/>
                <a:gd name="connsiteY0" fmla="*/ 43167 h 44259"/>
                <a:gd name="connsiteX1" fmla="*/ 28982 w 34053"/>
                <a:gd name="connsiteY1" fmla="*/ 28974 h 44259"/>
                <a:gd name="connsiteX2" fmla="*/ 29233 w 34053"/>
                <a:gd name="connsiteY2" fmla="*/ 1093 h 44259"/>
                <a:gd name="connsiteX3" fmla="*/ 5118 w 34053"/>
                <a:gd name="connsiteY3" fmla="*/ 15285 h 44259"/>
                <a:gd name="connsiteX4" fmla="*/ 4867 w 34053"/>
                <a:gd name="connsiteY4" fmla="*/ 43167 h 44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3" h="44259">
                  <a:moveTo>
                    <a:pt x="4867" y="43167"/>
                  </a:moveTo>
                  <a:cubicBezTo>
                    <a:pt x="11398" y="46935"/>
                    <a:pt x="22199" y="40655"/>
                    <a:pt x="28982" y="28974"/>
                  </a:cubicBezTo>
                  <a:cubicBezTo>
                    <a:pt x="35638" y="17294"/>
                    <a:pt x="35763" y="4860"/>
                    <a:pt x="29233" y="1093"/>
                  </a:cubicBezTo>
                  <a:cubicBezTo>
                    <a:pt x="22702" y="-2675"/>
                    <a:pt x="11900" y="3604"/>
                    <a:pt x="5118" y="15285"/>
                  </a:cubicBezTo>
                  <a:cubicBezTo>
                    <a:pt x="-1664" y="26965"/>
                    <a:pt x="-1664" y="39399"/>
                    <a:pt x="4867" y="43167"/>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3" name="Freeform: Shape 2502">
              <a:extLst>
                <a:ext uri="{FF2B5EF4-FFF2-40B4-BE49-F238E27FC236}">
                  <a16:creationId xmlns:a16="http://schemas.microsoft.com/office/drawing/2014/main" id="{B3FB2339-971F-4776-9C4A-089CF4CCE27F}"/>
                </a:ext>
              </a:extLst>
            </p:cNvPr>
            <p:cNvSpPr/>
            <p:nvPr/>
          </p:nvSpPr>
          <p:spPr>
            <a:xfrm>
              <a:off x="4670748" y="2842269"/>
              <a:ext cx="29766" cy="37092"/>
            </a:xfrm>
            <a:custGeom>
              <a:avLst/>
              <a:gdLst>
                <a:gd name="connsiteX0" fmla="*/ 3894 w 29766"/>
                <a:gd name="connsiteY0" fmla="*/ 11471 h 37092"/>
                <a:gd name="connsiteX1" fmla="*/ 21980 w 29766"/>
                <a:gd name="connsiteY1" fmla="*/ 795 h 37092"/>
                <a:gd name="connsiteX2" fmla="*/ 22482 w 29766"/>
                <a:gd name="connsiteY2" fmla="*/ 1172 h 37092"/>
                <a:gd name="connsiteX3" fmla="*/ 22482 w 29766"/>
                <a:gd name="connsiteY3" fmla="*/ 1172 h 37092"/>
                <a:gd name="connsiteX4" fmla="*/ 29767 w 29766"/>
                <a:gd name="connsiteY4" fmla="*/ 5442 h 37092"/>
                <a:gd name="connsiteX5" fmla="*/ 11556 w 29766"/>
                <a:gd name="connsiteY5" fmla="*/ 37092 h 37092"/>
                <a:gd name="connsiteX6" fmla="*/ 3643 w 29766"/>
                <a:gd name="connsiteY6" fmla="*/ 32445 h 37092"/>
                <a:gd name="connsiteX7" fmla="*/ 3894 w 29766"/>
                <a:gd name="connsiteY7" fmla="*/ 11471 h 37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66" h="37092">
                  <a:moveTo>
                    <a:pt x="3894" y="11471"/>
                  </a:moveTo>
                  <a:cubicBezTo>
                    <a:pt x="8918" y="2679"/>
                    <a:pt x="16956" y="-1968"/>
                    <a:pt x="21980" y="795"/>
                  </a:cubicBezTo>
                  <a:cubicBezTo>
                    <a:pt x="22231" y="921"/>
                    <a:pt x="22356" y="1046"/>
                    <a:pt x="22482" y="1172"/>
                  </a:cubicBezTo>
                  <a:lnTo>
                    <a:pt x="22482" y="1172"/>
                  </a:lnTo>
                  <a:lnTo>
                    <a:pt x="29767" y="5442"/>
                  </a:lnTo>
                  <a:lnTo>
                    <a:pt x="11556" y="37092"/>
                  </a:lnTo>
                  <a:lnTo>
                    <a:pt x="3643" y="32445"/>
                  </a:lnTo>
                  <a:cubicBezTo>
                    <a:pt x="-1255" y="29556"/>
                    <a:pt x="-1255" y="20262"/>
                    <a:pt x="3894" y="11471"/>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4" name="Freeform: Shape 2503">
              <a:extLst>
                <a:ext uri="{FF2B5EF4-FFF2-40B4-BE49-F238E27FC236}">
                  <a16:creationId xmlns:a16="http://schemas.microsoft.com/office/drawing/2014/main" id="{DC0532BB-1F2E-4B78-92F0-E9FAA7BE45FF}"/>
                </a:ext>
              </a:extLst>
            </p:cNvPr>
            <p:cNvSpPr/>
            <p:nvPr/>
          </p:nvSpPr>
          <p:spPr>
            <a:xfrm>
              <a:off x="4678660" y="2846868"/>
              <a:ext cx="25576" cy="33336"/>
            </a:xfrm>
            <a:custGeom>
              <a:avLst/>
              <a:gdLst>
                <a:gd name="connsiteX0" fmla="*/ 3643 w 25576"/>
                <a:gd name="connsiteY0" fmla="*/ 32493 h 33336"/>
                <a:gd name="connsiteX1" fmla="*/ 21729 w 25576"/>
                <a:gd name="connsiteY1" fmla="*/ 21817 h 33336"/>
                <a:gd name="connsiteX2" fmla="*/ 21980 w 25576"/>
                <a:gd name="connsiteY2" fmla="*/ 843 h 33336"/>
                <a:gd name="connsiteX3" fmla="*/ 3894 w 25576"/>
                <a:gd name="connsiteY3" fmla="*/ 11519 h 33336"/>
                <a:gd name="connsiteX4" fmla="*/ 3643 w 25576"/>
                <a:gd name="connsiteY4" fmla="*/ 32493 h 33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76" h="33336">
                  <a:moveTo>
                    <a:pt x="3643" y="32493"/>
                  </a:moveTo>
                  <a:cubicBezTo>
                    <a:pt x="8541" y="35382"/>
                    <a:pt x="16705" y="30609"/>
                    <a:pt x="21729" y="21817"/>
                  </a:cubicBezTo>
                  <a:cubicBezTo>
                    <a:pt x="26752" y="13026"/>
                    <a:pt x="26878" y="3732"/>
                    <a:pt x="21980" y="843"/>
                  </a:cubicBezTo>
                  <a:cubicBezTo>
                    <a:pt x="17081" y="-2046"/>
                    <a:pt x="8918" y="2727"/>
                    <a:pt x="3894" y="11519"/>
                  </a:cubicBezTo>
                  <a:cubicBezTo>
                    <a:pt x="-1255" y="20185"/>
                    <a:pt x="-1255" y="29604"/>
                    <a:pt x="3643" y="32493"/>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5" name="Freeform: Shape 2504">
              <a:extLst>
                <a:ext uri="{FF2B5EF4-FFF2-40B4-BE49-F238E27FC236}">
                  <a16:creationId xmlns:a16="http://schemas.microsoft.com/office/drawing/2014/main" id="{090A5FC6-BEDA-41B1-908F-186D73128F11}"/>
                </a:ext>
              </a:extLst>
            </p:cNvPr>
            <p:cNvSpPr/>
            <p:nvPr/>
          </p:nvSpPr>
          <p:spPr>
            <a:xfrm>
              <a:off x="4600918" y="2894182"/>
              <a:ext cx="23611" cy="33282"/>
            </a:xfrm>
            <a:custGeom>
              <a:avLst/>
              <a:gdLst>
                <a:gd name="connsiteX0" fmla="*/ 0 w 23611"/>
                <a:gd name="connsiteY0" fmla="*/ 24365 h 33282"/>
                <a:gd name="connsiteX1" fmla="*/ 0 w 23611"/>
                <a:gd name="connsiteY1" fmla="*/ 8038 h 33282"/>
                <a:gd name="connsiteX2" fmla="*/ 1884 w 23611"/>
                <a:gd name="connsiteY2" fmla="*/ 0 h 33282"/>
                <a:gd name="connsiteX3" fmla="*/ 23612 w 23611"/>
                <a:gd name="connsiteY3" fmla="*/ 13941 h 33282"/>
                <a:gd name="connsiteX4" fmla="*/ 22230 w 23611"/>
                <a:gd name="connsiteY4" fmla="*/ 22984 h 33282"/>
                <a:gd name="connsiteX5" fmla="*/ 8164 w 23611"/>
                <a:gd name="connsiteY5" fmla="*/ 33283 h 33282"/>
                <a:gd name="connsiteX6" fmla="*/ 0 w 23611"/>
                <a:gd name="connsiteY6" fmla="*/ 24365 h 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11" h="33282">
                  <a:moveTo>
                    <a:pt x="0" y="24365"/>
                  </a:moveTo>
                  <a:lnTo>
                    <a:pt x="0" y="8038"/>
                  </a:lnTo>
                  <a:cubicBezTo>
                    <a:pt x="0" y="5149"/>
                    <a:pt x="754" y="2512"/>
                    <a:pt x="1884" y="0"/>
                  </a:cubicBezTo>
                  <a:lnTo>
                    <a:pt x="23612" y="13941"/>
                  </a:lnTo>
                  <a:lnTo>
                    <a:pt x="22230" y="22984"/>
                  </a:lnTo>
                  <a:lnTo>
                    <a:pt x="8164" y="33283"/>
                  </a:lnTo>
                  <a:cubicBezTo>
                    <a:pt x="8164" y="33031"/>
                    <a:pt x="0" y="30017"/>
                    <a:pt x="0" y="24365"/>
                  </a:cubicBezTo>
                  <a:close/>
                </a:path>
              </a:pathLst>
            </a:custGeom>
            <a:solidFill>
              <a:srgbClr val="D072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6" name="Freeform: Shape 2505">
              <a:extLst>
                <a:ext uri="{FF2B5EF4-FFF2-40B4-BE49-F238E27FC236}">
                  <a16:creationId xmlns:a16="http://schemas.microsoft.com/office/drawing/2014/main" id="{90C81C71-B0DA-41C5-8E57-DA1768939C4F}"/>
                </a:ext>
              </a:extLst>
            </p:cNvPr>
            <p:cNvSpPr/>
            <p:nvPr/>
          </p:nvSpPr>
          <p:spPr>
            <a:xfrm>
              <a:off x="4609827" y="2886646"/>
              <a:ext cx="29372" cy="35472"/>
            </a:xfrm>
            <a:custGeom>
              <a:avLst/>
              <a:gdLst>
                <a:gd name="connsiteX0" fmla="*/ 7795 w 29372"/>
                <a:gd name="connsiteY0" fmla="*/ 34664 h 35472"/>
                <a:gd name="connsiteX1" fmla="*/ 3650 w 29372"/>
                <a:gd name="connsiteY1" fmla="*/ 32278 h 35472"/>
                <a:gd name="connsiteX2" fmla="*/ 762 w 29372"/>
                <a:gd name="connsiteY2" fmla="*/ 18839 h 35472"/>
                <a:gd name="connsiteX3" fmla="*/ 1390 w 29372"/>
                <a:gd name="connsiteY3" fmla="*/ 16830 h 35472"/>
                <a:gd name="connsiteX4" fmla="*/ 1641 w 29372"/>
                <a:gd name="connsiteY4" fmla="*/ 16076 h 35472"/>
                <a:gd name="connsiteX5" fmla="*/ 1892 w 29372"/>
                <a:gd name="connsiteY5" fmla="*/ 15448 h 35472"/>
                <a:gd name="connsiteX6" fmla="*/ 2143 w 29372"/>
                <a:gd name="connsiteY6" fmla="*/ 14820 h 35472"/>
                <a:gd name="connsiteX7" fmla="*/ 2897 w 29372"/>
                <a:gd name="connsiteY7" fmla="*/ 13187 h 35472"/>
                <a:gd name="connsiteX8" fmla="*/ 3274 w 29372"/>
                <a:gd name="connsiteY8" fmla="*/ 12559 h 35472"/>
                <a:gd name="connsiteX9" fmla="*/ 3902 w 29372"/>
                <a:gd name="connsiteY9" fmla="*/ 11429 h 35472"/>
                <a:gd name="connsiteX10" fmla="*/ 4655 w 29372"/>
                <a:gd name="connsiteY10" fmla="*/ 10299 h 35472"/>
                <a:gd name="connsiteX11" fmla="*/ 5032 w 29372"/>
                <a:gd name="connsiteY11" fmla="*/ 9671 h 35472"/>
                <a:gd name="connsiteX12" fmla="*/ 6037 w 29372"/>
                <a:gd name="connsiteY12" fmla="*/ 8289 h 35472"/>
                <a:gd name="connsiteX13" fmla="*/ 6414 w 29372"/>
                <a:gd name="connsiteY13" fmla="*/ 7661 h 35472"/>
                <a:gd name="connsiteX14" fmla="*/ 6790 w 29372"/>
                <a:gd name="connsiteY14" fmla="*/ 7159 h 35472"/>
                <a:gd name="connsiteX15" fmla="*/ 7293 w 29372"/>
                <a:gd name="connsiteY15" fmla="*/ 6531 h 35472"/>
                <a:gd name="connsiteX16" fmla="*/ 8674 w 29372"/>
                <a:gd name="connsiteY16" fmla="*/ 5024 h 35472"/>
                <a:gd name="connsiteX17" fmla="*/ 9428 w 29372"/>
                <a:gd name="connsiteY17" fmla="*/ 4270 h 35472"/>
                <a:gd name="connsiteX18" fmla="*/ 10935 w 29372"/>
                <a:gd name="connsiteY18" fmla="*/ 3014 h 35472"/>
                <a:gd name="connsiteX19" fmla="*/ 11437 w 29372"/>
                <a:gd name="connsiteY19" fmla="*/ 2637 h 35472"/>
                <a:gd name="connsiteX20" fmla="*/ 12693 w 29372"/>
                <a:gd name="connsiteY20" fmla="*/ 1758 h 35472"/>
                <a:gd name="connsiteX21" fmla="*/ 13321 w 29372"/>
                <a:gd name="connsiteY21" fmla="*/ 1381 h 35472"/>
                <a:gd name="connsiteX22" fmla="*/ 15205 w 29372"/>
                <a:gd name="connsiteY22" fmla="*/ 502 h 35472"/>
                <a:gd name="connsiteX23" fmla="*/ 15707 w 29372"/>
                <a:gd name="connsiteY23" fmla="*/ 377 h 35472"/>
                <a:gd name="connsiteX24" fmla="*/ 16838 w 29372"/>
                <a:gd name="connsiteY24" fmla="*/ 126 h 35472"/>
                <a:gd name="connsiteX25" fmla="*/ 17968 w 29372"/>
                <a:gd name="connsiteY25" fmla="*/ 0 h 35472"/>
                <a:gd name="connsiteX26" fmla="*/ 18722 w 29372"/>
                <a:gd name="connsiteY26" fmla="*/ 0 h 35472"/>
                <a:gd name="connsiteX27" fmla="*/ 19476 w 29372"/>
                <a:gd name="connsiteY27" fmla="*/ 126 h 35472"/>
                <a:gd name="connsiteX28" fmla="*/ 19601 w 29372"/>
                <a:gd name="connsiteY28" fmla="*/ 126 h 35472"/>
                <a:gd name="connsiteX29" fmla="*/ 19978 w 29372"/>
                <a:gd name="connsiteY29" fmla="*/ 251 h 35472"/>
                <a:gd name="connsiteX30" fmla="*/ 20229 w 29372"/>
                <a:gd name="connsiteY30" fmla="*/ 251 h 35472"/>
                <a:gd name="connsiteX31" fmla="*/ 21610 w 29372"/>
                <a:gd name="connsiteY31" fmla="*/ 879 h 35472"/>
                <a:gd name="connsiteX32" fmla="*/ 25755 w 29372"/>
                <a:gd name="connsiteY32" fmla="*/ 3265 h 35472"/>
                <a:gd name="connsiteX33" fmla="*/ 29146 w 29372"/>
                <a:gd name="connsiteY33" fmla="*/ 14192 h 35472"/>
                <a:gd name="connsiteX34" fmla="*/ 28769 w 29372"/>
                <a:gd name="connsiteY34" fmla="*/ 15950 h 35472"/>
                <a:gd name="connsiteX35" fmla="*/ 28644 w 29372"/>
                <a:gd name="connsiteY35" fmla="*/ 16830 h 35472"/>
                <a:gd name="connsiteX36" fmla="*/ 25504 w 29372"/>
                <a:gd name="connsiteY36" fmla="*/ 24240 h 35472"/>
                <a:gd name="connsiteX37" fmla="*/ 20606 w 29372"/>
                <a:gd name="connsiteY37" fmla="*/ 30645 h 35472"/>
                <a:gd name="connsiteX38" fmla="*/ 7795 w 29372"/>
                <a:gd name="connsiteY38" fmla="*/ 34664 h 35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9372" h="35472">
                  <a:moveTo>
                    <a:pt x="7795" y="34664"/>
                  </a:moveTo>
                  <a:lnTo>
                    <a:pt x="3650" y="32278"/>
                  </a:lnTo>
                  <a:cubicBezTo>
                    <a:pt x="134" y="30268"/>
                    <a:pt x="-871" y="24868"/>
                    <a:pt x="762" y="18839"/>
                  </a:cubicBezTo>
                  <a:cubicBezTo>
                    <a:pt x="887" y="18211"/>
                    <a:pt x="1138" y="17583"/>
                    <a:pt x="1390" y="16830"/>
                  </a:cubicBezTo>
                  <a:cubicBezTo>
                    <a:pt x="1515" y="16578"/>
                    <a:pt x="1515" y="16327"/>
                    <a:pt x="1641" y="16076"/>
                  </a:cubicBezTo>
                  <a:cubicBezTo>
                    <a:pt x="1767" y="15825"/>
                    <a:pt x="1767" y="15699"/>
                    <a:pt x="1892" y="15448"/>
                  </a:cubicBezTo>
                  <a:cubicBezTo>
                    <a:pt x="2018" y="15197"/>
                    <a:pt x="2018" y="15071"/>
                    <a:pt x="2143" y="14820"/>
                  </a:cubicBezTo>
                  <a:cubicBezTo>
                    <a:pt x="2394" y="14318"/>
                    <a:pt x="2646" y="13690"/>
                    <a:pt x="2897" y="13187"/>
                  </a:cubicBezTo>
                  <a:cubicBezTo>
                    <a:pt x="3023" y="12936"/>
                    <a:pt x="3148" y="12685"/>
                    <a:pt x="3274" y="12559"/>
                  </a:cubicBezTo>
                  <a:cubicBezTo>
                    <a:pt x="3525" y="12183"/>
                    <a:pt x="3650" y="11806"/>
                    <a:pt x="3902" y="11429"/>
                  </a:cubicBezTo>
                  <a:cubicBezTo>
                    <a:pt x="4153" y="11052"/>
                    <a:pt x="4404" y="10675"/>
                    <a:pt x="4655" y="10299"/>
                  </a:cubicBezTo>
                  <a:cubicBezTo>
                    <a:pt x="4781" y="10047"/>
                    <a:pt x="4906" y="9922"/>
                    <a:pt x="5032" y="9671"/>
                  </a:cubicBezTo>
                  <a:cubicBezTo>
                    <a:pt x="5409" y="9168"/>
                    <a:pt x="5660" y="8666"/>
                    <a:pt x="6037" y="8289"/>
                  </a:cubicBezTo>
                  <a:cubicBezTo>
                    <a:pt x="6163" y="8038"/>
                    <a:pt x="6288" y="7912"/>
                    <a:pt x="6414" y="7661"/>
                  </a:cubicBezTo>
                  <a:cubicBezTo>
                    <a:pt x="6539" y="7536"/>
                    <a:pt x="6665" y="7284"/>
                    <a:pt x="6790" y="7159"/>
                  </a:cubicBezTo>
                  <a:cubicBezTo>
                    <a:pt x="6916" y="6908"/>
                    <a:pt x="7167" y="6782"/>
                    <a:pt x="7293" y="6531"/>
                  </a:cubicBezTo>
                  <a:cubicBezTo>
                    <a:pt x="7795" y="6028"/>
                    <a:pt x="8297" y="5526"/>
                    <a:pt x="8674" y="5024"/>
                  </a:cubicBezTo>
                  <a:cubicBezTo>
                    <a:pt x="8926" y="4772"/>
                    <a:pt x="9177" y="4521"/>
                    <a:pt x="9428" y="4270"/>
                  </a:cubicBezTo>
                  <a:cubicBezTo>
                    <a:pt x="9930" y="3768"/>
                    <a:pt x="10433" y="3391"/>
                    <a:pt x="10935" y="3014"/>
                  </a:cubicBezTo>
                  <a:cubicBezTo>
                    <a:pt x="11061" y="2889"/>
                    <a:pt x="11312" y="2763"/>
                    <a:pt x="11437" y="2637"/>
                  </a:cubicBezTo>
                  <a:cubicBezTo>
                    <a:pt x="11940" y="2386"/>
                    <a:pt x="12317" y="2009"/>
                    <a:pt x="12693" y="1758"/>
                  </a:cubicBezTo>
                  <a:cubicBezTo>
                    <a:pt x="12944" y="1633"/>
                    <a:pt x="13070" y="1507"/>
                    <a:pt x="13321" y="1381"/>
                  </a:cubicBezTo>
                  <a:cubicBezTo>
                    <a:pt x="13949" y="1005"/>
                    <a:pt x="14577" y="754"/>
                    <a:pt x="15205" y="502"/>
                  </a:cubicBezTo>
                  <a:cubicBezTo>
                    <a:pt x="15331" y="502"/>
                    <a:pt x="15582" y="377"/>
                    <a:pt x="15707" y="377"/>
                  </a:cubicBezTo>
                  <a:cubicBezTo>
                    <a:pt x="16084" y="251"/>
                    <a:pt x="16461" y="126"/>
                    <a:pt x="16838" y="126"/>
                  </a:cubicBezTo>
                  <a:cubicBezTo>
                    <a:pt x="17215" y="0"/>
                    <a:pt x="17591" y="0"/>
                    <a:pt x="17968" y="0"/>
                  </a:cubicBezTo>
                  <a:cubicBezTo>
                    <a:pt x="18220" y="0"/>
                    <a:pt x="18471" y="0"/>
                    <a:pt x="18722" y="0"/>
                  </a:cubicBezTo>
                  <a:cubicBezTo>
                    <a:pt x="18973" y="0"/>
                    <a:pt x="19224" y="0"/>
                    <a:pt x="19476" y="126"/>
                  </a:cubicBezTo>
                  <a:cubicBezTo>
                    <a:pt x="19476" y="126"/>
                    <a:pt x="19601" y="126"/>
                    <a:pt x="19601" y="126"/>
                  </a:cubicBezTo>
                  <a:cubicBezTo>
                    <a:pt x="19727" y="126"/>
                    <a:pt x="19852" y="126"/>
                    <a:pt x="19978" y="251"/>
                  </a:cubicBezTo>
                  <a:cubicBezTo>
                    <a:pt x="19978" y="251"/>
                    <a:pt x="20103" y="251"/>
                    <a:pt x="20229" y="251"/>
                  </a:cubicBezTo>
                  <a:cubicBezTo>
                    <a:pt x="20731" y="377"/>
                    <a:pt x="21234" y="628"/>
                    <a:pt x="21610" y="879"/>
                  </a:cubicBezTo>
                  <a:lnTo>
                    <a:pt x="25755" y="3265"/>
                  </a:lnTo>
                  <a:cubicBezTo>
                    <a:pt x="28769" y="5024"/>
                    <a:pt x="29900" y="9168"/>
                    <a:pt x="29146" y="14192"/>
                  </a:cubicBezTo>
                  <a:cubicBezTo>
                    <a:pt x="29020" y="14820"/>
                    <a:pt x="29020" y="15322"/>
                    <a:pt x="28769" y="15950"/>
                  </a:cubicBezTo>
                  <a:cubicBezTo>
                    <a:pt x="28769" y="16202"/>
                    <a:pt x="28644" y="16453"/>
                    <a:pt x="28644" y="16830"/>
                  </a:cubicBezTo>
                  <a:cubicBezTo>
                    <a:pt x="28016" y="19216"/>
                    <a:pt x="27011" y="21853"/>
                    <a:pt x="25504" y="24240"/>
                  </a:cubicBezTo>
                  <a:cubicBezTo>
                    <a:pt x="24122" y="26752"/>
                    <a:pt x="22364" y="28887"/>
                    <a:pt x="20606" y="30645"/>
                  </a:cubicBezTo>
                  <a:cubicBezTo>
                    <a:pt x="16461" y="34790"/>
                    <a:pt x="11312" y="36674"/>
                    <a:pt x="7795" y="34664"/>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7" name="Freeform: Shape 2506">
              <a:extLst>
                <a:ext uri="{FF2B5EF4-FFF2-40B4-BE49-F238E27FC236}">
                  <a16:creationId xmlns:a16="http://schemas.microsoft.com/office/drawing/2014/main" id="{83F286BA-1A8B-4C8E-8475-90D138E099F5}"/>
                </a:ext>
              </a:extLst>
            </p:cNvPr>
            <p:cNvSpPr/>
            <p:nvPr/>
          </p:nvSpPr>
          <p:spPr>
            <a:xfrm>
              <a:off x="4609575" y="2905108"/>
              <a:ext cx="21233" cy="16957"/>
            </a:xfrm>
            <a:custGeom>
              <a:avLst/>
              <a:gdLst>
                <a:gd name="connsiteX0" fmla="*/ 21108 w 21233"/>
                <a:gd name="connsiteY0" fmla="*/ 11932 h 16957"/>
                <a:gd name="connsiteX1" fmla="*/ 21234 w 21233"/>
                <a:gd name="connsiteY1" fmla="*/ 11680 h 16957"/>
                <a:gd name="connsiteX2" fmla="*/ 888 w 21233"/>
                <a:gd name="connsiteY2" fmla="*/ 0 h 16957"/>
                <a:gd name="connsiteX3" fmla="*/ 762 w 21233"/>
                <a:gd name="connsiteY3" fmla="*/ 251 h 16957"/>
                <a:gd name="connsiteX4" fmla="*/ 3651 w 21233"/>
                <a:gd name="connsiteY4" fmla="*/ 13690 h 16957"/>
                <a:gd name="connsiteX5" fmla="*/ 7795 w 21233"/>
                <a:gd name="connsiteY5" fmla="*/ 16076 h 16957"/>
                <a:gd name="connsiteX6" fmla="*/ 21108 w 21233"/>
                <a:gd name="connsiteY6" fmla="*/ 11932 h 16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33" h="16957">
                  <a:moveTo>
                    <a:pt x="21108" y="11932"/>
                  </a:moveTo>
                  <a:cubicBezTo>
                    <a:pt x="21234" y="11806"/>
                    <a:pt x="21234" y="11806"/>
                    <a:pt x="21234" y="11680"/>
                  </a:cubicBezTo>
                  <a:lnTo>
                    <a:pt x="888" y="0"/>
                  </a:lnTo>
                  <a:cubicBezTo>
                    <a:pt x="888" y="126"/>
                    <a:pt x="762" y="251"/>
                    <a:pt x="762" y="251"/>
                  </a:cubicBezTo>
                  <a:cubicBezTo>
                    <a:pt x="-871" y="6280"/>
                    <a:pt x="134" y="11680"/>
                    <a:pt x="3651" y="13690"/>
                  </a:cubicBezTo>
                  <a:lnTo>
                    <a:pt x="7795" y="16076"/>
                  </a:lnTo>
                  <a:cubicBezTo>
                    <a:pt x="11563" y="18211"/>
                    <a:pt x="16712" y="16327"/>
                    <a:pt x="21108" y="11932"/>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8" name="Freeform: Shape 2507">
              <a:extLst>
                <a:ext uri="{FF2B5EF4-FFF2-40B4-BE49-F238E27FC236}">
                  <a16:creationId xmlns:a16="http://schemas.microsoft.com/office/drawing/2014/main" id="{5FEE2FDE-D6D2-40B5-81F3-8654CEE0C797}"/>
                </a:ext>
              </a:extLst>
            </p:cNvPr>
            <p:cNvSpPr/>
            <p:nvPr/>
          </p:nvSpPr>
          <p:spPr>
            <a:xfrm>
              <a:off x="4615487" y="2886269"/>
              <a:ext cx="23963" cy="21728"/>
            </a:xfrm>
            <a:custGeom>
              <a:avLst/>
              <a:gdLst>
                <a:gd name="connsiteX0" fmla="*/ 21226 w 23963"/>
                <a:gd name="connsiteY0" fmla="*/ 21728 h 21728"/>
                <a:gd name="connsiteX1" fmla="*/ 23235 w 23963"/>
                <a:gd name="connsiteY1" fmla="*/ 16830 h 21728"/>
                <a:gd name="connsiteX2" fmla="*/ 23360 w 23963"/>
                <a:gd name="connsiteY2" fmla="*/ 15951 h 21728"/>
                <a:gd name="connsiteX3" fmla="*/ 23737 w 23963"/>
                <a:gd name="connsiteY3" fmla="*/ 14192 h 21728"/>
                <a:gd name="connsiteX4" fmla="*/ 20346 w 23963"/>
                <a:gd name="connsiteY4" fmla="*/ 3266 h 21728"/>
                <a:gd name="connsiteX5" fmla="*/ 16202 w 23963"/>
                <a:gd name="connsiteY5" fmla="*/ 879 h 21728"/>
                <a:gd name="connsiteX6" fmla="*/ 14820 w 23963"/>
                <a:gd name="connsiteY6" fmla="*/ 251 h 21728"/>
                <a:gd name="connsiteX7" fmla="*/ 14694 w 23963"/>
                <a:gd name="connsiteY7" fmla="*/ 251 h 21728"/>
                <a:gd name="connsiteX8" fmla="*/ 14192 w 23963"/>
                <a:gd name="connsiteY8" fmla="*/ 126 h 21728"/>
                <a:gd name="connsiteX9" fmla="*/ 14067 w 23963"/>
                <a:gd name="connsiteY9" fmla="*/ 126 h 21728"/>
                <a:gd name="connsiteX10" fmla="*/ 13313 w 23963"/>
                <a:gd name="connsiteY10" fmla="*/ 0 h 21728"/>
                <a:gd name="connsiteX11" fmla="*/ 12559 w 23963"/>
                <a:gd name="connsiteY11" fmla="*/ 0 h 21728"/>
                <a:gd name="connsiteX12" fmla="*/ 11429 w 23963"/>
                <a:gd name="connsiteY12" fmla="*/ 126 h 21728"/>
                <a:gd name="connsiteX13" fmla="*/ 10299 w 23963"/>
                <a:gd name="connsiteY13" fmla="*/ 377 h 21728"/>
                <a:gd name="connsiteX14" fmla="*/ 9796 w 23963"/>
                <a:gd name="connsiteY14" fmla="*/ 502 h 21728"/>
                <a:gd name="connsiteX15" fmla="*/ 7913 w 23963"/>
                <a:gd name="connsiteY15" fmla="*/ 1382 h 21728"/>
                <a:gd name="connsiteX16" fmla="*/ 7284 w 23963"/>
                <a:gd name="connsiteY16" fmla="*/ 1758 h 21728"/>
                <a:gd name="connsiteX17" fmla="*/ 6029 w 23963"/>
                <a:gd name="connsiteY17" fmla="*/ 2638 h 21728"/>
                <a:gd name="connsiteX18" fmla="*/ 5526 w 23963"/>
                <a:gd name="connsiteY18" fmla="*/ 3014 h 21728"/>
                <a:gd name="connsiteX19" fmla="*/ 4019 w 23963"/>
                <a:gd name="connsiteY19" fmla="*/ 4270 h 21728"/>
                <a:gd name="connsiteX20" fmla="*/ 3266 w 23963"/>
                <a:gd name="connsiteY20" fmla="*/ 5024 h 21728"/>
                <a:gd name="connsiteX21" fmla="*/ 1884 w 23963"/>
                <a:gd name="connsiteY21" fmla="*/ 6531 h 21728"/>
                <a:gd name="connsiteX22" fmla="*/ 1381 w 23963"/>
                <a:gd name="connsiteY22" fmla="*/ 7159 h 21728"/>
                <a:gd name="connsiteX23" fmla="*/ 1005 w 23963"/>
                <a:gd name="connsiteY23" fmla="*/ 7661 h 21728"/>
                <a:gd name="connsiteX24" fmla="*/ 628 w 23963"/>
                <a:gd name="connsiteY24" fmla="*/ 8289 h 21728"/>
                <a:gd name="connsiteX25" fmla="*/ 0 w 23963"/>
                <a:gd name="connsiteY25" fmla="*/ 9169 h 21728"/>
                <a:gd name="connsiteX26" fmla="*/ 21226 w 23963"/>
                <a:gd name="connsiteY26" fmla="*/ 21728 h 21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963" h="21728">
                  <a:moveTo>
                    <a:pt x="21226" y="21728"/>
                  </a:moveTo>
                  <a:cubicBezTo>
                    <a:pt x="21979" y="20095"/>
                    <a:pt x="22858" y="18462"/>
                    <a:pt x="23235" y="16830"/>
                  </a:cubicBezTo>
                  <a:cubicBezTo>
                    <a:pt x="23360" y="16579"/>
                    <a:pt x="23360" y="16327"/>
                    <a:pt x="23360" y="15951"/>
                  </a:cubicBezTo>
                  <a:cubicBezTo>
                    <a:pt x="23486" y="15323"/>
                    <a:pt x="23612" y="14820"/>
                    <a:pt x="23737" y="14192"/>
                  </a:cubicBezTo>
                  <a:cubicBezTo>
                    <a:pt x="24491" y="9169"/>
                    <a:pt x="23360" y="5024"/>
                    <a:pt x="20346" y="3266"/>
                  </a:cubicBezTo>
                  <a:lnTo>
                    <a:pt x="16202" y="879"/>
                  </a:lnTo>
                  <a:cubicBezTo>
                    <a:pt x="15699" y="628"/>
                    <a:pt x="15323" y="377"/>
                    <a:pt x="14820" y="251"/>
                  </a:cubicBezTo>
                  <a:cubicBezTo>
                    <a:pt x="14694" y="251"/>
                    <a:pt x="14694" y="251"/>
                    <a:pt x="14694" y="251"/>
                  </a:cubicBezTo>
                  <a:cubicBezTo>
                    <a:pt x="14443" y="251"/>
                    <a:pt x="14318" y="126"/>
                    <a:pt x="14192" y="126"/>
                  </a:cubicBezTo>
                  <a:cubicBezTo>
                    <a:pt x="14192" y="126"/>
                    <a:pt x="14067" y="126"/>
                    <a:pt x="14067" y="126"/>
                  </a:cubicBezTo>
                  <a:cubicBezTo>
                    <a:pt x="13816" y="126"/>
                    <a:pt x="13564" y="0"/>
                    <a:pt x="13313" y="0"/>
                  </a:cubicBezTo>
                  <a:cubicBezTo>
                    <a:pt x="13062" y="0"/>
                    <a:pt x="12811" y="0"/>
                    <a:pt x="12559" y="0"/>
                  </a:cubicBezTo>
                  <a:cubicBezTo>
                    <a:pt x="12183" y="0"/>
                    <a:pt x="11806" y="0"/>
                    <a:pt x="11429" y="126"/>
                  </a:cubicBezTo>
                  <a:cubicBezTo>
                    <a:pt x="11052" y="251"/>
                    <a:pt x="10676" y="251"/>
                    <a:pt x="10299" y="377"/>
                  </a:cubicBezTo>
                  <a:cubicBezTo>
                    <a:pt x="10173" y="377"/>
                    <a:pt x="9922" y="502"/>
                    <a:pt x="9796" y="502"/>
                  </a:cubicBezTo>
                  <a:cubicBezTo>
                    <a:pt x="9169" y="754"/>
                    <a:pt x="8540" y="1005"/>
                    <a:pt x="7913" y="1382"/>
                  </a:cubicBezTo>
                  <a:cubicBezTo>
                    <a:pt x="7661" y="1507"/>
                    <a:pt x="7536" y="1633"/>
                    <a:pt x="7284" y="1758"/>
                  </a:cubicBezTo>
                  <a:cubicBezTo>
                    <a:pt x="6908" y="2010"/>
                    <a:pt x="6405" y="2261"/>
                    <a:pt x="6029" y="2638"/>
                  </a:cubicBezTo>
                  <a:cubicBezTo>
                    <a:pt x="5903" y="2763"/>
                    <a:pt x="5652" y="2889"/>
                    <a:pt x="5526" y="3014"/>
                  </a:cubicBezTo>
                  <a:cubicBezTo>
                    <a:pt x="5024" y="3391"/>
                    <a:pt x="4521" y="3768"/>
                    <a:pt x="4019" y="4270"/>
                  </a:cubicBezTo>
                  <a:cubicBezTo>
                    <a:pt x="3768" y="4521"/>
                    <a:pt x="3517" y="4773"/>
                    <a:pt x="3266" y="5024"/>
                  </a:cubicBezTo>
                  <a:cubicBezTo>
                    <a:pt x="2763" y="5526"/>
                    <a:pt x="2261" y="6029"/>
                    <a:pt x="1884" y="6531"/>
                  </a:cubicBezTo>
                  <a:cubicBezTo>
                    <a:pt x="1758" y="6782"/>
                    <a:pt x="1507" y="6908"/>
                    <a:pt x="1381" y="7159"/>
                  </a:cubicBezTo>
                  <a:cubicBezTo>
                    <a:pt x="1256" y="7285"/>
                    <a:pt x="1130" y="7410"/>
                    <a:pt x="1005" y="7661"/>
                  </a:cubicBezTo>
                  <a:cubicBezTo>
                    <a:pt x="879" y="7787"/>
                    <a:pt x="754" y="8038"/>
                    <a:pt x="628" y="8289"/>
                  </a:cubicBezTo>
                  <a:cubicBezTo>
                    <a:pt x="377" y="8541"/>
                    <a:pt x="251" y="8917"/>
                    <a:pt x="0" y="9169"/>
                  </a:cubicBezTo>
                  <a:lnTo>
                    <a:pt x="21226" y="21728"/>
                  </a:ln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9" name="Freeform: Shape 2508">
              <a:extLst>
                <a:ext uri="{FF2B5EF4-FFF2-40B4-BE49-F238E27FC236}">
                  <a16:creationId xmlns:a16="http://schemas.microsoft.com/office/drawing/2014/main" id="{0B79359E-57F0-4CAB-9240-DF590F439768}"/>
                </a:ext>
              </a:extLst>
            </p:cNvPr>
            <p:cNvSpPr/>
            <p:nvPr/>
          </p:nvSpPr>
          <p:spPr>
            <a:xfrm>
              <a:off x="4622646" y="2886395"/>
              <a:ext cx="16578" cy="11680"/>
            </a:xfrm>
            <a:custGeom>
              <a:avLst/>
              <a:gdLst>
                <a:gd name="connsiteX0" fmla="*/ 16578 w 16578"/>
                <a:gd name="connsiteY0" fmla="*/ 11680 h 11680"/>
                <a:gd name="connsiteX1" fmla="*/ 13313 w 16578"/>
                <a:gd name="connsiteY1" fmla="*/ 3265 h 11680"/>
                <a:gd name="connsiteX2" fmla="*/ 9168 w 16578"/>
                <a:gd name="connsiteY2" fmla="*/ 879 h 11680"/>
                <a:gd name="connsiteX3" fmla="*/ 7787 w 16578"/>
                <a:gd name="connsiteY3" fmla="*/ 251 h 11680"/>
                <a:gd name="connsiteX4" fmla="*/ 7661 w 16578"/>
                <a:gd name="connsiteY4" fmla="*/ 251 h 11680"/>
                <a:gd name="connsiteX5" fmla="*/ 7159 w 16578"/>
                <a:gd name="connsiteY5" fmla="*/ 126 h 11680"/>
                <a:gd name="connsiteX6" fmla="*/ 7033 w 16578"/>
                <a:gd name="connsiteY6" fmla="*/ 126 h 11680"/>
                <a:gd name="connsiteX7" fmla="*/ 6280 w 16578"/>
                <a:gd name="connsiteY7" fmla="*/ 0 h 11680"/>
                <a:gd name="connsiteX8" fmla="*/ 5526 w 16578"/>
                <a:gd name="connsiteY8" fmla="*/ 0 h 11680"/>
                <a:gd name="connsiteX9" fmla="*/ 4396 w 16578"/>
                <a:gd name="connsiteY9" fmla="*/ 126 h 11680"/>
                <a:gd name="connsiteX10" fmla="*/ 3265 w 16578"/>
                <a:gd name="connsiteY10" fmla="*/ 377 h 11680"/>
                <a:gd name="connsiteX11" fmla="*/ 2763 w 16578"/>
                <a:gd name="connsiteY11" fmla="*/ 502 h 11680"/>
                <a:gd name="connsiteX12" fmla="*/ 879 w 16578"/>
                <a:gd name="connsiteY12" fmla="*/ 1382 h 11680"/>
                <a:gd name="connsiteX13" fmla="*/ 251 w 16578"/>
                <a:gd name="connsiteY13" fmla="*/ 1758 h 11680"/>
                <a:gd name="connsiteX14" fmla="*/ 0 w 16578"/>
                <a:gd name="connsiteY14" fmla="*/ 1884 h 11680"/>
                <a:gd name="connsiteX15" fmla="*/ 16578 w 16578"/>
                <a:gd name="connsiteY15" fmla="*/ 11680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78" h="11680">
                  <a:moveTo>
                    <a:pt x="16578" y="11680"/>
                  </a:moveTo>
                  <a:cubicBezTo>
                    <a:pt x="16578" y="7912"/>
                    <a:pt x="15699" y="4772"/>
                    <a:pt x="13313" y="3265"/>
                  </a:cubicBezTo>
                  <a:lnTo>
                    <a:pt x="9168" y="879"/>
                  </a:lnTo>
                  <a:cubicBezTo>
                    <a:pt x="8666" y="628"/>
                    <a:pt x="8289" y="377"/>
                    <a:pt x="7787" y="251"/>
                  </a:cubicBezTo>
                  <a:cubicBezTo>
                    <a:pt x="7661" y="251"/>
                    <a:pt x="7661" y="251"/>
                    <a:pt x="7661" y="251"/>
                  </a:cubicBezTo>
                  <a:cubicBezTo>
                    <a:pt x="7410" y="251"/>
                    <a:pt x="7284" y="126"/>
                    <a:pt x="7159" y="126"/>
                  </a:cubicBezTo>
                  <a:cubicBezTo>
                    <a:pt x="7159" y="126"/>
                    <a:pt x="7033" y="126"/>
                    <a:pt x="7033" y="126"/>
                  </a:cubicBezTo>
                  <a:cubicBezTo>
                    <a:pt x="6782" y="126"/>
                    <a:pt x="6531" y="0"/>
                    <a:pt x="6280" y="0"/>
                  </a:cubicBezTo>
                  <a:cubicBezTo>
                    <a:pt x="6028" y="0"/>
                    <a:pt x="5777" y="0"/>
                    <a:pt x="5526" y="0"/>
                  </a:cubicBezTo>
                  <a:cubicBezTo>
                    <a:pt x="5149" y="0"/>
                    <a:pt x="4772" y="0"/>
                    <a:pt x="4396" y="126"/>
                  </a:cubicBezTo>
                  <a:cubicBezTo>
                    <a:pt x="4019" y="251"/>
                    <a:pt x="3642" y="251"/>
                    <a:pt x="3265" y="377"/>
                  </a:cubicBezTo>
                  <a:cubicBezTo>
                    <a:pt x="3140" y="377"/>
                    <a:pt x="2888" y="502"/>
                    <a:pt x="2763" y="502"/>
                  </a:cubicBezTo>
                  <a:cubicBezTo>
                    <a:pt x="2135" y="754"/>
                    <a:pt x="1507" y="1005"/>
                    <a:pt x="879" y="1382"/>
                  </a:cubicBezTo>
                  <a:cubicBezTo>
                    <a:pt x="628" y="1507"/>
                    <a:pt x="502" y="1633"/>
                    <a:pt x="251" y="1758"/>
                  </a:cubicBezTo>
                  <a:cubicBezTo>
                    <a:pt x="125" y="1758"/>
                    <a:pt x="125" y="1884"/>
                    <a:pt x="0" y="1884"/>
                  </a:cubicBezTo>
                  <a:lnTo>
                    <a:pt x="16578" y="11680"/>
                  </a:ln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510" name="Graphic 4">
              <a:extLst>
                <a:ext uri="{FF2B5EF4-FFF2-40B4-BE49-F238E27FC236}">
                  <a16:creationId xmlns:a16="http://schemas.microsoft.com/office/drawing/2014/main" id="{84FB7ED1-A2DF-40A1-A747-5F7CF3F14040}"/>
                </a:ext>
              </a:extLst>
            </p:cNvPr>
            <p:cNvGrpSpPr/>
            <p:nvPr/>
          </p:nvGrpSpPr>
          <p:grpSpPr>
            <a:xfrm>
              <a:off x="4770077" y="2952244"/>
              <a:ext cx="44697" cy="50413"/>
              <a:chOff x="4770077" y="2952244"/>
              <a:chExt cx="44697" cy="50413"/>
            </a:xfrm>
            <a:solidFill>
              <a:schemeClr val="accent1"/>
            </a:solidFill>
          </p:grpSpPr>
          <p:sp>
            <p:nvSpPr>
              <p:cNvPr id="2511" name="Freeform: Shape 2510">
                <a:extLst>
                  <a:ext uri="{FF2B5EF4-FFF2-40B4-BE49-F238E27FC236}">
                    <a16:creationId xmlns:a16="http://schemas.microsoft.com/office/drawing/2014/main" id="{76D5C4AA-6842-4FAA-954A-1D3083FB47F7}"/>
                  </a:ext>
                </a:extLst>
              </p:cNvPr>
              <p:cNvSpPr/>
              <p:nvPr/>
            </p:nvSpPr>
            <p:spPr>
              <a:xfrm>
                <a:off x="4770077" y="2952244"/>
                <a:ext cx="39830" cy="49446"/>
              </a:xfrm>
              <a:custGeom>
                <a:avLst/>
                <a:gdLst>
                  <a:gd name="connsiteX0" fmla="*/ 5166 w 39830"/>
                  <a:gd name="connsiteY0" fmla="*/ 15285 h 49446"/>
                  <a:gd name="connsiteX1" fmla="*/ 29280 w 39830"/>
                  <a:gd name="connsiteY1" fmla="*/ 1093 h 49446"/>
                  <a:gd name="connsiteX2" fmla="*/ 30034 w 39830"/>
                  <a:gd name="connsiteY2" fmla="*/ 1595 h 49446"/>
                  <a:gd name="connsiteX3" fmla="*/ 30034 w 39830"/>
                  <a:gd name="connsiteY3" fmla="*/ 1595 h 49446"/>
                  <a:gd name="connsiteX4" fmla="*/ 39831 w 39830"/>
                  <a:gd name="connsiteY4" fmla="*/ 7247 h 49446"/>
                  <a:gd name="connsiteX5" fmla="*/ 15465 w 39830"/>
                  <a:gd name="connsiteY5" fmla="*/ 49446 h 49446"/>
                  <a:gd name="connsiteX6" fmla="*/ 4915 w 39830"/>
                  <a:gd name="connsiteY6" fmla="*/ 43292 h 49446"/>
                  <a:gd name="connsiteX7" fmla="*/ 5166 w 39830"/>
                  <a:gd name="connsiteY7" fmla="*/ 15285 h 4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30" h="49446">
                    <a:moveTo>
                      <a:pt x="5166" y="15285"/>
                    </a:moveTo>
                    <a:cubicBezTo>
                      <a:pt x="11823" y="3604"/>
                      <a:pt x="22624" y="-2675"/>
                      <a:pt x="29280" y="1093"/>
                    </a:cubicBezTo>
                    <a:cubicBezTo>
                      <a:pt x="29532" y="1218"/>
                      <a:pt x="29783" y="1469"/>
                      <a:pt x="30034" y="1595"/>
                    </a:cubicBezTo>
                    <a:lnTo>
                      <a:pt x="30034" y="1595"/>
                    </a:lnTo>
                    <a:lnTo>
                      <a:pt x="39831" y="7247"/>
                    </a:lnTo>
                    <a:lnTo>
                      <a:pt x="15465" y="49446"/>
                    </a:lnTo>
                    <a:lnTo>
                      <a:pt x="4915" y="43292"/>
                    </a:lnTo>
                    <a:cubicBezTo>
                      <a:pt x="-1742" y="39399"/>
                      <a:pt x="-1616" y="26839"/>
                      <a:pt x="5166" y="15285"/>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12" name="Freeform: Shape 2511">
                <a:extLst>
                  <a:ext uri="{FF2B5EF4-FFF2-40B4-BE49-F238E27FC236}">
                    <a16:creationId xmlns:a16="http://schemas.microsoft.com/office/drawing/2014/main" id="{EE945D08-1FE7-440F-BDE7-689E1A597FD4}"/>
                  </a:ext>
                </a:extLst>
              </p:cNvPr>
              <p:cNvSpPr/>
              <p:nvPr/>
            </p:nvSpPr>
            <p:spPr>
              <a:xfrm>
                <a:off x="4780627" y="2958398"/>
                <a:ext cx="34147" cy="44259"/>
              </a:xfrm>
              <a:custGeom>
                <a:avLst/>
                <a:gdLst>
                  <a:gd name="connsiteX0" fmla="*/ 4915 w 34147"/>
                  <a:gd name="connsiteY0" fmla="*/ 43167 h 44259"/>
                  <a:gd name="connsiteX1" fmla="*/ 29029 w 34147"/>
                  <a:gd name="connsiteY1" fmla="*/ 28975 h 44259"/>
                  <a:gd name="connsiteX2" fmla="*/ 29280 w 34147"/>
                  <a:gd name="connsiteY2" fmla="*/ 1092 h 44259"/>
                  <a:gd name="connsiteX3" fmla="*/ 5166 w 34147"/>
                  <a:gd name="connsiteY3" fmla="*/ 15285 h 44259"/>
                  <a:gd name="connsiteX4" fmla="*/ 4915 w 34147"/>
                  <a:gd name="connsiteY4" fmla="*/ 43167 h 44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47" h="44259">
                    <a:moveTo>
                      <a:pt x="4915" y="43167"/>
                    </a:moveTo>
                    <a:cubicBezTo>
                      <a:pt x="11446" y="46935"/>
                      <a:pt x="22247" y="40655"/>
                      <a:pt x="29029" y="28975"/>
                    </a:cubicBezTo>
                    <a:cubicBezTo>
                      <a:pt x="35811" y="17294"/>
                      <a:pt x="35811" y="4860"/>
                      <a:pt x="29280" y="1092"/>
                    </a:cubicBezTo>
                    <a:cubicBezTo>
                      <a:pt x="22749" y="-2675"/>
                      <a:pt x="11948" y="3604"/>
                      <a:pt x="5166" y="15285"/>
                    </a:cubicBezTo>
                    <a:cubicBezTo>
                      <a:pt x="-1616" y="26839"/>
                      <a:pt x="-1742" y="39399"/>
                      <a:pt x="4915" y="43167"/>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13" name="Graphic 4">
              <a:extLst>
                <a:ext uri="{FF2B5EF4-FFF2-40B4-BE49-F238E27FC236}">
                  <a16:creationId xmlns:a16="http://schemas.microsoft.com/office/drawing/2014/main" id="{84FB7ED1-A2DF-40A1-A747-5F7CF3F14040}"/>
                </a:ext>
              </a:extLst>
            </p:cNvPr>
            <p:cNvGrpSpPr/>
            <p:nvPr/>
          </p:nvGrpSpPr>
          <p:grpSpPr>
            <a:xfrm>
              <a:off x="4384015" y="2925957"/>
              <a:ext cx="505142" cy="347395"/>
              <a:chOff x="4384015" y="2925957"/>
              <a:chExt cx="505142" cy="347395"/>
            </a:xfrm>
            <a:solidFill>
              <a:schemeClr val="accent1"/>
            </a:solidFill>
          </p:grpSpPr>
          <p:grpSp>
            <p:nvGrpSpPr>
              <p:cNvPr id="2514" name="Graphic 4">
                <a:extLst>
                  <a:ext uri="{FF2B5EF4-FFF2-40B4-BE49-F238E27FC236}">
                    <a16:creationId xmlns:a16="http://schemas.microsoft.com/office/drawing/2014/main" id="{84FB7ED1-A2DF-40A1-A747-5F7CF3F14040}"/>
                  </a:ext>
                </a:extLst>
              </p:cNvPr>
              <p:cNvGrpSpPr/>
              <p:nvPr/>
            </p:nvGrpSpPr>
            <p:grpSpPr>
              <a:xfrm>
                <a:off x="4469922" y="2941154"/>
                <a:ext cx="377286" cy="282588"/>
                <a:chOff x="4469922" y="2941154"/>
                <a:chExt cx="377286" cy="282588"/>
              </a:xfrm>
              <a:solidFill>
                <a:srgbClr val="2E2E2E"/>
              </a:solidFill>
            </p:grpSpPr>
            <p:grpSp>
              <p:nvGrpSpPr>
                <p:cNvPr id="2515" name="Graphic 4">
                  <a:extLst>
                    <a:ext uri="{FF2B5EF4-FFF2-40B4-BE49-F238E27FC236}">
                      <a16:creationId xmlns:a16="http://schemas.microsoft.com/office/drawing/2014/main" id="{84FB7ED1-A2DF-40A1-A747-5F7CF3F14040}"/>
                    </a:ext>
                  </a:extLst>
                </p:cNvPr>
                <p:cNvGrpSpPr/>
                <p:nvPr/>
              </p:nvGrpSpPr>
              <p:grpSpPr>
                <a:xfrm>
                  <a:off x="4829500" y="3137208"/>
                  <a:ext cx="17708" cy="86534"/>
                  <a:chOff x="4829500" y="3137208"/>
                  <a:chExt cx="17708" cy="86534"/>
                </a:xfrm>
                <a:solidFill>
                  <a:srgbClr val="2E2E2E"/>
                </a:solidFill>
              </p:grpSpPr>
              <p:sp>
                <p:nvSpPr>
                  <p:cNvPr id="2516" name="Freeform: Shape 2515">
                    <a:extLst>
                      <a:ext uri="{FF2B5EF4-FFF2-40B4-BE49-F238E27FC236}">
                        <a16:creationId xmlns:a16="http://schemas.microsoft.com/office/drawing/2014/main" id="{E3529849-0BC3-42B9-911D-4902F3504726}"/>
                      </a:ext>
                    </a:extLst>
                  </p:cNvPr>
                  <p:cNvSpPr/>
                  <p:nvPr/>
                </p:nvSpPr>
                <p:spPr>
                  <a:xfrm>
                    <a:off x="4841055" y="3137208"/>
                    <a:ext cx="6154" cy="86534"/>
                  </a:xfrm>
                  <a:custGeom>
                    <a:avLst/>
                    <a:gdLst>
                      <a:gd name="connsiteX0" fmla="*/ 0 w 6154"/>
                      <a:gd name="connsiteY0" fmla="*/ 86535 h 86534"/>
                      <a:gd name="connsiteX1" fmla="*/ 6154 w 6154"/>
                      <a:gd name="connsiteY1" fmla="*/ 83018 h 86534"/>
                      <a:gd name="connsiteX2" fmla="*/ 6154 w 6154"/>
                      <a:gd name="connsiteY2" fmla="*/ 0 h 86534"/>
                      <a:gd name="connsiteX3" fmla="*/ 0 w 6154"/>
                      <a:gd name="connsiteY3" fmla="*/ 3517 h 86534"/>
                    </a:gdLst>
                    <a:ahLst/>
                    <a:cxnLst>
                      <a:cxn ang="0">
                        <a:pos x="connsiteX0" y="connsiteY0"/>
                      </a:cxn>
                      <a:cxn ang="0">
                        <a:pos x="connsiteX1" y="connsiteY1"/>
                      </a:cxn>
                      <a:cxn ang="0">
                        <a:pos x="connsiteX2" y="connsiteY2"/>
                      </a:cxn>
                      <a:cxn ang="0">
                        <a:pos x="connsiteX3" y="connsiteY3"/>
                      </a:cxn>
                    </a:cxnLst>
                    <a:rect l="l" t="t" r="r" b="b"/>
                    <a:pathLst>
                      <a:path w="6154" h="86534">
                        <a:moveTo>
                          <a:pt x="0" y="86535"/>
                        </a:moveTo>
                        <a:lnTo>
                          <a:pt x="6154" y="83018"/>
                        </a:lnTo>
                        <a:lnTo>
                          <a:pt x="6154" y="0"/>
                        </a:lnTo>
                        <a:lnTo>
                          <a:pt x="0" y="351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17" name="Freeform: Shape 2516">
                    <a:extLst>
                      <a:ext uri="{FF2B5EF4-FFF2-40B4-BE49-F238E27FC236}">
                        <a16:creationId xmlns:a16="http://schemas.microsoft.com/office/drawing/2014/main" id="{746042FC-F243-4D71-B2BD-717EB231B94D}"/>
                      </a:ext>
                    </a:extLst>
                  </p:cNvPr>
                  <p:cNvSpPr/>
                  <p:nvPr/>
                </p:nvSpPr>
                <p:spPr>
                  <a:xfrm>
                    <a:off x="4829500" y="3148888"/>
                    <a:ext cx="11554" cy="74854"/>
                  </a:xfrm>
                  <a:custGeom>
                    <a:avLst/>
                    <a:gdLst>
                      <a:gd name="connsiteX0" fmla="*/ 11555 w 11554"/>
                      <a:gd name="connsiteY0" fmla="*/ 74855 h 74854"/>
                      <a:gd name="connsiteX1" fmla="*/ 0 w 11554"/>
                      <a:gd name="connsiteY1" fmla="*/ 68198 h 74854"/>
                      <a:gd name="connsiteX2" fmla="*/ 0 w 11554"/>
                      <a:gd name="connsiteY2" fmla="*/ 0 h 74854"/>
                      <a:gd name="connsiteX3" fmla="*/ 11555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11555" y="74855"/>
                        </a:moveTo>
                        <a:lnTo>
                          <a:pt x="0" y="68198"/>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18" name="Graphic 4">
                  <a:extLst>
                    <a:ext uri="{FF2B5EF4-FFF2-40B4-BE49-F238E27FC236}">
                      <a16:creationId xmlns:a16="http://schemas.microsoft.com/office/drawing/2014/main" id="{84FB7ED1-A2DF-40A1-A747-5F7CF3F14040}"/>
                    </a:ext>
                  </a:extLst>
                </p:cNvPr>
                <p:cNvGrpSpPr/>
                <p:nvPr/>
              </p:nvGrpSpPr>
              <p:grpSpPr>
                <a:xfrm>
                  <a:off x="4739574" y="3088225"/>
                  <a:ext cx="18964" cy="83646"/>
                  <a:chOff x="4739574" y="3088225"/>
                  <a:chExt cx="18964" cy="83646"/>
                </a:xfrm>
                <a:solidFill>
                  <a:srgbClr val="2E2E2E"/>
                </a:solidFill>
              </p:grpSpPr>
              <p:sp>
                <p:nvSpPr>
                  <p:cNvPr id="2519" name="Freeform: Shape 2518">
                    <a:extLst>
                      <a:ext uri="{FF2B5EF4-FFF2-40B4-BE49-F238E27FC236}">
                        <a16:creationId xmlns:a16="http://schemas.microsoft.com/office/drawing/2014/main" id="{F8B0643C-4A2D-48BF-BAC7-CE2E3926C4E5}"/>
                      </a:ext>
                    </a:extLst>
                  </p:cNvPr>
                  <p:cNvSpPr/>
                  <p:nvPr/>
                </p:nvSpPr>
                <p:spPr>
                  <a:xfrm>
                    <a:off x="4751129" y="3088225"/>
                    <a:ext cx="7410" cy="83646"/>
                  </a:xfrm>
                  <a:custGeom>
                    <a:avLst/>
                    <a:gdLst>
                      <a:gd name="connsiteX0" fmla="*/ 0 w 7410"/>
                      <a:gd name="connsiteY0" fmla="*/ 83646 h 83646"/>
                      <a:gd name="connsiteX1" fmla="*/ 7410 w 7410"/>
                      <a:gd name="connsiteY1" fmla="*/ 79250 h 83646"/>
                      <a:gd name="connsiteX2" fmla="*/ 7410 w 7410"/>
                      <a:gd name="connsiteY2" fmla="*/ 0 h 83646"/>
                      <a:gd name="connsiteX3" fmla="*/ 0 w 7410"/>
                      <a:gd name="connsiteY3" fmla="*/ 4270 h 83646"/>
                    </a:gdLst>
                    <a:ahLst/>
                    <a:cxnLst>
                      <a:cxn ang="0">
                        <a:pos x="connsiteX0" y="connsiteY0"/>
                      </a:cxn>
                      <a:cxn ang="0">
                        <a:pos x="connsiteX1" y="connsiteY1"/>
                      </a:cxn>
                      <a:cxn ang="0">
                        <a:pos x="connsiteX2" y="connsiteY2"/>
                      </a:cxn>
                      <a:cxn ang="0">
                        <a:pos x="connsiteX3" y="connsiteY3"/>
                      </a:cxn>
                    </a:cxnLst>
                    <a:rect l="l" t="t" r="r" b="b"/>
                    <a:pathLst>
                      <a:path w="7410" h="83646">
                        <a:moveTo>
                          <a:pt x="0" y="83646"/>
                        </a:moveTo>
                        <a:lnTo>
                          <a:pt x="7410" y="79250"/>
                        </a:lnTo>
                        <a:lnTo>
                          <a:pt x="7410" y="0"/>
                        </a:lnTo>
                        <a:lnTo>
                          <a:pt x="0" y="4270"/>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20" name="Freeform: Shape 2519">
                    <a:extLst>
                      <a:ext uri="{FF2B5EF4-FFF2-40B4-BE49-F238E27FC236}">
                        <a16:creationId xmlns:a16="http://schemas.microsoft.com/office/drawing/2014/main" id="{49F7D0BD-1CB3-4DB8-B37B-A70833BA5FFA}"/>
                      </a:ext>
                    </a:extLst>
                  </p:cNvPr>
                  <p:cNvSpPr/>
                  <p:nvPr/>
                </p:nvSpPr>
                <p:spPr>
                  <a:xfrm>
                    <a:off x="4739574" y="3096892"/>
                    <a:ext cx="11554" cy="74980"/>
                  </a:xfrm>
                  <a:custGeom>
                    <a:avLst/>
                    <a:gdLst>
                      <a:gd name="connsiteX0" fmla="*/ 11555 w 11554"/>
                      <a:gd name="connsiteY0" fmla="*/ 74980 h 74980"/>
                      <a:gd name="connsiteX1" fmla="*/ 0 w 11554"/>
                      <a:gd name="connsiteY1" fmla="*/ 68324 h 74980"/>
                      <a:gd name="connsiteX2" fmla="*/ 0 w 11554"/>
                      <a:gd name="connsiteY2" fmla="*/ 0 h 74980"/>
                      <a:gd name="connsiteX3" fmla="*/ 11555 w 11554"/>
                      <a:gd name="connsiteY3" fmla="*/ 6657 h 74980"/>
                    </a:gdLst>
                    <a:ahLst/>
                    <a:cxnLst>
                      <a:cxn ang="0">
                        <a:pos x="connsiteX0" y="connsiteY0"/>
                      </a:cxn>
                      <a:cxn ang="0">
                        <a:pos x="connsiteX1" y="connsiteY1"/>
                      </a:cxn>
                      <a:cxn ang="0">
                        <a:pos x="connsiteX2" y="connsiteY2"/>
                      </a:cxn>
                      <a:cxn ang="0">
                        <a:pos x="connsiteX3" y="connsiteY3"/>
                      </a:cxn>
                    </a:cxnLst>
                    <a:rect l="l" t="t" r="r" b="b"/>
                    <a:pathLst>
                      <a:path w="11554" h="74980">
                        <a:moveTo>
                          <a:pt x="11555" y="74980"/>
                        </a:moveTo>
                        <a:lnTo>
                          <a:pt x="0" y="68324"/>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21" name="Graphic 4">
                  <a:extLst>
                    <a:ext uri="{FF2B5EF4-FFF2-40B4-BE49-F238E27FC236}">
                      <a16:creationId xmlns:a16="http://schemas.microsoft.com/office/drawing/2014/main" id="{84FB7ED1-A2DF-40A1-A747-5F7CF3F14040}"/>
                    </a:ext>
                  </a:extLst>
                </p:cNvPr>
                <p:cNvGrpSpPr/>
                <p:nvPr/>
              </p:nvGrpSpPr>
              <p:grpSpPr>
                <a:xfrm>
                  <a:off x="4649774" y="3039244"/>
                  <a:ext cx="20220" cy="80631"/>
                  <a:chOff x="4649774" y="3039244"/>
                  <a:chExt cx="20220" cy="80631"/>
                </a:xfrm>
                <a:solidFill>
                  <a:srgbClr val="2E2E2E"/>
                </a:solidFill>
              </p:grpSpPr>
              <p:sp>
                <p:nvSpPr>
                  <p:cNvPr id="2522" name="Freeform: Shape 2521">
                    <a:extLst>
                      <a:ext uri="{FF2B5EF4-FFF2-40B4-BE49-F238E27FC236}">
                        <a16:creationId xmlns:a16="http://schemas.microsoft.com/office/drawing/2014/main" id="{F659799E-3A51-4DDD-BABD-38CF10A9A583}"/>
                      </a:ext>
                    </a:extLst>
                  </p:cNvPr>
                  <p:cNvSpPr/>
                  <p:nvPr/>
                </p:nvSpPr>
                <p:spPr>
                  <a:xfrm>
                    <a:off x="4661203" y="3039244"/>
                    <a:ext cx="8791" cy="80631"/>
                  </a:xfrm>
                  <a:custGeom>
                    <a:avLst/>
                    <a:gdLst>
                      <a:gd name="connsiteX0" fmla="*/ 0 w 8791"/>
                      <a:gd name="connsiteY0" fmla="*/ 80632 h 80631"/>
                      <a:gd name="connsiteX1" fmla="*/ 8792 w 8791"/>
                      <a:gd name="connsiteY1" fmla="*/ 75608 h 80631"/>
                      <a:gd name="connsiteX2" fmla="*/ 8792 w 8791"/>
                      <a:gd name="connsiteY2" fmla="*/ 0 h 80631"/>
                      <a:gd name="connsiteX3" fmla="*/ 0 w 8791"/>
                      <a:gd name="connsiteY3" fmla="*/ 5024 h 80631"/>
                    </a:gdLst>
                    <a:ahLst/>
                    <a:cxnLst>
                      <a:cxn ang="0">
                        <a:pos x="connsiteX0" y="connsiteY0"/>
                      </a:cxn>
                      <a:cxn ang="0">
                        <a:pos x="connsiteX1" y="connsiteY1"/>
                      </a:cxn>
                      <a:cxn ang="0">
                        <a:pos x="connsiteX2" y="connsiteY2"/>
                      </a:cxn>
                      <a:cxn ang="0">
                        <a:pos x="connsiteX3" y="connsiteY3"/>
                      </a:cxn>
                    </a:cxnLst>
                    <a:rect l="l" t="t" r="r" b="b"/>
                    <a:pathLst>
                      <a:path w="8791" h="80631">
                        <a:moveTo>
                          <a:pt x="0" y="80632"/>
                        </a:moveTo>
                        <a:lnTo>
                          <a:pt x="8792" y="75608"/>
                        </a:lnTo>
                        <a:lnTo>
                          <a:pt x="8792" y="0"/>
                        </a:lnTo>
                        <a:lnTo>
                          <a:pt x="0" y="5024"/>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23" name="Freeform: Shape 2522">
                    <a:extLst>
                      <a:ext uri="{FF2B5EF4-FFF2-40B4-BE49-F238E27FC236}">
                        <a16:creationId xmlns:a16="http://schemas.microsoft.com/office/drawing/2014/main" id="{1CCB58F2-B52C-4C9B-93EE-B10D20F134B2}"/>
                      </a:ext>
                    </a:extLst>
                  </p:cNvPr>
                  <p:cNvSpPr/>
                  <p:nvPr/>
                </p:nvSpPr>
                <p:spPr>
                  <a:xfrm>
                    <a:off x="4649774" y="3045021"/>
                    <a:ext cx="11428" cy="74854"/>
                  </a:xfrm>
                  <a:custGeom>
                    <a:avLst/>
                    <a:gdLst>
                      <a:gd name="connsiteX0" fmla="*/ 11429 w 11428"/>
                      <a:gd name="connsiteY0" fmla="*/ 74855 h 74854"/>
                      <a:gd name="connsiteX1" fmla="*/ 0 w 11428"/>
                      <a:gd name="connsiteY1" fmla="*/ 68198 h 74854"/>
                      <a:gd name="connsiteX2" fmla="*/ 0 w 11428"/>
                      <a:gd name="connsiteY2" fmla="*/ 0 h 74854"/>
                      <a:gd name="connsiteX3" fmla="*/ 11429 w 11428"/>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428" h="74854">
                        <a:moveTo>
                          <a:pt x="11429" y="74855"/>
                        </a:moveTo>
                        <a:lnTo>
                          <a:pt x="0" y="68198"/>
                        </a:lnTo>
                        <a:lnTo>
                          <a:pt x="0" y="0"/>
                        </a:lnTo>
                        <a:lnTo>
                          <a:pt x="11429"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24" name="Graphic 4">
                  <a:extLst>
                    <a:ext uri="{FF2B5EF4-FFF2-40B4-BE49-F238E27FC236}">
                      <a16:creationId xmlns:a16="http://schemas.microsoft.com/office/drawing/2014/main" id="{84FB7ED1-A2DF-40A1-A747-5F7CF3F14040}"/>
                    </a:ext>
                  </a:extLst>
                </p:cNvPr>
                <p:cNvGrpSpPr/>
                <p:nvPr/>
              </p:nvGrpSpPr>
              <p:grpSpPr>
                <a:xfrm>
                  <a:off x="4559848" y="2990136"/>
                  <a:ext cx="21602" cy="77868"/>
                  <a:chOff x="4559848" y="2990136"/>
                  <a:chExt cx="21602" cy="77868"/>
                </a:xfrm>
                <a:solidFill>
                  <a:srgbClr val="2E2E2E"/>
                </a:solidFill>
              </p:grpSpPr>
              <p:sp>
                <p:nvSpPr>
                  <p:cNvPr id="2525" name="Freeform: Shape 2524">
                    <a:extLst>
                      <a:ext uri="{FF2B5EF4-FFF2-40B4-BE49-F238E27FC236}">
                        <a16:creationId xmlns:a16="http://schemas.microsoft.com/office/drawing/2014/main" id="{0F622DC6-41B1-487A-B141-CD51C0AD03C3}"/>
                      </a:ext>
                    </a:extLst>
                  </p:cNvPr>
                  <p:cNvSpPr/>
                  <p:nvPr/>
                </p:nvSpPr>
                <p:spPr>
                  <a:xfrm>
                    <a:off x="4571277" y="2990136"/>
                    <a:ext cx="10173" cy="77868"/>
                  </a:xfrm>
                  <a:custGeom>
                    <a:avLst/>
                    <a:gdLst>
                      <a:gd name="connsiteX0" fmla="*/ 0 w 10173"/>
                      <a:gd name="connsiteY0" fmla="*/ 77869 h 77868"/>
                      <a:gd name="connsiteX1" fmla="*/ 10173 w 10173"/>
                      <a:gd name="connsiteY1" fmla="*/ 71966 h 77868"/>
                      <a:gd name="connsiteX2" fmla="*/ 10173 w 10173"/>
                      <a:gd name="connsiteY2" fmla="*/ 0 h 77868"/>
                      <a:gd name="connsiteX3" fmla="*/ 0 w 10173"/>
                      <a:gd name="connsiteY3" fmla="*/ 5903 h 77868"/>
                    </a:gdLst>
                    <a:ahLst/>
                    <a:cxnLst>
                      <a:cxn ang="0">
                        <a:pos x="connsiteX0" y="connsiteY0"/>
                      </a:cxn>
                      <a:cxn ang="0">
                        <a:pos x="connsiteX1" y="connsiteY1"/>
                      </a:cxn>
                      <a:cxn ang="0">
                        <a:pos x="connsiteX2" y="connsiteY2"/>
                      </a:cxn>
                      <a:cxn ang="0">
                        <a:pos x="connsiteX3" y="connsiteY3"/>
                      </a:cxn>
                    </a:cxnLst>
                    <a:rect l="l" t="t" r="r" b="b"/>
                    <a:pathLst>
                      <a:path w="10173" h="77868">
                        <a:moveTo>
                          <a:pt x="0" y="77869"/>
                        </a:moveTo>
                        <a:lnTo>
                          <a:pt x="10173" y="71966"/>
                        </a:lnTo>
                        <a:lnTo>
                          <a:pt x="10173" y="0"/>
                        </a:lnTo>
                        <a:lnTo>
                          <a:pt x="0" y="5903"/>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26" name="Freeform: Shape 2525">
                    <a:extLst>
                      <a:ext uri="{FF2B5EF4-FFF2-40B4-BE49-F238E27FC236}">
                        <a16:creationId xmlns:a16="http://schemas.microsoft.com/office/drawing/2014/main" id="{5410616C-0863-44D9-86F8-24D7FF54CF40}"/>
                      </a:ext>
                    </a:extLst>
                  </p:cNvPr>
                  <p:cNvSpPr/>
                  <p:nvPr/>
                </p:nvSpPr>
                <p:spPr>
                  <a:xfrm>
                    <a:off x="4559848" y="2993150"/>
                    <a:ext cx="11429" cy="74854"/>
                  </a:xfrm>
                  <a:custGeom>
                    <a:avLst/>
                    <a:gdLst>
                      <a:gd name="connsiteX0" fmla="*/ 11429 w 11429"/>
                      <a:gd name="connsiteY0" fmla="*/ 74854 h 74854"/>
                      <a:gd name="connsiteX1" fmla="*/ 0 w 11429"/>
                      <a:gd name="connsiteY1" fmla="*/ 68198 h 74854"/>
                      <a:gd name="connsiteX2" fmla="*/ 0 w 11429"/>
                      <a:gd name="connsiteY2" fmla="*/ 0 h 74854"/>
                      <a:gd name="connsiteX3" fmla="*/ 11429 w 11429"/>
                      <a:gd name="connsiteY3" fmla="*/ 6531 h 74854"/>
                    </a:gdLst>
                    <a:ahLst/>
                    <a:cxnLst>
                      <a:cxn ang="0">
                        <a:pos x="connsiteX0" y="connsiteY0"/>
                      </a:cxn>
                      <a:cxn ang="0">
                        <a:pos x="connsiteX1" y="connsiteY1"/>
                      </a:cxn>
                      <a:cxn ang="0">
                        <a:pos x="connsiteX2" y="connsiteY2"/>
                      </a:cxn>
                      <a:cxn ang="0">
                        <a:pos x="connsiteX3" y="connsiteY3"/>
                      </a:cxn>
                    </a:cxnLst>
                    <a:rect l="l" t="t" r="r" b="b"/>
                    <a:pathLst>
                      <a:path w="11429" h="74854">
                        <a:moveTo>
                          <a:pt x="11429" y="74854"/>
                        </a:moveTo>
                        <a:lnTo>
                          <a:pt x="0" y="68198"/>
                        </a:lnTo>
                        <a:lnTo>
                          <a:pt x="0" y="0"/>
                        </a:lnTo>
                        <a:lnTo>
                          <a:pt x="11429" y="6531"/>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27" name="Graphic 4">
                  <a:extLst>
                    <a:ext uri="{FF2B5EF4-FFF2-40B4-BE49-F238E27FC236}">
                      <a16:creationId xmlns:a16="http://schemas.microsoft.com/office/drawing/2014/main" id="{84FB7ED1-A2DF-40A1-A747-5F7CF3F14040}"/>
                    </a:ext>
                  </a:extLst>
                </p:cNvPr>
                <p:cNvGrpSpPr/>
                <p:nvPr/>
              </p:nvGrpSpPr>
              <p:grpSpPr>
                <a:xfrm>
                  <a:off x="4469922" y="2941154"/>
                  <a:ext cx="22983" cy="74854"/>
                  <a:chOff x="4469922" y="2941154"/>
                  <a:chExt cx="22983" cy="74854"/>
                </a:xfrm>
                <a:solidFill>
                  <a:srgbClr val="2E2E2E"/>
                </a:solidFill>
              </p:grpSpPr>
              <p:sp>
                <p:nvSpPr>
                  <p:cNvPr id="2528" name="Freeform: Shape 2527">
                    <a:extLst>
                      <a:ext uri="{FF2B5EF4-FFF2-40B4-BE49-F238E27FC236}">
                        <a16:creationId xmlns:a16="http://schemas.microsoft.com/office/drawing/2014/main" id="{8929E34F-7099-4D11-B721-37810DA68355}"/>
                      </a:ext>
                    </a:extLst>
                  </p:cNvPr>
                  <p:cNvSpPr/>
                  <p:nvPr/>
                </p:nvSpPr>
                <p:spPr>
                  <a:xfrm>
                    <a:off x="4481351" y="2941154"/>
                    <a:ext cx="11554" cy="74854"/>
                  </a:xfrm>
                  <a:custGeom>
                    <a:avLst/>
                    <a:gdLst>
                      <a:gd name="connsiteX0" fmla="*/ 0 w 11554"/>
                      <a:gd name="connsiteY0" fmla="*/ 74854 h 74854"/>
                      <a:gd name="connsiteX1" fmla="*/ 11555 w 11554"/>
                      <a:gd name="connsiteY1" fmla="*/ 68198 h 74854"/>
                      <a:gd name="connsiteX2" fmla="*/ 11555 w 11554"/>
                      <a:gd name="connsiteY2" fmla="*/ 0 h 74854"/>
                      <a:gd name="connsiteX3" fmla="*/ 0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0" y="74854"/>
                        </a:moveTo>
                        <a:lnTo>
                          <a:pt x="11555" y="68198"/>
                        </a:lnTo>
                        <a:lnTo>
                          <a:pt x="11555" y="0"/>
                        </a:lnTo>
                        <a:lnTo>
                          <a:pt x="0"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29" name="Freeform: Shape 2528">
                    <a:extLst>
                      <a:ext uri="{FF2B5EF4-FFF2-40B4-BE49-F238E27FC236}">
                        <a16:creationId xmlns:a16="http://schemas.microsoft.com/office/drawing/2014/main" id="{B3C7005E-4368-46EA-BB8E-D5EDCDF7C715}"/>
                      </a:ext>
                    </a:extLst>
                  </p:cNvPr>
                  <p:cNvSpPr/>
                  <p:nvPr/>
                </p:nvSpPr>
                <p:spPr>
                  <a:xfrm>
                    <a:off x="4469922" y="2941154"/>
                    <a:ext cx="11429" cy="74854"/>
                  </a:xfrm>
                  <a:custGeom>
                    <a:avLst/>
                    <a:gdLst>
                      <a:gd name="connsiteX0" fmla="*/ 11429 w 11429"/>
                      <a:gd name="connsiteY0" fmla="*/ 74854 h 74854"/>
                      <a:gd name="connsiteX1" fmla="*/ 0 w 11429"/>
                      <a:gd name="connsiteY1" fmla="*/ 68198 h 74854"/>
                      <a:gd name="connsiteX2" fmla="*/ 0 w 11429"/>
                      <a:gd name="connsiteY2" fmla="*/ 0 h 74854"/>
                      <a:gd name="connsiteX3" fmla="*/ 11429 w 11429"/>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429" h="74854">
                        <a:moveTo>
                          <a:pt x="11429" y="74854"/>
                        </a:moveTo>
                        <a:lnTo>
                          <a:pt x="0" y="68198"/>
                        </a:lnTo>
                        <a:lnTo>
                          <a:pt x="0" y="0"/>
                        </a:lnTo>
                        <a:lnTo>
                          <a:pt x="11429"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530" name="Freeform: Shape 2529">
                <a:extLst>
                  <a:ext uri="{FF2B5EF4-FFF2-40B4-BE49-F238E27FC236}">
                    <a16:creationId xmlns:a16="http://schemas.microsoft.com/office/drawing/2014/main" id="{31C36DF5-A07B-4580-9A4E-B5EC4C268B67}"/>
                  </a:ext>
                </a:extLst>
              </p:cNvPr>
              <p:cNvSpPr/>
              <p:nvPr/>
            </p:nvSpPr>
            <p:spPr>
              <a:xfrm>
                <a:off x="4390169" y="2929474"/>
                <a:ext cx="97335" cy="73975"/>
              </a:xfrm>
              <a:custGeom>
                <a:avLst/>
                <a:gdLst>
                  <a:gd name="connsiteX0" fmla="*/ 0 w 97335"/>
                  <a:gd name="connsiteY0" fmla="*/ 73975 h 73975"/>
                  <a:gd name="connsiteX1" fmla="*/ 97336 w 97335"/>
                  <a:gd name="connsiteY1" fmla="*/ 17709 h 73975"/>
                  <a:gd name="connsiteX2" fmla="*/ 97336 w 97335"/>
                  <a:gd name="connsiteY2" fmla="*/ 0 h 73975"/>
                  <a:gd name="connsiteX3" fmla="*/ 0 w 97335"/>
                  <a:gd name="connsiteY3" fmla="*/ 56267 h 73975"/>
                </a:gdLst>
                <a:ahLst/>
                <a:cxnLst>
                  <a:cxn ang="0">
                    <a:pos x="connsiteX0" y="connsiteY0"/>
                  </a:cxn>
                  <a:cxn ang="0">
                    <a:pos x="connsiteX1" y="connsiteY1"/>
                  </a:cxn>
                  <a:cxn ang="0">
                    <a:pos x="connsiteX2" y="connsiteY2"/>
                  </a:cxn>
                  <a:cxn ang="0">
                    <a:pos x="connsiteX3" y="connsiteY3"/>
                  </a:cxn>
                </a:cxnLst>
                <a:rect l="l" t="t" r="r" b="b"/>
                <a:pathLst>
                  <a:path w="97335" h="73975">
                    <a:moveTo>
                      <a:pt x="0" y="73975"/>
                    </a:moveTo>
                    <a:lnTo>
                      <a:pt x="97336" y="17709"/>
                    </a:lnTo>
                    <a:lnTo>
                      <a:pt x="97336" y="0"/>
                    </a:lnTo>
                    <a:lnTo>
                      <a:pt x="0" y="56267"/>
                    </a:lnTo>
                    <a:close/>
                  </a:path>
                </a:pathLst>
              </a:custGeom>
              <a:solidFill>
                <a:srgbClr val="858B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531" name="Graphic 4">
                <a:extLst>
                  <a:ext uri="{FF2B5EF4-FFF2-40B4-BE49-F238E27FC236}">
                    <a16:creationId xmlns:a16="http://schemas.microsoft.com/office/drawing/2014/main" id="{84FB7ED1-A2DF-40A1-A747-5F7CF3F14040}"/>
                  </a:ext>
                </a:extLst>
              </p:cNvPr>
              <p:cNvGrpSpPr/>
              <p:nvPr/>
            </p:nvGrpSpPr>
            <p:grpSpPr>
              <a:xfrm>
                <a:off x="4384015" y="2925957"/>
                <a:ext cx="463193" cy="229587"/>
                <a:chOff x="4384015" y="2925957"/>
                <a:chExt cx="463193" cy="229587"/>
              </a:xfrm>
              <a:solidFill>
                <a:srgbClr val="2E2E2E"/>
              </a:solidFill>
            </p:grpSpPr>
            <p:sp>
              <p:nvSpPr>
                <p:cNvPr id="2532" name="Freeform: Shape 2531">
                  <a:extLst>
                    <a:ext uri="{FF2B5EF4-FFF2-40B4-BE49-F238E27FC236}">
                      <a16:creationId xmlns:a16="http://schemas.microsoft.com/office/drawing/2014/main" id="{F6836598-ED71-4462-A5F7-0192BA2B3BA5}"/>
                    </a:ext>
                  </a:extLst>
                </p:cNvPr>
                <p:cNvSpPr/>
                <p:nvPr/>
              </p:nvSpPr>
              <p:spPr>
                <a:xfrm>
                  <a:off x="4475323" y="2925957"/>
                  <a:ext cx="371886" cy="214767"/>
                </a:xfrm>
                <a:custGeom>
                  <a:avLst/>
                  <a:gdLst>
                    <a:gd name="connsiteX0" fmla="*/ 365732 w 371886"/>
                    <a:gd name="connsiteY0" fmla="*/ 214767 h 214767"/>
                    <a:gd name="connsiteX1" fmla="*/ 0 w 371886"/>
                    <a:gd name="connsiteY1" fmla="*/ 3517 h 214767"/>
                    <a:gd name="connsiteX2" fmla="*/ 6029 w 371886"/>
                    <a:gd name="connsiteY2" fmla="*/ 0 h 214767"/>
                    <a:gd name="connsiteX3" fmla="*/ 371886 w 371886"/>
                    <a:gd name="connsiteY3" fmla="*/ 211251 h 214767"/>
                  </a:gdLst>
                  <a:ahLst/>
                  <a:cxnLst>
                    <a:cxn ang="0">
                      <a:pos x="connsiteX0" y="connsiteY0"/>
                    </a:cxn>
                    <a:cxn ang="0">
                      <a:pos x="connsiteX1" y="connsiteY1"/>
                    </a:cxn>
                    <a:cxn ang="0">
                      <a:pos x="connsiteX2" y="connsiteY2"/>
                    </a:cxn>
                    <a:cxn ang="0">
                      <a:pos x="connsiteX3" y="connsiteY3"/>
                    </a:cxn>
                  </a:cxnLst>
                  <a:rect l="l" t="t" r="r" b="b"/>
                  <a:pathLst>
                    <a:path w="371886" h="214767">
                      <a:moveTo>
                        <a:pt x="365732" y="214767"/>
                      </a:moveTo>
                      <a:lnTo>
                        <a:pt x="0" y="3517"/>
                      </a:lnTo>
                      <a:lnTo>
                        <a:pt x="6029" y="0"/>
                      </a:lnTo>
                      <a:lnTo>
                        <a:pt x="371886" y="211251"/>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33" name="Freeform: Shape 2532">
                  <a:extLst>
                    <a:ext uri="{FF2B5EF4-FFF2-40B4-BE49-F238E27FC236}">
                      <a16:creationId xmlns:a16="http://schemas.microsoft.com/office/drawing/2014/main" id="{3A97DCE1-B597-4937-ABAA-1FF80381B5BA}"/>
                    </a:ext>
                  </a:extLst>
                </p:cNvPr>
                <p:cNvSpPr/>
                <p:nvPr/>
              </p:nvSpPr>
              <p:spPr>
                <a:xfrm>
                  <a:off x="4384015" y="2925957"/>
                  <a:ext cx="97335" cy="56266"/>
                </a:xfrm>
                <a:custGeom>
                  <a:avLst/>
                  <a:gdLst>
                    <a:gd name="connsiteX0" fmla="*/ 12183 w 97335"/>
                    <a:gd name="connsiteY0" fmla="*/ 56266 h 56266"/>
                    <a:gd name="connsiteX1" fmla="*/ 97336 w 97335"/>
                    <a:gd name="connsiteY1" fmla="*/ 7033 h 56266"/>
                    <a:gd name="connsiteX2" fmla="*/ 97336 w 97335"/>
                    <a:gd name="connsiteY2" fmla="*/ 0 h 56266"/>
                    <a:gd name="connsiteX3" fmla="*/ 0 w 97335"/>
                    <a:gd name="connsiteY3" fmla="*/ 56266 h 56266"/>
                  </a:gdLst>
                  <a:ahLst/>
                  <a:cxnLst>
                    <a:cxn ang="0">
                      <a:pos x="connsiteX0" y="connsiteY0"/>
                    </a:cxn>
                    <a:cxn ang="0">
                      <a:pos x="connsiteX1" y="connsiteY1"/>
                    </a:cxn>
                    <a:cxn ang="0">
                      <a:pos x="connsiteX2" y="connsiteY2"/>
                    </a:cxn>
                    <a:cxn ang="0">
                      <a:pos x="connsiteX3" y="connsiteY3"/>
                    </a:cxn>
                  </a:cxnLst>
                  <a:rect l="l" t="t" r="r" b="b"/>
                  <a:pathLst>
                    <a:path w="97335" h="56266">
                      <a:moveTo>
                        <a:pt x="12183" y="56266"/>
                      </a:moveTo>
                      <a:lnTo>
                        <a:pt x="97336" y="7033"/>
                      </a:lnTo>
                      <a:lnTo>
                        <a:pt x="97336" y="0"/>
                      </a:lnTo>
                      <a:lnTo>
                        <a:pt x="0" y="56266"/>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34" name="Freeform: Shape 2533">
                  <a:extLst>
                    <a:ext uri="{FF2B5EF4-FFF2-40B4-BE49-F238E27FC236}">
                      <a16:creationId xmlns:a16="http://schemas.microsoft.com/office/drawing/2014/main" id="{91BF0B91-561B-4D02-9314-95507D612105}"/>
                    </a:ext>
                  </a:extLst>
                </p:cNvPr>
                <p:cNvSpPr/>
                <p:nvPr/>
              </p:nvSpPr>
              <p:spPr>
                <a:xfrm>
                  <a:off x="4475323" y="2932990"/>
                  <a:ext cx="365732" cy="222553"/>
                </a:xfrm>
                <a:custGeom>
                  <a:avLst/>
                  <a:gdLst>
                    <a:gd name="connsiteX0" fmla="*/ 365732 w 365732"/>
                    <a:gd name="connsiteY0" fmla="*/ 222554 h 222553"/>
                    <a:gd name="connsiteX1" fmla="*/ 0 w 365732"/>
                    <a:gd name="connsiteY1" fmla="*/ 14192 h 222553"/>
                    <a:gd name="connsiteX2" fmla="*/ 6029 w 365732"/>
                    <a:gd name="connsiteY2" fmla="*/ 0 h 222553"/>
                    <a:gd name="connsiteX3" fmla="*/ 365732 w 365732"/>
                    <a:gd name="connsiteY3" fmla="*/ 207734 h 222553"/>
                  </a:gdLst>
                  <a:ahLst/>
                  <a:cxnLst>
                    <a:cxn ang="0">
                      <a:pos x="connsiteX0" y="connsiteY0"/>
                    </a:cxn>
                    <a:cxn ang="0">
                      <a:pos x="connsiteX1" y="connsiteY1"/>
                    </a:cxn>
                    <a:cxn ang="0">
                      <a:pos x="connsiteX2" y="connsiteY2"/>
                    </a:cxn>
                    <a:cxn ang="0">
                      <a:pos x="connsiteX3" y="connsiteY3"/>
                    </a:cxn>
                  </a:cxnLst>
                  <a:rect l="l" t="t" r="r" b="b"/>
                  <a:pathLst>
                    <a:path w="365732" h="222553">
                      <a:moveTo>
                        <a:pt x="365732" y="222554"/>
                      </a:moveTo>
                      <a:lnTo>
                        <a:pt x="0" y="14192"/>
                      </a:lnTo>
                      <a:lnTo>
                        <a:pt x="6029" y="0"/>
                      </a:lnTo>
                      <a:lnTo>
                        <a:pt x="365732" y="207734"/>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35" name="Graphic 4">
                <a:extLst>
                  <a:ext uri="{FF2B5EF4-FFF2-40B4-BE49-F238E27FC236}">
                    <a16:creationId xmlns:a16="http://schemas.microsoft.com/office/drawing/2014/main" id="{84FB7ED1-A2DF-40A1-A747-5F7CF3F14040}"/>
                  </a:ext>
                </a:extLst>
              </p:cNvPr>
              <p:cNvGrpSpPr/>
              <p:nvPr/>
            </p:nvGrpSpPr>
            <p:grpSpPr>
              <a:xfrm>
                <a:off x="4403231" y="2929391"/>
                <a:ext cx="485926" cy="315040"/>
                <a:chOff x="4403231" y="2929391"/>
                <a:chExt cx="485926" cy="315040"/>
              </a:xfrm>
              <a:solidFill>
                <a:schemeClr val="accent1"/>
              </a:solidFill>
            </p:grpSpPr>
            <p:grpSp>
              <p:nvGrpSpPr>
                <p:cNvPr id="2536" name="Graphic 4">
                  <a:extLst>
                    <a:ext uri="{FF2B5EF4-FFF2-40B4-BE49-F238E27FC236}">
                      <a16:creationId xmlns:a16="http://schemas.microsoft.com/office/drawing/2014/main" id="{84FB7ED1-A2DF-40A1-A747-5F7CF3F14040}"/>
                    </a:ext>
                  </a:extLst>
                </p:cNvPr>
                <p:cNvGrpSpPr/>
                <p:nvPr/>
              </p:nvGrpSpPr>
              <p:grpSpPr>
                <a:xfrm>
                  <a:off x="4403231" y="2929391"/>
                  <a:ext cx="485926" cy="315040"/>
                  <a:chOff x="4403231" y="2929391"/>
                  <a:chExt cx="485926" cy="315040"/>
                </a:xfrm>
                <a:solidFill>
                  <a:schemeClr val="accent1"/>
                </a:solidFill>
              </p:grpSpPr>
              <p:sp>
                <p:nvSpPr>
                  <p:cNvPr id="2537" name="Freeform: Shape 2536">
                    <a:extLst>
                      <a:ext uri="{FF2B5EF4-FFF2-40B4-BE49-F238E27FC236}">
                        <a16:creationId xmlns:a16="http://schemas.microsoft.com/office/drawing/2014/main" id="{26653E67-E8C1-48D4-8219-DB18EBB0ECEC}"/>
                      </a:ext>
                    </a:extLst>
                  </p:cNvPr>
                  <p:cNvSpPr/>
                  <p:nvPr/>
                </p:nvSpPr>
                <p:spPr>
                  <a:xfrm>
                    <a:off x="4409888" y="2929391"/>
                    <a:ext cx="479269" cy="309422"/>
                  </a:xfrm>
                  <a:custGeom>
                    <a:avLst/>
                    <a:gdLst>
                      <a:gd name="connsiteX0" fmla="*/ 479270 w 479269"/>
                      <a:gd name="connsiteY0" fmla="*/ 249639 h 309422"/>
                      <a:gd name="connsiteX1" fmla="*/ 455030 w 479269"/>
                      <a:gd name="connsiteY1" fmla="*/ 207565 h 309422"/>
                      <a:gd name="connsiteX2" fmla="*/ 101355 w 479269"/>
                      <a:gd name="connsiteY2" fmla="*/ 2594 h 309422"/>
                      <a:gd name="connsiteX3" fmla="*/ 81385 w 479269"/>
                      <a:gd name="connsiteY3" fmla="*/ 3097 h 309422"/>
                      <a:gd name="connsiteX4" fmla="*/ 0 w 479269"/>
                      <a:gd name="connsiteY4" fmla="*/ 51074 h 309422"/>
                      <a:gd name="connsiteX5" fmla="*/ 394870 w 479269"/>
                      <a:gd name="connsiteY5" fmla="*/ 309422 h 309422"/>
                      <a:gd name="connsiteX6" fmla="*/ 467212 w 479269"/>
                      <a:gd name="connsiteY6" fmla="*/ 267599 h 309422"/>
                      <a:gd name="connsiteX7" fmla="*/ 471985 w 479269"/>
                      <a:gd name="connsiteY7" fmla="*/ 264836 h 309422"/>
                      <a:gd name="connsiteX8" fmla="*/ 471985 w 479269"/>
                      <a:gd name="connsiteY8" fmla="*/ 264836 h 309422"/>
                      <a:gd name="connsiteX9" fmla="*/ 471985 w 479269"/>
                      <a:gd name="connsiteY9" fmla="*/ 264836 h 309422"/>
                      <a:gd name="connsiteX10" fmla="*/ 479270 w 479269"/>
                      <a:gd name="connsiteY10" fmla="*/ 249639 h 309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9269" h="309422">
                        <a:moveTo>
                          <a:pt x="479270" y="249639"/>
                        </a:moveTo>
                        <a:cubicBezTo>
                          <a:pt x="479270" y="232307"/>
                          <a:pt x="469976" y="216231"/>
                          <a:pt x="455030" y="207565"/>
                        </a:cubicBezTo>
                        <a:lnTo>
                          <a:pt x="101355" y="2594"/>
                        </a:lnTo>
                        <a:cubicBezTo>
                          <a:pt x="94698" y="-1299"/>
                          <a:pt x="87037" y="-546"/>
                          <a:pt x="81385" y="3097"/>
                        </a:cubicBezTo>
                        <a:lnTo>
                          <a:pt x="0" y="51074"/>
                        </a:lnTo>
                        <a:lnTo>
                          <a:pt x="394870" y="309422"/>
                        </a:lnTo>
                        <a:lnTo>
                          <a:pt x="467212" y="267599"/>
                        </a:lnTo>
                        <a:cubicBezTo>
                          <a:pt x="468971" y="266846"/>
                          <a:pt x="470604" y="265966"/>
                          <a:pt x="471985" y="264836"/>
                        </a:cubicBezTo>
                        <a:lnTo>
                          <a:pt x="471985" y="264836"/>
                        </a:lnTo>
                        <a:lnTo>
                          <a:pt x="471985" y="264836"/>
                        </a:lnTo>
                        <a:cubicBezTo>
                          <a:pt x="476255" y="261320"/>
                          <a:pt x="479270" y="256045"/>
                          <a:pt x="479270" y="249639"/>
                        </a:cubicBezTo>
                        <a:close/>
                      </a:path>
                    </a:pathLst>
                  </a:custGeom>
                  <a:solidFill>
                    <a:srgbClr val="676F7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38" name="Freeform: Shape 2537">
                    <a:extLst>
                      <a:ext uri="{FF2B5EF4-FFF2-40B4-BE49-F238E27FC236}">
                        <a16:creationId xmlns:a16="http://schemas.microsoft.com/office/drawing/2014/main" id="{BF9F953B-F7F9-4C45-AD93-1134BB8683BD}"/>
                      </a:ext>
                    </a:extLst>
                  </p:cNvPr>
                  <p:cNvSpPr/>
                  <p:nvPr/>
                </p:nvSpPr>
                <p:spPr>
                  <a:xfrm>
                    <a:off x="4752887" y="3137082"/>
                    <a:ext cx="136270" cy="101731"/>
                  </a:xfrm>
                  <a:custGeom>
                    <a:avLst/>
                    <a:gdLst>
                      <a:gd name="connsiteX0" fmla="*/ 0 w 136270"/>
                      <a:gd name="connsiteY0" fmla="*/ 64681 h 101731"/>
                      <a:gd name="connsiteX1" fmla="*/ 112156 w 136270"/>
                      <a:gd name="connsiteY1" fmla="*/ 0 h 101731"/>
                      <a:gd name="connsiteX2" fmla="*/ 136270 w 136270"/>
                      <a:gd name="connsiteY2" fmla="*/ 41949 h 101731"/>
                      <a:gd name="connsiteX3" fmla="*/ 128860 w 136270"/>
                      <a:gd name="connsiteY3" fmla="*/ 57146 h 101731"/>
                      <a:gd name="connsiteX4" fmla="*/ 128860 w 136270"/>
                      <a:gd name="connsiteY4" fmla="*/ 57146 h 101731"/>
                      <a:gd name="connsiteX5" fmla="*/ 128860 w 136270"/>
                      <a:gd name="connsiteY5" fmla="*/ 57146 h 101731"/>
                      <a:gd name="connsiteX6" fmla="*/ 124088 w 136270"/>
                      <a:gd name="connsiteY6" fmla="*/ 59909 h 101731"/>
                      <a:gd name="connsiteX7" fmla="*/ 51745 w 136270"/>
                      <a:gd name="connsiteY7" fmla="*/ 101732 h 101731"/>
                      <a:gd name="connsiteX8" fmla="*/ 0 w 136270"/>
                      <a:gd name="connsiteY8" fmla="*/ 64681 h 10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270" h="101731">
                        <a:moveTo>
                          <a:pt x="0" y="64681"/>
                        </a:moveTo>
                        <a:lnTo>
                          <a:pt x="112156" y="0"/>
                        </a:lnTo>
                        <a:cubicBezTo>
                          <a:pt x="127102" y="8666"/>
                          <a:pt x="136270" y="24742"/>
                          <a:pt x="136270" y="41949"/>
                        </a:cubicBezTo>
                        <a:cubicBezTo>
                          <a:pt x="136270" y="48354"/>
                          <a:pt x="133256" y="53629"/>
                          <a:pt x="128860" y="57146"/>
                        </a:cubicBezTo>
                        <a:lnTo>
                          <a:pt x="128860" y="57146"/>
                        </a:lnTo>
                        <a:lnTo>
                          <a:pt x="128860" y="57146"/>
                        </a:lnTo>
                        <a:cubicBezTo>
                          <a:pt x="127353" y="58276"/>
                          <a:pt x="125720" y="59281"/>
                          <a:pt x="124088" y="59909"/>
                        </a:cubicBezTo>
                        <a:lnTo>
                          <a:pt x="51745" y="101732"/>
                        </a:lnTo>
                        <a:lnTo>
                          <a:pt x="0" y="64681"/>
                        </a:lnTo>
                        <a:close/>
                      </a:path>
                    </a:pathLst>
                  </a:custGeom>
                  <a:solidFill>
                    <a:srgbClr val="555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39" name="Freeform: Shape 2538">
                    <a:extLst>
                      <a:ext uri="{FF2B5EF4-FFF2-40B4-BE49-F238E27FC236}">
                        <a16:creationId xmlns:a16="http://schemas.microsoft.com/office/drawing/2014/main" id="{7B5E440A-A850-4601-8E4E-38BA076AF868}"/>
                      </a:ext>
                    </a:extLst>
                  </p:cNvPr>
                  <p:cNvSpPr/>
                  <p:nvPr/>
                </p:nvSpPr>
                <p:spPr>
                  <a:xfrm>
                    <a:off x="4784411" y="3164964"/>
                    <a:ext cx="104746" cy="73849"/>
                  </a:xfrm>
                  <a:custGeom>
                    <a:avLst/>
                    <a:gdLst>
                      <a:gd name="connsiteX0" fmla="*/ 0 w 104746"/>
                      <a:gd name="connsiteY0" fmla="*/ 59281 h 73849"/>
                      <a:gd name="connsiteX1" fmla="*/ 102611 w 104746"/>
                      <a:gd name="connsiteY1" fmla="*/ 0 h 73849"/>
                      <a:gd name="connsiteX2" fmla="*/ 104746 w 104746"/>
                      <a:gd name="connsiteY2" fmla="*/ 14067 h 73849"/>
                      <a:gd name="connsiteX3" fmla="*/ 97336 w 104746"/>
                      <a:gd name="connsiteY3" fmla="*/ 29264 h 73849"/>
                      <a:gd name="connsiteX4" fmla="*/ 97336 w 104746"/>
                      <a:gd name="connsiteY4" fmla="*/ 29264 h 73849"/>
                      <a:gd name="connsiteX5" fmla="*/ 97336 w 104746"/>
                      <a:gd name="connsiteY5" fmla="*/ 29264 h 73849"/>
                      <a:gd name="connsiteX6" fmla="*/ 92564 w 104746"/>
                      <a:gd name="connsiteY6" fmla="*/ 32027 h 73849"/>
                      <a:gd name="connsiteX7" fmla="*/ 20221 w 104746"/>
                      <a:gd name="connsiteY7" fmla="*/ 73850 h 73849"/>
                      <a:gd name="connsiteX8" fmla="*/ 0 w 104746"/>
                      <a:gd name="connsiteY8" fmla="*/ 59281 h 73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46" h="73849">
                        <a:moveTo>
                          <a:pt x="0" y="59281"/>
                        </a:moveTo>
                        <a:lnTo>
                          <a:pt x="102611" y="0"/>
                        </a:lnTo>
                        <a:cubicBezTo>
                          <a:pt x="103993" y="4521"/>
                          <a:pt x="104746" y="9169"/>
                          <a:pt x="104746" y="14067"/>
                        </a:cubicBezTo>
                        <a:cubicBezTo>
                          <a:pt x="104746" y="20472"/>
                          <a:pt x="101732" y="25747"/>
                          <a:pt x="97336" y="29264"/>
                        </a:cubicBezTo>
                        <a:lnTo>
                          <a:pt x="97336" y="29264"/>
                        </a:lnTo>
                        <a:lnTo>
                          <a:pt x="97336" y="29264"/>
                        </a:lnTo>
                        <a:cubicBezTo>
                          <a:pt x="95829" y="30394"/>
                          <a:pt x="94196" y="31399"/>
                          <a:pt x="92564" y="32027"/>
                        </a:cubicBezTo>
                        <a:lnTo>
                          <a:pt x="20221" y="73850"/>
                        </a:lnTo>
                        <a:lnTo>
                          <a:pt x="0" y="59281"/>
                        </a:lnTo>
                        <a:close/>
                      </a:path>
                    </a:pathLst>
                  </a:custGeom>
                  <a:solidFill>
                    <a:srgbClr val="3C3E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0" name="Freeform: Shape 2539">
                    <a:extLst>
                      <a:ext uri="{FF2B5EF4-FFF2-40B4-BE49-F238E27FC236}">
                        <a16:creationId xmlns:a16="http://schemas.microsoft.com/office/drawing/2014/main" id="{74DEC2FE-2283-405F-91C4-3DC532FFE568}"/>
                      </a:ext>
                    </a:extLst>
                  </p:cNvPr>
                  <p:cNvSpPr/>
                  <p:nvPr/>
                </p:nvSpPr>
                <p:spPr>
                  <a:xfrm>
                    <a:off x="4403231" y="2975476"/>
                    <a:ext cx="406928" cy="268955"/>
                  </a:xfrm>
                  <a:custGeom>
                    <a:avLst/>
                    <a:gdLst>
                      <a:gd name="connsiteX0" fmla="*/ 382687 w 406928"/>
                      <a:gd name="connsiteY0" fmla="*/ 207574 h 268955"/>
                      <a:gd name="connsiteX1" fmla="*/ 29012 w 406928"/>
                      <a:gd name="connsiteY1" fmla="*/ 2603 h 268955"/>
                      <a:gd name="connsiteX2" fmla="*/ 0 w 406928"/>
                      <a:gd name="connsiteY2" fmla="*/ 19307 h 268955"/>
                      <a:gd name="connsiteX3" fmla="*/ 0 w 406928"/>
                      <a:gd name="connsiteY3" fmla="*/ 19307 h 268955"/>
                      <a:gd name="connsiteX4" fmla="*/ 24240 w 406928"/>
                      <a:gd name="connsiteY4" fmla="*/ 61382 h 268955"/>
                      <a:gd name="connsiteX5" fmla="*/ 377915 w 406928"/>
                      <a:gd name="connsiteY5" fmla="*/ 266353 h 268955"/>
                      <a:gd name="connsiteX6" fmla="*/ 406927 w 406928"/>
                      <a:gd name="connsiteY6" fmla="*/ 249648 h 268955"/>
                      <a:gd name="connsiteX7" fmla="*/ 406927 w 406928"/>
                      <a:gd name="connsiteY7" fmla="*/ 249648 h 268955"/>
                      <a:gd name="connsiteX8" fmla="*/ 382687 w 406928"/>
                      <a:gd name="connsiteY8" fmla="*/ 207574 h 26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28" h="268955">
                        <a:moveTo>
                          <a:pt x="382687" y="207574"/>
                        </a:moveTo>
                        <a:lnTo>
                          <a:pt x="29012" y="2603"/>
                        </a:lnTo>
                        <a:cubicBezTo>
                          <a:pt x="16076" y="-4807"/>
                          <a:pt x="0" y="4487"/>
                          <a:pt x="0" y="19307"/>
                        </a:cubicBezTo>
                        <a:lnTo>
                          <a:pt x="0" y="19307"/>
                        </a:lnTo>
                        <a:cubicBezTo>
                          <a:pt x="0" y="36640"/>
                          <a:pt x="9294" y="52716"/>
                          <a:pt x="24240" y="61382"/>
                        </a:cubicBezTo>
                        <a:lnTo>
                          <a:pt x="377915" y="266353"/>
                        </a:lnTo>
                        <a:cubicBezTo>
                          <a:pt x="390851" y="273763"/>
                          <a:pt x="406927" y="264468"/>
                          <a:pt x="406927" y="249648"/>
                        </a:cubicBezTo>
                        <a:lnTo>
                          <a:pt x="406927" y="249648"/>
                        </a:lnTo>
                        <a:cubicBezTo>
                          <a:pt x="407053" y="232316"/>
                          <a:pt x="397759" y="216240"/>
                          <a:pt x="382687" y="207574"/>
                        </a:cubicBezTo>
                        <a:close/>
                      </a:path>
                    </a:pathLst>
                  </a:custGeom>
                  <a:solidFill>
                    <a:srgbClr val="4245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1" name="Freeform: Shape 2540">
                    <a:extLst>
                      <a:ext uri="{FF2B5EF4-FFF2-40B4-BE49-F238E27FC236}">
                        <a16:creationId xmlns:a16="http://schemas.microsoft.com/office/drawing/2014/main" id="{37C37A43-C36E-4138-8EEC-017CFFB144BC}"/>
                      </a:ext>
                    </a:extLst>
                  </p:cNvPr>
                  <p:cNvSpPr/>
                  <p:nvPr/>
                </p:nvSpPr>
                <p:spPr>
                  <a:xfrm>
                    <a:off x="4414032" y="2987247"/>
                    <a:ext cx="385701" cy="247924"/>
                  </a:xfrm>
                  <a:custGeom>
                    <a:avLst/>
                    <a:gdLst>
                      <a:gd name="connsiteX0" fmla="*/ 376910 w 385701"/>
                      <a:gd name="connsiteY0" fmla="*/ 247924 h 247924"/>
                      <a:gd name="connsiteX1" fmla="*/ 372640 w 385701"/>
                      <a:gd name="connsiteY1" fmla="*/ 246668 h 247924"/>
                      <a:gd name="connsiteX2" fmla="*/ 18965 w 385701"/>
                      <a:gd name="connsiteY2" fmla="*/ 41697 h 247924"/>
                      <a:gd name="connsiteX3" fmla="*/ 0 w 385701"/>
                      <a:gd name="connsiteY3" fmla="*/ 8792 h 247924"/>
                      <a:gd name="connsiteX4" fmla="*/ 8792 w 385701"/>
                      <a:gd name="connsiteY4" fmla="*/ 0 h 247924"/>
                      <a:gd name="connsiteX5" fmla="*/ 13062 w 385701"/>
                      <a:gd name="connsiteY5" fmla="*/ 1256 h 247924"/>
                      <a:gd name="connsiteX6" fmla="*/ 366737 w 385701"/>
                      <a:gd name="connsiteY6" fmla="*/ 206227 h 247924"/>
                      <a:gd name="connsiteX7" fmla="*/ 385702 w 385701"/>
                      <a:gd name="connsiteY7" fmla="*/ 239132 h 247924"/>
                      <a:gd name="connsiteX8" fmla="*/ 383064 w 385701"/>
                      <a:gd name="connsiteY8" fmla="*/ 245412 h 247924"/>
                      <a:gd name="connsiteX9" fmla="*/ 376910 w 385701"/>
                      <a:gd name="connsiteY9" fmla="*/ 247924 h 247924"/>
                      <a:gd name="connsiteX10" fmla="*/ 376910 w 385701"/>
                      <a:gd name="connsiteY10" fmla="*/ 247924 h 247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5701" h="247924">
                        <a:moveTo>
                          <a:pt x="376910" y="247924"/>
                        </a:moveTo>
                        <a:cubicBezTo>
                          <a:pt x="375403" y="247924"/>
                          <a:pt x="373896" y="247547"/>
                          <a:pt x="372640" y="246668"/>
                        </a:cubicBezTo>
                        <a:lnTo>
                          <a:pt x="18965" y="41697"/>
                        </a:lnTo>
                        <a:cubicBezTo>
                          <a:pt x="7285" y="34915"/>
                          <a:pt x="0" y="22356"/>
                          <a:pt x="0" y="8792"/>
                        </a:cubicBezTo>
                        <a:cubicBezTo>
                          <a:pt x="0" y="3391"/>
                          <a:pt x="4522" y="0"/>
                          <a:pt x="8792" y="0"/>
                        </a:cubicBezTo>
                        <a:cubicBezTo>
                          <a:pt x="10299" y="0"/>
                          <a:pt x="11806" y="377"/>
                          <a:pt x="13062" y="1256"/>
                        </a:cubicBezTo>
                        <a:lnTo>
                          <a:pt x="366737" y="206227"/>
                        </a:lnTo>
                        <a:cubicBezTo>
                          <a:pt x="378417" y="213009"/>
                          <a:pt x="385702" y="225568"/>
                          <a:pt x="385702" y="239132"/>
                        </a:cubicBezTo>
                        <a:cubicBezTo>
                          <a:pt x="385702" y="242272"/>
                          <a:pt x="384320" y="244282"/>
                          <a:pt x="383064" y="245412"/>
                        </a:cubicBezTo>
                        <a:cubicBezTo>
                          <a:pt x="381306" y="247045"/>
                          <a:pt x="379171" y="247924"/>
                          <a:pt x="376910" y="247924"/>
                        </a:cubicBezTo>
                        <a:lnTo>
                          <a:pt x="376910" y="24792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2" name="Freeform: Shape 2541">
                    <a:extLst>
                      <a:ext uri="{FF2B5EF4-FFF2-40B4-BE49-F238E27FC236}">
                        <a16:creationId xmlns:a16="http://schemas.microsoft.com/office/drawing/2014/main" id="{89C3DBFD-B750-4765-8596-4A95D5D2C326}"/>
                      </a:ext>
                    </a:extLst>
                  </p:cNvPr>
                  <p:cNvSpPr/>
                  <p:nvPr/>
                </p:nvSpPr>
                <p:spPr>
                  <a:xfrm>
                    <a:off x="4413907" y="2987247"/>
                    <a:ext cx="385701" cy="247924"/>
                  </a:xfrm>
                  <a:custGeom>
                    <a:avLst/>
                    <a:gdLst>
                      <a:gd name="connsiteX0" fmla="*/ 43833 w 385701"/>
                      <a:gd name="connsiteY0" fmla="*/ 35292 h 247924"/>
                      <a:gd name="connsiteX1" fmla="*/ 25370 w 385701"/>
                      <a:gd name="connsiteY1" fmla="*/ 8415 h 247924"/>
                      <a:gd name="connsiteX2" fmla="*/ 13062 w 385701"/>
                      <a:gd name="connsiteY2" fmla="*/ 1256 h 247924"/>
                      <a:gd name="connsiteX3" fmla="*/ 8792 w 385701"/>
                      <a:gd name="connsiteY3" fmla="*/ 0 h 247924"/>
                      <a:gd name="connsiteX4" fmla="*/ 0 w 385701"/>
                      <a:gd name="connsiteY4" fmla="*/ 8792 h 247924"/>
                      <a:gd name="connsiteX5" fmla="*/ 18965 w 385701"/>
                      <a:gd name="connsiteY5" fmla="*/ 41697 h 247924"/>
                      <a:gd name="connsiteX6" fmla="*/ 372640 w 385701"/>
                      <a:gd name="connsiteY6" fmla="*/ 246668 h 247924"/>
                      <a:gd name="connsiteX7" fmla="*/ 376910 w 385701"/>
                      <a:gd name="connsiteY7" fmla="*/ 247924 h 247924"/>
                      <a:gd name="connsiteX8" fmla="*/ 383064 w 385701"/>
                      <a:gd name="connsiteY8" fmla="*/ 245412 h 247924"/>
                      <a:gd name="connsiteX9" fmla="*/ 385702 w 385701"/>
                      <a:gd name="connsiteY9" fmla="*/ 239132 h 247924"/>
                      <a:gd name="connsiteX10" fmla="*/ 385199 w 385701"/>
                      <a:gd name="connsiteY10" fmla="*/ 233104 h 247924"/>
                      <a:gd name="connsiteX11" fmla="*/ 43833 w 385701"/>
                      <a:gd name="connsiteY11" fmla="*/ 35292 h 247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701" h="247924">
                        <a:moveTo>
                          <a:pt x="43833" y="35292"/>
                        </a:moveTo>
                        <a:cubicBezTo>
                          <a:pt x="33911" y="29515"/>
                          <a:pt x="27129" y="19593"/>
                          <a:pt x="25370" y="8415"/>
                        </a:cubicBezTo>
                        <a:lnTo>
                          <a:pt x="13062" y="1256"/>
                        </a:lnTo>
                        <a:cubicBezTo>
                          <a:pt x="11681" y="502"/>
                          <a:pt x="10174" y="0"/>
                          <a:pt x="8792" y="0"/>
                        </a:cubicBezTo>
                        <a:cubicBezTo>
                          <a:pt x="4647" y="0"/>
                          <a:pt x="0" y="3391"/>
                          <a:pt x="0" y="8792"/>
                        </a:cubicBezTo>
                        <a:cubicBezTo>
                          <a:pt x="0" y="22356"/>
                          <a:pt x="7285" y="34915"/>
                          <a:pt x="18965" y="41697"/>
                        </a:cubicBezTo>
                        <a:lnTo>
                          <a:pt x="372640" y="246668"/>
                        </a:lnTo>
                        <a:cubicBezTo>
                          <a:pt x="374022" y="247422"/>
                          <a:pt x="375529" y="247924"/>
                          <a:pt x="376910" y="247924"/>
                        </a:cubicBezTo>
                        <a:cubicBezTo>
                          <a:pt x="379171" y="247924"/>
                          <a:pt x="381432" y="247045"/>
                          <a:pt x="383064" y="245412"/>
                        </a:cubicBezTo>
                        <a:cubicBezTo>
                          <a:pt x="384320" y="244282"/>
                          <a:pt x="385702" y="242272"/>
                          <a:pt x="385702" y="239132"/>
                        </a:cubicBezTo>
                        <a:cubicBezTo>
                          <a:pt x="385702" y="237123"/>
                          <a:pt x="385576" y="235113"/>
                          <a:pt x="385199" y="233104"/>
                        </a:cubicBezTo>
                        <a:lnTo>
                          <a:pt x="43833" y="35292"/>
                        </a:lnTo>
                        <a:close/>
                      </a:path>
                    </a:pathLst>
                  </a:custGeom>
                  <a:solidFill>
                    <a:srgbClr val="676F7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3" name="Freeform: Shape 2542">
                    <a:extLst>
                      <a:ext uri="{FF2B5EF4-FFF2-40B4-BE49-F238E27FC236}">
                        <a16:creationId xmlns:a16="http://schemas.microsoft.com/office/drawing/2014/main" id="{F02B7F16-E88A-4C5F-8CE8-49446C61069E}"/>
                      </a:ext>
                    </a:extLst>
                  </p:cNvPr>
                  <p:cNvSpPr/>
                  <p:nvPr/>
                </p:nvSpPr>
                <p:spPr>
                  <a:xfrm>
                    <a:off x="4423578" y="2988754"/>
                    <a:ext cx="375025" cy="237123"/>
                  </a:xfrm>
                  <a:custGeom>
                    <a:avLst/>
                    <a:gdLst>
                      <a:gd name="connsiteX0" fmla="*/ 371635 w 375025"/>
                      <a:gd name="connsiteY0" fmla="*/ 237123 h 237123"/>
                      <a:gd name="connsiteX1" fmla="*/ 370002 w 375025"/>
                      <a:gd name="connsiteY1" fmla="*/ 236621 h 237123"/>
                      <a:gd name="connsiteX2" fmla="*/ 16327 w 375025"/>
                      <a:gd name="connsiteY2" fmla="*/ 31650 h 237123"/>
                      <a:gd name="connsiteX3" fmla="*/ 0 w 375025"/>
                      <a:gd name="connsiteY3" fmla="*/ 3391 h 237123"/>
                      <a:gd name="connsiteX4" fmla="*/ 3391 w 375025"/>
                      <a:gd name="connsiteY4" fmla="*/ 0 h 237123"/>
                      <a:gd name="connsiteX5" fmla="*/ 5024 w 375025"/>
                      <a:gd name="connsiteY5" fmla="*/ 502 h 237123"/>
                      <a:gd name="connsiteX6" fmla="*/ 358699 w 375025"/>
                      <a:gd name="connsiteY6" fmla="*/ 205473 h 237123"/>
                      <a:gd name="connsiteX7" fmla="*/ 375026 w 375025"/>
                      <a:gd name="connsiteY7" fmla="*/ 233732 h 237123"/>
                      <a:gd name="connsiteX8" fmla="*/ 374021 w 375025"/>
                      <a:gd name="connsiteY8" fmla="*/ 236118 h 237123"/>
                      <a:gd name="connsiteX9" fmla="*/ 371635 w 375025"/>
                      <a:gd name="connsiteY9" fmla="*/ 237123 h 23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5025" h="237123">
                        <a:moveTo>
                          <a:pt x="371635" y="237123"/>
                        </a:moveTo>
                        <a:cubicBezTo>
                          <a:pt x="371133" y="237123"/>
                          <a:pt x="370505" y="236998"/>
                          <a:pt x="370002" y="236621"/>
                        </a:cubicBezTo>
                        <a:lnTo>
                          <a:pt x="16327" y="31650"/>
                        </a:lnTo>
                        <a:cubicBezTo>
                          <a:pt x="6280" y="25872"/>
                          <a:pt x="0" y="14946"/>
                          <a:pt x="0" y="3391"/>
                        </a:cubicBezTo>
                        <a:cubicBezTo>
                          <a:pt x="0" y="879"/>
                          <a:pt x="2386" y="0"/>
                          <a:pt x="3391" y="0"/>
                        </a:cubicBezTo>
                        <a:cubicBezTo>
                          <a:pt x="3893" y="0"/>
                          <a:pt x="4521" y="126"/>
                          <a:pt x="5024" y="502"/>
                        </a:cubicBezTo>
                        <a:lnTo>
                          <a:pt x="358699" y="205473"/>
                        </a:lnTo>
                        <a:cubicBezTo>
                          <a:pt x="368746" y="211251"/>
                          <a:pt x="375026" y="222177"/>
                          <a:pt x="375026" y="233732"/>
                        </a:cubicBezTo>
                        <a:cubicBezTo>
                          <a:pt x="375026" y="234360"/>
                          <a:pt x="374901" y="235239"/>
                          <a:pt x="374021" y="236118"/>
                        </a:cubicBezTo>
                        <a:cubicBezTo>
                          <a:pt x="373393" y="236746"/>
                          <a:pt x="372514" y="237123"/>
                          <a:pt x="371635" y="237123"/>
                        </a:cubicBezTo>
                        <a:close/>
                      </a:path>
                    </a:pathLst>
                  </a:custGeom>
                  <a:solidFill>
                    <a:srgbClr val="A85D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544" name="Graphic 4">
                    <a:extLst>
                      <a:ext uri="{FF2B5EF4-FFF2-40B4-BE49-F238E27FC236}">
                        <a16:creationId xmlns:a16="http://schemas.microsoft.com/office/drawing/2014/main" id="{84FB7ED1-A2DF-40A1-A747-5F7CF3F14040}"/>
                      </a:ext>
                    </a:extLst>
                  </p:cNvPr>
                  <p:cNvGrpSpPr/>
                  <p:nvPr/>
                </p:nvGrpSpPr>
                <p:grpSpPr>
                  <a:xfrm>
                    <a:off x="4447190" y="3003700"/>
                    <a:ext cx="326671" cy="202207"/>
                    <a:chOff x="4447190" y="3003700"/>
                    <a:chExt cx="326671" cy="202207"/>
                  </a:xfrm>
                  <a:solidFill>
                    <a:schemeClr val="accent1"/>
                  </a:solidFill>
                </p:grpSpPr>
                <p:grpSp>
                  <p:nvGrpSpPr>
                    <p:cNvPr id="2545" name="Graphic 4">
                      <a:extLst>
                        <a:ext uri="{FF2B5EF4-FFF2-40B4-BE49-F238E27FC236}">
                          <a16:creationId xmlns:a16="http://schemas.microsoft.com/office/drawing/2014/main" id="{84FB7ED1-A2DF-40A1-A747-5F7CF3F14040}"/>
                        </a:ext>
                      </a:extLst>
                    </p:cNvPr>
                    <p:cNvGrpSpPr/>
                    <p:nvPr/>
                  </p:nvGrpSpPr>
                  <p:grpSpPr>
                    <a:xfrm>
                      <a:off x="4447190" y="3003700"/>
                      <a:ext cx="326671" cy="202207"/>
                      <a:chOff x="4447190" y="3003700"/>
                      <a:chExt cx="326671" cy="202207"/>
                    </a:xfrm>
                    <a:solidFill>
                      <a:schemeClr val="accent1"/>
                    </a:solidFill>
                  </p:grpSpPr>
                  <p:sp>
                    <p:nvSpPr>
                      <p:cNvPr id="2546" name="Freeform: Shape 2545">
                        <a:extLst>
                          <a:ext uri="{FF2B5EF4-FFF2-40B4-BE49-F238E27FC236}">
                            <a16:creationId xmlns:a16="http://schemas.microsoft.com/office/drawing/2014/main" id="{FB5582A6-307B-4A9A-9465-1141BC3E5D8B}"/>
                          </a:ext>
                        </a:extLst>
                      </p:cNvPr>
                      <p:cNvSpPr/>
                      <p:nvPr/>
                    </p:nvSpPr>
                    <p:spPr>
                      <a:xfrm>
                        <a:off x="4447190" y="3003700"/>
                        <a:ext cx="326671" cy="188768"/>
                      </a:xfrm>
                      <a:custGeom>
                        <a:avLst/>
                        <a:gdLst>
                          <a:gd name="connsiteX0" fmla="*/ 326672 w 326671"/>
                          <a:gd name="connsiteY0" fmla="*/ 187262 h 188768"/>
                          <a:gd name="connsiteX1" fmla="*/ 323909 w 326671"/>
                          <a:gd name="connsiteY1" fmla="*/ 188769 h 188768"/>
                          <a:gd name="connsiteX2" fmla="*/ 0 w 326671"/>
                          <a:gd name="connsiteY2" fmla="*/ 1633 h 188768"/>
                          <a:gd name="connsiteX3" fmla="*/ 2763 w 326671"/>
                          <a:gd name="connsiteY3" fmla="*/ 0 h 188768"/>
                        </a:gdLst>
                        <a:ahLst/>
                        <a:cxnLst>
                          <a:cxn ang="0">
                            <a:pos x="connsiteX0" y="connsiteY0"/>
                          </a:cxn>
                          <a:cxn ang="0">
                            <a:pos x="connsiteX1" y="connsiteY1"/>
                          </a:cxn>
                          <a:cxn ang="0">
                            <a:pos x="connsiteX2" y="connsiteY2"/>
                          </a:cxn>
                          <a:cxn ang="0">
                            <a:pos x="connsiteX3" y="connsiteY3"/>
                          </a:cxn>
                        </a:cxnLst>
                        <a:rect l="l" t="t" r="r" b="b"/>
                        <a:pathLst>
                          <a:path w="326671" h="188768">
                            <a:moveTo>
                              <a:pt x="326672" y="187262"/>
                            </a:moveTo>
                            <a:lnTo>
                              <a:pt x="323909" y="188769"/>
                            </a:lnTo>
                            <a:lnTo>
                              <a:pt x="0" y="1633"/>
                            </a:lnTo>
                            <a:lnTo>
                              <a:pt x="2763" y="0"/>
                            </a:lnTo>
                            <a:close/>
                          </a:path>
                        </a:pathLst>
                      </a:custGeom>
                      <a:solidFill>
                        <a:srgbClr val="E5891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7" name="Freeform: Shape 2546">
                        <a:extLst>
                          <a:ext uri="{FF2B5EF4-FFF2-40B4-BE49-F238E27FC236}">
                            <a16:creationId xmlns:a16="http://schemas.microsoft.com/office/drawing/2014/main" id="{68EE5466-789D-4D88-9905-D4FE10C8BCEC}"/>
                          </a:ext>
                        </a:extLst>
                      </p:cNvPr>
                      <p:cNvSpPr/>
                      <p:nvPr/>
                    </p:nvSpPr>
                    <p:spPr>
                      <a:xfrm>
                        <a:off x="4447190" y="3005333"/>
                        <a:ext cx="323908" cy="200574"/>
                      </a:xfrm>
                      <a:custGeom>
                        <a:avLst/>
                        <a:gdLst>
                          <a:gd name="connsiteX0" fmla="*/ 323909 w 323908"/>
                          <a:gd name="connsiteY0" fmla="*/ 187136 h 200574"/>
                          <a:gd name="connsiteX1" fmla="*/ 323909 w 323908"/>
                          <a:gd name="connsiteY1" fmla="*/ 200575 h 200574"/>
                          <a:gd name="connsiteX2" fmla="*/ 0 w 323908"/>
                          <a:gd name="connsiteY2" fmla="*/ 13439 h 200574"/>
                          <a:gd name="connsiteX3" fmla="*/ 0 w 323908"/>
                          <a:gd name="connsiteY3" fmla="*/ 0 h 200574"/>
                        </a:gdLst>
                        <a:ahLst/>
                        <a:cxnLst>
                          <a:cxn ang="0">
                            <a:pos x="connsiteX0" y="connsiteY0"/>
                          </a:cxn>
                          <a:cxn ang="0">
                            <a:pos x="connsiteX1" y="connsiteY1"/>
                          </a:cxn>
                          <a:cxn ang="0">
                            <a:pos x="connsiteX2" y="connsiteY2"/>
                          </a:cxn>
                          <a:cxn ang="0">
                            <a:pos x="connsiteX3" y="connsiteY3"/>
                          </a:cxn>
                        </a:cxnLst>
                        <a:rect l="l" t="t" r="r" b="b"/>
                        <a:pathLst>
                          <a:path w="323908" h="200574">
                            <a:moveTo>
                              <a:pt x="323909" y="187136"/>
                            </a:moveTo>
                            <a:lnTo>
                              <a:pt x="323909" y="200575"/>
                            </a:lnTo>
                            <a:lnTo>
                              <a:pt x="0" y="13439"/>
                            </a:lnTo>
                            <a:lnTo>
                              <a:pt x="0" y="0"/>
                            </a:lnTo>
                            <a:close/>
                          </a:path>
                        </a:pathLst>
                      </a:custGeom>
                      <a:solidFill>
                        <a:srgbClr val="CC7A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548" name="Freeform: Shape 2547">
                      <a:extLst>
                        <a:ext uri="{FF2B5EF4-FFF2-40B4-BE49-F238E27FC236}">
                          <a16:creationId xmlns:a16="http://schemas.microsoft.com/office/drawing/2014/main" id="{B442A5EF-24AF-4DF5-A3CC-3F55F0E89320}"/>
                        </a:ext>
                      </a:extLst>
                    </p:cNvPr>
                    <p:cNvSpPr/>
                    <p:nvPr/>
                  </p:nvSpPr>
                  <p:spPr>
                    <a:xfrm>
                      <a:off x="4771098" y="3190962"/>
                      <a:ext cx="2763" cy="14945"/>
                    </a:xfrm>
                    <a:custGeom>
                      <a:avLst/>
                      <a:gdLst>
                        <a:gd name="connsiteX0" fmla="*/ 2763 w 2763"/>
                        <a:gd name="connsiteY0" fmla="*/ 0 h 14945"/>
                        <a:gd name="connsiteX1" fmla="*/ 0 w 2763"/>
                        <a:gd name="connsiteY1" fmla="*/ 1507 h 14945"/>
                        <a:gd name="connsiteX2" fmla="*/ 0 w 2763"/>
                        <a:gd name="connsiteY2" fmla="*/ 14946 h 14945"/>
                        <a:gd name="connsiteX3" fmla="*/ 2763 w 2763"/>
                        <a:gd name="connsiteY3" fmla="*/ 13439 h 14945"/>
                      </a:gdLst>
                      <a:ahLst/>
                      <a:cxnLst>
                        <a:cxn ang="0">
                          <a:pos x="connsiteX0" y="connsiteY0"/>
                        </a:cxn>
                        <a:cxn ang="0">
                          <a:pos x="connsiteX1" y="connsiteY1"/>
                        </a:cxn>
                        <a:cxn ang="0">
                          <a:pos x="connsiteX2" y="connsiteY2"/>
                        </a:cxn>
                        <a:cxn ang="0">
                          <a:pos x="connsiteX3" y="connsiteY3"/>
                        </a:cxn>
                      </a:cxnLst>
                      <a:rect l="l" t="t" r="r" b="b"/>
                      <a:pathLst>
                        <a:path w="2763" h="14945">
                          <a:moveTo>
                            <a:pt x="2763" y="0"/>
                          </a:moveTo>
                          <a:lnTo>
                            <a:pt x="0" y="1507"/>
                          </a:lnTo>
                          <a:lnTo>
                            <a:pt x="0" y="14946"/>
                          </a:lnTo>
                          <a:lnTo>
                            <a:pt x="2763" y="13439"/>
                          </a:lnTo>
                          <a:close/>
                        </a:path>
                      </a:pathLst>
                    </a:custGeom>
                    <a:solidFill>
                      <a:srgbClr val="AB661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49" name="Graphic 4">
                    <a:extLst>
                      <a:ext uri="{FF2B5EF4-FFF2-40B4-BE49-F238E27FC236}">
                        <a16:creationId xmlns:a16="http://schemas.microsoft.com/office/drawing/2014/main" id="{84FB7ED1-A2DF-40A1-A747-5F7CF3F14040}"/>
                      </a:ext>
                    </a:extLst>
                  </p:cNvPr>
                  <p:cNvGrpSpPr/>
                  <p:nvPr/>
                </p:nvGrpSpPr>
                <p:grpSpPr>
                  <a:xfrm>
                    <a:off x="4426718" y="2991816"/>
                    <a:ext cx="17080" cy="21884"/>
                    <a:chOff x="4426718" y="2991816"/>
                    <a:chExt cx="17080" cy="21884"/>
                  </a:xfrm>
                  <a:solidFill>
                    <a:schemeClr val="accent1"/>
                  </a:solidFill>
                </p:grpSpPr>
                <p:sp>
                  <p:nvSpPr>
                    <p:cNvPr id="2550" name="Freeform: Shape 2549">
                      <a:extLst>
                        <a:ext uri="{FF2B5EF4-FFF2-40B4-BE49-F238E27FC236}">
                          <a16:creationId xmlns:a16="http://schemas.microsoft.com/office/drawing/2014/main" id="{229BDFB3-31A3-427F-B20A-BD9B148E8E24}"/>
                        </a:ext>
                      </a:extLst>
                    </p:cNvPr>
                    <p:cNvSpPr/>
                    <p:nvPr/>
                  </p:nvSpPr>
                  <p:spPr>
                    <a:xfrm>
                      <a:off x="4426718" y="2991816"/>
                      <a:ext cx="17080" cy="21884"/>
                    </a:xfrm>
                    <a:custGeom>
                      <a:avLst/>
                      <a:gdLst>
                        <a:gd name="connsiteX0" fmla="*/ 0 w 17080"/>
                        <a:gd name="connsiteY0" fmla="*/ 5981 h 21884"/>
                        <a:gd name="connsiteX1" fmla="*/ 8540 w 17080"/>
                        <a:gd name="connsiteY1" fmla="*/ 20676 h 21884"/>
                        <a:gd name="connsiteX2" fmla="*/ 17081 w 17080"/>
                        <a:gd name="connsiteY2" fmla="*/ 15903 h 21884"/>
                        <a:gd name="connsiteX3" fmla="*/ 8540 w 17080"/>
                        <a:gd name="connsiteY3" fmla="*/ 1208 h 21884"/>
                        <a:gd name="connsiteX4" fmla="*/ 0 w 17080"/>
                        <a:gd name="connsiteY4" fmla="*/ 5981 h 21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80" h="21884">
                          <a:moveTo>
                            <a:pt x="0" y="5981"/>
                          </a:moveTo>
                          <a:cubicBezTo>
                            <a:pt x="0" y="11382"/>
                            <a:pt x="3893" y="17913"/>
                            <a:pt x="8540" y="20676"/>
                          </a:cubicBezTo>
                          <a:cubicBezTo>
                            <a:pt x="13313" y="23439"/>
                            <a:pt x="17081" y="21304"/>
                            <a:pt x="17081" y="15903"/>
                          </a:cubicBezTo>
                          <a:cubicBezTo>
                            <a:pt x="17081" y="10502"/>
                            <a:pt x="13187" y="3971"/>
                            <a:pt x="8540" y="1208"/>
                          </a:cubicBezTo>
                          <a:cubicBezTo>
                            <a:pt x="3893" y="-1555"/>
                            <a:pt x="0" y="581"/>
                            <a:pt x="0" y="5981"/>
                          </a:cubicBezTo>
                          <a:close/>
                        </a:path>
                      </a:pathLst>
                    </a:custGeom>
                    <a:solidFill>
                      <a:srgbClr val="E0B3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1" name="Freeform: Shape 2550">
                      <a:extLst>
                        <a:ext uri="{FF2B5EF4-FFF2-40B4-BE49-F238E27FC236}">
                          <a16:creationId xmlns:a16="http://schemas.microsoft.com/office/drawing/2014/main" id="{F51C000A-BE06-4160-9FF5-E6E213FE300D}"/>
                        </a:ext>
                      </a:extLst>
                    </p:cNvPr>
                    <p:cNvSpPr/>
                    <p:nvPr/>
                  </p:nvSpPr>
                  <p:spPr>
                    <a:xfrm>
                      <a:off x="4428099" y="2993493"/>
                      <a:ext cx="14317" cy="18349"/>
                    </a:xfrm>
                    <a:custGeom>
                      <a:avLst/>
                      <a:gdLst>
                        <a:gd name="connsiteX0" fmla="*/ 0 w 14317"/>
                        <a:gd name="connsiteY0" fmla="*/ 5058 h 18349"/>
                        <a:gd name="connsiteX1" fmla="*/ 7159 w 14317"/>
                        <a:gd name="connsiteY1" fmla="*/ 17366 h 18349"/>
                        <a:gd name="connsiteX2" fmla="*/ 14318 w 14317"/>
                        <a:gd name="connsiteY2" fmla="*/ 13347 h 18349"/>
                        <a:gd name="connsiteX3" fmla="*/ 7159 w 14317"/>
                        <a:gd name="connsiteY3" fmla="*/ 1039 h 18349"/>
                        <a:gd name="connsiteX4" fmla="*/ 0 w 14317"/>
                        <a:gd name="connsiteY4" fmla="*/ 5058 h 18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17" h="18349">
                          <a:moveTo>
                            <a:pt x="0" y="5058"/>
                          </a:moveTo>
                          <a:cubicBezTo>
                            <a:pt x="0" y="9579"/>
                            <a:pt x="3266" y="15106"/>
                            <a:pt x="7159" y="17366"/>
                          </a:cubicBezTo>
                          <a:cubicBezTo>
                            <a:pt x="11178" y="19627"/>
                            <a:pt x="14318" y="17869"/>
                            <a:pt x="14318" y="13347"/>
                          </a:cubicBezTo>
                          <a:cubicBezTo>
                            <a:pt x="14318" y="8826"/>
                            <a:pt x="11052" y="3300"/>
                            <a:pt x="7159" y="1039"/>
                          </a:cubicBezTo>
                          <a:cubicBezTo>
                            <a:pt x="3266" y="-1347"/>
                            <a:pt x="0" y="537"/>
                            <a:pt x="0" y="5058"/>
                          </a:cubicBezTo>
                          <a:close/>
                        </a:path>
                      </a:pathLst>
                    </a:custGeom>
                    <a:solidFill>
                      <a:srgbClr val="A85D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2" name="Freeform: Shape 2551">
                      <a:extLst>
                        <a:ext uri="{FF2B5EF4-FFF2-40B4-BE49-F238E27FC236}">
                          <a16:creationId xmlns:a16="http://schemas.microsoft.com/office/drawing/2014/main" id="{DE40D26C-6EDF-4E52-96BB-96A67216E832}"/>
                        </a:ext>
                      </a:extLst>
                    </p:cNvPr>
                    <p:cNvSpPr/>
                    <p:nvPr/>
                  </p:nvSpPr>
                  <p:spPr>
                    <a:xfrm>
                      <a:off x="4430109" y="2995902"/>
                      <a:ext cx="10549" cy="13532"/>
                    </a:xfrm>
                    <a:custGeom>
                      <a:avLst/>
                      <a:gdLst>
                        <a:gd name="connsiteX0" fmla="*/ 0 w 10549"/>
                        <a:gd name="connsiteY0" fmla="*/ 3780 h 13532"/>
                        <a:gd name="connsiteX1" fmla="*/ 5275 w 10549"/>
                        <a:gd name="connsiteY1" fmla="*/ 12822 h 13532"/>
                        <a:gd name="connsiteX2" fmla="*/ 10550 w 10549"/>
                        <a:gd name="connsiteY2" fmla="*/ 9808 h 13532"/>
                        <a:gd name="connsiteX3" fmla="*/ 5275 w 10549"/>
                        <a:gd name="connsiteY3" fmla="*/ 765 h 13532"/>
                        <a:gd name="connsiteX4" fmla="*/ 0 w 10549"/>
                        <a:gd name="connsiteY4" fmla="*/ 3780 h 13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9" h="13532">
                          <a:moveTo>
                            <a:pt x="0" y="3780"/>
                          </a:moveTo>
                          <a:cubicBezTo>
                            <a:pt x="0" y="7045"/>
                            <a:pt x="2386" y="11190"/>
                            <a:pt x="5275" y="12822"/>
                          </a:cubicBezTo>
                          <a:cubicBezTo>
                            <a:pt x="8164" y="14455"/>
                            <a:pt x="10550" y="13199"/>
                            <a:pt x="10550" y="9808"/>
                          </a:cubicBezTo>
                          <a:cubicBezTo>
                            <a:pt x="10550" y="6543"/>
                            <a:pt x="8164" y="2398"/>
                            <a:pt x="5275" y="765"/>
                          </a:cubicBezTo>
                          <a:cubicBezTo>
                            <a:pt x="2386" y="-993"/>
                            <a:pt x="0" y="389"/>
                            <a:pt x="0" y="3780"/>
                          </a:cubicBezTo>
                          <a:close/>
                        </a:path>
                      </a:pathLst>
                    </a:custGeom>
                    <a:solidFill>
                      <a:srgbClr val="CD8B1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3" name="Freeform: Shape 2552">
                      <a:extLst>
                        <a:ext uri="{FF2B5EF4-FFF2-40B4-BE49-F238E27FC236}">
                          <a16:creationId xmlns:a16="http://schemas.microsoft.com/office/drawing/2014/main" id="{5B1D6539-7243-46B5-8450-4571AAAAAF55}"/>
                        </a:ext>
                      </a:extLst>
                    </p:cNvPr>
                    <p:cNvSpPr/>
                    <p:nvPr/>
                  </p:nvSpPr>
                  <p:spPr>
                    <a:xfrm>
                      <a:off x="4432244" y="2996039"/>
                      <a:ext cx="8540" cy="11931"/>
                    </a:xfrm>
                    <a:custGeom>
                      <a:avLst/>
                      <a:gdLst>
                        <a:gd name="connsiteX0" fmla="*/ 1758 w 8540"/>
                        <a:gd name="connsiteY0" fmla="*/ 0 h 11931"/>
                        <a:gd name="connsiteX1" fmla="*/ 3265 w 8540"/>
                        <a:gd name="connsiteY1" fmla="*/ 628 h 11931"/>
                        <a:gd name="connsiteX2" fmla="*/ 8540 w 8540"/>
                        <a:gd name="connsiteY2" fmla="*/ 9671 h 11931"/>
                        <a:gd name="connsiteX3" fmla="*/ 8038 w 8540"/>
                        <a:gd name="connsiteY3" fmla="*/ 11931 h 11931"/>
                        <a:gd name="connsiteX4" fmla="*/ 3265 w 8540"/>
                        <a:gd name="connsiteY4" fmla="*/ 10927 h 11931"/>
                        <a:gd name="connsiteX5" fmla="*/ 0 w 8540"/>
                        <a:gd name="connsiteY5" fmla="*/ 5024 h 11931"/>
                        <a:gd name="connsiteX6" fmla="*/ 1758 w 8540"/>
                        <a:gd name="connsiteY6" fmla="*/ 0 h 1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31">
                          <a:moveTo>
                            <a:pt x="1758" y="0"/>
                          </a:moveTo>
                          <a:cubicBezTo>
                            <a:pt x="2261" y="126"/>
                            <a:pt x="2763" y="251"/>
                            <a:pt x="3265" y="628"/>
                          </a:cubicBezTo>
                          <a:cubicBezTo>
                            <a:pt x="6154" y="2261"/>
                            <a:pt x="8540" y="6405"/>
                            <a:pt x="8540" y="9671"/>
                          </a:cubicBezTo>
                          <a:cubicBezTo>
                            <a:pt x="8540" y="10550"/>
                            <a:pt x="8415" y="11303"/>
                            <a:pt x="8038" y="11931"/>
                          </a:cubicBezTo>
                          <a:lnTo>
                            <a:pt x="3265" y="10927"/>
                          </a:lnTo>
                          <a:cubicBezTo>
                            <a:pt x="1381" y="9294"/>
                            <a:pt x="1130" y="7410"/>
                            <a:pt x="0" y="5024"/>
                          </a:cubicBezTo>
                          <a:lnTo>
                            <a:pt x="1758" y="0"/>
                          </a:lnTo>
                          <a:close/>
                        </a:path>
                      </a:pathLst>
                    </a:custGeom>
                    <a:solidFill>
                      <a:srgbClr val="B86A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4" name="Freeform: Shape 2553">
                      <a:extLst>
                        <a:ext uri="{FF2B5EF4-FFF2-40B4-BE49-F238E27FC236}">
                          <a16:creationId xmlns:a16="http://schemas.microsoft.com/office/drawing/2014/main" id="{4F8F2472-00A2-4603-8815-255E76A398F6}"/>
                        </a:ext>
                      </a:extLst>
                    </p:cNvPr>
                    <p:cNvSpPr/>
                    <p:nvPr/>
                  </p:nvSpPr>
                  <p:spPr>
                    <a:xfrm>
                      <a:off x="4432997" y="2999430"/>
                      <a:ext cx="7410" cy="5400"/>
                    </a:xfrm>
                    <a:custGeom>
                      <a:avLst/>
                      <a:gdLst>
                        <a:gd name="connsiteX0" fmla="*/ 879 w 7410"/>
                        <a:gd name="connsiteY0" fmla="*/ 5400 h 5400"/>
                        <a:gd name="connsiteX1" fmla="*/ 0 w 7410"/>
                        <a:gd name="connsiteY1" fmla="*/ 3265 h 5400"/>
                        <a:gd name="connsiteX2" fmla="*/ 5526 w 7410"/>
                        <a:gd name="connsiteY2" fmla="*/ 0 h 5400"/>
                        <a:gd name="connsiteX3" fmla="*/ 7410 w 7410"/>
                        <a:gd name="connsiteY3" fmla="*/ 4145 h 5400"/>
                        <a:gd name="connsiteX4" fmla="*/ 879 w 7410"/>
                        <a:gd name="connsiteY4" fmla="*/ 5400 h 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 h="5400">
                          <a:moveTo>
                            <a:pt x="879" y="5400"/>
                          </a:moveTo>
                          <a:cubicBezTo>
                            <a:pt x="502" y="4772"/>
                            <a:pt x="251" y="4019"/>
                            <a:pt x="0" y="3265"/>
                          </a:cubicBezTo>
                          <a:cubicBezTo>
                            <a:pt x="2010" y="2512"/>
                            <a:pt x="3893" y="1382"/>
                            <a:pt x="5526" y="0"/>
                          </a:cubicBezTo>
                          <a:cubicBezTo>
                            <a:pt x="6405" y="1256"/>
                            <a:pt x="7033" y="2637"/>
                            <a:pt x="7410" y="4145"/>
                          </a:cubicBezTo>
                          <a:cubicBezTo>
                            <a:pt x="5149" y="4145"/>
                            <a:pt x="2888" y="4647"/>
                            <a:pt x="879" y="5400"/>
                          </a:cubicBezTo>
                          <a:close/>
                        </a:path>
                      </a:pathLst>
                    </a:custGeom>
                    <a:solidFill>
                      <a:srgbClr val="DE9B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5" name="Freeform: Shape 2554">
                      <a:extLst>
                        <a:ext uri="{FF2B5EF4-FFF2-40B4-BE49-F238E27FC236}">
                          <a16:creationId xmlns:a16="http://schemas.microsoft.com/office/drawing/2014/main" id="{7719F4FA-3911-4C1C-BF24-B58A3820CBAF}"/>
                        </a:ext>
                      </a:extLst>
                    </p:cNvPr>
                    <p:cNvSpPr/>
                    <p:nvPr/>
                  </p:nvSpPr>
                  <p:spPr>
                    <a:xfrm>
                      <a:off x="4430109" y="2999389"/>
                      <a:ext cx="7535" cy="9628"/>
                    </a:xfrm>
                    <a:custGeom>
                      <a:avLst/>
                      <a:gdLst>
                        <a:gd name="connsiteX0" fmla="*/ 0 w 7535"/>
                        <a:gd name="connsiteY0" fmla="*/ 2679 h 9628"/>
                        <a:gd name="connsiteX1" fmla="*/ 3768 w 7535"/>
                        <a:gd name="connsiteY1" fmla="*/ 9084 h 9628"/>
                        <a:gd name="connsiteX2" fmla="*/ 7536 w 7535"/>
                        <a:gd name="connsiteY2" fmla="*/ 6949 h 9628"/>
                        <a:gd name="connsiteX3" fmla="*/ 3768 w 7535"/>
                        <a:gd name="connsiteY3" fmla="*/ 544 h 9628"/>
                        <a:gd name="connsiteX4" fmla="*/ 0 w 7535"/>
                        <a:gd name="connsiteY4" fmla="*/ 2679 h 9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5" h="9628">
                          <a:moveTo>
                            <a:pt x="0" y="2679"/>
                          </a:moveTo>
                          <a:cubicBezTo>
                            <a:pt x="0" y="5065"/>
                            <a:pt x="1633" y="7954"/>
                            <a:pt x="3768" y="9084"/>
                          </a:cubicBezTo>
                          <a:cubicBezTo>
                            <a:pt x="5903" y="10340"/>
                            <a:pt x="7536" y="9335"/>
                            <a:pt x="7536" y="6949"/>
                          </a:cubicBezTo>
                          <a:cubicBezTo>
                            <a:pt x="7536" y="4563"/>
                            <a:pt x="5903" y="1674"/>
                            <a:pt x="3768" y="544"/>
                          </a:cubicBezTo>
                          <a:cubicBezTo>
                            <a:pt x="1759" y="-712"/>
                            <a:pt x="0" y="293"/>
                            <a:pt x="0" y="2679"/>
                          </a:cubicBezTo>
                          <a:close/>
                        </a:path>
                      </a:pathLst>
                    </a:custGeom>
                    <a:solidFill>
                      <a:srgbClr val="B86A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6" name="Freeform: Shape 2555">
                      <a:extLst>
                        <a:ext uri="{FF2B5EF4-FFF2-40B4-BE49-F238E27FC236}">
                          <a16:creationId xmlns:a16="http://schemas.microsoft.com/office/drawing/2014/main" id="{FC646CB1-929E-43A7-B57F-49D9E41C40B4}"/>
                        </a:ext>
                      </a:extLst>
                    </p:cNvPr>
                    <p:cNvSpPr/>
                    <p:nvPr/>
                  </p:nvSpPr>
                  <p:spPr>
                    <a:xfrm>
                      <a:off x="4431239" y="3002048"/>
                      <a:ext cx="4019" cy="5187"/>
                    </a:xfrm>
                    <a:custGeom>
                      <a:avLst/>
                      <a:gdLst>
                        <a:gd name="connsiteX0" fmla="*/ 0 w 4019"/>
                        <a:gd name="connsiteY0" fmla="*/ 1401 h 5187"/>
                        <a:gd name="connsiteX1" fmla="*/ 2010 w 4019"/>
                        <a:gd name="connsiteY1" fmla="*/ 4917 h 5187"/>
                        <a:gd name="connsiteX2" fmla="*/ 4019 w 4019"/>
                        <a:gd name="connsiteY2" fmla="*/ 3787 h 5187"/>
                        <a:gd name="connsiteX3" fmla="*/ 2010 w 4019"/>
                        <a:gd name="connsiteY3" fmla="*/ 270 h 5187"/>
                        <a:gd name="connsiteX4" fmla="*/ 0 w 4019"/>
                        <a:gd name="connsiteY4" fmla="*/ 1401 h 5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5187">
                          <a:moveTo>
                            <a:pt x="0" y="1401"/>
                          </a:moveTo>
                          <a:cubicBezTo>
                            <a:pt x="0" y="2657"/>
                            <a:pt x="879" y="4289"/>
                            <a:pt x="2010" y="4917"/>
                          </a:cubicBezTo>
                          <a:cubicBezTo>
                            <a:pt x="3140" y="5545"/>
                            <a:pt x="4019" y="5043"/>
                            <a:pt x="4019" y="3787"/>
                          </a:cubicBezTo>
                          <a:cubicBezTo>
                            <a:pt x="4019" y="2531"/>
                            <a:pt x="3140" y="898"/>
                            <a:pt x="2010" y="270"/>
                          </a:cubicBezTo>
                          <a:cubicBezTo>
                            <a:pt x="879" y="-358"/>
                            <a:pt x="0" y="145"/>
                            <a:pt x="0" y="1401"/>
                          </a:cubicBezTo>
                          <a:close/>
                        </a:path>
                      </a:pathLst>
                    </a:custGeom>
                    <a:solidFill>
                      <a:srgbClr val="E098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57" name="Graphic 4">
                    <a:extLst>
                      <a:ext uri="{FF2B5EF4-FFF2-40B4-BE49-F238E27FC236}">
                        <a16:creationId xmlns:a16="http://schemas.microsoft.com/office/drawing/2014/main" id="{84FB7ED1-A2DF-40A1-A747-5F7CF3F14040}"/>
                      </a:ext>
                    </a:extLst>
                  </p:cNvPr>
                  <p:cNvGrpSpPr/>
                  <p:nvPr/>
                </p:nvGrpSpPr>
                <p:grpSpPr>
                  <a:xfrm>
                    <a:off x="4774490" y="3193898"/>
                    <a:ext cx="17080" cy="21884"/>
                    <a:chOff x="4774490" y="3193898"/>
                    <a:chExt cx="17080" cy="21884"/>
                  </a:xfrm>
                  <a:solidFill>
                    <a:schemeClr val="accent1"/>
                  </a:solidFill>
                </p:grpSpPr>
                <p:sp>
                  <p:nvSpPr>
                    <p:cNvPr id="2558" name="Freeform: Shape 2557">
                      <a:extLst>
                        <a:ext uri="{FF2B5EF4-FFF2-40B4-BE49-F238E27FC236}">
                          <a16:creationId xmlns:a16="http://schemas.microsoft.com/office/drawing/2014/main" id="{2E892D2B-5B2B-4558-8B03-569E0A1D3B79}"/>
                        </a:ext>
                      </a:extLst>
                    </p:cNvPr>
                    <p:cNvSpPr/>
                    <p:nvPr/>
                  </p:nvSpPr>
                  <p:spPr>
                    <a:xfrm>
                      <a:off x="4774490" y="3193898"/>
                      <a:ext cx="17080" cy="21884"/>
                    </a:xfrm>
                    <a:custGeom>
                      <a:avLst/>
                      <a:gdLst>
                        <a:gd name="connsiteX0" fmla="*/ 0 w 17080"/>
                        <a:gd name="connsiteY0" fmla="*/ 5981 h 21884"/>
                        <a:gd name="connsiteX1" fmla="*/ 8540 w 17080"/>
                        <a:gd name="connsiteY1" fmla="*/ 20676 h 21884"/>
                        <a:gd name="connsiteX2" fmla="*/ 17081 w 17080"/>
                        <a:gd name="connsiteY2" fmla="*/ 15903 h 21884"/>
                        <a:gd name="connsiteX3" fmla="*/ 8540 w 17080"/>
                        <a:gd name="connsiteY3" fmla="*/ 1209 h 21884"/>
                        <a:gd name="connsiteX4" fmla="*/ 0 w 17080"/>
                        <a:gd name="connsiteY4" fmla="*/ 5981 h 21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80" h="21884">
                          <a:moveTo>
                            <a:pt x="0" y="5981"/>
                          </a:moveTo>
                          <a:cubicBezTo>
                            <a:pt x="0" y="11382"/>
                            <a:pt x="3893" y="17913"/>
                            <a:pt x="8540" y="20676"/>
                          </a:cubicBezTo>
                          <a:cubicBezTo>
                            <a:pt x="13313" y="23439"/>
                            <a:pt x="17081" y="21304"/>
                            <a:pt x="17081" y="15903"/>
                          </a:cubicBezTo>
                          <a:cubicBezTo>
                            <a:pt x="17081" y="10502"/>
                            <a:pt x="13187" y="3972"/>
                            <a:pt x="8540" y="1209"/>
                          </a:cubicBezTo>
                          <a:cubicBezTo>
                            <a:pt x="3768" y="-1555"/>
                            <a:pt x="0" y="580"/>
                            <a:pt x="0" y="5981"/>
                          </a:cubicBezTo>
                          <a:close/>
                        </a:path>
                      </a:pathLst>
                    </a:custGeom>
                    <a:solidFill>
                      <a:srgbClr val="E0B3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9" name="Freeform: Shape 2558">
                      <a:extLst>
                        <a:ext uri="{FF2B5EF4-FFF2-40B4-BE49-F238E27FC236}">
                          <a16:creationId xmlns:a16="http://schemas.microsoft.com/office/drawing/2014/main" id="{F05A72D8-5542-47CB-9F26-FE77712D214F}"/>
                        </a:ext>
                      </a:extLst>
                    </p:cNvPr>
                    <p:cNvSpPr/>
                    <p:nvPr/>
                  </p:nvSpPr>
                  <p:spPr>
                    <a:xfrm>
                      <a:off x="4775871" y="3195630"/>
                      <a:ext cx="14317" cy="18294"/>
                    </a:xfrm>
                    <a:custGeom>
                      <a:avLst/>
                      <a:gdLst>
                        <a:gd name="connsiteX0" fmla="*/ 0 w 14317"/>
                        <a:gd name="connsiteY0" fmla="*/ 5003 h 18294"/>
                        <a:gd name="connsiteX1" fmla="*/ 7159 w 14317"/>
                        <a:gd name="connsiteY1" fmla="*/ 17311 h 18294"/>
                        <a:gd name="connsiteX2" fmla="*/ 14318 w 14317"/>
                        <a:gd name="connsiteY2" fmla="*/ 13292 h 18294"/>
                        <a:gd name="connsiteX3" fmla="*/ 7159 w 14317"/>
                        <a:gd name="connsiteY3" fmla="*/ 984 h 18294"/>
                        <a:gd name="connsiteX4" fmla="*/ 0 w 14317"/>
                        <a:gd name="connsiteY4" fmla="*/ 5003 h 18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17" h="18294">
                          <a:moveTo>
                            <a:pt x="0" y="5003"/>
                          </a:moveTo>
                          <a:cubicBezTo>
                            <a:pt x="0" y="9524"/>
                            <a:pt x="3266" y="15050"/>
                            <a:pt x="7159" y="17311"/>
                          </a:cubicBezTo>
                          <a:cubicBezTo>
                            <a:pt x="11178" y="19572"/>
                            <a:pt x="14318" y="17813"/>
                            <a:pt x="14318" y="13292"/>
                          </a:cubicBezTo>
                          <a:cubicBezTo>
                            <a:pt x="14318" y="8770"/>
                            <a:pt x="11052" y="3244"/>
                            <a:pt x="7159" y="984"/>
                          </a:cubicBezTo>
                          <a:cubicBezTo>
                            <a:pt x="3140" y="-1277"/>
                            <a:pt x="0" y="481"/>
                            <a:pt x="0" y="5003"/>
                          </a:cubicBezTo>
                          <a:close/>
                        </a:path>
                      </a:pathLst>
                    </a:custGeom>
                    <a:solidFill>
                      <a:srgbClr val="A85D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0" name="Freeform: Shape 2559">
                      <a:extLst>
                        <a:ext uri="{FF2B5EF4-FFF2-40B4-BE49-F238E27FC236}">
                          <a16:creationId xmlns:a16="http://schemas.microsoft.com/office/drawing/2014/main" id="{BB2C405D-3C7D-4BDB-BF84-BF26138168B7}"/>
                        </a:ext>
                      </a:extLst>
                    </p:cNvPr>
                    <p:cNvSpPr/>
                    <p:nvPr/>
                  </p:nvSpPr>
                  <p:spPr>
                    <a:xfrm>
                      <a:off x="4777881" y="3198039"/>
                      <a:ext cx="10549" cy="13477"/>
                    </a:xfrm>
                    <a:custGeom>
                      <a:avLst/>
                      <a:gdLst>
                        <a:gd name="connsiteX0" fmla="*/ 0 w 10549"/>
                        <a:gd name="connsiteY0" fmla="*/ 3725 h 13477"/>
                        <a:gd name="connsiteX1" fmla="*/ 5275 w 10549"/>
                        <a:gd name="connsiteY1" fmla="*/ 12767 h 13477"/>
                        <a:gd name="connsiteX2" fmla="*/ 10550 w 10549"/>
                        <a:gd name="connsiteY2" fmla="*/ 9753 h 13477"/>
                        <a:gd name="connsiteX3" fmla="*/ 5275 w 10549"/>
                        <a:gd name="connsiteY3" fmla="*/ 710 h 13477"/>
                        <a:gd name="connsiteX4" fmla="*/ 0 w 10549"/>
                        <a:gd name="connsiteY4" fmla="*/ 3725 h 13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9" h="13477">
                          <a:moveTo>
                            <a:pt x="0" y="3725"/>
                          </a:moveTo>
                          <a:cubicBezTo>
                            <a:pt x="0" y="6990"/>
                            <a:pt x="2386" y="11135"/>
                            <a:pt x="5275" y="12767"/>
                          </a:cubicBezTo>
                          <a:cubicBezTo>
                            <a:pt x="8164" y="14400"/>
                            <a:pt x="10550" y="13144"/>
                            <a:pt x="10550" y="9753"/>
                          </a:cubicBezTo>
                          <a:cubicBezTo>
                            <a:pt x="10550" y="6488"/>
                            <a:pt x="8164" y="2343"/>
                            <a:pt x="5275" y="710"/>
                          </a:cubicBezTo>
                          <a:cubicBezTo>
                            <a:pt x="2261" y="-923"/>
                            <a:pt x="0" y="333"/>
                            <a:pt x="0" y="3725"/>
                          </a:cubicBezTo>
                          <a:close/>
                        </a:path>
                      </a:pathLst>
                    </a:custGeom>
                    <a:solidFill>
                      <a:srgbClr val="CD8B1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1" name="Freeform: Shape 2560">
                      <a:extLst>
                        <a:ext uri="{FF2B5EF4-FFF2-40B4-BE49-F238E27FC236}">
                          <a16:creationId xmlns:a16="http://schemas.microsoft.com/office/drawing/2014/main" id="{ACE21185-D1D9-407A-B480-9A832C573454}"/>
                        </a:ext>
                      </a:extLst>
                    </p:cNvPr>
                    <p:cNvSpPr/>
                    <p:nvPr/>
                  </p:nvSpPr>
                  <p:spPr>
                    <a:xfrm>
                      <a:off x="4779890" y="3198121"/>
                      <a:ext cx="8540" cy="11931"/>
                    </a:xfrm>
                    <a:custGeom>
                      <a:avLst/>
                      <a:gdLst>
                        <a:gd name="connsiteX0" fmla="*/ 1759 w 8540"/>
                        <a:gd name="connsiteY0" fmla="*/ 0 h 11931"/>
                        <a:gd name="connsiteX1" fmla="*/ 3266 w 8540"/>
                        <a:gd name="connsiteY1" fmla="*/ 628 h 11931"/>
                        <a:gd name="connsiteX2" fmla="*/ 8540 w 8540"/>
                        <a:gd name="connsiteY2" fmla="*/ 9671 h 11931"/>
                        <a:gd name="connsiteX3" fmla="*/ 8038 w 8540"/>
                        <a:gd name="connsiteY3" fmla="*/ 11932 h 11931"/>
                        <a:gd name="connsiteX4" fmla="*/ 3266 w 8540"/>
                        <a:gd name="connsiteY4" fmla="*/ 10927 h 11931"/>
                        <a:gd name="connsiteX5" fmla="*/ 0 w 8540"/>
                        <a:gd name="connsiteY5" fmla="*/ 5024 h 11931"/>
                        <a:gd name="connsiteX6" fmla="*/ 1759 w 8540"/>
                        <a:gd name="connsiteY6" fmla="*/ 0 h 1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31">
                          <a:moveTo>
                            <a:pt x="1759" y="0"/>
                          </a:moveTo>
                          <a:cubicBezTo>
                            <a:pt x="2261" y="126"/>
                            <a:pt x="2763" y="251"/>
                            <a:pt x="3266" y="628"/>
                          </a:cubicBezTo>
                          <a:cubicBezTo>
                            <a:pt x="6154" y="2261"/>
                            <a:pt x="8540" y="6405"/>
                            <a:pt x="8540" y="9671"/>
                          </a:cubicBezTo>
                          <a:cubicBezTo>
                            <a:pt x="8540" y="10550"/>
                            <a:pt x="8415" y="11304"/>
                            <a:pt x="8038" y="11932"/>
                          </a:cubicBezTo>
                          <a:lnTo>
                            <a:pt x="3266" y="10927"/>
                          </a:lnTo>
                          <a:cubicBezTo>
                            <a:pt x="1381" y="9294"/>
                            <a:pt x="1130" y="7410"/>
                            <a:pt x="0" y="5024"/>
                          </a:cubicBezTo>
                          <a:lnTo>
                            <a:pt x="1759" y="0"/>
                          </a:lnTo>
                          <a:close/>
                        </a:path>
                      </a:pathLst>
                    </a:custGeom>
                    <a:solidFill>
                      <a:srgbClr val="B86A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2" name="Freeform: Shape 2561">
                      <a:extLst>
                        <a:ext uri="{FF2B5EF4-FFF2-40B4-BE49-F238E27FC236}">
                          <a16:creationId xmlns:a16="http://schemas.microsoft.com/office/drawing/2014/main" id="{06AE7810-14F0-4936-807E-6461CB0FD5B9}"/>
                        </a:ext>
                      </a:extLst>
                    </p:cNvPr>
                    <p:cNvSpPr/>
                    <p:nvPr/>
                  </p:nvSpPr>
                  <p:spPr>
                    <a:xfrm>
                      <a:off x="4780644" y="3201638"/>
                      <a:ext cx="7410" cy="5400"/>
                    </a:xfrm>
                    <a:custGeom>
                      <a:avLst/>
                      <a:gdLst>
                        <a:gd name="connsiteX0" fmla="*/ 879 w 7410"/>
                        <a:gd name="connsiteY0" fmla="*/ 5401 h 5400"/>
                        <a:gd name="connsiteX1" fmla="*/ 0 w 7410"/>
                        <a:gd name="connsiteY1" fmla="*/ 3266 h 5400"/>
                        <a:gd name="connsiteX2" fmla="*/ 5526 w 7410"/>
                        <a:gd name="connsiteY2" fmla="*/ 0 h 5400"/>
                        <a:gd name="connsiteX3" fmla="*/ 7410 w 7410"/>
                        <a:gd name="connsiteY3" fmla="*/ 4145 h 5400"/>
                        <a:gd name="connsiteX4" fmla="*/ 879 w 7410"/>
                        <a:gd name="connsiteY4" fmla="*/ 5401 h 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 h="5400">
                          <a:moveTo>
                            <a:pt x="879" y="5401"/>
                          </a:moveTo>
                          <a:cubicBezTo>
                            <a:pt x="502" y="4773"/>
                            <a:pt x="251" y="4019"/>
                            <a:pt x="0" y="3266"/>
                          </a:cubicBezTo>
                          <a:cubicBezTo>
                            <a:pt x="2010" y="2512"/>
                            <a:pt x="3893" y="1382"/>
                            <a:pt x="5526" y="0"/>
                          </a:cubicBezTo>
                          <a:cubicBezTo>
                            <a:pt x="6405" y="1256"/>
                            <a:pt x="7033" y="2638"/>
                            <a:pt x="7410" y="4145"/>
                          </a:cubicBezTo>
                          <a:cubicBezTo>
                            <a:pt x="5149" y="4019"/>
                            <a:pt x="2889" y="4521"/>
                            <a:pt x="879" y="5401"/>
                          </a:cubicBezTo>
                          <a:close/>
                        </a:path>
                      </a:pathLst>
                    </a:custGeom>
                    <a:solidFill>
                      <a:srgbClr val="DE9B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3" name="Freeform: Shape 2562">
                      <a:extLst>
                        <a:ext uri="{FF2B5EF4-FFF2-40B4-BE49-F238E27FC236}">
                          <a16:creationId xmlns:a16="http://schemas.microsoft.com/office/drawing/2014/main" id="{57FFB3FA-C830-41F6-94CB-4151123F77CD}"/>
                        </a:ext>
                      </a:extLst>
                    </p:cNvPr>
                    <p:cNvSpPr/>
                    <p:nvPr/>
                  </p:nvSpPr>
                  <p:spPr>
                    <a:xfrm>
                      <a:off x="4777881" y="3201526"/>
                      <a:ext cx="7535" cy="9573"/>
                    </a:xfrm>
                    <a:custGeom>
                      <a:avLst/>
                      <a:gdLst>
                        <a:gd name="connsiteX0" fmla="*/ 0 w 7535"/>
                        <a:gd name="connsiteY0" fmla="*/ 2624 h 9573"/>
                        <a:gd name="connsiteX1" fmla="*/ 3768 w 7535"/>
                        <a:gd name="connsiteY1" fmla="*/ 9029 h 9573"/>
                        <a:gd name="connsiteX2" fmla="*/ 7536 w 7535"/>
                        <a:gd name="connsiteY2" fmla="*/ 6894 h 9573"/>
                        <a:gd name="connsiteX3" fmla="*/ 3768 w 7535"/>
                        <a:gd name="connsiteY3" fmla="*/ 489 h 9573"/>
                        <a:gd name="connsiteX4" fmla="*/ 0 w 7535"/>
                        <a:gd name="connsiteY4" fmla="*/ 2624 h 9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5" h="9573">
                          <a:moveTo>
                            <a:pt x="0" y="2624"/>
                          </a:moveTo>
                          <a:cubicBezTo>
                            <a:pt x="0" y="5010"/>
                            <a:pt x="1633" y="7899"/>
                            <a:pt x="3768" y="9029"/>
                          </a:cubicBezTo>
                          <a:cubicBezTo>
                            <a:pt x="5903" y="10285"/>
                            <a:pt x="7536" y="9280"/>
                            <a:pt x="7536" y="6894"/>
                          </a:cubicBezTo>
                          <a:cubicBezTo>
                            <a:pt x="7536" y="4508"/>
                            <a:pt x="5903" y="1619"/>
                            <a:pt x="3768" y="489"/>
                          </a:cubicBezTo>
                          <a:cubicBezTo>
                            <a:pt x="1633" y="-642"/>
                            <a:pt x="0" y="238"/>
                            <a:pt x="0" y="2624"/>
                          </a:cubicBezTo>
                          <a:close/>
                        </a:path>
                      </a:pathLst>
                    </a:custGeom>
                    <a:solidFill>
                      <a:srgbClr val="B86A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4" name="Freeform: Shape 2563">
                      <a:extLst>
                        <a:ext uri="{FF2B5EF4-FFF2-40B4-BE49-F238E27FC236}">
                          <a16:creationId xmlns:a16="http://schemas.microsoft.com/office/drawing/2014/main" id="{E6C7C153-B3F4-4CC8-BBC7-69F88D6D9AB1}"/>
                        </a:ext>
                      </a:extLst>
                    </p:cNvPr>
                    <p:cNvSpPr/>
                    <p:nvPr/>
                  </p:nvSpPr>
                  <p:spPr>
                    <a:xfrm>
                      <a:off x="4779011" y="3204130"/>
                      <a:ext cx="4019" cy="5187"/>
                    </a:xfrm>
                    <a:custGeom>
                      <a:avLst/>
                      <a:gdLst>
                        <a:gd name="connsiteX0" fmla="*/ 0 w 4019"/>
                        <a:gd name="connsiteY0" fmla="*/ 1401 h 5187"/>
                        <a:gd name="connsiteX1" fmla="*/ 2010 w 4019"/>
                        <a:gd name="connsiteY1" fmla="*/ 4917 h 5187"/>
                        <a:gd name="connsiteX2" fmla="*/ 4019 w 4019"/>
                        <a:gd name="connsiteY2" fmla="*/ 3787 h 5187"/>
                        <a:gd name="connsiteX3" fmla="*/ 2010 w 4019"/>
                        <a:gd name="connsiteY3" fmla="*/ 270 h 5187"/>
                        <a:gd name="connsiteX4" fmla="*/ 0 w 4019"/>
                        <a:gd name="connsiteY4" fmla="*/ 1401 h 5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5187">
                          <a:moveTo>
                            <a:pt x="0" y="1401"/>
                          </a:moveTo>
                          <a:cubicBezTo>
                            <a:pt x="0" y="2657"/>
                            <a:pt x="879" y="4289"/>
                            <a:pt x="2010" y="4917"/>
                          </a:cubicBezTo>
                          <a:cubicBezTo>
                            <a:pt x="3140" y="5545"/>
                            <a:pt x="4019" y="5043"/>
                            <a:pt x="4019" y="3787"/>
                          </a:cubicBezTo>
                          <a:cubicBezTo>
                            <a:pt x="4019" y="2531"/>
                            <a:pt x="3140" y="898"/>
                            <a:pt x="2010" y="270"/>
                          </a:cubicBezTo>
                          <a:cubicBezTo>
                            <a:pt x="879" y="-358"/>
                            <a:pt x="0" y="145"/>
                            <a:pt x="0" y="1401"/>
                          </a:cubicBezTo>
                          <a:close/>
                        </a:path>
                      </a:pathLst>
                    </a:custGeom>
                    <a:solidFill>
                      <a:srgbClr val="E098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565" name="Freeform: Shape 2564">
                    <a:extLst>
                      <a:ext uri="{FF2B5EF4-FFF2-40B4-BE49-F238E27FC236}">
                        <a16:creationId xmlns:a16="http://schemas.microsoft.com/office/drawing/2014/main" id="{FDA7FFA5-2A25-40BB-AEF1-F852CFDE87C3}"/>
                      </a:ext>
                    </a:extLst>
                  </p:cNvPr>
                  <p:cNvSpPr/>
                  <p:nvPr/>
                </p:nvSpPr>
                <p:spPr>
                  <a:xfrm>
                    <a:off x="4423452" y="2988754"/>
                    <a:ext cx="375026" cy="235741"/>
                  </a:xfrm>
                  <a:custGeom>
                    <a:avLst/>
                    <a:gdLst>
                      <a:gd name="connsiteX0" fmla="*/ 3391 w 375026"/>
                      <a:gd name="connsiteY0" fmla="*/ 7913 h 235741"/>
                      <a:gd name="connsiteX1" fmla="*/ 5024 w 375026"/>
                      <a:gd name="connsiteY1" fmla="*/ 8415 h 235741"/>
                      <a:gd name="connsiteX2" fmla="*/ 358699 w 375026"/>
                      <a:gd name="connsiteY2" fmla="*/ 213386 h 235741"/>
                      <a:gd name="connsiteX3" fmla="*/ 374398 w 375026"/>
                      <a:gd name="connsiteY3" fmla="*/ 235741 h 235741"/>
                      <a:gd name="connsiteX4" fmla="*/ 375026 w 375026"/>
                      <a:gd name="connsiteY4" fmla="*/ 233732 h 235741"/>
                      <a:gd name="connsiteX5" fmla="*/ 358699 w 375026"/>
                      <a:gd name="connsiteY5" fmla="*/ 205473 h 235741"/>
                      <a:gd name="connsiteX6" fmla="*/ 5024 w 375026"/>
                      <a:gd name="connsiteY6" fmla="*/ 502 h 235741"/>
                      <a:gd name="connsiteX7" fmla="*/ 3391 w 375026"/>
                      <a:gd name="connsiteY7" fmla="*/ 0 h 235741"/>
                      <a:gd name="connsiteX8" fmla="*/ 0 w 375026"/>
                      <a:gd name="connsiteY8" fmla="*/ 3391 h 235741"/>
                      <a:gd name="connsiteX9" fmla="*/ 628 w 375026"/>
                      <a:gd name="connsiteY9" fmla="*/ 9294 h 235741"/>
                      <a:gd name="connsiteX10" fmla="*/ 3391 w 375026"/>
                      <a:gd name="connsiteY10" fmla="*/ 7913 h 23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5026" h="235741">
                        <a:moveTo>
                          <a:pt x="3391" y="7913"/>
                        </a:moveTo>
                        <a:cubicBezTo>
                          <a:pt x="3893" y="7913"/>
                          <a:pt x="4522" y="8038"/>
                          <a:pt x="5024" y="8415"/>
                        </a:cubicBezTo>
                        <a:lnTo>
                          <a:pt x="358699" y="213386"/>
                        </a:lnTo>
                        <a:cubicBezTo>
                          <a:pt x="366988" y="218158"/>
                          <a:pt x="372765" y="226447"/>
                          <a:pt x="374398" y="235741"/>
                        </a:cubicBezTo>
                        <a:cubicBezTo>
                          <a:pt x="374901" y="234988"/>
                          <a:pt x="375026" y="234360"/>
                          <a:pt x="375026" y="233732"/>
                        </a:cubicBezTo>
                        <a:cubicBezTo>
                          <a:pt x="375026" y="222052"/>
                          <a:pt x="368747" y="211251"/>
                          <a:pt x="358699" y="205473"/>
                        </a:cubicBezTo>
                        <a:lnTo>
                          <a:pt x="5024" y="502"/>
                        </a:lnTo>
                        <a:cubicBezTo>
                          <a:pt x="4522" y="126"/>
                          <a:pt x="3893" y="0"/>
                          <a:pt x="3391" y="0"/>
                        </a:cubicBezTo>
                        <a:cubicBezTo>
                          <a:pt x="2261" y="0"/>
                          <a:pt x="0" y="879"/>
                          <a:pt x="0" y="3391"/>
                        </a:cubicBezTo>
                        <a:cubicBezTo>
                          <a:pt x="0" y="5401"/>
                          <a:pt x="251" y="7410"/>
                          <a:pt x="628" y="9294"/>
                        </a:cubicBezTo>
                        <a:cubicBezTo>
                          <a:pt x="1382" y="8289"/>
                          <a:pt x="2763" y="7913"/>
                          <a:pt x="3391" y="7913"/>
                        </a:cubicBezTo>
                        <a:close/>
                      </a:path>
                    </a:pathLst>
                  </a:custGeom>
                  <a:solidFill>
                    <a:srgbClr val="8C7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66" name="Graphic 4">
                  <a:extLst>
                    <a:ext uri="{FF2B5EF4-FFF2-40B4-BE49-F238E27FC236}">
                      <a16:creationId xmlns:a16="http://schemas.microsoft.com/office/drawing/2014/main" id="{84FB7ED1-A2DF-40A1-A747-5F7CF3F14040}"/>
                    </a:ext>
                  </a:extLst>
                </p:cNvPr>
                <p:cNvGrpSpPr/>
                <p:nvPr/>
              </p:nvGrpSpPr>
              <p:grpSpPr>
                <a:xfrm>
                  <a:off x="4432997" y="2932739"/>
                  <a:ext cx="426645" cy="247044"/>
                  <a:chOff x="4432997" y="2932739"/>
                  <a:chExt cx="426645" cy="247044"/>
                </a:xfrm>
                <a:solidFill>
                  <a:srgbClr val="5E6566"/>
                </a:solidFill>
              </p:grpSpPr>
              <p:sp>
                <p:nvSpPr>
                  <p:cNvPr id="2567" name="Freeform: Shape 2566">
                    <a:extLst>
                      <a:ext uri="{FF2B5EF4-FFF2-40B4-BE49-F238E27FC236}">
                        <a16:creationId xmlns:a16="http://schemas.microsoft.com/office/drawing/2014/main" id="{D59043E6-F1DC-4B76-A997-40B9CDDEA871}"/>
                      </a:ext>
                    </a:extLst>
                  </p:cNvPr>
                  <p:cNvSpPr/>
                  <p:nvPr/>
                </p:nvSpPr>
                <p:spPr>
                  <a:xfrm>
                    <a:off x="4777127" y="3132058"/>
                    <a:ext cx="82515" cy="47726"/>
                  </a:xfrm>
                  <a:custGeom>
                    <a:avLst/>
                    <a:gdLst>
                      <a:gd name="connsiteX0" fmla="*/ 0 w 82515"/>
                      <a:gd name="connsiteY0" fmla="*/ 45968 h 47726"/>
                      <a:gd name="connsiteX1" fmla="*/ 3266 w 82515"/>
                      <a:gd name="connsiteY1" fmla="*/ 47726 h 47726"/>
                      <a:gd name="connsiteX2" fmla="*/ 82516 w 82515"/>
                      <a:gd name="connsiteY2" fmla="*/ 2010 h 47726"/>
                      <a:gd name="connsiteX3" fmla="*/ 79376 w 82515"/>
                      <a:gd name="connsiteY3" fmla="*/ 0 h 47726"/>
                    </a:gdLst>
                    <a:ahLst/>
                    <a:cxnLst>
                      <a:cxn ang="0">
                        <a:pos x="connsiteX0" y="connsiteY0"/>
                      </a:cxn>
                      <a:cxn ang="0">
                        <a:pos x="connsiteX1" y="connsiteY1"/>
                      </a:cxn>
                      <a:cxn ang="0">
                        <a:pos x="connsiteX2" y="connsiteY2"/>
                      </a:cxn>
                      <a:cxn ang="0">
                        <a:pos x="connsiteX3" y="connsiteY3"/>
                      </a:cxn>
                    </a:cxnLst>
                    <a:rect l="l" t="t" r="r" b="b"/>
                    <a:pathLst>
                      <a:path w="82515" h="47726">
                        <a:moveTo>
                          <a:pt x="0" y="45968"/>
                        </a:moveTo>
                        <a:lnTo>
                          <a:pt x="3266" y="47726"/>
                        </a:lnTo>
                        <a:lnTo>
                          <a:pt x="82516" y="2010"/>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8" name="Freeform: Shape 2567">
                    <a:extLst>
                      <a:ext uri="{FF2B5EF4-FFF2-40B4-BE49-F238E27FC236}">
                        <a16:creationId xmlns:a16="http://schemas.microsoft.com/office/drawing/2014/main" id="{54731310-3CFD-45B3-AE5A-0170735466FD}"/>
                      </a:ext>
                    </a:extLst>
                  </p:cNvPr>
                  <p:cNvSpPr/>
                  <p:nvPr/>
                </p:nvSpPr>
                <p:spPr>
                  <a:xfrm>
                    <a:off x="4691095" y="3082322"/>
                    <a:ext cx="82641" cy="47726"/>
                  </a:xfrm>
                  <a:custGeom>
                    <a:avLst/>
                    <a:gdLst>
                      <a:gd name="connsiteX0" fmla="*/ 0 w 82641"/>
                      <a:gd name="connsiteY0" fmla="*/ 45842 h 47726"/>
                      <a:gd name="connsiteX1" fmla="*/ 3266 w 82641"/>
                      <a:gd name="connsiteY1" fmla="*/ 47726 h 47726"/>
                      <a:gd name="connsiteX2" fmla="*/ 82642 w 82641"/>
                      <a:gd name="connsiteY2" fmla="*/ 1884 h 47726"/>
                      <a:gd name="connsiteX3" fmla="*/ 79376 w 82641"/>
                      <a:gd name="connsiteY3" fmla="*/ 0 h 47726"/>
                    </a:gdLst>
                    <a:ahLst/>
                    <a:cxnLst>
                      <a:cxn ang="0">
                        <a:pos x="connsiteX0" y="connsiteY0"/>
                      </a:cxn>
                      <a:cxn ang="0">
                        <a:pos x="connsiteX1" y="connsiteY1"/>
                      </a:cxn>
                      <a:cxn ang="0">
                        <a:pos x="connsiteX2" y="connsiteY2"/>
                      </a:cxn>
                      <a:cxn ang="0">
                        <a:pos x="connsiteX3" y="connsiteY3"/>
                      </a:cxn>
                    </a:cxnLst>
                    <a:rect l="l" t="t" r="r" b="b"/>
                    <a:pathLst>
                      <a:path w="82641" h="47726">
                        <a:moveTo>
                          <a:pt x="0" y="45842"/>
                        </a:moveTo>
                        <a:lnTo>
                          <a:pt x="3266" y="47726"/>
                        </a:lnTo>
                        <a:lnTo>
                          <a:pt x="82642" y="1884"/>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9" name="Freeform: Shape 2568">
                    <a:extLst>
                      <a:ext uri="{FF2B5EF4-FFF2-40B4-BE49-F238E27FC236}">
                        <a16:creationId xmlns:a16="http://schemas.microsoft.com/office/drawing/2014/main" id="{7A5914DE-8256-4D6B-BB98-0145FA36EF6E}"/>
                      </a:ext>
                    </a:extLst>
                  </p:cNvPr>
                  <p:cNvSpPr/>
                  <p:nvPr/>
                </p:nvSpPr>
                <p:spPr>
                  <a:xfrm>
                    <a:off x="4605062" y="3032461"/>
                    <a:ext cx="82641" cy="47726"/>
                  </a:xfrm>
                  <a:custGeom>
                    <a:avLst/>
                    <a:gdLst>
                      <a:gd name="connsiteX0" fmla="*/ 0 w 82641"/>
                      <a:gd name="connsiteY0" fmla="*/ 45842 h 47726"/>
                      <a:gd name="connsiteX1" fmla="*/ 3266 w 82641"/>
                      <a:gd name="connsiteY1" fmla="*/ 47726 h 47726"/>
                      <a:gd name="connsiteX2" fmla="*/ 82642 w 82641"/>
                      <a:gd name="connsiteY2" fmla="*/ 1884 h 47726"/>
                      <a:gd name="connsiteX3" fmla="*/ 79376 w 82641"/>
                      <a:gd name="connsiteY3" fmla="*/ 0 h 47726"/>
                    </a:gdLst>
                    <a:ahLst/>
                    <a:cxnLst>
                      <a:cxn ang="0">
                        <a:pos x="connsiteX0" y="connsiteY0"/>
                      </a:cxn>
                      <a:cxn ang="0">
                        <a:pos x="connsiteX1" y="connsiteY1"/>
                      </a:cxn>
                      <a:cxn ang="0">
                        <a:pos x="connsiteX2" y="connsiteY2"/>
                      </a:cxn>
                      <a:cxn ang="0">
                        <a:pos x="connsiteX3" y="connsiteY3"/>
                      </a:cxn>
                    </a:cxnLst>
                    <a:rect l="l" t="t" r="r" b="b"/>
                    <a:pathLst>
                      <a:path w="82641" h="47726">
                        <a:moveTo>
                          <a:pt x="0" y="45842"/>
                        </a:moveTo>
                        <a:lnTo>
                          <a:pt x="3266" y="47726"/>
                        </a:lnTo>
                        <a:lnTo>
                          <a:pt x="82642" y="1884"/>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0" name="Freeform: Shape 2569">
                    <a:extLst>
                      <a:ext uri="{FF2B5EF4-FFF2-40B4-BE49-F238E27FC236}">
                        <a16:creationId xmlns:a16="http://schemas.microsoft.com/office/drawing/2014/main" id="{9B2D044F-0F02-4BB7-9B86-D4035396137D}"/>
                      </a:ext>
                    </a:extLst>
                  </p:cNvPr>
                  <p:cNvSpPr/>
                  <p:nvPr/>
                </p:nvSpPr>
                <p:spPr>
                  <a:xfrm>
                    <a:off x="4519030" y="2982600"/>
                    <a:ext cx="82641" cy="47725"/>
                  </a:xfrm>
                  <a:custGeom>
                    <a:avLst/>
                    <a:gdLst>
                      <a:gd name="connsiteX0" fmla="*/ 0 w 82641"/>
                      <a:gd name="connsiteY0" fmla="*/ 45842 h 47725"/>
                      <a:gd name="connsiteX1" fmla="*/ 3391 w 82641"/>
                      <a:gd name="connsiteY1" fmla="*/ 47726 h 47725"/>
                      <a:gd name="connsiteX2" fmla="*/ 82641 w 82641"/>
                      <a:gd name="connsiteY2" fmla="*/ 1884 h 47725"/>
                      <a:gd name="connsiteX3" fmla="*/ 79376 w 82641"/>
                      <a:gd name="connsiteY3" fmla="*/ 0 h 47725"/>
                    </a:gdLst>
                    <a:ahLst/>
                    <a:cxnLst>
                      <a:cxn ang="0">
                        <a:pos x="connsiteX0" y="connsiteY0"/>
                      </a:cxn>
                      <a:cxn ang="0">
                        <a:pos x="connsiteX1" y="connsiteY1"/>
                      </a:cxn>
                      <a:cxn ang="0">
                        <a:pos x="connsiteX2" y="connsiteY2"/>
                      </a:cxn>
                      <a:cxn ang="0">
                        <a:pos x="connsiteX3" y="connsiteY3"/>
                      </a:cxn>
                    </a:cxnLst>
                    <a:rect l="l" t="t" r="r" b="b"/>
                    <a:pathLst>
                      <a:path w="82641" h="47725">
                        <a:moveTo>
                          <a:pt x="0" y="45842"/>
                        </a:moveTo>
                        <a:lnTo>
                          <a:pt x="3391" y="47726"/>
                        </a:lnTo>
                        <a:lnTo>
                          <a:pt x="82641" y="1884"/>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1" name="Freeform: Shape 2570">
                    <a:extLst>
                      <a:ext uri="{FF2B5EF4-FFF2-40B4-BE49-F238E27FC236}">
                        <a16:creationId xmlns:a16="http://schemas.microsoft.com/office/drawing/2014/main" id="{2A458DC0-9A86-4D93-9477-B0960CB6F99A}"/>
                      </a:ext>
                    </a:extLst>
                  </p:cNvPr>
                  <p:cNvSpPr/>
                  <p:nvPr/>
                </p:nvSpPr>
                <p:spPr>
                  <a:xfrm>
                    <a:off x="4432997" y="2932739"/>
                    <a:ext cx="82641" cy="47851"/>
                  </a:xfrm>
                  <a:custGeom>
                    <a:avLst/>
                    <a:gdLst>
                      <a:gd name="connsiteX0" fmla="*/ 0 w 82641"/>
                      <a:gd name="connsiteY0" fmla="*/ 45842 h 47851"/>
                      <a:gd name="connsiteX1" fmla="*/ 3391 w 82641"/>
                      <a:gd name="connsiteY1" fmla="*/ 47852 h 47851"/>
                      <a:gd name="connsiteX2" fmla="*/ 82641 w 82641"/>
                      <a:gd name="connsiteY2" fmla="*/ 1884 h 47851"/>
                      <a:gd name="connsiteX3" fmla="*/ 79376 w 82641"/>
                      <a:gd name="connsiteY3" fmla="*/ 0 h 47851"/>
                    </a:gdLst>
                    <a:ahLst/>
                    <a:cxnLst>
                      <a:cxn ang="0">
                        <a:pos x="connsiteX0" y="connsiteY0"/>
                      </a:cxn>
                      <a:cxn ang="0">
                        <a:pos x="connsiteX1" y="connsiteY1"/>
                      </a:cxn>
                      <a:cxn ang="0">
                        <a:pos x="connsiteX2" y="connsiteY2"/>
                      </a:cxn>
                      <a:cxn ang="0">
                        <a:pos x="connsiteX3" y="connsiteY3"/>
                      </a:cxn>
                    </a:cxnLst>
                    <a:rect l="l" t="t" r="r" b="b"/>
                    <a:pathLst>
                      <a:path w="82641" h="47851">
                        <a:moveTo>
                          <a:pt x="0" y="45842"/>
                        </a:moveTo>
                        <a:lnTo>
                          <a:pt x="3391" y="47852"/>
                        </a:lnTo>
                        <a:lnTo>
                          <a:pt x="82641" y="1884"/>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572" name="Graphic 4">
                <a:extLst>
                  <a:ext uri="{FF2B5EF4-FFF2-40B4-BE49-F238E27FC236}">
                    <a16:creationId xmlns:a16="http://schemas.microsoft.com/office/drawing/2014/main" id="{84FB7ED1-A2DF-40A1-A747-5F7CF3F14040}"/>
                  </a:ext>
                </a:extLst>
              </p:cNvPr>
              <p:cNvGrpSpPr/>
              <p:nvPr/>
            </p:nvGrpSpPr>
            <p:grpSpPr>
              <a:xfrm>
                <a:off x="4384015" y="2990764"/>
                <a:ext cx="377286" cy="282588"/>
                <a:chOff x="4384015" y="2990764"/>
                <a:chExt cx="377286" cy="282588"/>
              </a:xfrm>
              <a:solidFill>
                <a:srgbClr val="2E2E2E"/>
              </a:solidFill>
            </p:grpSpPr>
            <p:grpSp>
              <p:nvGrpSpPr>
                <p:cNvPr id="2573" name="Graphic 4">
                  <a:extLst>
                    <a:ext uri="{FF2B5EF4-FFF2-40B4-BE49-F238E27FC236}">
                      <a16:creationId xmlns:a16="http://schemas.microsoft.com/office/drawing/2014/main" id="{84FB7ED1-A2DF-40A1-A747-5F7CF3F14040}"/>
                    </a:ext>
                  </a:extLst>
                </p:cNvPr>
                <p:cNvGrpSpPr/>
                <p:nvPr/>
              </p:nvGrpSpPr>
              <p:grpSpPr>
                <a:xfrm>
                  <a:off x="4743719" y="3193097"/>
                  <a:ext cx="17583" cy="80255"/>
                  <a:chOff x="4743719" y="3193097"/>
                  <a:chExt cx="17583" cy="80255"/>
                </a:xfrm>
                <a:solidFill>
                  <a:srgbClr val="2E2E2E"/>
                </a:solidFill>
              </p:grpSpPr>
              <p:sp>
                <p:nvSpPr>
                  <p:cNvPr id="2574" name="Freeform: Shape 2573">
                    <a:extLst>
                      <a:ext uri="{FF2B5EF4-FFF2-40B4-BE49-F238E27FC236}">
                        <a16:creationId xmlns:a16="http://schemas.microsoft.com/office/drawing/2014/main" id="{41F6C7CB-4028-4140-8630-E0EB753B4C0B}"/>
                      </a:ext>
                    </a:extLst>
                  </p:cNvPr>
                  <p:cNvSpPr/>
                  <p:nvPr/>
                </p:nvSpPr>
                <p:spPr>
                  <a:xfrm>
                    <a:off x="4755148" y="3193097"/>
                    <a:ext cx="6154" cy="80255"/>
                  </a:xfrm>
                  <a:custGeom>
                    <a:avLst/>
                    <a:gdLst>
                      <a:gd name="connsiteX0" fmla="*/ 0 w 6154"/>
                      <a:gd name="connsiteY0" fmla="*/ 80255 h 80255"/>
                      <a:gd name="connsiteX1" fmla="*/ 6154 w 6154"/>
                      <a:gd name="connsiteY1" fmla="*/ 76738 h 80255"/>
                      <a:gd name="connsiteX2" fmla="*/ 6154 w 6154"/>
                      <a:gd name="connsiteY2" fmla="*/ 0 h 80255"/>
                      <a:gd name="connsiteX3" fmla="*/ 0 w 6154"/>
                      <a:gd name="connsiteY3" fmla="*/ 3517 h 80255"/>
                    </a:gdLst>
                    <a:ahLst/>
                    <a:cxnLst>
                      <a:cxn ang="0">
                        <a:pos x="connsiteX0" y="connsiteY0"/>
                      </a:cxn>
                      <a:cxn ang="0">
                        <a:pos x="connsiteX1" y="connsiteY1"/>
                      </a:cxn>
                      <a:cxn ang="0">
                        <a:pos x="connsiteX2" y="connsiteY2"/>
                      </a:cxn>
                      <a:cxn ang="0">
                        <a:pos x="connsiteX3" y="connsiteY3"/>
                      </a:cxn>
                    </a:cxnLst>
                    <a:rect l="l" t="t" r="r" b="b"/>
                    <a:pathLst>
                      <a:path w="6154" h="80255">
                        <a:moveTo>
                          <a:pt x="0" y="80255"/>
                        </a:moveTo>
                        <a:lnTo>
                          <a:pt x="6154" y="76738"/>
                        </a:lnTo>
                        <a:lnTo>
                          <a:pt x="6154" y="0"/>
                        </a:lnTo>
                        <a:lnTo>
                          <a:pt x="0" y="351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5" name="Freeform: Shape 2574">
                    <a:extLst>
                      <a:ext uri="{FF2B5EF4-FFF2-40B4-BE49-F238E27FC236}">
                        <a16:creationId xmlns:a16="http://schemas.microsoft.com/office/drawing/2014/main" id="{F38E6244-14A5-4B6B-94C4-95B3D757260E}"/>
                      </a:ext>
                    </a:extLst>
                  </p:cNvPr>
                  <p:cNvSpPr/>
                  <p:nvPr/>
                </p:nvSpPr>
                <p:spPr>
                  <a:xfrm>
                    <a:off x="4743719" y="3198372"/>
                    <a:ext cx="11429" cy="74980"/>
                  </a:xfrm>
                  <a:custGeom>
                    <a:avLst/>
                    <a:gdLst>
                      <a:gd name="connsiteX0" fmla="*/ 11429 w 11429"/>
                      <a:gd name="connsiteY0" fmla="*/ 74980 h 74980"/>
                      <a:gd name="connsiteX1" fmla="*/ 0 w 11429"/>
                      <a:gd name="connsiteY1" fmla="*/ 68324 h 74980"/>
                      <a:gd name="connsiteX2" fmla="*/ 0 w 11429"/>
                      <a:gd name="connsiteY2" fmla="*/ 0 h 74980"/>
                      <a:gd name="connsiteX3" fmla="*/ 11429 w 11429"/>
                      <a:gd name="connsiteY3" fmla="*/ 6657 h 74980"/>
                    </a:gdLst>
                    <a:ahLst/>
                    <a:cxnLst>
                      <a:cxn ang="0">
                        <a:pos x="connsiteX0" y="connsiteY0"/>
                      </a:cxn>
                      <a:cxn ang="0">
                        <a:pos x="connsiteX1" y="connsiteY1"/>
                      </a:cxn>
                      <a:cxn ang="0">
                        <a:pos x="connsiteX2" y="connsiteY2"/>
                      </a:cxn>
                      <a:cxn ang="0">
                        <a:pos x="connsiteX3" y="connsiteY3"/>
                      </a:cxn>
                    </a:cxnLst>
                    <a:rect l="l" t="t" r="r" b="b"/>
                    <a:pathLst>
                      <a:path w="11429" h="74980">
                        <a:moveTo>
                          <a:pt x="11429" y="74980"/>
                        </a:moveTo>
                        <a:lnTo>
                          <a:pt x="0" y="68324"/>
                        </a:lnTo>
                        <a:lnTo>
                          <a:pt x="0" y="0"/>
                        </a:lnTo>
                        <a:lnTo>
                          <a:pt x="11429"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76" name="Graphic 4">
                  <a:extLst>
                    <a:ext uri="{FF2B5EF4-FFF2-40B4-BE49-F238E27FC236}">
                      <a16:creationId xmlns:a16="http://schemas.microsoft.com/office/drawing/2014/main" id="{84FB7ED1-A2DF-40A1-A747-5F7CF3F14040}"/>
                    </a:ext>
                  </a:extLst>
                </p:cNvPr>
                <p:cNvGrpSpPr/>
                <p:nvPr/>
              </p:nvGrpSpPr>
              <p:grpSpPr>
                <a:xfrm>
                  <a:off x="4653793" y="3142483"/>
                  <a:ext cx="18964" cy="78873"/>
                  <a:chOff x="4653793" y="3142483"/>
                  <a:chExt cx="18964" cy="78873"/>
                </a:xfrm>
                <a:solidFill>
                  <a:srgbClr val="2E2E2E"/>
                </a:solidFill>
              </p:grpSpPr>
              <p:sp>
                <p:nvSpPr>
                  <p:cNvPr id="2577" name="Freeform: Shape 2576">
                    <a:extLst>
                      <a:ext uri="{FF2B5EF4-FFF2-40B4-BE49-F238E27FC236}">
                        <a16:creationId xmlns:a16="http://schemas.microsoft.com/office/drawing/2014/main" id="{38CB9F95-BF8A-41D8-B5BA-1BFC3EFA691F}"/>
                      </a:ext>
                    </a:extLst>
                  </p:cNvPr>
                  <p:cNvSpPr/>
                  <p:nvPr/>
                </p:nvSpPr>
                <p:spPr>
                  <a:xfrm>
                    <a:off x="4665348" y="3142483"/>
                    <a:ext cx="7410" cy="78873"/>
                  </a:xfrm>
                  <a:custGeom>
                    <a:avLst/>
                    <a:gdLst>
                      <a:gd name="connsiteX0" fmla="*/ 0 w 7410"/>
                      <a:gd name="connsiteY0" fmla="*/ 78874 h 78873"/>
                      <a:gd name="connsiteX1" fmla="*/ 7410 w 7410"/>
                      <a:gd name="connsiteY1" fmla="*/ 74603 h 78873"/>
                      <a:gd name="connsiteX2" fmla="*/ 7410 w 7410"/>
                      <a:gd name="connsiteY2" fmla="*/ 0 h 78873"/>
                      <a:gd name="connsiteX3" fmla="*/ 0 w 7410"/>
                      <a:gd name="connsiteY3" fmla="*/ 4270 h 78873"/>
                    </a:gdLst>
                    <a:ahLst/>
                    <a:cxnLst>
                      <a:cxn ang="0">
                        <a:pos x="connsiteX0" y="connsiteY0"/>
                      </a:cxn>
                      <a:cxn ang="0">
                        <a:pos x="connsiteX1" y="connsiteY1"/>
                      </a:cxn>
                      <a:cxn ang="0">
                        <a:pos x="connsiteX2" y="connsiteY2"/>
                      </a:cxn>
                      <a:cxn ang="0">
                        <a:pos x="connsiteX3" y="connsiteY3"/>
                      </a:cxn>
                    </a:cxnLst>
                    <a:rect l="l" t="t" r="r" b="b"/>
                    <a:pathLst>
                      <a:path w="7410" h="78873">
                        <a:moveTo>
                          <a:pt x="0" y="78874"/>
                        </a:moveTo>
                        <a:lnTo>
                          <a:pt x="7410" y="74603"/>
                        </a:lnTo>
                        <a:lnTo>
                          <a:pt x="7410" y="0"/>
                        </a:lnTo>
                        <a:lnTo>
                          <a:pt x="0" y="4270"/>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8" name="Freeform: Shape 2577">
                    <a:extLst>
                      <a:ext uri="{FF2B5EF4-FFF2-40B4-BE49-F238E27FC236}">
                        <a16:creationId xmlns:a16="http://schemas.microsoft.com/office/drawing/2014/main" id="{816A7634-D9AA-4B18-96E9-1B81B82EAE82}"/>
                      </a:ext>
                    </a:extLst>
                  </p:cNvPr>
                  <p:cNvSpPr/>
                  <p:nvPr/>
                </p:nvSpPr>
                <p:spPr>
                  <a:xfrm>
                    <a:off x="4653793" y="3146501"/>
                    <a:ext cx="11554" cy="74854"/>
                  </a:xfrm>
                  <a:custGeom>
                    <a:avLst/>
                    <a:gdLst>
                      <a:gd name="connsiteX0" fmla="*/ 11555 w 11554"/>
                      <a:gd name="connsiteY0" fmla="*/ 74855 h 74854"/>
                      <a:gd name="connsiteX1" fmla="*/ 0 w 11554"/>
                      <a:gd name="connsiteY1" fmla="*/ 68198 h 74854"/>
                      <a:gd name="connsiteX2" fmla="*/ 0 w 11554"/>
                      <a:gd name="connsiteY2" fmla="*/ 0 h 74854"/>
                      <a:gd name="connsiteX3" fmla="*/ 11555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11555" y="74855"/>
                        </a:moveTo>
                        <a:lnTo>
                          <a:pt x="0" y="68198"/>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79" name="Graphic 4">
                  <a:extLst>
                    <a:ext uri="{FF2B5EF4-FFF2-40B4-BE49-F238E27FC236}">
                      <a16:creationId xmlns:a16="http://schemas.microsoft.com/office/drawing/2014/main" id="{84FB7ED1-A2DF-40A1-A747-5F7CF3F14040}"/>
                    </a:ext>
                  </a:extLst>
                </p:cNvPr>
                <p:cNvGrpSpPr/>
                <p:nvPr/>
              </p:nvGrpSpPr>
              <p:grpSpPr>
                <a:xfrm>
                  <a:off x="4563867" y="3091868"/>
                  <a:ext cx="20346" cy="77617"/>
                  <a:chOff x="4563867" y="3091868"/>
                  <a:chExt cx="20346" cy="77617"/>
                </a:xfrm>
                <a:solidFill>
                  <a:srgbClr val="2E2E2E"/>
                </a:solidFill>
              </p:grpSpPr>
              <p:sp>
                <p:nvSpPr>
                  <p:cNvPr id="2580" name="Freeform: Shape 2579">
                    <a:extLst>
                      <a:ext uri="{FF2B5EF4-FFF2-40B4-BE49-F238E27FC236}">
                        <a16:creationId xmlns:a16="http://schemas.microsoft.com/office/drawing/2014/main" id="{5F7B5870-54D8-4D40-9055-CCE4A3D971B5}"/>
                      </a:ext>
                    </a:extLst>
                  </p:cNvPr>
                  <p:cNvSpPr/>
                  <p:nvPr/>
                </p:nvSpPr>
                <p:spPr>
                  <a:xfrm>
                    <a:off x="4575422" y="3091868"/>
                    <a:ext cx="8791" cy="77617"/>
                  </a:xfrm>
                  <a:custGeom>
                    <a:avLst/>
                    <a:gdLst>
                      <a:gd name="connsiteX0" fmla="*/ 0 w 8791"/>
                      <a:gd name="connsiteY0" fmla="*/ 77617 h 77617"/>
                      <a:gd name="connsiteX1" fmla="*/ 8792 w 8791"/>
                      <a:gd name="connsiteY1" fmla="*/ 72468 h 77617"/>
                      <a:gd name="connsiteX2" fmla="*/ 8792 w 8791"/>
                      <a:gd name="connsiteY2" fmla="*/ 0 h 77617"/>
                      <a:gd name="connsiteX3" fmla="*/ 0 w 8791"/>
                      <a:gd name="connsiteY3" fmla="*/ 5149 h 77617"/>
                    </a:gdLst>
                    <a:ahLst/>
                    <a:cxnLst>
                      <a:cxn ang="0">
                        <a:pos x="connsiteX0" y="connsiteY0"/>
                      </a:cxn>
                      <a:cxn ang="0">
                        <a:pos x="connsiteX1" y="connsiteY1"/>
                      </a:cxn>
                      <a:cxn ang="0">
                        <a:pos x="connsiteX2" y="connsiteY2"/>
                      </a:cxn>
                      <a:cxn ang="0">
                        <a:pos x="connsiteX3" y="connsiteY3"/>
                      </a:cxn>
                    </a:cxnLst>
                    <a:rect l="l" t="t" r="r" b="b"/>
                    <a:pathLst>
                      <a:path w="8791" h="77617">
                        <a:moveTo>
                          <a:pt x="0" y="77617"/>
                        </a:moveTo>
                        <a:lnTo>
                          <a:pt x="8792" y="72468"/>
                        </a:lnTo>
                        <a:lnTo>
                          <a:pt x="8792" y="0"/>
                        </a:lnTo>
                        <a:lnTo>
                          <a:pt x="0" y="5149"/>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81" name="Freeform: Shape 2580">
                    <a:extLst>
                      <a:ext uri="{FF2B5EF4-FFF2-40B4-BE49-F238E27FC236}">
                        <a16:creationId xmlns:a16="http://schemas.microsoft.com/office/drawing/2014/main" id="{46F648EF-32B9-4734-81BA-F6400A96840E}"/>
                      </a:ext>
                    </a:extLst>
                  </p:cNvPr>
                  <p:cNvSpPr/>
                  <p:nvPr/>
                </p:nvSpPr>
                <p:spPr>
                  <a:xfrm>
                    <a:off x="4563867" y="3094505"/>
                    <a:ext cx="11554" cy="74980"/>
                  </a:xfrm>
                  <a:custGeom>
                    <a:avLst/>
                    <a:gdLst>
                      <a:gd name="connsiteX0" fmla="*/ 11555 w 11554"/>
                      <a:gd name="connsiteY0" fmla="*/ 74980 h 74980"/>
                      <a:gd name="connsiteX1" fmla="*/ 0 w 11554"/>
                      <a:gd name="connsiteY1" fmla="*/ 68324 h 74980"/>
                      <a:gd name="connsiteX2" fmla="*/ 0 w 11554"/>
                      <a:gd name="connsiteY2" fmla="*/ 0 h 74980"/>
                      <a:gd name="connsiteX3" fmla="*/ 11555 w 11554"/>
                      <a:gd name="connsiteY3" fmla="*/ 6657 h 74980"/>
                    </a:gdLst>
                    <a:ahLst/>
                    <a:cxnLst>
                      <a:cxn ang="0">
                        <a:pos x="connsiteX0" y="connsiteY0"/>
                      </a:cxn>
                      <a:cxn ang="0">
                        <a:pos x="connsiteX1" y="connsiteY1"/>
                      </a:cxn>
                      <a:cxn ang="0">
                        <a:pos x="connsiteX2" y="connsiteY2"/>
                      </a:cxn>
                      <a:cxn ang="0">
                        <a:pos x="connsiteX3" y="connsiteY3"/>
                      </a:cxn>
                    </a:cxnLst>
                    <a:rect l="l" t="t" r="r" b="b"/>
                    <a:pathLst>
                      <a:path w="11554" h="74980">
                        <a:moveTo>
                          <a:pt x="11555" y="74980"/>
                        </a:moveTo>
                        <a:lnTo>
                          <a:pt x="0" y="68324"/>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82" name="Graphic 4">
                  <a:extLst>
                    <a:ext uri="{FF2B5EF4-FFF2-40B4-BE49-F238E27FC236}">
                      <a16:creationId xmlns:a16="http://schemas.microsoft.com/office/drawing/2014/main" id="{84FB7ED1-A2DF-40A1-A747-5F7CF3F14040}"/>
                    </a:ext>
                  </a:extLst>
                </p:cNvPr>
                <p:cNvGrpSpPr/>
                <p:nvPr/>
              </p:nvGrpSpPr>
              <p:grpSpPr>
                <a:xfrm>
                  <a:off x="4473941" y="3041253"/>
                  <a:ext cx="21727" cy="76235"/>
                  <a:chOff x="4473941" y="3041253"/>
                  <a:chExt cx="21727" cy="76235"/>
                </a:xfrm>
                <a:solidFill>
                  <a:srgbClr val="2E2E2E"/>
                </a:solidFill>
              </p:grpSpPr>
              <p:sp>
                <p:nvSpPr>
                  <p:cNvPr id="2583" name="Freeform: Shape 2582">
                    <a:extLst>
                      <a:ext uri="{FF2B5EF4-FFF2-40B4-BE49-F238E27FC236}">
                        <a16:creationId xmlns:a16="http://schemas.microsoft.com/office/drawing/2014/main" id="{82671C20-9126-49A1-BE60-1DECBA766583}"/>
                      </a:ext>
                    </a:extLst>
                  </p:cNvPr>
                  <p:cNvSpPr/>
                  <p:nvPr/>
                </p:nvSpPr>
                <p:spPr>
                  <a:xfrm>
                    <a:off x="4485496" y="3041253"/>
                    <a:ext cx="10173" cy="76235"/>
                  </a:xfrm>
                  <a:custGeom>
                    <a:avLst/>
                    <a:gdLst>
                      <a:gd name="connsiteX0" fmla="*/ 0 w 10173"/>
                      <a:gd name="connsiteY0" fmla="*/ 76236 h 76235"/>
                      <a:gd name="connsiteX1" fmla="*/ 10173 w 10173"/>
                      <a:gd name="connsiteY1" fmla="*/ 70459 h 76235"/>
                      <a:gd name="connsiteX2" fmla="*/ 10173 w 10173"/>
                      <a:gd name="connsiteY2" fmla="*/ 0 h 76235"/>
                      <a:gd name="connsiteX3" fmla="*/ 0 w 10173"/>
                      <a:gd name="connsiteY3" fmla="*/ 5903 h 76235"/>
                    </a:gdLst>
                    <a:ahLst/>
                    <a:cxnLst>
                      <a:cxn ang="0">
                        <a:pos x="connsiteX0" y="connsiteY0"/>
                      </a:cxn>
                      <a:cxn ang="0">
                        <a:pos x="connsiteX1" y="connsiteY1"/>
                      </a:cxn>
                      <a:cxn ang="0">
                        <a:pos x="connsiteX2" y="connsiteY2"/>
                      </a:cxn>
                      <a:cxn ang="0">
                        <a:pos x="connsiteX3" y="connsiteY3"/>
                      </a:cxn>
                    </a:cxnLst>
                    <a:rect l="l" t="t" r="r" b="b"/>
                    <a:pathLst>
                      <a:path w="10173" h="76235">
                        <a:moveTo>
                          <a:pt x="0" y="76236"/>
                        </a:moveTo>
                        <a:lnTo>
                          <a:pt x="10173" y="70459"/>
                        </a:lnTo>
                        <a:lnTo>
                          <a:pt x="10173" y="0"/>
                        </a:lnTo>
                        <a:lnTo>
                          <a:pt x="0" y="5903"/>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84" name="Freeform: Shape 2583">
                    <a:extLst>
                      <a:ext uri="{FF2B5EF4-FFF2-40B4-BE49-F238E27FC236}">
                        <a16:creationId xmlns:a16="http://schemas.microsoft.com/office/drawing/2014/main" id="{EAFFD26D-8C3E-4A13-9B8D-3F92A448B112}"/>
                      </a:ext>
                    </a:extLst>
                  </p:cNvPr>
                  <p:cNvSpPr/>
                  <p:nvPr/>
                </p:nvSpPr>
                <p:spPr>
                  <a:xfrm>
                    <a:off x="4473941" y="3042635"/>
                    <a:ext cx="11554" cy="74854"/>
                  </a:xfrm>
                  <a:custGeom>
                    <a:avLst/>
                    <a:gdLst>
                      <a:gd name="connsiteX0" fmla="*/ 11555 w 11554"/>
                      <a:gd name="connsiteY0" fmla="*/ 74854 h 74854"/>
                      <a:gd name="connsiteX1" fmla="*/ 0 w 11554"/>
                      <a:gd name="connsiteY1" fmla="*/ 68198 h 74854"/>
                      <a:gd name="connsiteX2" fmla="*/ 0 w 11554"/>
                      <a:gd name="connsiteY2" fmla="*/ 0 h 74854"/>
                      <a:gd name="connsiteX3" fmla="*/ 11555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11555" y="74854"/>
                        </a:moveTo>
                        <a:lnTo>
                          <a:pt x="0" y="68198"/>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85" name="Graphic 4">
                  <a:extLst>
                    <a:ext uri="{FF2B5EF4-FFF2-40B4-BE49-F238E27FC236}">
                      <a16:creationId xmlns:a16="http://schemas.microsoft.com/office/drawing/2014/main" id="{84FB7ED1-A2DF-40A1-A747-5F7CF3F14040}"/>
                    </a:ext>
                  </a:extLst>
                </p:cNvPr>
                <p:cNvGrpSpPr/>
                <p:nvPr/>
              </p:nvGrpSpPr>
              <p:grpSpPr>
                <a:xfrm>
                  <a:off x="4384015" y="2990764"/>
                  <a:ext cx="23109" cy="74854"/>
                  <a:chOff x="4384015" y="2990764"/>
                  <a:chExt cx="23109" cy="74854"/>
                </a:xfrm>
                <a:solidFill>
                  <a:srgbClr val="2E2E2E"/>
                </a:solidFill>
              </p:grpSpPr>
              <p:sp>
                <p:nvSpPr>
                  <p:cNvPr id="2586" name="Freeform: Shape 2585">
                    <a:extLst>
                      <a:ext uri="{FF2B5EF4-FFF2-40B4-BE49-F238E27FC236}">
                        <a16:creationId xmlns:a16="http://schemas.microsoft.com/office/drawing/2014/main" id="{31DAF461-8DE9-40E4-8169-9007B046C2EB}"/>
                      </a:ext>
                    </a:extLst>
                  </p:cNvPr>
                  <p:cNvSpPr/>
                  <p:nvPr/>
                </p:nvSpPr>
                <p:spPr>
                  <a:xfrm>
                    <a:off x="4395570" y="2990764"/>
                    <a:ext cx="11554" cy="74854"/>
                  </a:xfrm>
                  <a:custGeom>
                    <a:avLst/>
                    <a:gdLst>
                      <a:gd name="connsiteX0" fmla="*/ 0 w 11554"/>
                      <a:gd name="connsiteY0" fmla="*/ 74855 h 74854"/>
                      <a:gd name="connsiteX1" fmla="*/ 11555 w 11554"/>
                      <a:gd name="connsiteY1" fmla="*/ 68198 h 74854"/>
                      <a:gd name="connsiteX2" fmla="*/ 11555 w 11554"/>
                      <a:gd name="connsiteY2" fmla="*/ 0 h 74854"/>
                      <a:gd name="connsiteX3" fmla="*/ 0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0" y="74855"/>
                        </a:moveTo>
                        <a:lnTo>
                          <a:pt x="11555" y="68198"/>
                        </a:lnTo>
                        <a:lnTo>
                          <a:pt x="11555" y="0"/>
                        </a:lnTo>
                        <a:lnTo>
                          <a:pt x="0"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87" name="Freeform: Shape 2586">
                    <a:extLst>
                      <a:ext uri="{FF2B5EF4-FFF2-40B4-BE49-F238E27FC236}">
                        <a16:creationId xmlns:a16="http://schemas.microsoft.com/office/drawing/2014/main" id="{A2983B2B-4EF8-4550-BCDC-8B3558506CAF}"/>
                      </a:ext>
                    </a:extLst>
                  </p:cNvPr>
                  <p:cNvSpPr/>
                  <p:nvPr/>
                </p:nvSpPr>
                <p:spPr>
                  <a:xfrm>
                    <a:off x="4384015" y="2990764"/>
                    <a:ext cx="11554" cy="74854"/>
                  </a:xfrm>
                  <a:custGeom>
                    <a:avLst/>
                    <a:gdLst>
                      <a:gd name="connsiteX0" fmla="*/ 11555 w 11554"/>
                      <a:gd name="connsiteY0" fmla="*/ 74855 h 74854"/>
                      <a:gd name="connsiteX1" fmla="*/ 0 w 11554"/>
                      <a:gd name="connsiteY1" fmla="*/ 68198 h 74854"/>
                      <a:gd name="connsiteX2" fmla="*/ 0 w 11554"/>
                      <a:gd name="connsiteY2" fmla="*/ 0 h 74854"/>
                      <a:gd name="connsiteX3" fmla="*/ 11555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11555" y="74855"/>
                        </a:moveTo>
                        <a:lnTo>
                          <a:pt x="0" y="68198"/>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588" name="Graphic 4">
                <a:extLst>
                  <a:ext uri="{FF2B5EF4-FFF2-40B4-BE49-F238E27FC236}">
                    <a16:creationId xmlns:a16="http://schemas.microsoft.com/office/drawing/2014/main" id="{84FB7ED1-A2DF-40A1-A747-5F7CF3F14040}"/>
                  </a:ext>
                </a:extLst>
              </p:cNvPr>
              <p:cNvGrpSpPr/>
              <p:nvPr/>
            </p:nvGrpSpPr>
            <p:grpSpPr>
              <a:xfrm>
                <a:off x="4384015" y="2978707"/>
                <a:ext cx="377286" cy="235615"/>
                <a:chOff x="4384015" y="2978707"/>
                <a:chExt cx="377286" cy="235615"/>
              </a:xfrm>
              <a:solidFill>
                <a:srgbClr val="2E2E2E"/>
              </a:solidFill>
            </p:grpSpPr>
            <p:sp>
              <p:nvSpPr>
                <p:cNvPr id="2589" name="Freeform: Shape 2588">
                  <a:extLst>
                    <a:ext uri="{FF2B5EF4-FFF2-40B4-BE49-F238E27FC236}">
                      <a16:creationId xmlns:a16="http://schemas.microsoft.com/office/drawing/2014/main" id="{023BF8B6-D4C4-480B-9081-D9CA6F43B530}"/>
                    </a:ext>
                  </a:extLst>
                </p:cNvPr>
                <p:cNvSpPr/>
                <p:nvPr/>
              </p:nvSpPr>
              <p:spPr>
                <a:xfrm>
                  <a:off x="4384015" y="2978707"/>
                  <a:ext cx="377286" cy="217907"/>
                </a:xfrm>
                <a:custGeom>
                  <a:avLst/>
                  <a:gdLst>
                    <a:gd name="connsiteX0" fmla="*/ 371258 w 377286"/>
                    <a:gd name="connsiteY0" fmla="*/ 217907 h 217907"/>
                    <a:gd name="connsiteX1" fmla="*/ 0 w 377286"/>
                    <a:gd name="connsiteY1" fmla="*/ 3517 h 217907"/>
                    <a:gd name="connsiteX2" fmla="*/ 6154 w 377286"/>
                    <a:gd name="connsiteY2" fmla="*/ 0 h 217907"/>
                    <a:gd name="connsiteX3" fmla="*/ 377287 w 377286"/>
                    <a:gd name="connsiteY3" fmla="*/ 214390 h 217907"/>
                  </a:gdLst>
                  <a:ahLst/>
                  <a:cxnLst>
                    <a:cxn ang="0">
                      <a:pos x="connsiteX0" y="connsiteY0"/>
                    </a:cxn>
                    <a:cxn ang="0">
                      <a:pos x="connsiteX1" y="connsiteY1"/>
                    </a:cxn>
                    <a:cxn ang="0">
                      <a:pos x="connsiteX2" y="connsiteY2"/>
                    </a:cxn>
                    <a:cxn ang="0">
                      <a:pos x="connsiteX3" y="connsiteY3"/>
                    </a:cxn>
                  </a:cxnLst>
                  <a:rect l="l" t="t" r="r" b="b"/>
                  <a:pathLst>
                    <a:path w="377286" h="217907">
                      <a:moveTo>
                        <a:pt x="371258" y="217907"/>
                      </a:moveTo>
                      <a:lnTo>
                        <a:pt x="0" y="3517"/>
                      </a:lnTo>
                      <a:lnTo>
                        <a:pt x="6154" y="0"/>
                      </a:lnTo>
                      <a:lnTo>
                        <a:pt x="377287" y="214390"/>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0" name="Freeform: Shape 2589">
                  <a:extLst>
                    <a:ext uri="{FF2B5EF4-FFF2-40B4-BE49-F238E27FC236}">
                      <a16:creationId xmlns:a16="http://schemas.microsoft.com/office/drawing/2014/main" id="{8759AF83-7B6E-4528-9D3C-121A2D6FEA6E}"/>
                    </a:ext>
                  </a:extLst>
                </p:cNvPr>
                <p:cNvSpPr/>
                <p:nvPr/>
              </p:nvSpPr>
              <p:spPr>
                <a:xfrm>
                  <a:off x="4384015" y="2982223"/>
                  <a:ext cx="371258" cy="232099"/>
                </a:xfrm>
                <a:custGeom>
                  <a:avLst/>
                  <a:gdLst>
                    <a:gd name="connsiteX0" fmla="*/ 371258 w 371258"/>
                    <a:gd name="connsiteY0" fmla="*/ 232099 h 232099"/>
                    <a:gd name="connsiteX1" fmla="*/ 0 w 371258"/>
                    <a:gd name="connsiteY1" fmla="*/ 17709 h 232099"/>
                    <a:gd name="connsiteX2" fmla="*/ 0 w 371258"/>
                    <a:gd name="connsiteY2" fmla="*/ 0 h 232099"/>
                    <a:gd name="connsiteX3" fmla="*/ 371258 w 371258"/>
                    <a:gd name="connsiteY3" fmla="*/ 214390 h 232099"/>
                  </a:gdLst>
                  <a:ahLst/>
                  <a:cxnLst>
                    <a:cxn ang="0">
                      <a:pos x="connsiteX0" y="connsiteY0"/>
                    </a:cxn>
                    <a:cxn ang="0">
                      <a:pos x="connsiteX1" y="connsiteY1"/>
                    </a:cxn>
                    <a:cxn ang="0">
                      <a:pos x="connsiteX2" y="connsiteY2"/>
                    </a:cxn>
                    <a:cxn ang="0">
                      <a:pos x="connsiteX3" y="connsiteY3"/>
                    </a:cxn>
                  </a:cxnLst>
                  <a:rect l="l" t="t" r="r" b="b"/>
                  <a:pathLst>
                    <a:path w="371258" h="232099">
                      <a:moveTo>
                        <a:pt x="371258" y="232099"/>
                      </a:moveTo>
                      <a:lnTo>
                        <a:pt x="0" y="17709"/>
                      </a:lnTo>
                      <a:lnTo>
                        <a:pt x="0" y="0"/>
                      </a:lnTo>
                      <a:lnTo>
                        <a:pt x="371258" y="214390"/>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591" name="Graphic 4">
              <a:extLst>
                <a:ext uri="{FF2B5EF4-FFF2-40B4-BE49-F238E27FC236}">
                  <a16:creationId xmlns:a16="http://schemas.microsoft.com/office/drawing/2014/main" id="{84FB7ED1-A2DF-40A1-A747-5F7CF3F14040}"/>
                </a:ext>
              </a:extLst>
            </p:cNvPr>
            <p:cNvGrpSpPr/>
            <p:nvPr/>
          </p:nvGrpSpPr>
          <p:grpSpPr>
            <a:xfrm>
              <a:off x="4573789" y="2959993"/>
              <a:ext cx="78622" cy="83018"/>
              <a:chOff x="4573789" y="2959993"/>
              <a:chExt cx="78622" cy="83018"/>
            </a:xfrm>
            <a:solidFill>
              <a:schemeClr val="accent1"/>
            </a:solidFill>
          </p:grpSpPr>
          <p:sp>
            <p:nvSpPr>
              <p:cNvPr id="2592" name="Freeform: Shape 2591">
                <a:extLst>
                  <a:ext uri="{FF2B5EF4-FFF2-40B4-BE49-F238E27FC236}">
                    <a16:creationId xmlns:a16="http://schemas.microsoft.com/office/drawing/2014/main" id="{5CD25BE1-FA59-4AAC-A336-8F0E02BDF466}"/>
                  </a:ext>
                </a:extLst>
              </p:cNvPr>
              <p:cNvSpPr/>
              <p:nvPr/>
            </p:nvSpPr>
            <p:spPr>
              <a:xfrm>
                <a:off x="4573789" y="2959993"/>
                <a:ext cx="53001" cy="83018"/>
              </a:xfrm>
              <a:custGeom>
                <a:avLst/>
                <a:gdLst>
                  <a:gd name="connsiteX0" fmla="*/ 18337 w 53001"/>
                  <a:gd name="connsiteY0" fmla="*/ 83018 h 83018"/>
                  <a:gd name="connsiteX1" fmla="*/ 12936 w 53001"/>
                  <a:gd name="connsiteY1" fmla="*/ 81009 h 83018"/>
                  <a:gd name="connsiteX2" fmla="*/ 0 w 53001"/>
                  <a:gd name="connsiteY2" fmla="*/ 58653 h 83018"/>
                  <a:gd name="connsiteX3" fmla="*/ 4019 w 53001"/>
                  <a:gd name="connsiteY3" fmla="*/ 25747 h 83018"/>
                  <a:gd name="connsiteX4" fmla="*/ 20849 w 53001"/>
                  <a:gd name="connsiteY4" fmla="*/ 8289 h 83018"/>
                  <a:gd name="connsiteX5" fmla="*/ 43079 w 53001"/>
                  <a:gd name="connsiteY5" fmla="*/ 0 h 83018"/>
                  <a:gd name="connsiteX6" fmla="*/ 53001 w 53001"/>
                  <a:gd name="connsiteY6" fmla="*/ 3265 h 83018"/>
                  <a:gd name="connsiteX7" fmla="*/ 26501 w 53001"/>
                  <a:gd name="connsiteY7" fmla="*/ 20849 h 83018"/>
                  <a:gd name="connsiteX8" fmla="*/ 13816 w 53001"/>
                  <a:gd name="connsiteY8" fmla="*/ 33157 h 83018"/>
                  <a:gd name="connsiteX9" fmla="*/ 10676 w 53001"/>
                  <a:gd name="connsiteY9" fmla="*/ 48856 h 83018"/>
                  <a:gd name="connsiteX10" fmla="*/ 10801 w 53001"/>
                  <a:gd name="connsiteY10" fmla="*/ 62295 h 8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001" h="83018">
                    <a:moveTo>
                      <a:pt x="18337" y="83018"/>
                    </a:moveTo>
                    <a:lnTo>
                      <a:pt x="12936" y="81009"/>
                    </a:lnTo>
                    <a:lnTo>
                      <a:pt x="0" y="58653"/>
                    </a:lnTo>
                    <a:lnTo>
                      <a:pt x="4019" y="25747"/>
                    </a:lnTo>
                    <a:lnTo>
                      <a:pt x="20849" y="8289"/>
                    </a:lnTo>
                    <a:lnTo>
                      <a:pt x="43079" y="0"/>
                    </a:lnTo>
                    <a:lnTo>
                      <a:pt x="53001" y="3265"/>
                    </a:lnTo>
                    <a:lnTo>
                      <a:pt x="26501" y="20849"/>
                    </a:lnTo>
                    <a:lnTo>
                      <a:pt x="13816" y="33157"/>
                    </a:lnTo>
                    <a:lnTo>
                      <a:pt x="10676" y="48856"/>
                    </a:lnTo>
                    <a:lnTo>
                      <a:pt x="10801" y="62295"/>
                    </a:lnTo>
                    <a:close/>
                  </a:path>
                </a:pathLst>
              </a:custGeom>
              <a:solidFill>
                <a:srgbClr val="7F7C7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3" name="Freeform: Shape 2592">
                <a:extLst>
                  <a:ext uri="{FF2B5EF4-FFF2-40B4-BE49-F238E27FC236}">
                    <a16:creationId xmlns:a16="http://schemas.microsoft.com/office/drawing/2014/main" id="{C640AB1D-02BF-4E63-9DD0-CEC28195A9E7}"/>
                  </a:ext>
                </a:extLst>
              </p:cNvPr>
              <p:cNvSpPr/>
              <p:nvPr/>
            </p:nvSpPr>
            <p:spPr>
              <a:xfrm>
                <a:off x="4577808" y="2963259"/>
                <a:ext cx="74603" cy="79752"/>
              </a:xfrm>
              <a:custGeom>
                <a:avLst/>
                <a:gdLst>
                  <a:gd name="connsiteX0" fmla="*/ 23109 w 74603"/>
                  <a:gd name="connsiteY0" fmla="*/ 8164 h 79752"/>
                  <a:gd name="connsiteX1" fmla="*/ 5526 w 74603"/>
                  <a:gd name="connsiteY1" fmla="*/ 25119 h 79752"/>
                  <a:gd name="connsiteX2" fmla="*/ 0 w 74603"/>
                  <a:gd name="connsiteY2" fmla="*/ 55890 h 79752"/>
                  <a:gd name="connsiteX3" fmla="*/ 14318 w 74603"/>
                  <a:gd name="connsiteY3" fmla="*/ 79753 h 79752"/>
                  <a:gd name="connsiteX4" fmla="*/ 19216 w 74603"/>
                  <a:gd name="connsiteY4" fmla="*/ 76362 h 79752"/>
                  <a:gd name="connsiteX5" fmla="*/ 7033 w 74603"/>
                  <a:gd name="connsiteY5" fmla="*/ 54131 h 79752"/>
                  <a:gd name="connsiteX6" fmla="*/ 14318 w 74603"/>
                  <a:gd name="connsiteY6" fmla="*/ 28259 h 79752"/>
                  <a:gd name="connsiteX7" fmla="*/ 47726 w 74603"/>
                  <a:gd name="connsiteY7" fmla="*/ 10550 h 79752"/>
                  <a:gd name="connsiteX8" fmla="*/ 58527 w 74603"/>
                  <a:gd name="connsiteY8" fmla="*/ 17206 h 79752"/>
                  <a:gd name="connsiteX9" fmla="*/ 67444 w 74603"/>
                  <a:gd name="connsiteY9" fmla="*/ 33031 h 79752"/>
                  <a:gd name="connsiteX10" fmla="*/ 59406 w 74603"/>
                  <a:gd name="connsiteY10" fmla="*/ 59030 h 79752"/>
                  <a:gd name="connsiteX11" fmla="*/ 65309 w 74603"/>
                  <a:gd name="connsiteY11" fmla="*/ 56769 h 79752"/>
                  <a:gd name="connsiteX12" fmla="*/ 74603 w 74603"/>
                  <a:gd name="connsiteY12" fmla="*/ 29012 h 79752"/>
                  <a:gd name="connsiteX13" fmla="*/ 64430 w 74603"/>
                  <a:gd name="connsiteY13" fmla="*/ 9420 h 79752"/>
                  <a:gd name="connsiteX14" fmla="*/ 48982 w 74603"/>
                  <a:gd name="connsiteY14" fmla="*/ 0 h 79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603" h="79752">
                    <a:moveTo>
                      <a:pt x="23109" y="8164"/>
                    </a:moveTo>
                    <a:lnTo>
                      <a:pt x="5526" y="25119"/>
                    </a:lnTo>
                    <a:lnTo>
                      <a:pt x="0" y="55890"/>
                    </a:lnTo>
                    <a:lnTo>
                      <a:pt x="14318" y="79753"/>
                    </a:lnTo>
                    <a:lnTo>
                      <a:pt x="19216" y="76362"/>
                    </a:lnTo>
                    <a:lnTo>
                      <a:pt x="7033" y="54131"/>
                    </a:lnTo>
                    <a:lnTo>
                      <a:pt x="14318" y="28259"/>
                    </a:lnTo>
                    <a:lnTo>
                      <a:pt x="47726" y="10550"/>
                    </a:lnTo>
                    <a:lnTo>
                      <a:pt x="58527" y="17206"/>
                    </a:lnTo>
                    <a:lnTo>
                      <a:pt x="67444" y="33031"/>
                    </a:lnTo>
                    <a:lnTo>
                      <a:pt x="59406" y="59030"/>
                    </a:lnTo>
                    <a:lnTo>
                      <a:pt x="65309" y="56769"/>
                    </a:lnTo>
                    <a:lnTo>
                      <a:pt x="74603" y="29012"/>
                    </a:lnTo>
                    <a:lnTo>
                      <a:pt x="64430" y="9420"/>
                    </a:lnTo>
                    <a:lnTo>
                      <a:pt x="48982" y="0"/>
                    </a:lnTo>
                    <a:close/>
                  </a:path>
                </a:pathLst>
              </a:custGeom>
              <a:solidFill>
                <a:srgbClr val="9398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94" name="Graphic 4">
              <a:extLst>
                <a:ext uri="{FF2B5EF4-FFF2-40B4-BE49-F238E27FC236}">
                  <a16:creationId xmlns:a16="http://schemas.microsoft.com/office/drawing/2014/main" id="{84FB7ED1-A2DF-40A1-A747-5F7CF3F14040}"/>
                </a:ext>
              </a:extLst>
            </p:cNvPr>
            <p:cNvGrpSpPr/>
            <p:nvPr/>
          </p:nvGrpSpPr>
          <p:grpSpPr>
            <a:xfrm>
              <a:off x="4580948" y="2874714"/>
              <a:ext cx="57647" cy="99094"/>
              <a:chOff x="4580948" y="2874714"/>
              <a:chExt cx="57647" cy="99094"/>
            </a:xfrm>
            <a:solidFill>
              <a:schemeClr val="accent1"/>
            </a:solidFill>
          </p:grpSpPr>
          <p:sp>
            <p:nvSpPr>
              <p:cNvPr id="2595" name="Freeform: Shape 2594">
                <a:extLst>
                  <a:ext uri="{FF2B5EF4-FFF2-40B4-BE49-F238E27FC236}">
                    <a16:creationId xmlns:a16="http://schemas.microsoft.com/office/drawing/2014/main" id="{73ED4A02-7734-4BB7-AF63-23854BAF7B5D}"/>
                  </a:ext>
                </a:extLst>
              </p:cNvPr>
              <p:cNvSpPr/>
              <p:nvPr/>
            </p:nvSpPr>
            <p:spPr>
              <a:xfrm>
                <a:off x="4605564" y="2956100"/>
                <a:ext cx="17206" cy="17708"/>
              </a:xfrm>
              <a:custGeom>
                <a:avLst/>
                <a:gdLst>
                  <a:gd name="connsiteX0" fmla="*/ 0 w 17206"/>
                  <a:gd name="connsiteY0" fmla="*/ 17709 h 17708"/>
                  <a:gd name="connsiteX1" fmla="*/ 17206 w 17206"/>
                  <a:gd name="connsiteY1" fmla="*/ 9043 h 17708"/>
                  <a:gd name="connsiteX2" fmla="*/ 17206 w 17206"/>
                  <a:gd name="connsiteY2" fmla="*/ 0 h 17708"/>
                  <a:gd name="connsiteX3" fmla="*/ 0 w 17206"/>
                  <a:gd name="connsiteY3" fmla="*/ 8540 h 17708"/>
                </a:gdLst>
                <a:ahLst/>
                <a:cxnLst>
                  <a:cxn ang="0">
                    <a:pos x="connsiteX0" y="connsiteY0"/>
                  </a:cxn>
                  <a:cxn ang="0">
                    <a:pos x="connsiteX1" y="connsiteY1"/>
                  </a:cxn>
                  <a:cxn ang="0">
                    <a:pos x="connsiteX2" y="connsiteY2"/>
                  </a:cxn>
                  <a:cxn ang="0">
                    <a:pos x="connsiteX3" y="connsiteY3"/>
                  </a:cxn>
                </a:cxnLst>
                <a:rect l="l" t="t" r="r" b="b"/>
                <a:pathLst>
                  <a:path w="17206" h="17708">
                    <a:moveTo>
                      <a:pt x="0" y="17709"/>
                    </a:moveTo>
                    <a:lnTo>
                      <a:pt x="17206" y="9043"/>
                    </a:lnTo>
                    <a:lnTo>
                      <a:pt x="17206" y="0"/>
                    </a:lnTo>
                    <a:lnTo>
                      <a:pt x="0" y="8540"/>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6" name="Freeform: Shape 2595">
                <a:extLst>
                  <a:ext uri="{FF2B5EF4-FFF2-40B4-BE49-F238E27FC236}">
                    <a16:creationId xmlns:a16="http://schemas.microsoft.com/office/drawing/2014/main" id="{5AB7681D-FF4B-4084-B8F5-D7A328CA9E87}"/>
                  </a:ext>
                </a:extLst>
              </p:cNvPr>
              <p:cNvSpPr/>
              <p:nvPr/>
            </p:nvSpPr>
            <p:spPr>
              <a:xfrm>
                <a:off x="4588484" y="2956100"/>
                <a:ext cx="17080" cy="17708"/>
              </a:xfrm>
              <a:custGeom>
                <a:avLst/>
                <a:gdLst>
                  <a:gd name="connsiteX0" fmla="*/ 17081 w 17080"/>
                  <a:gd name="connsiteY0" fmla="*/ 17709 h 17708"/>
                  <a:gd name="connsiteX1" fmla="*/ 0 w 17080"/>
                  <a:gd name="connsiteY1" fmla="*/ 9043 h 17708"/>
                  <a:gd name="connsiteX2" fmla="*/ 0 w 17080"/>
                  <a:gd name="connsiteY2" fmla="*/ 0 h 17708"/>
                  <a:gd name="connsiteX3" fmla="*/ 17081 w 17080"/>
                  <a:gd name="connsiteY3" fmla="*/ 8540 h 17708"/>
                </a:gdLst>
                <a:ahLst/>
                <a:cxnLst>
                  <a:cxn ang="0">
                    <a:pos x="connsiteX0" y="connsiteY0"/>
                  </a:cxn>
                  <a:cxn ang="0">
                    <a:pos x="connsiteX1" y="connsiteY1"/>
                  </a:cxn>
                  <a:cxn ang="0">
                    <a:pos x="connsiteX2" y="connsiteY2"/>
                  </a:cxn>
                  <a:cxn ang="0">
                    <a:pos x="connsiteX3" y="connsiteY3"/>
                  </a:cxn>
                </a:cxnLst>
                <a:rect l="l" t="t" r="r" b="b"/>
                <a:pathLst>
                  <a:path w="17080" h="17708">
                    <a:moveTo>
                      <a:pt x="17081" y="17709"/>
                    </a:moveTo>
                    <a:lnTo>
                      <a:pt x="0" y="9043"/>
                    </a:lnTo>
                    <a:lnTo>
                      <a:pt x="0" y="0"/>
                    </a:lnTo>
                    <a:lnTo>
                      <a:pt x="17081" y="8540"/>
                    </a:lnTo>
                    <a:close/>
                  </a:path>
                </a:pathLst>
              </a:custGeom>
              <a:solidFill>
                <a:srgbClr val="EB9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7" name="Freeform: Shape 2596">
                <a:extLst>
                  <a:ext uri="{FF2B5EF4-FFF2-40B4-BE49-F238E27FC236}">
                    <a16:creationId xmlns:a16="http://schemas.microsoft.com/office/drawing/2014/main" id="{96E0F314-96E2-4A46-82E0-83879C2976C5}"/>
                  </a:ext>
                </a:extLst>
              </p:cNvPr>
              <p:cNvSpPr/>
              <p:nvPr/>
            </p:nvSpPr>
            <p:spPr>
              <a:xfrm>
                <a:off x="4588484" y="2947434"/>
                <a:ext cx="34287" cy="17206"/>
              </a:xfrm>
              <a:custGeom>
                <a:avLst/>
                <a:gdLst>
                  <a:gd name="connsiteX0" fmla="*/ 34287 w 34287"/>
                  <a:gd name="connsiteY0" fmla="*/ 8666 h 17206"/>
                  <a:gd name="connsiteX1" fmla="*/ 17081 w 34287"/>
                  <a:gd name="connsiteY1" fmla="*/ 17206 h 17206"/>
                  <a:gd name="connsiteX2" fmla="*/ 0 w 34287"/>
                  <a:gd name="connsiteY2" fmla="*/ 8666 h 17206"/>
                  <a:gd name="connsiteX3" fmla="*/ 17081 w 34287"/>
                  <a:gd name="connsiteY3" fmla="*/ 0 h 17206"/>
                </a:gdLst>
                <a:ahLst/>
                <a:cxnLst>
                  <a:cxn ang="0">
                    <a:pos x="connsiteX0" y="connsiteY0"/>
                  </a:cxn>
                  <a:cxn ang="0">
                    <a:pos x="connsiteX1" y="connsiteY1"/>
                  </a:cxn>
                  <a:cxn ang="0">
                    <a:pos x="connsiteX2" y="connsiteY2"/>
                  </a:cxn>
                  <a:cxn ang="0">
                    <a:pos x="connsiteX3" y="connsiteY3"/>
                  </a:cxn>
                </a:cxnLst>
                <a:rect l="l" t="t" r="r" b="b"/>
                <a:pathLst>
                  <a:path w="34287" h="17206">
                    <a:moveTo>
                      <a:pt x="34287" y="8666"/>
                    </a:moveTo>
                    <a:lnTo>
                      <a:pt x="17081" y="17206"/>
                    </a:lnTo>
                    <a:lnTo>
                      <a:pt x="0" y="8666"/>
                    </a:lnTo>
                    <a:lnTo>
                      <a:pt x="17081" y="0"/>
                    </a:lnTo>
                    <a:close/>
                  </a:path>
                </a:pathLst>
              </a:custGeom>
              <a:solidFill>
                <a:srgbClr val="F4C26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8" name="Freeform: Shape 2597">
                <a:extLst>
                  <a:ext uri="{FF2B5EF4-FFF2-40B4-BE49-F238E27FC236}">
                    <a16:creationId xmlns:a16="http://schemas.microsoft.com/office/drawing/2014/main" id="{188D52FA-3B47-497B-A1AD-46395956E7E8}"/>
                  </a:ext>
                </a:extLst>
              </p:cNvPr>
              <p:cNvSpPr/>
              <p:nvPr/>
            </p:nvSpPr>
            <p:spPr>
              <a:xfrm>
                <a:off x="4592126" y="2883255"/>
                <a:ext cx="35417" cy="80129"/>
              </a:xfrm>
              <a:custGeom>
                <a:avLst/>
                <a:gdLst>
                  <a:gd name="connsiteX0" fmla="*/ 0 w 35417"/>
                  <a:gd name="connsiteY0" fmla="*/ 8164 h 80129"/>
                  <a:gd name="connsiteX1" fmla="*/ 0 w 35417"/>
                  <a:gd name="connsiteY1" fmla="*/ 73599 h 80129"/>
                  <a:gd name="connsiteX2" fmla="*/ 13062 w 35417"/>
                  <a:gd name="connsiteY2" fmla="*/ 80129 h 80129"/>
                  <a:gd name="connsiteX3" fmla="*/ 20849 w 35417"/>
                  <a:gd name="connsiteY3" fmla="*/ 69328 h 80129"/>
                  <a:gd name="connsiteX4" fmla="*/ 33534 w 35417"/>
                  <a:gd name="connsiteY4" fmla="*/ 9294 h 80129"/>
                  <a:gd name="connsiteX5" fmla="*/ 35418 w 35417"/>
                  <a:gd name="connsiteY5" fmla="*/ 6531 h 80129"/>
                  <a:gd name="connsiteX6" fmla="*/ 22356 w 35417"/>
                  <a:gd name="connsiteY6" fmla="*/ 0 h 8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17" h="80129">
                    <a:moveTo>
                      <a:pt x="0" y="8164"/>
                    </a:moveTo>
                    <a:lnTo>
                      <a:pt x="0" y="73599"/>
                    </a:lnTo>
                    <a:lnTo>
                      <a:pt x="13062" y="80129"/>
                    </a:lnTo>
                    <a:lnTo>
                      <a:pt x="20849" y="69328"/>
                    </a:lnTo>
                    <a:lnTo>
                      <a:pt x="33534" y="9294"/>
                    </a:lnTo>
                    <a:lnTo>
                      <a:pt x="35418" y="6531"/>
                    </a:lnTo>
                    <a:lnTo>
                      <a:pt x="22356" y="0"/>
                    </a:lnTo>
                    <a:close/>
                  </a:path>
                </a:pathLst>
              </a:custGeom>
              <a:solidFill>
                <a:srgbClr val="EEA1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9" name="Freeform: Shape 2598">
                <a:extLst>
                  <a:ext uri="{FF2B5EF4-FFF2-40B4-BE49-F238E27FC236}">
                    <a16:creationId xmlns:a16="http://schemas.microsoft.com/office/drawing/2014/main" id="{E6750B24-9E76-451D-90EE-456EA626C732}"/>
                  </a:ext>
                </a:extLst>
              </p:cNvPr>
              <p:cNvSpPr/>
              <p:nvPr/>
            </p:nvSpPr>
            <p:spPr>
              <a:xfrm>
                <a:off x="4605062" y="2889786"/>
                <a:ext cx="22481" cy="73598"/>
              </a:xfrm>
              <a:custGeom>
                <a:avLst/>
                <a:gdLst>
                  <a:gd name="connsiteX0" fmla="*/ 0 w 22481"/>
                  <a:gd name="connsiteY0" fmla="*/ 73598 h 73598"/>
                  <a:gd name="connsiteX1" fmla="*/ 0 w 22481"/>
                  <a:gd name="connsiteY1" fmla="*/ 8038 h 73598"/>
                  <a:gd name="connsiteX2" fmla="*/ 22482 w 22481"/>
                  <a:gd name="connsiteY2" fmla="*/ 0 h 73598"/>
                  <a:gd name="connsiteX3" fmla="*/ 14820 w 22481"/>
                  <a:gd name="connsiteY3" fmla="*/ 66188 h 73598"/>
                </a:gdLst>
                <a:ahLst/>
                <a:cxnLst>
                  <a:cxn ang="0">
                    <a:pos x="connsiteX0" y="connsiteY0"/>
                  </a:cxn>
                  <a:cxn ang="0">
                    <a:pos x="connsiteX1" y="connsiteY1"/>
                  </a:cxn>
                  <a:cxn ang="0">
                    <a:pos x="connsiteX2" y="connsiteY2"/>
                  </a:cxn>
                  <a:cxn ang="0">
                    <a:pos x="connsiteX3" y="connsiteY3"/>
                  </a:cxn>
                </a:cxnLst>
                <a:rect l="l" t="t" r="r" b="b"/>
                <a:pathLst>
                  <a:path w="22481" h="73598">
                    <a:moveTo>
                      <a:pt x="0" y="73598"/>
                    </a:moveTo>
                    <a:lnTo>
                      <a:pt x="0" y="8038"/>
                    </a:lnTo>
                    <a:lnTo>
                      <a:pt x="22482" y="0"/>
                    </a:lnTo>
                    <a:lnTo>
                      <a:pt x="14820" y="66188"/>
                    </a:lnTo>
                    <a:close/>
                  </a:path>
                </a:pathLst>
              </a:custGeom>
              <a:solidFill>
                <a:srgbClr val="C248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0" name="Freeform: Shape 2599">
                <a:extLst>
                  <a:ext uri="{FF2B5EF4-FFF2-40B4-BE49-F238E27FC236}">
                    <a16:creationId xmlns:a16="http://schemas.microsoft.com/office/drawing/2014/main" id="{11576ADC-C01F-4F18-8464-39FC249C17AE}"/>
                  </a:ext>
                </a:extLst>
              </p:cNvPr>
              <p:cNvSpPr/>
              <p:nvPr/>
            </p:nvSpPr>
            <p:spPr>
              <a:xfrm>
                <a:off x="4610337" y="2913649"/>
                <a:ext cx="9168" cy="41823"/>
              </a:xfrm>
              <a:custGeom>
                <a:avLst/>
                <a:gdLst>
                  <a:gd name="connsiteX0" fmla="*/ 0 w 9168"/>
                  <a:gd name="connsiteY0" fmla="*/ 4521 h 41823"/>
                  <a:gd name="connsiteX1" fmla="*/ 0 w 9168"/>
                  <a:gd name="connsiteY1" fmla="*/ 41823 h 41823"/>
                  <a:gd name="connsiteX2" fmla="*/ 4647 w 9168"/>
                  <a:gd name="connsiteY2" fmla="*/ 39562 h 41823"/>
                  <a:gd name="connsiteX3" fmla="*/ 9169 w 9168"/>
                  <a:gd name="connsiteY3" fmla="*/ 0 h 41823"/>
                </a:gdLst>
                <a:ahLst/>
                <a:cxnLst>
                  <a:cxn ang="0">
                    <a:pos x="connsiteX0" y="connsiteY0"/>
                  </a:cxn>
                  <a:cxn ang="0">
                    <a:pos x="connsiteX1" y="connsiteY1"/>
                  </a:cxn>
                  <a:cxn ang="0">
                    <a:pos x="connsiteX2" y="connsiteY2"/>
                  </a:cxn>
                  <a:cxn ang="0">
                    <a:pos x="connsiteX3" y="connsiteY3"/>
                  </a:cxn>
                </a:cxnLst>
                <a:rect l="l" t="t" r="r" b="b"/>
                <a:pathLst>
                  <a:path w="9168" h="41823">
                    <a:moveTo>
                      <a:pt x="0" y="4521"/>
                    </a:moveTo>
                    <a:lnTo>
                      <a:pt x="0" y="41823"/>
                    </a:lnTo>
                    <a:lnTo>
                      <a:pt x="4647" y="39562"/>
                    </a:lnTo>
                    <a:lnTo>
                      <a:pt x="9169" y="0"/>
                    </a:lnTo>
                    <a:close/>
                  </a:path>
                </a:pathLst>
              </a:custGeom>
              <a:solidFill>
                <a:srgbClr val="584E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1" name="Freeform: Shape 2600">
                <a:extLst>
                  <a:ext uri="{FF2B5EF4-FFF2-40B4-BE49-F238E27FC236}">
                    <a16:creationId xmlns:a16="http://schemas.microsoft.com/office/drawing/2014/main" id="{4613EF2A-EA19-437F-ADA5-75129938DEF1}"/>
                  </a:ext>
                </a:extLst>
              </p:cNvPr>
              <p:cNvSpPr/>
              <p:nvPr/>
            </p:nvSpPr>
            <p:spPr>
              <a:xfrm>
                <a:off x="4609835" y="2889158"/>
                <a:ext cx="28761" cy="18839"/>
              </a:xfrm>
              <a:custGeom>
                <a:avLst/>
                <a:gdLst>
                  <a:gd name="connsiteX0" fmla="*/ 0 w 28761"/>
                  <a:gd name="connsiteY0" fmla="*/ 18839 h 18839"/>
                  <a:gd name="connsiteX1" fmla="*/ 28761 w 28761"/>
                  <a:gd name="connsiteY1" fmla="*/ 4396 h 18839"/>
                  <a:gd name="connsiteX2" fmla="*/ 28761 w 28761"/>
                  <a:gd name="connsiteY2" fmla="*/ 0 h 18839"/>
                  <a:gd name="connsiteX3" fmla="*/ 0 w 28761"/>
                  <a:gd name="connsiteY3" fmla="*/ 14443 h 18839"/>
                </a:gdLst>
                <a:ahLst/>
                <a:cxnLst>
                  <a:cxn ang="0">
                    <a:pos x="connsiteX0" y="connsiteY0"/>
                  </a:cxn>
                  <a:cxn ang="0">
                    <a:pos x="connsiteX1" y="connsiteY1"/>
                  </a:cxn>
                  <a:cxn ang="0">
                    <a:pos x="connsiteX2" y="connsiteY2"/>
                  </a:cxn>
                  <a:cxn ang="0">
                    <a:pos x="connsiteX3" y="connsiteY3"/>
                  </a:cxn>
                </a:cxnLst>
                <a:rect l="l" t="t" r="r" b="b"/>
                <a:pathLst>
                  <a:path w="28761" h="18839">
                    <a:moveTo>
                      <a:pt x="0" y="18839"/>
                    </a:moveTo>
                    <a:lnTo>
                      <a:pt x="28761" y="4396"/>
                    </a:lnTo>
                    <a:lnTo>
                      <a:pt x="28761" y="0"/>
                    </a:lnTo>
                    <a:lnTo>
                      <a:pt x="0" y="14443"/>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2" name="Freeform: Shape 2601">
                <a:extLst>
                  <a:ext uri="{FF2B5EF4-FFF2-40B4-BE49-F238E27FC236}">
                    <a16:creationId xmlns:a16="http://schemas.microsoft.com/office/drawing/2014/main" id="{E446EC00-BF21-411C-8B6A-4ADEA2B90CF0}"/>
                  </a:ext>
                </a:extLst>
              </p:cNvPr>
              <p:cNvSpPr/>
              <p:nvPr/>
            </p:nvSpPr>
            <p:spPr>
              <a:xfrm>
                <a:off x="4580948" y="2889158"/>
                <a:ext cx="28886" cy="18839"/>
              </a:xfrm>
              <a:custGeom>
                <a:avLst/>
                <a:gdLst>
                  <a:gd name="connsiteX0" fmla="*/ 28887 w 28886"/>
                  <a:gd name="connsiteY0" fmla="*/ 18839 h 18839"/>
                  <a:gd name="connsiteX1" fmla="*/ 0 w 28886"/>
                  <a:gd name="connsiteY1" fmla="*/ 4396 h 18839"/>
                  <a:gd name="connsiteX2" fmla="*/ 0 w 28886"/>
                  <a:gd name="connsiteY2" fmla="*/ 0 h 18839"/>
                  <a:gd name="connsiteX3" fmla="*/ 28887 w 28886"/>
                  <a:gd name="connsiteY3" fmla="*/ 14443 h 18839"/>
                </a:gdLst>
                <a:ahLst/>
                <a:cxnLst>
                  <a:cxn ang="0">
                    <a:pos x="connsiteX0" y="connsiteY0"/>
                  </a:cxn>
                  <a:cxn ang="0">
                    <a:pos x="connsiteX1" y="connsiteY1"/>
                  </a:cxn>
                  <a:cxn ang="0">
                    <a:pos x="connsiteX2" y="connsiteY2"/>
                  </a:cxn>
                  <a:cxn ang="0">
                    <a:pos x="connsiteX3" y="connsiteY3"/>
                  </a:cxn>
                </a:cxnLst>
                <a:rect l="l" t="t" r="r" b="b"/>
                <a:pathLst>
                  <a:path w="28886" h="18839">
                    <a:moveTo>
                      <a:pt x="28887" y="18839"/>
                    </a:moveTo>
                    <a:lnTo>
                      <a:pt x="0" y="4396"/>
                    </a:lnTo>
                    <a:lnTo>
                      <a:pt x="0" y="0"/>
                    </a:lnTo>
                    <a:lnTo>
                      <a:pt x="28887" y="14443"/>
                    </a:lnTo>
                    <a:close/>
                  </a:path>
                </a:pathLst>
              </a:custGeom>
              <a:solidFill>
                <a:srgbClr val="EB9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3" name="Freeform: Shape 2602">
                <a:extLst>
                  <a:ext uri="{FF2B5EF4-FFF2-40B4-BE49-F238E27FC236}">
                    <a16:creationId xmlns:a16="http://schemas.microsoft.com/office/drawing/2014/main" id="{0B842011-21E2-4F47-95D2-967E9538AA21}"/>
                  </a:ext>
                </a:extLst>
              </p:cNvPr>
              <p:cNvSpPr/>
              <p:nvPr/>
            </p:nvSpPr>
            <p:spPr>
              <a:xfrm>
                <a:off x="4580948" y="2874714"/>
                <a:ext cx="57647" cy="28886"/>
              </a:xfrm>
              <a:custGeom>
                <a:avLst/>
                <a:gdLst>
                  <a:gd name="connsiteX0" fmla="*/ 57648 w 57647"/>
                  <a:gd name="connsiteY0" fmla="*/ 14444 h 28886"/>
                  <a:gd name="connsiteX1" fmla="*/ 28887 w 57647"/>
                  <a:gd name="connsiteY1" fmla="*/ 28887 h 28886"/>
                  <a:gd name="connsiteX2" fmla="*/ 0 w 57647"/>
                  <a:gd name="connsiteY2" fmla="*/ 14444 h 28886"/>
                  <a:gd name="connsiteX3" fmla="*/ 28887 w 57647"/>
                  <a:gd name="connsiteY3" fmla="*/ 0 h 28886"/>
                </a:gdLst>
                <a:ahLst/>
                <a:cxnLst>
                  <a:cxn ang="0">
                    <a:pos x="connsiteX0" y="connsiteY0"/>
                  </a:cxn>
                  <a:cxn ang="0">
                    <a:pos x="connsiteX1" y="connsiteY1"/>
                  </a:cxn>
                  <a:cxn ang="0">
                    <a:pos x="connsiteX2" y="connsiteY2"/>
                  </a:cxn>
                  <a:cxn ang="0">
                    <a:pos x="connsiteX3" y="connsiteY3"/>
                  </a:cxn>
                </a:cxnLst>
                <a:rect l="l" t="t" r="r" b="b"/>
                <a:pathLst>
                  <a:path w="57647" h="28886">
                    <a:moveTo>
                      <a:pt x="57648" y="14444"/>
                    </a:moveTo>
                    <a:lnTo>
                      <a:pt x="28887" y="28887"/>
                    </a:lnTo>
                    <a:lnTo>
                      <a:pt x="0" y="14444"/>
                    </a:lnTo>
                    <a:lnTo>
                      <a:pt x="28887" y="0"/>
                    </a:lnTo>
                    <a:close/>
                  </a:path>
                </a:pathLst>
              </a:custGeom>
              <a:solidFill>
                <a:srgbClr val="F4C26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04" name="Freeform: Shape 2603">
              <a:extLst>
                <a:ext uri="{FF2B5EF4-FFF2-40B4-BE49-F238E27FC236}">
                  <a16:creationId xmlns:a16="http://schemas.microsoft.com/office/drawing/2014/main" id="{0D8245A5-18FA-45BB-8B24-C06CA9893DDC}"/>
                </a:ext>
              </a:extLst>
            </p:cNvPr>
            <p:cNvSpPr/>
            <p:nvPr/>
          </p:nvSpPr>
          <p:spPr>
            <a:xfrm>
              <a:off x="4582078" y="2836157"/>
              <a:ext cx="90679" cy="51744"/>
            </a:xfrm>
            <a:custGeom>
              <a:avLst/>
              <a:gdLst>
                <a:gd name="connsiteX0" fmla="*/ 44335 w 90679"/>
                <a:gd name="connsiteY0" fmla="*/ 51745 h 51744"/>
                <a:gd name="connsiteX1" fmla="*/ 90679 w 90679"/>
                <a:gd name="connsiteY1" fmla="*/ 25496 h 51744"/>
                <a:gd name="connsiteX2" fmla="*/ 46345 w 90679"/>
                <a:gd name="connsiteY2" fmla="*/ 0 h 51744"/>
                <a:gd name="connsiteX3" fmla="*/ 0 w 90679"/>
                <a:gd name="connsiteY3" fmla="*/ 26249 h 51744"/>
              </a:gdLst>
              <a:ahLst/>
              <a:cxnLst>
                <a:cxn ang="0">
                  <a:pos x="connsiteX0" y="connsiteY0"/>
                </a:cxn>
                <a:cxn ang="0">
                  <a:pos x="connsiteX1" y="connsiteY1"/>
                </a:cxn>
                <a:cxn ang="0">
                  <a:pos x="connsiteX2" y="connsiteY2"/>
                </a:cxn>
                <a:cxn ang="0">
                  <a:pos x="connsiteX3" y="connsiteY3"/>
                </a:cxn>
              </a:cxnLst>
              <a:rect l="l" t="t" r="r" b="b"/>
              <a:pathLst>
                <a:path w="90679" h="51744">
                  <a:moveTo>
                    <a:pt x="44335" y="51745"/>
                  </a:moveTo>
                  <a:lnTo>
                    <a:pt x="90679" y="25496"/>
                  </a:lnTo>
                  <a:lnTo>
                    <a:pt x="46345" y="0"/>
                  </a:lnTo>
                  <a:lnTo>
                    <a:pt x="0" y="26249"/>
                  </a:lnTo>
                  <a:close/>
                </a:path>
              </a:pathLst>
            </a:custGeom>
            <a:solidFill>
              <a:srgbClr val="FAB0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5" name="Freeform: Shape 2604">
              <a:extLst>
                <a:ext uri="{FF2B5EF4-FFF2-40B4-BE49-F238E27FC236}">
                  <a16:creationId xmlns:a16="http://schemas.microsoft.com/office/drawing/2014/main" id="{B7E17748-46F8-4B8B-8160-1F76CF56BD94}"/>
                </a:ext>
              </a:extLst>
            </p:cNvPr>
            <p:cNvSpPr/>
            <p:nvPr/>
          </p:nvSpPr>
          <p:spPr>
            <a:xfrm>
              <a:off x="4582078" y="2862406"/>
              <a:ext cx="44334" cy="52373"/>
            </a:xfrm>
            <a:custGeom>
              <a:avLst/>
              <a:gdLst>
                <a:gd name="connsiteX0" fmla="*/ 44335 w 44334"/>
                <a:gd name="connsiteY0" fmla="*/ 52373 h 52373"/>
                <a:gd name="connsiteX1" fmla="*/ 44335 w 44334"/>
                <a:gd name="connsiteY1" fmla="*/ 25496 h 52373"/>
                <a:gd name="connsiteX2" fmla="*/ 0 w 44334"/>
                <a:gd name="connsiteY2" fmla="*/ 0 h 52373"/>
                <a:gd name="connsiteX3" fmla="*/ 0 w 44334"/>
                <a:gd name="connsiteY3" fmla="*/ 26877 h 52373"/>
              </a:gdLst>
              <a:ahLst/>
              <a:cxnLst>
                <a:cxn ang="0">
                  <a:pos x="connsiteX0" y="connsiteY0"/>
                </a:cxn>
                <a:cxn ang="0">
                  <a:pos x="connsiteX1" y="connsiteY1"/>
                </a:cxn>
                <a:cxn ang="0">
                  <a:pos x="connsiteX2" y="connsiteY2"/>
                </a:cxn>
                <a:cxn ang="0">
                  <a:pos x="connsiteX3" y="connsiteY3"/>
                </a:cxn>
              </a:cxnLst>
              <a:rect l="l" t="t" r="r" b="b"/>
              <a:pathLst>
                <a:path w="44334" h="52373">
                  <a:moveTo>
                    <a:pt x="44335" y="52373"/>
                  </a:moveTo>
                  <a:lnTo>
                    <a:pt x="44335" y="25496"/>
                  </a:lnTo>
                  <a:lnTo>
                    <a:pt x="0" y="0"/>
                  </a:lnTo>
                  <a:lnTo>
                    <a:pt x="0" y="26877"/>
                  </a:lnTo>
                  <a:close/>
                </a:path>
              </a:pathLst>
            </a:custGeom>
            <a:solidFill>
              <a:srgbClr val="D97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06" name="Graphic 4">
              <a:extLst>
                <a:ext uri="{FF2B5EF4-FFF2-40B4-BE49-F238E27FC236}">
                  <a16:creationId xmlns:a16="http://schemas.microsoft.com/office/drawing/2014/main" id="{84FB7ED1-A2DF-40A1-A747-5F7CF3F14040}"/>
                </a:ext>
              </a:extLst>
            </p:cNvPr>
            <p:cNvGrpSpPr/>
            <p:nvPr/>
          </p:nvGrpSpPr>
          <p:grpSpPr>
            <a:xfrm>
              <a:off x="4600918" y="2876256"/>
              <a:ext cx="43832" cy="52092"/>
              <a:chOff x="4600918" y="2876256"/>
              <a:chExt cx="43832" cy="52092"/>
            </a:xfrm>
            <a:solidFill>
              <a:schemeClr val="accent1"/>
            </a:solidFill>
          </p:grpSpPr>
          <p:sp>
            <p:nvSpPr>
              <p:cNvPr id="2607" name="Freeform: Shape 2606">
                <a:extLst>
                  <a:ext uri="{FF2B5EF4-FFF2-40B4-BE49-F238E27FC236}">
                    <a16:creationId xmlns:a16="http://schemas.microsoft.com/office/drawing/2014/main" id="{7AB4EDE1-36C7-4D73-B65F-FBB9BA952266}"/>
                  </a:ext>
                </a:extLst>
              </p:cNvPr>
              <p:cNvSpPr/>
              <p:nvPr/>
            </p:nvSpPr>
            <p:spPr>
              <a:xfrm>
                <a:off x="4600918" y="2876256"/>
                <a:ext cx="39311" cy="51585"/>
              </a:xfrm>
              <a:custGeom>
                <a:avLst/>
                <a:gdLst>
                  <a:gd name="connsiteX0" fmla="*/ 0 w 39311"/>
                  <a:gd name="connsiteY0" fmla="*/ 42291 h 51585"/>
                  <a:gd name="connsiteX1" fmla="*/ 0 w 39311"/>
                  <a:gd name="connsiteY1" fmla="*/ 25964 h 51585"/>
                  <a:gd name="connsiteX2" fmla="*/ 9922 w 39311"/>
                  <a:gd name="connsiteY2" fmla="*/ 9009 h 51585"/>
                  <a:gd name="connsiteX3" fmla="*/ 23360 w 39311"/>
                  <a:gd name="connsiteY3" fmla="*/ 1347 h 51585"/>
                  <a:gd name="connsiteX4" fmla="*/ 34664 w 39311"/>
                  <a:gd name="connsiteY4" fmla="*/ 2352 h 51585"/>
                  <a:gd name="connsiteX5" fmla="*/ 34664 w 39311"/>
                  <a:gd name="connsiteY5" fmla="*/ 2226 h 51585"/>
                  <a:gd name="connsiteX6" fmla="*/ 39311 w 39311"/>
                  <a:gd name="connsiteY6" fmla="*/ 5115 h 51585"/>
                  <a:gd name="connsiteX7" fmla="*/ 38055 w 39311"/>
                  <a:gd name="connsiteY7" fmla="*/ 7124 h 51585"/>
                  <a:gd name="connsiteX8" fmla="*/ 38558 w 39311"/>
                  <a:gd name="connsiteY8" fmla="*/ 10264 h 51585"/>
                  <a:gd name="connsiteX9" fmla="*/ 38558 w 39311"/>
                  <a:gd name="connsiteY9" fmla="*/ 18302 h 51585"/>
                  <a:gd name="connsiteX10" fmla="*/ 26877 w 39311"/>
                  <a:gd name="connsiteY10" fmla="*/ 38398 h 51585"/>
                  <a:gd name="connsiteX11" fmla="*/ 12057 w 39311"/>
                  <a:gd name="connsiteY11" fmla="*/ 46812 h 51585"/>
                  <a:gd name="connsiteX12" fmla="*/ 8917 w 39311"/>
                  <a:gd name="connsiteY12" fmla="*/ 51585 h 51585"/>
                  <a:gd name="connsiteX13" fmla="*/ 3517 w 39311"/>
                  <a:gd name="connsiteY13" fmla="*/ 48194 h 51585"/>
                  <a:gd name="connsiteX14" fmla="*/ 2889 w 39311"/>
                  <a:gd name="connsiteY14" fmla="*/ 47817 h 51585"/>
                  <a:gd name="connsiteX15" fmla="*/ 2512 w 39311"/>
                  <a:gd name="connsiteY15" fmla="*/ 47566 h 51585"/>
                  <a:gd name="connsiteX16" fmla="*/ 2512 w 39311"/>
                  <a:gd name="connsiteY16" fmla="*/ 47566 h 51585"/>
                  <a:gd name="connsiteX17" fmla="*/ 0 w 39311"/>
                  <a:gd name="connsiteY17" fmla="*/ 42291 h 5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311" h="51585">
                    <a:moveTo>
                      <a:pt x="0" y="42291"/>
                    </a:moveTo>
                    <a:lnTo>
                      <a:pt x="0" y="25964"/>
                    </a:lnTo>
                    <a:cubicBezTo>
                      <a:pt x="0" y="18930"/>
                      <a:pt x="3768" y="12399"/>
                      <a:pt x="9922" y="9009"/>
                    </a:cubicBezTo>
                    <a:lnTo>
                      <a:pt x="23360" y="1347"/>
                    </a:lnTo>
                    <a:cubicBezTo>
                      <a:pt x="27254" y="-914"/>
                      <a:pt x="31650" y="-160"/>
                      <a:pt x="34664" y="2352"/>
                    </a:cubicBezTo>
                    <a:lnTo>
                      <a:pt x="34664" y="2226"/>
                    </a:lnTo>
                    <a:lnTo>
                      <a:pt x="39311" y="5115"/>
                    </a:lnTo>
                    <a:lnTo>
                      <a:pt x="38055" y="7124"/>
                    </a:lnTo>
                    <a:cubicBezTo>
                      <a:pt x="38432" y="8129"/>
                      <a:pt x="38558" y="9134"/>
                      <a:pt x="38558" y="10264"/>
                    </a:cubicBezTo>
                    <a:lnTo>
                      <a:pt x="38558" y="18302"/>
                    </a:lnTo>
                    <a:cubicBezTo>
                      <a:pt x="38558" y="26592"/>
                      <a:pt x="34036" y="34253"/>
                      <a:pt x="26877" y="38398"/>
                    </a:cubicBezTo>
                    <a:lnTo>
                      <a:pt x="12057" y="46812"/>
                    </a:lnTo>
                    <a:lnTo>
                      <a:pt x="8917" y="51585"/>
                    </a:lnTo>
                    <a:lnTo>
                      <a:pt x="3517" y="48194"/>
                    </a:lnTo>
                    <a:cubicBezTo>
                      <a:pt x="3266" y="48069"/>
                      <a:pt x="3140" y="47943"/>
                      <a:pt x="2889" y="47817"/>
                    </a:cubicBezTo>
                    <a:lnTo>
                      <a:pt x="2512" y="47566"/>
                    </a:lnTo>
                    <a:lnTo>
                      <a:pt x="2512" y="47566"/>
                    </a:lnTo>
                    <a:cubicBezTo>
                      <a:pt x="1005" y="46059"/>
                      <a:pt x="0" y="44301"/>
                      <a:pt x="0" y="42291"/>
                    </a:cubicBez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8" name="Freeform: Shape 2607">
                <a:extLst>
                  <a:ext uri="{FF2B5EF4-FFF2-40B4-BE49-F238E27FC236}">
                    <a16:creationId xmlns:a16="http://schemas.microsoft.com/office/drawing/2014/main" id="{56B2D25F-26D7-496E-8D97-E89DED5B640F}"/>
                  </a:ext>
                </a:extLst>
              </p:cNvPr>
              <p:cNvSpPr/>
              <p:nvPr/>
            </p:nvSpPr>
            <p:spPr>
              <a:xfrm>
                <a:off x="4606318" y="2879503"/>
                <a:ext cx="38431" cy="48845"/>
              </a:xfrm>
              <a:custGeom>
                <a:avLst/>
                <a:gdLst>
                  <a:gd name="connsiteX0" fmla="*/ 38432 w 38431"/>
                  <a:gd name="connsiteY0" fmla="*/ 10157 h 48845"/>
                  <a:gd name="connsiteX1" fmla="*/ 38432 w 38431"/>
                  <a:gd name="connsiteY1" fmla="*/ 18195 h 48845"/>
                  <a:gd name="connsiteX2" fmla="*/ 26752 w 38431"/>
                  <a:gd name="connsiteY2" fmla="*/ 38291 h 48845"/>
                  <a:gd name="connsiteX3" fmla="*/ 9671 w 38431"/>
                  <a:gd name="connsiteY3" fmla="*/ 47961 h 48845"/>
                  <a:gd name="connsiteX4" fmla="*/ 0 w 38431"/>
                  <a:gd name="connsiteY4" fmla="*/ 42310 h 48845"/>
                  <a:gd name="connsiteX5" fmla="*/ 0 w 38431"/>
                  <a:gd name="connsiteY5" fmla="*/ 25982 h 48845"/>
                  <a:gd name="connsiteX6" fmla="*/ 9922 w 38431"/>
                  <a:gd name="connsiteY6" fmla="*/ 9027 h 48845"/>
                  <a:gd name="connsiteX7" fmla="*/ 23361 w 38431"/>
                  <a:gd name="connsiteY7" fmla="*/ 1366 h 48845"/>
                  <a:gd name="connsiteX8" fmla="*/ 38432 w 38431"/>
                  <a:gd name="connsiteY8" fmla="*/ 10157 h 48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431" h="48845">
                    <a:moveTo>
                      <a:pt x="38432" y="10157"/>
                    </a:moveTo>
                    <a:lnTo>
                      <a:pt x="38432" y="18195"/>
                    </a:lnTo>
                    <a:cubicBezTo>
                      <a:pt x="38432" y="26485"/>
                      <a:pt x="33911" y="34146"/>
                      <a:pt x="26752" y="38291"/>
                    </a:cubicBezTo>
                    <a:lnTo>
                      <a:pt x="9671" y="47961"/>
                    </a:lnTo>
                    <a:cubicBezTo>
                      <a:pt x="5275" y="50473"/>
                      <a:pt x="0" y="47333"/>
                      <a:pt x="0" y="42310"/>
                    </a:cubicBezTo>
                    <a:lnTo>
                      <a:pt x="0" y="25982"/>
                    </a:lnTo>
                    <a:cubicBezTo>
                      <a:pt x="0" y="18949"/>
                      <a:pt x="3768" y="12418"/>
                      <a:pt x="9922" y="9027"/>
                    </a:cubicBezTo>
                    <a:lnTo>
                      <a:pt x="23361" y="1366"/>
                    </a:lnTo>
                    <a:cubicBezTo>
                      <a:pt x="30017" y="-2528"/>
                      <a:pt x="38432" y="2370"/>
                      <a:pt x="38432" y="10157"/>
                    </a:cubicBezTo>
                    <a:close/>
                  </a:path>
                </a:pathLst>
              </a:custGeom>
              <a:solidFill>
                <a:srgbClr val="C05F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9" name="Freeform: Shape 2608">
                <a:extLst>
                  <a:ext uri="{FF2B5EF4-FFF2-40B4-BE49-F238E27FC236}">
                    <a16:creationId xmlns:a16="http://schemas.microsoft.com/office/drawing/2014/main" id="{78B6B2F9-3142-427C-9C6A-884508584E97}"/>
                  </a:ext>
                </a:extLst>
              </p:cNvPr>
              <p:cNvSpPr/>
              <p:nvPr/>
            </p:nvSpPr>
            <p:spPr>
              <a:xfrm>
                <a:off x="4613971" y="2888857"/>
                <a:ext cx="25478" cy="33256"/>
              </a:xfrm>
              <a:custGeom>
                <a:avLst/>
                <a:gdLst>
                  <a:gd name="connsiteX0" fmla="*/ 3650 w 25478"/>
                  <a:gd name="connsiteY0" fmla="*/ 32453 h 33256"/>
                  <a:gd name="connsiteX1" fmla="*/ 762 w 25478"/>
                  <a:gd name="connsiteY1" fmla="*/ 19015 h 33256"/>
                  <a:gd name="connsiteX2" fmla="*/ 3902 w 25478"/>
                  <a:gd name="connsiteY2" fmla="*/ 11479 h 33256"/>
                  <a:gd name="connsiteX3" fmla="*/ 8800 w 25478"/>
                  <a:gd name="connsiteY3" fmla="*/ 5074 h 33256"/>
                  <a:gd name="connsiteX4" fmla="*/ 21862 w 25478"/>
                  <a:gd name="connsiteY4" fmla="*/ 803 h 33256"/>
                  <a:gd name="connsiteX5" fmla="*/ 25253 w 25478"/>
                  <a:gd name="connsiteY5" fmla="*/ 11730 h 33256"/>
                  <a:gd name="connsiteX6" fmla="*/ 24876 w 25478"/>
                  <a:gd name="connsiteY6" fmla="*/ 13489 h 33256"/>
                  <a:gd name="connsiteX7" fmla="*/ 24751 w 25478"/>
                  <a:gd name="connsiteY7" fmla="*/ 14368 h 33256"/>
                  <a:gd name="connsiteX8" fmla="*/ 21611 w 25478"/>
                  <a:gd name="connsiteY8" fmla="*/ 21778 h 33256"/>
                  <a:gd name="connsiteX9" fmla="*/ 16712 w 25478"/>
                  <a:gd name="connsiteY9" fmla="*/ 28183 h 33256"/>
                  <a:gd name="connsiteX10" fmla="*/ 3650 w 25478"/>
                  <a:gd name="connsiteY10" fmla="*/ 32453 h 33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478" h="33256">
                    <a:moveTo>
                      <a:pt x="3650" y="32453"/>
                    </a:moveTo>
                    <a:cubicBezTo>
                      <a:pt x="134" y="30444"/>
                      <a:pt x="-871" y="25043"/>
                      <a:pt x="762" y="19015"/>
                    </a:cubicBezTo>
                    <a:cubicBezTo>
                      <a:pt x="1390" y="16628"/>
                      <a:pt x="2395" y="13991"/>
                      <a:pt x="3902" y="11479"/>
                    </a:cubicBezTo>
                    <a:cubicBezTo>
                      <a:pt x="5283" y="8967"/>
                      <a:pt x="7042" y="6832"/>
                      <a:pt x="8800" y="5074"/>
                    </a:cubicBezTo>
                    <a:cubicBezTo>
                      <a:pt x="13321" y="678"/>
                      <a:pt x="18345" y="-1206"/>
                      <a:pt x="21862" y="803"/>
                    </a:cubicBezTo>
                    <a:cubicBezTo>
                      <a:pt x="24876" y="2562"/>
                      <a:pt x="26006" y="6706"/>
                      <a:pt x="25253" y="11730"/>
                    </a:cubicBezTo>
                    <a:cubicBezTo>
                      <a:pt x="25127" y="12358"/>
                      <a:pt x="25127" y="12861"/>
                      <a:pt x="24876" y="13489"/>
                    </a:cubicBezTo>
                    <a:cubicBezTo>
                      <a:pt x="24876" y="13740"/>
                      <a:pt x="24751" y="13991"/>
                      <a:pt x="24751" y="14368"/>
                    </a:cubicBezTo>
                    <a:cubicBezTo>
                      <a:pt x="24122" y="16754"/>
                      <a:pt x="23118" y="19391"/>
                      <a:pt x="21611" y="21778"/>
                    </a:cubicBezTo>
                    <a:cubicBezTo>
                      <a:pt x="20229" y="24290"/>
                      <a:pt x="18471" y="26425"/>
                      <a:pt x="16712" y="28183"/>
                    </a:cubicBezTo>
                    <a:cubicBezTo>
                      <a:pt x="12316" y="32579"/>
                      <a:pt x="7167" y="34463"/>
                      <a:pt x="3650" y="32453"/>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10" name="Freeform: Shape 2609">
              <a:extLst>
                <a:ext uri="{FF2B5EF4-FFF2-40B4-BE49-F238E27FC236}">
                  <a16:creationId xmlns:a16="http://schemas.microsoft.com/office/drawing/2014/main" id="{49AC5F59-4648-4F33-9B9A-85D756C98F77}"/>
                </a:ext>
              </a:extLst>
            </p:cNvPr>
            <p:cNvSpPr/>
            <p:nvPr/>
          </p:nvSpPr>
          <p:spPr>
            <a:xfrm>
              <a:off x="4599159" y="3023042"/>
              <a:ext cx="100601" cy="59155"/>
            </a:xfrm>
            <a:custGeom>
              <a:avLst/>
              <a:gdLst>
                <a:gd name="connsiteX0" fmla="*/ 0 w 100601"/>
                <a:gd name="connsiteY0" fmla="*/ 25747 h 59155"/>
                <a:gd name="connsiteX1" fmla="*/ 42703 w 100601"/>
                <a:gd name="connsiteY1" fmla="*/ 0 h 59155"/>
                <a:gd name="connsiteX2" fmla="*/ 100602 w 100601"/>
                <a:gd name="connsiteY2" fmla="*/ 32027 h 59155"/>
                <a:gd name="connsiteX3" fmla="*/ 58025 w 100601"/>
                <a:gd name="connsiteY3" fmla="*/ 59155 h 59155"/>
              </a:gdLst>
              <a:ahLst/>
              <a:cxnLst>
                <a:cxn ang="0">
                  <a:pos x="connsiteX0" y="connsiteY0"/>
                </a:cxn>
                <a:cxn ang="0">
                  <a:pos x="connsiteX1" y="connsiteY1"/>
                </a:cxn>
                <a:cxn ang="0">
                  <a:pos x="connsiteX2" y="connsiteY2"/>
                </a:cxn>
                <a:cxn ang="0">
                  <a:pos x="connsiteX3" y="connsiteY3"/>
                </a:cxn>
              </a:cxnLst>
              <a:rect l="l" t="t" r="r" b="b"/>
              <a:pathLst>
                <a:path w="100601" h="59155">
                  <a:moveTo>
                    <a:pt x="0" y="25747"/>
                  </a:moveTo>
                  <a:lnTo>
                    <a:pt x="42703" y="0"/>
                  </a:lnTo>
                  <a:lnTo>
                    <a:pt x="100602" y="32027"/>
                  </a:lnTo>
                  <a:lnTo>
                    <a:pt x="58025" y="59155"/>
                  </a:lnTo>
                  <a:close/>
                </a:path>
              </a:pathLst>
            </a:custGeom>
            <a:solidFill>
              <a:srgbClr val="72BD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1" name="Freeform: Shape 2610">
              <a:extLst>
                <a:ext uri="{FF2B5EF4-FFF2-40B4-BE49-F238E27FC236}">
                  <a16:creationId xmlns:a16="http://schemas.microsoft.com/office/drawing/2014/main" id="{84BE1EFD-5D96-49EA-BA0A-A83EA6427A26}"/>
                </a:ext>
              </a:extLst>
            </p:cNvPr>
            <p:cNvSpPr/>
            <p:nvPr/>
          </p:nvSpPr>
          <p:spPr>
            <a:xfrm>
              <a:off x="4461633" y="2949066"/>
              <a:ext cx="100475" cy="59155"/>
            </a:xfrm>
            <a:custGeom>
              <a:avLst/>
              <a:gdLst>
                <a:gd name="connsiteX0" fmla="*/ 0 w 100475"/>
                <a:gd name="connsiteY0" fmla="*/ 25747 h 59155"/>
                <a:gd name="connsiteX1" fmla="*/ 42702 w 100475"/>
                <a:gd name="connsiteY1" fmla="*/ 0 h 59155"/>
                <a:gd name="connsiteX2" fmla="*/ 100476 w 100475"/>
                <a:gd name="connsiteY2" fmla="*/ 32027 h 59155"/>
                <a:gd name="connsiteX3" fmla="*/ 58025 w 100475"/>
                <a:gd name="connsiteY3" fmla="*/ 59155 h 59155"/>
              </a:gdLst>
              <a:ahLst/>
              <a:cxnLst>
                <a:cxn ang="0">
                  <a:pos x="connsiteX0" y="connsiteY0"/>
                </a:cxn>
                <a:cxn ang="0">
                  <a:pos x="connsiteX1" y="connsiteY1"/>
                </a:cxn>
                <a:cxn ang="0">
                  <a:pos x="connsiteX2" y="connsiteY2"/>
                </a:cxn>
                <a:cxn ang="0">
                  <a:pos x="connsiteX3" y="connsiteY3"/>
                </a:cxn>
              </a:cxnLst>
              <a:rect l="l" t="t" r="r" b="b"/>
              <a:pathLst>
                <a:path w="100475" h="59155">
                  <a:moveTo>
                    <a:pt x="0" y="25747"/>
                  </a:moveTo>
                  <a:lnTo>
                    <a:pt x="42702" y="0"/>
                  </a:lnTo>
                  <a:lnTo>
                    <a:pt x="100476" y="32027"/>
                  </a:lnTo>
                  <a:lnTo>
                    <a:pt x="58025" y="59155"/>
                  </a:lnTo>
                  <a:close/>
                </a:path>
              </a:pathLst>
            </a:custGeom>
            <a:solidFill>
              <a:srgbClr val="72BD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12" name="Graphic 4">
              <a:extLst>
                <a:ext uri="{FF2B5EF4-FFF2-40B4-BE49-F238E27FC236}">
                  <a16:creationId xmlns:a16="http://schemas.microsoft.com/office/drawing/2014/main" id="{84FB7ED1-A2DF-40A1-A747-5F7CF3F14040}"/>
                </a:ext>
              </a:extLst>
            </p:cNvPr>
            <p:cNvGrpSpPr/>
            <p:nvPr/>
          </p:nvGrpSpPr>
          <p:grpSpPr>
            <a:xfrm>
              <a:off x="4799609" y="3178528"/>
              <a:ext cx="283844" cy="216651"/>
              <a:chOff x="4799609" y="3178528"/>
              <a:chExt cx="283844" cy="216651"/>
            </a:xfrm>
            <a:solidFill>
              <a:schemeClr val="accent1"/>
            </a:solidFill>
          </p:grpSpPr>
          <p:grpSp>
            <p:nvGrpSpPr>
              <p:cNvPr id="2613" name="Graphic 4">
                <a:extLst>
                  <a:ext uri="{FF2B5EF4-FFF2-40B4-BE49-F238E27FC236}">
                    <a16:creationId xmlns:a16="http://schemas.microsoft.com/office/drawing/2014/main" id="{84FB7ED1-A2DF-40A1-A747-5F7CF3F14040}"/>
                  </a:ext>
                </a:extLst>
              </p:cNvPr>
              <p:cNvGrpSpPr/>
              <p:nvPr/>
            </p:nvGrpSpPr>
            <p:grpSpPr>
              <a:xfrm>
                <a:off x="4829751" y="3263305"/>
                <a:ext cx="253701" cy="131874"/>
                <a:chOff x="4829751" y="3263305"/>
                <a:chExt cx="253701" cy="131874"/>
              </a:xfrm>
              <a:solidFill>
                <a:schemeClr val="accent1"/>
              </a:solidFill>
            </p:grpSpPr>
            <p:sp>
              <p:nvSpPr>
                <p:cNvPr id="2614" name="Freeform: Shape 2613">
                  <a:extLst>
                    <a:ext uri="{FF2B5EF4-FFF2-40B4-BE49-F238E27FC236}">
                      <a16:creationId xmlns:a16="http://schemas.microsoft.com/office/drawing/2014/main" id="{D499CD64-69BC-4D8B-B1C0-D6B32C008EC3}"/>
                    </a:ext>
                  </a:extLst>
                </p:cNvPr>
                <p:cNvSpPr/>
                <p:nvPr/>
              </p:nvSpPr>
              <p:spPr>
                <a:xfrm>
                  <a:off x="4911137" y="3263305"/>
                  <a:ext cx="120822" cy="131874"/>
                </a:xfrm>
                <a:custGeom>
                  <a:avLst/>
                  <a:gdLst>
                    <a:gd name="connsiteX0" fmla="*/ 0 w 120822"/>
                    <a:gd name="connsiteY0" fmla="*/ 131875 h 131874"/>
                    <a:gd name="connsiteX1" fmla="*/ 120822 w 120822"/>
                    <a:gd name="connsiteY1" fmla="*/ 62044 h 131874"/>
                    <a:gd name="connsiteX2" fmla="*/ 120822 w 120822"/>
                    <a:gd name="connsiteY2" fmla="*/ 0 h 131874"/>
                    <a:gd name="connsiteX3" fmla="*/ 0 w 120822"/>
                    <a:gd name="connsiteY3" fmla="*/ 69705 h 131874"/>
                  </a:gdLst>
                  <a:ahLst/>
                  <a:cxnLst>
                    <a:cxn ang="0">
                      <a:pos x="connsiteX0" y="connsiteY0"/>
                    </a:cxn>
                    <a:cxn ang="0">
                      <a:pos x="connsiteX1" y="connsiteY1"/>
                    </a:cxn>
                    <a:cxn ang="0">
                      <a:pos x="connsiteX2" y="connsiteY2"/>
                    </a:cxn>
                    <a:cxn ang="0">
                      <a:pos x="connsiteX3" y="connsiteY3"/>
                    </a:cxn>
                  </a:cxnLst>
                  <a:rect l="l" t="t" r="r" b="b"/>
                  <a:pathLst>
                    <a:path w="120822" h="131874">
                      <a:moveTo>
                        <a:pt x="0" y="131875"/>
                      </a:moveTo>
                      <a:lnTo>
                        <a:pt x="120822" y="62044"/>
                      </a:lnTo>
                      <a:lnTo>
                        <a:pt x="120822" y="0"/>
                      </a:lnTo>
                      <a:lnTo>
                        <a:pt x="0" y="69705"/>
                      </a:lnTo>
                      <a:close/>
                    </a:path>
                  </a:pathLst>
                </a:custGeom>
                <a:solidFill>
                  <a:srgbClr val="C997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5" name="Freeform: Shape 2614">
                  <a:extLst>
                    <a:ext uri="{FF2B5EF4-FFF2-40B4-BE49-F238E27FC236}">
                      <a16:creationId xmlns:a16="http://schemas.microsoft.com/office/drawing/2014/main" id="{7C563D8F-52F1-479B-804C-8FE57B45264B}"/>
                    </a:ext>
                  </a:extLst>
                </p:cNvPr>
                <p:cNvSpPr/>
                <p:nvPr/>
              </p:nvSpPr>
              <p:spPr>
                <a:xfrm>
                  <a:off x="4911137" y="3274985"/>
                  <a:ext cx="172316" cy="73598"/>
                </a:xfrm>
                <a:custGeom>
                  <a:avLst/>
                  <a:gdLst>
                    <a:gd name="connsiteX0" fmla="*/ 172316 w 172316"/>
                    <a:gd name="connsiteY0" fmla="*/ 3893 h 73598"/>
                    <a:gd name="connsiteX1" fmla="*/ 172316 w 172316"/>
                    <a:gd name="connsiteY1" fmla="*/ 0 h 73598"/>
                    <a:gd name="connsiteX2" fmla="*/ 0 w 172316"/>
                    <a:gd name="connsiteY2" fmla="*/ 58025 h 73598"/>
                    <a:gd name="connsiteX3" fmla="*/ 0 w 172316"/>
                    <a:gd name="connsiteY3" fmla="*/ 61918 h 73598"/>
                    <a:gd name="connsiteX4" fmla="*/ 51494 w 172316"/>
                    <a:gd name="connsiteY4" fmla="*/ 73599 h 7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316" h="73598">
                      <a:moveTo>
                        <a:pt x="172316" y="3893"/>
                      </a:moveTo>
                      <a:lnTo>
                        <a:pt x="172316" y="0"/>
                      </a:lnTo>
                      <a:lnTo>
                        <a:pt x="0" y="58025"/>
                      </a:lnTo>
                      <a:lnTo>
                        <a:pt x="0" y="61918"/>
                      </a:lnTo>
                      <a:lnTo>
                        <a:pt x="51494" y="73599"/>
                      </a:lnTo>
                      <a:close/>
                    </a:path>
                  </a:pathLst>
                </a:custGeom>
                <a:solidFill>
                  <a:srgbClr val="BF893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6" name="Freeform: Shape 2615">
                  <a:extLst>
                    <a:ext uri="{FF2B5EF4-FFF2-40B4-BE49-F238E27FC236}">
                      <a16:creationId xmlns:a16="http://schemas.microsoft.com/office/drawing/2014/main" id="{C5BA5808-84F4-4F86-AC4D-F5BCBAF1B6F3}"/>
                    </a:ext>
                  </a:extLst>
                </p:cNvPr>
                <p:cNvSpPr/>
                <p:nvPr/>
              </p:nvSpPr>
              <p:spPr>
                <a:xfrm>
                  <a:off x="4829751" y="3285786"/>
                  <a:ext cx="81385" cy="109392"/>
                </a:xfrm>
                <a:custGeom>
                  <a:avLst/>
                  <a:gdLst>
                    <a:gd name="connsiteX0" fmla="*/ 0 w 81385"/>
                    <a:gd name="connsiteY0" fmla="*/ 0 h 109392"/>
                    <a:gd name="connsiteX1" fmla="*/ 81386 w 81385"/>
                    <a:gd name="connsiteY1" fmla="*/ 47224 h 109392"/>
                    <a:gd name="connsiteX2" fmla="*/ 81386 w 81385"/>
                    <a:gd name="connsiteY2" fmla="*/ 109393 h 109392"/>
                    <a:gd name="connsiteX3" fmla="*/ 0 w 81385"/>
                    <a:gd name="connsiteY3" fmla="*/ 62421 h 109392"/>
                  </a:gdLst>
                  <a:ahLst/>
                  <a:cxnLst>
                    <a:cxn ang="0">
                      <a:pos x="connsiteX0" y="connsiteY0"/>
                    </a:cxn>
                    <a:cxn ang="0">
                      <a:pos x="connsiteX1" y="connsiteY1"/>
                    </a:cxn>
                    <a:cxn ang="0">
                      <a:pos x="connsiteX2" y="connsiteY2"/>
                    </a:cxn>
                    <a:cxn ang="0">
                      <a:pos x="connsiteX3" y="connsiteY3"/>
                    </a:cxn>
                  </a:cxnLst>
                  <a:rect l="l" t="t" r="r" b="b"/>
                  <a:pathLst>
                    <a:path w="81385" h="109392">
                      <a:moveTo>
                        <a:pt x="0" y="0"/>
                      </a:moveTo>
                      <a:lnTo>
                        <a:pt x="81386" y="47224"/>
                      </a:lnTo>
                      <a:lnTo>
                        <a:pt x="81386" y="109393"/>
                      </a:lnTo>
                      <a:lnTo>
                        <a:pt x="0" y="62421"/>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7" name="Freeform: Shape 2616">
                  <a:extLst>
                    <a:ext uri="{FF2B5EF4-FFF2-40B4-BE49-F238E27FC236}">
                      <a16:creationId xmlns:a16="http://schemas.microsoft.com/office/drawing/2014/main" id="{39C9F82F-B73F-4BE3-A2F6-0293320F8B91}"/>
                    </a:ext>
                  </a:extLst>
                </p:cNvPr>
                <p:cNvSpPr/>
                <p:nvPr/>
              </p:nvSpPr>
              <p:spPr>
                <a:xfrm>
                  <a:off x="4870444" y="3338536"/>
                  <a:ext cx="32529" cy="40692"/>
                </a:xfrm>
                <a:custGeom>
                  <a:avLst/>
                  <a:gdLst>
                    <a:gd name="connsiteX0" fmla="*/ 0 w 32529"/>
                    <a:gd name="connsiteY0" fmla="*/ 0 h 40692"/>
                    <a:gd name="connsiteX1" fmla="*/ 32529 w 32529"/>
                    <a:gd name="connsiteY1" fmla="*/ 18965 h 40692"/>
                    <a:gd name="connsiteX2" fmla="*/ 32529 w 32529"/>
                    <a:gd name="connsiteY2" fmla="*/ 40693 h 40692"/>
                    <a:gd name="connsiteX3" fmla="*/ 0 w 32529"/>
                    <a:gd name="connsiteY3" fmla="*/ 21853 h 40692"/>
                  </a:gdLst>
                  <a:ahLst/>
                  <a:cxnLst>
                    <a:cxn ang="0">
                      <a:pos x="connsiteX0" y="connsiteY0"/>
                    </a:cxn>
                    <a:cxn ang="0">
                      <a:pos x="connsiteX1" y="connsiteY1"/>
                    </a:cxn>
                    <a:cxn ang="0">
                      <a:pos x="connsiteX2" y="connsiteY2"/>
                    </a:cxn>
                    <a:cxn ang="0">
                      <a:pos x="connsiteX3" y="connsiteY3"/>
                    </a:cxn>
                  </a:cxnLst>
                  <a:rect l="l" t="t" r="r" b="b"/>
                  <a:pathLst>
                    <a:path w="32529" h="40692">
                      <a:moveTo>
                        <a:pt x="0" y="0"/>
                      </a:moveTo>
                      <a:lnTo>
                        <a:pt x="32529" y="18965"/>
                      </a:lnTo>
                      <a:lnTo>
                        <a:pt x="32529" y="40693"/>
                      </a:lnTo>
                      <a:lnTo>
                        <a:pt x="0" y="21853"/>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18" name="Freeform: Shape 2617">
                <a:extLst>
                  <a:ext uri="{FF2B5EF4-FFF2-40B4-BE49-F238E27FC236}">
                    <a16:creationId xmlns:a16="http://schemas.microsoft.com/office/drawing/2014/main" id="{A58E9E0D-71B5-4038-9FF3-71FAE4B8F874}"/>
                  </a:ext>
                </a:extLst>
              </p:cNvPr>
              <p:cNvSpPr/>
              <p:nvPr/>
            </p:nvSpPr>
            <p:spPr>
              <a:xfrm>
                <a:off x="4862783" y="3305253"/>
                <a:ext cx="11931" cy="33282"/>
              </a:xfrm>
              <a:custGeom>
                <a:avLst/>
                <a:gdLst>
                  <a:gd name="connsiteX0" fmla="*/ 0 w 11931"/>
                  <a:gd name="connsiteY0" fmla="*/ 0 h 33282"/>
                  <a:gd name="connsiteX1" fmla="*/ 11680 w 11931"/>
                  <a:gd name="connsiteY1" fmla="*/ 6531 h 33282"/>
                  <a:gd name="connsiteX2" fmla="*/ 11931 w 11931"/>
                  <a:gd name="connsiteY2" fmla="*/ 33283 h 33282"/>
                  <a:gd name="connsiteX3" fmla="*/ 0 w 11931"/>
                  <a:gd name="connsiteY3" fmla="*/ 26124 h 33282"/>
                </a:gdLst>
                <a:ahLst/>
                <a:cxnLst>
                  <a:cxn ang="0">
                    <a:pos x="connsiteX0" y="connsiteY0"/>
                  </a:cxn>
                  <a:cxn ang="0">
                    <a:pos x="connsiteX1" y="connsiteY1"/>
                  </a:cxn>
                  <a:cxn ang="0">
                    <a:pos x="connsiteX2" y="connsiteY2"/>
                  </a:cxn>
                  <a:cxn ang="0">
                    <a:pos x="connsiteX3" y="connsiteY3"/>
                  </a:cxn>
                </a:cxnLst>
                <a:rect l="l" t="t" r="r" b="b"/>
                <a:pathLst>
                  <a:path w="11931" h="33282">
                    <a:moveTo>
                      <a:pt x="0" y="0"/>
                    </a:moveTo>
                    <a:lnTo>
                      <a:pt x="11680" y="6531"/>
                    </a:lnTo>
                    <a:lnTo>
                      <a:pt x="11931" y="33283"/>
                    </a:lnTo>
                    <a:lnTo>
                      <a:pt x="0" y="26124"/>
                    </a:lnTo>
                    <a:close/>
                  </a:path>
                </a:pathLst>
              </a:custGeom>
              <a:solidFill>
                <a:srgbClr val="C2BFB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19" name="Graphic 4">
                <a:extLst>
                  <a:ext uri="{FF2B5EF4-FFF2-40B4-BE49-F238E27FC236}">
                    <a16:creationId xmlns:a16="http://schemas.microsoft.com/office/drawing/2014/main" id="{84FB7ED1-A2DF-40A1-A747-5F7CF3F14040}"/>
                  </a:ext>
                </a:extLst>
              </p:cNvPr>
              <p:cNvGrpSpPr/>
              <p:nvPr/>
            </p:nvGrpSpPr>
            <p:grpSpPr>
              <a:xfrm>
                <a:off x="4873709" y="3344062"/>
                <a:ext cx="25998" cy="29765"/>
                <a:chOff x="4873709" y="3344062"/>
                <a:chExt cx="25998" cy="29765"/>
              </a:xfrm>
              <a:solidFill>
                <a:srgbClr val="000000"/>
              </a:solidFill>
            </p:grpSpPr>
            <p:sp>
              <p:nvSpPr>
                <p:cNvPr id="2620" name="Freeform: Shape 2619">
                  <a:extLst>
                    <a:ext uri="{FF2B5EF4-FFF2-40B4-BE49-F238E27FC236}">
                      <a16:creationId xmlns:a16="http://schemas.microsoft.com/office/drawing/2014/main" id="{E17ABDCB-1726-4BBE-AB0B-F09F4E7C70EF}"/>
                    </a:ext>
                  </a:extLst>
                </p:cNvPr>
                <p:cNvSpPr/>
                <p:nvPr/>
              </p:nvSpPr>
              <p:spPr>
                <a:xfrm>
                  <a:off x="4873709" y="3344062"/>
                  <a:ext cx="1256" cy="15322"/>
                </a:xfrm>
                <a:custGeom>
                  <a:avLst/>
                  <a:gdLst>
                    <a:gd name="connsiteX0" fmla="*/ 0 w 1256"/>
                    <a:gd name="connsiteY0" fmla="*/ 0 h 15322"/>
                    <a:gd name="connsiteX1" fmla="*/ 1256 w 1256"/>
                    <a:gd name="connsiteY1" fmla="*/ 754 h 15322"/>
                    <a:gd name="connsiteX2" fmla="*/ 1256 w 1256"/>
                    <a:gd name="connsiteY2" fmla="*/ 15323 h 15322"/>
                    <a:gd name="connsiteX3" fmla="*/ 0 w 1256"/>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256" h="15322">
                      <a:moveTo>
                        <a:pt x="0" y="0"/>
                      </a:moveTo>
                      <a:lnTo>
                        <a:pt x="1256" y="754"/>
                      </a:lnTo>
                      <a:lnTo>
                        <a:pt x="1256"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1" name="Freeform: Shape 2620">
                  <a:extLst>
                    <a:ext uri="{FF2B5EF4-FFF2-40B4-BE49-F238E27FC236}">
                      <a16:creationId xmlns:a16="http://schemas.microsoft.com/office/drawing/2014/main" id="{41E17CA2-10B5-4F21-A6E8-49EE8062B07C}"/>
                    </a:ext>
                  </a:extLst>
                </p:cNvPr>
                <p:cNvSpPr/>
                <p:nvPr/>
              </p:nvSpPr>
              <p:spPr>
                <a:xfrm>
                  <a:off x="4876473" y="3345569"/>
                  <a:ext cx="1256" cy="15448"/>
                </a:xfrm>
                <a:custGeom>
                  <a:avLst/>
                  <a:gdLst>
                    <a:gd name="connsiteX0" fmla="*/ 0 w 1256"/>
                    <a:gd name="connsiteY0" fmla="*/ 0 h 15448"/>
                    <a:gd name="connsiteX1" fmla="*/ 1256 w 1256"/>
                    <a:gd name="connsiteY1" fmla="*/ 879 h 15448"/>
                    <a:gd name="connsiteX2" fmla="*/ 1256 w 1256"/>
                    <a:gd name="connsiteY2" fmla="*/ 15448 h 15448"/>
                    <a:gd name="connsiteX3" fmla="*/ 0 w 1256"/>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879"/>
                      </a:lnTo>
                      <a:lnTo>
                        <a:pt x="1256"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2" name="Freeform: Shape 2621">
                  <a:extLst>
                    <a:ext uri="{FF2B5EF4-FFF2-40B4-BE49-F238E27FC236}">
                      <a16:creationId xmlns:a16="http://schemas.microsoft.com/office/drawing/2014/main" id="{66C04713-57F2-481F-9251-4B9338F32D76}"/>
                    </a:ext>
                  </a:extLst>
                </p:cNvPr>
                <p:cNvSpPr/>
                <p:nvPr/>
              </p:nvSpPr>
              <p:spPr>
                <a:xfrm>
                  <a:off x="4879236" y="3347202"/>
                  <a:ext cx="1256" cy="15448"/>
                </a:xfrm>
                <a:custGeom>
                  <a:avLst/>
                  <a:gdLst>
                    <a:gd name="connsiteX0" fmla="*/ 0 w 1256"/>
                    <a:gd name="connsiteY0" fmla="*/ 0 h 15448"/>
                    <a:gd name="connsiteX1" fmla="*/ 1256 w 1256"/>
                    <a:gd name="connsiteY1" fmla="*/ 879 h 15448"/>
                    <a:gd name="connsiteX2" fmla="*/ 1256 w 1256"/>
                    <a:gd name="connsiteY2" fmla="*/ 15448 h 15448"/>
                    <a:gd name="connsiteX3" fmla="*/ 0 w 1256"/>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879"/>
                      </a:lnTo>
                      <a:lnTo>
                        <a:pt x="1256"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3" name="Freeform: Shape 2622">
                  <a:extLst>
                    <a:ext uri="{FF2B5EF4-FFF2-40B4-BE49-F238E27FC236}">
                      <a16:creationId xmlns:a16="http://schemas.microsoft.com/office/drawing/2014/main" id="{9D086F5A-9EA6-4598-8A86-4D8897BE1BB3}"/>
                    </a:ext>
                  </a:extLst>
                </p:cNvPr>
                <p:cNvSpPr/>
                <p:nvPr/>
              </p:nvSpPr>
              <p:spPr>
                <a:xfrm>
                  <a:off x="4881873" y="3348835"/>
                  <a:ext cx="1381" cy="15448"/>
                </a:xfrm>
                <a:custGeom>
                  <a:avLst/>
                  <a:gdLst>
                    <a:gd name="connsiteX0" fmla="*/ 0 w 1381"/>
                    <a:gd name="connsiteY0" fmla="*/ 0 h 15448"/>
                    <a:gd name="connsiteX1" fmla="*/ 1382 w 1381"/>
                    <a:gd name="connsiteY1" fmla="*/ 754 h 15448"/>
                    <a:gd name="connsiteX2" fmla="*/ 1382 w 1381"/>
                    <a:gd name="connsiteY2" fmla="*/ 15448 h 15448"/>
                    <a:gd name="connsiteX3" fmla="*/ 0 w 1381"/>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754"/>
                      </a:lnTo>
                      <a:lnTo>
                        <a:pt x="1382"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4" name="Freeform: Shape 2623">
                  <a:extLst>
                    <a:ext uri="{FF2B5EF4-FFF2-40B4-BE49-F238E27FC236}">
                      <a16:creationId xmlns:a16="http://schemas.microsoft.com/office/drawing/2014/main" id="{FC94DAF4-6557-41D9-83F8-4F4AF411694B}"/>
                    </a:ext>
                  </a:extLst>
                </p:cNvPr>
                <p:cNvSpPr/>
                <p:nvPr/>
              </p:nvSpPr>
              <p:spPr>
                <a:xfrm>
                  <a:off x="4884636" y="3350467"/>
                  <a:ext cx="1381" cy="15322"/>
                </a:xfrm>
                <a:custGeom>
                  <a:avLst/>
                  <a:gdLst>
                    <a:gd name="connsiteX0" fmla="*/ 0 w 1381"/>
                    <a:gd name="connsiteY0" fmla="*/ 0 h 15322"/>
                    <a:gd name="connsiteX1" fmla="*/ 1382 w 1381"/>
                    <a:gd name="connsiteY1" fmla="*/ 754 h 15322"/>
                    <a:gd name="connsiteX2" fmla="*/ 1382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2" y="754"/>
                      </a:lnTo>
                      <a:lnTo>
                        <a:pt x="1382"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5" name="Freeform: Shape 2624">
                  <a:extLst>
                    <a:ext uri="{FF2B5EF4-FFF2-40B4-BE49-F238E27FC236}">
                      <a16:creationId xmlns:a16="http://schemas.microsoft.com/office/drawing/2014/main" id="{59F8F859-E8DF-44BB-B822-074321F17DB1}"/>
                    </a:ext>
                  </a:extLst>
                </p:cNvPr>
                <p:cNvSpPr/>
                <p:nvPr/>
              </p:nvSpPr>
              <p:spPr>
                <a:xfrm>
                  <a:off x="4887399" y="3351975"/>
                  <a:ext cx="1381" cy="15448"/>
                </a:xfrm>
                <a:custGeom>
                  <a:avLst/>
                  <a:gdLst>
                    <a:gd name="connsiteX0" fmla="*/ 0 w 1381"/>
                    <a:gd name="connsiteY0" fmla="*/ 0 h 15448"/>
                    <a:gd name="connsiteX1" fmla="*/ 1382 w 1381"/>
                    <a:gd name="connsiteY1" fmla="*/ 879 h 15448"/>
                    <a:gd name="connsiteX2" fmla="*/ 1382 w 1381"/>
                    <a:gd name="connsiteY2" fmla="*/ 15448 h 15448"/>
                    <a:gd name="connsiteX3" fmla="*/ 0 w 1381"/>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879"/>
                      </a:lnTo>
                      <a:lnTo>
                        <a:pt x="1382"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6" name="Freeform: Shape 2625">
                  <a:extLst>
                    <a:ext uri="{FF2B5EF4-FFF2-40B4-BE49-F238E27FC236}">
                      <a16:creationId xmlns:a16="http://schemas.microsoft.com/office/drawing/2014/main" id="{0667598F-454A-40AA-9C2D-88B7F47D2086}"/>
                    </a:ext>
                  </a:extLst>
                </p:cNvPr>
                <p:cNvSpPr/>
                <p:nvPr/>
              </p:nvSpPr>
              <p:spPr>
                <a:xfrm>
                  <a:off x="4890162" y="3353607"/>
                  <a:ext cx="1381" cy="15448"/>
                </a:xfrm>
                <a:custGeom>
                  <a:avLst/>
                  <a:gdLst>
                    <a:gd name="connsiteX0" fmla="*/ 0 w 1381"/>
                    <a:gd name="connsiteY0" fmla="*/ 0 h 15448"/>
                    <a:gd name="connsiteX1" fmla="*/ 1382 w 1381"/>
                    <a:gd name="connsiteY1" fmla="*/ 754 h 15448"/>
                    <a:gd name="connsiteX2" fmla="*/ 1382 w 1381"/>
                    <a:gd name="connsiteY2" fmla="*/ 15448 h 15448"/>
                    <a:gd name="connsiteX3" fmla="*/ 0 w 1381"/>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754"/>
                      </a:lnTo>
                      <a:lnTo>
                        <a:pt x="1382"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7" name="Freeform: Shape 2626">
                  <a:extLst>
                    <a:ext uri="{FF2B5EF4-FFF2-40B4-BE49-F238E27FC236}">
                      <a16:creationId xmlns:a16="http://schemas.microsoft.com/office/drawing/2014/main" id="{BFB086C5-A9DA-4C9A-970C-F306D6F48735}"/>
                    </a:ext>
                  </a:extLst>
                </p:cNvPr>
                <p:cNvSpPr/>
                <p:nvPr/>
              </p:nvSpPr>
              <p:spPr>
                <a:xfrm>
                  <a:off x="4892925" y="3355240"/>
                  <a:ext cx="1256" cy="15322"/>
                </a:xfrm>
                <a:custGeom>
                  <a:avLst/>
                  <a:gdLst>
                    <a:gd name="connsiteX0" fmla="*/ 0 w 1256"/>
                    <a:gd name="connsiteY0" fmla="*/ 0 h 15322"/>
                    <a:gd name="connsiteX1" fmla="*/ 1256 w 1256"/>
                    <a:gd name="connsiteY1" fmla="*/ 754 h 15322"/>
                    <a:gd name="connsiteX2" fmla="*/ 1256 w 1256"/>
                    <a:gd name="connsiteY2" fmla="*/ 15323 h 15322"/>
                    <a:gd name="connsiteX3" fmla="*/ 0 w 1256"/>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256" h="15322">
                      <a:moveTo>
                        <a:pt x="0" y="0"/>
                      </a:moveTo>
                      <a:lnTo>
                        <a:pt x="1256" y="754"/>
                      </a:lnTo>
                      <a:lnTo>
                        <a:pt x="1256"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8" name="Freeform: Shape 2627">
                  <a:extLst>
                    <a:ext uri="{FF2B5EF4-FFF2-40B4-BE49-F238E27FC236}">
                      <a16:creationId xmlns:a16="http://schemas.microsoft.com/office/drawing/2014/main" id="{A66BBFBC-8558-45A9-9949-491CFB1D94EB}"/>
                    </a:ext>
                  </a:extLst>
                </p:cNvPr>
                <p:cNvSpPr/>
                <p:nvPr/>
              </p:nvSpPr>
              <p:spPr>
                <a:xfrm>
                  <a:off x="4895689" y="3356873"/>
                  <a:ext cx="1256" cy="15322"/>
                </a:xfrm>
                <a:custGeom>
                  <a:avLst/>
                  <a:gdLst>
                    <a:gd name="connsiteX0" fmla="*/ 0 w 1256"/>
                    <a:gd name="connsiteY0" fmla="*/ 0 h 15322"/>
                    <a:gd name="connsiteX1" fmla="*/ 1256 w 1256"/>
                    <a:gd name="connsiteY1" fmla="*/ 754 h 15322"/>
                    <a:gd name="connsiteX2" fmla="*/ 1256 w 1256"/>
                    <a:gd name="connsiteY2" fmla="*/ 15323 h 15322"/>
                    <a:gd name="connsiteX3" fmla="*/ 0 w 1256"/>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256" h="15322">
                      <a:moveTo>
                        <a:pt x="0" y="0"/>
                      </a:moveTo>
                      <a:lnTo>
                        <a:pt x="1256" y="754"/>
                      </a:lnTo>
                      <a:lnTo>
                        <a:pt x="1256"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9" name="Freeform: Shape 2628">
                  <a:extLst>
                    <a:ext uri="{FF2B5EF4-FFF2-40B4-BE49-F238E27FC236}">
                      <a16:creationId xmlns:a16="http://schemas.microsoft.com/office/drawing/2014/main" id="{64D01C3A-03BC-48E2-8764-507EDC478882}"/>
                    </a:ext>
                  </a:extLst>
                </p:cNvPr>
                <p:cNvSpPr/>
                <p:nvPr/>
              </p:nvSpPr>
              <p:spPr>
                <a:xfrm>
                  <a:off x="4898452" y="3358380"/>
                  <a:ext cx="1256" cy="15448"/>
                </a:xfrm>
                <a:custGeom>
                  <a:avLst/>
                  <a:gdLst>
                    <a:gd name="connsiteX0" fmla="*/ 0 w 1256"/>
                    <a:gd name="connsiteY0" fmla="*/ 0 h 15448"/>
                    <a:gd name="connsiteX1" fmla="*/ 1256 w 1256"/>
                    <a:gd name="connsiteY1" fmla="*/ 879 h 15448"/>
                    <a:gd name="connsiteX2" fmla="*/ 1256 w 1256"/>
                    <a:gd name="connsiteY2" fmla="*/ 15448 h 15448"/>
                    <a:gd name="connsiteX3" fmla="*/ 0 w 1256"/>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879"/>
                      </a:lnTo>
                      <a:lnTo>
                        <a:pt x="1256"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30" name="Graphic 4">
                <a:extLst>
                  <a:ext uri="{FF2B5EF4-FFF2-40B4-BE49-F238E27FC236}">
                    <a16:creationId xmlns:a16="http://schemas.microsoft.com/office/drawing/2014/main" id="{84FB7ED1-A2DF-40A1-A747-5F7CF3F14040}"/>
                  </a:ext>
                </a:extLst>
              </p:cNvPr>
              <p:cNvGrpSpPr/>
              <p:nvPr/>
            </p:nvGrpSpPr>
            <p:grpSpPr>
              <a:xfrm>
                <a:off x="4799609" y="3178528"/>
                <a:ext cx="283844" cy="166287"/>
                <a:chOff x="4799609" y="3178528"/>
                <a:chExt cx="283844" cy="166287"/>
              </a:xfrm>
              <a:solidFill>
                <a:schemeClr val="accent1"/>
              </a:solidFill>
            </p:grpSpPr>
            <p:sp>
              <p:nvSpPr>
                <p:cNvPr id="2631" name="Freeform: Shape 2630">
                  <a:extLst>
                    <a:ext uri="{FF2B5EF4-FFF2-40B4-BE49-F238E27FC236}">
                      <a16:creationId xmlns:a16="http://schemas.microsoft.com/office/drawing/2014/main" id="{9C7AF3FE-7A73-497D-B0F8-B3265BF09B34}"/>
                    </a:ext>
                  </a:extLst>
                </p:cNvPr>
                <p:cNvSpPr/>
                <p:nvPr/>
              </p:nvSpPr>
              <p:spPr>
                <a:xfrm>
                  <a:off x="4799609" y="3219849"/>
                  <a:ext cx="150964" cy="69830"/>
                </a:xfrm>
                <a:custGeom>
                  <a:avLst/>
                  <a:gdLst>
                    <a:gd name="connsiteX0" fmla="*/ 0 w 150964"/>
                    <a:gd name="connsiteY0" fmla="*/ 32278 h 69830"/>
                    <a:gd name="connsiteX1" fmla="*/ 30143 w 150964"/>
                    <a:gd name="connsiteY1" fmla="*/ 69831 h 69830"/>
                    <a:gd name="connsiteX2" fmla="*/ 150965 w 150964"/>
                    <a:gd name="connsiteY2" fmla="*/ 0 h 69830"/>
                    <a:gd name="connsiteX3" fmla="*/ 0 w 150964"/>
                    <a:gd name="connsiteY3" fmla="*/ 28510 h 69830"/>
                  </a:gdLst>
                  <a:ahLst/>
                  <a:cxnLst>
                    <a:cxn ang="0">
                      <a:pos x="connsiteX0" y="connsiteY0"/>
                    </a:cxn>
                    <a:cxn ang="0">
                      <a:pos x="connsiteX1" y="connsiteY1"/>
                    </a:cxn>
                    <a:cxn ang="0">
                      <a:pos x="connsiteX2" y="connsiteY2"/>
                    </a:cxn>
                    <a:cxn ang="0">
                      <a:pos x="connsiteX3" y="connsiteY3"/>
                    </a:cxn>
                  </a:cxnLst>
                  <a:rect l="l" t="t" r="r" b="b"/>
                  <a:pathLst>
                    <a:path w="150964" h="69830">
                      <a:moveTo>
                        <a:pt x="0" y="32278"/>
                      </a:moveTo>
                      <a:lnTo>
                        <a:pt x="30143" y="69831"/>
                      </a:lnTo>
                      <a:lnTo>
                        <a:pt x="150965" y="0"/>
                      </a:lnTo>
                      <a:lnTo>
                        <a:pt x="0" y="2851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2" name="Freeform: Shape 2631">
                  <a:extLst>
                    <a:ext uri="{FF2B5EF4-FFF2-40B4-BE49-F238E27FC236}">
                      <a16:creationId xmlns:a16="http://schemas.microsoft.com/office/drawing/2014/main" id="{BAE9A888-4BC9-4B47-BBA2-B99AF854A58D}"/>
                    </a:ext>
                  </a:extLst>
                </p:cNvPr>
                <p:cNvSpPr/>
                <p:nvPr/>
              </p:nvSpPr>
              <p:spPr>
                <a:xfrm>
                  <a:off x="4799609" y="3178528"/>
                  <a:ext cx="150964" cy="107258"/>
                </a:xfrm>
                <a:custGeom>
                  <a:avLst/>
                  <a:gdLst>
                    <a:gd name="connsiteX0" fmla="*/ 0 w 150964"/>
                    <a:gd name="connsiteY0" fmla="*/ 69831 h 107258"/>
                    <a:gd name="connsiteX1" fmla="*/ 30143 w 150964"/>
                    <a:gd name="connsiteY1" fmla="*/ 107258 h 107258"/>
                    <a:gd name="connsiteX2" fmla="*/ 150965 w 150964"/>
                    <a:gd name="connsiteY2" fmla="*/ 37553 h 107258"/>
                    <a:gd name="connsiteX3" fmla="*/ 120822 w 150964"/>
                    <a:gd name="connsiteY3" fmla="*/ 0 h 107258"/>
                  </a:gdLst>
                  <a:ahLst/>
                  <a:cxnLst>
                    <a:cxn ang="0">
                      <a:pos x="connsiteX0" y="connsiteY0"/>
                    </a:cxn>
                    <a:cxn ang="0">
                      <a:pos x="connsiteX1" y="connsiteY1"/>
                    </a:cxn>
                    <a:cxn ang="0">
                      <a:pos x="connsiteX2" y="connsiteY2"/>
                    </a:cxn>
                    <a:cxn ang="0">
                      <a:pos x="connsiteX3" y="connsiteY3"/>
                    </a:cxn>
                  </a:cxnLst>
                  <a:rect l="l" t="t" r="r" b="b"/>
                  <a:pathLst>
                    <a:path w="150964" h="107258">
                      <a:moveTo>
                        <a:pt x="0" y="69831"/>
                      </a:moveTo>
                      <a:lnTo>
                        <a:pt x="30143" y="107258"/>
                      </a:lnTo>
                      <a:lnTo>
                        <a:pt x="150965" y="37553"/>
                      </a:lnTo>
                      <a:lnTo>
                        <a:pt x="120822" y="0"/>
                      </a:lnTo>
                      <a:close/>
                    </a:path>
                  </a:pathLst>
                </a:custGeom>
                <a:solidFill>
                  <a:srgbClr val="FFDC9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3" name="Freeform: Shape 2632">
                  <a:extLst>
                    <a:ext uri="{FF2B5EF4-FFF2-40B4-BE49-F238E27FC236}">
                      <a16:creationId xmlns:a16="http://schemas.microsoft.com/office/drawing/2014/main" id="{A5395F30-4AC5-4B9F-A65A-2F841E8A8FAD}"/>
                    </a:ext>
                  </a:extLst>
                </p:cNvPr>
                <p:cNvSpPr/>
                <p:nvPr/>
              </p:nvSpPr>
              <p:spPr>
                <a:xfrm>
                  <a:off x="4911137" y="3263305"/>
                  <a:ext cx="172316" cy="81511"/>
                </a:xfrm>
                <a:custGeom>
                  <a:avLst/>
                  <a:gdLst>
                    <a:gd name="connsiteX0" fmla="*/ 172316 w 172316"/>
                    <a:gd name="connsiteY0" fmla="*/ 11680 h 81511"/>
                    <a:gd name="connsiteX1" fmla="*/ 120822 w 172316"/>
                    <a:gd name="connsiteY1" fmla="*/ 0 h 81511"/>
                    <a:gd name="connsiteX2" fmla="*/ 0 w 172316"/>
                    <a:gd name="connsiteY2" fmla="*/ 69705 h 81511"/>
                    <a:gd name="connsiteX3" fmla="*/ 51494 w 172316"/>
                    <a:gd name="connsiteY3" fmla="*/ 81511 h 81511"/>
                  </a:gdLst>
                  <a:ahLst/>
                  <a:cxnLst>
                    <a:cxn ang="0">
                      <a:pos x="connsiteX0" y="connsiteY0"/>
                    </a:cxn>
                    <a:cxn ang="0">
                      <a:pos x="connsiteX1" y="connsiteY1"/>
                    </a:cxn>
                    <a:cxn ang="0">
                      <a:pos x="connsiteX2" y="connsiteY2"/>
                    </a:cxn>
                    <a:cxn ang="0">
                      <a:pos x="connsiteX3" y="connsiteY3"/>
                    </a:cxn>
                  </a:cxnLst>
                  <a:rect l="l" t="t" r="r" b="b"/>
                  <a:pathLst>
                    <a:path w="172316" h="81511">
                      <a:moveTo>
                        <a:pt x="172316" y="11680"/>
                      </a:moveTo>
                      <a:lnTo>
                        <a:pt x="120822" y="0"/>
                      </a:lnTo>
                      <a:lnTo>
                        <a:pt x="0" y="69705"/>
                      </a:lnTo>
                      <a:lnTo>
                        <a:pt x="51494" y="81511"/>
                      </a:lnTo>
                      <a:close/>
                    </a:path>
                  </a:pathLst>
                </a:custGeom>
                <a:solidFill>
                  <a:srgbClr val="D6AC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34" name="Freeform: Shape 2633">
                <a:extLst>
                  <a:ext uri="{FF2B5EF4-FFF2-40B4-BE49-F238E27FC236}">
                    <a16:creationId xmlns:a16="http://schemas.microsoft.com/office/drawing/2014/main" id="{6A4C1BEC-5316-42E5-A9BF-D0D65277765A}"/>
                  </a:ext>
                </a:extLst>
              </p:cNvPr>
              <p:cNvSpPr/>
              <p:nvPr/>
            </p:nvSpPr>
            <p:spPr>
              <a:xfrm>
                <a:off x="4829751" y="3216081"/>
                <a:ext cx="202207" cy="116928"/>
              </a:xfrm>
              <a:custGeom>
                <a:avLst/>
                <a:gdLst>
                  <a:gd name="connsiteX0" fmla="*/ 120822 w 202207"/>
                  <a:gd name="connsiteY0" fmla="*/ 0 h 116928"/>
                  <a:gd name="connsiteX1" fmla="*/ 202208 w 202207"/>
                  <a:gd name="connsiteY1" fmla="*/ 47224 h 116928"/>
                  <a:gd name="connsiteX2" fmla="*/ 81386 w 202207"/>
                  <a:gd name="connsiteY2" fmla="*/ 116929 h 116928"/>
                  <a:gd name="connsiteX3" fmla="*/ 0 w 202207"/>
                  <a:gd name="connsiteY3" fmla="*/ 69705 h 116928"/>
                </a:gdLst>
                <a:ahLst/>
                <a:cxnLst>
                  <a:cxn ang="0">
                    <a:pos x="connsiteX0" y="connsiteY0"/>
                  </a:cxn>
                  <a:cxn ang="0">
                    <a:pos x="connsiteX1" y="connsiteY1"/>
                  </a:cxn>
                  <a:cxn ang="0">
                    <a:pos x="connsiteX2" y="connsiteY2"/>
                  </a:cxn>
                  <a:cxn ang="0">
                    <a:pos x="connsiteX3" y="connsiteY3"/>
                  </a:cxn>
                </a:cxnLst>
                <a:rect l="l" t="t" r="r" b="b"/>
                <a:pathLst>
                  <a:path w="202207" h="116928">
                    <a:moveTo>
                      <a:pt x="120822" y="0"/>
                    </a:moveTo>
                    <a:lnTo>
                      <a:pt x="202208" y="47224"/>
                    </a:lnTo>
                    <a:lnTo>
                      <a:pt x="81386" y="116929"/>
                    </a:lnTo>
                    <a:lnTo>
                      <a:pt x="0" y="69705"/>
                    </a:lnTo>
                    <a:close/>
                  </a:path>
                </a:pathLst>
              </a:custGeom>
              <a:solidFill>
                <a:srgbClr val="EBC26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5" name="Freeform: Shape 2634">
                <a:extLst>
                  <a:ext uri="{FF2B5EF4-FFF2-40B4-BE49-F238E27FC236}">
                    <a16:creationId xmlns:a16="http://schemas.microsoft.com/office/drawing/2014/main" id="{85B5B459-1208-4106-AF9D-8804AB20A358}"/>
                  </a:ext>
                </a:extLst>
              </p:cNvPr>
              <p:cNvSpPr/>
              <p:nvPr/>
            </p:nvSpPr>
            <p:spPr>
              <a:xfrm>
                <a:off x="4839422" y="3221733"/>
                <a:ext cx="182866" cy="105750"/>
              </a:xfrm>
              <a:custGeom>
                <a:avLst/>
                <a:gdLst>
                  <a:gd name="connsiteX0" fmla="*/ 0 w 182866"/>
                  <a:gd name="connsiteY0" fmla="*/ 64053 h 105750"/>
                  <a:gd name="connsiteX1" fmla="*/ 45717 w 182866"/>
                  <a:gd name="connsiteY1" fmla="*/ 90554 h 105750"/>
                  <a:gd name="connsiteX2" fmla="*/ 71715 w 182866"/>
                  <a:gd name="connsiteY2" fmla="*/ 105751 h 105750"/>
                  <a:gd name="connsiteX3" fmla="*/ 111151 w 182866"/>
                  <a:gd name="connsiteY3" fmla="*/ 83018 h 105750"/>
                  <a:gd name="connsiteX4" fmla="*/ 135140 w 182866"/>
                  <a:gd name="connsiteY4" fmla="*/ 69077 h 105750"/>
                  <a:gd name="connsiteX5" fmla="*/ 182866 w 182866"/>
                  <a:gd name="connsiteY5" fmla="*/ 41572 h 105750"/>
                  <a:gd name="connsiteX6" fmla="*/ 111151 w 182866"/>
                  <a:gd name="connsiteY6" fmla="*/ 0 h 10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66" h="105750">
                    <a:moveTo>
                      <a:pt x="0" y="64053"/>
                    </a:moveTo>
                    <a:lnTo>
                      <a:pt x="45717" y="90554"/>
                    </a:lnTo>
                    <a:lnTo>
                      <a:pt x="71715" y="105751"/>
                    </a:lnTo>
                    <a:lnTo>
                      <a:pt x="111151" y="83018"/>
                    </a:lnTo>
                    <a:lnTo>
                      <a:pt x="135140" y="69077"/>
                    </a:lnTo>
                    <a:lnTo>
                      <a:pt x="182866" y="41572"/>
                    </a:lnTo>
                    <a:lnTo>
                      <a:pt x="111151" y="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6" name="Freeform: Shape 2635">
                <a:extLst>
                  <a:ext uri="{FF2B5EF4-FFF2-40B4-BE49-F238E27FC236}">
                    <a16:creationId xmlns:a16="http://schemas.microsoft.com/office/drawing/2014/main" id="{D85434B4-A4FC-494B-8E1B-F18DF121D198}"/>
                  </a:ext>
                </a:extLst>
              </p:cNvPr>
              <p:cNvSpPr/>
              <p:nvPr/>
            </p:nvSpPr>
            <p:spPr>
              <a:xfrm>
                <a:off x="4839422" y="3221733"/>
                <a:ext cx="111151" cy="105750"/>
              </a:xfrm>
              <a:custGeom>
                <a:avLst/>
                <a:gdLst>
                  <a:gd name="connsiteX0" fmla="*/ 0 w 111151"/>
                  <a:gd name="connsiteY0" fmla="*/ 64053 h 105750"/>
                  <a:gd name="connsiteX1" fmla="*/ 45717 w 111151"/>
                  <a:gd name="connsiteY1" fmla="*/ 90554 h 105750"/>
                  <a:gd name="connsiteX2" fmla="*/ 71715 w 111151"/>
                  <a:gd name="connsiteY2" fmla="*/ 105751 h 105750"/>
                  <a:gd name="connsiteX3" fmla="*/ 111151 w 111151"/>
                  <a:gd name="connsiteY3" fmla="*/ 83018 h 105750"/>
                  <a:gd name="connsiteX4" fmla="*/ 111151 w 111151"/>
                  <a:gd name="connsiteY4" fmla="*/ 0 h 10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51" h="105750">
                    <a:moveTo>
                      <a:pt x="0" y="64053"/>
                    </a:moveTo>
                    <a:lnTo>
                      <a:pt x="45717" y="90554"/>
                    </a:lnTo>
                    <a:lnTo>
                      <a:pt x="71715" y="105751"/>
                    </a:lnTo>
                    <a:lnTo>
                      <a:pt x="111151" y="83018"/>
                    </a:lnTo>
                    <a:lnTo>
                      <a:pt x="111151" y="0"/>
                    </a:lnTo>
                    <a:close/>
                  </a:path>
                </a:pathLst>
              </a:custGeom>
              <a:solidFill>
                <a:srgbClr val="C997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7" name="Freeform: Shape 2636">
                <a:extLst>
                  <a:ext uri="{FF2B5EF4-FFF2-40B4-BE49-F238E27FC236}">
                    <a16:creationId xmlns:a16="http://schemas.microsoft.com/office/drawing/2014/main" id="{18605D66-F6B6-4872-8399-0469A7031C63}"/>
                  </a:ext>
                </a:extLst>
              </p:cNvPr>
              <p:cNvSpPr/>
              <p:nvPr/>
            </p:nvSpPr>
            <p:spPr>
              <a:xfrm>
                <a:off x="4876473" y="3270715"/>
                <a:ext cx="98089" cy="56768"/>
              </a:xfrm>
              <a:custGeom>
                <a:avLst/>
                <a:gdLst>
                  <a:gd name="connsiteX0" fmla="*/ 0 w 98089"/>
                  <a:gd name="connsiteY0" fmla="*/ 36548 h 56768"/>
                  <a:gd name="connsiteX1" fmla="*/ 8666 w 98089"/>
                  <a:gd name="connsiteY1" fmla="*/ 41572 h 56768"/>
                  <a:gd name="connsiteX2" fmla="*/ 34664 w 98089"/>
                  <a:gd name="connsiteY2" fmla="*/ 56769 h 56768"/>
                  <a:gd name="connsiteX3" fmla="*/ 74101 w 98089"/>
                  <a:gd name="connsiteY3" fmla="*/ 34036 h 56768"/>
                  <a:gd name="connsiteX4" fmla="*/ 98090 w 98089"/>
                  <a:gd name="connsiteY4" fmla="*/ 20095 h 56768"/>
                  <a:gd name="connsiteX5" fmla="*/ 74101 w 98089"/>
                  <a:gd name="connsiteY5" fmla="*/ 6280 h 56768"/>
                  <a:gd name="connsiteX6" fmla="*/ 63300 w 98089"/>
                  <a:gd name="connsiteY6" fmla="*/ 0 h 56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89" h="56768">
                    <a:moveTo>
                      <a:pt x="0" y="36548"/>
                    </a:moveTo>
                    <a:lnTo>
                      <a:pt x="8666" y="41572"/>
                    </a:lnTo>
                    <a:lnTo>
                      <a:pt x="34664" y="56769"/>
                    </a:lnTo>
                    <a:lnTo>
                      <a:pt x="74101" y="34036"/>
                    </a:lnTo>
                    <a:lnTo>
                      <a:pt x="98090" y="20095"/>
                    </a:lnTo>
                    <a:lnTo>
                      <a:pt x="74101" y="6280"/>
                    </a:lnTo>
                    <a:lnTo>
                      <a:pt x="63300" y="0"/>
                    </a:lnTo>
                    <a:close/>
                  </a:path>
                </a:pathLst>
              </a:custGeom>
              <a:solidFill>
                <a:srgbClr val="B3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8" name="Freeform: Shape 2637">
                <a:extLst>
                  <a:ext uri="{FF2B5EF4-FFF2-40B4-BE49-F238E27FC236}">
                    <a16:creationId xmlns:a16="http://schemas.microsoft.com/office/drawing/2014/main" id="{D4119128-5277-4F03-9D87-87F502593ED7}"/>
                  </a:ext>
                </a:extLst>
              </p:cNvPr>
              <p:cNvSpPr/>
              <p:nvPr/>
            </p:nvSpPr>
            <p:spPr>
              <a:xfrm>
                <a:off x="4911137" y="3333010"/>
                <a:ext cx="51493" cy="15573"/>
              </a:xfrm>
              <a:custGeom>
                <a:avLst/>
                <a:gdLst>
                  <a:gd name="connsiteX0" fmla="*/ 51494 w 51493"/>
                  <a:gd name="connsiteY0" fmla="*/ 11806 h 15573"/>
                  <a:gd name="connsiteX1" fmla="*/ 51494 w 51493"/>
                  <a:gd name="connsiteY1" fmla="*/ 15574 h 15573"/>
                  <a:gd name="connsiteX2" fmla="*/ 0 w 51493"/>
                  <a:gd name="connsiteY2" fmla="*/ 3893 h 15573"/>
                  <a:gd name="connsiteX3" fmla="*/ 0 w 51493"/>
                  <a:gd name="connsiteY3" fmla="*/ 0 h 15573"/>
                </a:gdLst>
                <a:ahLst/>
                <a:cxnLst>
                  <a:cxn ang="0">
                    <a:pos x="connsiteX0" y="connsiteY0"/>
                  </a:cxn>
                  <a:cxn ang="0">
                    <a:pos x="connsiteX1" y="connsiteY1"/>
                  </a:cxn>
                  <a:cxn ang="0">
                    <a:pos x="connsiteX2" y="connsiteY2"/>
                  </a:cxn>
                  <a:cxn ang="0">
                    <a:pos x="connsiteX3" y="connsiteY3"/>
                  </a:cxn>
                </a:cxnLst>
                <a:rect l="l" t="t" r="r" b="b"/>
                <a:pathLst>
                  <a:path w="51493" h="15573">
                    <a:moveTo>
                      <a:pt x="51494" y="11806"/>
                    </a:moveTo>
                    <a:lnTo>
                      <a:pt x="51494" y="15574"/>
                    </a:lnTo>
                    <a:lnTo>
                      <a:pt x="0" y="3893"/>
                    </a:lnTo>
                    <a:lnTo>
                      <a:pt x="0" y="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639" name="Graphic 4">
            <a:extLst>
              <a:ext uri="{FF2B5EF4-FFF2-40B4-BE49-F238E27FC236}">
                <a16:creationId xmlns:a16="http://schemas.microsoft.com/office/drawing/2014/main" id="{84FB7ED1-A2DF-40A1-A747-5F7CF3F14040}"/>
              </a:ext>
            </a:extLst>
          </p:cNvPr>
          <p:cNvGrpSpPr/>
          <p:nvPr/>
        </p:nvGrpSpPr>
        <p:grpSpPr>
          <a:xfrm>
            <a:off x="5165592" y="3398962"/>
            <a:ext cx="519083" cy="698543"/>
            <a:chOff x="5165592" y="3398962"/>
            <a:chExt cx="519083" cy="698543"/>
          </a:xfrm>
          <a:solidFill>
            <a:schemeClr val="accent1"/>
          </a:solidFill>
        </p:grpSpPr>
        <p:sp>
          <p:nvSpPr>
            <p:cNvPr id="2640" name="Freeform: Shape 2639">
              <a:extLst>
                <a:ext uri="{FF2B5EF4-FFF2-40B4-BE49-F238E27FC236}">
                  <a16:creationId xmlns:a16="http://schemas.microsoft.com/office/drawing/2014/main" id="{B012BAE2-8D50-49C0-B855-213DEF316285}"/>
                </a:ext>
              </a:extLst>
            </p:cNvPr>
            <p:cNvSpPr/>
            <p:nvPr/>
          </p:nvSpPr>
          <p:spPr>
            <a:xfrm>
              <a:off x="5401333" y="3558076"/>
              <a:ext cx="68323" cy="72719"/>
            </a:xfrm>
            <a:custGeom>
              <a:avLst/>
              <a:gdLst>
                <a:gd name="connsiteX0" fmla="*/ 20723 w 68323"/>
                <a:gd name="connsiteY0" fmla="*/ 0 h 72719"/>
                <a:gd name="connsiteX1" fmla="*/ 27129 w 68323"/>
                <a:gd name="connsiteY1" fmla="*/ 26626 h 72719"/>
                <a:gd name="connsiteX2" fmla="*/ 68324 w 68323"/>
                <a:gd name="connsiteY2" fmla="*/ 66565 h 72719"/>
                <a:gd name="connsiteX3" fmla="*/ 52122 w 68323"/>
                <a:gd name="connsiteY3" fmla="*/ 72719 h 72719"/>
                <a:gd name="connsiteX4" fmla="*/ 4396 w 68323"/>
                <a:gd name="connsiteY4" fmla="*/ 41321 h 72719"/>
                <a:gd name="connsiteX5" fmla="*/ 0 w 68323"/>
                <a:gd name="connsiteY5" fmla="*/ 0 h 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323" h="72719">
                  <a:moveTo>
                    <a:pt x="20723" y="0"/>
                  </a:moveTo>
                  <a:lnTo>
                    <a:pt x="27129" y="26626"/>
                  </a:lnTo>
                  <a:lnTo>
                    <a:pt x="68324" y="66565"/>
                  </a:lnTo>
                  <a:lnTo>
                    <a:pt x="52122" y="72719"/>
                  </a:lnTo>
                  <a:lnTo>
                    <a:pt x="4396" y="41321"/>
                  </a:lnTo>
                  <a:lnTo>
                    <a:pt x="0" y="0"/>
                  </a:lnTo>
                  <a:close/>
                </a:path>
              </a:pathLst>
            </a:custGeom>
            <a:solidFill>
              <a:srgbClr val="FFC5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41" name="Graphic 4">
              <a:extLst>
                <a:ext uri="{FF2B5EF4-FFF2-40B4-BE49-F238E27FC236}">
                  <a16:creationId xmlns:a16="http://schemas.microsoft.com/office/drawing/2014/main" id="{84FB7ED1-A2DF-40A1-A747-5F7CF3F14040}"/>
                </a:ext>
              </a:extLst>
            </p:cNvPr>
            <p:cNvGrpSpPr/>
            <p:nvPr/>
          </p:nvGrpSpPr>
          <p:grpSpPr>
            <a:xfrm>
              <a:off x="5270589" y="3398962"/>
              <a:ext cx="178186" cy="519081"/>
              <a:chOff x="5270589" y="3398962"/>
              <a:chExt cx="178186" cy="519081"/>
            </a:xfrm>
            <a:solidFill>
              <a:schemeClr val="accent1"/>
            </a:solidFill>
          </p:grpSpPr>
          <p:sp>
            <p:nvSpPr>
              <p:cNvPr id="2642" name="Freeform: Shape 2641">
                <a:extLst>
                  <a:ext uri="{FF2B5EF4-FFF2-40B4-BE49-F238E27FC236}">
                    <a16:creationId xmlns:a16="http://schemas.microsoft.com/office/drawing/2014/main" id="{66091948-446A-4A27-8AF4-51B161A08101}"/>
                  </a:ext>
                </a:extLst>
              </p:cNvPr>
              <p:cNvSpPr/>
              <p:nvPr/>
            </p:nvSpPr>
            <p:spPr>
              <a:xfrm>
                <a:off x="5379354" y="3878468"/>
                <a:ext cx="69421" cy="39575"/>
              </a:xfrm>
              <a:custGeom>
                <a:avLst/>
                <a:gdLst>
                  <a:gd name="connsiteX0" fmla="*/ 36799 w 69421"/>
                  <a:gd name="connsiteY0" fmla="*/ 1633 h 39575"/>
                  <a:gd name="connsiteX1" fmla="*/ 50991 w 69421"/>
                  <a:gd name="connsiteY1" fmla="*/ 16076 h 39575"/>
                  <a:gd name="connsiteX2" fmla="*/ 67695 w 69421"/>
                  <a:gd name="connsiteY2" fmla="*/ 32278 h 39575"/>
                  <a:gd name="connsiteX3" fmla="*/ 60662 w 69421"/>
                  <a:gd name="connsiteY3" fmla="*/ 39562 h 39575"/>
                  <a:gd name="connsiteX4" fmla="*/ 29891 w 69421"/>
                  <a:gd name="connsiteY4" fmla="*/ 32906 h 39575"/>
                  <a:gd name="connsiteX5" fmla="*/ 6782 w 69421"/>
                  <a:gd name="connsiteY5" fmla="*/ 20849 h 39575"/>
                  <a:gd name="connsiteX6" fmla="*/ 0 w 69421"/>
                  <a:gd name="connsiteY6" fmla="*/ 12183 h 39575"/>
                  <a:gd name="connsiteX7" fmla="*/ 0 w 69421"/>
                  <a:gd name="connsiteY7" fmla="*/ 0 h 39575"/>
                  <a:gd name="connsiteX8" fmla="*/ 36799 w 69421"/>
                  <a:gd name="connsiteY8" fmla="*/ 1633 h 3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21" h="39575">
                    <a:moveTo>
                      <a:pt x="36799" y="1633"/>
                    </a:moveTo>
                    <a:cubicBezTo>
                      <a:pt x="36799" y="1633"/>
                      <a:pt x="42828" y="8164"/>
                      <a:pt x="50991" y="16076"/>
                    </a:cubicBezTo>
                    <a:cubicBezTo>
                      <a:pt x="58527" y="23361"/>
                      <a:pt x="60788" y="25496"/>
                      <a:pt x="67695" y="32278"/>
                    </a:cubicBezTo>
                    <a:cubicBezTo>
                      <a:pt x="71715" y="36297"/>
                      <a:pt x="68449" y="39814"/>
                      <a:pt x="60662" y="39562"/>
                    </a:cubicBezTo>
                    <a:cubicBezTo>
                      <a:pt x="53880" y="39311"/>
                      <a:pt x="38432" y="36046"/>
                      <a:pt x="29891" y="32906"/>
                    </a:cubicBezTo>
                    <a:cubicBezTo>
                      <a:pt x="23737" y="30771"/>
                      <a:pt x="12559" y="24491"/>
                      <a:pt x="6782" y="20849"/>
                    </a:cubicBezTo>
                    <a:cubicBezTo>
                      <a:pt x="1005" y="17207"/>
                      <a:pt x="0" y="12183"/>
                      <a:pt x="0" y="12183"/>
                    </a:cubicBezTo>
                    <a:lnTo>
                      <a:pt x="0" y="0"/>
                    </a:lnTo>
                    <a:lnTo>
                      <a:pt x="36799" y="1633"/>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3" name="Freeform: Shape 2642">
                <a:extLst>
                  <a:ext uri="{FF2B5EF4-FFF2-40B4-BE49-F238E27FC236}">
                    <a16:creationId xmlns:a16="http://schemas.microsoft.com/office/drawing/2014/main" id="{937C1429-BE3E-49F5-96C0-9297319BAE9E}"/>
                  </a:ext>
                </a:extLst>
              </p:cNvPr>
              <p:cNvSpPr/>
              <p:nvPr/>
            </p:nvSpPr>
            <p:spPr>
              <a:xfrm>
                <a:off x="5270589" y="3862141"/>
                <a:ext cx="64188" cy="46980"/>
              </a:xfrm>
              <a:custGeom>
                <a:avLst/>
                <a:gdLst>
                  <a:gd name="connsiteX0" fmla="*/ 34915 w 64188"/>
                  <a:gd name="connsiteY0" fmla="*/ 7159 h 46980"/>
                  <a:gd name="connsiteX1" fmla="*/ 46847 w 64188"/>
                  <a:gd name="connsiteY1" fmla="*/ 20723 h 46980"/>
                  <a:gd name="connsiteX2" fmla="*/ 63174 w 64188"/>
                  <a:gd name="connsiteY2" fmla="*/ 39562 h 46980"/>
                  <a:gd name="connsiteX3" fmla="*/ 57899 w 64188"/>
                  <a:gd name="connsiteY3" fmla="*/ 46972 h 46980"/>
                  <a:gd name="connsiteX4" fmla="*/ 32152 w 64188"/>
                  <a:gd name="connsiteY4" fmla="*/ 40693 h 46980"/>
                  <a:gd name="connsiteX5" fmla="*/ 8289 w 64188"/>
                  <a:gd name="connsiteY5" fmla="*/ 23612 h 46980"/>
                  <a:gd name="connsiteX6" fmla="*/ 0 w 64188"/>
                  <a:gd name="connsiteY6" fmla="*/ 11931 h 46980"/>
                  <a:gd name="connsiteX7" fmla="*/ 3893 w 64188"/>
                  <a:gd name="connsiteY7" fmla="*/ 0 h 46980"/>
                  <a:gd name="connsiteX8" fmla="*/ 34915 w 64188"/>
                  <a:gd name="connsiteY8" fmla="*/ 7159 h 4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188" h="46980">
                    <a:moveTo>
                      <a:pt x="34915" y="7159"/>
                    </a:moveTo>
                    <a:cubicBezTo>
                      <a:pt x="34915" y="7159"/>
                      <a:pt x="38809" y="12811"/>
                      <a:pt x="46847" y="20723"/>
                    </a:cubicBezTo>
                    <a:cubicBezTo>
                      <a:pt x="54382" y="28008"/>
                      <a:pt x="56518" y="30896"/>
                      <a:pt x="63174" y="39562"/>
                    </a:cubicBezTo>
                    <a:cubicBezTo>
                      <a:pt x="64681" y="41572"/>
                      <a:pt x="65561" y="47224"/>
                      <a:pt x="57899" y="46972"/>
                    </a:cubicBezTo>
                    <a:cubicBezTo>
                      <a:pt x="51117" y="46721"/>
                      <a:pt x="40693" y="43832"/>
                      <a:pt x="32152" y="40693"/>
                    </a:cubicBezTo>
                    <a:cubicBezTo>
                      <a:pt x="22356" y="37176"/>
                      <a:pt x="14067" y="27254"/>
                      <a:pt x="8289" y="23612"/>
                    </a:cubicBezTo>
                    <a:cubicBezTo>
                      <a:pt x="2512" y="19970"/>
                      <a:pt x="0" y="11931"/>
                      <a:pt x="0" y="11931"/>
                    </a:cubicBezTo>
                    <a:lnTo>
                      <a:pt x="3893" y="0"/>
                    </a:lnTo>
                    <a:lnTo>
                      <a:pt x="34915" y="7159"/>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4" name="Freeform: Shape 2643">
                <a:extLst>
                  <a:ext uri="{FF2B5EF4-FFF2-40B4-BE49-F238E27FC236}">
                    <a16:creationId xmlns:a16="http://schemas.microsoft.com/office/drawing/2014/main" id="{3B42F8D5-C206-4D02-ACE0-6433717C080E}"/>
                  </a:ext>
                </a:extLst>
              </p:cNvPr>
              <p:cNvSpPr/>
              <p:nvPr/>
            </p:nvSpPr>
            <p:spPr>
              <a:xfrm>
                <a:off x="5274361" y="3598365"/>
                <a:ext cx="149210" cy="292412"/>
              </a:xfrm>
              <a:custGeom>
                <a:avLst/>
                <a:gdLst>
                  <a:gd name="connsiteX0" fmla="*/ 34284 w 149210"/>
                  <a:gd name="connsiteY0" fmla="*/ 73500 h 292412"/>
                  <a:gd name="connsiteX1" fmla="*/ 56011 w 149210"/>
                  <a:gd name="connsiteY1" fmla="*/ 5427 h 292412"/>
                  <a:gd name="connsiteX2" fmla="*/ 123833 w 149210"/>
                  <a:gd name="connsiteY2" fmla="*/ 11456 h 292412"/>
                  <a:gd name="connsiteX3" fmla="*/ 145059 w 149210"/>
                  <a:gd name="connsiteY3" fmla="*/ 134916 h 292412"/>
                  <a:gd name="connsiteX4" fmla="*/ 147947 w 149210"/>
                  <a:gd name="connsiteY4" fmla="*/ 281987 h 292412"/>
                  <a:gd name="connsiteX5" fmla="*/ 128982 w 149210"/>
                  <a:gd name="connsiteY5" fmla="*/ 292412 h 292412"/>
                  <a:gd name="connsiteX6" fmla="*/ 104994 w 149210"/>
                  <a:gd name="connsiteY6" fmla="*/ 280229 h 292412"/>
                  <a:gd name="connsiteX7" fmla="*/ 103612 w 149210"/>
                  <a:gd name="connsiteY7" fmla="*/ 168073 h 292412"/>
                  <a:gd name="connsiteX8" fmla="*/ 87536 w 149210"/>
                  <a:gd name="connsiteY8" fmla="*/ 88446 h 292412"/>
                  <a:gd name="connsiteX9" fmla="*/ 67190 w 149210"/>
                  <a:gd name="connsiteY9" fmla="*/ 176362 h 292412"/>
                  <a:gd name="connsiteX10" fmla="*/ 42071 w 149210"/>
                  <a:gd name="connsiteY10" fmla="*/ 274075 h 292412"/>
                  <a:gd name="connsiteX11" fmla="*/ 13184 w 149210"/>
                  <a:gd name="connsiteY11" fmla="*/ 280857 h 292412"/>
                  <a:gd name="connsiteX12" fmla="*/ 248 w 149210"/>
                  <a:gd name="connsiteY12" fmla="*/ 263901 h 292412"/>
                  <a:gd name="connsiteX13" fmla="*/ 23985 w 149210"/>
                  <a:gd name="connsiteY13" fmla="*/ 165686 h 292412"/>
                  <a:gd name="connsiteX14" fmla="*/ 34284 w 149210"/>
                  <a:gd name="connsiteY14" fmla="*/ 73500 h 29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9210" h="292412">
                    <a:moveTo>
                      <a:pt x="34284" y="73500"/>
                    </a:moveTo>
                    <a:cubicBezTo>
                      <a:pt x="31395" y="28788"/>
                      <a:pt x="56011" y="5427"/>
                      <a:pt x="56011" y="5427"/>
                    </a:cubicBezTo>
                    <a:cubicBezTo>
                      <a:pt x="54002" y="-9644"/>
                      <a:pt x="123833" y="11456"/>
                      <a:pt x="123833" y="11456"/>
                    </a:cubicBezTo>
                    <a:cubicBezTo>
                      <a:pt x="123833" y="11456"/>
                      <a:pt x="138779" y="92339"/>
                      <a:pt x="145059" y="134916"/>
                    </a:cubicBezTo>
                    <a:cubicBezTo>
                      <a:pt x="152217" y="183270"/>
                      <a:pt x="147947" y="281987"/>
                      <a:pt x="147947" y="281987"/>
                    </a:cubicBezTo>
                    <a:cubicBezTo>
                      <a:pt x="147947" y="281987"/>
                      <a:pt x="147068" y="292537"/>
                      <a:pt x="128982" y="292412"/>
                    </a:cubicBezTo>
                    <a:cubicBezTo>
                      <a:pt x="115167" y="292412"/>
                      <a:pt x="104994" y="280229"/>
                      <a:pt x="104994" y="280229"/>
                    </a:cubicBezTo>
                    <a:lnTo>
                      <a:pt x="103612" y="168073"/>
                    </a:lnTo>
                    <a:lnTo>
                      <a:pt x="87536" y="88446"/>
                    </a:lnTo>
                    <a:cubicBezTo>
                      <a:pt x="87536" y="88446"/>
                      <a:pt x="72088" y="153127"/>
                      <a:pt x="67190" y="176362"/>
                    </a:cubicBezTo>
                    <a:cubicBezTo>
                      <a:pt x="62040" y="201104"/>
                      <a:pt x="42071" y="274075"/>
                      <a:pt x="42071" y="274075"/>
                    </a:cubicBezTo>
                    <a:cubicBezTo>
                      <a:pt x="42071" y="274075"/>
                      <a:pt x="29134" y="288895"/>
                      <a:pt x="13184" y="280857"/>
                    </a:cubicBezTo>
                    <a:cubicBezTo>
                      <a:pt x="-2892" y="272819"/>
                      <a:pt x="248" y="263901"/>
                      <a:pt x="248" y="263901"/>
                    </a:cubicBezTo>
                    <a:cubicBezTo>
                      <a:pt x="248" y="263901"/>
                      <a:pt x="3388" y="212031"/>
                      <a:pt x="23985" y="165686"/>
                    </a:cubicBezTo>
                    <a:cubicBezTo>
                      <a:pt x="25743" y="130394"/>
                      <a:pt x="35540" y="93972"/>
                      <a:pt x="34284" y="73500"/>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5" name="Freeform: Shape 2644">
                <a:extLst>
                  <a:ext uri="{FF2B5EF4-FFF2-40B4-BE49-F238E27FC236}">
                    <a16:creationId xmlns:a16="http://schemas.microsoft.com/office/drawing/2014/main" id="{FD957658-ED60-4659-B37C-520D48003A13}"/>
                  </a:ext>
                </a:extLst>
              </p:cNvPr>
              <p:cNvSpPr/>
              <p:nvPr/>
            </p:nvSpPr>
            <p:spPr>
              <a:xfrm>
                <a:off x="5378146" y="3492514"/>
                <a:ext cx="43910" cy="75986"/>
              </a:xfrm>
              <a:custGeom>
                <a:avLst/>
                <a:gdLst>
                  <a:gd name="connsiteX0" fmla="*/ 10502 w 43910"/>
                  <a:gd name="connsiteY0" fmla="*/ 1 h 75986"/>
                  <a:gd name="connsiteX1" fmla="*/ 30848 w 43910"/>
                  <a:gd name="connsiteY1" fmla="*/ 18840 h 75986"/>
                  <a:gd name="connsiteX2" fmla="*/ 43910 w 43910"/>
                  <a:gd name="connsiteY2" fmla="*/ 65562 h 75986"/>
                  <a:gd name="connsiteX3" fmla="*/ 19671 w 43910"/>
                  <a:gd name="connsiteY3" fmla="*/ 75986 h 75986"/>
                  <a:gd name="connsiteX4" fmla="*/ 10502 w 43910"/>
                  <a:gd name="connsiteY4" fmla="*/ 1 h 75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0" h="75986">
                    <a:moveTo>
                      <a:pt x="10502" y="1"/>
                    </a:moveTo>
                    <a:cubicBezTo>
                      <a:pt x="10502" y="1"/>
                      <a:pt x="20424" y="-501"/>
                      <a:pt x="30848" y="18840"/>
                    </a:cubicBezTo>
                    <a:cubicBezTo>
                      <a:pt x="41147" y="38182"/>
                      <a:pt x="43910" y="65562"/>
                      <a:pt x="43910" y="65562"/>
                    </a:cubicBezTo>
                    <a:cubicBezTo>
                      <a:pt x="43910" y="65562"/>
                      <a:pt x="35998" y="60915"/>
                      <a:pt x="19671" y="75986"/>
                    </a:cubicBezTo>
                    <a:cubicBezTo>
                      <a:pt x="-2685" y="55765"/>
                      <a:pt x="-6328" y="9421"/>
                      <a:pt x="10502" y="1"/>
                    </a:cubicBezTo>
                    <a:close/>
                  </a:path>
                </a:pathLst>
              </a:custGeom>
              <a:solidFill>
                <a:srgbClr val="ED8E2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6" name="Freeform: Shape 2645">
                <a:extLst>
                  <a:ext uri="{FF2B5EF4-FFF2-40B4-BE49-F238E27FC236}">
                    <a16:creationId xmlns:a16="http://schemas.microsoft.com/office/drawing/2014/main" id="{9514A15B-B3B4-443F-BBE8-C0D932E31FCC}"/>
                  </a:ext>
                </a:extLst>
              </p:cNvPr>
              <p:cNvSpPr/>
              <p:nvPr/>
            </p:nvSpPr>
            <p:spPr>
              <a:xfrm>
                <a:off x="5302700" y="3485682"/>
                <a:ext cx="100351" cy="161462"/>
              </a:xfrm>
              <a:custGeom>
                <a:avLst/>
                <a:gdLst>
                  <a:gd name="connsiteX0" fmla="*/ 85948 w 100351"/>
                  <a:gd name="connsiteY0" fmla="*/ 6833 h 161462"/>
                  <a:gd name="connsiteX1" fmla="*/ 96749 w 100351"/>
                  <a:gd name="connsiteY1" fmla="*/ 37353 h 161462"/>
                  <a:gd name="connsiteX2" fmla="*/ 100015 w 100351"/>
                  <a:gd name="connsiteY2" fmla="*/ 149006 h 161462"/>
                  <a:gd name="connsiteX3" fmla="*/ 43120 w 100351"/>
                  <a:gd name="connsiteY3" fmla="*/ 161063 h 161462"/>
                  <a:gd name="connsiteX4" fmla="*/ 11094 w 100351"/>
                  <a:gd name="connsiteY4" fmla="*/ 146243 h 161462"/>
                  <a:gd name="connsiteX5" fmla="*/ 167 w 100351"/>
                  <a:gd name="connsiteY5" fmla="*/ 43381 h 161462"/>
                  <a:gd name="connsiteX6" fmla="*/ 28803 w 100351"/>
                  <a:gd name="connsiteY6" fmla="*/ 177 h 161462"/>
                  <a:gd name="connsiteX7" fmla="*/ 85948 w 100351"/>
                  <a:gd name="connsiteY7" fmla="*/ 6833 h 16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51" h="161462">
                    <a:moveTo>
                      <a:pt x="85948" y="6833"/>
                    </a:moveTo>
                    <a:cubicBezTo>
                      <a:pt x="85948" y="6833"/>
                      <a:pt x="91600" y="17634"/>
                      <a:pt x="96749" y="37353"/>
                    </a:cubicBezTo>
                    <a:cubicBezTo>
                      <a:pt x="101899" y="57071"/>
                      <a:pt x="100015" y="149006"/>
                      <a:pt x="100015" y="149006"/>
                    </a:cubicBezTo>
                    <a:cubicBezTo>
                      <a:pt x="100015" y="149006"/>
                      <a:pt x="78789" y="164078"/>
                      <a:pt x="43120" y="161063"/>
                    </a:cubicBezTo>
                    <a:cubicBezTo>
                      <a:pt x="21895" y="159305"/>
                      <a:pt x="11094" y="146243"/>
                      <a:pt x="11094" y="146243"/>
                    </a:cubicBezTo>
                    <a:cubicBezTo>
                      <a:pt x="11094" y="146243"/>
                      <a:pt x="-1591" y="56317"/>
                      <a:pt x="167" y="43381"/>
                    </a:cubicBezTo>
                    <a:cubicBezTo>
                      <a:pt x="1925" y="30445"/>
                      <a:pt x="28803" y="177"/>
                      <a:pt x="28803" y="177"/>
                    </a:cubicBezTo>
                    <a:cubicBezTo>
                      <a:pt x="28803" y="177"/>
                      <a:pt x="64472" y="-1707"/>
                      <a:pt x="85948" y="6833"/>
                    </a:cubicBezTo>
                    <a:close/>
                  </a:path>
                </a:pathLst>
              </a:custGeom>
              <a:solidFill>
                <a:srgbClr val="FFA5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47" name="Graphic 4">
                <a:extLst>
                  <a:ext uri="{FF2B5EF4-FFF2-40B4-BE49-F238E27FC236}">
                    <a16:creationId xmlns:a16="http://schemas.microsoft.com/office/drawing/2014/main" id="{84FB7ED1-A2DF-40A1-A747-5F7CF3F14040}"/>
                  </a:ext>
                </a:extLst>
              </p:cNvPr>
              <p:cNvGrpSpPr/>
              <p:nvPr/>
            </p:nvGrpSpPr>
            <p:grpSpPr>
              <a:xfrm>
                <a:off x="5330372" y="3410397"/>
                <a:ext cx="65817" cy="101004"/>
                <a:chOff x="5330372" y="3410397"/>
                <a:chExt cx="65817" cy="101004"/>
              </a:xfrm>
              <a:solidFill>
                <a:schemeClr val="accent1"/>
              </a:solidFill>
            </p:grpSpPr>
            <p:sp>
              <p:nvSpPr>
                <p:cNvPr id="2648" name="Freeform: Shape 2647">
                  <a:extLst>
                    <a:ext uri="{FF2B5EF4-FFF2-40B4-BE49-F238E27FC236}">
                      <a16:creationId xmlns:a16="http://schemas.microsoft.com/office/drawing/2014/main" id="{469C050F-6D17-46E8-BC31-43A5ADC19BE6}"/>
                    </a:ext>
                  </a:extLst>
                </p:cNvPr>
                <p:cNvSpPr/>
                <p:nvPr/>
              </p:nvSpPr>
              <p:spPr>
                <a:xfrm>
                  <a:off x="5330372" y="3459609"/>
                  <a:ext cx="38055" cy="51792"/>
                </a:xfrm>
                <a:custGeom>
                  <a:avLst/>
                  <a:gdLst>
                    <a:gd name="connsiteX0" fmla="*/ 33911 w 38055"/>
                    <a:gd name="connsiteY0" fmla="*/ 20346 h 51792"/>
                    <a:gd name="connsiteX1" fmla="*/ 38055 w 38055"/>
                    <a:gd name="connsiteY1" fmla="*/ 44460 h 51792"/>
                    <a:gd name="connsiteX2" fmla="*/ 13690 w 38055"/>
                    <a:gd name="connsiteY2" fmla="*/ 47977 h 51792"/>
                    <a:gd name="connsiteX3" fmla="*/ 0 w 38055"/>
                    <a:gd name="connsiteY3" fmla="*/ 32906 h 51792"/>
                    <a:gd name="connsiteX4" fmla="*/ 5903 w 38055"/>
                    <a:gd name="connsiteY4" fmla="*/ 0 h 51792"/>
                    <a:gd name="connsiteX5" fmla="*/ 33911 w 38055"/>
                    <a:gd name="connsiteY5" fmla="*/ 20346 h 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55" h="51792">
                      <a:moveTo>
                        <a:pt x="33911" y="20346"/>
                      </a:moveTo>
                      <a:lnTo>
                        <a:pt x="38055" y="44460"/>
                      </a:lnTo>
                      <a:cubicBezTo>
                        <a:pt x="38055" y="44460"/>
                        <a:pt x="25747" y="58276"/>
                        <a:pt x="13690" y="47977"/>
                      </a:cubicBezTo>
                      <a:cubicBezTo>
                        <a:pt x="1633" y="37678"/>
                        <a:pt x="0" y="32906"/>
                        <a:pt x="0" y="32906"/>
                      </a:cubicBezTo>
                      <a:lnTo>
                        <a:pt x="5903" y="0"/>
                      </a:lnTo>
                      <a:lnTo>
                        <a:pt x="33911" y="20346"/>
                      </a:lnTo>
                      <a:close/>
                    </a:path>
                  </a:pathLst>
                </a:custGeom>
                <a:solidFill>
                  <a:srgbClr val="FFAD9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9" name="Freeform: Shape 2648">
                  <a:extLst>
                    <a:ext uri="{FF2B5EF4-FFF2-40B4-BE49-F238E27FC236}">
                      <a16:creationId xmlns:a16="http://schemas.microsoft.com/office/drawing/2014/main" id="{6EE447DA-4C25-4F09-83A3-0A698BD27F89}"/>
                    </a:ext>
                  </a:extLst>
                </p:cNvPr>
                <p:cNvSpPr/>
                <p:nvPr/>
              </p:nvSpPr>
              <p:spPr>
                <a:xfrm>
                  <a:off x="5335710" y="3418057"/>
                  <a:ext cx="57170" cy="74470"/>
                </a:xfrm>
                <a:custGeom>
                  <a:avLst/>
                  <a:gdLst>
                    <a:gd name="connsiteX0" fmla="*/ 11617 w 57170"/>
                    <a:gd name="connsiteY0" fmla="*/ 5381 h 74470"/>
                    <a:gd name="connsiteX1" fmla="*/ 55073 w 57170"/>
                    <a:gd name="connsiteY1" fmla="*/ 20202 h 74470"/>
                    <a:gd name="connsiteX2" fmla="*/ 27819 w 57170"/>
                    <a:gd name="connsiteY2" fmla="*/ 73831 h 74470"/>
                    <a:gd name="connsiteX3" fmla="*/ 1569 w 57170"/>
                    <a:gd name="connsiteY3" fmla="*/ 45697 h 74470"/>
                    <a:gd name="connsiteX4" fmla="*/ 11617 w 57170"/>
                    <a:gd name="connsiteY4" fmla="*/ 5381 h 74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70" h="74470">
                      <a:moveTo>
                        <a:pt x="11617" y="5381"/>
                      </a:moveTo>
                      <a:cubicBezTo>
                        <a:pt x="21916" y="-2405"/>
                        <a:pt x="46155" y="-4917"/>
                        <a:pt x="55073" y="20202"/>
                      </a:cubicBezTo>
                      <a:cubicBezTo>
                        <a:pt x="64367" y="46577"/>
                        <a:pt x="40504" y="79482"/>
                        <a:pt x="27819" y="73831"/>
                      </a:cubicBezTo>
                      <a:cubicBezTo>
                        <a:pt x="20660" y="70691"/>
                        <a:pt x="5714" y="59638"/>
                        <a:pt x="1569" y="45697"/>
                      </a:cubicBezTo>
                      <a:cubicBezTo>
                        <a:pt x="-3203" y="29998"/>
                        <a:pt x="3704" y="11410"/>
                        <a:pt x="11617" y="5381"/>
                      </a:cubicBezTo>
                      <a:close/>
                    </a:path>
                  </a:pathLst>
                </a:custGeom>
                <a:solidFill>
                  <a:srgbClr val="FFC5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0" name="Freeform: Shape 2649">
                  <a:extLst>
                    <a:ext uri="{FF2B5EF4-FFF2-40B4-BE49-F238E27FC236}">
                      <a16:creationId xmlns:a16="http://schemas.microsoft.com/office/drawing/2014/main" id="{99268A15-1FF6-4CB8-9395-EDFDE910932F}"/>
                    </a:ext>
                  </a:extLst>
                </p:cNvPr>
                <p:cNvSpPr/>
                <p:nvPr/>
              </p:nvSpPr>
              <p:spPr>
                <a:xfrm>
                  <a:off x="5333129" y="3410397"/>
                  <a:ext cx="63061" cy="53356"/>
                </a:xfrm>
                <a:custGeom>
                  <a:avLst/>
                  <a:gdLst>
                    <a:gd name="connsiteX0" fmla="*/ 59790 w 63061"/>
                    <a:gd name="connsiteY0" fmla="*/ 36150 h 53356"/>
                    <a:gd name="connsiteX1" fmla="*/ 36680 w 63061"/>
                    <a:gd name="connsiteY1" fmla="*/ 43184 h 53356"/>
                    <a:gd name="connsiteX2" fmla="*/ 18846 w 63061"/>
                    <a:gd name="connsiteY2" fmla="*/ 36653 h 53356"/>
                    <a:gd name="connsiteX3" fmla="*/ 7794 w 63061"/>
                    <a:gd name="connsiteY3" fmla="*/ 43686 h 53356"/>
                    <a:gd name="connsiteX4" fmla="*/ 4277 w 63061"/>
                    <a:gd name="connsiteY4" fmla="*/ 53357 h 53356"/>
                    <a:gd name="connsiteX5" fmla="*/ 1011 w 63061"/>
                    <a:gd name="connsiteY5" fmla="*/ 28991 h 53356"/>
                    <a:gd name="connsiteX6" fmla="*/ 31280 w 63061"/>
                    <a:gd name="connsiteY6" fmla="*/ 105 h 53356"/>
                    <a:gd name="connsiteX7" fmla="*/ 62804 w 63061"/>
                    <a:gd name="connsiteY7" fmla="*/ 24596 h 53356"/>
                    <a:gd name="connsiteX8" fmla="*/ 59790 w 63061"/>
                    <a:gd name="connsiteY8" fmla="*/ 36150 h 5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61" h="53356">
                      <a:moveTo>
                        <a:pt x="59790" y="36150"/>
                      </a:moveTo>
                      <a:cubicBezTo>
                        <a:pt x="55520" y="40421"/>
                        <a:pt x="49366" y="45319"/>
                        <a:pt x="36680" y="43184"/>
                      </a:cubicBezTo>
                      <a:cubicBezTo>
                        <a:pt x="26256" y="41425"/>
                        <a:pt x="18846" y="36653"/>
                        <a:pt x="18846" y="36653"/>
                      </a:cubicBezTo>
                      <a:cubicBezTo>
                        <a:pt x="18846" y="36653"/>
                        <a:pt x="10808" y="42053"/>
                        <a:pt x="7794" y="43686"/>
                      </a:cubicBezTo>
                      <a:cubicBezTo>
                        <a:pt x="4402" y="45570"/>
                        <a:pt x="4277" y="53357"/>
                        <a:pt x="4277" y="53357"/>
                      </a:cubicBezTo>
                      <a:cubicBezTo>
                        <a:pt x="4277" y="53357"/>
                        <a:pt x="-2505" y="44816"/>
                        <a:pt x="1011" y="28991"/>
                      </a:cubicBezTo>
                      <a:cubicBezTo>
                        <a:pt x="3146" y="19195"/>
                        <a:pt x="12817" y="-1654"/>
                        <a:pt x="31280" y="105"/>
                      </a:cubicBezTo>
                      <a:cubicBezTo>
                        <a:pt x="49742" y="1863"/>
                        <a:pt x="60543" y="14046"/>
                        <a:pt x="62804" y="24596"/>
                      </a:cubicBezTo>
                      <a:cubicBezTo>
                        <a:pt x="63809" y="29871"/>
                        <a:pt x="61674" y="34141"/>
                        <a:pt x="59790" y="36150"/>
                      </a:cubicBez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51" name="Freeform: Shape 2650">
                <a:extLst>
                  <a:ext uri="{FF2B5EF4-FFF2-40B4-BE49-F238E27FC236}">
                    <a16:creationId xmlns:a16="http://schemas.microsoft.com/office/drawing/2014/main" id="{B918FF29-3CBD-4389-A3AB-6D02A566A11A}"/>
                  </a:ext>
                </a:extLst>
              </p:cNvPr>
              <p:cNvSpPr/>
              <p:nvPr/>
            </p:nvSpPr>
            <p:spPr>
              <a:xfrm>
                <a:off x="5313291" y="3498669"/>
                <a:ext cx="62270" cy="53589"/>
              </a:xfrm>
              <a:custGeom>
                <a:avLst/>
                <a:gdLst>
                  <a:gd name="connsiteX0" fmla="*/ 49987 w 62270"/>
                  <a:gd name="connsiteY0" fmla="*/ 48354 h 53589"/>
                  <a:gd name="connsiteX1" fmla="*/ 21853 w 62270"/>
                  <a:gd name="connsiteY1" fmla="*/ 18211 h 53589"/>
                  <a:gd name="connsiteX2" fmla="*/ 0 w 62270"/>
                  <a:gd name="connsiteY2" fmla="*/ 10173 h 53589"/>
                  <a:gd name="connsiteX3" fmla="*/ 8540 w 62270"/>
                  <a:gd name="connsiteY3" fmla="*/ 0 h 53589"/>
                  <a:gd name="connsiteX4" fmla="*/ 30143 w 62270"/>
                  <a:gd name="connsiteY4" fmla="*/ 8038 h 53589"/>
                  <a:gd name="connsiteX5" fmla="*/ 58402 w 62270"/>
                  <a:gd name="connsiteY5" fmla="*/ 36422 h 53589"/>
                  <a:gd name="connsiteX6" fmla="*/ 49987 w 62270"/>
                  <a:gd name="connsiteY6" fmla="*/ 48354 h 5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270" h="53589">
                    <a:moveTo>
                      <a:pt x="49987" y="48354"/>
                    </a:moveTo>
                    <a:cubicBezTo>
                      <a:pt x="49987" y="48354"/>
                      <a:pt x="34288" y="24742"/>
                      <a:pt x="21853" y="18211"/>
                    </a:cubicBezTo>
                    <a:cubicBezTo>
                      <a:pt x="9420" y="11555"/>
                      <a:pt x="0" y="10173"/>
                      <a:pt x="0" y="10173"/>
                    </a:cubicBezTo>
                    <a:cubicBezTo>
                      <a:pt x="0" y="10173"/>
                      <a:pt x="5526" y="1130"/>
                      <a:pt x="8540" y="0"/>
                    </a:cubicBezTo>
                    <a:cubicBezTo>
                      <a:pt x="13816" y="754"/>
                      <a:pt x="18965" y="2261"/>
                      <a:pt x="30143" y="8038"/>
                    </a:cubicBezTo>
                    <a:cubicBezTo>
                      <a:pt x="41321" y="13815"/>
                      <a:pt x="53504" y="27882"/>
                      <a:pt x="58402" y="36422"/>
                    </a:cubicBezTo>
                    <a:cubicBezTo>
                      <a:pt x="68198" y="53755"/>
                      <a:pt x="57145" y="58402"/>
                      <a:pt x="49987" y="48354"/>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2" name="Freeform: Shape 2651">
                <a:extLst>
                  <a:ext uri="{FF2B5EF4-FFF2-40B4-BE49-F238E27FC236}">
                    <a16:creationId xmlns:a16="http://schemas.microsoft.com/office/drawing/2014/main" id="{ABC5347C-F54B-4F38-BF2C-B3DB81409175}"/>
                  </a:ext>
                </a:extLst>
              </p:cNvPr>
              <p:cNvSpPr/>
              <p:nvPr/>
            </p:nvSpPr>
            <p:spPr>
              <a:xfrm>
                <a:off x="5378852" y="3489501"/>
                <a:ext cx="21306" cy="50878"/>
              </a:xfrm>
              <a:custGeom>
                <a:avLst/>
                <a:gdLst>
                  <a:gd name="connsiteX0" fmla="*/ 11178 w 21306"/>
                  <a:gd name="connsiteY0" fmla="*/ 3140 h 50878"/>
                  <a:gd name="connsiteX1" fmla="*/ 20974 w 21306"/>
                  <a:gd name="connsiteY1" fmla="*/ 35166 h 50878"/>
                  <a:gd name="connsiteX2" fmla="*/ 15197 w 21306"/>
                  <a:gd name="connsiteY2" fmla="*/ 50866 h 50878"/>
                  <a:gd name="connsiteX3" fmla="*/ 8792 w 21306"/>
                  <a:gd name="connsiteY3" fmla="*/ 33659 h 50878"/>
                  <a:gd name="connsiteX4" fmla="*/ 0 w 21306"/>
                  <a:gd name="connsiteY4" fmla="*/ 0 h 50878"/>
                  <a:gd name="connsiteX5" fmla="*/ 11178 w 21306"/>
                  <a:gd name="connsiteY5" fmla="*/ 3140 h 5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306" h="50878">
                    <a:moveTo>
                      <a:pt x="11178" y="3140"/>
                    </a:moveTo>
                    <a:cubicBezTo>
                      <a:pt x="11178" y="3140"/>
                      <a:pt x="19844" y="23486"/>
                      <a:pt x="20974" y="35166"/>
                    </a:cubicBezTo>
                    <a:cubicBezTo>
                      <a:pt x="22230" y="46847"/>
                      <a:pt x="19844" y="50489"/>
                      <a:pt x="15197" y="50866"/>
                    </a:cubicBezTo>
                    <a:cubicBezTo>
                      <a:pt x="10550" y="51243"/>
                      <a:pt x="10173" y="42953"/>
                      <a:pt x="8792" y="33659"/>
                    </a:cubicBezTo>
                    <a:cubicBezTo>
                      <a:pt x="7536" y="24868"/>
                      <a:pt x="0" y="0"/>
                      <a:pt x="0" y="0"/>
                    </a:cubicBezTo>
                    <a:lnTo>
                      <a:pt x="11178" y="3140"/>
                    </a:ln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3" name="Freeform: Shape 2652">
                <a:extLst>
                  <a:ext uri="{FF2B5EF4-FFF2-40B4-BE49-F238E27FC236}">
                    <a16:creationId xmlns:a16="http://schemas.microsoft.com/office/drawing/2014/main" id="{A1F3F605-84C3-4919-8AED-6C06602A77A0}"/>
                  </a:ext>
                </a:extLst>
              </p:cNvPr>
              <p:cNvSpPr/>
              <p:nvPr/>
            </p:nvSpPr>
            <p:spPr>
              <a:xfrm>
                <a:off x="5310026" y="3521779"/>
                <a:ext cx="101606" cy="134749"/>
              </a:xfrm>
              <a:custGeom>
                <a:avLst/>
                <a:gdLst>
                  <a:gd name="connsiteX0" fmla="*/ 1759 w 101606"/>
                  <a:gd name="connsiteY0" fmla="*/ 95075 h 134749"/>
                  <a:gd name="connsiteX1" fmla="*/ 28636 w 101606"/>
                  <a:gd name="connsiteY1" fmla="*/ 104620 h 134749"/>
                  <a:gd name="connsiteX2" fmla="*/ 52122 w 101606"/>
                  <a:gd name="connsiteY2" fmla="*/ 62421 h 134749"/>
                  <a:gd name="connsiteX3" fmla="*/ 48480 w 101606"/>
                  <a:gd name="connsiteY3" fmla="*/ 16579 h 134749"/>
                  <a:gd name="connsiteX4" fmla="*/ 86409 w 101606"/>
                  <a:gd name="connsiteY4" fmla="*/ 0 h 134749"/>
                  <a:gd name="connsiteX5" fmla="*/ 98718 w 101606"/>
                  <a:gd name="connsiteY5" fmla="*/ 70710 h 134749"/>
                  <a:gd name="connsiteX6" fmla="*/ 101606 w 101606"/>
                  <a:gd name="connsiteY6" fmla="*/ 133633 h 134749"/>
                  <a:gd name="connsiteX7" fmla="*/ 37176 w 101606"/>
                  <a:gd name="connsiteY7" fmla="*/ 133633 h 134749"/>
                  <a:gd name="connsiteX8" fmla="*/ 0 w 101606"/>
                  <a:gd name="connsiteY8" fmla="*/ 124967 h 134749"/>
                  <a:gd name="connsiteX9" fmla="*/ 1759 w 101606"/>
                  <a:gd name="connsiteY9" fmla="*/ 95075 h 13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606" h="134749">
                    <a:moveTo>
                      <a:pt x="1759" y="95075"/>
                    </a:moveTo>
                    <a:cubicBezTo>
                      <a:pt x="1759" y="95075"/>
                      <a:pt x="17332" y="105877"/>
                      <a:pt x="28636" y="104620"/>
                    </a:cubicBezTo>
                    <a:cubicBezTo>
                      <a:pt x="38558" y="103490"/>
                      <a:pt x="52876" y="93819"/>
                      <a:pt x="52122" y="62421"/>
                    </a:cubicBezTo>
                    <a:cubicBezTo>
                      <a:pt x="51368" y="31022"/>
                      <a:pt x="48480" y="16579"/>
                      <a:pt x="48480" y="16579"/>
                    </a:cubicBezTo>
                    <a:lnTo>
                      <a:pt x="86409" y="0"/>
                    </a:lnTo>
                    <a:cubicBezTo>
                      <a:pt x="86409" y="0"/>
                      <a:pt x="96708" y="23863"/>
                      <a:pt x="98718" y="70710"/>
                    </a:cubicBezTo>
                    <a:cubicBezTo>
                      <a:pt x="100727" y="117557"/>
                      <a:pt x="101606" y="133633"/>
                      <a:pt x="101606" y="133633"/>
                    </a:cubicBezTo>
                    <a:cubicBezTo>
                      <a:pt x="101606" y="133633"/>
                      <a:pt x="61165" y="136145"/>
                      <a:pt x="37176" y="133633"/>
                    </a:cubicBezTo>
                    <a:cubicBezTo>
                      <a:pt x="13188" y="131121"/>
                      <a:pt x="0" y="124967"/>
                      <a:pt x="0" y="124967"/>
                    </a:cubicBezTo>
                    <a:lnTo>
                      <a:pt x="1759" y="95075"/>
                    </a:ln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4" name="Freeform: Shape 2653">
                <a:extLst>
                  <a:ext uri="{FF2B5EF4-FFF2-40B4-BE49-F238E27FC236}">
                    <a16:creationId xmlns:a16="http://schemas.microsoft.com/office/drawing/2014/main" id="{393B4D95-BB9E-4819-A6B9-F5484BC19FE3}"/>
                  </a:ext>
                </a:extLst>
              </p:cNvPr>
              <p:cNvSpPr/>
              <p:nvPr/>
            </p:nvSpPr>
            <p:spPr>
              <a:xfrm>
                <a:off x="5392291" y="3526802"/>
                <a:ext cx="4772" cy="7033"/>
              </a:xfrm>
              <a:custGeom>
                <a:avLst/>
                <a:gdLst>
                  <a:gd name="connsiteX0" fmla="*/ 0 w 4772"/>
                  <a:gd name="connsiteY0" fmla="*/ 3517 h 7033"/>
                  <a:gd name="connsiteX1" fmla="*/ 2386 w 4772"/>
                  <a:gd name="connsiteY1" fmla="*/ 7033 h 7033"/>
                  <a:gd name="connsiteX2" fmla="*/ 4773 w 4772"/>
                  <a:gd name="connsiteY2" fmla="*/ 3517 h 7033"/>
                  <a:gd name="connsiteX3" fmla="*/ 2386 w 4772"/>
                  <a:gd name="connsiteY3" fmla="*/ 0 h 7033"/>
                  <a:gd name="connsiteX4" fmla="*/ 0 w 4772"/>
                  <a:gd name="connsiteY4" fmla="*/ 3517 h 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2" h="7033">
                    <a:moveTo>
                      <a:pt x="0" y="3517"/>
                    </a:moveTo>
                    <a:cubicBezTo>
                      <a:pt x="0" y="5401"/>
                      <a:pt x="1130" y="7033"/>
                      <a:pt x="2386" y="7033"/>
                    </a:cubicBezTo>
                    <a:cubicBezTo>
                      <a:pt x="3768" y="7033"/>
                      <a:pt x="4773" y="5526"/>
                      <a:pt x="4773" y="3517"/>
                    </a:cubicBezTo>
                    <a:cubicBezTo>
                      <a:pt x="4773" y="1633"/>
                      <a:pt x="3642" y="0"/>
                      <a:pt x="2386" y="0"/>
                    </a:cubicBezTo>
                    <a:cubicBezTo>
                      <a:pt x="1005" y="0"/>
                      <a:pt x="0" y="1633"/>
                      <a:pt x="0" y="3517"/>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5" name="Freeform: Shape 2654">
                <a:extLst>
                  <a:ext uri="{FF2B5EF4-FFF2-40B4-BE49-F238E27FC236}">
                    <a16:creationId xmlns:a16="http://schemas.microsoft.com/office/drawing/2014/main" id="{B068DAAA-EA86-405C-99CC-B1B22527D631}"/>
                  </a:ext>
                </a:extLst>
              </p:cNvPr>
              <p:cNvSpPr/>
              <p:nvPr/>
            </p:nvSpPr>
            <p:spPr>
              <a:xfrm>
                <a:off x="5364675" y="3539215"/>
                <a:ext cx="5621" cy="6369"/>
              </a:xfrm>
              <a:custGeom>
                <a:avLst/>
                <a:gdLst>
                  <a:gd name="connsiteX0" fmla="*/ 4758 w 5621"/>
                  <a:gd name="connsiteY0" fmla="*/ 1780 h 6369"/>
                  <a:gd name="connsiteX1" fmla="*/ 4883 w 5621"/>
                  <a:gd name="connsiteY1" fmla="*/ 6050 h 6369"/>
                  <a:gd name="connsiteX2" fmla="*/ 864 w 5621"/>
                  <a:gd name="connsiteY2" fmla="*/ 4668 h 6369"/>
                  <a:gd name="connsiteX3" fmla="*/ 738 w 5621"/>
                  <a:gd name="connsiteY3" fmla="*/ 398 h 6369"/>
                  <a:gd name="connsiteX4" fmla="*/ 4758 w 5621"/>
                  <a:gd name="connsiteY4" fmla="*/ 1780 h 6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1" h="6369">
                    <a:moveTo>
                      <a:pt x="4758" y="1780"/>
                    </a:moveTo>
                    <a:cubicBezTo>
                      <a:pt x="5888" y="3287"/>
                      <a:pt x="5888" y="5296"/>
                      <a:pt x="4883" y="6050"/>
                    </a:cubicBezTo>
                    <a:cubicBezTo>
                      <a:pt x="3753" y="6804"/>
                      <a:pt x="1994" y="6176"/>
                      <a:pt x="864" y="4668"/>
                    </a:cubicBezTo>
                    <a:cubicBezTo>
                      <a:pt x="-266" y="3161"/>
                      <a:pt x="-266" y="1152"/>
                      <a:pt x="738" y="398"/>
                    </a:cubicBezTo>
                    <a:cubicBezTo>
                      <a:pt x="1869" y="-481"/>
                      <a:pt x="3753" y="147"/>
                      <a:pt x="4758" y="1780"/>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6" name="Freeform: Shape 2655">
                <a:extLst>
                  <a:ext uri="{FF2B5EF4-FFF2-40B4-BE49-F238E27FC236}">
                    <a16:creationId xmlns:a16="http://schemas.microsoft.com/office/drawing/2014/main" id="{A45E452A-16D4-4A01-8250-F2CDBC825EBB}"/>
                  </a:ext>
                </a:extLst>
              </p:cNvPr>
              <p:cNvSpPr/>
              <p:nvPr/>
            </p:nvSpPr>
            <p:spPr>
              <a:xfrm>
                <a:off x="5367548" y="3545516"/>
                <a:ext cx="32702" cy="36786"/>
              </a:xfrm>
              <a:custGeom>
                <a:avLst/>
                <a:gdLst>
                  <a:gd name="connsiteX0" fmla="*/ 32152 w 32702"/>
                  <a:gd name="connsiteY0" fmla="*/ 0 h 36786"/>
                  <a:gd name="connsiteX1" fmla="*/ 18965 w 32702"/>
                  <a:gd name="connsiteY1" fmla="*/ 36297 h 36786"/>
                  <a:gd name="connsiteX2" fmla="*/ 0 w 32702"/>
                  <a:gd name="connsiteY2" fmla="*/ 13187 h 36786"/>
                  <a:gd name="connsiteX3" fmla="*/ 32152 w 32702"/>
                  <a:gd name="connsiteY3" fmla="*/ 0 h 36786"/>
                </a:gdLst>
                <a:ahLst/>
                <a:cxnLst>
                  <a:cxn ang="0">
                    <a:pos x="connsiteX0" y="connsiteY0"/>
                  </a:cxn>
                  <a:cxn ang="0">
                    <a:pos x="connsiteX1" y="connsiteY1"/>
                  </a:cxn>
                  <a:cxn ang="0">
                    <a:pos x="connsiteX2" y="connsiteY2"/>
                  </a:cxn>
                  <a:cxn ang="0">
                    <a:pos x="connsiteX3" y="connsiteY3"/>
                  </a:cxn>
                </a:cxnLst>
                <a:rect l="l" t="t" r="r" b="b"/>
                <a:pathLst>
                  <a:path w="32702" h="36786">
                    <a:moveTo>
                      <a:pt x="32152" y="0"/>
                    </a:moveTo>
                    <a:cubicBezTo>
                      <a:pt x="33659" y="7913"/>
                      <a:pt x="32906" y="32529"/>
                      <a:pt x="18965" y="36297"/>
                    </a:cubicBezTo>
                    <a:cubicBezTo>
                      <a:pt x="6280" y="39688"/>
                      <a:pt x="3014" y="24742"/>
                      <a:pt x="0" y="13187"/>
                    </a:cubicBezTo>
                    <a:cubicBezTo>
                      <a:pt x="16453" y="9420"/>
                      <a:pt x="32152" y="0"/>
                      <a:pt x="32152" y="0"/>
                    </a:cubicBezTo>
                    <a:close/>
                  </a:path>
                </a:pathLst>
              </a:custGeom>
              <a:solidFill>
                <a:srgbClr val="C7CF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7" name="Freeform: Shape 2656">
                <a:extLst>
                  <a:ext uri="{FF2B5EF4-FFF2-40B4-BE49-F238E27FC236}">
                    <a16:creationId xmlns:a16="http://schemas.microsoft.com/office/drawing/2014/main" id="{E668D25E-FCBB-4B6E-A08B-1CB725E65856}"/>
                  </a:ext>
                </a:extLst>
              </p:cNvPr>
              <p:cNvSpPr/>
              <p:nvPr/>
            </p:nvSpPr>
            <p:spPr>
              <a:xfrm>
                <a:off x="5322334" y="3575133"/>
                <a:ext cx="116531" cy="111279"/>
              </a:xfrm>
              <a:custGeom>
                <a:avLst/>
                <a:gdLst>
                  <a:gd name="connsiteX0" fmla="*/ 27129 w 116531"/>
                  <a:gd name="connsiteY0" fmla="*/ 526 h 111279"/>
                  <a:gd name="connsiteX1" fmla="*/ 47726 w 116531"/>
                  <a:gd name="connsiteY1" fmla="*/ 39711 h 111279"/>
                  <a:gd name="connsiteX2" fmla="*/ 83395 w 116531"/>
                  <a:gd name="connsiteY2" fmla="*/ 70608 h 111279"/>
                  <a:gd name="connsiteX3" fmla="*/ 106002 w 116531"/>
                  <a:gd name="connsiteY3" fmla="*/ 76511 h 111279"/>
                  <a:gd name="connsiteX4" fmla="*/ 110272 w 116531"/>
                  <a:gd name="connsiteY4" fmla="*/ 81032 h 111279"/>
                  <a:gd name="connsiteX5" fmla="*/ 98843 w 116531"/>
                  <a:gd name="connsiteY5" fmla="*/ 83795 h 111279"/>
                  <a:gd name="connsiteX6" fmla="*/ 113663 w 116531"/>
                  <a:gd name="connsiteY6" fmla="*/ 98364 h 111279"/>
                  <a:gd name="connsiteX7" fmla="*/ 106881 w 116531"/>
                  <a:gd name="connsiteY7" fmla="*/ 110798 h 111279"/>
                  <a:gd name="connsiteX8" fmla="*/ 77869 w 116531"/>
                  <a:gd name="connsiteY8" fmla="*/ 88693 h 111279"/>
                  <a:gd name="connsiteX9" fmla="*/ 35292 w 116531"/>
                  <a:gd name="connsiteY9" fmla="*/ 61690 h 111279"/>
                  <a:gd name="connsiteX10" fmla="*/ 0 w 116531"/>
                  <a:gd name="connsiteY10" fmla="*/ 16853 h 111279"/>
                  <a:gd name="connsiteX11" fmla="*/ 27129 w 116531"/>
                  <a:gd name="connsiteY11" fmla="*/ 526 h 111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531" h="111279">
                    <a:moveTo>
                      <a:pt x="27129" y="526"/>
                    </a:moveTo>
                    <a:cubicBezTo>
                      <a:pt x="27129" y="526"/>
                      <a:pt x="41698" y="31171"/>
                      <a:pt x="47726" y="39711"/>
                    </a:cubicBezTo>
                    <a:cubicBezTo>
                      <a:pt x="53755" y="48252"/>
                      <a:pt x="78246" y="67844"/>
                      <a:pt x="83395" y="70608"/>
                    </a:cubicBezTo>
                    <a:cubicBezTo>
                      <a:pt x="88419" y="73496"/>
                      <a:pt x="99973" y="77013"/>
                      <a:pt x="106002" y="76511"/>
                    </a:cubicBezTo>
                    <a:cubicBezTo>
                      <a:pt x="112030" y="75883"/>
                      <a:pt x="116175" y="78897"/>
                      <a:pt x="110272" y="81032"/>
                    </a:cubicBezTo>
                    <a:cubicBezTo>
                      <a:pt x="104495" y="83293"/>
                      <a:pt x="98843" y="83795"/>
                      <a:pt x="98843" y="83795"/>
                    </a:cubicBezTo>
                    <a:cubicBezTo>
                      <a:pt x="98843" y="83795"/>
                      <a:pt x="109393" y="91582"/>
                      <a:pt x="113663" y="98364"/>
                    </a:cubicBezTo>
                    <a:cubicBezTo>
                      <a:pt x="117054" y="103765"/>
                      <a:pt x="119943" y="113561"/>
                      <a:pt x="106881" y="110798"/>
                    </a:cubicBezTo>
                    <a:cubicBezTo>
                      <a:pt x="96331" y="108537"/>
                      <a:pt x="81762" y="92336"/>
                      <a:pt x="77869" y="88693"/>
                    </a:cubicBezTo>
                    <a:cubicBezTo>
                      <a:pt x="70584" y="81911"/>
                      <a:pt x="41823" y="66337"/>
                      <a:pt x="35292" y="61690"/>
                    </a:cubicBezTo>
                    <a:cubicBezTo>
                      <a:pt x="26124" y="55159"/>
                      <a:pt x="0" y="16853"/>
                      <a:pt x="0" y="16853"/>
                    </a:cubicBezTo>
                    <a:cubicBezTo>
                      <a:pt x="0" y="16853"/>
                      <a:pt x="8038" y="-3493"/>
                      <a:pt x="27129" y="526"/>
                    </a:cubicBezTo>
                    <a:close/>
                  </a:path>
                </a:pathLst>
              </a:custGeom>
              <a:solidFill>
                <a:srgbClr val="FFC5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8" name="Freeform: Shape 2657">
                <a:extLst>
                  <a:ext uri="{FF2B5EF4-FFF2-40B4-BE49-F238E27FC236}">
                    <a16:creationId xmlns:a16="http://schemas.microsoft.com/office/drawing/2014/main" id="{1CFD9519-10AC-4F91-83E6-BB28749B04D5}"/>
                  </a:ext>
                </a:extLst>
              </p:cNvPr>
              <p:cNvSpPr/>
              <p:nvPr/>
            </p:nvSpPr>
            <p:spPr>
              <a:xfrm>
                <a:off x="5298448" y="3516805"/>
                <a:ext cx="56792" cy="82591"/>
              </a:xfrm>
              <a:custGeom>
                <a:avLst/>
                <a:gdLst>
                  <a:gd name="connsiteX0" fmla="*/ 9066 w 56792"/>
                  <a:gd name="connsiteY0" fmla="*/ 1080 h 82591"/>
                  <a:gd name="connsiteX1" fmla="*/ 41344 w 56792"/>
                  <a:gd name="connsiteY1" fmla="*/ 28460 h 82591"/>
                  <a:gd name="connsiteX2" fmla="*/ 56792 w 56792"/>
                  <a:gd name="connsiteY2" fmla="*/ 60612 h 82591"/>
                  <a:gd name="connsiteX3" fmla="*/ 37199 w 56792"/>
                  <a:gd name="connsiteY3" fmla="*/ 73925 h 82591"/>
                  <a:gd name="connsiteX4" fmla="*/ 21249 w 56792"/>
                  <a:gd name="connsiteY4" fmla="*/ 82591 h 82591"/>
                  <a:gd name="connsiteX5" fmla="*/ 9066 w 56792"/>
                  <a:gd name="connsiteY5" fmla="*/ 1080 h 8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792" h="82591">
                    <a:moveTo>
                      <a:pt x="9066" y="1080"/>
                    </a:moveTo>
                    <a:cubicBezTo>
                      <a:pt x="16602" y="-4948"/>
                      <a:pt x="32803" y="15649"/>
                      <a:pt x="41344" y="28460"/>
                    </a:cubicBezTo>
                    <a:cubicBezTo>
                      <a:pt x="49885" y="41396"/>
                      <a:pt x="56792" y="60612"/>
                      <a:pt x="56792" y="60612"/>
                    </a:cubicBezTo>
                    <a:cubicBezTo>
                      <a:pt x="56792" y="60612"/>
                      <a:pt x="46493" y="68148"/>
                      <a:pt x="37199" y="73925"/>
                    </a:cubicBezTo>
                    <a:cubicBezTo>
                      <a:pt x="29413" y="78823"/>
                      <a:pt x="21249" y="82591"/>
                      <a:pt x="21249" y="82591"/>
                    </a:cubicBezTo>
                    <a:cubicBezTo>
                      <a:pt x="21249" y="82591"/>
                      <a:pt x="-16932" y="21929"/>
                      <a:pt x="9066" y="1080"/>
                    </a:cubicBezTo>
                    <a:close/>
                  </a:path>
                </a:pathLst>
              </a:custGeom>
              <a:solidFill>
                <a:srgbClr val="ED8E2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59" name="Graphic 4">
                <a:extLst>
                  <a:ext uri="{FF2B5EF4-FFF2-40B4-BE49-F238E27FC236}">
                    <a16:creationId xmlns:a16="http://schemas.microsoft.com/office/drawing/2014/main" id="{84FB7ED1-A2DF-40A1-A747-5F7CF3F14040}"/>
                  </a:ext>
                </a:extLst>
              </p:cNvPr>
              <p:cNvGrpSpPr/>
              <p:nvPr/>
            </p:nvGrpSpPr>
            <p:grpSpPr>
              <a:xfrm>
                <a:off x="5330317" y="3398962"/>
                <a:ext cx="73611" cy="65800"/>
                <a:chOff x="5330317" y="3398962"/>
                <a:chExt cx="73611" cy="65800"/>
              </a:xfrm>
              <a:solidFill>
                <a:schemeClr val="accent1"/>
              </a:solidFill>
            </p:grpSpPr>
            <p:sp>
              <p:nvSpPr>
                <p:cNvPr id="2660" name="Freeform: Shape 2659">
                  <a:extLst>
                    <a:ext uri="{FF2B5EF4-FFF2-40B4-BE49-F238E27FC236}">
                      <a16:creationId xmlns:a16="http://schemas.microsoft.com/office/drawing/2014/main" id="{475371F3-37E4-40AD-9103-9F5DC6C84534}"/>
                    </a:ext>
                  </a:extLst>
                </p:cNvPr>
                <p:cNvSpPr/>
                <p:nvPr/>
              </p:nvSpPr>
              <p:spPr>
                <a:xfrm>
                  <a:off x="5330317" y="3421615"/>
                  <a:ext cx="67052" cy="37933"/>
                </a:xfrm>
                <a:custGeom>
                  <a:avLst/>
                  <a:gdLst>
                    <a:gd name="connsiteX0" fmla="*/ 13745 w 67052"/>
                    <a:gd name="connsiteY0" fmla="*/ 3330 h 37933"/>
                    <a:gd name="connsiteX1" fmla="*/ 6461 w 67052"/>
                    <a:gd name="connsiteY1" fmla="*/ 29705 h 37933"/>
                    <a:gd name="connsiteX2" fmla="*/ 53308 w 67052"/>
                    <a:gd name="connsiteY2" fmla="*/ 34603 h 37933"/>
                    <a:gd name="connsiteX3" fmla="*/ 60592 w 67052"/>
                    <a:gd name="connsiteY3" fmla="*/ 8228 h 37933"/>
                    <a:gd name="connsiteX4" fmla="*/ 13745 w 67052"/>
                    <a:gd name="connsiteY4" fmla="*/ 3330 h 37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52" h="37933">
                      <a:moveTo>
                        <a:pt x="13745" y="3330"/>
                      </a:moveTo>
                      <a:cubicBezTo>
                        <a:pt x="-1201" y="9233"/>
                        <a:pt x="-4466" y="21039"/>
                        <a:pt x="6461" y="29705"/>
                      </a:cubicBezTo>
                      <a:cubicBezTo>
                        <a:pt x="17387" y="38371"/>
                        <a:pt x="38362" y="40506"/>
                        <a:pt x="53308" y="34603"/>
                      </a:cubicBezTo>
                      <a:cubicBezTo>
                        <a:pt x="68253" y="28700"/>
                        <a:pt x="71519" y="16894"/>
                        <a:pt x="60592" y="8228"/>
                      </a:cubicBezTo>
                      <a:cubicBezTo>
                        <a:pt x="49665" y="-438"/>
                        <a:pt x="28691" y="-2573"/>
                        <a:pt x="13745" y="3330"/>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1" name="Freeform: Shape 2660">
                  <a:extLst>
                    <a:ext uri="{FF2B5EF4-FFF2-40B4-BE49-F238E27FC236}">
                      <a16:creationId xmlns:a16="http://schemas.microsoft.com/office/drawing/2014/main" id="{61E230F4-7521-418E-94E9-527DAE1E52AF}"/>
                    </a:ext>
                  </a:extLst>
                </p:cNvPr>
                <p:cNvSpPr/>
                <p:nvPr/>
              </p:nvSpPr>
              <p:spPr>
                <a:xfrm>
                  <a:off x="5330372" y="3398962"/>
                  <a:ext cx="67290" cy="43692"/>
                </a:xfrm>
                <a:custGeom>
                  <a:avLst/>
                  <a:gdLst>
                    <a:gd name="connsiteX0" fmla="*/ 66817 w 67290"/>
                    <a:gd name="connsiteY0" fmla="*/ 43692 h 43692"/>
                    <a:gd name="connsiteX1" fmla="*/ 39939 w 67290"/>
                    <a:gd name="connsiteY1" fmla="*/ 488 h 43692"/>
                    <a:gd name="connsiteX2" fmla="*/ 0 w 67290"/>
                    <a:gd name="connsiteY2" fmla="*/ 40176 h 43692"/>
                    <a:gd name="connsiteX3" fmla="*/ 66817 w 67290"/>
                    <a:gd name="connsiteY3" fmla="*/ 43692 h 43692"/>
                  </a:gdLst>
                  <a:ahLst/>
                  <a:cxnLst>
                    <a:cxn ang="0">
                      <a:pos x="connsiteX0" y="connsiteY0"/>
                    </a:cxn>
                    <a:cxn ang="0">
                      <a:pos x="connsiteX1" y="connsiteY1"/>
                    </a:cxn>
                    <a:cxn ang="0">
                      <a:pos x="connsiteX2" y="connsiteY2"/>
                    </a:cxn>
                    <a:cxn ang="0">
                      <a:pos x="connsiteX3" y="connsiteY3"/>
                    </a:cxn>
                  </a:cxnLst>
                  <a:rect l="l" t="t" r="r" b="b"/>
                  <a:pathLst>
                    <a:path w="67290" h="43692">
                      <a:moveTo>
                        <a:pt x="66817" y="43692"/>
                      </a:moveTo>
                      <a:cubicBezTo>
                        <a:pt x="66817" y="43692"/>
                        <a:pt x="73096" y="5260"/>
                        <a:pt x="39939" y="488"/>
                      </a:cubicBezTo>
                      <a:cubicBezTo>
                        <a:pt x="1256" y="-5164"/>
                        <a:pt x="0" y="40176"/>
                        <a:pt x="0" y="40176"/>
                      </a:cubicBezTo>
                      <a:lnTo>
                        <a:pt x="66817" y="43692"/>
                      </a:ln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2" name="Freeform: Shape 2661">
                  <a:extLst>
                    <a:ext uri="{FF2B5EF4-FFF2-40B4-BE49-F238E27FC236}">
                      <a16:creationId xmlns:a16="http://schemas.microsoft.com/office/drawing/2014/main" id="{EDAAEFD7-A499-436D-8277-99C021E3BCCF}"/>
                    </a:ext>
                  </a:extLst>
                </p:cNvPr>
                <p:cNvSpPr/>
                <p:nvPr/>
              </p:nvSpPr>
              <p:spPr>
                <a:xfrm>
                  <a:off x="5334014" y="3437002"/>
                  <a:ext cx="69913" cy="27759"/>
                </a:xfrm>
                <a:custGeom>
                  <a:avLst/>
                  <a:gdLst>
                    <a:gd name="connsiteX0" fmla="*/ 63677 w 69913"/>
                    <a:gd name="connsiteY0" fmla="*/ 0 h 27759"/>
                    <a:gd name="connsiteX1" fmla="*/ 60286 w 69913"/>
                    <a:gd name="connsiteY1" fmla="*/ 23486 h 27759"/>
                    <a:gd name="connsiteX2" fmla="*/ 0 w 69913"/>
                    <a:gd name="connsiteY2" fmla="*/ 11555 h 27759"/>
                    <a:gd name="connsiteX3" fmla="*/ 53127 w 69913"/>
                    <a:gd name="connsiteY3" fmla="*/ 12057 h 27759"/>
                    <a:gd name="connsiteX4" fmla="*/ 63677 w 69913"/>
                    <a:gd name="connsiteY4" fmla="*/ 0 h 27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13" h="27759">
                      <a:moveTo>
                        <a:pt x="63677" y="0"/>
                      </a:moveTo>
                      <a:cubicBezTo>
                        <a:pt x="63677" y="0"/>
                        <a:pt x="79753" y="15071"/>
                        <a:pt x="60286" y="23486"/>
                      </a:cubicBezTo>
                      <a:cubicBezTo>
                        <a:pt x="27129" y="37804"/>
                        <a:pt x="0" y="11555"/>
                        <a:pt x="0" y="11555"/>
                      </a:cubicBezTo>
                      <a:cubicBezTo>
                        <a:pt x="0" y="11555"/>
                        <a:pt x="35292" y="19970"/>
                        <a:pt x="53127" y="12057"/>
                      </a:cubicBezTo>
                      <a:cubicBezTo>
                        <a:pt x="65184" y="6782"/>
                        <a:pt x="63677" y="0"/>
                        <a:pt x="63677" y="0"/>
                      </a:cubicBezTo>
                      <a:close/>
                    </a:path>
                  </a:pathLst>
                </a:custGeom>
                <a:solidFill>
                  <a:srgbClr val="2A60A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3" name="Freeform: Shape 2662">
                  <a:extLst>
                    <a:ext uri="{FF2B5EF4-FFF2-40B4-BE49-F238E27FC236}">
                      <a16:creationId xmlns:a16="http://schemas.microsoft.com/office/drawing/2014/main" id="{3C2405E3-B73A-4280-BD5F-0A36EC3C05B0}"/>
                    </a:ext>
                  </a:extLst>
                </p:cNvPr>
                <p:cNvSpPr/>
                <p:nvPr/>
              </p:nvSpPr>
              <p:spPr>
                <a:xfrm>
                  <a:off x="5351974" y="3399339"/>
                  <a:ext cx="24934" cy="45324"/>
                </a:xfrm>
                <a:custGeom>
                  <a:avLst/>
                  <a:gdLst>
                    <a:gd name="connsiteX0" fmla="*/ 13439 w 24934"/>
                    <a:gd name="connsiteY0" fmla="*/ 2371 h 45324"/>
                    <a:gd name="connsiteX1" fmla="*/ 23738 w 24934"/>
                    <a:gd name="connsiteY1" fmla="*/ 15935 h 45324"/>
                    <a:gd name="connsiteX2" fmla="*/ 17081 w 24934"/>
                    <a:gd name="connsiteY2" fmla="*/ 34021 h 45324"/>
                    <a:gd name="connsiteX3" fmla="*/ 5024 w 24934"/>
                    <a:gd name="connsiteY3" fmla="*/ 45324 h 45324"/>
                    <a:gd name="connsiteX4" fmla="*/ 10173 w 24934"/>
                    <a:gd name="connsiteY4" fmla="*/ 32137 h 45324"/>
                    <a:gd name="connsiteX5" fmla="*/ 18588 w 24934"/>
                    <a:gd name="connsiteY5" fmla="*/ 15935 h 45324"/>
                    <a:gd name="connsiteX6" fmla="*/ 0 w 24934"/>
                    <a:gd name="connsiteY6" fmla="*/ 1869 h 45324"/>
                    <a:gd name="connsiteX7" fmla="*/ 13439 w 24934"/>
                    <a:gd name="connsiteY7" fmla="*/ 2371 h 4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34" h="45324">
                      <a:moveTo>
                        <a:pt x="13439" y="2371"/>
                      </a:moveTo>
                      <a:cubicBezTo>
                        <a:pt x="18462" y="5260"/>
                        <a:pt x="20723" y="8776"/>
                        <a:pt x="23738" y="15935"/>
                      </a:cubicBezTo>
                      <a:cubicBezTo>
                        <a:pt x="26626" y="23094"/>
                        <a:pt x="24240" y="29876"/>
                        <a:pt x="17081" y="34021"/>
                      </a:cubicBezTo>
                      <a:cubicBezTo>
                        <a:pt x="9922" y="38165"/>
                        <a:pt x="5024" y="45324"/>
                        <a:pt x="5024" y="45324"/>
                      </a:cubicBezTo>
                      <a:cubicBezTo>
                        <a:pt x="5024" y="45324"/>
                        <a:pt x="4019" y="37286"/>
                        <a:pt x="10173" y="32137"/>
                      </a:cubicBezTo>
                      <a:cubicBezTo>
                        <a:pt x="16328" y="26987"/>
                        <a:pt x="22105" y="24350"/>
                        <a:pt x="18588" y="15935"/>
                      </a:cubicBezTo>
                      <a:cubicBezTo>
                        <a:pt x="14192" y="5636"/>
                        <a:pt x="0" y="1869"/>
                        <a:pt x="0" y="1869"/>
                      </a:cubicBezTo>
                      <a:cubicBezTo>
                        <a:pt x="0" y="1869"/>
                        <a:pt x="4773" y="-2653"/>
                        <a:pt x="13439" y="2371"/>
                      </a:cubicBezTo>
                      <a:close/>
                    </a:path>
                  </a:pathLst>
                </a:custGeom>
                <a:solidFill>
                  <a:srgbClr val="2A60A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4" name="Freeform: Shape 2663">
                  <a:extLst>
                    <a:ext uri="{FF2B5EF4-FFF2-40B4-BE49-F238E27FC236}">
                      <a16:creationId xmlns:a16="http://schemas.microsoft.com/office/drawing/2014/main" id="{A23CD90D-20F6-4AA6-92FF-881C72207CE3}"/>
                    </a:ext>
                  </a:extLst>
                </p:cNvPr>
                <p:cNvSpPr/>
                <p:nvPr/>
              </p:nvSpPr>
              <p:spPr>
                <a:xfrm>
                  <a:off x="5370311" y="3399449"/>
                  <a:ext cx="28260" cy="34413"/>
                </a:xfrm>
                <a:custGeom>
                  <a:avLst/>
                  <a:gdLst>
                    <a:gd name="connsiteX0" fmla="*/ 0 w 28260"/>
                    <a:gd name="connsiteY0" fmla="*/ 0 h 34413"/>
                    <a:gd name="connsiteX1" fmla="*/ 13313 w 28260"/>
                    <a:gd name="connsiteY1" fmla="*/ 9671 h 34413"/>
                    <a:gd name="connsiteX2" fmla="*/ 16704 w 28260"/>
                    <a:gd name="connsiteY2" fmla="*/ 24868 h 34413"/>
                    <a:gd name="connsiteX3" fmla="*/ 27254 w 28260"/>
                    <a:gd name="connsiteY3" fmla="*/ 34413 h 34413"/>
                    <a:gd name="connsiteX4" fmla="*/ 26626 w 28260"/>
                    <a:gd name="connsiteY4" fmla="*/ 27380 h 34413"/>
                    <a:gd name="connsiteX5" fmla="*/ 18839 w 28260"/>
                    <a:gd name="connsiteY5" fmla="*/ 15699 h 34413"/>
                    <a:gd name="connsiteX6" fmla="*/ 0 w 28260"/>
                    <a:gd name="connsiteY6" fmla="*/ 0 h 3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260" h="34413">
                      <a:moveTo>
                        <a:pt x="0" y="0"/>
                      </a:moveTo>
                      <a:cubicBezTo>
                        <a:pt x="0" y="0"/>
                        <a:pt x="9545" y="3768"/>
                        <a:pt x="13313" y="9671"/>
                      </a:cubicBezTo>
                      <a:cubicBezTo>
                        <a:pt x="15071" y="12559"/>
                        <a:pt x="15071" y="22482"/>
                        <a:pt x="16704" y="24868"/>
                      </a:cubicBezTo>
                      <a:cubicBezTo>
                        <a:pt x="18462" y="27380"/>
                        <a:pt x="27254" y="34413"/>
                        <a:pt x="27254" y="34413"/>
                      </a:cubicBezTo>
                      <a:cubicBezTo>
                        <a:pt x="27254" y="34413"/>
                        <a:pt x="29892" y="31901"/>
                        <a:pt x="26626" y="27380"/>
                      </a:cubicBezTo>
                      <a:cubicBezTo>
                        <a:pt x="23235" y="22858"/>
                        <a:pt x="19216" y="22482"/>
                        <a:pt x="18839" y="15699"/>
                      </a:cubicBezTo>
                      <a:cubicBezTo>
                        <a:pt x="18714" y="11304"/>
                        <a:pt x="21100" y="1256"/>
                        <a:pt x="0" y="0"/>
                      </a:cubicBezTo>
                      <a:close/>
                    </a:path>
                  </a:pathLst>
                </a:custGeom>
                <a:solidFill>
                  <a:srgbClr val="2A60A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665" name="Graphic 4">
              <a:extLst>
                <a:ext uri="{FF2B5EF4-FFF2-40B4-BE49-F238E27FC236}">
                  <a16:creationId xmlns:a16="http://schemas.microsoft.com/office/drawing/2014/main" id="{84FB7ED1-A2DF-40A1-A747-5F7CF3F14040}"/>
                </a:ext>
              </a:extLst>
            </p:cNvPr>
            <p:cNvGrpSpPr/>
            <p:nvPr/>
          </p:nvGrpSpPr>
          <p:grpSpPr>
            <a:xfrm>
              <a:off x="5165592" y="3629587"/>
              <a:ext cx="519083" cy="467918"/>
              <a:chOff x="5165592" y="3629587"/>
              <a:chExt cx="519083" cy="467918"/>
            </a:xfrm>
            <a:solidFill>
              <a:schemeClr val="accent1"/>
            </a:solidFill>
          </p:grpSpPr>
          <p:grpSp>
            <p:nvGrpSpPr>
              <p:cNvPr id="2666" name="Graphic 4">
                <a:extLst>
                  <a:ext uri="{FF2B5EF4-FFF2-40B4-BE49-F238E27FC236}">
                    <a16:creationId xmlns:a16="http://schemas.microsoft.com/office/drawing/2014/main" id="{84FB7ED1-A2DF-40A1-A747-5F7CF3F14040}"/>
                  </a:ext>
                </a:extLst>
              </p:cNvPr>
              <p:cNvGrpSpPr/>
              <p:nvPr/>
            </p:nvGrpSpPr>
            <p:grpSpPr>
              <a:xfrm>
                <a:off x="5648378" y="3732150"/>
                <a:ext cx="25244" cy="169050"/>
                <a:chOff x="5648378" y="3732150"/>
                <a:chExt cx="25244" cy="169050"/>
              </a:xfrm>
              <a:solidFill>
                <a:schemeClr val="accent1"/>
              </a:solidFill>
            </p:grpSpPr>
            <p:sp>
              <p:nvSpPr>
                <p:cNvPr id="2667" name="Freeform: Shape 2666">
                  <a:extLst>
                    <a:ext uri="{FF2B5EF4-FFF2-40B4-BE49-F238E27FC236}">
                      <a16:creationId xmlns:a16="http://schemas.microsoft.com/office/drawing/2014/main" id="{7645E4A6-84BC-47ED-9DD2-1D6E947CB7DC}"/>
                    </a:ext>
                  </a:extLst>
                </p:cNvPr>
                <p:cNvSpPr/>
                <p:nvPr/>
              </p:nvSpPr>
              <p:spPr>
                <a:xfrm>
                  <a:off x="5648378" y="3732150"/>
                  <a:ext cx="25244" cy="14317"/>
                </a:xfrm>
                <a:custGeom>
                  <a:avLst/>
                  <a:gdLst>
                    <a:gd name="connsiteX0" fmla="*/ 0 w 25244"/>
                    <a:gd name="connsiteY0" fmla="*/ 9043 h 14317"/>
                    <a:gd name="connsiteX1" fmla="*/ 0 w 25244"/>
                    <a:gd name="connsiteY1" fmla="*/ 9043 h 14317"/>
                    <a:gd name="connsiteX2" fmla="*/ 9169 w 25244"/>
                    <a:gd name="connsiteY2" fmla="*/ 14318 h 14317"/>
                    <a:gd name="connsiteX3" fmla="*/ 25245 w 25244"/>
                    <a:gd name="connsiteY3" fmla="*/ 5024 h 14317"/>
                    <a:gd name="connsiteX4" fmla="*/ 16453 w 25244"/>
                    <a:gd name="connsiteY4" fmla="*/ 0 h 1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4" h="14317">
                      <a:moveTo>
                        <a:pt x="0" y="9043"/>
                      </a:moveTo>
                      <a:lnTo>
                        <a:pt x="0" y="9043"/>
                      </a:lnTo>
                      <a:lnTo>
                        <a:pt x="9169" y="14318"/>
                      </a:lnTo>
                      <a:lnTo>
                        <a:pt x="25245" y="5024"/>
                      </a:lnTo>
                      <a:lnTo>
                        <a:pt x="16453" y="0"/>
                      </a:lnTo>
                      <a:close/>
                    </a:path>
                  </a:pathLst>
                </a:custGeom>
                <a:solidFill>
                  <a:srgbClr val="F4C0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8" name="Freeform: Shape 2667">
                  <a:extLst>
                    <a:ext uri="{FF2B5EF4-FFF2-40B4-BE49-F238E27FC236}">
                      <a16:creationId xmlns:a16="http://schemas.microsoft.com/office/drawing/2014/main" id="{AA42E825-F4C6-4A5B-8BF2-8DD2BAEBA65E}"/>
                    </a:ext>
                  </a:extLst>
                </p:cNvPr>
                <p:cNvSpPr/>
                <p:nvPr/>
              </p:nvSpPr>
              <p:spPr>
                <a:xfrm>
                  <a:off x="5657547" y="3737174"/>
                  <a:ext cx="16076" cy="164026"/>
                </a:xfrm>
                <a:custGeom>
                  <a:avLst/>
                  <a:gdLst>
                    <a:gd name="connsiteX0" fmla="*/ 0 w 16076"/>
                    <a:gd name="connsiteY0" fmla="*/ 9294 h 164026"/>
                    <a:gd name="connsiteX1" fmla="*/ 16076 w 16076"/>
                    <a:gd name="connsiteY1" fmla="*/ 0 h 164026"/>
                    <a:gd name="connsiteX2" fmla="*/ 16076 w 16076"/>
                    <a:gd name="connsiteY2" fmla="*/ 74603 h 164026"/>
                    <a:gd name="connsiteX3" fmla="*/ 16076 w 16076"/>
                    <a:gd name="connsiteY3" fmla="*/ 80130 h 164026"/>
                    <a:gd name="connsiteX4" fmla="*/ 16076 w 16076"/>
                    <a:gd name="connsiteY4" fmla="*/ 154733 h 164026"/>
                    <a:gd name="connsiteX5" fmla="*/ 0 w 16076"/>
                    <a:gd name="connsiteY5" fmla="*/ 164027 h 164026"/>
                    <a:gd name="connsiteX6" fmla="*/ 0 w 16076"/>
                    <a:gd name="connsiteY6" fmla="*/ 83897 h 164026"/>
                    <a:gd name="connsiteX7" fmla="*/ 0 w 16076"/>
                    <a:gd name="connsiteY7" fmla="*/ 83897 h 16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 h="164026">
                      <a:moveTo>
                        <a:pt x="0" y="9294"/>
                      </a:moveTo>
                      <a:lnTo>
                        <a:pt x="16076" y="0"/>
                      </a:lnTo>
                      <a:lnTo>
                        <a:pt x="16076" y="74603"/>
                      </a:lnTo>
                      <a:lnTo>
                        <a:pt x="16076" y="80130"/>
                      </a:lnTo>
                      <a:lnTo>
                        <a:pt x="16076" y="154733"/>
                      </a:lnTo>
                      <a:lnTo>
                        <a:pt x="0" y="164027"/>
                      </a:lnTo>
                      <a:lnTo>
                        <a:pt x="0" y="83897"/>
                      </a:lnTo>
                      <a:lnTo>
                        <a:pt x="0" y="83897"/>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9" name="Freeform: Shape 2668">
                  <a:extLst>
                    <a:ext uri="{FF2B5EF4-FFF2-40B4-BE49-F238E27FC236}">
                      <a16:creationId xmlns:a16="http://schemas.microsoft.com/office/drawing/2014/main" id="{210A0C6F-CC75-43AB-9284-801114350157}"/>
                    </a:ext>
                  </a:extLst>
                </p:cNvPr>
                <p:cNvSpPr/>
                <p:nvPr/>
              </p:nvSpPr>
              <p:spPr>
                <a:xfrm>
                  <a:off x="5648378" y="3741193"/>
                  <a:ext cx="9168" cy="160007"/>
                </a:xfrm>
                <a:custGeom>
                  <a:avLst/>
                  <a:gdLst>
                    <a:gd name="connsiteX0" fmla="*/ 9169 w 9168"/>
                    <a:gd name="connsiteY0" fmla="*/ 5275 h 160007"/>
                    <a:gd name="connsiteX1" fmla="*/ 9169 w 9168"/>
                    <a:gd name="connsiteY1" fmla="*/ 79878 h 160007"/>
                    <a:gd name="connsiteX2" fmla="*/ 9169 w 9168"/>
                    <a:gd name="connsiteY2" fmla="*/ 85404 h 160007"/>
                    <a:gd name="connsiteX3" fmla="*/ 9169 w 9168"/>
                    <a:gd name="connsiteY3" fmla="*/ 160008 h 160007"/>
                    <a:gd name="connsiteX4" fmla="*/ 0 w 9168"/>
                    <a:gd name="connsiteY4" fmla="*/ 154733 h 160007"/>
                    <a:gd name="connsiteX5" fmla="*/ 0 w 9168"/>
                    <a:gd name="connsiteY5" fmla="*/ 80130 h 160007"/>
                    <a:gd name="connsiteX6" fmla="*/ 0 w 9168"/>
                    <a:gd name="connsiteY6" fmla="*/ 74603 h 160007"/>
                    <a:gd name="connsiteX7" fmla="*/ 0 w 9168"/>
                    <a:gd name="connsiteY7" fmla="*/ 0 h 1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8" h="160007">
                      <a:moveTo>
                        <a:pt x="9169" y="5275"/>
                      </a:moveTo>
                      <a:lnTo>
                        <a:pt x="9169" y="79878"/>
                      </a:lnTo>
                      <a:lnTo>
                        <a:pt x="9169" y="85404"/>
                      </a:lnTo>
                      <a:lnTo>
                        <a:pt x="9169" y="160008"/>
                      </a:lnTo>
                      <a:lnTo>
                        <a:pt x="0" y="154733"/>
                      </a:lnTo>
                      <a:lnTo>
                        <a:pt x="0" y="80130"/>
                      </a:lnTo>
                      <a:lnTo>
                        <a:pt x="0" y="74603"/>
                      </a:lnTo>
                      <a:lnTo>
                        <a:pt x="0" y="0"/>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70" name="Graphic 4">
                <a:extLst>
                  <a:ext uri="{FF2B5EF4-FFF2-40B4-BE49-F238E27FC236}">
                    <a16:creationId xmlns:a16="http://schemas.microsoft.com/office/drawing/2014/main" id="{84FB7ED1-A2DF-40A1-A747-5F7CF3F14040}"/>
                  </a:ext>
                </a:extLst>
              </p:cNvPr>
              <p:cNvGrpSpPr/>
              <p:nvPr/>
            </p:nvGrpSpPr>
            <p:grpSpPr>
              <a:xfrm>
                <a:off x="5544762" y="3797208"/>
                <a:ext cx="108388" cy="85278"/>
                <a:chOff x="5544762" y="3797208"/>
                <a:chExt cx="108388" cy="85278"/>
              </a:xfrm>
              <a:solidFill>
                <a:schemeClr val="accent1"/>
              </a:solidFill>
            </p:grpSpPr>
            <p:sp>
              <p:nvSpPr>
                <p:cNvPr id="2671" name="Freeform: Shape 2670">
                  <a:extLst>
                    <a:ext uri="{FF2B5EF4-FFF2-40B4-BE49-F238E27FC236}">
                      <a16:creationId xmlns:a16="http://schemas.microsoft.com/office/drawing/2014/main" id="{2F8ED4CE-0064-4B13-9065-048FC22C7179}"/>
                    </a:ext>
                  </a:extLst>
                </p:cNvPr>
                <p:cNvSpPr/>
                <p:nvPr/>
              </p:nvSpPr>
              <p:spPr>
                <a:xfrm>
                  <a:off x="5548656" y="3799846"/>
                  <a:ext cx="104494" cy="82641"/>
                </a:xfrm>
                <a:custGeom>
                  <a:avLst/>
                  <a:gdLst>
                    <a:gd name="connsiteX0" fmla="*/ 104495 w 104494"/>
                    <a:gd name="connsiteY0" fmla="*/ 0 h 82641"/>
                    <a:gd name="connsiteX1" fmla="*/ 104495 w 104494"/>
                    <a:gd name="connsiteY1" fmla="*/ 22230 h 82641"/>
                    <a:gd name="connsiteX2" fmla="*/ 502 w 104494"/>
                    <a:gd name="connsiteY2" fmla="*/ 82641 h 82641"/>
                    <a:gd name="connsiteX3" fmla="*/ 0 w 104494"/>
                    <a:gd name="connsiteY3" fmla="*/ 60411 h 82641"/>
                  </a:gdLst>
                  <a:ahLst/>
                  <a:cxnLst>
                    <a:cxn ang="0">
                      <a:pos x="connsiteX0" y="connsiteY0"/>
                    </a:cxn>
                    <a:cxn ang="0">
                      <a:pos x="connsiteX1" y="connsiteY1"/>
                    </a:cxn>
                    <a:cxn ang="0">
                      <a:pos x="connsiteX2" y="connsiteY2"/>
                    </a:cxn>
                    <a:cxn ang="0">
                      <a:pos x="connsiteX3" y="connsiteY3"/>
                    </a:cxn>
                  </a:cxnLst>
                  <a:rect l="l" t="t" r="r" b="b"/>
                  <a:pathLst>
                    <a:path w="104494" h="82641">
                      <a:moveTo>
                        <a:pt x="104495" y="0"/>
                      </a:moveTo>
                      <a:lnTo>
                        <a:pt x="104495" y="22230"/>
                      </a:lnTo>
                      <a:lnTo>
                        <a:pt x="502" y="82641"/>
                      </a:lnTo>
                      <a:lnTo>
                        <a:pt x="0" y="60411"/>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2" name="Freeform: Shape 2671">
                  <a:extLst>
                    <a:ext uri="{FF2B5EF4-FFF2-40B4-BE49-F238E27FC236}">
                      <a16:creationId xmlns:a16="http://schemas.microsoft.com/office/drawing/2014/main" id="{4DB7BB41-2BBB-4E80-914D-D3C41203B7B7}"/>
                    </a:ext>
                  </a:extLst>
                </p:cNvPr>
                <p:cNvSpPr/>
                <p:nvPr/>
              </p:nvSpPr>
              <p:spPr>
                <a:xfrm>
                  <a:off x="5544762" y="3797208"/>
                  <a:ext cx="108388" cy="62546"/>
                </a:xfrm>
                <a:custGeom>
                  <a:avLst/>
                  <a:gdLst>
                    <a:gd name="connsiteX0" fmla="*/ 4522 w 108388"/>
                    <a:gd name="connsiteY0" fmla="*/ 62546 h 62546"/>
                    <a:gd name="connsiteX1" fmla="*/ 0 w 108388"/>
                    <a:gd name="connsiteY1" fmla="*/ 60034 h 62546"/>
                    <a:gd name="connsiteX2" fmla="*/ 103867 w 108388"/>
                    <a:gd name="connsiteY2" fmla="*/ 0 h 62546"/>
                    <a:gd name="connsiteX3" fmla="*/ 108388 w 108388"/>
                    <a:gd name="connsiteY3" fmla="*/ 2637 h 62546"/>
                  </a:gdLst>
                  <a:ahLst/>
                  <a:cxnLst>
                    <a:cxn ang="0">
                      <a:pos x="connsiteX0" y="connsiteY0"/>
                    </a:cxn>
                    <a:cxn ang="0">
                      <a:pos x="connsiteX1" y="connsiteY1"/>
                    </a:cxn>
                    <a:cxn ang="0">
                      <a:pos x="connsiteX2" y="connsiteY2"/>
                    </a:cxn>
                    <a:cxn ang="0">
                      <a:pos x="connsiteX3" y="connsiteY3"/>
                    </a:cxn>
                  </a:cxnLst>
                  <a:rect l="l" t="t" r="r" b="b"/>
                  <a:pathLst>
                    <a:path w="108388" h="62546">
                      <a:moveTo>
                        <a:pt x="4522" y="62546"/>
                      </a:moveTo>
                      <a:lnTo>
                        <a:pt x="0" y="60034"/>
                      </a:lnTo>
                      <a:lnTo>
                        <a:pt x="103867" y="0"/>
                      </a:lnTo>
                      <a:lnTo>
                        <a:pt x="108388" y="2637"/>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3" name="Freeform: Shape 2672">
                  <a:extLst>
                    <a:ext uri="{FF2B5EF4-FFF2-40B4-BE49-F238E27FC236}">
                      <a16:creationId xmlns:a16="http://schemas.microsoft.com/office/drawing/2014/main" id="{9E9EF566-0FA5-4C58-A8DC-6F9C23F9282A}"/>
                    </a:ext>
                  </a:extLst>
                </p:cNvPr>
                <p:cNvSpPr/>
                <p:nvPr/>
              </p:nvSpPr>
              <p:spPr>
                <a:xfrm>
                  <a:off x="5544762" y="3857242"/>
                  <a:ext cx="4395" cy="25244"/>
                </a:xfrm>
                <a:custGeom>
                  <a:avLst/>
                  <a:gdLst>
                    <a:gd name="connsiteX0" fmla="*/ 4396 w 4395"/>
                    <a:gd name="connsiteY0" fmla="*/ 2512 h 25244"/>
                    <a:gd name="connsiteX1" fmla="*/ 0 w 4395"/>
                    <a:gd name="connsiteY1" fmla="*/ 0 h 25244"/>
                    <a:gd name="connsiteX2" fmla="*/ 0 w 4395"/>
                    <a:gd name="connsiteY2" fmla="*/ 22607 h 25244"/>
                    <a:gd name="connsiteX3" fmla="*/ 4396 w 4395"/>
                    <a:gd name="connsiteY3" fmla="*/ 25244 h 25244"/>
                  </a:gdLst>
                  <a:ahLst/>
                  <a:cxnLst>
                    <a:cxn ang="0">
                      <a:pos x="connsiteX0" y="connsiteY0"/>
                    </a:cxn>
                    <a:cxn ang="0">
                      <a:pos x="connsiteX1" y="connsiteY1"/>
                    </a:cxn>
                    <a:cxn ang="0">
                      <a:pos x="connsiteX2" y="connsiteY2"/>
                    </a:cxn>
                    <a:cxn ang="0">
                      <a:pos x="connsiteX3" y="connsiteY3"/>
                    </a:cxn>
                  </a:cxnLst>
                  <a:rect l="l" t="t" r="r" b="b"/>
                  <a:pathLst>
                    <a:path w="4395" h="25244">
                      <a:moveTo>
                        <a:pt x="4396" y="2512"/>
                      </a:moveTo>
                      <a:lnTo>
                        <a:pt x="0" y="0"/>
                      </a:lnTo>
                      <a:lnTo>
                        <a:pt x="0" y="22607"/>
                      </a:lnTo>
                      <a:lnTo>
                        <a:pt x="4396" y="25244"/>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74" name="Graphic 4">
                <a:extLst>
                  <a:ext uri="{FF2B5EF4-FFF2-40B4-BE49-F238E27FC236}">
                    <a16:creationId xmlns:a16="http://schemas.microsoft.com/office/drawing/2014/main" id="{84FB7ED1-A2DF-40A1-A747-5F7CF3F14040}"/>
                  </a:ext>
                </a:extLst>
              </p:cNvPr>
              <p:cNvGrpSpPr/>
              <p:nvPr/>
            </p:nvGrpSpPr>
            <p:grpSpPr>
              <a:xfrm>
                <a:off x="5497288" y="3819187"/>
                <a:ext cx="25244" cy="168924"/>
                <a:chOff x="5497288" y="3819187"/>
                <a:chExt cx="25244" cy="168924"/>
              </a:xfrm>
              <a:solidFill>
                <a:schemeClr val="accent1"/>
              </a:solidFill>
            </p:grpSpPr>
            <p:sp>
              <p:nvSpPr>
                <p:cNvPr id="2675" name="Freeform: Shape 2674">
                  <a:extLst>
                    <a:ext uri="{FF2B5EF4-FFF2-40B4-BE49-F238E27FC236}">
                      <a16:creationId xmlns:a16="http://schemas.microsoft.com/office/drawing/2014/main" id="{97AD6090-8F69-46F2-8231-CA1CBB6447A9}"/>
                    </a:ext>
                  </a:extLst>
                </p:cNvPr>
                <p:cNvSpPr/>
                <p:nvPr/>
              </p:nvSpPr>
              <p:spPr>
                <a:xfrm>
                  <a:off x="5497288" y="3819187"/>
                  <a:ext cx="25244" cy="14317"/>
                </a:xfrm>
                <a:custGeom>
                  <a:avLst/>
                  <a:gdLst>
                    <a:gd name="connsiteX0" fmla="*/ 0 w 25244"/>
                    <a:gd name="connsiteY0" fmla="*/ 8917 h 14317"/>
                    <a:gd name="connsiteX1" fmla="*/ 0 w 25244"/>
                    <a:gd name="connsiteY1" fmla="*/ 9043 h 14317"/>
                    <a:gd name="connsiteX2" fmla="*/ 9169 w 25244"/>
                    <a:gd name="connsiteY2" fmla="*/ 14318 h 14317"/>
                    <a:gd name="connsiteX3" fmla="*/ 25245 w 25244"/>
                    <a:gd name="connsiteY3" fmla="*/ 5024 h 14317"/>
                    <a:gd name="connsiteX4" fmla="*/ 16579 w 25244"/>
                    <a:gd name="connsiteY4" fmla="*/ 0 h 1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4" h="14317">
                      <a:moveTo>
                        <a:pt x="0" y="8917"/>
                      </a:moveTo>
                      <a:lnTo>
                        <a:pt x="0" y="9043"/>
                      </a:lnTo>
                      <a:lnTo>
                        <a:pt x="9169" y="14318"/>
                      </a:lnTo>
                      <a:lnTo>
                        <a:pt x="25245" y="5024"/>
                      </a:lnTo>
                      <a:lnTo>
                        <a:pt x="16579" y="0"/>
                      </a:lnTo>
                      <a:close/>
                    </a:path>
                  </a:pathLst>
                </a:custGeom>
                <a:solidFill>
                  <a:srgbClr val="F4C0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6" name="Freeform: Shape 2675">
                  <a:extLst>
                    <a:ext uri="{FF2B5EF4-FFF2-40B4-BE49-F238E27FC236}">
                      <a16:creationId xmlns:a16="http://schemas.microsoft.com/office/drawing/2014/main" id="{6E9A9F0F-417F-4128-AA10-D6C9019383FA}"/>
                    </a:ext>
                  </a:extLst>
                </p:cNvPr>
                <p:cNvSpPr/>
                <p:nvPr/>
              </p:nvSpPr>
              <p:spPr>
                <a:xfrm>
                  <a:off x="5506456" y="3824211"/>
                  <a:ext cx="16076" cy="163901"/>
                </a:xfrm>
                <a:custGeom>
                  <a:avLst/>
                  <a:gdLst>
                    <a:gd name="connsiteX0" fmla="*/ 0 w 16076"/>
                    <a:gd name="connsiteY0" fmla="*/ 9294 h 163901"/>
                    <a:gd name="connsiteX1" fmla="*/ 16076 w 16076"/>
                    <a:gd name="connsiteY1" fmla="*/ 0 h 163901"/>
                    <a:gd name="connsiteX2" fmla="*/ 16076 w 16076"/>
                    <a:gd name="connsiteY2" fmla="*/ 74603 h 163901"/>
                    <a:gd name="connsiteX3" fmla="*/ 16076 w 16076"/>
                    <a:gd name="connsiteY3" fmla="*/ 80004 h 163901"/>
                    <a:gd name="connsiteX4" fmla="*/ 16076 w 16076"/>
                    <a:gd name="connsiteY4" fmla="*/ 154607 h 163901"/>
                    <a:gd name="connsiteX5" fmla="*/ 0 w 16076"/>
                    <a:gd name="connsiteY5" fmla="*/ 163901 h 163901"/>
                    <a:gd name="connsiteX6" fmla="*/ 0 w 16076"/>
                    <a:gd name="connsiteY6" fmla="*/ 83897 h 163901"/>
                    <a:gd name="connsiteX7" fmla="*/ 0 w 16076"/>
                    <a:gd name="connsiteY7" fmla="*/ 83897 h 16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 h="163901">
                      <a:moveTo>
                        <a:pt x="0" y="9294"/>
                      </a:moveTo>
                      <a:lnTo>
                        <a:pt x="16076" y="0"/>
                      </a:lnTo>
                      <a:lnTo>
                        <a:pt x="16076" y="74603"/>
                      </a:lnTo>
                      <a:lnTo>
                        <a:pt x="16076" y="80004"/>
                      </a:lnTo>
                      <a:lnTo>
                        <a:pt x="16076" y="154607"/>
                      </a:lnTo>
                      <a:lnTo>
                        <a:pt x="0" y="163901"/>
                      </a:lnTo>
                      <a:lnTo>
                        <a:pt x="0" y="83897"/>
                      </a:lnTo>
                      <a:lnTo>
                        <a:pt x="0" y="83897"/>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7" name="Freeform: Shape 2676">
                  <a:extLst>
                    <a:ext uri="{FF2B5EF4-FFF2-40B4-BE49-F238E27FC236}">
                      <a16:creationId xmlns:a16="http://schemas.microsoft.com/office/drawing/2014/main" id="{83C757B4-EFBB-4BF9-A49C-54D4176FD005}"/>
                    </a:ext>
                  </a:extLst>
                </p:cNvPr>
                <p:cNvSpPr/>
                <p:nvPr/>
              </p:nvSpPr>
              <p:spPr>
                <a:xfrm>
                  <a:off x="5497288" y="3828230"/>
                  <a:ext cx="9168" cy="159882"/>
                </a:xfrm>
                <a:custGeom>
                  <a:avLst/>
                  <a:gdLst>
                    <a:gd name="connsiteX0" fmla="*/ 9169 w 9168"/>
                    <a:gd name="connsiteY0" fmla="*/ 5275 h 159882"/>
                    <a:gd name="connsiteX1" fmla="*/ 9169 w 9168"/>
                    <a:gd name="connsiteY1" fmla="*/ 79878 h 159882"/>
                    <a:gd name="connsiteX2" fmla="*/ 9169 w 9168"/>
                    <a:gd name="connsiteY2" fmla="*/ 85279 h 159882"/>
                    <a:gd name="connsiteX3" fmla="*/ 9169 w 9168"/>
                    <a:gd name="connsiteY3" fmla="*/ 159882 h 159882"/>
                    <a:gd name="connsiteX4" fmla="*/ 0 w 9168"/>
                    <a:gd name="connsiteY4" fmla="*/ 154607 h 159882"/>
                    <a:gd name="connsiteX5" fmla="*/ 0 w 9168"/>
                    <a:gd name="connsiteY5" fmla="*/ 80004 h 159882"/>
                    <a:gd name="connsiteX6" fmla="*/ 0 w 9168"/>
                    <a:gd name="connsiteY6" fmla="*/ 74603 h 159882"/>
                    <a:gd name="connsiteX7" fmla="*/ 0 w 9168"/>
                    <a:gd name="connsiteY7" fmla="*/ 0 h 15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8" h="159882">
                      <a:moveTo>
                        <a:pt x="9169" y="5275"/>
                      </a:moveTo>
                      <a:lnTo>
                        <a:pt x="9169" y="79878"/>
                      </a:lnTo>
                      <a:lnTo>
                        <a:pt x="9169" y="85279"/>
                      </a:lnTo>
                      <a:lnTo>
                        <a:pt x="9169" y="159882"/>
                      </a:lnTo>
                      <a:lnTo>
                        <a:pt x="0" y="154607"/>
                      </a:lnTo>
                      <a:lnTo>
                        <a:pt x="0" y="80004"/>
                      </a:lnTo>
                      <a:lnTo>
                        <a:pt x="0" y="74603"/>
                      </a:lnTo>
                      <a:lnTo>
                        <a:pt x="0" y="0"/>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78" name="Graphic 4">
                <a:extLst>
                  <a:ext uri="{FF2B5EF4-FFF2-40B4-BE49-F238E27FC236}">
                    <a16:creationId xmlns:a16="http://schemas.microsoft.com/office/drawing/2014/main" id="{84FB7ED1-A2DF-40A1-A747-5F7CF3F14040}"/>
                  </a:ext>
                </a:extLst>
              </p:cNvPr>
              <p:cNvGrpSpPr/>
              <p:nvPr/>
            </p:nvGrpSpPr>
            <p:grpSpPr>
              <a:xfrm>
                <a:off x="5394300" y="3883115"/>
                <a:ext cx="108387" cy="85153"/>
                <a:chOff x="5394300" y="3883115"/>
                <a:chExt cx="108387" cy="85153"/>
              </a:xfrm>
              <a:solidFill>
                <a:schemeClr val="accent1"/>
              </a:solidFill>
            </p:grpSpPr>
            <p:sp>
              <p:nvSpPr>
                <p:cNvPr id="2679" name="Freeform: Shape 2678">
                  <a:extLst>
                    <a:ext uri="{FF2B5EF4-FFF2-40B4-BE49-F238E27FC236}">
                      <a16:creationId xmlns:a16="http://schemas.microsoft.com/office/drawing/2014/main" id="{23D09725-D4DF-4FD2-B604-246DE4964C3E}"/>
                    </a:ext>
                  </a:extLst>
                </p:cNvPr>
                <p:cNvSpPr/>
                <p:nvPr/>
              </p:nvSpPr>
              <p:spPr>
                <a:xfrm>
                  <a:off x="5398194" y="3885752"/>
                  <a:ext cx="104494" cy="82515"/>
                </a:xfrm>
                <a:custGeom>
                  <a:avLst/>
                  <a:gdLst>
                    <a:gd name="connsiteX0" fmla="*/ 104495 w 104494"/>
                    <a:gd name="connsiteY0" fmla="*/ 0 h 82515"/>
                    <a:gd name="connsiteX1" fmla="*/ 104495 w 104494"/>
                    <a:gd name="connsiteY1" fmla="*/ 22105 h 82515"/>
                    <a:gd name="connsiteX2" fmla="*/ 502 w 104494"/>
                    <a:gd name="connsiteY2" fmla="*/ 82516 h 82515"/>
                    <a:gd name="connsiteX3" fmla="*/ 0 w 104494"/>
                    <a:gd name="connsiteY3" fmla="*/ 60286 h 82515"/>
                  </a:gdLst>
                  <a:ahLst/>
                  <a:cxnLst>
                    <a:cxn ang="0">
                      <a:pos x="connsiteX0" y="connsiteY0"/>
                    </a:cxn>
                    <a:cxn ang="0">
                      <a:pos x="connsiteX1" y="connsiteY1"/>
                    </a:cxn>
                    <a:cxn ang="0">
                      <a:pos x="connsiteX2" y="connsiteY2"/>
                    </a:cxn>
                    <a:cxn ang="0">
                      <a:pos x="connsiteX3" y="connsiteY3"/>
                    </a:cxn>
                  </a:cxnLst>
                  <a:rect l="l" t="t" r="r" b="b"/>
                  <a:pathLst>
                    <a:path w="104494" h="82515">
                      <a:moveTo>
                        <a:pt x="104495" y="0"/>
                      </a:moveTo>
                      <a:lnTo>
                        <a:pt x="104495" y="22105"/>
                      </a:lnTo>
                      <a:lnTo>
                        <a:pt x="502" y="82516"/>
                      </a:lnTo>
                      <a:lnTo>
                        <a:pt x="0" y="60286"/>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0" name="Freeform: Shape 2679">
                  <a:extLst>
                    <a:ext uri="{FF2B5EF4-FFF2-40B4-BE49-F238E27FC236}">
                      <a16:creationId xmlns:a16="http://schemas.microsoft.com/office/drawing/2014/main" id="{8FB2F0A6-24A1-4D64-BC8E-F05C1EE4A98B}"/>
                    </a:ext>
                  </a:extLst>
                </p:cNvPr>
                <p:cNvSpPr/>
                <p:nvPr/>
              </p:nvSpPr>
              <p:spPr>
                <a:xfrm>
                  <a:off x="5394300" y="3883115"/>
                  <a:ext cx="108387" cy="62546"/>
                </a:xfrm>
                <a:custGeom>
                  <a:avLst/>
                  <a:gdLst>
                    <a:gd name="connsiteX0" fmla="*/ 4521 w 108387"/>
                    <a:gd name="connsiteY0" fmla="*/ 62546 h 62546"/>
                    <a:gd name="connsiteX1" fmla="*/ 0 w 108387"/>
                    <a:gd name="connsiteY1" fmla="*/ 59909 h 62546"/>
                    <a:gd name="connsiteX2" fmla="*/ 103867 w 108387"/>
                    <a:gd name="connsiteY2" fmla="*/ 0 h 62546"/>
                    <a:gd name="connsiteX3" fmla="*/ 108388 w 108387"/>
                    <a:gd name="connsiteY3" fmla="*/ 2637 h 62546"/>
                  </a:gdLst>
                  <a:ahLst/>
                  <a:cxnLst>
                    <a:cxn ang="0">
                      <a:pos x="connsiteX0" y="connsiteY0"/>
                    </a:cxn>
                    <a:cxn ang="0">
                      <a:pos x="connsiteX1" y="connsiteY1"/>
                    </a:cxn>
                    <a:cxn ang="0">
                      <a:pos x="connsiteX2" y="connsiteY2"/>
                    </a:cxn>
                    <a:cxn ang="0">
                      <a:pos x="connsiteX3" y="connsiteY3"/>
                    </a:cxn>
                  </a:cxnLst>
                  <a:rect l="l" t="t" r="r" b="b"/>
                  <a:pathLst>
                    <a:path w="108387" h="62546">
                      <a:moveTo>
                        <a:pt x="4521" y="62546"/>
                      </a:moveTo>
                      <a:lnTo>
                        <a:pt x="0" y="59909"/>
                      </a:lnTo>
                      <a:lnTo>
                        <a:pt x="103867" y="0"/>
                      </a:lnTo>
                      <a:lnTo>
                        <a:pt x="108388" y="2637"/>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1" name="Freeform: Shape 2680">
                  <a:extLst>
                    <a:ext uri="{FF2B5EF4-FFF2-40B4-BE49-F238E27FC236}">
                      <a16:creationId xmlns:a16="http://schemas.microsoft.com/office/drawing/2014/main" id="{72FC8A51-A967-4013-996C-F483C401007D}"/>
                    </a:ext>
                  </a:extLst>
                </p:cNvPr>
                <p:cNvSpPr/>
                <p:nvPr/>
              </p:nvSpPr>
              <p:spPr>
                <a:xfrm>
                  <a:off x="5394300" y="3943149"/>
                  <a:ext cx="4395" cy="25118"/>
                </a:xfrm>
                <a:custGeom>
                  <a:avLst/>
                  <a:gdLst>
                    <a:gd name="connsiteX0" fmla="*/ 4396 w 4395"/>
                    <a:gd name="connsiteY0" fmla="*/ 2512 h 25118"/>
                    <a:gd name="connsiteX1" fmla="*/ 0 w 4395"/>
                    <a:gd name="connsiteY1" fmla="*/ 0 h 25118"/>
                    <a:gd name="connsiteX2" fmla="*/ 0 w 4395"/>
                    <a:gd name="connsiteY2" fmla="*/ 22607 h 25118"/>
                    <a:gd name="connsiteX3" fmla="*/ 4396 w 4395"/>
                    <a:gd name="connsiteY3" fmla="*/ 25119 h 25118"/>
                  </a:gdLst>
                  <a:ahLst/>
                  <a:cxnLst>
                    <a:cxn ang="0">
                      <a:pos x="connsiteX0" y="connsiteY0"/>
                    </a:cxn>
                    <a:cxn ang="0">
                      <a:pos x="connsiteX1" y="connsiteY1"/>
                    </a:cxn>
                    <a:cxn ang="0">
                      <a:pos x="connsiteX2" y="connsiteY2"/>
                    </a:cxn>
                    <a:cxn ang="0">
                      <a:pos x="connsiteX3" y="connsiteY3"/>
                    </a:cxn>
                  </a:cxnLst>
                  <a:rect l="l" t="t" r="r" b="b"/>
                  <a:pathLst>
                    <a:path w="4395" h="25118">
                      <a:moveTo>
                        <a:pt x="4396" y="2512"/>
                      </a:moveTo>
                      <a:lnTo>
                        <a:pt x="0" y="0"/>
                      </a:lnTo>
                      <a:lnTo>
                        <a:pt x="0" y="22607"/>
                      </a:lnTo>
                      <a:lnTo>
                        <a:pt x="4396" y="25119"/>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82" name="Graphic 4">
                <a:extLst>
                  <a:ext uri="{FF2B5EF4-FFF2-40B4-BE49-F238E27FC236}">
                    <a16:creationId xmlns:a16="http://schemas.microsoft.com/office/drawing/2014/main" id="{84FB7ED1-A2DF-40A1-A747-5F7CF3F14040}"/>
                  </a:ext>
                </a:extLst>
              </p:cNvPr>
              <p:cNvGrpSpPr/>
              <p:nvPr/>
            </p:nvGrpSpPr>
            <p:grpSpPr>
              <a:xfrm>
                <a:off x="5328614" y="3921044"/>
                <a:ext cx="108388" cy="85278"/>
                <a:chOff x="5328614" y="3921044"/>
                <a:chExt cx="108388" cy="85278"/>
              </a:xfrm>
              <a:solidFill>
                <a:schemeClr val="accent1"/>
              </a:solidFill>
            </p:grpSpPr>
            <p:sp>
              <p:nvSpPr>
                <p:cNvPr id="2683" name="Freeform: Shape 2682">
                  <a:extLst>
                    <a:ext uri="{FF2B5EF4-FFF2-40B4-BE49-F238E27FC236}">
                      <a16:creationId xmlns:a16="http://schemas.microsoft.com/office/drawing/2014/main" id="{766C4617-FC1A-4D32-A645-A2E329E92F85}"/>
                    </a:ext>
                  </a:extLst>
                </p:cNvPr>
                <p:cNvSpPr/>
                <p:nvPr/>
              </p:nvSpPr>
              <p:spPr>
                <a:xfrm>
                  <a:off x="5332507" y="3923808"/>
                  <a:ext cx="104494" cy="82515"/>
                </a:xfrm>
                <a:custGeom>
                  <a:avLst/>
                  <a:gdLst>
                    <a:gd name="connsiteX0" fmla="*/ 104495 w 104494"/>
                    <a:gd name="connsiteY0" fmla="*/ 0 h 82515"/>
                    <a:gd name="connsiteX1" fmla="*/ 104495 w 104494"/>
                    <a:gd name="connsiteY1" fmla="*/ 22105 h 82515"/>
                    <a:gd name="connsiteX2" fmla="*/ 502 w 104494"/>
                    <a:gd name="connsiteY2" fmla="*/ 82516 h 82515"/>
                    <a:gd name="connsiteX3" fmla="*/ 0 w 104494"/>
                    <a:gd name="connsiteY3" fmla="*/ 60286 h 82515"/>
                  </a:gdLst>
                  <a:ahLst/>
                  <a:cxnLst>
                    <a:cxn ang="0">
                      <a:pos x="connsiteX0" y="connsiteY0"/>
                    </a:cxn>
                    <a:cxn ang="0">
                      <a:pos x="connsiteX1" y="connsiteY1"/>
                    </a:cxn>
                    <a:cxn ang="0">
                      <a:pos x="connsiteX2" y="connsiteY2"/>
                    </a:cxn>
                    <a:cxn ang="0">
                      <a:pos x="connsiteX3" y="connsiteY3"/>
                    </a:cxn>
                  </a:cxnLst>
                  <a:rect l="l" t="t" r="r" b="b"/>
                  <a:pathLst>
                    <a:path w="104494" h="82515">
                      <a:moveTo>
                        <a:pt x="104495" y="0"/>
                      </a:moveTo>
                      <a:lnTo>
                        <a:pt x="104495" y="22105"/>
                      </a:lnTo>
                      <a:lnTo>
                        <a:pt x="502" y="82516"/>
                      </a:lnTo>
                      <a:lnTo>
                        <a:pt x="0" y="60286"/>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4" name="Freeform: Shape 2683">
                  <a:extLst>
                    <a:ext uri="{FF2B5EF4-FFF2-40B4-BE49-F238E27FC236}">
                      <a16:creationId xmlns:a16="http://schemas.microsoft.com/office/drawing/2014/main" id="{F836BC31-2D0E-4B9D-91F8-2F37B2EFC1DA}"/>
                    </a:ext>
                  </a:extLst>
                </p:cNvPr>
                <p:cNvSpPr/>
                <p:nvPr/>
              </p:nvSpPr>
              <p:spPr>
                <a:xfrm>
                  <a:off x="5328614" y="3921044"/>
                  <a:ext cx="108388" cy="62671"/>
                </a:xfrm>
                <a:custGeom>
                  <a:avLst/>
                  <a:gdLst>
                    <a:gd name="connsiteX0" fmla="*/ 4521 w 108388"/>
                    <a:gd name="connsiteY0" fmla="*/ 62672 h 62671"/>
                    <a:gd name="connsiteX1" fmla="*/ 0 w 108388"/>
                    <a:gd name="connsiteY1" fmla="*/ 60034 h 62671"/>
                    <a:gd name="connsiteX2" fmla="*/ 103867 w 108388"/>
                    <a:gd name="connsiteY2" fmla="*/ 0 h 62671"/>
                    <a:gd name="connsiteX3" fmla="*/ 108388 w 108388"/>
                    <a:gd name="connsiteY3" fmla="*/ 2638 h 62671"/>
                  </a:gdLst>
                  <a:ahLst/>
                  <a:cxnLst>
                    <a:cxn ang="0">
                      <a:pos x="connsiteX0" y="connsiteY0"/>
                    </a:cxn>
                    <a:cxn ang="0">
                      <a:pos x="connsiteX1" y="connsiteY1"/>
                    </a:cxn>
                    <a:cxn ang="0">
                      <a:pos x="connsiteX2" y="connsiteY2"/>
                    </a:cxn>
                    <a:cxn ang="0">
                      <a:pos x="connsiteX3" y="connsiteY3"/>
                    </a:cxn>
                  </a:cxnLst>
                  <a:rect l="l" t="t" r="r" b="b"/>
                  <a:pathLst>
                    <a:path w="108388" h="62671">
                      <a:moveTo>
                        <a:pt x="4521" y="62672"/>
                      </a:moveTo>
                      <a:lnTo>
                        <a:pt x="0" y="60034"/>
                      </a:lnTo>
                      <a:lnTo>
                        <a:pt x="103867" y="0"/>
                      </a:lnTo>
                      <a:lnTo>
                        <a:pt x="108388" y="2638"/>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5" name="Freeform: Shape 2684">
                  <a:extLst>
                    <a:ext uri="{FF2B5EF4-FFF2-40B4-BE49-F238E27FC236}">
                      <a16:creationId xmlns:a16="http://schemas.microsoft.com/office/drawing/2014/main" id="{4F0CD75A-0D9A-4EC4-A838-03F48A0C4003}"/>
                    </a:ext>
                  </a:extLst>
                </p:cNvPr>
                <p:cNvSpPr/>
                <p:nvPr/>
              </p:nvSpPr>
              <p:spPr>
                <a:xfrm>
                  <a:off x="5328614" y="3981079"/>
                  <a:ext cx="4395" cy="25244"/>
                </a:xfrm>
                <a:custGeom>
                  <a:avLst/>
                  <a:gdLst>
                    <a:gd name="connsiteX0" fmla="*/ 4396 w 4395"/>
                    <a:gd name="connsiteY0" fmla="*/ 2637 h 25244"/>
                    <a:gd name="connsiteX1" fmla="*/ 0 w 4395"/>
                    <a:gd name="connsiteY1" fmla="*/ 0 h 25244"/>
                    <a:gd name="connsiteX2" fmla="*/ 0 w 4395"/>
                    <a:gd name="connsiteY2" fmla="*/ 22607 h 25244"/>
                    <a:gd name="connsiteX3" fmla="*/ 4396 w 4395"/>
                    <a:gd name="connsiteY3" fmla="*/ 25244 h 25244"/>
                  </a:gdLst>
                  <a:ahLst/>
                  <a:cxnLst>
                    <a:cxn ang="0">
                      <a:pos x="connsiteX0" y="connsiteY0"/>
                    </a:cxn>
                    <a:cxn ang="0">
                      <a:pos x="connsiteX1" y="connsiteY1"/>
                    </a:cxn>
                    <a:cxn ang="0">
                      <a:pos x="connsiteX2" y="connsiteY2"/>
                    </a:cxn>
                    <a:cxn ang="0">
                      <a:pos x="connsiteX3" y="connsiteY3"/>
                    </a:cxn>
                  </a:cxnLst>
                  <a:rect l="l" t="t" r="r" b="b"/>
                  <a:pathLst>
                    <a:path w="4395" h="25244">
                      <a:moveTo>
                        <a:pt x="4396" y="2637"/>
                      </a:moveTo>
                      <a:lnTo>
                        <a:pt x="0" y="0"/>
                      </a:lnTo>
                      <a:lnTo>
                        <a:pt x="0" y="22607"/>
                      </a:lnTo>
                      <a:lnTo>
                        <a:pt x="4396" y="25244"/>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86" name="Graphic 4">
                <a:extLst>
                  <a:ext uri="{FF2B5EF4-FFF2-40B4-BE49-F238E27FC236}">
                    <a16:creationId xmlns:a16="http://schemas.microsoft.com/office/drawing/2014/main" id="{84FB7ED1-A2DF-40A1-A747-5F7CF3F14040}"/>
                  </a:ext>
                </a:extLst>
              </p:cNvPr>
              <p:cNvGrpSpPr/>
              <p:nvPr/>
            </p:nvGrpSpPr>
            <p:grpSpPr>
              <a:xfrm>
                <a:off x="5522532" y="3817429"/>
                <a:ext cx="95828" cy="80380"/>
                <a:chOff x="5522532" y="3817429"/>
                <a:chExt cx="95828" cy="80380"/>
              </a:xfrm>
              <a:solidFill>
                <a:schemeClr val="accent1"/>
              </a:solidFill>
            </p:grpSpPr>
            <p:sp>
              <p:nvSpPr>
                <p:cNvPr id="2687" name="Freeform: Shape 2686">
                  <a:extLst>
                    <a:ext uri="{FF2B5EF4-FFF2-40B4-BE49-F238E27FC236}">
                      <a16:creationId xmlns:a16="http://schemas.microsoft.com/office/drawing/2014/main" id="{BC411421-FD32-4C19-9EB9-277066EF146D}"/>
                    </a:ext>
                  </a:extLst>
                </p:cNvPr>
                <p:cNvSpPr/>
                <p:nvPr/>
              </p:nvSpPr>
              <p:spPr>
                <a:xfrm>
                  <a:off x="5522532" y="3820066"/>
                  <a:ext cx="95703" cy="77743"/>
                </a:xfrm>
                <a:custGeom>
                  <a:avLst/>
                  <a:gdLst>
                    <a:gd name="connsiteX0" fmla="*/ 0 w 95703"/>
                    <a:gd name="connsiteY0" fmla="*/ 55262 h 77743"/>
                    <a:gd name="connsiteX1" fmla="*/ 0 w 95703"/>
                    <a:gd name="connsiteY1" fmla="*/ 77743 h 77743"/>
                    <a:gd name="connsiteX2" fmla="*/ 95703 w 95703"/>
                    <a:gd name="connsiteY2" fmla="*/ 22105 h 77743"/>
                    <a:gd name="connsiteX3" fmla="*/ 95703 w 95703"/>
                    <a:gd name="connsiteY3" fmla="*/ 0 h 77743"/>
                  </a:gdLst>
                  <a:ahLst/>
                  <a:cxnLst>
                    <a:cxn ang="0">
                      <a:pos x="connsiteX0" y="connsiteY0"/>
                    </a:cxn>
                    <a:cxn ang="0">
                      <a:pos x="connsiteX1" y="connsiteY1"/>
                    </a:cxn>
                    <a:cxn ang="0">
                      <a:pos x="connsiteX2" y="connsiteY2"/>
                    </a:cxn>
                    <a:cxn ang="0">
                      <a:pos x="connsiteX3" y="connsiteY3"/>
                    </a:cxn>
                  </a:cxnLst>
                  <a:rect l="l" t="t" r="r" b="b"/>
                  <a:pathLst>
                    <a:path w="95703" h="77743">
                      <a:moveTo>
                        <a:pt x="0" y="55262"/>
                      </a:moveTo>
                      <a:lnTo>
                        <a:pt x="0" y="77743"/>
                      </a:lnTo>
                      <a:lnTo>
                        <a:pt x="95703" y="22105"/>
                      </a:lnTo>
                      <a:lnTo>
                        <a:pt x="95703" y="0"/>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8" name="Freeform: Shape 2687">
                  <a:extLst>
                    <a:ext uri="{FF2B5EF4-FFF2-40B4-BE49-F238E27FC236}">
                      <a16:creationId xmlns:a16="http://schemas.microsoft.com/office/drawing/2014/main" id="{92E79A76-EE8E-4F1F-94A2-ABF55CDDEA75}"/>
                    </a:ext>
                  </a:extLst>
                </p:cNvPr>
                <p:cNvSpPr/>
                <p:nvPr/>
              </p:nvSpPr>
              <p:spPr>
                <a:xfrm>
                  <a:off x="5522532" y="3817429"/>
                  <a:ext cx="95828" cy="57773"/>
                </a:xfrm>
                <a:custGeom>
                  <a:avLst/>
                  <a:gdLst>
                    <a:gd name="connsiteX0" fmla="*/ 0 w 95828"/>
                    <a:gd name="connsiteY0" fmla="*/ 57774 h 57773"/>
                    <a:gd name="connsiteX1" fmla="*/ 95829 w 95828"/>
                    <a:gd name="connsiteY1" fmla="*/ 2512 h 57773"/>
                    <a:gd name="connsiteX2" fmla="*/ 91307 w 95828"/>
                    <a:gd name="connsiteY2" fmla="*/ 0 h 57773"/>
                    <a:gd name="connsiteX3" fmla="*/ 0 w 95828"/>
                    <a:gd name="connsiteY3" fmla="*/ 52624 h 57773"/>
                  </a:gdLst>
                  <a:ahLst/>
                  <a:cxnLst>
                    <a:cxn ang="0">
                      <a:pos x="connsiteX0" y="connsiteY0"/>
                    </a:cxn>
                    <a:cxn ang="0">
                      <a:pos x="connsiteX1" y="connsiteY1"/>
                    </a:cxn>
                    <a:cxn ang="0">
                      <a:pos x="connsiteX2" y="connsiteY2"/>
                    </a:cxn>
                    <a:cxn ang="0">
                      <a:pos x="connsiteX3" y="connsiteY3"/>
                    </a:cxn>
                  </a:cxnLst>
                  <a:rect l="l" t="t" r="r" b="b"/>
                  <a:pathLst>
                    <a:path w="95828" h="57773">
                      <a:moveTo>
                        <a:pt x="0" y="57774"/>
                      </a:moveTo>
                      <a:lnTo>
                        <a:pt x="95829" y="2512"/>
                      </a:lnTo>
                      <a:lnTo>
                        <a:pt x="91307" y="0"/>
                      </a:lnTo>
                      <a:lnTo>
                        <a:pt x="0" y="52624"/>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89" name="Graphic 4">
                <a:extLst>
                  <a:ext uri="{FF2B5EF4-FFF2-40B4-BE49-F238E27FC236}">
                    <a16:creationId xmlns:a16="http://schemas.microsoft.com/office/drawing/2014/main" id="{84FB7ED1-A2DF-40A1-A747-5F7CF3F14040}"/>
                  </a:ext>
                </a:extLst>
              </p:cNvPr>
              <p:cNvGrpSpPr/>
              <p:nvPr/>
            </p:nvGrpSpPr>
            <p:grpSpPr>
              <a:xfrm>
                <a:off x="5176895" y="3853475"/>
                <a:ext cx="25118" cy="169050"/>
                <a:chOff x="5176895" y="3853475"/>
                <a:chExt cx="25118" cy="169050"/>
              </a:xfrm>
              <a:solidFill>
                <a:schemeClr val="accent1"/>
              </a:solidFill>
            </p:grpSpPr>
            <p:sp>
              <p:nvSpPr>
                <p:cNvPr id="2690" name="Freeform: Shape 2689">
                  <a:extLst>
                    <a:ext uri="{FF2B5EF4-FFF2-40B4-BE49-F238E27FC236}">
                      <a16:creationId xmlns:a16="http://schemas.microsoft.com/office/drawing/2014/main" id="{B0C84A60-7191-48B3-A3B5-CB37EBEFB4C2}"/>
                    </a:ext>
                  </a:extLst>
                </p:cNvPr>
                <p:cNvSpPr/>
                <p:nvPr/>
              </p:nvSpPr>
              <p:spPr>
                <a:xfrm>
                  <a:off x="5176895" y="3853475"/>
                  <a:ext cx="25118" cy="14317"/>
                </a:xfrm>
                <a:custGeom>
                  <a:avLst/>
                  <a:gdLst>
                    <a:gd name="connsiteX0" fmla="*/ 0 w 25118"/>
                    <a:gd name="connsiteY0" fmla="*/ 9043 h 14317"/>
                    <a:gd name="connsiteX1" fmla="*/ 0 w 25118"/>
                    <a:gd name="connsiteY1" fmla="*/ 9043 h 14317"/>
                    <a:gd name="connsiteX2" fmla="*/ 9043 w 25118"/>
                    <a:gd name="connsiteY2" fmla="*/ 14318 h 14317"/>
                    <a:gd name="connsiteX3" fmla="*/ 25119 w 25118"/>
                    <a:gd name="connsiteY3" fmla="*/ 5024 h 14317"/>
                    <a:gd name="connsiteX4" fmla="*/ 16453 w 25118"/>
                    <a:gd name="connsiteY4" fmla="*/ 0 h 1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18" h="14317">
                      <a:moveTo>
                        <a:pt x="0" y="9043"/>
                      </a:moveTo>
                      <a:lnTo>
                        <a:pt x="0" y="9043"/>
                      </a:lnTo>
                      <a:lnTo>
                        <a:pt x="9043" y="14318"/>
                      </a:lnTo>
                      <a:lnTo>
                        <a:pt x="25119" y="5024"/>
                      </a:lnTo>
                      <a:lnTo>
                        <a:pt x="16453" y="0"/>
                      </a:lnTo>
                      <a:close/>
                    </a:path>
                  </a:pathLst>
                </a:custGeom>
                <a:solidFill>
                  <a:srgbClr val="F4C0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91" name="Freeform: Shape 2690">
                  <a:extLst>
                    <a:ext uri="{FF2B5EF4-FFF2-40B4-BE49-F238E27FC236}">
                      <a16:creationId xmlns:a16="http://schemas.microsoft.com/office/drawing/2014/main" id="{513EF30E-9841-4332-A474-1685D89931F7}"/>
                    </a:ext>
                  </a:extLst>
                </p:cNvPr>
                <p:cNvSpPr/>
                <p:nvPr/>
              </p:nvSpPr>
              <p:spPr>
                <a:xfrm>
                  <a:off x="5185938" y="3858498"/>
                  <a:ext cx="16076" cy="164026"/>
                </a:xfrm>
                <a:custGeom>
                  <a:avLst/>
                  <a:gdLst>
                    <a:gd name="connsiteX0" fmla="*/ 0 w 16076"/>
                    <a:gd name="connsiteY0" fmla="*/ 9294 h 164026"/>
                    <a:gd name="connsiteX1" fmla="*/ 16076 w 16076"/>
                    <a:gd name="connsiteY1" fmla="*/ 0 h 164026"/>
                    <a:gd name="connsiteX2" fmla="*/ 16076 w 16076"/>
                    <a:gd name="connsiteY2" fmla="*/ 74603 h 164026"/>
                    <a:gd name="connsiteX3" fmla="*/ 16076 w 16076"/>
                    <a:gd name="connsiteY3" fmla="*/ 80004 h 164026"/>
                    <a:gd name="connsiteX4" fmla="*/ 16076 w 16076"/>
                    <a:gd name="connsiteY4" fmla="*/ 154733 h 164026"/>
                    <a:gd name="connsiteX5" fmla="*/ 126 w 16076"/>
                    <a:gd name="connsiteY5" fmla="*/ 164027 h 164026"/>
                    <a:gd name="connsiteX6" fmla="*/ 0 w 16076"/>
                    <a:gd name="connsiteY6" fmla="*/ 83897 h 164026"/>
                    <a:gd name="connsiteX7" fmla="*/ 126 w 16076"/>
                    <a:gd name="connsiteY7" fmla="*/ 83897 h 16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 h="164026">
                      <a:moveTo>
                        <a:pt x="0" y="9294"/>
                      </a:moveTo>
                      <a:lnTo>
                        <a:pt x="16076" y="0"/>
                      </a:lnTo>
                      <a:lnTo>
                        <a:pt x="16076" y="74603"/>
                      </a:lnTo>
                      <a:lnTo>
                        <a:pt x="16076" y="80004"/>
                      </a:lnTo>
                      <a:lnTo>
                        <a:pt x="16076" y="154733"/>
                      </a:lnTo>
                      <a:lnTo>
                        <a:pt x="126" y="164027"/>
                      </a:lnTo>
                      <a:lnTo>
                        <a:pt x="0" y="83897"/>
                      </a:lnTo>
                      <a:lnTo>
                        <a:pt x="126" y="83897"/>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92" name="Freeform: Shape 2691">
                  <a:extLst>
                    <a:ext uri="{FF2B5EF4-FFF2-40B4-BE49-F238E27FC236}">
                      <a16:creationId xmlns:a16="http://schemas.microsoft.com/office/drawing/2014/main" id="{D8AE0271-AFDC-48D9-98E6-0F9042DF9827}"/>
                    </a:ext>
                  </a:extLst>
                </p:cNvPr>
                <p:cNvSpPr/>
                <p:nvPr/>
              </p:nvSpPr>
              <p:spPr>
                <a:xfrm>
                  <a:off x="5176895" y="3862517"/>
                  <a:ext cx="9168" cy="160007"/>
                </a:xfrm>
                <a:custGeom>
                  <a:avLst/>
                  <a:gdLst>
                    <a:gd name="connsiteX0" fmla="*/ 9169 w 9168"/>
                    <a:gd name="connsiteY0" fmla="*/ 5275 h 160007"/>
                    <a:gd name="connsiteX1" fmla="*/ 9169 w 9168"/>
                    <a:gd name="connsiteY1" fmla="*/ 79878 h 160007"/>
                    <a:gd name="connsiteX2" fmla="*/ 9169 w 9168"/>
                    <a:gd name="connsiteY2" fmla="*/ 85279 h 160007"/>
                    <a:gd name="connsiteX3" fmla="*/ 9169 w 9168"/>
                    <a:gd name="connsiteY3" fmla="*/ 160008 h 160007"/>
                    <a:gd name="connsiteX4" fmla="*/ 0 w 9168"/>
                    <a:gd name="connsiteY4" fmla="*/ 154733 h 160007"/>
                    <a:gd name="connsiteX5" fmla="*/ 0 w 9168"/>
                    <a:gd name="connsiteY5" fmla="*/ 80004 h 160007"/>
                    <a:gd name="connsiteX6" fmla="*/ 0 w 9168"/>
                    <a:gd name="connsiteY6" fmla="*/ 74603 h 160007"/>
                    <a:gd name="connsiteX7" fmla="*/ 0 w 9168"/>
                    <a:gd name="connsiteY7" fmla="*/ 0 h 1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8" h="160007">
                      <a:moveTo>
                        <a:pt x="9169" y="5275"/>
                      </a:moveTo>
                      <a:lnTo>
                        <a:pt x="9169" y="79878"/>
                      </a:lnTo>
                      <a:lnTo>
                        <a:pt x="9169" y="85279"/>
                      </a:lnTo>
                      <a:lnTo>
                        <a:pt x="9169" y="160008"/>
                      </a:lnTo>
                      <a:lnTo>
                        <a:pt x="0" y="154733"/>
                      </a:lnTo>
                      <a:lnTo>
                        <a:pt x="0" y="80004"/>
                      </a:lnTo>
                      <a:lnTo>
                        <a:pt x="0" y="74603"/>
                      </a:lnTo>
                      <a:lnTo>
                        <a:pt x="0" y="0"/>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93" name="Graphic 4">
                <a:extLst>
                  <a:ext uri="{FF2B5EF4-FFF2-40B4-BE49-F238E27FC236}">
                    <a16:creationId xmlns:a16="http://schemas.microsoft.com/office/drawing/2014/main" id="{84FB7ED1-A2DF-40A1-A747-5F7CF3F14040}"/>
                  </a:ext>
                </a:extLst>
              </p:cNvPr>
              <p:cNvGrpSpPr/>
              <p:nvPr/>
            </p:nvGrpSpPr>
            <p:grpSpPr>
              <a:xfrm>
                <a:off x="5165592" y="3643103"/>
                <a:ext cx="387334" cy="231471"/>
                <a:chOff x="5165592" y="3643103"/>
                <a:chExt cx="387334" cy="231471"/>
              </a:xfrm>
              <a:solidFill>
                <a:schemeClr val="accent1"/>
              </a:solidFill>
            </p:grpSpPr>
            <p:grpSp>
              <p:nvGrpSpPr>
                <p:cNvPr id="2694" name="Graphic 4">
                  <a:extLst>
                    <a:ext uri="{FF2B5EF4-FFF2-40B4-BE49-F238E27FC236}">
                      <a16:creationId xmlns:a16="http://schemas.microsoft.com/office/drawing/2014/main" id="{84FB7ED1-A2DF-40A1-A747-5F7CF3F14040}"/>
                    </a:ext>
                  </a:extLst>
                </p:cNvPr>
                <p:cNvGrpSpPr/>
                <p:nvPr/>
              </p:nvGrpSpPr>
              <p:grpSpPr>
                <a:xfrm>
                  <a:off x="5165592" y="3643103"/>
                  <a:ext cx="387334" cy="231471"/>
                  <a:chOff x="5165592" y="3643103"/>
                  <a:chExt cx="387334" cy="231471"/>
                </a:xfrm>
                <a:solidFill>
                  <a:schemeClr val="accent1"/>
                </a:solidFill>
              </p:grpSpPr>
              <p:sp>
                <p:nvSpPr>
                  <p:cNvPr id="2695" name="Freeform: Shape 2694">
                    <a:extLst>
                      <a:ext uri="{FF2B5EF4-FFF2-40B4-BE49-F238E27FC236}">
                        <a16:creationId xmlns:a16="http://schemas.microsoft.com/office/drawing/2014/main" id="{E23D0024-7FA5-400D-9FDF-553BEA4FB371}"/>
                      </a:ext>
                    </a:extLst>
                  </p:cNvPr>
                  <p:cNvSpPr/>
                  <p:nvPr/>
                </p:nvSpPr>
                <p:spPr>
                  <a:xfrm>
                    <a:off x="5172625" y="3647876"/>
                    <a:ext cx="380175" cy="226698"/>
                  </a:xfrm>
                  <a:custGeom>
                    <a:avLst/>
                    <a:gdLst>
                      <a:gd name="connsiteX0" fmla="*/ 380176 w 380175"/>
                      <a:gd name="connsiteY0" fmla="*/ 0 h 226698"/>
                      <a:gd name="connsiteX1" fmla="*/ 190402 w 380175"/>
                      <a:gd name="connsiteY1" fmla="*/ 109644 h 226698"/>
                      <a:gd name="connsiteX2" fmla="*/ 190402 w 380175"/>
                      <a:gd name="connsiteY2" fmla="*/ 109644 h 226698"/>
                      <a:gd name="connsiteX3" fmla="*/ 0 w 380175"/>
                      <a:gd name="connsiteY3" fmla="*/ 219540 h 226698"/>
                      <a:gd name="connsiteX4" fmla="*/ 251 w 380175"/>
                      <a:gd name="connsiteY4" fmla="*/ 226196 h 226698"/>
                      <a:gd name="connsiteX5" fmla="*/ 1130 w 380175"/>
                      <a:gd name="connsiteY5" fmla="*/ 226699 h 226698"/>
                      <a:gd name="connsiteX6" fmla="*/ 190904 w 380175"/>
                      <a:gd name="connsiteY6" fmla="*/ 117180 h 226698"/>
                      <a:gd name="connsiteX7" fmla="*/ 190904 w 380175"/>
                      <a:gd name="connsiteY7" fmla="*/ 117180 h 226698"/>
                      <a:gd name="connsiteX8" fmla="*/ 380176 w 380175"/>
                      <a:gd name="connsiteY8" fmla="*/ 7787 h 22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175" h="226698">
                        <a:moveTo>
                          <a:pt x="380176" y="0"/>
                        </a:moveTo>
                        <a:lnTo>
                          <a:pt x="190402" y="109644"/>
                        </a:lnTo>
                        <a:lnTo>
                          <a:pt x="190402" y="109644"/>
                        </a:lnTo>
                        <a:lnTo>
                          <a:pt x="0" y="219540"/>
                        </a:lnTo>
                        <a:lnTo>
                          <a:pt x="251" y="226196"/>
                        </a:lnTo>
                        <a:lnTo>
                          <a:pt x="1130" y="226699"/>
                        </a:lnTo>
                        <a:lnTo>
                          <a:pt x="190904" y="117180"/>
                        </a:lnTo>
                        <a:lnTo>
                          <a:pt x="190904" y="117180"/>
                        </a:lnTo>
                        <a:lnTo>
                          <a:pt x="380176" y="7787"/>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96" name="Freeform: Shape 2695">
                    <a:extLst>
                      <a:ext uri="{FF2B5EF4-FFF2-40B4-BE49-F238E27FC236}">
                        <a16:creationId xmlns:a16="http://schemas.microsoft.com/office/drawing/2014/main" id="{18167BE9-2211-4DC1-AA21-95975794CFFB}"/>
                      </a:ext>
                    </a:extLst>
                  </p:cNvPr>
                  <p:cNvSpPr/>
                  <p:nvPr/>
                </p:nvSpPr>
                <p:spPr>
                  <a:xfrm>
                    <a:off x="5165592" y="3643103"/>
                    <a:ext cx="387334" cy="223684"/>
                  </a:xfrm>
                  <a:custGeom>
                    <a:avLst/>
                    <a:gdLst>
                      <a:gd name="connsiteX0" fmla="*/ 387334 w 387334"/>
                      <a:gd name="connsiteY0" fmla="*/ 4772 h 223684"/>
                      <a:gd name="connsiteX1" fmla="*/ 379045 w 387334"/>
                      <a:gd name="connsiteY1" fmla="*/ 0 h 223684"/>
                      <a:gd name="connsiteX2" fmla="*/ 189899 w 387334"/>
                      <a:gd name="connsiteY2" fmla="*/ 109393 h 223684"/>
                      <a:gd name="connsiteX3" fmla="*/ 189774 w 387334"/>
                      <a:gd name="connsiteY3" fmla="*/ 109267 h 223684"/>
                      <a:gd name="connsiteX4" fmla="*/ 0 w 387334"/>
                      <a:gd name="connsiteY4" fmla="*/ 219037 h 223684"/>
                      <a:gd name="connsiteX5" fmla="*/ 8164 w 387334"/>
                      <a:gd name="connsiteY5" fmla="*/ 223684 h 223684"/>
                      <a:gd name="connsiteX6" fmla="*/ 197435 w 387334"/>
                      <a:gd name="connsiteY6" fmla="*/ 114417 h 223684"/>
                      <a:gd name="connsiteX7" fmla="*/ 197435 w 387334"/>
                      <a:gd name="connsiteY7" fmla="*/ 114417 h 22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7334" h="223684">
                        <a:moveTo>
                          <a:pt x="387334" y="4772"/>
                        </a:moveTo>
                        <a:lnTo>
                          <a:pt x="379045" y="0"/>
                        </a:lnTo>
                        <a:lnTo>
                          <a:pt x="189899" y="109393"/>
                        </a:lnTo>
                        <a:lnTo>
                          <a:pt x="189774" y="109267"/>
                        </a:lnTo>
                        <a:lnTo>
                          <a:pt x="0" y="219037"/>
                        </a:lnTo>
                        <a:lnTo>
                          <a:pt x="8164" y="223684"/>
                        </a:lnTo>
                        <a:lnTo>
                          <a:pt x="197435" y="114417"/>
                        </a:lnTo>
                        <a:lnTo>
                          <a:pt x="197435" y="114417"/>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97" name="Freeform: Shape 2696">
                  <a:extLst>
                    <a:ext uri="{FF2B5EF4-FFF2-40B4-BE49-F238E27FC236}">
                      <a16:creationId xmlns:a16="http://schemas.microsoft.com/office/drawing/2014/main" id="{B458B402-323D-4DEE-AE89-95140BB7ADA1}"/>
                    </a:ext>
                  </a:extLst>
                </p:cNvPr>
                <p:cNvSpPr/>
                <p:nvPr/>
              </p:nvSpPr>
              <p:spPr>
                <a:xfrm>
                  <a:off x="5165592" y="3862141"/>
                  <a:ext cx="8163" cy="12433"/>
                </a:xfrm>
                <a:custGeom>
                  <a:avLst/>
                  <a:gdLst>
                    <a:gd name="connsiteX0" fmla="*/ 8164 w 8163"/>
                    <a:gd name="connsiteY0" fmla="*/ 4521 h 12433"/>
                    <a:gd name="connsiteX1" fmla="*/ 0 w 8163"/>
                    <a:gd name="connsiteY1" fmla="*/ 0 h 12433"/>
                    <a:gd name="connsiteX2" fmla="*/ 0 w 8163"/>
                    <a:gd name="connsiteY2" fmla="*/ 8289 h 12433"/>
                    <a:gd name="connsiteX3" fmla="*/ 8164 w 8163"/>
                    <a:gd name="connsiteY3" fmla="*/ 12434 h 12433"/>
                  </a:gdLst>
                  <a:ahLst/>
                  <a:cxnLst>
                    <a:cxn ang="0">
                      <a:pos x="connsiteX0" y="connsiteY0"/>
                    </a:cxn>
                    <a:cxn ang="0">
                      <a:pos x="connsiteX1" y="connsiteY1"/>
                    </a:cxn>
                    <a:cxn ang="0">
                      <a:pos x="connsiteX2" y="connsiteY2"/>
                    </a:cxn>
                    <a:cxn ang="0">
                      <a:pos x="connsiteX3" y="connsiteY3"/>
                    </a:cxn>
                  </a:cxnLst>
                  <a:rect l="l" t="t" r="r" b="b"/>
                  <a:pathLst>
                    <a:path w="8163" h="12433">
                      <a:moveTo>
                        <a:pt x="8164" y="4521"/>
                      </a:moveTo>
                      <a:lnTo>
                        <a:pt x="0" y="0"/>
                      </a:lnTo>
                      <a:lnTo>
                        <a:pt x="0" y="8289"/>
                      </a:lnTo>
                      <a:lnTo>
                        <a:pt x="8164" y="12434"/>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98" name="Freeform: Shape 2697">
                <a:extLst>
                  <a:ext uri="{FF2B5EF4-FFF2-40B4-BE49-F238E27FC236}">
                    <a16:creationId xmlns:a16="http://schemas.microsoft.com/office/drawing/2014/main" id="{49D69D18-9837-4B56-8A2B-2C79A6FC36B7}"/>
                  </a:ext>
                </a:extLst>
              </p:cNvPr>
              <p:cNvSpPr/>
              <p:nvPr/>
            </p:nvSpPr>
            <p:spPr>
              <a:xfrm>
                <a:off x="5173504" y="3629677"/>
                <a:ext cx="377537" cy="236470"/>
              </a:xfrm>
              <a:custGeom>
                <a:avLst/>
                <a:gdLst>
                  <a:gd name="connsiteX0" fmla="*/ 0 w 377537"/>
                  <a:gd name="connsiteY0" fmla="*/ 227565 h 236470"/>
                  <a:gd name="connsiteX1" fmla="*/ 12685 w 377537"/>
                  <a:gd name="connsiteY1" fmla="*/ 234724 h 236470"/>
                  <a:gd name="connsiteX2" fmla="*/ 364853 w 377537"/>
                  <a:gd name="connsiteY2" fmla="*/ 31386 h 236470"/>
                  <a:gd name="connsiteX3" fmla="*/ 377538 w 377537"/>
                  <a:gd name="connsiteY3" fmla="*/ 9658 h 236470"/>
                  <a:gd name="connsiteX4" fmla="*/ 377538 w 377537"/>
                  <a:gd name="connsiteY4" fmla="*/ 8905 h 236470"/>
                  <a:gd name="connsiteX5" fmla="*/ 364853 w 377537"/>
                  <a:gd name="connsiteY5" fmla="*/ 1746 h 236470"/>
                  <a:gd name="connsiteX6" fmla="*/ 12685 w 377537"/>
                  <a:gd name="connsiteY6" fmla="*/ 204958 h 236470"/>
                  <a:gd name="connsiteX7" fmla="*/ 0 w 377537"/>
                  <a:gd name="connsiteY7" fmla="*/ 226812 h 236470"/>
                  <a:gd name="connsiteX8" fmla="*/ 0 w 377537"/>
                  <a:gd name="connsiteY8" fmla="*/ 227565 h 236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37" h="236470">
                    <a:moveTo>
                      <a:pt x="0" y="227565"/>
                    </a:moveTo>
                    <a:cubicBezTo>
                      <a:pt x="0" y="235603"/>
                      <a:pt x="5652" y="238743"/>
                      <a:pt x="12685" y="234724"/>
                    </a:cubicBezTo>
                    <a:lnTo>
                      <a:pt x="364853" y="31386"/>
                    </a:lnTo>
                    <a:cubicBezTo>
                      <a:pt x="371761" y="27367"/>
                      <a:pt x="377538" y="17571"/>
                      <a:pt x="377538" y="9658"/>
                    </a:cubicBezTo>
                    <a:lnTo>
                      <a:pt x="377538" y="8905"/>
                    </a:lnTo>
                    <a:cubicBezTo>
                      <a:pt x="377538" y="867"/>
                      <a:pt x="371886" y="-2273"/>
                      <a:pt x="364853" y="1746"/>
                    </a:cubicBezTo>
                    <a:lnTo>
                      <a:pt x="12685" y="204958"/>
                    </a:lnTo>
                    <a:cubicBezTo>
                      <a:pt x="5652" y="208977"/>
                      <a:pt x="0" y="218774"/>
                      <a:pt x="0" y="226812"/>
                    </a:cubicBezTo>
                    <a:lnTo>
                      <a:pt x="0" y="227565"/>
                    </a:lnTo>
                    <a:close/>
                  </a:path>
                </a:pathLst>
              </a:custGeom>
              <a:solidFill>
                <a:srgbClr val="9DA1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99" name="Graphic 4">
                <a:extLst>
                  <a:ext uri="{FF2B5EF4-FFF2-40B4-BE49-F238E27FC236}">
                    <a16:creationId xmlns:a16="http://schemas.microsoft.com/office/drawing/2014/main" id="{84FB7ED1-A2DF-40A1-A747-5F7CF3F14040}"/>
                  </a:ext>
                </a:extLst>
              </p:cNvPr>
              <p:cNvGrpSpPr/>
              <p:nvPr/>
            </p:nvGrpSpPr>
            <p:grpSpPr>
              <a:xfrm>
                <a:off x="5308895" y="3928455"/>
                <a:ext cx="25118" cy="169050"/>
                <a:chOff x="5308895" y="3928455"/>
                <a:chExt cx="25118" cy="169050"/>
              </a:xfrm>
              <a:solidFill>
                <a:schemeClr val="accent1"/>
              </a:solidFill>
            </p:grpSpPr>
            <p:sp>
              <p:nvSpPr>
                <p:cNvPr id="2700" name="Freeform: Shape 2699">
                  <a:extLst>
                    <a:ext uri="{FF2B5EF4-FFF2-40B4-BE49-F238E27FC236}">
                      <a16:creationId xmlns:a16="http://schemas.microsoft.com/office/drawing/2014/main" id="{F4DFCB90-049A-4569-B0AC-4DD7DFEEB3A9}"/>
                    </a:ext>
                  </a:extLst>
                </p:cNvPr>
                <p:cNvSpPr/>
                <p:nvPr/>
              </p:nvSpPr>
              <p:spPr>
                <a:xfrm>
                  <a:off x="5308895" y="3928455"/>
                  <a:ext cx="25118" cy="14317"/>
                </a:xfrm>
                <a:custGeom>
                  <a:avLst/>
                  <a:gdLst>
                    <a:gd name="connsiteX0" fmla="*/ 0 w 25118"/>
                    <a:gd name="connsiteY0" fmla="*/ 9043 h 14317"/>
                    <a:gd name="connsiteX1" fmla="*/ 0 w 25118"/>
                    <a:gd name="connsiteY1" fmla="*/ 9043 h 14317"/>
                    <a:gd name="connsiteX2" fmla="*/ 9043 w 25118"/>
                    <a:gd name="connsiteY2" fmla="*/ 14318 h 14317"/>
                    <a:gd name="connsiteX3" fmla="*/ 25119 w 25118"/>
                    <a:gd name="connsiteY3" fmla="*/ 5024 h 14317"/>
                    <a:gd name="connsiteX4" fmla="*/ 16453 w 25118"/>
                    <a:gd name="connsiteY4" fmla="*/ 0 h 1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18" h="14317">
                      <a:moveTo>
                        <a:pt x="0" y="9043"/>
                      </a:moveTo>
                      <a:lnTo>
                        <a:pt x="0" y="9043"/>
                      </a:lnTo>
                      <a:lnTo>
                        <a:pt x="9043" y="14318"/>
                      </a:lnTo>
                      <a:lnTo>
                        <a:pt x="25119" y="5024"/>
                      </a:lnTo>
                      <a:lnTo>
                        <a:pt x="16453" y="0"/>
                      </a:lnTo>
                      <a:close/>
                    </a:path>
                  </a:pathLst>
                </a:custGeom>
                <a:solidFill>
                  <a:srgbClr val="F4C0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1" name="Freeform: Shape 2700">
                  <a:extLst>
                    <a:ext uri="{FF2B5EF4-FFF2-40B4-BE49-F238E27FC236}">
                      <a16:creationId xmlns:a16="http://schemas.microsoft.com/office/drawing/2014/main" id="{717D2418-A26A-4231-8311-08F9EB6511B9}"/>
                    </a:ext>
                  </a:extLst>
                </p:cNvPr>
                <p:cNvSpPr/>
                <p:nvPr/>
              </p:nvSpPr>
              <p:spPr>
                <a:xfrm>
                  <a:off x="5317938" y="3933478"/>
                  <a:ext cx="16076" cy="164026"/>
                </a:xfrm>
                <a:custGeom>
                  <a:avLst/>
                  <a:gdLst>
                    <a:gd name="connsiteX0" fmla="*/ 0 w 16076"/>
                    <a:gd name="connsiteY0" fmla="*/ 9294 h 164026"/>
                    <a:gd name="connsiteX1" fmla="*/ 16076 w 16076"/>
                    <a:gd name="connsiteY1" fmla="*/ 0 h 164026"/>
                    <a:gd name="connsiteX2" fmla="*/ 16076 w 16076"/>
                    <a:gd name="connsiteY2" fmla="*/ 74729 h 164026"/>
                    <a:gd name="connsiteX3" fmla="*/ 16076 w 16076"/>
                    <a:gd name="connsiteY3" fmla="*/ 80130 h 164026"/>
                    <a:gd name="connsiteX4" fmla="*/ 16076 w 16076"/>
                    <a:gd name="connsiteY4" fmla="*/ 154733 h 164026"/>
                    <a:gd name="connsiteX5" fmla="*/ 0 w 16076"/>
                    <a:gd name="connsiteY5" fmla="*/ 164027 h 164026"/>
                    <a:gd name="connsiteX6" fmla="*/ 0 w 16076"/>
                    <a:gd name="connsiteY6" fmla="*/ 83897 h 164026"/>
                    <a:gd name="connsiteX7" fmla="*/ 0 w 16076"/>
                    <a:gd name="connsiteY7" fmla="*/ 83897 h 16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 h="164026">
                      <a:moveTo>
                        <a:pt x="0" y="9294"/>
                      </a:moveTo>
                      <a:lnTo>
                        <a:pt x="16076" y="0"/>
                      </a:lnTo>
                      <a:lnTo>
                        <a:pt x="16076" y="74729"/>
                      </a:lnTo>
                      <a:lnTo>
                        <a:pt x="16076" y="80130"/>
                      </a:lnTo>
                      <a:lnTo>
                        <a:pt x="16076" y="154733"/>
                      </a:lnTo>
                      <a:lnTo>
                        <a:pt x="0" y="164027"/>
                      </a:lnTo>
                      <a:lnTo>
                        <a:pt x="0" y="83897"/>
                      </a:lnTo>
                      <a:lnTo>
                        <a:pt x="0" y="83897"/>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2" name="Freeform: Shape 2701">
                  <a:extLst>
                    <a:ext uri="{FF2B5EF4-FFF2-40B4-BE49-F238E27FC236}">
                      <a16:creationId xmlns:a16="http://schemas.microsoft.com/office/drawing/2014/main" id="{6254962E-C2C2-449E-97FA-8D5E02DE4E9B}"/>
                    </a:ext>
                  </a:extLst>
                </p:cNvPr>
                <p:cNvSpPr/>
                <p:nvPr/>
              </p:nvSpPr>
              <p:spPr>
                <a:xfrm>
                  <a:off x="5308895" y="3937498"/>
                  <a:ext cx="9042" cy="160007"/>
                </a:xfrm>
                <a:custGeom>
                  <a:avLst/>
                  <a:gdLst>
                    <a:gd name="connsiteX0" fmla="*/ 9043 w 9042"/>
                    <a:gd name="connsiteY0" fmla="*/ 5275 h 160007"/>
                    <a:gd name="connsiteX1" fmla="*/ 9043 w 9042"/>
                    <a:gd name="connsiteY1" fmla="*/ 79878 h 160007"/>
                    <a:gd name="connsiteX2" fmla="*/ 9043 w 9042"/>
                    <a:gd name="connsiteY2" fmla="*/ 85404 h 160007"/>
                    <a:gd name="connsiteX3" fmla="*/ 9043 w 9042"/>
                    <a:gd name="connsiteY3" fmla="*/ 160008 h 160007"/>
                    <a:gd name="connsiteX4" fmla="*/ 0 w 9042"/>
                    <a:gd name="connsiteY4" fmla="*/ 154733 h 160007"/>
                    <a:gd name="connsiteX5" fmla="*/ 0 w 9042"/>
                    <a:gd name="connsiteY5" fmla="*/ 80129 h 160007"/>
                    <a:gd name="connsiteX6" fmla="*/ 0 w 9042"/>
                    <a:gd name="connsiteY6" fmla="*/ 74603 h 160007"/>
                    <a:gd name="connsiteX7" fmla="*/ 0 w 9042"/>
                    <a:gd name="connsiteY7" fmla="*/ 0 h 1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42" h="160007">
                      <a:moveTo>
                        <a:pt x="9043" y="5275"/>
                      </a:moveTo>
                      <a:lnTo>
                        <a:pt x="9043" y="79878"/>
                      </a:lnTo>
                      <a:lnTo>
                        <a:pt x="9043" y="85404"/>
                      </a:lnTo>
                      <a:lnTo>
                        <a:pt x="9043" y="160008"/>
                      </a:lnTo>
                      <a:lnTo>
                        <a:pt x="0" y="154733"/>
                      </a:lnTo>
                      <a:lnTo>
                        <a:pt x="0" y="80129"/>
                      </a:lnTo>
                      <a:lnTo>
                        <a:pt x="0" y="74603"/>
                      </a:lnTo>
                      <a:lnTo>
                        <a:pt x="0" y="0"/>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03" name="Graphic 4">
                <a:extLst>
                  <a:ext uri="{FF2B5EF4-FFF2-40B4-BE49-F238E27FC236}">
                    <a16:creationId xmlns:a16="http://schemas.microsoft.com/office/drawing/2014/main" id="{84FB7ED1-A2DF-40A1-A747-5F7CF3F14040}"/>
                  </a:ext>
                </a:extLst>
              </p:cNvPr>
              <p:cNvGrpSpPr/>
              <p:nvPr/>
            </p:nvGrpSpPr>
            <p:grpSpPr>
              <a:xfrm>
                <a:off x="5186315" y="3630293"/>
                <a:ext cx="472864" cy="273043"/>
                <a:chOff x="5186315" y="3630293"/>
                <a:chExt cx="472864" cy="273043"/>
              </a:xfrm>
              <a:solidFill>
                <a:schemeClr val="accent1"/>
              </a:solidFill>
            </p:grpSpPr>
            <p:sp>
              <p:nvSpPr>
                <p:cNvPr id="2704" name="Freeform: Shape 2703">
                  <a:extLst>
                    <a:ext uri="{FF2B5EF4-FFF2-40B4-BE49-F238E27FC236}">
                      <a16:creationId xmlns:a16="http://schemas.microsoft.com/office/drawing/2014/main" id="{8DB7BC43-67D4-40C9-802F-3DCD3C210A26}"/>
                    </a:ext>
                  </a:extLst>
                </p:cNvPr>
                <p:cNvSpPr/>
                <p:nvPr/>
              </p:nvSpPr>
              <p:spPr>
                <a:xfrm>
                  <a:off x="5186315" y="3630293"/>
                  <a:ext cx="472864" cy="273043"/>
                </a:xfrm>
                <a:custGeom>
                  <a:avLst/>
                  <a:gdLst>
                    <a:gd name="connsiteX0" fmla="*/ 0 w 472864"/>
                    <a:gd name="connsiteY0" fmla="*/ 204217 h 273043"/>
                    <a:gd name="connsiteX1" fmla="*/ 353801 w 472864"/>
                    <a:gd name="connsiteY1" fmla="*/ 0 h 273043"/>
                    <a:gd name="connsiteX2" fmla="*/ 472865 w 472864"/>
                    <a:gd name="connsiteY2" fmla="*/ 68700 h 273043"/>
                    <a:gd name="connsiteX3" fmla="*/ 119064 w 472864"/>
                    <a:gd name="connsiteY3" fmla="*/ 273043 h 273043"/>
                  </a:gdLst>
                  <a:ahLst/>
                  <a:cxnLst>
                    <a:cxn ang="0">
                      <a:pos x="connsiteX0" y="connsiteY0"/>
                    </a:cxn>
                    <a:cxn ang="0">
                      <a:pos x="connsiteX1" y="connsiteY1"/>
                    </a:cxn>
                    <a:cxn ang="0">
                      <a:pos x="connsiteX2" y="connsiteY2"/>
                    </a:cxn>
                    <a:cxn ang="0">
                      <a:pos x="connsiteX3" y="connsiteY3"/>
                    </a:cxn>
                  </a:cxnLst>
                  <a:rect l="l" t="t" r="r" b="b"/>
                  <a:pathLst>
                    <a:path w="472864" h="273043">
                      <a:moveTo>
                        <a:pt x="0" y="204217"/>
                      </a:moveTo>
                      <a:lnTo>
                        <a:pt x="353801" y="0"/>
                      </a:lnTo>
                      <a:lnTo>
                        <a:pt x="472865" y="68700"/>
                      </a:lnTo>
                      <a:lnTo>
                        <a:pt x="119064" y="273043"/>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05" name="Graphic 4">
                  <a:extLst>
                    <a:ext uri="{FF2B5EF4-FFF2-40B4-BE49-F238E27FC236}">
                      <a16:creationId xmlns:a16="http://schemas.microsoft.com/office/drawing/2014/main" id="{84FB7ED1-A2DF-40A1-A747-5F7CF3F14040}"/>
                    </a:ext>
                  </a:extLst>
                </p:cNvPr>
                <p:cNvGrpSpPr/>
                <p:nvPr/>
              </p:nvGrpSpPr>
              <p:grpSpPr>
                <a:xfrm>
                  <a:off x="5204275" y="3639712"/>
                  <a:ext cx="439832" cy="254203"/>
                  <a:chOff x="5204275" y="3639712"/>
                  <a:chExt cx="439832" cy="254203"/>
                </a:xfrm>
                <a:solidFill>
                  <a:srgbClr val="CED2D8"/>
                </a:solidFill>
              </p:grpSpPr>
              <p:sp>
                <p:nvSpPr>
                  <p:cNvPr id="2706" name="Freeform: Shape 2705">
                    <a:extLst>
                      <a:ext uri="{FF2B5EF4-FFF2-40B4-BE49-F238E27FC236}">
                        <a16:creationId xmlns:a16="http://schemas.microsoft.com/office/drawing/2014/main" id="{6BF986EF-CA16-41EF-9D87-34295B2CC810}"/>
                      </a:ext>
                    </a:extLst>
                  </p:cNvPr>
                  <p:cNvSpPr/>
                  <p:nvPr/>
                </p:nvSpPr>
                <p:spPr>
                  <a:xfrm>
                    <a:off x="5528184" y="3639712"/>
                    <a:ext cx="115924" cy="67067"/>
                  </a:xfrm>
                  <a:custGeom>
                    <a:avLst/>
                    <a:gdLst>
                      <a:gd name="connsiteX0" fmla="*/ 110524 w 115924"/>
                      <a:gd name="connsiteY0" fmla="*/ 60662 h 67067"/>
                      <a:gd name="connsiteX1" fmla="*/ 108012 w 115924"/>
                      <a:gd name="connsiteY1" fmla="*/ 54006 h 67067"/>
                      <a:gd name="connsiteX2" fmla="*/ 22607 w 115924"/>
                      <a:gd name="connsiteY2" fmla="*/ 4647 h 67067"/>
                      <a:gd name="connsiteX3" fmla="*/ 11178 w 115924"/>
                      <a:gd name="connsiteY3" fmla="*/ 3265 h 67067"/>
                      <a:gd name="connsiteX4" fmla="*/ 5652 w 115924"/>
                      <a:gd name="connsiteY4" fmla="*/ 0 h 67067"/>
                      <a:gd name="connsiteX5" fmla="*/ 0 w 115924"/>
                      <a:gd name="connsiteY5" fmla="*/ 3265 h 67067"/>
                      <a:gd name="connsiteX6" fmla="*/ 5401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4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662"/>
                        </a:moveTo>
                        <a:cubicBezTo>
                          <a:pt x="112031" y="58402"/>
                          <a:pt x="111151" y="55890"/>
                          <a:pt x="108012" y="54006"/>
                        </a:cubicBezTo>
                        <a:lnTo>
                          <a:pt x="22607" y="4647"/>
                        </a:lnTo>
                        <a:cubicBezTo>
                          <a:pt x="19467" y="2889"/>
                          <a:pt x="14946" y="2386"/>
                          <a:pt x="11178" y="3265"/>
                        </a:cubicBezTo>
                        <a:lnTo>
                          <a:pt x="5652" y="0"/>
                        </a:lnTo>
                        <a:lnTo>
                          <a:pt x="0" y="3265"/>
                        </a:lnTo>
                        <a:lnTo>
                          <a:pt x="5401" y="6405"/>
                        </a:lnTo>
                        <a:cubicBezTo>
                          <a:pt x="3517" y="8666"/>
                          <a:pt x="4271" y="11555"/>
                          <a:pt x="7536" y="13439"/>
                        </a:cubicBezTo>
                        <a:lnTo>
                          <a:pt x="92940" y="62797"/>
                        </a:lnTo>
                        <a:cubicBezTo>
                          <a:pt x="96206" y="64681"/>
                          <a:pt x="101104" y="65058"/>
                          <a:pt x="105123" y="64053"/>
                        </a:cubicBezTo>
                        <a:lnTo>
                          <a:pt x="110272" y="67068"/>
                        </a:lnTo>
                        <a:lnTo>
                          <a:pt x="115924"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7" name="Freeform: Shape 2706">
                    <a:extLst>
                      <a:ext uri="{FF2B5EF4-FFF2-40B4-BE49-F238E27FC236}">
                        <a16:creationId xmlns:a16="http://schemas.microsoft.com/office/drawing/2014/main" id="{BF0ABDA0-46CC-45D2-B5EA-708F61AA26DD}"/>
                      </a:ext>
                    </a:extLst>
                  </p:cNvPr>
                  <p:cNvSpPr/>
                  <p:nvPr/>
                </p:nvSpPr>
                <p:spPr>
                  <a:xfrm>
                    <a:off x="5503316" y="3654030"/>
                    <a:ext cx="115798" cy="67067"/>
                  </a:xfrm>
                  <a:custGeom>
                    <a:avLst/>
                    <a:gdLst>
                      <a:gd name="connsiteX0" fmla="*/ 110523 w 115798"/>
                      <a:gd name="connsiteY0" fmla="*/ 60662 h 67067"/>
                      <a:gd name="connsiteX1" fmla="*/ 108012 w 115798"/>
                      <a:gd name="connsiteY1" fmla="*/ 54006 h 67067"/>
                      <a:gd name="connsiteX2" fmla="*/ 22607 w 115798"/>
                      <a:gd name="connsiteY2" fmla="*/ 4647 h 67067"/>
                      <a:gd name="connsiteX3" fmla="*/ 11178 w 115798"/>
                      <a:gd name="connsiteY3" fmla="*/ 3265 h 67067"/>
                      <a:gd name="connsiteX4" fmla="*/ 5652 w 115798"/>
                      <a:gd name="connsiteY4" fmla="*/ 0 h 67067"/>
                      <a:gd name="connsiteX5" fmla="*/ 0 w 115798"/>
                      <a:gd name="connsiteY5" fmla="*/ 3265 h 67067"/>
                      <a:gd name="connsiteX6" fmla="*/ 5400 w 115798"/>
                      <a:gd name="connsiteY6" fmla="*/ 6405 h 67067"/>
                      <a:gd name="connsiteX7" fmla="*/ 7536 w 115798"/>
                      <a:gd name="connsiteY7" fmla="*/ 13439 h 67067"/>
                      <a:gd name="connsiteX8" fmla="*/ 92940 w 115798"/>
                      <a:gd name="connsiteY8" fmla="*/ 62797 h 67067"/>
                      <a:gd name="connsiteX9" fmla="*/ 104997 w 115798"/>
                      <a:gd name="connsiteY9" fmla="*/ 64053 h 67067"/>
                      <a:gd name="connsiteX10" fmla="*/ 110147 w 115798"/>
                      <a:gd name="connsiteY10" fmla="*/ 67068 h 67067"/>
                      <a:gd name="connsiteX11" fmla="*/ 115798 w 115798"/>
                      <a:gd name="connsiteY11" fmla="*/ 63802 h 67067"/>
                      <a:gd name="connsiteX12" fmla="*/ 110523 w 115798"/>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798" h="67067">
                        <a:moveTo>
                          <a:pt x="110523" y="60662"/>
                        </a:moveTo>
                        <a:cubicBezTo>
                          <a:pt x="112030" y="58402"/>
                          <a:pt x="111151" y="55890"/>
                          <a:pt x="108012" y="54006"/>
                        </a:cubicBezTo>
                        <a:lnTo>
                          <a:pt x="22607" y="4647"/>
                        </a:lnTo>
                        <a:cubicBezTo>
                          <a:pt x="19467" y="2889"/>
                          <a:pt x="14946" y="2386"/>
                          <a:pt x="11178" y="3265"/>
                        </a:cubicBezTo>
                        <a:lnTo>
                          <a:pt x="5652" y="0"/>
                        </a:lnTo>
                        <a:lnTo>
                          <a:pt x="0" y="3265"/>
                        </a:lnTo>
                        <a:lnTo>
                          <a:pt x="5400" y="6405"/>
                        </a:lnTo>
                        <a:cubicBezTo>
                          <a:pt x="3517" y="8666"/>
                          <a:pt x="4270" y="11555"/>
                          <a:pt x="7536" y="13439"/>
                        </a:cubicBezTo>
                        <a:lnTo>
                          <a:pt x="92940" y="62797"/>
                        </a:lnTo>
                        <a:cubicBezTo>
                          <a:pt x="96206" y="64681"/>
                          <a:pt x="101104" y="65058"/>
                          <a:pt x="104997" y="64053"/>
                        </a:cubicBezTo>
                        <a:lnTo>
                          <a:pt x="110147" y="67068"/>
                        </a:lnTo>
                        <a:lnTo>
                          <a:pt x="115798"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8" name="Freeform: Shape 2707">
                    <a:extLst>
                      <a:ext uri="{FF2B5EF4-FFF2-40B4-BE49-F238E27FC236}">
                        <a16:creationId xmlns:a16="http://schemas.microsoft.com/office/drawing/2014/main" id="{8BADF1E4-68CE-4FCA-95B3-E6240F9DF284}"/>
                      </a:ext>
                    </a:extLst>
                  </p:cNvPr>
                  <p:cNvSpPr/>
                  <p:nvPr/>
                </p:nvSpPr>
                <p:spPr>
                  <a:xfrm>
                    <a:off x="5478323" y="3668474"/>
                    <a:ext cx="115924" cy="67067"/>
                  </a:xfrm>
                  <a:custGeom>
                    <a:avLst/>
                    <a:gdLst>
                      <a:gd name="connsiteX0" fmla="*/ 110524 w 115924"/>
                      <a:gd name="connsiteY0" fmla="*/ 60662 h 67067"/>
                      <a:gd name="connsiteX1" fmla="*/ 108012 w 115924"/>
                      <a:gd name="connsiteY1" fmla="*/ 54006 h 67067"/>
                      <a:gd name="connsiteX2" fmla="*/ 22607 w 115924"/>
                      <a:gd name="connsiteY2" fmla="*/ 4647 h 67067"/>
                      <a:gd name="connsiteX3" fmla="*/ 11178 w 115924"/>
                      <a:gd name="connsiteY3" fmla="*/ 3265 h 67067"/>
                      <a:gd name="connsiteX4" fmla="*/ 5652 w 115924"/>
                      <a:gd name="connsiteY4" fmla="*/ 0 h 67067"/>
                      <a:gd name="connsiteX5" fmla="*/ 0 w 115924"/>
                      <a:gd name="connsiteY5" fmla="*/ 3265 h 67067"/>
                      <a:gd name="connsiteX6" fmla="*/ 5401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3 w 115924"/>
                      <a:gd name="connsiteY10" fmla="*/ 67068 h 67067"/>
                      <a:gd name="connsiteX11" fmla="*/ 115924 w 115924"/>
                      <a:gd name="connsiteY11" fmla="*/ 63802 h 67067"/>
                      <a:gd name="connsiteX12" fmla="*/ 110524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662"/>
                        </a:moveTo>
                        <a:cubicBezTo>
                          <a:pt x="112031" y="58402"/>
                          <a:pt x="111151" y="55890"/>
                          <a:pt x="108012" y="54006"/>
                        </a:cubicBezTo>
                        <a:lnTo>
                          <a:pt x="22607" y="4647"/>
                        </a:lnTo>
                        <a:cubicBezTo>
                          <a:pt x="19467" y="2889"/>
                          <a:pt x="14946" y="2386"/>
                          <a:pt x="11178" y="3265"/>
                        </a:cubicBezTo>
                        <a:lnTo>
                          <a:pt x="5652" y="0"/>
                        </a:lnTo>
                        <a:lnTo>
                          <a:pt x="0" y="3265"/>
                        </a:lnTo>
                        <a:lnTo>
                          <a:pt x="5401" y="6405"/>
                        </a:lnTo>
                        <a:cubicBezTo>
                          <a:pt x="3517" y="8666"/>
                          <a:pt x="4271" y="11555"/>
                          <a:pt x="7536" y="13439"/>
                        </a:cubicBezTo>
                        <a:lnTo>
                          <a:pt x="92940" y="62797"/>
                        </a:lnTo>
                        <a:cubicBezTo>
                          <a:pt x="96206" y="64681"/>
                          <a:pt x="101104" y="65058"/>
                          <a:pt x="105123" y="64053"/>
                        </a:cubicBezTo>
                        <a:lnTo>
                          <a:pt x="110273" y="67068"/>
                        </a:lnTo>
                        <a:lnTo>
                          <a:pt x="115924"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9" name="Freeform: Shape 2708">
                    <a:extLst>
                      <a:ext uri="{FF2B5EF4-FFF2-40B4-BE49-F238E27FC236}">
                        <a16:creationId xmlns:a16="http://schemas.microsoft.com/office/drawing/2014/main" id="{937C0C41-EA73-4C41-9A35-2EF767BFBCBC}"/>
                      </a:ext>
                    </a:extLst>
                  </p:cNvPr>
                  <p:cNvSpPr/>
                  <p:nvPr/>
                </p:nvSpPr>
                <p:spPr>
                  <a:xfrm>
                    <a:off x="5453455" y="3682791"/>
                    <a:ext cx="115923" cy="67067"/>
                  </a:xfrm>
                  <a:custGeom>
                    <a:avLst/>
                    <a:gdLst>
                      <a:gd name="connsiteX0" fmla="*/ 110523 w 115923"/>
                      <a:gd name="connsiteY0" fmla="*/ 60662 h 67067"/>
                      <a:gd name="connsiteX1" fmla="*/ 108012 w 115923"/>
                      <a:gd name="connsiteY1" fmla="*/ 54006 h 67067"/>
                      <a:gd name="connsiteX2" fmla="*/ 22607 w 115923"/>
                      <a:gd name="connsiteY2" fmla="*/ 4647 h 67067"/>
                      <a:gd name="connsiteX3" fmla="*/ 11178 w 115923"/>
                      <a:gd name="connsiteY3" fmla="*/ 3265 h 67067"/>
                      <a:gd name="connsiteX4" fmla="*/ 5652 w 115923"/>
                      <a:gd name="connsiteY4" fmla="*/ 0 h 67067"/>
                      <a:gd name="connsiteX5" fmla="*/ 0 w 115923"/>
                      <a:gd name="connsiteY5" fmla="*/ 3265 h 67067"/>
                      <a:gd name="connsiteX6" fmla="*/ 5400 w 115923"/>
                      <a:gd name="connsiteY6" fmla="*/ 6405 h 67067"/>
                      <a:gd name="connsiteX7" fmla="*/ 7536 w 115923"/>
                      <a:gd name="connsiteY7" fmla="*/ 13439 h 67067"/>
                      <a:gd name="connsiteX8" fmla="*/ 92940 w 115923"/>
                      <a:gd name="connsiteY8" fmla="*/ 62797 h 67067"/>
                      <a:gd name="connsiteX9" fmla="*/ 105123 w 115923"/>
                      <a:gd name="connsiteY9" fmla="*/ 64053 h 67067"/>
                      <a:gd name="connsiteX10" fmla="*/ 110272 w 115923"/>
                      <a:gd name="connsiteY10" fmla="*/ 67068 h 67067"/>
                      <a:gd name="connsiteX11" fmla="*/ 115924 w 115923"/>
                      <a:gd name="connsiteY11" fmla="*/ 63802 h 67067"/>
                      <a:gd name="connsiteX12" fmla="*/ 110523 w 115923"/>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3" h="67067">
                        <a:moveTo>
                          <a:pt x="110523" y="60662"/>
                        </a:moveTo>
                        <a:cubicBezTo>
                          <a:pt x="112030" y="58402"/>
                          <a:pt x="111151" y="55890"/>
                          <a:pt x="108012" y="54006"/>
                        </a:cubicBezTo>
                        <a:lnTo>
                          <a:pt x="22607" y="4647"/>
                        </a:lnTo>
                        <a:cubicBezTo>
                          <a:pt x="19467" y="2889"/>
                          <a:pt x="14946" y="2386"/>
                          <a:pt x="11178" y="3265"/>
                        </a:cubicBezTo>
                        <a:lnTo>
                          <a:pt x="5652" y="0"/>
                        </a:lnTo>
                        <a:lnTo>
                          <a:pt x="0" y="3265"/>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0" name="Freeform: Shape 2709">
                    <a:extLst>
                      <a:ext uri="{FF2B5EF4-FFF2-40B4-BE49-F238E27FC236}">
                        <a16:creationId xmlns:a16="http://schemas.microsoft.com/office/drawing/2014/main" id="{7D265918-6151-44A8-8103-B1CA57FCD72D}"/>
                      </a:ext>
                    </a:extLst>
                  </p:cNvPr>
                  <p:cNvSpPr/>
                  <p:nvPr/>
                </p:nvSpPr>
                <p:spPr>
                  <a:xfrm>
                    <a:off x="5428587" y="3697360"/>
                    <a:ext cx="115924" cy="67067"/>
                  </a:xfrm>
                  <a:custGeom>
                    <a:avLst/>
                    <a:gdLst>
                      <a:gd name="connsiteX0" fmla="*/ 110524 w 115924"/>
                      <a:gd name="connsiteY0" fmla="*/ 60537 h 67067"/>
                      <a:gd name="connsiteX1" fmla="*/ 108012 w 115924"/>
                      <a:gd name="connsiteY1" fmla="*/ 54006 h 67067"/>
                      <a:gd name="connsiteX2" fmla="*/ 22607 w 115924"/>
                      <a:gd name="connsiteY2" fmla="*/ 4647 h 67067"/>
                      <a:gd name="connsiteX3" fmla="*/ 11178 w 115924"/>
                      <a:gd name="connsiteY3" fmla="*/ 3266 h 67067"/>
                      <a:gd name="connsiteX4" fmla="*/ 5652 w 115924"/>
                      <a:gd name="connsiteY4" fmla="*/ 0 h 67067"/>
                      <a:gd name="connsiteX5" fmla="*/ 0 w 115924"/>
                      <a:gd name="connsiteY5" fmla="*/ 3266 h 67067"/>
                      <a:gd name="connsiteX6" fmla="*/ 5400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4 w 115924"/>
                      <a:gd name="connsiteY12" fmla="*/ 60537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537"/>
                        </a:moveTo>
                        <a:cubicBezTo>
                          <a:pt x="112031" y="58276"/>
                          <a:pt x="111151" y="55764"/>
                          <a:pt x="108012" y="54006"/>
                        </a:cubicBezTo>
                        <a:lnTo>
                          <a:pt x="22607" y="4647"/>
                        </a:lnTo>
                        <a:cubicBezTo>
                          <a:pt x="19467" y="2889"/>
                          <a:pt x="14946" y="2386"/>
                          <a:pt x="11178" y="3266"/>
                        </a:cubicBezTo>
                        <a:lnTo>
                          <a:pt x="5652" y="0"/>
                        </a:lnTo>
                        <a:lnTo>
                          <a:pt x="0" y="3266"/>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4" y="60537"/>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1" name="Freeform: Shape 2710">
                    <a:extLst>
                      <a:ext uri="{FF2B5EF4-FFF2-40B4-BE49-F238E27FC236}">
                        <a16:creationId xmlns:a16="http://schemas.microsoft.com/office/drawing/2014/main" id="{1FD816B5-5EA8-4D36-9F37-D79A6976F5E2}"/>
                      </a:ext>
                    </a:extLst>
                  </p:cNvPr>
                  <p:cNvSpPr/>
                  <p:nvPr/>
                </p:nvSpPr>
                <p:spPr>
                  <a:xfrm>
                    <a:off x="5403594" y="3711552"/>
                    <a:ext cx="115924" cy="67067"/>
                  </a:xfrm>
                  <a:custGeom>
                    <a:avLst/>
                    <a:gdLst>
                      <a:gd name="connsiteX0" fmla="*/ 110523 w 115924"/>
                      <a:gd name="connsiteY0" fmla="*/ 60662 h 67067"/>
                      <a:gd name="connsiteX1" fmla="*/ 108012 w 115924"/>
                      <a:gd name="connsiteY1" fmla="*/ 54006 h 67067"/>
                      <a:gd name="connsiteX2" fmla="*/ 22607 w 115924"/>
                      <a:gd name="connsiteY2" fmla="*/ 4647 h 67067"/>
                      <a:gd name="connsiteX3" fmla="*/ 11178 w 115924"/>
                      <a:gd name="connsiteY3" fmla="*/ 3265 h 67067"/>
                      <a:gd name="connsiteX4" fmla="*/ 5652 w 115924"/>
                      <a:gd name="connsiteY4" fmla="*/ 0 h 67067"/>
                      <a:gd name="connsiteX5" fmla="*/ 0 w 115924"/>
                      <a:gd name="connsiteY5" fmla="*/ 3265 h 67067"/>
                      <a:gd name="connsiteX6" fmla="*/ 5400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3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3" y="60662"/>
                        </a:moveTo>
                        <a:cubicBezTo>
                          <a:pt x="112030" y="58402"/>
                          <a:pt x="111151" y="55890"/>
                          <a:pt x="108012" y="54006"/>
                        </a:cubicBezTo>
                        <a:lnTo>
                          <a:pt x="22607" y="4647"/>
                        </a:lnTo>
                        <a:cubicBezTo>
                          <a:pt x="19467" y="2889"/>
                          <a:pt x="14946" y="2386"/>
                          <a:pt x="11178" y="3265"/>
                        </a:cubicBezTo>
                        <a:lnTo>
                          <a:pt x="5652" y="0"/>
                        </a:lnTo>
                        <a:lnTo>
                          <a:pt x="0" y="3265"/>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2" name="Freeform: Shape 2711">
                    <a:extLst>
                      <a:ext uri="{FF2B5EF4-FFF2-40B4-BE49-F238E27FC236}">
                        <a16:creationId xmlns:a16="http://schemas.microsoft.com/office/drawing/2014/main" id="{CB1499C4-9702-4F10-82C3-008EF32ABED7}"/>
                      </a:ext>
                    </a:extLst>
                  </p:cNvPr>
                  <p:cNvSpPr/>
                  <p:nvPr/>
                </p:nvSpPr>
                <p:spPr>
                  <a:xfrm>
                    <a:off x="5378726" y="3725996"/>
                    <a:ext cx="115798" cy="67067"/>
                  </a:xfrm>
                  <a:custGeom>
                    <a:avLst/>
                    <a:gdLst>
                      <a:gd name="connsiteX0" fmla="*/ 110524 w 115798"/>
                      <a:gd name="connsiteY0" fmla="*/ 60662 h 67067"/>
                      <a:gd name="connsiteX1" fmla="*/ 108012 w 115798"/>
                      <a:gd name="connsiteY1" fmla="*/ 54006 h 67067"/>
                      <a:gd name="connsiteX2" fmla="*/ 22607 w 115798"/>
                      <a:gd name="connsiteY2" fmla="*/ 4647 h 67067"/>
                      <a:gd name="connsiteX3" fmla="*/ 11178 w 115798"/>
                      <a:gd name="connsiteY3" fmla="*/ 3266 h 67067"/>
                      <a:gd name="connsiteX4" fmla="*/ 5652 w 115798"/>
                      <a:gd name="connsiteY4" fmla="*/ 0 h 67067"/>
                      <a:gd name="connsiteX5" fmla="*/ 0 w 115798"/>
                      <a:gd name="connsiteY5" fmla="*/ 3266 h 67067"/>
                      <a:gd name="connsiteX6" fmla="*/ 5400 w 115798"/>
                      <a:gd name="connsiteY6" fmla="*/ 6405 h 67067"/>
                      <a:gd name="connsiteX7" fmla="*/ 7536 w 115798"/>
                      <a:gd name="connsiteY7" fmla="*/ 13439 h 67067"/>
                      <a:gd name="connsiteX8" fmla="*/ 92940 w 115798"/>
                      <a:gd name="connsiteY8" fmla="*/ 62797 h 67067"/>
                      <a:gd name="connsiteX9" fmla="*/ 104997 w 115798"/>
                      <a:gd name="connsiteY9" fmla="*/ 64053 h 67067"/>
                      <a:gd name="connsiteX10" fmla="*/ 110147 w 115798"/>
                      <a:gd name="connsiteY10" fmla="*/ 67068 h 67067"/>
                      <a:gd name="connsiteX11" fmla="*/ 115798 w 115798"/>
                      <a:gd name="connsiteY11" fmla="*/ 63802 h 67067"/>
                      <a:gd name="connsiteX12" fmla="*/ 110524 w 115798"/>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798" h="67067">
                        <a:moveTo>
                          <a:pt x="110524" y="60662"/>
                        </a:moveTo>
                        <a:cubicBezTo>
                          <a:pt x="112031" y="58402"/>
                          <a:pt x="111151" y="55890"/>
                          <a:pt x="108012" y="54006"/>
                        </a:cubicBezTo>
                        <a:lnTo>
                          <a:pt x="22607" y="4647"/>
                        </a:lnTo>
                        <a:cubicBezTo>
                          <a:pt x="19467" y="2889"/>
                          <a:pt x="14946" y="2386"/>
                          <a:pt x="11178" y="3266"/>
                        </a:cubicBezTo>
                        <a:lnTo>
                          <a:pt x="5652" y="0"/>
                        </a:lnTo>
                        <a:lnTo>
                          <a:pt x="0" y="3266"/>
                        </a:lnTo>
                        <a:lnTo>
                          <a:pt x="5400" y="6405"/>
                        </a:lnTo>
                        <a:cubicBezTo>
                          <a:pt x="3517" y="8666"/>
                          <a:pt x="4270" y="11555"/>
                          <a:pt x="7536" y="13439"/>
                        </a:cubicBezTo>
                        <a:lnTo>
                          <a:pt x="92940" y="62797"/>
                        </a:lnTo>
                        <a:cubicBezTo>
                          <a:pt x="96206" y="64681"/>
                          <a:pt x="101104" y="65058"/>
                          <a:pt x="104997" y="64053"/>
                        </a:cubicBezTo>
                        <a:lnTo>
                          <a:pt x="110147" y="67068"/>
                        </a:lnTo>
                        <a:lnTo>
                          <a:pt x="115798"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3" name="Freeform: Shape 2712">
                    <a:extLst>
                      <a:ext uri="{FF2B5EF4-FFF2-40B4-BE49-F238E27FC236}">
                        <a16:creationId xmlns:a16="http://schemas.microsoft.com/office/drawing/2014/main" id="{5711D470-B915-4233-BBCE-AE6C261B7C57}"/>
                      </a:ext>
                    </a:extLst>
                  </p:cNvPr>
                  <p:cNvSpPr/>
                  <p:nvPr/>
                </p:nvSpPr>
                <p:spPr>
                  <a:xfrm>
                    <a:off x="5353733" y="3740439"/>
                    <a:ext cx="115924" cy="67067"/>
                  </a:xfrm>
                  <a:custGeom>
                    <a:avLst/>
                    <a:gdLst>
                      <a:gd name="connsiteX0" fmla="*/ 110523 w 115924"/>
                      <a:gd name="connsiteY0" fmla="*/ 60662 h 67067"/>
                      <a:gd name="connsiteX1" fmla="*/ 108012 w 115924"/>
                      <a:gd name="connsiteY1" fmla="*/ 54006 h 67067"/>
                      <a:gd name="connsiteX2" fmla="*/ 22607 w 115924"/>
                      <a:gd name="connsiteY2" fmla="*/ 4647 h 67067"/>
                      <a:gd name="connsiteX3" fmla="*/ 11178 w 115924"/>
                      <a:gd name="connsiteY3" fmla="*/ 3265 h 67067"/>
                      <a:gd name="connsiteX4" fmla="*/ 5652 w 115924"/>
                      <a:gd name="connsiteY4" fmla="*/ 0 h 67067"/>
                      <a:gd name="connsiteX5" fmla="*/ 0 w 115924"/>
                      <a:gd name="connsiteY5" fmla="*/ 3265 h 67067"/>
                      <a:gd name="connsiteX6" fmla="*/ 5400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3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3" y="60662"/>
                        </a:moveTo>
                        <a:cubicBezTo>
                          <a:pt x="112030" y="58402"/>
                          <a:pt x="111151" y="55890"/>
                          <a:pt x="108012" y="54006"/>
                        </a:cubicBezTo>
                        <a:lnTo>
                          <a:pt x="22607" y="4647"/>
                        </a:lnTo>
                        <a:cubicBezTo>
                          <a:pt x="19467" y="2889"/>
                          <a:pt x="15072" y="2386"/>
                          <a:pt x="11178" y="3265"/>
                        </a:cubicBezTo>
                        <a:lnTo>
                          <a:pt x="5652" y="0"/>
                        </a:lnTo>
                        <a:lnTo>
                          <a:pt x="0" y="3265"/>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4" name="Freeform: Shape 2713">
                    <a:extLst>
                      <a:ext uri="{FF2B5EF4-FFF2-40B4-BE49-F238E27FC236}">
                        <a16:creationId xmlns:a16="http://schemas.microsoft.com/office/drawing/2014/main" id="{C55DF46B-0FD5-4144-8752-6EA78FD7B8C3}"/>
                      </a:ext>
                    </a:extLst>
                  </p:cNvPr>
                  <p:cNvSpPr/>
                  <p:nvPr/>
                </p:nvSpPr>
                <p:spPr>
                  <a:xfrm>
                    <a:off x="5328865" y="3754883"/>
                    <a:ext cx="115924" cy="67067"/>
                  </a:xfrm>
                  <a:custGeom>
                    <a:avLst/>
                    <a:gdLst>
                      <a:gd name="connsiteX0" fmla="*/ 110524 w 115924"/>
                      <a:gd name="connsiteY0" fmla="*/ 60537 h 67067"/>
                      <a:gd name="connsiteX1" fmla="*/ 108012 w 115924"/>
                      <a:gd name="connsiteY1" fmla="*/ 54006 h 67067"/>
                      <a:gd name="connsiteX2" fmla="*/ 22607 w 115924"/>
                      <a:gd name="connsiteY2" fmla="*/ 4647 h 67067"/>
                      <a:gd name="connsiteX3" fmla="*/ 11178 w 115924"/>
                      <a:gd name="connsiteY3" fmla="*/ 3266 h 67067"/>
                      <a:gd name="connsiteX4" fmla="*/ 5652 w 115924"/>
                      <a:gd name="connsiteY4" fmla="*/ 0 h 67067"/>
                      <a:gd name="connsiteX5" fmla="*/ 0 w 115924"/>
                      <a:gd name="connsiteY5" fmla="*/ 3266 h 67067"/>
                      <a:gd name="connsiteX6" fmla="*/ 5401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4 w 115924"/>
                      <a:gd name="connsiteY12" fmla="*/ 60537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537"/>
                        </a:moveTo>
                        <a:cubicBezTo>
                          <a:pt x="112031" y="58402"/>
                          <a:pt x="111151" y="55764"/>
                          <a:pt x="108012" y="54006"/>
                        </a:cubicBezTo>
                        <a:lnTo>
                          <a:pt x="22607" y="4647"/>
                        </a:lnTo>
                        <a:cubicBezTo>
                          <a:pt x="19467" y="2889"/>
                          <a:pt x="14946" y="2386"/>
                          <a:pt x="11178" y="3266"/>
                        </a:cubicBezTo>
                        <a:lnTo>
                          <a:pt x="5652" y="0"/>
                        </a:lnTo>
                        <a:lnTo>
                          <a:pt x="0" y="3266"/>
                        </a:lnTo>
                        <a:lnTo>
                          <a:pt x="5401" y="6405"/>
                        </a:lnTo>
                        <a:cubicBezTo>
                          <a:pt x="3517" y="8666"/>
                          <a:pt x="4270" y="11555"/>
                          <a:pt x="7536" y="13439"/>
                        </a:cubicBezTo>
                        <a:lnTo>
                          <a:pt x="92940" y="62797"/>
                        </a:lnTo>
                        <a:cubicBezTo>
                          <a:pt x="96206" y="64681"/>
                          <a:pt x="101104" y="65058"/>
                          <a:pt x="105123" y="64053"/>
                        </a:cubicBezTo>
                        <a:lnTo>
                          <a:pt x="110272" y="67068"/>
                        </a:lnTo>
                        <a:lnTo>
                          <a:pt x="115924" y="63802"/>
                        </a:lnTo>
                        <a:lnTo>
                          <a:pt x="110524" y="60537"/>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5" name="Freeform: Shape 2714">
                    <a:extLst>
                      <a:ext uri="{FF2B5EF4-FFF2-40B4-BE49-F238E27FC236}">
                        <a16:creationId xmlns:a16="http://schemas.microsoft.com/office/drawing/2014/main" id="{1C198267-D04A-44A3-ADF3-20462E72DA23}"/>
                      </a:ext>
                    </a:extLst>
                  </p:cNvPr>
                  <p:cNvSpPr/>
                  <p:nvPr/>
                </p:nvSpPr>
                <p:spPr>
                  <a:xfrm>
                    <a:off x="5303997" y="3769200"/>
                    <a:ext cx="115798" cy="67067"/>
                  </a:xfrm>
                  <a:custGeom>
                    <a:avLst/>
                    <a:gdLst>
                      <a:gd name="connsiteX0" fmla="*/ 110523 w 115798"/>
                      <a:gd name="connsiteY0" fmla="*/ 60662 h 67067"/>
                      <a:gd name="connsiteX1" fmla="*/ 108011 w 115798"/>
                      <a:gd name="connsiteY1" fmla="*/ 54006 h 67067"/>
                      <a:gd name="connsiteX2" fmla="*/ 22607 w 115798"/>
                      <a:gd name="connsiteY2" fmla="*/ 4647 h 67067"/>
                      <a:gd name="connsiteX3" fmla="*/ 11178 w 115798"/>
                      <a:gd name="connsiteY3" fmla="*/ 3266 h 67067"/>
                      <a:gd name="connsiteX4" fmla="*/ 5652 w 115798"/>
                      <a:gd name="connsiteY4" fmla="*/ 0 h 67067"/>
                      <a:gd name="connsiteX5" fmla="*/ 0 w 115798"/>
                      <a:gd name="connsiteY5" fmla="*/ 3266 h 67067"/>
                      <a:gd name="connsiteX6" fmla="*/ 5400 w 115798"/>
                      <a:gd name="connsiteY6" fmla="*/ 6405 h 67067"/>
                      <a:gd name="connsiteX7" fmla="*/ 7535 w 115798"/>
                      <a:gd name="connsiteY7" fmla="*/ 13439 h 67067"/>
                      <a:gd name="connsiteX8" fmla="*/ 92940 w 115798"/>
                      <a:gd name="connsiteY8" fmla="*/ 62797 h 67067"/>
                      <a:gd name="connsiteX9" fmla="*/ 104997 w 115798"/>
                      <a:gd name="connsiteY9" fmla="*/ 64053 h 67067"/>
                      <a:gd name="connsiteX10" fmla="*/ 110147 w 115798"/>
                      <a:gd name="connsiteY10" fmla="*/ 67068 h 67067"/>
                      <a:gd name="connsiteX11" fmla="*/ 115798 w 115798"/>
                      <a:gd name="connsiteY11" fmla="*/ 63802 h 67067"/>
                      <a:gd name="connsiteX12" fmla="*/ 110523 w 115798"/>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798" h="67067">
                        <a:moveTo>
                          <a:pt x="110523" y="60662"/>
                        </a:moveTo>
                        <a:cubicBezTo>
                          <a:pt x="112030" y="58402"/>
                          <a:pt x="111151" y="55890"/>
                          <a:pt x="108011" y="54006"/>
                        </a:cubicBezTo>
                        <a:lnTo>
                          <a:pt x="22607" y="4647"/>
                        </a:lnTo>
                        <a:cubicBezTo>
                          <a:pt x="19467" y="2889"/>
                          <a:pt x="14946" y="2386"/>
                          <a:pt x="11178" y="3266"/>
                        </a:cubicBezTo>
                        <a:lnTo>
                          <a:pt x="5652" y="0"/>
                        </a:lnTo>
                        <a:lnTo>
                          <a:pt x="0" y="3266"/>
                        </a:lnTo>
                        <a:lnTo>
                          <a:pt x="5400" y="6405"/>
                        </a:lnTo>
                        <a:cubicBezTo>
                          <a:pt x="3517" y="8666"/>
                          <a:pt x="4270" y="11555"/>
                          <a:pt x="7535" y="13439"/>
                        </a:cubicBezTo>
                        <a:lnTo>
                          <a:pt x="92940" y="62797"/>
                        </a:lnTo>
                        <a:cubicBezTo>
                          <a:pt x="96206" y="64681"/>
                          <a:pt x="101104" y="65058"/>
                          <a:pt x="104997" y="64053"/>
                        </a:cubicBezTo>
                        <a:lnTo>
                          <a:pt x="110147" y="67068"/>
                        </a:lnTo>
                        <a:lnTo>
                          <a:pt x="115798"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6" name="Freeform: Shape 2715">
                    <a:extLst>
                      <a:ext uri="{FF2B5EF4-FFF2-40B4-BE49-F238E27FC236}">
                        <a16:creationId xmlns:a16="http://schemas.microsoft.com/office/drawing/2014/main" id="{EC5C9901-D23D-4A71-93B8-0529DC113106}"/>
                      </a:ext>
                    </a:extLst>
                  </p:cNvPr>
                  <p:cNvSpPr/>
                  <p:nvPr/>
                </p:nvSpPr>
                <p:spPr>
                  <a:xfrm>
                    <a:off x="5279004" y="3783518"/>
                    <a:ext cx="115924" cy="67067"/>
                  </a:xfrm>
                  <a:custGeom>
                    <a:avLst/>
                    <a:gdLst>
                      <a:gd name="connsiteX0" fmla="*/ 110524 w 115924"/>
                      <a:gd name="connsiteY0" fmla="*/ 60662 h 67067"/>
                      <a:gd name="connsiteX1" fmla="*/ 108012 w 115924"/>
                      <a:gd name="connsiteY1" fmla="*/ 54006 h 67067"/>
                      <a:gd name="connsiteX2" fmla="*/ 22607 w 115924"/>
                      <a:gd name="connsiteY2" fmla="*/ 4647 h 67067"/>
                      <a:gd name="connsiteX3" fmla="*/ 11178 w 115924"/>
                      <a:gd name="connsiteY3" fmla="*/ 3266 h 67067"/>
                      <a:gd name="connsiteX4" fmla="*/ 5652 w 115924"/>
                      <a:gd name="connsiteY4" fmla="*/ 0 h 67067"/>
                      <a:gd name="connsiteX5" fmla="*/ 0 w 115924"/>
                      <a:gd name="connsiteY5" fmla="*/ 3266 h 67067"/>
                      <a:gd name="connsiteX6" fmla="*/ 5401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4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662"/>
                        </a:moveTo>
                        <a:cubicBezTo>
                          <a:pt x="112031" y="58402"/>
                          <a:pt x="111151" y="55890"/>
                          <a:pt x="108012" y="54006"/>
                        </a:cubicBezTo>
                        <a:lnTo>
                          <a:pt x="22607" y="4647"/>
                        </a:lnTo>
                        <a:cubicBezTo>
                          <a:pt x="19467" y="2889"/>
                          <a:pt x="14946" y="2386"/>
                          <a:pt x="11178" y="3266"/>
                        </a:cubicBezTo>
                        <a:lnTo>
                          <a:pt x="5652" y="0"/>
                        </a:lnTo>
                        <a:lnTo>
                          <a:pt x="0" y="3266"/>
                        </a:lnTo>
                        <a:lnTo>
                          <a:pt x="5401" y="6405"/>
                        </a:lnTo>
                        <a:cubicBezTo>
                          <a:pt x="3517" y="8666"/>
                          <a:pt x="4270" y="11555"/>
                          <a:pt x="7536" y="13439"/>
                        </a:cubicBezTo>
                        <a:lnTo>
                          <a:pt x="92940" y="62797"/>
                        </a:lnTo>
                        <a:cubicBezTo>
                          <a:pt x="96206" y="64681"/>
                          <a:pt x="101104" y="65058"/>
                          <a:pt x="105123" y="64053"/>
                        </a:cubicBezTo>
                        <a:lnTo>
                          <a:pt x="110272" y="67068"/>
                        </a:lnTo>
                        <a:lnTo>
                          <a:pt x="115924"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7" name="Freeform: Shape 2716">
                    <a:extLst>
                      <a:ext uri="{FF2B5EF4-FFF2-40B4-BE49-F238E27FC236}">
                        <a16:creationId xmlns:a16="http://schemas.microsoft.com/office/drawing/2014/main" id="{DC853493-3727-4194-9DE2-E2599C2A957A}"/>
                      </a:ext>
                    </a:extLst>
                  </p:cNvPr>
                  <p:cNvSpPr/>
                  <p:nvPr/>
                </p:nvSpPr>
                <p:spPr>
                  <a:xfrm>
                    <a:off x="5254136" y="3797962"/>
                    <a:ext cx="115923" cy="67067"/>
                  </a:xfrm>
                  <a:custGeom>
                    <a:avLst/>
                    <a:gdLst>
                      <a:gd name="connsiteX0" fmla="*/ 110523 w 115923"/>
                      <a:gd name="connsiteY0" fmla="*/ 60662 h 67067"/>
                      <a:gd name="connsiteX1" fmla="*/ 108011 w 115923"/>
                      <a:gd name="connsiteY1" fmla="*/ 54006 h 67067"/>
                      <a:gd name="connsiteX2" fmla="*/ 22607 w 115923"/>
                      <a:gd name="connsiteY2" fmla="*/ 4647 h 67067"/>
                      <a:gd name="connsiteX3" fmla="*/ 11178 w 115923"/>
                      <a:gd name="connsiteY3" fmla="*/ 3265 h 67067"/>
                      <a:gd name="connsiteX4" fmla="*/ 5652 w 115923"/>
                      <a:gd name="connsiteY4" fmla="*/ 0 h 67067"/>
                      <a:gd name="connsiteX5" fmla="*/ 0 w 115923"/>
                      <a:gd name="connsiteY5" fmla="*/ 3265 h 67067"/>
                      <a:gd name="connsiteX6" fmla="*/ 5400 w 115923"/>
                      <a:gd name="connsiteY6" fmla="*/ 6405 h 67067"/>
                      <a:gd name="connsiteX7" fmla="*/ 7535 w 115923"/>
                      <a:gd name="connsiteY7" fmla="*/ 13439 h 67067"/>
                      <a:gd name="connsiteX8" fmla="*/ 92940 w 115923"/>
                      <a:gd name="connsiteY8" fmla="*/ 62797 h 67067"/>
                      <a:gd name="connsiteX9" fmla="*/ 105123 w 115923"/>
                      <a:gd name="connsiteY9" fmla="*/ 64053 h 67067"/>
                      <a:gd name="connsiteX10" fmla="*/ 110272 w 115923"/>
                      <a:gd name="connsiteY10" fmla="*/ 67068 h 67067"/>
                      <a:gd name="connsiteX11" fmla="*/ 115924 w 115923"/>
                      <a:gd name="connsiteY11" fmla="*/ 63802 h 67067"/>
                      <a:gd name="connsiteX12" fmla="*/ 110523 w 115923"/>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3" h="67067">
                        <a:moveTo>
                          <a:pt x="110523" y="60662"/>
                        </a:moveTo>
                        <a:cubicBezTo>
                          <a:pt x="112030" y="58402"/>
                          <a:pt x="111151" y="55890"/>
                          <a:pt x="108011" y="54006"/>
                        </a:cubicBezTo>
                        <a:lnTo>
                          <a:pt x="22607" y="4647"/>
                        </a:lnTo>
                        <a:cubicBezTo>
                          <a:pt x="19467" y="2889"/>
                          <a:pt x="14946" y="2386"/>
                          <a:pt x="11178" y="3265"/>
                        </a:cubicBezTo>
                        <a:lnTo>
                          <a:pt x="5652" y="0"/>
                        </a:lnTo>
                        <a:lnTo>
                          <a:pt x="0" y="3265"/>
                        </a:lnTo>
                        <a:lnTo>
                          <a:pt x="5400" y="6405"/>
                        </a:lnTo>
                        <a:cubicBezTo>
                          <a:pt x="3517" y="8666"/>
                          <a:pt x="4270" y="11555"/>
                          <a:pt x="7535" y="13439"/>
                        </a:cubicBezTo>
                        <a:lnTo>
                          <a:pt x="92940" y="62797"/>
                        </a:lnTo>
                        <a:cubicBezTo>
                          <a:pt x="96206" y="64681"/>
                          <a:pt x="101104" y="65058"/>
                          <a:pt x="105123" y="64053"/>
                        </a:cubicBezTo>
                        <a:lnTo>
                          <a:pt x="110272" y="67068"/>
                        </a:lnTo>
                        <a:lnTo>
                          <a:pt x="115924"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8" name="Freeform: Shape 2717">
                    <a:extLst>
                      <a:ext uri="{FF2B5EF4-FFF2-40B4-BE49-F238E27FC236}">
                        <a16:creationId xmlns:a16="http://schemas.microsoft.com/office/drawing/2014/main" id="{16FC25E6-155A-48B4-A617-C1A19C8D68AA}"/>
                      </a:ext>
                    </a:extLst>
                  </p:cNvPr>
                  <p:cNvSpPr/>
                  <p:nvPr/>
                </p:nvSpPr>
                <p:spPr>
                  <a:xfrm>
                    <a:off x="5229143" y="3812280"/>
                    <a:ext cx="115798" cy="67067"/>
                  </a:xfrm>
                  <a:custGeom>
                    <a:avLst/>
                    <a:gdLst>
                      <a:gd name="connsiteX0" fmla="*/ 110524 w 115798"/>
                      <a:gd name="connsiteY0" fmla="*/ 60662 h 67067"/>
                      <a:gd name="connsiteX1" fmla="*/ 108012 w 115798"/>
                      <a:gd name="connsiteY1" fmla="*/ 54006 h 67067"/>
                      <a:gd name="connsiteX2" fmla="*/ 22607 w 115798"/>
                      <a:gd name="connsiteY2" fmla="*/ 4647 h 67067"/>
                      <a:gd name="connsiteX3" fmla="*/ 11178 w 115798"/>
                      <a:gd name="connsiteY3" fmla="*/ 3265 h 67067"/>
                      <a:gd name="connsiteX4" fmla="*/ 5652 w 115798"/>
                      <a:gd name="connsiteY4" fmla="*/ 0 h 67067"/>
                      <a:gd name="connsiteX5" fmla="*/ 0 w 115798"/>
                      <a:gd name="connsiteY5" fmla="*/ 3265 h 67067"/>
                      <a:gd name="connsiteX6" fmla="*/ 5401 w 115798"/>
                      <a:gd name="connsiteY6" fmla="*/ 6405 h 67067"/>
                      <a:gd name="connsiteX7" fmla="*/ 7536 w 115798"/>
                      <a:gd name="connsiteY7" fmla="*/ 13439 h 67067"/>
                      <a:gd name="connsiteX8" fmla="*/ 92940 w 115798"/>
                      <a:gd name="connsiteY8" fmla="*/ 62797 h 67067"/>
                      <a:gd name="connsiteX9" fmla="*/ 104997 w 115798"/>
                      <a:gd name="connsiteY9" fmla="*/ 64053 h 67067"/>
                      <a:gd name="connsiteX10" fmla="*/ 110147 w 115798"/>
                      <a:gd name="connsiteY10" fmla="*/ 67068 h 67067"/>
                      <a:gd name="connsiteX11" fmla="*/ 115798 w 115798"/>
                      <a:gd name="connsiteY11" fmla="*/ 63802 h 67067"/>
                      <a:gd name="connsiteX12" fmla="*/ 110524 w 115798"/>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798" h="67067">
                        <a:moveTo>
                          <a:pt x="110524" y="60662"/>
                        </a:moveTo>
                        <a:cubicBezTo>
                          <a:pt x="111905" y="58402"/>
                          <a:pt x="111151" y="55890"/>
                          <a:pt x="108012" y="54006"/>
                        </a:cubicBezTo>
                        <a:lnTo>
                          <a:pt x="22607" y="4647"/>
                        </a:lnTo>
                        <a:cubicBezTo>
                          <a:pt x="19467" y="2889"/>
                          <a:pt x="14946" y="2386"/>
                          <a:pt x="11178" y="3265"/>
                        </a:cubicBezTo>
                        <a:lnTo>
                          <a:pt x="5652" y="0"/>
                        </a:lnTo>
                        <a:lnTo>
                          <a:pt x="0" y="3265"/>
                        </a:lnTo>
                        <a:lnTo>
                          <a:pt x="5401" y="6405"/>
                        </a:lnTo>
                        <a:cubicBezTo>
                          <a:pt x="3517" y="8666"/>
                          <a:pt x="4270" y="11555"/>
                          <a:pt x="7536" y="13439"/>
                        </a:cubicBezTo>
                        <a:lnTo>
                          <a:pt x="92940" y="62797"/>
                        </a:lnTo>
                        <a:cubicBezTo>
                          <a:pt x="96206" y="64681"/>
                          <a:pt x="101104" y="65058"/>
                          <a:pt x="104997" y="64053"/>
                        </a:cubicBezTo>
                        <a:lnTo>
                          <a:pt x="110147" y="67068"/>
                        </a:lnTo>
                        <a:lnTo>
                          <a:pt x="115798"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9" name="Freeform: Shape 2718">
                    <a:extLst>
                      <a:ext uri="{FF2B5EF4-FFF2-40B4-BE49-F238E27FC236}">
                        <a16:creationId xmlns:a16="http://schemas.microsoft.com/office/drawing/2014/main" id="{872F6A36-5C29-4A07-8D2A-2FE56AA62F02}"/>
                      </a:ext>
                    </a:extLst>
                  </p:cNvPr>
                  <p:cNvSpPr/>
                  <p:nvPr/>
                </p:nvSpPr>
                <p:spPr>
                  <a:xfrm>
                    <a:off x="5204275" y="3826848"/>
                    <a:ext cx="115923" cy="67067"/>
                  </a:xfrm>
                  <a:custGeom>
                    <a:avLst/>
                    <a:gdLst>
                      <a:gd name="connsiteX0" fmla="*/ 110523 w 115923"/>
                      <a:gd name="connsiteY0" fmla="*/ 60537 h 67067"/>
                      <a:gd name="connsiteX1" fmla="*/ 108012 w 115923"/>
                      <a:gd name="connsiteY1" fmla="*/ 54006 h 67067"/>
                      <a:gd name="connsiteX2" fmla="*/ 22607 w 115923"/>
                      <a:gd name="connsiteY2" fmla="*/ 4647 h 67067"/>
                      <a:gd name="connsiteX3" fmla="*/ 11178 w 115923"/>
                      <a:gd name="connsiteY3" fmla="*/ 3266 h 67067"/>
                      <a:gd name="connsiteX4" fmla="*/ 5652 w 115923"/>
                      <a:gd name="connsiteY4" fmla="*/ 0 h 67067"/>
                      <a:gd name="connsiteX5" fmla="*/ 0 w 115923"/>
                      <a:gd name="connsiteY5" fmla="*/ 3266 h 67067"/>
                      <a:gd name="connsiteX6" fmla="*/ 5400 w 115923"/>
                      <a:gd name="connsiteY6" fmla="*/ 6405 h 67067"/>
                      <a:gd name="connsiteX7" fmla="*/ 7536 w 115923"/>
                      <a:gd name="connsiteY7" fmla="*/ 13439 h 67067"/>
                      <a:gd name="connsiteX8" fmla="*/ 92940 w 115923"/>
                      <a:gd name="connsiteY8" fmla="*/ 62797 h 67067"/>
                      <a:gd name="connsiteX9" fmla="*/ 105123 w 115923"/>
                      <a:gd name="connsiteY9" fmla="*/ 64053 h 67067"/>
                      <a:gd name="connsiteX10" fmla="*/ 110272 w 115923"/>
                      <a:gd name="connsiteY10" fmla="*/ 67068 h 67067"/>
                      <a:gd name="connsiteX11" fmla="*/ 115924 w 115923"/>
                      <a:gd name="connsiteY11" fmla="*/ 63802 h 67067"/>
                      <a:gd name="connsiteX12" fmla="*/ 110523 w 115923"/>
                      <a:gd name="connsiteY12" fmla="*/ 60537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3" h="67067">
                        <a:moveTo>
                          <a:pt x="110523" y="60537"/>
                        </a:moveTo>
                        <a:cubicBezTo>
                          <a:pt x="112030" y="58276"/>
                          <a:pt x="111151" y="55764"/>
                          <a:pt x="108012" y="54006"/>
                        </a:cubicBezTo>
                        <a:lnTo>
                          <a:pt x="22607" y="4647"/>
                        </a:lnTo>
                        <a:cubicBezTo>
                          <a:pt x="19467" y="2889"/>
                          <a:pt x="14946" y="2386"/>
                          <a:pt x="11178" y="3266"/>
                        </a:cubicBezTo>
                        <a:lnTo>
                          <a:pt x="5652" y="0"/>
                        </a:lnTo>
                        <a:lnTo>
                          <a:pt x="0" y="3266"/>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3" y="60537"/>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720" name="Freeform: Shape 2719">
                <a:extLst>
                  <a:ext uri="{FF2B5EF4-FFF2-40B4-BE49-F238E27FC236}">
                    <a16:creationId xmlns:a16="http://schemas.microsoft.com/office/drawing/2014/main" id="{8381F807-F4C1-4182-A291-E6C9C10CB9CA}"/>
                  </a:ext>
                </a:extLst>
              </p:cNvPr>
              <p:cNvSpPr/>
              <p:nvPr/>
            </p:nvSpPr>
            <p:spPr>
              <a:xfrm>
                <a:off x="5173540" y="3834635"/>
                <a:ext cx="131712" cy="96707"/>
              </a:xfrm>
              <a:custGeom>
                <a:avLst/>
                <a:gdLst>
                  <a:gd name="connsiteX0" fmla="*/ 2099 w 131712"/>
                  <a:gd name="connsiteY0" fmla="*/ 29766 h 96707"/>
                  <a:gd name="connsiteX1" fmla="*/ 120158 w 131712"/>
                  <a:gd name="connsiteY1" fmla="*/ 96708 h 96707"/>
                  <a:gd name="connsiteX2" fmla="*/ 131713 w 131712"/>
                  <a:gd name="connsiteY2" fmla="*/ 68700 h 96707"/>
                  <a:gd name="connsiteX3" fmla="*/ 12649 w 131712"/>
                  <a:gd name="connsiteY3" fmla="*/ 0 h 96707"/>
                  <a:gd name="connsiteX4" fmla="*/ 1471 w 131712"/>
                  <a:gd name="connsiteY4" fmla="*/ 13815 h 96707"/>
                  <a:gd name="connsiteX5" fmla="*/ 2099 w 131712"/>
                  <a:gd name="connsiteY5" fmla="*/ 29766 h 9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712" h="96707">
                    <a:moveTo>
                      <a:pt x="2099" y="29766"/>
                    </a:moveTo>
                    <a:lnTo>
                      <a:pt x="120158" y="96708"/>
                    </a:lnTo>
                    <a:lnTo>
                      <a:pt x="131713" y="68700"/>
                    </a:lnTo>
                    <a:lnTo>
                      <a:pt x="12649" y="0"/>
                    </a:lnTo>
                    <a:cubicBezTo>
                      <a:pt x="12649" y="0"/>
                      <a:pt x="6244" y="3265"/>
                      <a:pt x="1471" y="13815"/>
                    </a:cubicBezTo>
                    <a:cubicBezTo>
                      <a:pt x="1597" y="13690"/>
                      <a:pt x="-2297" y="23361"/>
                      <a:pt x="2099" y="29766"/>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21" name="Freeform: Shape 2720">
                <a:extLst>
                  <a:ext uri="{FF2B5EF4-FFF2-40B4-BE49-F238E27FC236}">
                    <a16:creationId xmlns:a16="http://schemas.microsoft.com/office/drawing/2014/main" id="{A486733A-9C0E-4E94-B650-4E6F90D377EC}"/>
                  </a:ext>
                </a:extLst>
              </p:cNvPr>
              <p:cNvSpPr/>
              <p:nvPr/>
            </p:nvSpPr>
            <p:spPr>
              <a:xfrm>
                <a:off x="5540116" y="3629587"/>
                <a:ext cx="127478" cy="70410"/>
              </a:xfrm>
              <a:custGeom>
                <a:avLst/>
                <a:gdLst>
                  <a:gd name="connsiteX0" fmla="*/ 8038 w 127478"/>
                  <a:gd name="connsiteY0" fmla="*/ 1459 h 70410"/>
                  <a:gd name="connsiteX1" fmla="*/ 127479 w 127478"/>
                  <a:gd name="connsiteY1" fmla="*/ 70411 h 70410"/>
                  <a:gd name="connsiteX2" fmla="*/ 117431 w 127478"/>
                  <a:gd name="connsiteY2" fmla="*/ 70411 h 70410"/>
                  <a:gd name="connsiteX3" fmla="*/ 0 w 127478"/>
                  <a:gd name="connsiteY3" fmla="*/ 706 h 70410"/>
                  <a:gd name="connsiteX4" fmla="*/ 8038 w 127478"/>
                  <a:gd name="connsiteY4" fmla="*/ 1459 h 70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78" h="70410">
                    <a:moveTo>
                      <a:pt x="8038" y="1459"/>
                    </a:moveTo>
                    <a:lnTo>
                      <a:pt x="127479" y="70411"/>
                    </a:lnTo>
                    <a:lnTo>
                      <a:pt x="117431" y="70411"/>
                    </a:lnTo>
                    <a:lnTo>
                      <a:pt x="0" y="706"/>
                    </a:lnTo>
                    <a:cubicBezTo>
                      <a:pt x="0" y="706"/>
                      <a:pt x="4773" y="-1304"/>
                      <a:pt x="8038" y="1459"/>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22" name="Freeform: Shape 2721">
                <a:extLst>
                  <a:ext uri="{FF2B5EF4-FFF2-40B4-BE49-F238E27FC236}">
                    <a16:creationId xmlns:a16="http://schemas.microsoft.com/office/drawing/2014/main" id="{88A07CDA-177A-4C19-90F9-DC8F906D9088}"/>
                  </a:ext>
                </a:extLst>
              </p:cNvPr>
              <p:cNvSpPr/>
              <p:nvPr/>
            </p:nvSpPr>
            <p:spPr>
              <a:xfrm>
                <a:off x="5292694" y="3698252"/>
                <a:ext cx="377538" cy="236595"/>
              </a:xfrm>
              <a:custGeom>
                <a:avLst/>
                <a:gdLst>
                  <a:gd name="connsiteX0" fmla="*/ 0 w 377538"/>
                  <a:gd name="connsiteY0" fmla="*/ 227691 h 236595"/>
                  <a:gd name="connsiteX1" fmla="*/ 12685 w 377538"/>
                  <a:gd name="connsiteY1" fmla="*/ 234850 h 236595"/>
                  <a:gd name="connsiteX2" fmla="*/ 364853 w 377538"/>
                  <a:gd name="connsiteY2" fmla="*/ 31512 h 236595"/>
                  <a:gd name="connsiteX3" fmla="*/ 377538 w 377538"/>
                  <a:gd name="connsiteY3" fmla="*/ 9658 h 236595"/>
                  <a:gd name="connsiteX4" fmla="*/ 377538 w 377538"/>
                  <a:gd name="connsiteY4" fmla="*/ 8905 h 236595"/>
                  <a:gd name="connsiteX5" fmla="*/ 364853 w 377538"/>
                  <a:gd name="connsiteY5" fmla="*/ 1746 h 236595"/>
                  <a:gd name="connsiteX6" fmla="*/ 12685 w 377538"/>
                  <a:gd name="connsiteY6" fmla="*/ 205084 h 236595"/>
                  <a:gd name="connsiteX7" fmla="*/ 0 w 377538"/>
                  <a:gd name="connsiteY7" fmla="*/ 226812 h 236595"/>
                  <a:gd name="connsiteX8" fmla="*/ 0 w 377538"/>
                  <a:gd name="connsiteY8" fmla="*/ 227691 h 23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38" h="236595">
                    <a:moveTo>
                      <a:pt x="0" y="227691"/>
                    </a:moveTo>
                    <a:cubicBezTo>
                      <a:pt x="0" y="235729"/>
                      <a:pt x="5652" y="238869"/>
                      <a:pt x="12685" y="234850"/>
                    </a:cubicBezTo>
                    <a:lnTo>
                      <a:pt x="364853" y="31512"/>
                    </a:lnTo>
                    <a:cubicBezTo>
                      <a:pt x="371761" y="27493"/>
                      <a:pt x="377538" y="17697"/>
                      <a:pt x="377538" y="9658"/>
                    </a:cubicBezTo>
                    <a:lnTo>
                      <a:pt x="377538" y="8905"/>
                    </a:lnTo>
                    <a:cubicBezTo>
                      <a:pt x="377538" y="867"/>
                      <a:pt x="371886" y="-2273"/>
                      <a:pt x="364853" y="1746"/>
                    </a:cubicBezTo>
                    <a:lnTo>
                      <a:pt x="12685" y="205084"/>
                    </a:lnTo>
                    <a:cubicBezTo>
                      <a:pt x="5652" y="209103"/>
                      <a:pt x="0" y="218899"/>
                      <a:pt x="0" y="226812"/>
                    </a:cubicBezTo>
                    <a:lnTo>
                      <a:pt x="0" y="227691"/>
                    </a:lnTo>
                    <a:close/>
                  </a:path>
                </a:pathLst>
              </a:custGeom>
              <a:solidFill>
                <a:srgbClr val="9DA1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23" name="Freeform: Shape 2722">
                <a:extLst>
                  <a:ext uri="{FF2B5EF4-FFF2-40B4-BE49-F238E27FC236}">
                    <a16:creationId xmlns:a16="http://schemas.microsoft.com/office/drawing/2014/main" id="{8B8A6F1E-1B3A-4FAF-A7A0-4BE2C41C69EC}"/>
                  </a:ext>
                </a:extLst>
              </p:cNvPr>
              <p:cNvSpPr/>
              <p:nvPr/>
            </p:nvSpPr>
            <p:spPr>
              <a:xfrm>
                <a:off x="5300732" y="3768073"/>
                <a:ext cx="254329" cy="159373"/>
              </a:xfrm>
              <a:custGeom>
                <a:avLst/>
                <a:gdLst>
                  <a:gd name="connsiteX0" fmla="*/ 0 w 254329"/>
                  <a:gd name="connsiteY0" fmla="*/ 153348 h 159373"/>
                  <a:gd name="connsiteX1" fmla="*/ 8540 w 254329"/>
                  <a:gd name="connsiteY1" fmla="*/ 158246 h 159373"/>
                  <a:gd name="connsiteX2" fmla="*/ 245789 w 254329"/>
                  <a:gd name="connsiteY2" fmla="*/ 21222 h 159373"/>
                  <a:gd name="connsiteX3" fmla="*/ 254329 w 254329"/>
                  <a:gd name="connsiteY3" fmla="*/ 6528 h 159373"/>
                  <a:gd name="connsiteX4" fmla="*/ 254329 w 254329"/>
                  <a:gd name="connsiteY4" fmla="*/ 6025 h 159373"/>
                  <a:gd name="connsiteX5" fmla="*/ 245789 w 254329"/>
                  <a:gd name="connsiteY5" fmla="*/ 1127 h 159373"/>
                  <a:gd name="connsiteX6" fmla="*/ 8540 w 254329"/>
                  <a:gd name="connsiteY6" fmla="*/ 138151 h 159373"/>
                  <a:gd name="connsiteX7" fmla="*/ 0 w 254329"/>
                  <a:gd name="connsiteY7" fmla="*/ 152846 h 159373"/>
                  <a:gd name="connsiteX8" fmla="*/ 0 w 254329"/>
                  <a:gd name="connsiteY8" fmla="*/ 153348 h 15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329" h="159373">
                    <a:moveTo>
                      <a:pt x="0" y="153348"/>
                    </a:moveTo>
                    <a:cubicBezTo>
                      <a:pt x="0" y="158749"/>
                      <a:pt x="3768" y="160884"/>
                      <a:pt x="8540" y="158246"/>
                    </a:cubicBezTo>
                    <a:lnTo>
                      <a:pt x="245789" y="21222"/>
                    </a:lnTo>
                    <a:cubicBezTo>
                      <a:pt x="250436" y="18459"/>
                      <a:pt x="254329" y="11928"/>
                      <a:pt x="254329" y="6528"/>
                    </a:cubicBezTo>
                    <a:lnTo>
                      <a:pt x="254329" y="6025"/>
                    </a:lnTo>
                    <a:cubicBezTo>
                      <a:pt x="254329" y="625"/>
                      <a:pt x="250562" y="-1510"/>
                      <a:pt x="245789" y="1127"/>
                    </a:cubicBezTo>
                    <a:lnTo>
                      <a:pt x="8540" y="138151"/>
                    </a:lnTo>
                    <a:cubicBezTo>
                      <a:pt x="3893" y="140914"/>
                      <a:pt x="0" y="147445"/>
                      <a:pt x="0" y="152846"/>
                    </a:cubicBezTo>
                    <a:lnTo>
                      <a:pt x="0" y="153348"/>
                    </a:lnTo>
                    <a:close/>
                  </a:path>
                </a:pathLst>
              </a:custGeom>
              <a:solidFill>
                <a:srgbClr val="9DA1A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24" name="Freeform: Shape 2723">
                <a:extLst>
                  <a:ext uri="{FF2B5EF4-FFF2-40B4-BE49-F238E27FC236}">
                    <a16:creationId xmlns:a16="http://schemas.microsoft.com/office/drawing/2014/main" id="{76551179-6984-4301-9E19-19951A061D29}"/>
                  </a:ext>
                </a:extLst>
              </p:cNvPr>
              <p:cNvSpPr/>
              <p:nvPr/>
            </p:nvSpPr>
            <p:spPr>
              <a:xfrm>
                <a:off x="5409497" y="3705527"/>
                <a:ext cx="254329" cy="159373"/>
              </a:xfrm>
              <a:custGeom>
                <a:avLst/>
                <a:gdLst>
                  <a:gd name="connsiteX0" fmla="*/ 0 w 254329"/>
                  <a:gd name="connsiteY0" fmla="*/ 153348 h 159373"/>
                  <a:gd name="connsiteX1" fmla="*/ 8540 w 254329"/>
                  <a:gd name="connsiteY1" fmla="*/ 158246 h 159373"/>
                  <a:gd name="connsiteX2" fmla="*/ 245789 w 254329"/>
                  <a:gd name="connsiteY2" fmla="*/ 21223 h 159373"/>
                  <a:gd name="connsiteX3" fmla="*/ 254329 w 254329"/>
                  <a:gd name="connsiteY3" fmla="*/ 6528 h 159373"/>
                  <a:gd name="connsiteX4" fmla="*/ 254329 w 254329"/>
                  <a:gd name="connsiteY4" fmla="*/ 6025 h 159373"/>
                  <a:gd name="connsiteX5" fmla="*/ 245789 w 254329"/>
                  <a:gd name="connsiteY5" fmla="*/ 1127 h 159373"/>
                  <a:gd name="connsiteX6" fmla="*/ 8540 w 254329"/>
                  <a:gd name="connsiteY6" fmla="*/ 138151 h 159373"/>
                  <a:gd name="connsiteX7" fmla="*/ 0 w 254329"/>
                  <a:gd name="connsiteY7" fmla="*/ 152846 h 159373"/>
                  <a:gd name="connsiteX8" fmla="*/ 0 w 254329"/>
                  <a:gd name="connsiteY8" fmla="*/ 153348 h 15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329" h="159373">
                    <a:moveTo>
                      <a:pt x="0" y="153348"/>
                    </a:moveTo>
                    <a:cubicBezTo>
                      <a:pt x="0" y="158749"/>
                      <a:pt x="3768" y="160884"/>
                      <a:pt x="8540" y="158246"/>
                    </a:cubicBezTo>
                    <a:lnTo>
                      <a:pt x="245789" y="21223"/>
                    </a:lnTo>
                    <a:cubicBezTo>
                      <a:pt x="250436" y="18459"/>
                      <a:pt x="254329" y="11928"/>
                      <a:pt x="254329" y="6528"/>
                    </a:cubicBezTo>
                    <a:lnTo>
                      <a:pt x="254329" y="6025"/>
                    </a:lnTo>
                    <a:cubicBezTo>
                      <a:pt x="254329" y="625"/>
                      <a:pt x="250561" y="-1510"/>
                      <a:pt x="245789" y="1127"/>
                    </a:cubicBezTo>
                    <a:lnTo>
                      <a:pt x="8540" y="138151"/>
                    </a:lnTo>
                    <a:cubicBezTo>
                      <a:pt x="3893" y="140914"/>
                      <a:pt x="0" y="147445"/>
                      <a:pt x="0" y="152846"/>
                    </a:cubicBezTo>
                    <a:lnTo>
                      <a:pt x="0" y="153348"/>
                    </a:lnTo>
                    <a:close/>
                  </a:path>
                </a:pathLst>
              </a:custGeom>
              <a:solidFill>
                <a:srgbClr val="9DA1A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25" name="Graphic 4">
                <a:extLst>
                  <a:ext uri="{FF2B5EF4-FFF2-40B4-BE49-F238E27FC236}">
                    <a16:creationId xmlns:a16="http://schemas.microsoft.com/office/drawing/2014/main" id="{84FB7ED1-A2DF-40A1-A747-5F7CF3F14040}"/>
                  </a:ext>
                </a:extLst>
              </p:cNvPr>
              <p:cNvGrpSpPr/>
              <p:nvPr/>
            </p:nvGrpSpPr>
            <p:grpSpPr>
              <a:xfrm>
                <a:off x="5303621" y="3907576"/>
                <a:ext cx="14191" cy="17540"/>
                <a:chOff x="5303621" y="3907576"/>
                <a:chExt cx="14191" cy="17540"/>
              </a:xfrm>
              <a:solidFill>
                <a:schemeClr val="accent1"/>
              </a:solidFill>
            </p:grpSpPr>
            <p:sp>
              <p:nvSpPr>
                <p:cNvPr id="2726" name="Freeform: Shape 2725">
                  <a:extLst>
                    <a:ext uri="{FF2B5EF4-FFF2-40B4-BE49-F238E27FC236}">
                      <a16:creationId xmlns:a16="http://schemas.microsoft.com/office/drawing/2014/main" id="{B4F21DB7-DE26-4AD4-A07F-724D887797E0}"/>
                    </a:ext>
                  </a:extLst>
                </p:cNvPr>
                <p:cNvSpPr/>
                <p:nvPr/>
              </p:nvSpPr>
              <p:spPr>
                <a:xfrm>
                  <a:off x="5303621" y="3907576"/>
                  <a:ext cx="13564" cy="17364"/>
                </a:xfrm>
                <a:custGeom>
                  <a:avLst/>
                  <a:gdLst>
                    <a:gd name="connsiteX0" fmla="*/ 9922 w 13564"/>
                    <a:gd name="connsiteY0" fmla="*/ 13594 h 17364"/>
                    <a:gd name="connsiteX1" fmla="*/ 10173 w 13564"/>
                    <a:gd name="connsiteY1" fmla="*/ 13343 h 17364"/>
                    <a:gd name="connsiteX2" fmla="*/ 10298 w 13564"/>
                    <a:gd name="connsiteY2" fmla="*/ 13217 h 17364"/>
                    <a:gd name="connsiteX3" fmla="*/ 10424 w 13564"/>
                    <a:gd name="connsiteY3" fmla="*/ 13092 h 17364"/>
                    <a:gd name="connsiteX4" fmla="*/ 10550 w 13564"/>
                    <a:gd name="connsiteY4" fmla="*/ 12841 h 17364"/>
                    <a:gd name="connsiteX5" fmla="*/ 10675 w 13564"/>
                    <a:gd name="connsiteY5" fmla="*/ 12715 h 17364"/>
                    <a:gd name="connsiteX6" fmla="*/ 13564 w 13564"/>
                    <a:gd name="connsiteY6" fmla="*/ 4803 h 17364"/>
                    <a:gd name="connsiteX7" fmla="*/ 6782 w 13564"/>
                    <a:gd name="connsiteY7" fmla="*/ 909 h 17364"/>
                    <a:gd name="connsiteX8" fmla="*/ 0 w 13564"/>
                    <a:gd name="connsiteY8" fmla="*/ 12589 h 17364"/>
                    <a:gd name="connsiteX9" fmla="*/ 1632 w 13564"/>
                    <a:gd name="connsiteY9" fmla="*/ 16734 h 17364"/>
                    <a:gd name="connsiteX10" fmla="*/ 1632 w 13564"/>
                    <a:gd name="connsiteY10" fmla="*/ 16734 h 17364"/>
                    <a:gd name="connsiteX11" fmla="*/ 6657 w 13564"/>
                    <a:gd name="connsiteY11" fmla="*/ 16483 h 17364"/>
                    <a:gd name="connsiteX12" fmla="*/ 9922 w 13564"/>
                    <a:gd name="connsiteY12" fmla="*/ 13594 h 17364"/>
                    <a:gd name="connsiteX13" fmla="*/ 9922 w 13564"/>
                    <a:gd name="connsiteY13" fmla="*/ 13594 h 1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64" h="17364">
                      <a:moveTo>
                        <a:pt x="9922" y="13594"/>
                      </a:moveTo>
                      <a:cubicBezTo>
                        <a:pt x="10047" y="13468"/>
                        <a:pt x="10047" y="13468"/>
                        <a:pt x="10173" y="13343"/>
                      </a:cubicBezTo>
                      <a:cubicBezTo>
                        <a:pt x="10173" y="13343"/>
                        <a:pt x="10298" y="13217"/>
                        <a:pt x="10298" y="13217"/>
                      </a:cubicBezTo>
                      <a:cubicBezTo>
                        <a:pt x="10298" y="13217"/>
                        <a:pt x="10424" y="13092"/>
                        <a:pt x="10424" y="13092"/>
                      </a:cubicBezTo>
                      <a:cubicBezTo>
                        <a:pt x="10424" y="12966"/>
                        <a:pt x="10550" y="12966"/>
                        <a:pt x="10550" y="12841"/>
                      </a:cubicBezTo>
                      <a:cubicBezTo>
                        <a:pt x="10550" y="12841"/>
                        <a:pt x="10550" y="12715"/>
                        <a:pt x="10675" y="12715"/>
                      </a:cubicBezTo>
                      <a:cubicBezTo>
                        <a:pt x="12434" y="10329"/>
                        <a:pt x="13564" y="7314"/>
                        <a:pt x="13564" y="4803"/>
                      </a:cubicBezTo>
                      <a:cubicBezTo>
                        <a:pt x="13564" y="532"/>
                        <a:pt x="10550" y="-1226"/>
                        <a:pt x="6782" y="909"/>
                      </a:cubicBezTo>
                      <a:cubicBezTo>
                        <a:pt x="3014" y="3044"/>
                        <a:pt x="0" y="8193"/>
                        <a:pt x="0" y="12589"/>
                      </a:cubicBezTo>
                      <a:cubicBezTo>
                        <a:pt x="0" y="14473"/>
                        <a:pt x="628" y="15980"/>
                        <a:pt x="1632" y="16734"/>
                      </a:cubicBezTo>
                      <a:lnTo>
                        <a:pt x="1632" y="16734"/>
                      </a:lnTo>
                      <a:cubicBezTo>
                        <a:pt x="2888" y="17613"/>
                        <a:pt x="4647" y="17613"/>
                        <a:pt x="6657" y="16483"/>
                      </a:cubicBezTo>
                      <a:cubicBezTo>
                        <a:pt x="7912" y="15729"/>
                        <a:pt x="8917" y="14724"/>
                        <a:pt x="9922" y="13594"/>
                      </a:cubicBezTo>
                      <a:cubicBezTo>
                        <a:pt x="9922" y="13594"/>
                        <a:pt x="9922" y="13594"/>
                        <a:pt x="9922" y="13594"/>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27" name="Graphic 4">
                  <a:extLst>
                    <a:ext uri="{FF2B5EF4-FFF2-40B4-BE49-F238E27FC236}">
                      <a16:creationId xmlns:a16="http://schemas.microsoft.com/office/drawing/2014/main" id="{84FB7ED1-A2DF-40A1-A747-5F7CF3F14040}"/>
                    </a:ext>
                  </a:extLst>
                </p:cNvPr>
                <p:cNvGrpSpPr/>
                <p:nvPr/>
              </p:nvGrpSpPr>
              <p:grpSpPr>
                <a:xfrm>
                  <a:off x="5304248" y="3907702"/>
                  <a:ext cx="13564" cy="17414"/>
                  <a:chOff x="5304248" y="3907702"/>
                  <a:chExt cx="13564" cy="17414"/>
                </a:xfrm>
                <a:solidFill>
                  <a:schemeClr val="accent1"/>
                </a:solidFill>
              </p:grpSpPr>
              <p:sp>
                <p:nvSpPr>
                  <p:cNvPr id="2728" name="Freeform: Shape 2727">
                    <a:extLst>
                      <a:ext uri="{FF2B5EF4-FFF2-40B4-BE49-F238E27FC236}">
                        <a16:creationId xmlns:a16="http://schemas.microsoft.com/office/drawing/2014/main" id="{5F4E72E0-DB5B-41ED-ADDF-8033CEB976DB}"/>
                      </a:ext>
                    </a:extLst>
                  </p:cNvPr>
                  <p:cNvSpPr/>
                  <p:nvPr/>
                </p:nvSpPr>
                <p:spPr>
                  <a:xfrm>
                    <a:off x="5304248" y="3907702"/>
                    <a:ext cx="13564" cy="17414"/>
                  </a:xfrm>
                  <a:custGeom>
                    <a:avLst/>
                    <a:gdLst>
                      <a:gd name="connsiteX0" fmla="*/ 13564 w 13564"/>
                      <a:gd name="connsiteY0" fmla="*/ 4802 h 17414"/>
                      <a:gd name="connsiteX1" fmla="*/ 6782 w 13564"/>
                      <a:gd name="connsiteY1" fmla="*/ 16483 h 17414"/>
                      <a:gd name="connsiteX2" fmla="*/ 0 w 13564"/>
                      <a:gd name="connsiteY2" fmla="*/ 12589 h 17414"/>
                      <a:gd name="connsiteX3" fmla="*/ 6782 w 13564"/>
                      <a:gd name="connsiteY3" fmla="*/ 909 h 17414"/>
                      <a:gd name="connsiteX4" fmla="*/ 13564 w 13564"/>
                      <a:gd name="connsiteY4" fmla="*/ 4802 h 17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17414">
                        <a:moveTo>
                          <a:pt x="13564" y="4802"/>
                        </a:moveTo>
                        <a:cubicBezTo>
                          <a:pt x="13564" y="9073"/>
                          <a:pt x="10550" y="14222"/>
                          <a:pt x="6782" y="16483"/>
                        </a:cubicBezTo>
                        <a:cubicBezTo>
                          <a:pt x="3014" y="18618"/>
                          <a:pt x="0" y="16985"/>
                          <a:pt x="0" y="12589"/>
                        </a:cubicBezTo>
                        <a:cubicBezTo>
                          <a:pt x="0" y="8319"/>
                          <a:pt x="3014" y="3170"/>
                          <a:pt x="6782" y="909"/>
                        </a:cubicBezTo>
                        <a:cubicBezTo>
                          <a:pt x="10550" y="-1226"/>
                          <a:pt x="13564" y="532"/>
                          <a:pt x="13564" y="4802"/>
                        </a:cubicBez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29" name="Graphic 4">
                    <a:extLst>
                      <a:ext uri="{FF2B5EF4-FFF2-40B4-BE49-F238E27FC236}">
                        <a16:creationId xmlns:a16="http://schemas.microsoft.com/office/drawing/2014/main" id="{84FB7ED1-A2DF-40A1-A747-5F7CF3F14040}"/>
                      </a:ext>
                    </a:extLst>
                  </p:cNvPr>
                  <p:cNvGrpSpPr/>
                  <p:nvPr/>
                </p:nvGrpSpPr>
                <p:grpSpPr>
                  <a:xfrm>
                    <a:off x="5306007" y="3908485"/>
                    <a:ext cx="11805" cy="16455"/>
                    <a:chOff x="5306007" y="3908485"/>
                    <a:chExt cx="11805" cy="16455"/>
                  </a:xfrm>
                  <a:solidFill>
                    <a:srgbClr val="3C3D32"/>
                  </a:solidFill>
                </p:grpSpPr>
                <p:sp>
                  <p:nvSpPr>
                    <p:cNvPr id="2730" name="Freeform: Shape 2729">
                      <a:extLst>
                        <a:ext uri="{FF2B5EF4-FFF2-40B4-BE49-F238E27FC236}">
                          <a16:creationId xmlns:a16="http://schemas.microsoft.com/office/drawing/2014/main" id="{41C10473-A001-451C-AD5A-3CFB438A8E23}"/>
                        </a:ext>
                      </a:extLst>
                    </p:cNvPr>
                    <p:cNvSpPr/>
                    <p:nvPr/>
                  </p:nvSpPr>
                  <p:spPr>
                    <a:xfrm>
                      <a:off x="5312663" y="3908485"/>
                      <a:ext cx="5149" cy="7284"/>
                    </a:xfrm>
                    <a:custGeom>
                      <a:avLst/>
                      <a:gdLst>
                        <a:gd name="connsiteX0" fmla="*/ 377 w 5149"/>
                        <a:gd name="connsiteY0" fmla="*/ 7285 h 7284"/>
                        <a:gd name="connsiteX1" fmla="*/ 5149 w 5149"/>
                        <a:gd name="connsiteY1" fmla="*/ 3642 h 7284"/>
                        <a:gd name="connsiteX2" fmla="*/ 3517 w 5149"/>
                        <a:gd name="connsiteY2" fmla="*/ 0 h 7284"/>
                        <a:gd name="connsiteX3" fmla="*/ 0 w 5149"/>
                        <a:gd name="connsiteY3" fmla="*/ 5401 h 7284"/>
                        <a:gd name="connsiteX4" fmla="*/ 377 w 5149"/>
                        <a:gd name="connsiteY4" fmla="*/ 7285 h 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 h="7284">
                          <a:moveTo>
                            <a:pt x="377" y="7285"/>
                          </a:moveTo>
                          <a:lnTo>
                            <a:pt x="5149" y="3642"/>
                          </a:lnTo>
                          <a:cubicBezTo>
                            <a:pt x="5024" y="2010"/>
                            <a:pt x="4521" y="754"/>
                            <a:pt x="3517" y="0"/>
                          </a:cubicBezTo>
                          <a:lnTo>
                            <a:pt x="0" y="5401"/>
                          </a:lnTo>
                          <a:lnTo>
                            <a:pt x="377" y="728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1" name="Freeform: Shape 2730">
                      <a:extLst>
                        <a:ext uri="{FF2B5EF4-FFF2-40B4-BE49-F238E27FC236}">
                          <a16:creationId xmlns:a16="http://schemas.microsoft.com/office/drawing/2014/main" id="{23176954-AFBF-43E6-BDA5-15F48B65C2FF}"/>
                        </a:ext>
                      </a:extLst>
                    </p:cNvPr>
                    <p:cNvSpPr/>
                    <p:nvPr/>
                  </p:nvSpPr>
                  <p:spPr>
                    <a:xfrm>
                      <a:off x="5306007" y="3918282"/>
                      <a:ext cx="9168" cy="6659"/>
                    </a:xfrm>
                    <a:custGeom>
                      <a:avLst/>
                      <a:gdLst>
                        <a:gd name="connsiteX0" fmla="*/ 2512 w 9168"/>
                        <a:gd name="connsiteY0" fmla="*/ 2135 h 6659"/>
                        <a:gd name="connsiteX1" fmla="*/ 0 w 9168"/>
                        <a:gd name="connsiteY1" fmla="*/ 6028 h 6659"/>
                        <a:gd name="connsiteX2" fmla="*/ 5149 w 9168"/>
                        <a:gd name="connsiteY2" fmla="*/ 5777 h 6659"/>
                        <a:gd name="connsiteX3" fmla="*/ 9168 w 9168"/>
                        <a:gd name="connsiteY3" fmla="*/ 1884 h 6659"/>
                        <a:gd name="connsiteX4" fmla="*/ 6531 w 9168"/>
                        <a:gd name="connsiteY4" fmla="*/ 0 h 6659"/>
                        <a:gd name="connsiteX5" fmla="*/ 2512 w 9168"/>
                        <a:gd name="connsiteY5" fmla="*/ 2135 h 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68" h="6659">
                          <a:moveTo>
                            <a:pt x="2512" y="2135"/>
                          </a:moveTo>
                          <a:lnTo>
                            <a:pt x="0" y="6028"/>
                          </a:lnTo>
                          <a:cubicBezTo>
                            <a:pt x="1256" y="6908"/>
                            <a:pt x="3014" y="6908"/>
                            <a:pt x="5149" y="5777"/>
                          </a:cubicBezTo>
                          <a:cubicBezTo>
                            <a:pt x="6657" y="4898"/>
                            <a:pt x="8038" y="3517"/>
                            <a:pt x="9168" y="1884"/>
                          </a:cubicBezTo>
                          <a:lnTo>
                            <a:pt x="6531" y="0"/>
                          </a:lnTo>
                          <a:lnTo>
                            <a:pt x="2512" y="213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732" name="Freeform: Shape 2731">
                    <a:extLst>
                      <a:ext uri="{FF2B5EF4-FFF2-40B4-BE49-F238E27FC236}">
                        <a16:creationId xmlns:a16="http://schemas.microsoft.com/office/drawing/2014/main" id="{6D30F017-3109-40C4-AC43-505380588959}"/>
                      </a:ext>
                    </a:extLst>
                  </p:cNvPr>
                  <p:cNvSpPr/>
                  <p:nvPr/>
                </p:nvSpPr>
                <p:spPr>
                  <a:xfrm>
                    <a:off x="5305756" y="3909356"/>
                    <a:ext cx="10801" cy="14083"/>
                  </a:xfrm>
                  <a:custGeom>
                    <a:avLst/>
                    <a:gdLst>
                      <a:gd name="connsiteX0" fmla="*/ 10801 w 10801"/>
                      <a:gd name="connsiteY0" fmla="*/ 3902 h 14083"/>
                      <a:gd name="connsiteX1" fmla="*/ 5400 w 10801"/>
                      <a:gd name="connsiteY1" fmla="*/ 13322 h 14083"/>
                      <a:gd name="connsiteX2" fmla="*/ 0 w 10801"/>
                      <a:gd name="connsiteY2" fmla="*/ 10182 h 14083"/>
                      <a:gd name="connsiteX3" fmla="*/ 5400 w 10801"/>
                      <a:gd name="connsiteY3" fmla="*/ 762 h 14083"/>
                      <a:gd name="connsiteX4" fmla="*/ 10801 w 10801"/>
                      <a:gd name="connsiteY4" fmla="*/ 3902 h 14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1" h="14083">
                        <a:moveTo>
                          <a:pt x="10801" y="3902"/>
                        </a:moveTo>
                        <a:cubicBezTo>
                          <a:pt x="10801" y="7419"/>
                          <a:pt x="8415" y="11563"/>
                          <a:pt x="5400" y="13322"/>
                        </a:cubicBezTo>
                        <a:cubicBezTo>
                          <a:pt x="2386" y="15080"/>
                          <a:pt x="0" y="13698"/>
                          <a:pt x="0" y="10182"/>
                        </a:cubicBezTo>
                        <a:cubicBezTo>
                          <a:pt x="0" y="6791"/>
                          <a:pt x="2386" y="2520"/>
                          <a:pt x="5400" y="762"/>
                        </a:cubicBezTo>
                        <a:cubicBezTo>
                          <a:pt x="8415" y="-996"/>
                          <a:pt x="10801" y="385"/>
                          <a:pt x="10801" y="3902"/>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3" name="Freeform: Shape 2732">
                    <a:extLst>
                      <a:ext uri="{FF2B5EF4-FFF2-40B4-BE49-F238E27FC236}">
                        <a16:creationId xmlns:a16="http://schemas.microsoft.com/office/drawing/2014/main" id="{3BD0DE10-AA14-4929-BC01-4CBFC26D9855}"/>
                      </a:ext>
                    </a:extLst>
                  </p:cNvPr>
                  <p:cNvSpPr/>
                  <p:nvPr/>
                </p:nvSpPr>
                <p:spPr>
                  <a:xfrm>
                    <a:off x="5306509" y="3910403"/>
                    <a:ext cx="9294" cy="12037"/>
                  </a:xfrm>
                  <a:custGeom>
                    <a:avLst/>
                    <a:gdLst>
                      <a:gd name="connsiteX0" fmla="*/ 9294 w 9294"/>
                      <a:gd name="connsiteY0" fmla="*/ 3358 h 12037"/>
                      <a:gd name="connsiteX1" fmla="*/ 4647 w 9294"/>
                      <a:gd name="connsiteY1" fmla="*/ 11396 h 12037"/>
                      <a:gd name="connsiteX2" fmla="*/ 0 w 9294"/>
                      <a:gd name="connsiteY2" fmla="*/ 8758 h 12037"/>
                      <a:gd name="connsiteX3" fmla="*/ 4647 w 9294"/>
                      <a:gd name="connsiteY3" fmla="*/ 720 h 12037"/>
                      <a:gd name="connsiteX4" fmla="*/ 9294 w 9294"/>
                      <a:gd name="connsiteY4" fmla="*/ 3358 h 1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4" h="12037">
                        <a:moveTo>
                          <a:pt x="9294" y="3358"/>
                        </a:moveTo>
                        <a:cubicBezTo>
                          <a:pt x="9294" y="6372"/>
                          <a:pt x="7159" y="9888"/>
                          <a:pt x="4647" y="11396"/>
                        </a:cubicBezTo>
                        <a:cubicBezTo>
                          <a:pt x="2010" y="12903"/>
                          <a:pt x="0" y="11647"/>
                          <a:pt x="0" y="8758"/>
                        </a:cubicBezTo>
                        <a:cubicBezTo>
                          <a:pt x="0" y="5744"/>
                          <a:pt x="2135" y="2227"/>
                          <a:pt x="4647" y="720"/>
                        </a:cubicBezTo>
                        <a:cubicBezTo>
                          <a:pt x="7285" y="-913"/>
                          <a:pt x="9294" y="343"/>
                          <a:pt x="9294" y="3358"/>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4" name="Freeform: Shape 2733">
                    <a:extLst>
                      <a:ext uri="{FF2B5EF4-FFF2-40B4-BE49-F238E27FC236}">
                        <a16:creationId xmlns:a16="http://schemas.microsoft.com/office/drawing/2014/main" id="{07698EF1-9777-4687-9944-05498E4DCA6D}"/>
                      </a:ext>
                    </a:extLst>
                  </p:cNvPr>
                  <p:cNvSpPr/>
                  <p:nvPr/>
                </p:nvSpPr>
                <p:spPr>
                  <a:xfrm>
                    <a:off x="5307388" y="3910495"/>
                    <a:ext cx="8540" cy="11997"/>
                  </a:xfrm>
                  <a:custGeom>
                    <a:avLst/>
                    <a:gdLst>
                      <a:gd name="connsiteX0" fmla="*/ 6405 w 8540"/>
                      <a:gd name="connsiteY0" fmla="*/ 0 h 11997"/>
                      <a:gd name="connsiteX1" fmla="*/ 7159 w 8540"/>
                      <a:gd name="connsiteY1" fmla="*/ 2512 h 11997"/>
                      <a:gd name="connsiteX2" fmla="*/ 2512 w 8540"/>
                      <a:gd name="connsiteY2" fmla="*/ 10550 h 11997"/>
                      <a:gd name="connsiteX3" fmla="*/ 0 w 8540"/>
                      <a:gd name="connsiteY3" fmla="*/ 11178 h 11997"/>
                      <a:gd name="connsiteX4" fmla="*/ 3893 w 8540"/>
                      <a:gd name="connsiteY4" fmla="*/ 11304 h 11997"/>
                      <a:gd name="connsiteX5" fmla="*/ 8540 w 8540"/>
                      <a:gd name="connsiteY5" fmla="*/ 3266 h 11997"/>
                      <a:gd name="connsiteX6" fmla="*/ 6405 w 8540"/>
                      <a:gd name="connsiteY6" fmla="*/ 0 h 1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97">
                        <a:moveTo>
                          <a:pt x="6405" y="0"/>
                        </a:moveTo>
                        <a:cubicBezTo>
                          <a:pt x="6908" y="628"/>
                          <a:pt x="7159" y="1382"/>
                          <a:pt x="7159" y="2512"/>
                        </a:cubicBezTo>
                        <a:cubicBezTo>
                          <a:pt x="7159" y="5526"/>
                          <a:pt x="5024" y="9043"/>
                          <a:pt x="2512" y="10550"/>
                        </a:cubicBezTo>
                        <a:cubicBezTo>
                          <a:pt x="1633" y="11052"/>
                          <a:pt x="628" y="11304"/>
                          <a:pt x="0" y="11178"/>
                        </a:cubicBezTo>
                        <a:cubicBezTo>
                          <a:pt x="879" y="12183"/>
                          <a:pt x="2261" y="12308"/>
                          <a:pt x="3893" y="11304"/>
                        </a:cubicBezTo>
                        <a:cubicBezTo>
                          <a:pt x="6531" y="9796"/>
                          <a:pt x="8540" y="6154"/>
                          <a:pt x="8540" y="3266"/>
                        </a:cubicBezTo>
                        <a:cubicBezTo>
                          <a:pt x="8415" y="1382"/>
                          <a:pt x="7661" y="126"/>
                          <a:pt x="6405" y="0"/>
                        </a:cubicBezTo>
                        <a:close/>
                      </a:path>
                    </a:pathLst>
                  </a:custGeom>
                  <a:solidFill>
                    <a:srgbClr val="B1B6BE">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35" name="Graphic 4">
                    <a:extLst>
                      <a:ext uri="{FF2B5EF4-FFF2-40B4-BE49-F238E27FC236}">
                        <a16:creationId xmlns:a16="http://schemas.microsoft.com/office/drawing/2014/main" id="{84FB7ED1-A2DF-40A1-A747-5F7CF3F14040}"/>
                      </a:ext>
                    </a:extLst>
                  </p:cNvPr>
                  <p:cNvGrpSpPr/>
                  <p:nvPr/>
                </p:nvGrpSpPr>
                <p:grpSpPr>
                  <a:xfrm>
                    <a:off x="5307263" y="3911374"/>
                    <a:ext cx="7786" cy="10047"/>
                    <a:chOff x="5307263" y="3911374"/>
                    <a:chExt cx="7786" cy="10047"/>
                  </a:xfrm>
                  <a:solidFill>
                    <a:srgbClr val="63656A"/>
                  </a:solidFill>
                </p:grpSpPr>
                <p:grpSp>
                  <p:nvGrpSpPr>
                    <p:cNvPr id="2736" name="Graphic 4">
                      <a:extLst>
                        <a:ext uri="{FF2B5EF4-FFF2-40B4-BE49-F238E27FC236}">
                          <a16:creationId xmlns:a16="http://schemas.microsoft.com/office/drawing/2014/main" id="{84FB7ED1-A2DF-40A1-A747-5F7CF3F14040}"/>
                        </a:ext>
                      </a:extLst>
                    </p:cNvPr>
                    <p:cNvGrpSpPr/>
                    <p:nvPr/>
                  </p:nvGrpSpPr>
                  <p:grpSpPr>
                    <a:xfrm>
                      <a:off x="5310528" y="3911751"/>
                      <a:ext cx="1381" cy="1758"/>
                      <a:chOff x="5310528" y="3911751"/>
                      <a:chExt cx="1381" cy="1758"/>
                    </a:xfrm>
                    <a:solidFill>
                      <a:srgbClr val="63656A"/>
                    </a:solidFill>
                  </p:grpSpPr>
                  <p:sp>
                    <p:nvSpPr>
                      <p:cNvPr id="2737" name="Freeform: Shape 2736">
                        <a:extLst>
                          <a:ext uri="{FF2B5EF4-FFF2-40B4-BE49-F238E27FC236}">
                            <a16:creationId xmlns:a16="http://schemas.microsoft.com/office/drawing/2014/main" id="{2F64B5F9-D360-4BC8-8DD0-DC0A209E3EB8}"/>
                          </a:ext>
                        </a:extLst>
                      </p:cNvPr>
                      <p:cNvSpPr/>
                      <p:nvPr/>
                    </p:nvSpPr>
                    <p:spPr>
                      <a:xfrm>
                        <a:off x="5310528" y="3911751"/>
                        <a:ext cx="1381" cy="1758"/>
                      </a:xfrm>
                      <a:custGeom>
                        <a:avLst/>
                        <a:gdLst>
                          <a:gd name="connsiteX0" fmla="*/ 377 w 1381"/>
                          <a:gd name="connsiteY0" fmla="*/ 1758 h 1758"/>
                          <a:gd name="connsiteX1" fmla="*/ 0 w 1381"/>
                          <a:gd name="connsiteY1" fmla="*/ 1256 h 1758"/>
                          <a:gd name="connsiteX2" fmla="*/ 377 w 1381"/>
                          <a:gd name="connsiteY2" fmla="*/ 377 h 1758"/>
                          <a:gd name="connsiteX3" fmla="*/ 1005 w 1381"/>
                          <a:gd name="connsiteY3" fmla="*/ 0 h 1758"/>
                          <a:gd name="connsiteX4" fmla="*/ 1381 w 1381"/>
                          <a:gd name="connsiteY4" fmla="*/ 502 h 1758"/>
                          <a:gd name="connsiteX5" fmla="*/ 1005 w 1381"/>
                          <a:gd name="connsiteY5" fmla="*/ 1256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1758"/>
                            </a:moveTo>
                            <a:lnTo>
                              <a:pt x="0" y="1256"/>
                            </a:lnTo>
                            <a:lnTo>
                              <a:pt x="377" y="377"/>
                            </a:lnTo>
                            <a:lnTo>
                              <a:pt x="1005" y="0"/>
                            </a:lnTo>
                            <a:lnTo>
                              <a:pt x="1381" y="502"/>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8" name="Freeform: Shape 2737">
                        <a:extLst>
                          <a:ext uri="{FF2B5EF4-FFF2-40B4-BE49-F238E27FC236}">
                            <a16:creationId xmlns:a16="http://schemas.microsoft.com/office/drawing/2014/main" id="{3C27FB15-D924-4637-AC74-22276AF88B49}"/>
                          </a:ext>
                        </a:extLst>
                      </p:cNvPr>
                      <p:cNvSpPr/>
                      <p:nvPr/>
                    </p:nvSpPr>
                    <p:spPr>
                      <a:xfrm>
                        <a:off x="5310528" y="3911876"/>
                        <a:ext cx="1256" cy="1632"/>
                      </a:xfrm>
                      <a:custGeom>
                        <a:avLst/>
                        <a:gdLst>
                          <a:gd name="connsiteX0" fmla="*/ 377 w 1256"/>
                          <a:gd name="connsiteY0" fmla="*/ 1633 h 1632"/>
                          <a:gd name="connsiteX1" fmla="*/ 0 w 1256"/>
                          <a:gd name="connsiteY1" fmla="*/ 1130 h 1632"/>
                          <a:gd name="connsiteX2" fmla="*/ 377 w 1256"/>
                          <a:gd name="connsiteY2" fmla="*/ 377 h 1632"/>
                          <a:gd name="connsiteX3" fmla="*/ 1005 w 1256"/>
                          <a:gd name="connsiteY3" fmla="*/ 0 h 1632"/>
                          <a:gd name="connsiteX4" fmla="*/ 1256 w 1256"/>
                          <a:gd name="connsiteY4" fmla="*/ 377 h 1632"/>
                          <a:gd name="connsiteX5" fmla="*/ 1005 w 1256"/>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377" y="1633"/>
                            </a:moveTo>
                            <a:lnTo>
                              <a:pt x="0" y="1130"/>
                            </a:lnTo>
                            <a:lnTo>
                              <a:pt x="377" y="377"/>
                            </a:lnTo>
                            <a:lnTo>
                              <a:pt x="1005" y="0"/>
                            </a:lnTo>
                            <a:lnTo>
                              <a:pt x="1256" y="377"/>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39" name="Graphic 4">
                      <a:extLst>
                        <a:ext uri="{FF2B5EF4-FFF2-40B4-BE49-F238E27FC236}">
                          <a16:creationId xmlns:a16="http://schemas.microsoft.com/office/drawing/2014/main" id="{84FB7ED1-A2DF-40A1-A747-5F7CF3F14040}"/>
                        </a:ext>
                      </a:extLst>
                    </p:cNvPr>
                    <p:cNvGrpSpPr/>
                    <p:nvPr/>
                  </p:nvGrpSpPr>
                  <p:grpSpPr>
                    <a:xfrm>
                      <a:off x="5309021" y="3913258"/>
                      <a:ext cx="1130" cy="1507"/>
                      <a:chOff x="5309021" y="3913258"/>
                      <a:chExt cx="1130" cy="1507"/>
                    </a:xfrm>
                    <a:solidFill>
                      <a:srgbClr val="63656A"/>
                    </a:solidFill>
                  </p:grpSpPr>
                  <p:sp>
                    <p:nvSpPr>
                      <p:cNvPr id="2740" name="Freeform: Shape 2739">
                        <a:extLst>
                          <a:ext uri="{FF2B5EF4-FFF2-40B4-BE49-F238E27FC236}">
                            <a16:creationId xmlns:a16="http://schemas.microsoft.com/office/drawing/2014/main" id="{D3030FF7-A676-418B-8E46-EE51A93A72BC}"/>
                          </a:ext>
                        </a:extLst>
                      </p:cNvPr>
                      <p:cNvSpPr/>
                      <p:nvPr/>
                    </p:nvSpPr>
                    <p:spPr>
                      <a:xfrm>
                        <a:off x="5309021" y="3913258"/>
                        <a:ext cx="1130" cy="1507"/>
                      </a:xfrm>
                      <a:custGeom>
                        <a:avLst/>
                        <a:gdLst>
                          <a:gd name="connsiteX0" fmla="*/ 502 w 1130"/>
                          <a:gd name="connsiteY0" fmla="*/ 1507 h 1507"/>
                          <a:gd name="connsiteX1" fmla="*/ 0 w 1130"/>
                          <a:gd name="connsiteY1" fmla="*/ 1507 h 1507"/>
                          <a:gd name="connsiteX2" fmla="*/ 0 w 1130"/>
                          <a:gd name="connsiteY2" fmla="*/ 754 h 1507"/>
                          <a:gd name="connsiteX3" fmla="*/ 502 w 1130"/>
                          <a:gd name="connsiteY3" fmla="*/ 0 h 1507"/>
                          <a:gd name="connsiteX4" fmla="*/ 1130 w 1130"/>
                          <a:gd name="connsiteY4" fmla="*/ 0 h 1507"/>
                          <a:gd name="connsiteX5" fmla="*/ 1130 w 1130"/>
                          <a:gd name="connsiteY5" fmla="*/ 879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502" y="1507"/>
                            </a:moveTo>
                            <a:lnTo>
                              <a:pt x="0" y="1507"/>
                            </a:lnTo>
                            <a:lnTo>
                              <a:pt x="0" y="754"/>
                            </a:lnTo>
                            <a:lnTo>
                              <a:pt x="502" y="0"/>
                            </a:lnTo>
                            <a:lnTo>
                              <a:pt x="1130" y="0"/>
                            </a:lnTo>
                            <a:lnTo>
                              <a:pt x="1130" y="879"/>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41" name="Freeform: Shape 2740">
                        <a:extLst>
                          <a:ext uri="{FF2B5EF4-FFF2-40B4-BE49-F238E27FC236}">
                            <a16:creationId xmlns:a16="http://schemas.microsoft.com/office/drawing/2014/main" id="{172194F3-8E45-4FE7-8E53-36E39D798BBA}"/>
                          </a:ext>
                        </a:extLst>
                      </p:cNvPr>
                      <p:cNvSpPr/>
                      <p:nvPr/>
                    </p:nvSpPr>
                    <p:spPr>
                      <a:xfrm>
                        <a:off x="5309021" y="3913383"/>
                        <a:ext cx="1004" cy="1381"/>
                      </a:xfrm>
                      <a:custGeom>
                        <a:avLst/>
                        <a:gdLst>
                          <a:gd name="connsiteX0" fmla="*/ 502 w 1004"/>
                          <a:gd name="connsiteY0" fmla="*/ 1381 h 1381"/>
                          <a:gd name="connsiteX1" fmla="*/ 0 w 1004"/>
                          <a:gd name="connsiteY1" fmla="*/ 1381 h 1381"/>
                          <a:gd name="connsiteX2" fmla="*/ 0 w 1004"/>
                          <a:gd name="connsiteY2" fmla="*/ 754 h 1381"/>
                          <a:gd name="connsiteX3" fmla="*/ 502 w 1004"/>
                          <a:gd name="connsiteY3" fmla="*/ 0 h 1381"/>
                          <a:gd name="connsiteX4" fmla="*/ 1005 w 1004"/>
                          <a:gd name="connsiteY4" fmla="*/ 0 h 1381"/>
                          <a:gd name="connsiteX5" fmla="*/ 1005 w 1004"/>
                          <a:gd name="connsiteY5" fmla="*/ 754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502" y="1381"/>
                            </a:moveTo>
                            <a:lnTo>
                              <a:pt x="0" y="1381"/>
                            </a:lnTo>
                            <a:lnTo>
                              <a:pt x="0" y="754"/>
                            </a:lnTo>
                            <a:lnTo>
                              <a:pt x="502" y="0"/>
                            </a:lnTo>
                            <a:lnTo>
                              <a:pt x="1005" y="0"/>
                            </a:lnTo>
                            <a:lnTo>
                              <a:pt x="1005"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42" name="Graphic 4">
                      <a:extLst>
                        <a:ext uri="{FF2B5EF4-FFF2-40B4-BE49-F238E27FC236}">
                          <a16:creationId xmlns:a16="http://schemas.microsoft.com/office/drawing/2014/main" id="{84FB7ED1-A2DF-40A1-A747-5F7CF3F14040}"/>
                        </a:ext>
                      </a:extLst>
                    </p:cNvPr>
                    <p:cNvGrpSpPr/>
                    <p:nvPr/>
                  </p:nvGrpSpPr>
                  <p:grpSpPr>
                    <a:xfrm>
                      <a:off x="5307639" y="3915267"/>
                      <a:ext cx="1381" cy="1758"/>
                      <a:chOff x="5307639" y="3915267"/>
                      <a:chExt cx="1381" cy="1758"/>
                    </a:xfrm>
                    <a:solidFill>
                      <a:srgbClr val="63656A"/>
                    </a:solidFill>
                  </p:grpSpPr>
                  <p:sp>
                    <p:nvSpPr>
                      <p:cNvPr id="2743" name="Freeform: Shape 2742">
                        <a:extLst>
                          <a:ext uri="{FF2B5EF4-FFF2-40B4-BE49-F238E27FC236}">
                            <a16:creationId xmlns:a16="http://schemas.microsoft.com/office/drawing/2014/main" id="{034F5441-4A9D-4B64-97F4-3621FBF386C2}"/>
                          </a:ext>
                        </a:extLst>
                      </p:cNvPr>
                      <p:cNvSpPr/>
                      <p:nvPr/>
                    </p:nvSpPr>
                    <p:spPr>
                      <a:xfrm>
                        <a:off x="5307639" y="3915267"/>
                        <a:ext cx="1381" cy="1758"/>
                      </a:xfrm>
                      <a:custGeom>
                        <a:avLst/>
                        <a:gdLst>
                          <a:gd name="connsiteX0" fmla="*/ 1005 w 1381"/>
                          <a:gd name="connsiteY0" fmla="*/ 1382 h 1758"/>
                          <a:gd name="connsiteX1" fmla="*/ 377 w 1381"/>
                          <a:gd name="connsiteY1" fmla="*/ 1758 h 1758"/>
                          <a:gd name="connsiteX2" fmla="*/ 0 w 1381"/>
                          <a:gd name="connsiteY2" fmla="*/ 1256 h 1758"/>
                          <a:gd name="connsiteX3" fmla="*/ 377 w 1381"/>
                          <a:gd name="connsiteY3" fmla="*/ 377 h 1758"/>
                          <a:gd name="connsiteX4" fmla="*/ 1005 w 1381"/>
                          <a:gd name="connsiteY4" fmla="*/ 0 h 1758"/>
                          <a:gd name="connsiteX5" fmla="*/ 1382 w 1381"/>
                          <a:gd name="connsiteY5" fmla="*/ 50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1382"/>
                            </a:moveTo>
                            <a:lnTo>
                              <a:pt x="377" y="1758"/>
                            </a:lnTo>
                            <a:lnTo>
                              <a:pt x="0" y="1256"/>
                            </a:lnTo>
                            <a:lnTo>
                              <a:pt x="377" y="377"/>
                            </a:lnTo>
                            <a:lnTo>
                              <a:pt x="1005" y="0"/>
                            </a:lnTo>
                            <a:lnTo>
                              <a:pt x="1382" y="50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44" name="Freeform: Shape 2743">
                        <a:extLst>
                          <a:ext uri="{FF2B5EF4-FFF2-40B4-BE49-F238E27FC236}">
                            <a16:creationId xmlns:a16="http://schemas.microsoft.com/office/drawing/2014/main" id="{AC51D455-9C9A-4D45-A6F0-D5DD52493918}"/>
                          </a:ext>
                        </a:extLst>
                      </p:cNvPr>
                      <p:cNvSpPr/>
                      <p:nvPr/>
                    </p:nvSpPr>
                    <p:spPr>
                      <a:xfrm>
                        <a:off x="5307765" y="3915393"/>
                        <a:ext cx="1130" cy="1632"/>
                      </a:xfrm>
                      <a:custGeom>
                        <a:avLst/>
                        <a:gdLst>
                          <a:gd name="connsiteX0" fmla="*/ 879 w 1130"/>
                          <a:gd name="connsiteY0" fmla="*/ 1256 h 1632"/>
                          <a:gd name="connsiteX1" fmla="*/ 251 w 1130"/>
                          <a:gd name="connsiteY1" fmla="*/ 1633 h 1632"/>
                          <a:gd name="connsiteX2" fmla="*/ 0 w 1130"/>
                          <a:gd name="connsiteY2" fmla="*/ 1130 h 1632"/>
                          <a:gd name="connsiteX3" fmla="*/ 251 w 1130"/>
                          <a:gd name="connsiteY3" fmla="*/ 377 h 1632"/>
                          <a:gd name="connsiteX4" fmla="*/ 879 w 1130"/>
                          <a:gd name="connsiteY4" fmla="*/ 0 h 1632"/>
                          <a:gd name="connsiteX5" fmla="*/ 1130 w 1130"/>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879" y="1256"/>
                            </a:moveTo>
                            <a:lnTo>
                              <a:pt x="251" y="1633"/>
                            </a:lnTo>
                            <a:lnTo>
                              <a:pt x="0" y="1130"/>
                            </a:lnTo>
                            <a:lnTo>
                              <a:pt x="251" y="377"/>
                            </a:lnTo>
                            <a:lnTo>
                              <a:pt x="879" y="0"/>
                            </a:lnTo>
                            <a:lnTo>
                              <a:pt x="1130"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45" name="Graphic 4">
                      <a:extLst>
                        <a:ext uri="{FF2B5EF4-FFF2-40B4-BE49-F238E27FC236}">
                          <a16:creationId xmlns:a16="http://schemas.microsoft.com/office/drawing/2014/main" id="{84FB7ED1-A2DF-40A1-A747-5F7CF3F14040}"/>
                        </a:ext>
                      </a:extLst>
                    </p:cNvPr>
                    <p:cNvGrpSpPr/>
                    <p:nvPr/>
                  </p:nvGrpSpPr>
                  <p:grpSpPr>
                    <a:xfrm>
                      <a:off x="5307263" y="3917528"/>
                      <a:ext cx="1130" cy="1507"/>
                      <a:chOff x="5307263" y="3917528"/>
                      <a:chExt cx="1130" cy="1507"/>
                    </a:xfrm>
                    <a:solidFill>
                      <a:srgbClr val="63656A"/>
                    </a:solidFill>
                  </p:grpSpPr>
                  <p:sp>
                    <p:nvSpPr>
                      <p:cNvPr id="2746" name="Freeform: Shape 2745">
                        <a:extLst>
                          <a:ext uri="{FF2B5EF4-FFF2-40B4-BE49-F238E27FC236}">
                            <a16:creationId xmlns:a16="http://schemas.microsoft.com/office/drawing/2014/main" id="{9A0A5E86-8D24-4C82-A34E-3CB859FD046D}"/>
                          </a:ext>
                        </a:extLst>
                      </p:cNvPr>
                      <p:cNvSpPr/>
                      <p:nvPr/>
                    </p:nvSpPr>
                    <p:spPr>
                      <a:xfrm>
                        <a:off x="5307263" y="3917528"/>
                        <a:ext cx="1130" cy="1507"/>
                      </a:xfrm>
                      <a:custGeom>
                        <a:avLst/>
                        <a:gdLst>
                          <a:gd name="connsiteX0" fmla="*/ 1130 w 1130"/>
                          <a:gd name="connsiteY0" fmla="*/ 754 h 1507"/>
                          <a:gd name="connsiteX1" fmla="*/ 628 w 1130"/>
                          <a:gd name="connsiteY1" fmla="*/ 1507 h 1507"/>
                          <a:gd name="connsiteX2" fmla="*/ 0 w 1130"/>
                          <a:gd name="connsiteY2" fmla="*/ 1507 h 1507"/>
                          <a:gd name="connsiteX3" fmla="*/ 0 w 1130"/>
                          <a:gd name="connsiteY3" fmla="*/ 754 h 1507"/>
                          <a:gd name="connsiteX4" fmla="*/ 628 w 1130"/>
                          <a:gd name="connsiteY4" fmla="*/ 0 h 1507"/>
                          <a:gd name="connsiteX5" fmla="*/ 1130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754"/>
                            </a:moveTo>
                            <a:lnTo>
                              <a:pt x="628" y="1507"/>
                            </a:lnTo>
                            <a:lnTo>
                              <a:pt x="0" y="1507"/>
                            </a:lnTo>
                            <a:lnTo>
                              <a:pt x="0" y="754"/>
                            </a:lnTo>
                            <a:lnTo>
                              <a:pt x="628" y="0"/>
                            </a:lnTo>
                            <a:lnTo>
                              <a:pt x="1130"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47" name="Freeform: Shape 2746">
                        <a:extLst>
                          <a:ext uri="{FF2B5EF4-FFF2-40B4-BE49-F238E27FC236}">
                            <a16:creationId xmlns:a16="http://schemas.microsoft.com/office/drawing/2014/main" id="{1E59567F-6210-4C64-A3C8-AEF8F2B4A2B0}"/>
                          </a:ext>
                        </a:extLst>
                      </p:cNvPr>
                      <p:cNvSpPr/>
                      <p:nvPr/>
                    </p:nvSpPr>
                    <p:spPr>
                      <a:xfrm>
                        <a:off x="5307388" y="3917654"/>
                        <a:ext cx="1004" cy="1381"/>
                      </a:xfrm>
                      <a:custGeom>
                        <a:avLst/>
                        <a:gdLst>
                          <a:gd name="connsiteX0" fmla="*/ 1005 w 1004"/>
                          <a:gd name="connsiteY0" fmla="*/ 754 h 1381"/>
                          <a:gd name="connsiteX1" fmla="*/ 502 w 1004"/>
                          <a:gd name="connsiteY1" fmla="*/ 1382 h 1381"/>
                          <a:gd name="connsiteX2" fmla="*/ 0 w 1004"/>
                          <a:gd name="connsiteY2" fmla="*/ 1382 h 1381"/>
                          <a:gd name="connsiteX3" fmla="*/ 0 w 1004"/>
                          <a:gd name="connsiteY3" fmla="*/ 628 h 1381"/>
                          <a:gd name="connsiteX4" fmla="*/ 502 w 1004"/>
                          <a:gd name="connsiteY4" fmla="*/ 0 h 1381"/>
                          <a:gd name="connsiteX5" fmla="*/ 1005 w 1004"/>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1005" y="754"/>
                            </a:moveTo>
                            <a:lnTo>
                              <a:pt x="502" y="1382"/>
                            </a:lnTo>
                            <a:lnTo>
                              <a:pt x="0" y="1382"/>
                            </a:lnTo>
                            <a:lnTo>
                              <a:pt x="0" y="628"/>
                            </a:lnTo>
                            <a:lnTo>
                              <a:pt x="502" y="0"/>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48" name="Graphic 4">
                      <a:extLst>
                        <a:ext uri="{FF2B5EF4-FFF2-40B4-BE49-F238E27FC236}">
                          <a16:creationId xmlns:a16="http://schemas.microsoft.com/office/drawing/2014/main" id="{84FB7ED1-A2DF-40A1-A747-5F7CF3F14040}"/>
                        </a:ext>
                      </a:extLst>
                    </p:cNvPr>
                    <p:cNvGrpSpPr/>
                    <p:nvPr/>
                  </p:nvGrpSpPr>
                  <p:grpSpPr>
                    <a:xfrm>
                      <a:off x="5307639" y="3919035"/>
                      <a:ext cx="1256" cy="1758"/>
                      <a:chOff x="5307639" y="3919035"/>
                      <a:chExt cx="1256" cy="1758"/>
                    </a:xfrm>
                    <a:solidFill>
                      <a:srgbClr val="63656A"/>
                    </a:solidFill>
                  </p:grpSpPr>
                  <p:sp>
                    <p:nvSpPr>
                      <p:cNvPr id="2749" name="Freeform: Shape 2748">
                        <a:extLst>
                          <a:ext uri="{FF2B5EF4-FFF2-40B4-BE49-F238E27FC236}">
                            <a16:creationId xmlns:a16="http://schemas.microsoft.com/office/drawing/2014/main" id="{6A96D14F-59B8-4729-B07D-4B0A6A614578}"/>
                          </a:ext>
                        </a:extLst>
                      </p:cNvPr>
                      <p:cNvSpPr/>
                      <p:nvPr/>
                    </p:nvSpPr>
                    <p:spPr>
                      <a:xfrm>
                        <a:off x="5307639" y="3919035"/>
                        <a:ext cx="1256" cy="1758"/>
                      </a:xfrm>
                      <a:custGeom>
                        <a:avLst/>
                        <a:gdLst>
                          <a:gd name="connsiteX0" fmla="*/ 1256 w 1256"/>
                          <a:gd name="connsiteY0" fmla="*/ 502 h 1758"/>
                          <a:gd name="connsiteX1" fmla="*/ 1005 w 1256"/>
                          <a:gd name="connsiteY1" fmla="*/ 1382 h 1758"/>
                          <a:gd name="connsiteX2" fmla="*/ 251 w 1256"/>
                          <a:gd name="connsiteY2" fmla="*/ 1758 h 1758"/>
                          <a:gd name="connsiteX3" fmla="*/ 0 w 1256"/>
                          <a:gd name="connsiteY3" fmla="*/ 1382 h 1758"/>
                          <a:gd name="connsiteX4" fmla="*/ 251 w 1256"/>
                          <a:gd name="connsiteY4" fmla="*/ 502 h 1758"/>
                          <a:gd name="connsiteX5" fmla="*/ 1005 w 1256"/>
                          <a:gd name="connsiteY5" fmla="*/ 0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758">
                            <a:moveTo>
                              <a:pt x="1256" y="502"/>
                            </a:moveTo>
                            <a:lnTo>
                              <a:pt x="1005" y="1382"/>
                            </a:lnTo>
                            <a:lnTo>
                              <a:pt x="251" y="1758"/>
                            </a:lnTo>
                            <a:lnTo>
                              <a:pt x="0" y="1382"/>
                            </a:lnTo>
                            <a:lnTo>
                              <a:pt x="251" y="502"/>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50" name="Freeform: Shape 2749">
                        <a:extLst>
                          <a:ext uri="{FF2B5EF4-FFF2-40B4-BE49-F238E27FC236}">
                            <a16:creationId xmlns:a16="http://schemas.microsoft.com/office/drawing/2014/main" id="{561BFDED-07DC-41CA-A09D-F74A47FC94E8}"/>
                          </a:ext>
                        </a:extLst>
                      </p:cNvPr>
                      <p:cNvSpPr/>
                      <p:nvPr/>
                    </p:nvSpPr>
                    <p:spPr>
                      <a:xfrm>
                        <a:off x="5307765" y="3919161"/>
                        <a:ext cx="1130" cy="1632"/>
                      </a:xfrm>
                      <a:custGeom>
                        <a:avLst/>
                        <a:gdLst>
                          <a:gd name="connsiteX0" fmla="*/ 1130 w 1130"/>
                          <a:gd name="connsiteY0" fmla="*/ 502 h 1632"/>
                          <a:gd name="connsiteX1" fmla="*/ 879 w 1130"/>
                          <a:gd name="connsiteY1" fmla="*/ 1256 h 1632"/>
                          <a:gd name="connsiteX2" fmla="*/ 251 w 1130"/>
                          <a:gd name="connsiteY2" fmla="*/ 1633 h 1632"/>
                          <a:gd name="connsiteX3" fmla="*/ 0 w 1130"/>
                          <a:gd name="connsiteY3" fmla="*/ 1130 h 1632"/>
                          <a:gd name="connsiteX4" fmla="*/ 251 w 1130"/>
                          <a:gd name="connsiteY4" fmla="*/ 377 h 1632"/>
                          <a:gd name="connsiteX5" fmla="*/ 879 w 1130"/>
                          <a:gd name="connsiteY5" fmla="*/ 0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1130" y="502"/>
                            </a:moveTo>
                            <a:lnTo>
                              <a:pt x="879" y="1256"/>
                            </a:lnTo>
                            <a:lnTo>
                              <a:pt x="251" y="1633"/>
                            </a:lnTo>
                            <a:lnTo>
                              <a:pt x="0" y="1130"/>
                            </a:lnTo>
                            <a:lnTo>
                              <a:pt x="251" y="377"/>
                            </a:lnTo>
                            <a:lnTo>
                              <a:pt x="879"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51" name="Graphic 4">
                      <a:extLst>
                        <a:ext uri="{FF2B5EF4-FFF2-40B4-BE49-F238E27FC236}">
                          <a16:creationId xmlns:a16="http://schemas.microsoft.com/office/drawing/2014/main" id="{84FB7ED1-A2DF-40A1-A747-5F7CF3F14040}"/>
                        </a:ext>
                      </a:extLst>
                    </p:cNvPr>
                    <p:cNvGrpSpPr/>
                    <p:nvPr/>
                  </p:nvGrpSpPr>
                  <p:grpSpPr>
                    <a:xfrm>
                      <a:off x="5308895" y="3919914"/>
                      <a:ext cx="1130" cy="1507"/>
                      <a:chOff x="5308895" y="3919914"/>
                      <a:chExt cx="1130" cy="1507"/>
                    </a:xfrm>
                    <a:solidFill>
                      <a:srgbClr val="63656A"/>
                    </a:solidFill>
                  </p:grpSpPr>
                  <p:sp>
                    <p:nvSpPr>
                      <p:cNvPr id="2752" name="Freeform: Shape 2751">
                        <a:extLst>
                          <a:ext uri="{FF2B5EF4-FFF2-40B4-BE49-F238E27FC236}">
                            <a16:creationId xmlns:a16="http://schemas.microsoft.com/office/drawing/2014/main" id="{A4EACB87-8046-4244-8D67-71928864591F}"/>
                          </a:ext>
                        </a:extLst>
                      </p:cNvPr>
                      <p:cNvSpPr/>
                      <p:nvPr/>
                    </p:nvSpPr>
                    <p:spPr>
                      <a:xfrm>
                        <a:off x="5308895" y="3919914"/>
                        <a:ext cx="1130" cy="1507"/>
                      </a:xfrm>
                      <a:custGeom>
                        <a:avLst/>
                        <a:gdLst>
                          <a:gd name="connsiteX0" fmla="*/ 1130 w 1130"/>
                          <a:gd name="connsiteY0" fmla="*/ 0 h 1507"/>
                          <a:gd name="connsiteX1" fmla="*/ 1130 w 1130"/>
                          <a:gd name="connsiteY1" fmla="*/ 754 h 1507"/>
                          <a:gd name="connsiteX2" fmla="*/ 628 w 1130"/>
                          <a:gd name="connsiteY2" fmla="*/ 1507 h 1507"/>
                          <a:gd name="connsiteX3" fmla="*/ 0 w 1130"/>
                          <a:gd name="connsiteY3" fmla="*/ 1507 h 1507"/>
                          <a:gd name="connsiteX4" fmla="*/ 0 w 1130"/>
                          <a:gd name="connsiteY4" fmla="*/ 754 h 1507"/>
                          <a:gd name="connsiteX5" fmla="*/ 628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0"/>
                            </a:moveTo>
                            <a:lnTo>
                              <a:pt x="1130" y="754"/>
                            </a:lnTo>
                            <a:lnTo>
                              <a:pt x="628" y="1507"/>
                            </a:lnTo>
                            <a:lnTo>
                              <a:pt x="0" y="1507"/>
                            </a:lnTo>
                            <a:lnTo>
                              <a:pt x="0" y="754"/>
                            </a:lnTo>
                            <a:lnTo>
                              <a:pt x="628"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53" name="Freeform: Shape 2752">
                        <a:extLst>
                          <a:ext uri="{FF2B5EF4-FFF2-40B4-BE49-F238E27FC236}">
                            <a16:creationId xmlns:a16="http://schemas.microsoft.com/office/drawing/2014/main" id="{AFD647E1-98EB-4E8D-9165-D6237B2F7CDE}"/>
                          </a:ext>
                        </a:extLst>
                      </p:cNvPr>
                      <p:cNvSpPr/>
                      <p:nvPr/>
                    </p:nvSpPr>
                    <p:spPr>
                      <a:xfrm>
                        <a:off x="5309021" y="3919914"/>
                        <a:ext cx="1004" cy="1507"/>
                      </a:xfrm>
                      <a:custGeom>
                        <a:avLst/>
                        <a:gdLst>
                          <a:gd name="connsiteX0" fmla="*/ 1005 w 1004"/>
                          <a:gd name="connsiteY0" fmla="*/ 126 h 1507"/>
                          <a:gd name="connsiteX1" fmla="*/ 1005 w 1004"/>
                          <a:gd name="connsiteY1" fmla="*/ 754 h 1507"/>
                          <a:gd name="connsiteX2" fmla="*/ 502 w 1004"/>
                          <a:gd name="connsiteY2" fmla="*/ 1507 h 1507"/>
                          <a:gd name="connsiteX3" fmla="*/ 0 w 1004"/>
                          <a:gd name="connsiteY3" fmla="*/ 1382 h 1507"/>
                          <a:gd name="connsiteX4" fmla="*/ 0 w 1004"/>
                          <a:gd name="connsiteY4" fmla="*/ 754 h 1507"/>
                          <a:gd name="connsiteX5" fmla="*/ 502 w 1004"/>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507">
                            <a:moveTo>
                              <a:pt x="1005" y="126"/>
                            </a:moveTo>
                            <a:lnTo>
                              <a:pt x="1005" y="754"/>
                            </a:lnTo>
                            <a:lnTo>
                              <a:pt x="502" y="1507"/>
                            </a:lnTo>
                            <a:lnTo>
                              <a:pt x="0" y="1382"/>
                            </a:lnTo>
                            <a:lnTo>
                              <a:pt x="0" y="754"/>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54" name="Graphic 4">
                      <a:extLst>
                        <a:ext uri="{FF2B5EF4-FFF2-40B4-BE49-F238E27FC236}">
                          <a16:creationId xmlns:a16="http://schemas.microsoft.com/office/drawing/2014/main" id="{84FB7ED1-A2DF-40A1-A747-5F7CF3F14040}"/>
                        </a:ext>
                      </a:extLst>
                    </p:cNvPr>
                    <p:cNvGrpSpPr/>
                    <p:nvPr/>
                  </p:nvGrpSpPr>
                  <p:grpSpPr>
                    <a:xfrm>
                      <a:off x="5310402" y="3919412"/>
                      <a:ext cx="1381" cy="1758"/>
                      <a:chOff x="5310402" y="3919412"/>
                      <a:chExt cx="1381" cy="1758"/>
                    </a:xfrm>
                    <a:solidFill>
                      <a:srgbClr val="63656A"/>
                    </a:solidFill>
                  </p:grpSpPr>
                  <p:sp>
                    <p:nvSpPr>
                      <p:cNvPr id="2755" name="Freeform: Shape 2754">
                        <a:extLst>
                          <a:ext uri="{FF2B5EF4-FFF2-40B4-BE49-F238E27FC236}">
                            <a16:creationId xmlns:a16="http://schemas.microsoft.com/office/drawing/2014/main" id="{CDEA93A3-E13C-4CC7-95A3-63B679A3A9BB}"/>
                          </a:ext>
                        </a:extLst>
                      </p:cNvPr>
                      <p:cNvSpPr/>
                      <p:nvPr/>
                    </p:nvSpPr>
                    <p:spPr>
                      <a:xfrm>
                        <a:off x="5310402" y="3919412"/>
                        <a:ext cx="1381" cy="1758"/>
                      </a:xfrm>
                      <a:custGeom>
                        <a:avLst/>
                        <a:gdLst>
                          <a:gd name="connsiteX0" fmla="*/ 1005 w 1381"/>
                          <a:gd name="connsiteY0" fmla="*/ 0 h 1758"/>
                          <a:gd name="connsiteX1" fmla="*/ 1382 w 1381"/>
                          <a:gd name="connsiteY1" fmla="*/ 502 h 1758"/>
                          <a:gd name="connsiteX2" fmla="*/ 1005 w 1381"/>
                          <a:gd name="connsiteY2" fmla="*/ 1382 h 1758"/>
                          <a:gd name="connsiteX3" fmla="*/ 377 w 1381"/>
                          <a:gd name="connsiteY3" fmla="*/ 1758 h 1758"/>
                          <a:gd name="connsiteX4" fmla="*/ 0 w 1381"/>
                          <a:gd name="connsiteY4" fmla="*/ 1256 h 1758"/>
                          <a:gd name="connsiteX5" fmla="*/ 377 w 1381"/>
                          <a:gd name="connsiteY5" fmla="*/ 377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0"/>
                            </a:moveTo>
                            <a:lnTo>
                              <a:pt x="1382" y="502"/>
                            </a:lnTo>
                            <a:lnTo>
                              <a:pt x="1005" y="1382"/>
                            </a:lnTo>
                            <a:lnTo>
                              <a:pt x="377" y="1758"/>
                            </a:lnTo>
                            <a:lnTo>
                              <a:pt x="0" y="1256"/>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56" name="Freeform: Shape 2755">
                        <a:extLst>
                          <a:ext uri="{FF2B5EF4-FFF2-40B4-BE49-F238E27FC236}">
                            <a16:creationId xmlns:a16="http://schemas.microsoft.com/office/drawing/2014/main" id="{E9717820-2710-4E86-803B-8A682F005499}"/>
                          </a:ext>
                        </a:extLst>
                      </p:cNvPr>
                      <p:cNvSpPr/>
                      <p:nvPr/>
                    </p:nvSpPr>
                    <p:spPr>
                      <a:xfrm>
                        <a:off x="5310528" y="3919412"/>
                        <a:ext cx="1256" cy="1632"/>
                      </a:xfrm>
                      <a:custGeom>
                        <a:avLst/>
                        <a:gdLst>
                          <a:gd name="connsiteX0" fmla="*/ 1005 w 1256"/>
                          <a:gd name="connsiteY0" fmla="*/ 0 h 1632"/>
                          <a:gd name="connsiteX1" fmla="*/ 1256 w 1256"/>
                          <a:gd name="connsiteY1" fmla="*/ 377 h 1632"/>
                          <a:gd name="connsiteX2" fmla="*/ 1005 w 1256"/>
                          <a:gd name="connsiteY2" fmla="*/ 1256 h 1632"/>
                          <a:gd name="connsiteX3" fmla="*/ 377 w 1256"/>
                          <a:gd name="connsiteY3" fmla="*/ 1633 h 1632"/>
                          <a:gd name="connsiteX4" fmla="*/ 0 w 1256"/>
                          <a:gd name="connsiteY4" fmla="*/ 1130 h 1632"/>
                          <a:gd name="connsiteX5" fmla="*/ 377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005" y="0"/>
                            </a:moveTo>
                            <a:lnTo>
                              <a:pt x="1256" y="377"/>
                            </a:lnTo>
                            <a:lnTo>
                              <a:pt x="1005" y="1256"/>
                            </a:lnTo>
                            <a:lnTo>
                              <a:pt x="377" y="1633"/>
                            </a:lnTo>
                            <a:lnTo>
                              <a:pt x="0" y="1130"/>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57" name="Graphic 4">
                      <a:extLst>
                        <a:ext uri="{FF2B5EF4-FFF2-40B4-BE49-F238E27FC236}">
                          <a16:creationId xmlns:a16="http://schemas.microsoft.com/office/drawing/2014/main" id="{84FB7ED1-A2DF-40A1-A747-5F7CF3F14040}"/>
                        </a:ext>
                      </a:extLst>
                    </p:cNvPr>
                    <p:cNvGrpSpPr/>
                    <p:nvPr/>
                  </p:nvGrpSpPr>
                  <p:grpSpPr>
                    <a:xfrm>
                      <a:off x="5312161" y="3918030"/>
                      <a:ext cx="1256" cy="1632"/>
                      <a:chOff x="5312161" y="3918030"/>
                      <a:chExt cx="1256" cy="1632"/>
                    </a:xfrm>
                    <a:solidFill>
                      <a:srgbClr val="63656A"/>
                    </a:solidFill>
                  </p:grpSpPr>
                  <p:sp>
                    <p:nvSpPr>
                      <p:cNvPr id="2758" name="Freeform: Shape 2757">
                        <a:extLst>
                          <a:ext uri="{FF2B5EF4-FFF2-40B4-BE49-F238E27FC236}">
                            <a16:creationId xmlns:a16="http://schemas.microsoft.com/office/drawing/2014/main" id="{6E326D2F-EF63-4341-A2CA-7DD6D9A31CB4}"/>
                          </a:ext>
                        </a:extLst>
                      </p:cNvPr>
                      <p:cNvSpPr/>
                      <p:nvPr/>
                    </p:nvSpPr>
                    <p:spPr>
                      <a:xfrm>
                        <a:off x="5312161" y="3918030"/>
                        <a:ext cx="1256" cy="1632"/>
                      </a:xfrm>
                      <a:custGeom>
                        <a:avLst/>
                        <a:gdLst>
                          <a:gd name="connsiteX0" fmla="*/ 628 w 1256"/>
                          <a:gd name="connsiteY0" fmla="*/ 0 h 1632"/>
                          <a:gd name="connsiteX1" fmla="*/ 1256 w 1256"/>
                          <a:gd name="connsiteY1" fmla="*/ 126 h 1632"/>
                          <a:gd name="connsiteX2" fmla="*/ 1256 w 1256"/>
                          <a:gd name="connsiteY2" fmla="*/ 879 h 1632"/>
                          <a:gd name="connsiteX3" fmla="*/ 628 w 1256"/>
                          <a:gd name="connsiteY3" fmla="*/ 1633 h 1632"/>
                          <a:gd name="connsiteX4" fmla="*/ 0 w 1256"/>
                          <a:gd name="connsiteY4" fmla="*/ 1507 h 1632"/>
                          <a:gd name="connsiteX5" fmla="*/ 0 w 1256"/>
                          <a:gd name="connsiteY5" fmla="*/ 754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628" y="0"/>
                            </a:moveTo>
                            <a:lnTo>
                              <a:pt x="1256" y="126"/>
                            </a:lnTo>
                            <a:lnTo>
                              <a:pt x="1256" y="879"/>
                            </a:lnTo>
                            <a:lnTo>
                              <a:pt x="628" y="1633"/>
                            </a:lnTo>
                            <a:lnTo>
                              <a:pt x="0" y="1507"/>
                            </a:lnTo>
                            <a:lnTo>
                              <a:pt x="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59" name="Freeform: Shape 2758">
                        <a:extLst>
                          <a:ext uri="{FF2B5EF4-FFF2-40B4-BE49-F238E27FC236}">
                            <a16:creationId xmlns:a16="http://schemas.microsoft.com/office/drawing/2014/main" id="{9907AE4A-0994-4B44-B413-ED377D06C2EA}"/>
                          </a:ext>
                        </a:extLst>
                      </p:cNvPr>
                      <p:cNvSpPr/>
                      <p:nvPr/>
                    </p:nvSpPr>
                    <p:spPr>
                      <a:xfrm>
                        <a:off x="5312287" y="3918030"/>
                        <a:ext cx="1130" cy="1381"/>
                      </a:xfrm>
                      <a:custGeom>
                        <a:avLst/>
                        <a:gdLst>
                          <a:gd name="connsiteX0" fmla="*/ 502 w 1130"/>
                          <a:gd name="connsiteY0" fmla="*/ 0 h 1381"/>
                          <a:gd name="connsiteX1" fmla="*/ 1130 w 1130"/>
                          <a:gd name="connsiteY1" fmla="*/ 0 h 1381"/>
                          <a:gd name="connsiteX2" fmla="*/ 1130 w 1130"/>
                          <a:gd name="connsiteY2" fmla="*/ 754 h 1381"/>
                          <a:gd name="connsiteX3" fmla="*/ 502 w 1130"/>
                          <a:gd name="connsiteY3" fmla="*/ 1382 h 1381"/>
                          <a:gd name="connsiteX4" fmla="*/ 0 w 1130"/>
                          <a:gd name="connsiteY4" fmla="*/ 1382 h 1381"/>
                          <a:gd name="connsiteX5" fmla="*/ 0 w 1130"/>
                          <a:gd name="connsiteY5" fmla="*/ 628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502" y="0"/>
                            </a:moveTo>
                            <a:lnTo>
                              <a:pt x="1130" y="0"/>
                            </a:lnTo>
                            <a:lnTo>
                              <a:pt x="1130" y="754"/>
                            </a:lnTo>
                            <a:lnTo>
                              <a:pt x="502" y="1382"/>
                            </a:lnTo>
                            <a:lnTo>
                              <a:pt x="0" y="1382"/>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60" name="Graphic 4">
                      <a:extLst>
                        <a:ext uri="{FF2B5EF4-FFF2-40B4-BE49-F238E27FC236}">
                          <a16:creationId xmlns:a16="http://schemas.microsoft.com/office/drawing/2014/main" id="{84FB7ED1-A2DF-40A1-A747-5F7CF3F14040}"/>
                        </a:ext>
                      </a:extLst>
                    </p:cNvPr>
                    <p:cNvGrpSpPr/>
                    <p:nvPr/>
                  </p:nvGrpSpPr>
                  <p:grpSpPr>
                    <a:xfrm>
                      <a:off x="5313291" y="3915895"/>
                      <a:ext cx="1381" cy="1758"/>
                      <a:chOff x="5313291" y="3915895"/>
                      <a:chExt cx="1381" cy="1758"/>
                    </a:xfrm>
                    <a:solidFill>
                      <a:srgbClr val="63656A"/>
                    </a:solidFill>
                  </p:grpSpPr>
                  <p:sp>
                    <p:nvSpPr>
                      <p:cNvPr id="2761" name="Freeform: Shape 2760">
                        <a:extLst>
                          <a:ext uri="{FF2B5EF4-FFF2-40B4-BE49-F238E27FC236}">
                            <a16:creationId xmlns:a16="http://schemas.microsoft.com/office/drawing/2014/main" id="{036152C9-05B2-4ED1-AAD1-02D7F6DB45DF}"/>
                          </a:ext>
                        </a:extLst>
                      </p:cNvPr>
                      <p:cNvSpPr/>
                      <p:nvPr/>
                    </p:nvSpPr>
                    <p:spPr>
                      <a:xfrm>
                        <a:off x="5313291" y="3915895"/>
                        <a:ext cx="1381" cy="1758"/>
                      </a:xfrm>
                      <a:custGeom>
                        <a:avLst/>
                        <a:gdLst>
                          <a:gd name="connsiteX0" fmla="*/ 377 w 1381"/>
                          <a:gd name="connsiteY0" fmla="*/ 377 h 1758"/>
                          <a:gd name="connsiteX1" fmla="*/ 1130 w 1381"/>
                          <a:gd name="connsiteY1" fmla="*/ 0 h 1758"/>
                          <a:gd name="connsiteX2" fmla="*/ 1381 w 1381"/>
                          <a:gd name="connsiteY2" fmla="*/ 502 h 1758"/>
                          <a:gd name="connsiteX3" fmla="*/ 1130 w 1381"/>
                          <a:gd name="connsiteY3" fmla="*/ 1382 h 1758"/>
                          <a:gd name="connsiteX4" fmla="*/ 377 w 1381"/>
                          <a:gd name="connsiteY4" fmla="*/ 1758 h 1758"/>
                          <a:gd name="connsiteX5" fmla="*/ 0 w 1381"/>
                          <a:gd name="connsiteY5" fmla="*/ 1256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377"/>
                            </a:moveTo>
                            <a:lnTo>
                              <a:pt x="1130" y="0"/>
                            </a:lnTo>
                            <a:lnTo>
                              <a:pt x="1381" y="502"/>
                            </a:lnTo>
                            <a:lnTo>
                              <a:pt x="1130" y="1382"/>
                            </a:lnTo>
                            <a:lnTo>
                              <a:pt x="377" y="1758"/>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62" name="Freeform: Shape 2761">
                        <a:extLst>
                          <a:ext uri="{FF2B5EF4-FFF2-40B4-BE49-F238E27FC236}">
                            <a16:creationId xmlns:a16="http://schemas.microsoft.com/office/drawing/2014/main" id="{1084FCDC-B551-4179-A2CE-99636D01C14D}"/>
                          </a:ext>
                        </a:extLst>
                      </p:cNvPr>
                      <p:cNvSpPr/>
                      <p:nvPr/>
                    </p:nvSpPr>
                    <p:spPr>
                      <a:xfrm>
                        <a:off x="5313417" y="3915895"/>
                        <a:ext cx="1255" cy="1632"/>
                      </a:xfrm>
                      <a:custGeom>
                        <a:avLst/>
                        <a:gdLst>
                          <a:gd name="connsiteX0" fmla="*/ 251 w 1255"/>
                          <a:gd name="connsiteY0" fmla="*/ 377 h 1632"/>
                          <a:gd name="connsiteX1" fmla="*/ 879 w 1255"/>
                          <a:gd name="connsiteY1" fmla="*/ 0 h 1632"/>
                          <a:gd name="connsiteX2" fmla="*/ 1256 w 1255"/>
                          <a:gd name="connsiteY2" fmla="*/ 377 h 1632"/>
                          <a:gd name="connsiteX3" fmla="*/ 879 w 1255"/>
                          <a:gd name="connsiteY3" fmla="*/ 1256 h 1632"/>
                          <a:gd name="connsiteX4" fmla="*/ 251 w 1255"/>
                          <a:gd name="connsiteY4" fmla="*/ 1633 h 1632"/>
                          <a:gd name="connsiteX5" fmla="*/ 0 w 1255"/>
                          <a:gd name="connsiteY5" fmla="*/ 1130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632">
                            <a:moveTo>
                              <a:pt x="251" y="377"/>
                            </a:moveTo>
                            <a:lnTo>
                              <a:pt x="879" y="0"/>
                            </a:lnTo>
                            <a:lnTo>
                              <a:pt x="1256" y="377"/>
                            </a:lnTo>
                            <a:lnTo>
                              <a:pt x="879" y="1256"/>
                            </a:lnTo>
                            <a:lnTo>
                              <a:pt x="251" y="1633"/>
                            </a:lnTo>
                            <a:lnTo>
                              <a:pt x="0" y="113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63" name="Graphic 4">
                      <a:extLst>
                        <a:ext uri="{FF2B5EF4-FFF2-40B4-BE49-F238E27FC236}">
                          <a16:creationId xmlns:a16="http://schemas.microsoft.com/office/drawing/2014/main" id="{84FB7ED1-A2DF-40A1-A747-5F7CF3F14040}"/>
                        </a:ext>
                      </a:extLst>
                    </p:cNvPr>
                    <p:cNvGrpSpPr/>
                    <p:nvPr/>
                  </p:nvGrpSpPr>
                  <p:grpSpPr>
                    <a:xfrm>
                      <a:off x="5313919" y="3913760"/>
                      <a:ext cx="1130" cy="1632"/>
                      <a:chOff x="5313919" y="3913760"/>
                      <a:chExt cx="1130" cy="1632"/>
                    </a:xfrm>
                    <a:solidFill>
                      <a:srgbClr val="63656A"/>
                    </a:solidFill>
                  </p:grpSpPr>
                  <p:sp>
                    <p:nvSpPr>
                      <p:cNvPr id="2764" name="Freeform: Shape 2763">
                        <a:extLst>
                          <a:ext uri="{FF2B5EF4-FFF2-40B4-BE49-F238E27FC236}">
                            <a16:creationId xmlns:a16="http://schemas.microsoft.com/office/drawing/2014/main" id="{2D098B4E-EB71-44D7-BAB4-B8A14F0334F7}"/>
                          </a:ext>
                        </a:extLst>
                      </p:cNvPr>
                      <p:cNvSpPr/>
                      <p:nvPr/>
                    </p:nvSpPr>
                    <p:spPr>
                      <a:xfrm>
                        <a:off x="5313919" y="3913760"/>
                        <a:ext cx="1130" cy="1632"/>
                      </a:xfrm>
                      <a:custGeom>
                        <a:avLst/>
                        <a:gdLst>
                          <a:gd name="connsiteX0" fmla="*/ 0 w 1130"/>
                          <a:gd name="connsiteY0" fmla="*/ 754 h 1632"/>
                          <a:gd name="connsiteX1" fmla="*/ 628 w 1130"/>
                          <a:gd name="connsiteY1" fmla="*/ 0 h 1632"/>
                          <a:gd name="connsiteX2" fmla="*/ 1130 w 1130"/>
                          <a:gd name="connsiteY2" fmla="*/ 126 h 1632"/>
                          <a:gd name="connsiteX3" fmla="*/ 1130 w 1130"/>
                          <a:gd name="connsiteY3" fmla="*/ 879 h 1632"/>
                          <a:gd name="connsiteX4" fmla="*/ 628 w 1130"/>
                          <a:gd name="connsiteY4" fmla="*/ 1633 h 1632"/>
                          <a:gd name="connsiteX5" fmla="*/ 0 w 1130"/>
                          <a:gd name="connsiteY5" fmla="*/ 150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0" y="754"/>
                            </a:moveTo>
                            <a:lnTo>
                              <a:pt x="628" y="0"/>
                            </a:lnTo>
                            <a:lnTo>
                              <a:pt x="1130" y="126"/>
                            </a:lnTo>
                            <a:lnTo>
                              <a:pt x="1130" y="879"/>
                            </a:lnTo>
                            <a:lnTo>
                              <a:pt x="628" y="1633"/>
                            </a:lnTo>
                            <a:lnTo>
                              <a:pt x="0"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65" name="Freeform: Shape 2764">
                        <a:extLst>
                          <a:ext uri="{FF2B5EF4-FFF2-40B4-BE49-F238E27FC236}">
                            <a16:creationId xmlns:a16="http://schemas.microsoft.com/office/drawing/2014/main" id="{B64ACA3F-CC1E-48CE-BEEE-C4DCD53B9823}"/>
                          </a:ext>
                        </a:extLst>
                      </p:cNvPr>
                      <p:cNvSpPr/>
                      <p:nvPr/>
                    </p:nvSpPr>
                    <p:spPr>
                      <a:xfrm>
                        <a:off x="5313919" y="3913760"/>
                        <a:ext cx="1130" cy="1507"/>
                      </a:xfrm>
                      <a:custGeom>
                        <a:avLst/>
                        <a:gdLst>
                          <a:gd name="connsiteX0" fmla="*/ 0 w 1130"/>
                          <a:gd name="connsiteY0" fmla="*/ 754 h 1507"/>
                          <a:gd name="connsiteX1" fmla="*/ 502 w 1130"/>
                          <a:gd name="connsiteY1" fmla="*/ 0 h 1507"/>
                          <a:gd name="connsiteX2" fmla="*/ 1130 w 1130"/>
                          <a:gd name="connsiteY2" fmla="*/ 126 h 1507"/>
                          <a:gd name="connsiteX3" fmla="*/ 1130 w 1130"/>
                          <a:gd name="connsiteY3" fmla="*/ 754 h 1507"/>
                          <a:gd name="connsiteX4" fmla="*/ 502 w 1130"/>
                          <a:gd name="connsiteY4" fmla="*/ 1507 h 1507"/>
                          <a:gd name="connsiteX5" fmla="*/ 0 w 1130"/>
                          <a:gd name="connsiteY5" fmla="*/ 1382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502" y="0"/>
                            </a:lnTo>
                            <a:lnTo>
                              <a:pt x="1130" y="126"/>
                            </a:lnTo>
                            <a:lnTo>
                              <a:pt x="1130" y="754"/>
                            </a:lnTo>
                            <a:lnTo>
                              <a:pt x="502" y="1507"/>
                            </a:lnTo>
                            <a:lnTo>
                              <a:pt x="0"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66" name="Graphic 4">
                      <a:extLst>
                        <a:ext uri="{FF2B5EF4-FFF2-40B4-BE49-F238E27FC236}">
                          <a16:creationId xmlns:a16="http://schemas.microsoft.com/office/drawing/2014/main" id="{84FB7ED1-A2DF-40A1-A747-5F7CF3F14040}"/>
                        </a:ext>
                      </a:extLst>
                    </p:cNvPr>
                    <p:cNvGrpSpPr/>
                    <p:nvPr/>
                  </p:nvGrpSpPr>
                  <p:grpSpPr>
                    <a:xfrm>
                      <a:off x="5313417" y="3912002"/>
                      <a:ext cx="1381" cy="1758"/>
                      <a:chOff x="5313417" y="3912002"/>
                      <a:chExt cx="1381" cy="1758"/>
                    </a:xfrm>
                    <a:solidFill>
                      <a:srgbClr val="63656A"/>
                    </a:solidFill>
                  </p:grpSpPr>
                  <p:sp>
                    <p:nvSpPr>
                      <p:cNvPr id="2767" name="Freeform: Shape 2766">
                        <a:extLst>
                          <a:ext uri="{FF2B5EF4-FFF2-40B4-BE49-F238E27FC236}">
                            <a16:creationId xmlns:a16="http://schemas.microsoft.com/office/drawing/2014/main" id="{7AD8D81A-1283-49D3-BE89-CB28B2799B80}"/>
                          </a:ext>
                        </a:extLst>
                      </p:cNvPr>
                      <p:cNvSpPr/>
                      <p:nvPr/>
                    </p:nvSpPr>
                    <p:spPr>
                      <a:xfrm>
                        <a:off x="5313417" y="3912002"/>
                        <a:ext cx="1381" cy="1758"/>
                      </a:xfrm>
                      <a:custGeom>
                        <a:avLst/>
                        <a:gdLst>
                          <a:gd name="connsiteX0" fmla="*/ 0 w 1381"/>
                          <a:gd name="connsiteY0" fmla="*/ 1256 h 1758"/>
                          <a:gd name="connsiteX1" fmla="*/ 377 w 1381"/>
                          <a:gd name="connsiteY1" fmla="*/ 377 h 1758"/>
                          <a:gd name="connsiteX2" fmla="*/ 1005 w 1381"/>
                          <a:gd name="connsiteY2" fmla="*/ 0 h 1758"/>
                          <a:gd name="connsiteX3" fmla="*/ 1381 w 1381"/>
                          <a:gd name="connsiteY3" fmla="*/ 502 h 1758"/>
                          <a:gd name="connsiteX4" fmla="*/ 1005 w 1381"/>
                          <a:gd name="connsiteY4" fmla="*/ 1382 h 1758"/>
                          <a:gd name="connsiteX5" fmla="*/ 377 w 1381"/>
                          <a:gd name="connsiteY5" fmla="*/ 1758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0" y="1256"/>
                            </a:moveTo>
                            <a:lnTo>
                              <a:pt x="377" y="377"/>
                            </a:lnTo>
                            <a:lnTo>
                              <a:pt x="1005" y="0"/>
                            </a:lnTo>
                            <a:lnTo>
                              <a:pt x="1381" y="502"/>
                            </a:lnTo>
                            <a:lnTo>
                              <a:pt x="1005" y="1382"/>
                            </a:lnTo>
                            <a:lnTo>
                              <a:pt x="377" y="175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68" name="Freeform: Shape 2767">
                        <a:extLst>
                          <a:ext uri="{FF2B5EF4-FFF2-40B4-BE49-F238E27FC236}">
                            <a16:creationId xmlns:a16="http://schemas.microsoft.com/office/drawing/2014/main" id="{DA666BA9-E1ED-4A68-9988-2174FD85C0C9}"/>
                          </a:ext>
                        </a:extLst>
                      </p:cNvPr>
                      <p:cNvSpPr/>
                      <p:nvPr/>
                    </p:nvSpPr>
                    <p:spPr>
                      <a:xfrm>
                        <a:off x="5313417" y="3912127"/>
                        <a:ext cx="1255" cy="1507"/>
                      </a:xfrm>
                      <a:custGeom>
                        <a:avLst/>
                        <a:gdLst>
                          <a:gd name="connsiteX0" fmla="*/ 0 w 1255"/>
                          <a:gd name="connsiteY0" fmla="*/ 1130 h 1507"/>
                          <a:gd name="connsiteX1" fmla="*/ 251 w 1255"/>
                          <a:gd name="connsiteY1" fmla="*/ 377 h 1507"/>
                          <a:gd name="connsiteX2" fmla="*/ 879 w 1255"/>
                          <a:gd name="connsiteY2" fmla="*/ 0 h 1507"/>
                          <a:gd name="connsiteX3" fmla="*/ 1256 w 1255"/>
                          <a:gd name="connsiteY3" fmla="*/ 377 h 1507"/>
                          <a:gd name="connsiteX4" fmla="*/ 879 w 1255"/>
                          <a:gd name="connsiteY4" fmla="*/ 1256 h 1507"/>
                          <a:gd name="connsiteX5" fmla="*/ 251 w 1255"/>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507">
                            <a:moveTo>
                              <a:pt x="0" y="1130"/>
                            </a:moveTo>
                            <a:lnTo>
                              <a:pt x="251" y="377"/>
                            </a:lnTo>
                            <a:lnTo>
                              <a:pt x="879" y="0"/>
                            </a:lnTo>
                            <a:lnTo>
                              <a:pt x="1256" y="377"/>
                            </a:lnTo>
                            <a:lnTo>
                              <a:pt x="879" y="1256"/>
                            </a:lnTo>
                            <a:lnTo>
                              <a:pt x="251"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69" name="Graphic 4">
                      <a:extLst>
                        <a:ext uri="{FF2B5EF4-FFF2-40B4-BE49-F238E27FC236}">
                          <a16:creationId xmlns:a16="http://schemas.microsoft.com/office/drawing/2014/main" id="{84FB7ED1-A2DF-40A1-A747-5F7CF3F14040}"/>
                        </a:ext>
                      </a:extLst>
                    </p:cNvPr>
                    <p:cNvGrpSpPr/>
                    <p:nvPr/>
                  </p:nvGrpSpPr>
                  <p:grpSpPr>
                    <a:xfrm>
                      <a:off x="5312287" y="3911374"/>
                      <a:ext cx="1130" cy="1632"/>
                      <a:chOff x="5312287" y="3911374"/>
                      <a:chExt cx="1130" cy="1632"/>
                    </a:xfrm>
                    <a:solidFill>
                      <a:srgbClr val="63656A"/>
                    </a:solidFill>
                  </p:grpSpPr>
                  <p:sp>
                    <p:nvSpPr>
                      <p:cNvPr id="2770" name="Freeform: Shape 2769">
                        <a:extLst>
                          <a:ext uri="{FF2B5EF4-FFF2-40B4-BE49-F238E27FC236}">
                            <a16:creationId xmlns:a16="http://schemas.microsoft.com/office/drawing/2014/main" id="{BB745138-355C-42CF-9D95-DD421D40CAFA}"/>
                          </a:ext>
                        </a:extLst>
                      </p:cNvPr>
                      <p:cNvSpPr/>
                      <p:nvPr/>
                    </p:nvSpPr>
                    <p:spPr>
                      <a:xfrm>
                        <a:off x="5312287" y="3911374"/>
                        <a:ext cx="1130" cy="1632"/>
                      </a:xfrm>
                      <a:custGeom>
                        <a:avLst/>
                        <a:gdLst>
                          <a:gd name="connsiteX0" fmla="*/ 0 w 1130"/>
                          <a:gd name="connsiteY0" fmla="*/ 1507 h 1632"/>
                          <a:gd name="connsiteX1" fmla="*/ 0 w 1130"/>
                          <a:gd name="connsiteY1" fmla="*/ 754 h 1632"/>
                          <a:gd name="connsiteX2" fmla="*/ 628 w 1130"/>
                          <a:gd name="connsiteY2" fmla="*/ 0 h 1632"/>
                          <a:gd name="connsiteX3" fmla="*/ 1130 w 1130"/>
                          <a:gd name="connsiteY3" fmla="*/ 126 h 1632"/>
                          <a:gd name="connsiteX4" fmla="*/ 1130 w 1130"/>
                          <a:gd name="connsiteY4" fmla="*/ 879 h 1632"/>
                          <a:gd name="connsiteX5" fmla="*/ 628 w 1130"/>
                          <a:gd name="connsiteY5" fmla="*/ 1633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0" y="1507"/>
                            </a:moveTo>
                            <a:lnTo>
                              <a:pt x="0" y="754"/>
                            </a:lnTo>
                            <a:lnTo>
                              <a:pt x="628" y="0"/>
                            </a:lnTo>
                            <a:lnTo>
                              <a:pt x="1130" y="126"/>
                            </a:lnTo>
                            <a:lnTo>
                              <a:pt x="1130" y="879"/>
                            </a:lnTo>
                            <a:lnTo>
                              <a:pt x="628" y="1633"/>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71" name="Freeform: Shape 2770">
                        <a:extLst>
                          <a:ext uri="{FF2B5EF4-FFF2-40B4-BE49-F238E27FC236}">
                            <a16:creationId xmlns:a16="http://schemas.microsoft.com/office/drawing/2014/main" id="{F4C4E19A-BC48-49DA-B17A-A9CCF18A3D03}"/>
                          </a:ext>
                        </a:extLst>
                      </p:cNvPr>
                      <p:cNvSpPr/>
                      <p:nvPr/>
                    </p:nvSpPr>
                    <p:spPr>
                      <a:xfrm>
                        <a:off x="5312287" y="3911499"/>
                        <a:ext cx="1130" cy="1381"/>
                      </a:xfrm>
                      <a:custGeom>
                        <a:avLst/>
                        <a:gdLst>
                          <a:gd name="connsiteX0" fmla="*/ 0 w 1130"/>
                          <a:gd name="connsiteY0" fmla="*/ 1382 h 1381"/>
                          <a:gd name="connsiteX1" fmla="*/ 0 w 1130"/>
                          <a:gd name="connsiteY1" fmla="*/ 628 h 1381"/>
                          <a:gd name="connsiteX2" fmla="*/ 502 w 1130"/>
                          <a:gd name="connsiteY2" fmla="*/ 0 h 1381"/>
                          <a:gd name="connsiteX3" fmla="*/ 1130 w 1130"/>
                          <a:gd name="connsiteY3" fmla="*/ 0 h 1381"/>
                          <a:gd name="connsiteX4" fmla="*/ 1130 w 1130"/>
                          <a:gd name="connsiteY4" fmla="*/ 754 h 1381"/>
                          <a:gd name="connsiteX5" fmla="*/ 502 w 1130"/>
                          <a:gd name="connsiteY5" fmla="*/ 1382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0" y="1382"/>
                            </a:moveTo>
                            <a:lnTo>
                              <a:pt x="0" y="628"/>
                            </a:lnTo>
                            <a:lnTo>
                              <a:pt x="502" y="0"/>
                            </a:lnTo>
                            <a:lnTo>
                              <a:pt x="1130" y="0"/>
                            </a:lnTo>
                            <a:lnTo>
                              <a:pt x="1130" y="754"/>
                            </a:lnTo>
                            <a:lnTo>
                              <a:pt x="502"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772" name="Graphic 4">
                    <a:extLst>
                      <a:ext uri="{FF2B5EF4-FFF2-40B4-BE49-F238E27FC236}">
                        <a16:creationId xmlns:a16="http://schemas.microsoft.com/office/drawing/2014/main" id="{84FB7ED1-A2DF-40A1-A747-5F7CF3F14040}"/>
                      </a:ext>
                    </a:extLst>
                  </p:cNvPr>
                  <p:cNvGrpSpPr/>
                  <p:nvPr/>
                </p:nvGrpSpPr>
                <p:grpSpPr>
                  <a:xfrm>
                    <a:off x="5309147" y="3913760"/>
                    <a:ext cx="4018" cy="5274"/>
                    <a:chOff x="5309147" y="3913760"/>
                    <a:chExt cx="4018" cy="5274"/>
                  </a:xfrm>
                  <a:solidFill>
                    <a:srgbClr val="B1B6BE"/>
                  </a:solidFill>
                </p:grpSpPr>
                <p:grpSp>
                  <p:nvGrpSpPr>
                    <p:cNvPr id="2773" name="Graphic 4">
                      <a:extLst>
                        <a:ext uri="{FF2B5EF4-FFF2-40B4-BE49-F238E27FC236}">
                          <a16:creationId xmlns:a16="http://schemas.microsoft.com/office/drawing/2014/main" id="{84FB7ED1-A2DF-40A1-A747-5F7CF3F14040}"/>
                        </a:ext>
                      </a:extLst>
                    </p:cNvPr>
                    <p:cNvGrpSpPr/>
                    <p:nvPr/>
                  </p:nvGrpSpPr>
                  <p:grpSpPr>
                    <a:xfrm>
                      <a:off x="5310905" y="3913886"/>
                      <a:ext cx="627" cy="879"/>
                      <a:chOff x="5310905" y="3913886"/>
                      <a:chExt cx="627" cy="879"/>
                    </a:xfrm>
                    <a:solidFill>
                      <a:srgbClr val="B1B6BE"/>
                    </a:solidFill>
                  </p:grpSpPr>
                  <p:sp>
                    <p:nvSpPr>
                      <p:cNvPr id="2774" name="Freeform: Shape 2773">
                        <a:extLst>
                          <a:ext uri="{FF2B5EF4-FFF2-40B4-BE49-F238E27FC236}">
                            <a16:creationId xmlns:a16="http://schemas.microsoft.com/office/drawing/2014/main" id="{8F1B8ABF-E714-451A-8913-FC9DDED1FF85}"/>
                          </a:ext>
                        </a:extLst>
                      </p:cNvPr>
                      <p:cNvSpPr/>
                      <p:nvPr/>
                    </p:nvSpPr>
                    <p:spPr>
                      <a:xfrm>
                        <a:off x="5310905" y="3913886"/>
                        <a:ext cx="627" cy="879"/>
                      </a:xfrm>
                      <a:custGeom>
                        <a:avLst/>
                        <a:gdLst>
                          <a:gd name="connsiteX0" fmla="*/ 126 w 627"/>
                          <a:gd name="connsiteY0" fmla="*/ 879 h 879"/>
                          <a:gd name="connsiteX1" fmla="*/ 0 w 627"/>
                          <a:gd name="connsiteY1" fmla="*/ 754 h 879"/>
                          <a:gd name="connsiteX2" fmla="*/ 126 w 627"/>
                          <a:gd name="connsiteY2" fmla="*/ 251 h 879"/>
                          <a:gd name="connsiteX3" fmla="*/ 502 w 627"/>
                          <a:gd name="connsiteY3" fmla="*/ 0 h 879"/>
                          <a:gd name="connsiteX4" fmla="*/ 628 w 627"/>
                          <a:gd name="connsiteY4" fmla="*/ 251 h 879"/>
                          <a:gd name="connsiteX5" fmla="*/ 502 w 627"/>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126" y="879"/>
                            </a:moveTo>
                            <a:lnTo>
                              <a:pt x="0" y="754"/>
                            </a:lnTo>
                            <a:lnTo>
                              <a:pt x="126" y="251"/>
                            </a:lnTo>
                            <a:lnTo>
                              <a:pt x="502" y="0"/>
                            </a:lnTo>
                            <a:lnTo>
                              <a:pt x="628" y="251"/>
                            </a:lnTo>
                            <a:lnTo>
                              <a:pt x="502"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75" name="Freeform: Shape 2774">
                        <a:extLst>
                          <a:ext uri="{FF2B5EF4-FFF2-40B4-BE49-F238E27FC236}">
                            <a16:creationId xmlns:a16="http://schemas.microsoft.com/office/drawing/2014/main" id="{75B85DBF-7AD4-4066-A9C7-068370AE91A3}"/>
                          </a:ext>
                        </a:extLst>
                      </p:cNvPr>
                      <p:cNvSpPr/>
                      <p:nvPr/>
                    </p:nvSpPr>
                    <p:spPr>
                      <a:xfrm>
                        <a:off x="5310905" y="3914011"/>
                        <a:ext cx="627" cy="753"/>
                      </a:xfrm>
                      <a:custGeom>
                        <a:avLst/>
                        <a:gdLst>
                          <a:gd name="connsiteX0" fmla="*/ 126 w 627"/>
                          <a:gd name="connsiteY0" fmla="*/ 754 h 753"/>
                          <a:gd name="connsiteX1" fmla="*/ 0 w 627"/>
                          <a:gd name="connsiteY1" fmla="*/ 628 h 753"/>
                          <a:gd name="connsiteX2" fmla="*/ 126 w 627"/>
                          <a:gd name="connsiteY2" fmla="*/ 126 h 753"/>
                          <a:gd name="connsiteX3" fmla="*/ 502 w 627"/>
                          <a:gd name="connsiteY3" fmla="*/ 0 h 753"/>
                          <a:gd name="connsiteX4" fmla="*/ 628 w 627"/>
                          <a:gd name="connsiteY4" fmla="*/ 251 h 753"/>
                          <a:gd name="connsiteX5" fmla="*/ 502 w 627"/>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126" y="754"/>
                            </a:moveTo>
                            <a:lnTo>
                              <a:pt x="0" y="628"/>
                            </a:lnTo>
                            <a:lnTo>
                              <a:pt x="126" y="126"/>
                            </a:lnTo>
                            <a:lnTo>
                              <a:pt x="502" y="0"/>
                            </a:lnTo>
                            <a:lnTo>
                              <a:pt x="628" y="251"/>
                            </a:lnTo>
                            <a:lnTo>
                              <a:pt x="502"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76" name="Graphic 4">
                      <a:extLst>
                        <a:ext uri="{FF2B5EF4-FFF2-40B4-BE49-F238E27FC236}">
                          <a16:creationId xmlns:a16="http://schemas.microsoft.com/office/drawing/2014/main" id="{84FB7ED1-A2DF-40A1-A747-5F7CF3F14040}"/>
                        </a:ext>
                      </a:extLst>
                    </p:cNvPr>
                    <p:cNvGrpSpPr/>
                    <p:nvPr/>
                  </p:nvGrpSpPr>
                  <p:grpSpPr>
                    <a:xfrm>
                      <a:off x="5310026" y="3914765"/>
                      <a:ext cx="628" cy="753"/>
                      <a:chOff x="5310026" y="3914765"/>
                      <a:chExt cx="628" cy="753"/>
                    </a:xfrm>
                    <a:solidFill>
                      <a:srgbClr val="B1B6BE"/>
                    </a:solidFill>
                  </p:grpSpPr>
                  <p:sp>
                    <p:nvSpPr>
                      <p:cNvPr id="2777" name="Freeform: Shape 2776">
                        <a:extLst>
                          <a:ext uri="{FF2B5EF4-FFF2-40B4-BE49-F238E27FC236}">
                            <a16:creationId xmlns:a16="http://schemas.microsoft.com/office/drawing/2014/main" id="{72A58A94-D9FD-4400-90C8-EF52B893F7FF}"/>
                          </a:ext>
                        </a:extLst>
                      </p:cNvPr>
                      <p:cNvSpPr/>
                      <p:nvPr/>
                    </p:nvSpPr>
                    <p:spPr>
                      <a:xfrm>
                        <a:off x="5310026" y="3914765"/>
                        <a:ext cx="628" cy="753"/>
                      </a:xfrm>
                      <a:custGeom>
                        <a:avLst/>
                        <a:gdLst>
                          <a:gd name="connsiteX0" fmla="*/ 377 w 628"/>
                          <a:gd name="connsiteY0" fmla="*/ 754 h 753"/>
                          <a:gd name="connsiteX1" fmla="*/ 0 w 628"/>
                          <a:gd name="connsiteY1" fmla="*/ 754 h 753"/>
                          <a:gd name="connsiteX2" fmla="*/ 0 w 628"/>
                          <a:gd name="connsiteY2" fmla="*/ 377 h 753"/>
                          <a:gd name="connsiteX3" fmla="*/ 377 w 628"/>
                          <a:gd name="connsiteY3" fmla="*/ 0 h 753"/>
                          <a:gd name="connsiteX4" fmla="*/ 628 w 628"/>
                          <a:gd name="connsiteY4" fmla="*/ 0 h 753"/>
                          <a:gd name="connsiteX5" fmla="*/ 628 w 628"/>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78" name="Freeform: Shape 2777">
                        <a:extLst>
                          <a:ext uri="{FF2B5EF4-FFF2-40B4-BE49-F238E27FC236}">
                            <a16:creationId xmlns:a16="http://schemas.microsoft.com/office/drawing/2014/main" id="{38190BA0-B0A2-44D4-A984-1335525AE514}"/>
                          </a:ext>
                        </a:extLst>
                      </p:cNvPr>
                      <p:cNvSpPr/>
                      <p:nvPr/>
                    </p:nvSpPr>
                    <p:spPr>
                      <a:xfrm>
                        <a:off x="5310026" y="3914765"/>
                        <a:ext cx="628" cy="753"/>
                      </a:xfrm>
                      <a:custGeom>
                        <a:avLst/>
                        <a:gdLst>
                          <a:gd name="connsiteX0" fmla="*/ 377 w 628"/>
                          <a:gd name="connsiteY0" fmla="*/ 754 h 753"/>
                          <a:gd name="connsiteX1" fmla="*/ 0 w 628"/>
                          <a:gd name="connsiteY1" fmla="*/ 754 h 753"/>
                          <a:gd name="connsiteX2" fmla="*/ 0 w 628"/>
                          <a:gd name="connsiteY2" fmla="*/ 377 h 753"/>
                          <a:gd name="connsiteX3" fmla="*/ 377 w 628"/>
                          <a:gd name="connsiteY3" fmla="*/ 0 h 753"/>
                          <a:gd name="connsiteX4" fmla="*/ 628 w 628"/>
                          <a:gd name="connsiteY4" fmla="*/ 0 h 753"/>
                          <a:gd name="connsiteX5" fmla="*/ 628 w 628"/>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79" name="Graphic 4">
                      <a:extLst>
                        <a:ext uri="{FF2B5EF4-FFF2-40B4-BE49-F238E27FC236}">
                          <a16:creationId xmlns:a16="http://schemas.microsoft.com/office/drawing/2014/main" id="{84FB7ED1-A2DF-40A1-A747-5F7CF3F14040}"/>
                        </a:ext>
                      </a:extLst>
                    </p:cNvPr>
                    <p:cNvGrpSpPr/>
                    <p:nvPr/>
                  </p:nvGrpSpPr>
                  <p:grpSpPr>
                    <a:xfrm>
                      <a:off x="5309398" y="3915770"/>
                      <a:ext cx="627" cy="879"/>
                      <a:chOff x="5309398" y="3915770"/>
                      <a:chExt cx="627" cy="879"/>
                    </a:xfrm>
                    <a:solidFill>
                      <a:srgbClr val="B1B6BE"/>
                    </a:solidFill>
                  </p:grpSpPr>
                  <p:sp>
                    <p:nvSpPr>
                      <p:cNvPr id="2780" name="Freeform: Shape 2779">
                        <a:extLst>
                          <a:ext uri="{FF2B5EF4-FFF2-40B4-BE49-F238E27FC236}">
                            <a16:creationId xmlns:a16="http://schemas.microsoft.com/office/drawing/2014/main" id="{8A6EFC82-8960-485A-9E78-BDEB4D2934A1}"/>
                          </a:ext>
                        </a:extLst>
                      </p:cNvPr>
                      <p:cNvSpPr/>
                      <p:nvPr/>
                    </p:nvSpPr>
                    <p:spPr>
                      <a:xfrm>
                        <a:off x="5309398" y="3915770"/>
                        <a:ext cx="627" cy="879"/>
                      </a:xfrm>
                      <a:custGeom>
                        <a:avLst/>
                        <a:gdLst>
                          <a:gd name="connsiteX0" fmla="*/ 502 w 627"/>
                          <a:gd name="connsiteY0" fmla="*/ 754 h 879"/>
                          <a:gd name="connsiteX1" fmla="*/ 126 w 627"/>
                          <a:gd name="connsiteY1" fmla="*/ 879 h 879"/>
                          <a:gd name="connsiteX2" fmla="*/ 0 w 627"/>
                          <a:gd name="connsiteY2" fmla="*/ 628 h 879"/>
                          <a:gd name="connsiteX3" fmla="*/ 126 w 627"/>
                          <a:gd name="connsiteY3" fmla="*/ 251 h 879"/>
                          <a:gd name="connsiteX4" fmla="*/ 502 w 627"/>
                          <a:gd name="connsiteY4" fmla="*/ 0 h 879"/>
                          <a:gd name="connsiteX5" fmla="*/ 628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754"/>
                            </a:moveTo>
                            <a:lnTo>
                              <a:pt x="126" y="879"/>
                            </a:lnTo>
                            <a:lnTo>
                              <a:pt x="0" y="628"/>
                            </a:lnTo>
                            <a:lnTo>
                              <a:pt x="126" y="251"/>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81" name="Freeform: Shape 2780">
                        <a:extLst>
                          <a:ext uri="{FF2B5EF4-FFF2-40B4-BE49-F238E27FC236}">
                            <a16:creationId xmlns:a16="http://schemas.microsoft.com/office/drawing/2014/main" id="{89544374-CF22-43EF-BBE8-2202A1F1B175}"/>
                          </a:ext>
                        </a:extLst>
                      </p:cNvPr>
                      <p:cNvSpPr/>
                      <p:nvPr/>
                    </p:nvSpPr>
                    <p:spPr>
                      <a:xfrm>
                        <a:off x="5309398" y="3915895"/>
                        <a:ext cx="627" cy="753"/>
                      </a:xfrm>
                      <a:custGeom>
                        <a:avLst/>
                        <a:gdLst>
                          <a:gd name="connsiteX0" fmla="*/ 502 w 627"/>
                          <a:gd name="connsiteY0" fmla="*/ 628 h 753"/>
                          <a:gd name="connsiteX1" fmla="*/ 126 w 627"/>
                          <a:gd name="connsiteY1" fmla="*/ 754 h 753"/>
                          <a:gd name="connsiteX2" fmla="*/ 0 w 627"/>
                          <a:gd name="connsiteY2" fmla="*/ 502 h 753"/>
                          <a:gd name="connsiteX3" fmla="*/ 126 w 627"/>
                          <a:gd name="connsiteY3" fmla="*/ 126 h 753"/>
                          <a:gd name="connsiteX4" fmla="*/ 502 w 627"/>
                          <a:gd name="connsiteY4" fmla="*/ 0 h 753"/>
                          <a:gd name="connsiteX5" fmla="*/ 628 w 627"/>
                          <a:gd name="connsiteY5" fmla="*/ 126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502" y="628"/>
                            </a:moveTo>
                            <a:lnTo>
                              <a:pt x="126" y="754"/>
                            </a:lnTo>
                            <a:lnTo>
                              <a:pt x="0" y="502"/>
                            </a:lnTo>
                            <a:lnTo>
                              <a:pt x="126" y="126"/>
                            </a:lnTo>
                            <a:lnTo>
                              <a:pt x="502" y="0"/>
                            </a:lnTo>
                            <a:lnTo>
                              <a:pt x="628"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82" name="Graphic 4">
                      <a:extLst>
                        <a:ext uri="{FF2B5EF4-FFF2-40B4-BE49-F238E27FC236}">
                          <a16:creationId xmlns:a16="http://schemas.microsoft.com/office/drawing/2014/main" id="{84FB7ED1-A2DF-40A1-A747-5F7CF3F14040}"/>
                        </a:ext>
                      </a:extLst>
                    </p:cNvPr>
                    <p:cNvGrpSpPr/>
                    <p:nvPr/>
                  </p:nvGrpSpPr>
                  <p:grpSpPr>
                    <a:xfrm>
                      <a:off x="5309147" y="3916900"/>
                      <a:ext cx="627" cy="879"/>
                      <a:chOff x="5309147" y="3916900"/>
                      <a:chExt cx="627" cy="879"/>
                    </a:xfrm>
                    <a:solidFill>
                      <a:srgbClr val="B1B6BE"/>
                    </a:solidFill>
                  </p:grpSpPr>
                  <p:sp>
                    <p:nvSpPr>
                      <p:cNvPr id="2783" name="Freeform: Shape 2782">
                        <a:extLst>
                          <a:ext uri="{FF2B5EF4-FFF2-40B4-BE49-F238E27FC236}">
                            <a16:creationId xmlns:a16="http://schemas.microsoft.com/office/drawing/2014/main" id="{A3F6EAE8-8BBA-49C9-A1DD-26B7278C79EF}"/>
                          </a:ext>
                        </a:extLst>
                      </p:cNvPr>
                      <p:cNvSpPr/>
                      <p:nvPr/>
                    </p:nvSpPr>
                    <p:spPr>
                      <a:xfrm>
                        <a:off x="5309147" y="3916900"/>
                        <a:ext cx="627" cy="879"/>
                      </a:xfrm>
                      <a:custGeom>
                        <a:avLst/>
                        <a:gdLst>
                          <a:gd name="connsiteX0" fmla="*/ 628 w 627"/>
                          <a:gd name="connsiteY0" fmla="*/ 502 h 879"/>
                          <a:gd name="connsiteX1" fmla="*/ 377 w 627"/>
                          <a:gd name="connsiteY1" fmla="*/ 879 h 879"/>
                          <a:gd name="connsiteX2" fmla="*/ 0 w 627"/>
                          <a:gd name="connsiteY2" fmla="*/ 754 h 879"/>
                          <a:gd name="connsiteX3" fmla="*/ 0 w 627"/>
                          <a:gd name="connsiteY3" fmla="*/ 377 h 879"/>
                          <a:gd name="connsiteX4" fmla="*/ 377 w 627"/>
                          <a:gd name="connsiteY4" fmla="*/ 0 h 879"/>
                          <a:gd name="connsiteX5" fmla="*/ 628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502"/>
                            </a:moveTo>
                            <a:lnTo>
                              <a:pt x="377" y="879"/>
                            </a:lnTo>
                            <a:lnTo>
                              <a:pt x="0" y="754"/>
                            </a:lnTo>
                            <a:lnTo>
                              <a:pt x="0" y="377"/>
                            </a:lnTo>
                            <a:lnTo>
                              <a:pt x="377"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84" name="Freeform: Shape 2783">
                        <a:extLst>
                          <a:ext uri="{FF2B5EF4-FFF2-40B4-BE49-F238E27FC236}">
                            <a16:creationId xmlns:a16="http://schemas.microsoft.com/office/drawing/2014/main" id="{22DB06AB-0878-48E5-B03B-CCDD98CEB42B}"/>
                          </a:ext>
                        </a:extLst>
                      </p:cNvPr>
                      <p:cNvSpPr/>
                      <p:nvPr/>
                    </p:nvSpPr>
                    <p:spPr>
                      <a:xfrm>
                        <a:off x="5309272" y="3917026"/>
                        <a:ext cx="502" cy="753"/>
                      </a:xfrm>
                      <a:custGeom>
                        <a:avLst/>
                        <a:gdLst>
                          <a:gd name="connsiteX0" fmla="*/ 502 w 502"/>
                          <a:gd name="connsiteY0" fmla="*/ 377 h 753"/>
                          <a:gd name="connsiteX1" fmla="*/ 251 w 502"/>
                          <a:gd name="connsiteY1" fmla="*/ 754 h 753"/>
                          <a:gd name="connsiteX2" fmla="*/ 0 w 502"/>
                          <a:gd name="connsiteY2" fmla="*/ 628 h 753"/>
                          <a:gd name="connsiteX3" fmla="*/ 0 w 502"/>
                          <a:gd name="connsiteY3" fmla="*/ 251 h 753"/>
                          <a:gd name="connsiteX4" fmla="*/ 251 w 502"/>
                          <a:gd name="connsiteY4" fmla="*/ 0 h 753"/>
                          <a:gd name="connsiteX5" fmla="*/ 502 w 502"/>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502" y="377"/>
                            </a:moveTo>
                            <a:lnTo>
                              <a:pt x="251" y="754"/>
                            </a:lnTo>
                            <a:lnTo>
                              <a:pt x="0" y="628"/>
                            </a:lnTo>
                            <a:lnTo>
                              <a:pt x="0" y="251"/>
                            </a:lnTo>
                            <a:lnTo>
                              <a:pt x="251" y="0"/>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85" name="Graphic 4">
                      <a:extLst>
                        <a:ext uri="{FF2B5EF4-FFF2-40B4-BE49-F238E27FC236}">
                          <a16:creationId xmlns:a16="http://schemas.microsoft.com/office/drawing/2014/main" id="{84FB7ED1-A2DF-40A1-A747-5F7CF3F14040}"/>
                        </a:ext>
                      </a:extLst>
                    </p:cNvPr>
                    <p:cNvGrpSpPr/>
                    <p:nvPr/>
                  </p:nvGrpSpPr>
                  <p:grpSpPr>
                    <a:xfrm>
                      <a:off x="5309398" y="3917779"/>
                      <a:ext cx="627" cy="879"/>
                      <a:chOff x="5309398" y="3917779"/>
                      <a:chExt cx="627" cy="879"/>
                    </a:xfrm>
                    <a:solidFill>
                      <a:srgbClr val="B1B6BE"/>
                    </a:solidFill>
                  </p:grpSpPr>
                  <p:sp>
                    <p:nvSpPr>
                      <p:cNvPr id="2786" name="Freeform: Shape 2785">
                        <a:extLst>
                          <a:ext uri="{FF2B5EF4-FFF2-40B4-BE49-F238E27FC236}">
                            <a16:creationId xmlns:a16="http://schemas.microsoft.com/office/drawing/2014/main" id="{234E1B7C-1822-4DAD-B08B-D15AA632DE11}"/>
                          </a:ext>
                        </a:extLst>
                      </p:cNvPr>
                      <p:cNvSpPr/>
                      <p:nvPr/>
                    </p:nvSpPr>
                    <p:spPr>
                      <a:xfrm>
                        <a:off x="5309398" y="3917779"/>
                        <a:ext cx="627" cy="879"/>
                      </a:xfrm>
                      <a:custGeom>
                        <a:avLst/>
                        <a:gdLst>
                          <a:gd name="connsiteX0" fmla="*/ 628 w 627"/>
                          <a:gd name="connsiteY0" fmla="*/ 251 h 879"/>
                          <a:gd name="connsiteX1" fmla="*/ 502 w 627"/>
                          <a:gd name="connsiteY1" fmla="*/ 628 h 879"/>
                          <a:gd name="connsiteX2" fmla="*/ 126 w 627"/>
                          <a:gd name="connsiteY2" fmla="*/ 879 h 879"/>
                          <a:gd name="connsiteX3" fmla="*/ 0 w 627"/>
                          <a:gd name="connsiteY3" fmla="*/ 628 h 879"/>
                          <a:gd name="connsiteX4" fmla="*/ 126 w 627"/>
                          <a:gd name="connsiteY4" fmla="*/ 126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6" y="879"/>
                            </a:lnTo>
                            <a:lnTo>
                              <a:pt x="0" y="628"/>
                            </a:lnTo>
                            <a:lnTo>
                              <a:pt x="126"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87" name="Freeform: Shape 2786">
                        <a:extLst>
                          <a:ext uri="{FF2B5EF4-FFF2-40B4-BE49-F238E27FC236}">
                            <a16:creationId xmlns:a16="http://schemas.microsoft.com/office/drawing/2014/main" id="{13339289-3CEB-43AD-BC21-D4061A49606D}"/>
                          </a:ext>
                        </a:extLst>
                      </p:cNvPr>
                      <p:cNvSpPr/>
                      <p:nvPr/>
                    </p:nvSpPr>
                    <p:spPr>
                      <a:xfrm>
                        <a:off x="5309398" y="3917779"/>
                        <a:ext cx="627" cy="879"/>
                      </a:xfrm>
                      <a:custGeom>
                        <a:avLst/>
                        <a:gdLst>
                          <a:gd name="connsiteX0" fmla="*/ 628 w 627"/>
                          <a:gd name="connsiteY0" fmla="*/ 251 h 879"/>
                          <a:gd name="connsiteX1" fmla="*/ 502 w 627"/>
                          <a:gd name="connsiteY1" fmla="*/ 628 h 879"/>
                          <a:gd name="connsiteX2" fmla="*/ 126 w 627"/>
                          <a:gd name="connsiteY2" fmla="*/ 879 h 879"/>
                          <a:gd name="connsiteX3" fmla="*/ 0 w 627"/>
                          <a:gd name="connsiteY3" fmla="*/ 628 h 879"/>
                          <a:gd name="connsiteX4" fmla="*/ 126 w 627"/>
                          <a:gd name="connsiteY4" fmla="*/ 251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6" y="879"/>
                            </a:lnTo>
                            <a:lnTo>
                              <a:pt x="0" y="628"/>
                            </a:lnTo>
                            <a:lnTo>
                              <a:pt x="126" y="251"/>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88" name="Graphic 4">
                      <a:extLst>
                        <a:ext uri="{FF2B5EF4-FFF2-40B4-BE49-F238E27FC236}">
                          <a16:creationId xmlns:a16="http://schemas.microsoft.com/office/drawing/2014/main" id="{84FB7ED1-A2DF-40A1-A747-5F7CF3F14040}"/>
                        </a:ext>
                      </a:extLst>
                    </p:cNvPr>
                    <p:cNvGrpSpPr/>
                    <p:nvPr/>
                  </p:nvGrpSpPr>
                  <p:grpSpPr>
                    <a:xfrm>
                      <a:off x="5310026" y="3918156"/>
                      <a:ext cx="628" cy="879"/>
                      <a:chOff x="5310026" y="3918156"/>
                      <a:chExt cx="628" cy="879"/>
                    </a:xfrm>
                    <a:solidFill>
                      <a:srgbClr val="B1B6BE"/>
                    </a:solidFill>
                  </p:grpSpPr>
                  <p:sp>
                    <p:nvSpPr>
                      <p:cNvPr id="2789" name="Freeform: Shape 2788">
                        <a:extLst>
                          <a:ext uri="{FF2B5EF4-FFF2-40B4-BE49-F238E27FC236}">
                            <a16:creationId xmlns:a16="http://schemas.microsoft.com/office/drawing/2014/main" id="{6424CBF4-711F-4217-B92E-928144FCFC9B}"/>
                          </a:ext>
                        </a:extLst>
                      </p:cNvPr>
                      <p:cNvSpPr/>
                      <p:nvPr/>
                    </p:nvSpPr>
                    <p:spPr>
                      <a:xfrm>
                        <a:off x="5310026" y="3918156"/>
                        <a:ext cx="628" cy="879"/>
                      </a:xfrm>
                      <a:custGeom>
                        <a:avLst/>
                        <a:gdLst>
                          <a:gd name="connsiteX0" fmla="*/ 628 w 628"/>
                          <a:gd name="connsiteY0" fmla="*/ 0 h 879"/>
                          <a:gd name="connsiteX1" fmla="*/ 628 w 628"/>
                          <a:gd name="connsiteY1" fmla="*/ 377 h 879"/>
                          <a:gd name="connsiteX2" fmla="*/ 251 w 628"/>
                          <a:gd name="connsiteY2" fmla="*/ 879 h 879"/>
                          <a:gd name="connsiteX3" fmla="*/ 0 w 628"/>
                          <a:gd name="connsiteY3" fmla="*/ 754 h 879"/>
                          <a:gd name="connsiteX4" fmla="*/ 0 w 628"/>
                          <a:gd name="connsiteY4" fmla="*/ 377 h 879"/>
                          <a:gd name="connsiteX5" fmla="*/ 251 w 628"/>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628" y="0"/>
                            </a:moveTo>
                            <a:lnTo>
                              <a:pt x="628" y="377"/>
                            </a:lnTo>
                            <a:lnTo>
                              <a:pt x="251" y="879"/>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90" name="Freeform: Shape 2789">
                        <a:extLst>
                          <a:ext uri="{FF2B5EF4-FFF2-40B4-BE49-F238E27FC236}">
                            <a16:creationId xmlns:a16="http://schemas.microsoft.com/office/drawing/2014/main" id="{1EB470D9-6699-46D8-BF81-C3B3E24B650A}"/>
                          </a:ext>
                        </a:extLst>
                      </p:cNvPr>
                      <p:cNvSpPr/>
                      <p:nvPr/>
                    </p:nvSpPr>
                    <p:spPr>
                      <a:xfrm>
                        <a:off x="5310026" y="3918156"/>
                        <a:ext cx="628" cy="753"/>
                      </a:xfrm>
                      <a:custGeom>
                        <a:avLst/>
                        <a:gdLst>
                          <a:gd name="connsiteX0" fmla="*/ 628 w 628"/>
                          <a:gd name="connsiteY0" fmla="*/ 0 h 753"/>
                          <a:gd name="connsiteX1" fmla="*/ 628 w 628"/>
                          <a:gd name="connsiteY1" fmla="*/ 377 h 753"/>
                          <a:gd name="connsiteX2" fmla="*/ 377 w 628"/>
                          <a:gd name="connsiteY2" fmla="*/ 754 h 753"/>
                          <a:gd name="connsiteX3" fmla="*/ 0 w 628"/>
                          <a:gd name="connsiteY3" fmla="*/ 754 h 753"/>
                          <a:gd name="connsiteX4" fmla="*/ 0 w 628"/>
                          <a:gd name="connsiteY4" fmla="*/ 377 h 753"/>
                          <a:gd name="connsiteX5" fmla="*/ 377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0"/>
                            </a:moveTo>
                            <a:lnTo>
                              <a:pt x="628" y="377"/>
                            </a:lnTo>
                            <a:lnTo>
                              <a:pt x="377" y="754"/>
                            </a:lnTo>
                            <a:lnTo>
                              <a:pt x="0" y="754"/>
                            </a:lnTo>
                            <a:lnTo>
                              <a:pt x="0" y="377"/>
                            </a:lnTo>
                            <a:lnTo>
                              <a:pt x="377"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91" name="Graphic 4">
                      <a:extLst>
                        <a:ext uri="{FF2B5EF4-FFF2-40B4-BE49-F238E27FC236}">
                          <a16:creationId xmlns:a16="http://schemas.microsoft.com/office/drawing/2014/main" id="{84FB7ED1-A2DF-40A1-A747-5F7CF3F14040}"/>
                        </a:ext>
                      </a:extLst>
                    </p:cNvPr>
                    <p:cNvGrpSpPr/>
                    <p:nvPr/>
                  </p:nvGrpSpPr>
                  <p:grpSpPr>
                    <a:xfrm>
                      <a:off x="5310779" y="3917905"/>
                      <a:ext cx="753" cy="879"/>
                      <a:chOff x="5310779" y="3917905"/>
                      <a:chExt cx="753" cy="879"/>
                    </a:xfrm>
                    <a:solidFill>
                      <a:srgbClr val="B1B6BE"/>
                    </a:solidFill>
                  </p:grpSpPr>
                  <p:sp>
                    <p:nvSpPr>
                      <p:cNvPr id="2792" name="Freeform: Shape 2791">
                        <a:extLst>
                          <a:ext uri="{FF2B5EF4-FFF2-40B4-BE49-F238E27FC236}">
                            <a16:creationId xmlns:a16="http://schemas.microsoft.com/office/drawing/2014/main" id="{014AB21D-1778-45E5-BC3C-23AA0B831233}"/>
                          </a:ext>
                        </a:extLst>
                      </p:cNvPr>
                      <p:cNvSpPr/>
                      <p:nvPr/>
                    </p:nvSpPr>
                    <p:spPr>
                      <a:xfrm>
                        <a:off x="5310779" y="3917905"/>
                        <a:ext cx="753" cy="879"/>
                      </a:xfrm>
                      <a:custGeom>
                        <a:avLst/>
                        <a:gdLst>
                          <a:gd name="connsiteX0" fmla="*/ 502 w 753"/>
                          <a:gd name="connsiteY0" fmla="*/ 0 h 879"/>
                          <a:gd name="connsiteX1" fmla="*/ 754 w 753"/>
                          <a:gd name="connsiteY1" fmla="*/ 251 h 879"/>
                          <a:gd name="connsiteX2" fmla="*/ 502 w 753"/>
                          <a:gd name="connsiteY2" fmla="*/ 754 h 879"/>
                          <a:gd name="connsiteX3" fmla="*/ 251 w 753"/>
                          <a:gd name="connsiteY3" fmla="*/ 879 h 879"/>
                          <a:gd name="connsiteX4" fmla="*/ 0 w 753"/>
                          <a:gd name="connsiteY4" fmla="*/ 628 h 879"/>
                          <a:gd name="connsiteX5" fmla="*/ 251 w 753"/>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502" y="0"/>
                            </a:moveTo>
                            <a:lnTo>
                              <a:pt x="754" y="251"/>
                            </a:lnTo>
                            <a:lnTo>
                              <a:pt x="502" y="754"/>
                            </a:lnTo>
                            <a:lnTo>
                              <a:pt x="251" y="879"/>
                            </a:lnTo>
                            <a:lnTo>
                              <a:pt x="0" y="628"/>
                            </a:lnTo>
                            <a:lnTo>
                              <a:pt x="251"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93" name="Freeform: Shape 2792">
                        <a:extLst>
                          <a:ext uri="{FF2B5EF4-FFF2-40B4-BE49-F238E27FC236}">
                            <a16:creationId xmlns:a16="http://schemas.microsoft.com/office/drawing/2014/main" id="{EBE83D7F-C847-478F-BB56-E16FF6F48B77}"/>
                          </a:ext>
                        </a:extLst>
                      </p:cNvPr>
                      <p:cNvSpPr/>
                      <p:nvPr/>
                    </p:nvSpPr>
                    <p:spPr>
                      <a:xfrm>
                        <a:off x="5310905" y="3917905"/>
                        <a:ext cx="627" cy="879"/>
                      </a:xfrm>
                      <a:custGeom>
                        <a:avLst/>
                        <a:gdLst>
                          <a:gd name="connsiteX0" fmla="*/ 502 w 627"/>
                          <a:gd name="connsiteY0" fmla="*/ 0 h 879"/>
                          <a:gd name="connsiteX1" fmla="*/ 628 w 627"/>
                          <a:gd name="connsiteY1" fmla="*/ 251 h 879"/>
                          <a:gd name="connsiteX2" fmla="*/ 502 w 627"/>
                          <a:gd name="connsiteY2" fmla="*/ 628 h 879"/>
                          <a:gd name="connsiteX3" fmla="*/ 126 w 627"/>
                          <a:gd name="connsiteY3" fmla="*/ 879 h 879"/>
                          <a:gd name="connsiteX4" fmla="*/ 0 w 627"/>
                          <a:gd name="connsiteY4" fmla="*/ 628 h 879"/>
                          <a:gd name="connsiteX5" fmla="*/ 126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0"/>
                            </a:moveTo>
                            <a:lnTo>
                              <a:pt x="628" y="251"/>
                            </a:lnTo>
                            <a:lnTo>
                              <a:pt x="502" y="628"/>
                            </a:lnTo>
                            <a:lnTo>
                              <a:pt x="126" y="879"/>
                            </a:lnTo>
                            <a:lnTo>
                              <a:pt x="0" y="628"/>
                            </a:lnTo>
                            <a:lnTo>
                              <a:pt x="126"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94" name="Graphic 4">
                      <a:extLst>
                        <a:ext uri="{FF2B5EF4-FFF2-40B4-BE49-F238E27FC236}">
                          <a16:creationId xmlns:a16="http://schemas.microsoft.com/office/drawing/2014/main" id="{84FB7ED1-A2DF-40A1-A747-5F7CF3F14040}"/>
                        </a:ext>
                      </a:extLst>
                    </p:cNvPr>
                    <p:cNvGrpSpPr/>
                    <p:nvPr/>
                  </p:nvGrpSpPr>
                  <p:grpSpPr>
                    <a:xfrm>
                      <a:off x="5311784" y="3917151"/>
                      <a:ext cx="502" cy="879"/>
                      <a:chOff x="5311784" y="3917151"/>
                      <a:chExt cx="502" cy="879"/>
                    </a:xfrm>
                    <a:solidFill>
                      <a:srgbClr val="B1B6BE"/>
                    </a:solidFill>
                  </p:grpSpPr>
                  <p:sp>
                    <p:nvSpPr>
                      <p:cNvPr id="2795" name="Freeform: Shape 2794">
                        <a:extLst>
                          <a:ext uri="{FF2B5EF4-FFF2-40B4-BE49-F238E27FC236}">
                            <a16:creationId xmlns:a16="http://schemas.microsoft.com/office/drawing/2014/main" id="{A2D6D4A4-D641-4BFA-BC06-0D3466A46C16}"/>
                          </a:ext>
                        </a:extLst>
                      </p:cNvPr>
                      <p:cNvSpPr/>
                      <p:nvPr/>
                    </p:nvSpPr>
                    <p:spPr>
                      <a:xfrm>
                        <a:off x="5311784" y="3917277"/>
                        <a:ext cx="502" cy="753"/>
                      </a:xfrm>
                      <a:custGeom>
                        <a:avLst/>
                        <a:gdLst>
                          <a:gd name="connsiteX0" fmla="*/ 251 w 502"/>
                          <a:gd name="connsiteY0" fmla="*/ 0 h 753"/>
                          <a:gd name="connsiteX1" fmla="*/ 502 w 502"/>
                          <a:gd name="connsiteY1" fmla="*/ 0 h 753"/>
                          <a:gd name="connsiteX2" fmla="*/ 502 w 502"/>
                          <a:gd name="connsiteY2" fmla="*/ 377 h 753"/>
                          <a:gd name="connsiteX3" fmla="*/ 251 w 502"/>
                          <a:gd name="connsiteY3" fmla="*/ 754 h 753"/>
                          <a:gd name="connsiteX4" fmla="*/ 0 w 502"/>
                          <a:gd name="connsiteY4" fmla="*/ 754 h 753"/>
                          <a:gd name="connsiteX5" fmla="*/ 0 w 502"/>
                          <a:gd name="connsiteY5" fmla="*/ 251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0"/>
                            </a:moveTo>
                            <a:lnTo>
                              <a:pt x="502" y="0"/>
                            </a:lnTo>
                            <a:lnTo>
                              <a:pt x="502" y="377"/>
                            </a:lnTo>
                            <a:lnTo>
                              <a:pt x="251" y="754"/>
                            </a:lnTo>
                            <a:lnTo>
                              <a:pt x="0" y="754"/>
                            </a:lnTo>
                            <a:lnTo>
                              <a:pt x="0"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96" name="Freeform: Shape 2795">
                        <a:extLst>
                          <a:ext uri="{FF2B5EF4-FFF2-40B4-BE49-F238E27FC236}">
                            <a16:creationId xmlns:a16="http://schemas.microsoft.com/office/drawing/2014/main" id="{F088AD99-A758-4E1E-9FC0-ABBFBE8901A0}"/>
                          </a:ext>
                        </a:extLst>
                      </p:cNvPr>
                      <p:cNvSpPr/>
                      <p:nvPr/>
                    </p:nvSpPr>
                    <p:spPr>
                      <a:xfrm>
                        <a:off x="5311784" y="3917151"/>
                        <a:ext cx="502" cy="753"/>
                      </a:xfrm>
                      <a:custGeom>
                        <a:avLst/>
                        <a:gdLst>
                          <a:gd name="connsiteX0" fmla="*/ 251 w 502"/>
                          <a:gd name="connsiteY0" fmla="*/ 0 h 753"/>
                          <a:gd name="connsiteX1" fmla="*/ 502 w 502"/>
                          <a:gd name="connsiteY1" fmla="*/ 126 h 753"/>
                          <a:gd name="connsiteX2" fmla="*/ 502 w 502"/>
                          <a:gd name="connsiteY2" fmla="*/ 502 h 753"/>
                          <a:gd name="connsiteX3" fmla="*/ 251 w 502"/>
                          <a:gd name="connsiteY3" fmla="*/ 754 h 753"/>
                          <a:gd name="connsiteX4" fmla="*/ 0 w 502"/>
                          <a:gd name="connsiteY4" fmla="*/ 754 h 753"/>
                          <a:gd name="connsiteX5" fmla="*/ 0 w 502"/>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0"/>
                            </a:moveTo>
                            <a:lnTo>
                              <a:pt x="502" y="126"/>
                            </a:lnTo>
                            <a:lnTo>
                              <a:pt x="502" y="502"/>
                            </a:lnTo>
                            <a:lnTo>
                              <a:pt x="251"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97" name="Graphic 4">
                      <a:extLst>
                        <a:ext uri="{FF2B5EF4-FFF2-40B4-BE49-F238E27FC236}">
                          <a16:creationId xmlns:a16="http://schemas.microsoft.com/office/drawing/2014/main" id="{84FB7ED1-A2DF-40A1-A747-5F7CF3F14040}"/>
                        </a:ext>
                      </a:extLst>
                    </p:cNvPr>
                    <p:cNvGrpSpPr/>
                    <p:nvPr/>
                  </p:nvGrpSpPr>
                  <p:grpSpPr>
                    <a:xfrm>
                      <a:off x="5312287" y="3916146"/>
                      <a:ext cx="753" cy="879"/>
                      <a:chOff x="5312287" y="3916146"/>
                      <a:chExt cx="753" cy="879"/>
                    </a:xfrm>
                    <a:solidFill>
                      <a:srgbClr val="B1B6BE"/>
                    </a:solidFill>
                  </p:grpSpPr>
                  <p:sp>
                    <p:nvSpPr>
                      <p:cNvPr id="2798" name="Freeform: Shape 2797">
                        <a:extLst>
                          <a:ext uri="{FF2B5EF4-FFF2-40B4-BE49-F238E27FC236}">
                            <a16:creationId xmlns:a16="http://schemas.microsoft.com/office/drawing/2014/main" id="{6588F3A3-4CBF-4055-B745-920A155BBE2A}"/>
                          </a:ext>
                        </a:extLst>
                      </p:cNvPr>
                      <p:cNvSpPr/>
                      <p:nvPr/>
                    </p:nvSpPr>
                    <p:spPr>
                      <a:xfrm>
                        <a:off x="5312287" y="3916146"/>
                        <a:ext cx="753" cy="879"/>
                      </a:xfrm>
                      <a:custGeom>
                        <a:avLst/>
                        <a:gdLst>
                          <a:gd name="connsiteX0" fmla="*/ 251 w 753"/>
                          <a:gd name="connsiteY0" fmla="*/ 126 h 879"/>
                          <a:gd name="connsiteX1" fmla="*/ 502 w 753"/>
                          <a:gd name="connsiteY1" fmla="*/ 0 h 879"/>
                          <a:gd name="connsiteX2" fmla="*/ 754 w 753"/>
                          <a:gd name="connsiteY2" fmla="*/ 126 h 879"/>
                          <a:gd name="connsiteX3" fmla="*/ 502 w 753"/>
                          <a:gd name="connsiteY3" fmla="*/ 628 h 879"/>
                          <a:gd name="connsiteX4" fmla="*/ 251 w 753"/>
                          <a:gd name="connsiteY4" fmla="*/ 879 h 879"/>
                          <a:gd name="connsiteX5" fmla="*/ 0 w 753"/>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126"/>
                            </a:moveTo>
                            <a:lnTo>
                              <a:pt x="502" y="0"/>
                            </a:lnTo>
                            <a:lnTo>
                              <a:pt x="754" y="126"/>
                            </a:lnTo>
                            <a:lnTo>
                              <a:pt x="502" y="628"/>
                            </a:lnTo>
                            <a:lnTo>
                              <a:pt x="251"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99" name="Freeform: Shape 2798">
                        <a:extLst>
                          <a:ext uri="{FF2B5EF4-FFF2-40B4-BE49-F238E27FC236}">
                            <a16:creationId xmlns:a16="http://schemas.microsoft.com/office/drawing/2014/main" id="{3D681942-B91C-4654-8272-8789E63EB8B8}"/>
                          </a:ext>
                        </a:extLst>
                      </p:cNvPr>
                      <p:cNvSpPr/>
                      <p:nvPr/>
                    </p:nvSpPr>
                    <p:spPr>
                      <a:xfrm>
                        <a:off x="5312412" y="3916146"/>
                        <a:ext cx="628" cy="753"/>
                      </a:xfrm>
                      <a:custGeom>
                        <a:avLst/>
                        <a:gdLst>
                          <a:gd name="connsiteX0" fmla="*/ 126 w 628"/>
                          <a:gd name="connsiteY0" fmla="*/ 126 h 753"/>
                          <a:gd name="connsiteX1" fmla="*/ 377 w 628"/>
                          <a:gd name="connsiteY1" fmla="*/ 0 h 753"/>
                          <a:gd name="connsiteX2" fmla="*/ 628 w 628"/>
                          <a:gd name="connsiteY2" fmla="*/ 126 h 753"/>
                          <a:gd name="connsiteX3" fmla="*/ 377 w 628"/>
                          <a:gd name="connsiteY3" fmla="*/ 628 h 753"/>
                          <a:gd name="connsiteX4" fmla="*/ 126 w 628"/>
                          <a:gd name="connsiteY4" fmla="*/ 754 h 753"/>
                          <a:gd name="connsiteX5" fmla="*/ 0 w 628"/>
                          <a:gd name="connsiteY5" fmla="*/ 502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126" y="126"/>
                            </a:moveTo>
                            <a:lnTo>
                              <a:pt x="377" y="0"/>
                            </a:lnTo>
                            <a:lnTo>
                              <a:pt x="628" y="126"/>
                            </a:lnTo>
                            <a:lnTo>
                              <a:pt x="377" y="628"/>
                            </a:lnTo>
                            <a:lnTo>
                              <a:pt x="126" y="754"/>
                            </a:lnTo>
                            <a:lnTo>
                              <a:pt x="0" y="502"/>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00" name="Graphic 4">
                      <a:extLst>
                        <a:ext uri="{FF2B5EF4-FFF2-40B4-BE49-F238E27FC236}">
                          <a16:creationId xmlns:a16="http://schemas.microsoft.com/office/drawing/2014/main" id="{84FB7ED1-A2DF-40A1-A747-5F7CF3F14040}"/>
                        </a:ext>
                      </a:extLst>
                    </p:cNvPr>
                    <p:cNvGrpSpPr/>
                    <p:nvPr/>
                  </p:nvGrpSpPr>
                  <p:grpSpPr>
                    <a:xfrm>
                      <a:off x="5312663" y="3915016"/>
                      <a:ext cx="502" cy="753"/>
                      <a:chOff x="5312663" y="3915016"/>
                      <a:chExt cx="502" cy="753"/>
                    </a:xfrm>
                    <a:solidFill>
                      <a:srgbClr val="B1B6BE"/>
                    </a:solidFill>
                  </p:grpSpPr>
                  <p:sp>
                    <p:nvSpPr>
                      <p:cNvPr id="2801" name="Freeform: Shape 2800">
                        <a:extLst>
                          <a:ext uri="{FF2B5EF4-FFF2-40B4-BE49-F238E27FC236}">
                            <a16:creationId xmlns:a16="http://schemas.microsoft.com/office/drawing/2014/main" id="{ABC90D77-0713-485B-A587-72A4A67CE289}"/>
                          </a:ext>
                        </a:extLst>
                      </p:cNvPr>
                      <p:cNvSpPr/>
                      <p:nvPr/>
                    </p:nvSpPr>
                    <p:spPr>
                      <a:xfrm>
                        <a:off x="5312663" y="3915016"/>
                        <a:ext cx="502" cy="753"/>
                      </a:xfrm>
                      <a:custGeom>
                        <a:avLst/>
                        <a:gdLst>
                          <a:gd name="connsiteX0" fmla="*/ 0 w 502"/>
                          <a:gd name="connsiteY0" fmla="*/ 377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377"/>
                            </a:moveTo>
                            <a:lnTo>
                              <a:pt x="251" y="0"/>
                            </a:lnTo>
                            <a:lnTo>
                              <a:pt x="502" y="0"/>
                            </a:lnTo>
                            <a:lnTo>
                              <a:pt x="502"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02" name="Freeform: Shape 2801">
                        <a:extLst>
                          <a:ext uri="{FF2B5EF4-FFF2-40B4-BE49-F238E27FC236}">
                            <a16:creationId xmlns:a16="http://schemas.microsoft.com/office/drawing/2014/main" id="{09F8E03C-4F53-483B-9839-90DECE39BD4D}"/>
                          </a:ext>
                        </a:extLst>
                      </p:cNvPr>
                      <p:cNvSpPr/>
                      <p:nvPr/>
                    </p:nvSpPr>
                    <p:spPr>
                      <a:xfrm>
                        <a:off x="5312663" y="3915016"/>
                        <a:ext cx="502" cy="753"/>
                      </a:xfrm>
                      <a:custGeom>
                        <a:avLst/>
                        <a:gdLst>
                          <a:gd name="connsiteX0" fmla="*/ 0 w 502"/>
                          <a:gd name="connsiteY0" fmla="*/ 377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377"/>
                            </a:moveTo>
                            <a:lnTo>
                              <a:pt x="251" y="0"/>
                            </a:lnTo>
                            <a:lnTo>
                              <a:pt x="502" y="0"/>
                            </a:lnTo>
                            <a:lnTo>
                              <a:pt x="502"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03" name="Graphic 4">
                      <a:extLst>
                        <a:ext uri="{FF2B5EF4-FFF2-40B4-BE49-F238E27FC236}">
                          <a16:creationId xmlns:a16="http://schemas.microsoft.com/office/drawing/2014/main" id="{84FB7ED1-A2DF-40A1-A747-5F7CF3F14040}"/>
                        </a:ext>
                      </a:extLst>
                    </p:cNvPr>
                    <p:cNvGrpSpPr/>
                    <p:nvPr/>
                  </p:nvGrpSpPr>
                  <p:grpSpPr>
                    <a:xfrm>
                      <a:off x="5312412" y="3914137"/>
                      <a:ext cx="628" cy="879"/>
                      <a:chOff x="5312412" y="3914137"/>
                      <a:chExt cx="628" cy="879"/>
                    </a:xfrm>
                    <a:solidFill>
                      <a:srgbClr val="B1B6BE"/>
                    </a:solidFill>
                  </p:grpSpPr>
                  <p:sp>
                    <p:nvSpPr>
                      <p:cNvPr id="2804" name="Freeform: Shape 2803">
                        <a:extLst>
                          <a:ext uri="{FF2B5EF4-FFF2-40B4-BE49-F238E27FC236}">
                            <a16:creationId xmlns:a16="http://schemas.microsoft.com/office/drawing/2014/main" id="{887287F3-F5DD-46BB-894F-D83DB4864815}"/>
                          </a:ext>
                        </a:extLst>
                      </p:cNvPr>
                      <p:cNvSpPr/>
                      <p:nvPr/>
                    </p:nvSpPr>
                    <p:spPr>
                      <a:xfrm>
                        <a:off x="5312412" y="3914137"/>
                        <a:ext cx="628" cy="879"/>
                      </a:xfrm>
                      <a:custGeom>
                        <a:avLst/>
                        <a:gdLst>
                          <a:gd name="connsiteX0" fmla="*/ 0 w 628"/>
                          <a:gd name="connsiteY0" fmla="*/ 628 h 879"/>
                          <a:gd name="connsiteX1" fmla="*/ 126 w 628"/>
                          <a:gd name="connsiteY1" fmla="*/ 126 h 879"/>
                          <a:gd name="connsiteX2" fmla="*/ 502 w 628"/>
                          <a:gd name="connsiteY2" fmla="*/ 0 h 879"/>
                          <a:gd name="connsiteX3" fmla="*/ 628 w 628"/>
                          <a:gd name="connsiteY3" fmla="*/ 251 h 879"/>
                          <a:gd name="connsiteX4" fmla="*/ 502 w 628"/>
                          <a:gd name="connsiteY4" fmla="*/ 628 h 879"/>
                          <a:gd name="connsiteX5" fmla="*/ 126 w 628"/>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0" y="628"/>
                            </a:moveTo>
                            <a:lnTo>
                              <a:pt x="126" y="126"/>
                            </a:lnTo>
                            <a:lnTo>
                              <a:pt x="502" y="0"/>
                            </a:lnTo>
                            <a:lnTo>
                              <a:pt x="628" y="251"/>
                            </a:lnTo>
                            <a:lnTo>
                              <a:pt x="502" y="628"/>
                            </a:lnTo>
                            <a:lnTo>
                              <a:pt x="126"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05" name="Freeform: Shape 2804">
                        <a:extLst>
                          <a:ext uri="{FF2B5EF4-FFF2-40B4-BE49-F238E27FC236}">
                            <a16:creationId xmlns:a16="http://schemas.microsoft.com/office/drawing/2014/main" id="{8C2E21C8-4080-4549-899F-4552352EBC1F}"/>
                          </a:ext>
                        </a:extLst>
                      </p:cNvPr>
                      <p:cNvSpPr/>
                      <p:nvPr/>
                    </p:nvSpPr>
                    <p:spPr>
                      <a:xfrm>
                        <a:off x="5312412" y="3914137"/>
                        <a:ext cx="628" cy="879"/>
                      </a:xfrm>
                      <a:custGeom>
                        <a:avLst/>
                        <a:gdLst>
                          <a:gd name="connsiteX0" fmla="*/ 0 w 628"/>
                          <a:gd name="connsiteY0" fmla="*/ 628 h 879"/>
                          <a:gd name="connsiteX1" fmla="*/ 126 w 628"/>
                          <a:gd name="connsiteY1" fmla="*/ 126 h 879"/>
                          <a:gd name="connsiteX2" fmla="*/ 377 w 628"/>
                          <a:gd name="connsiteY2" fmla="*/ 0 h 879"/>
                          <a:gd name="connsiteX3" fmla="*/ 628 w 628"/>
                          <a:gd name="connsiteY3" fmla="*/ 251 h 879"/>
                          <a:gd name="connsiteX4" fmla="*/ 377 w 628"/>
                          <a:gd name="connsiteY4" fmla="*/ 628 h 879"/>
                          <a:gd name="connsiteX5" fmla="*/ 126 w 628"/>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0" y="628"/>
                            </a:moveTo>
                            <a:lnTo>
                              <a:pt x="126" y="126"/>
                            </a:lnTo>
                            <a:lnTo>
                              <a:pt x="377" y="0"/>
                            </a:lnTo>
                            <a:lnTo>
                              <a:pt x="628" y="251"/>
                            </a:lnTo>
                            <a:lnTo>
                              <a:pt x="377" y="628"/>
                            </a:lnTo>
                            <a:lnTo>
                              <a:pt x="126"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06" name="Graphic 4">
                      <a:extLst>
                        <a:ext uri="{FF2B5EF4-FFF2-40B4-BE49-F238E27FC236}">
                          <a16:creationId xmlns:a16="http://schemas.microsoft.com/office/drawing/2014/main" id="{84FB7ED1-A2DF-40A1-A747-5F7CF3F14040}"/>
                        </a:ext>
                      </a:extLst>
                    </p:cNvPr>
                    <p:cNvGrpSpPr/>
                    <p:nvPr/>
                  </p:nvGrpSpPr>
                  <p:grpSpPr>
                    <a:xfrm>
                      <a:off x="5311784" y="3913760"/>
                      <a:ext cx="627" cy="753"/>
                      <a:chOff x="5311784" y="3913760"/>
                      <a:chExt cx="627" cy="753"/>
                    </a:xfrm>
                    <a:solidFill>
                      <a:srgbClr val="B1B6BE"/>
                    </a:solidFill>
                  </p:grpSpPr>
                  <p:sp>
                    <p:nvSpPr>
                      <p:cNvPr id="2807" name="Freeform: Shape 2806">
                        <a:extLst>
                          <a:ext uri="{FF2B5EF4-FFF2-40B4-BE49-F238E27FC236}">
                            <a16:creationId xmlns:a16="http://schemas.microsoft.com/office/drawing/2014/main" id="{0845C3AA-311F-4EEB-8CF6-0F42CD1ADDA4}"/>
                          </a:ext>
                        </a:extLst>
                      </p:cNvPr>
                      <p:cNvSpPr/>
                      <p:nvPr/>
                    </p:nvSpPr>
                    <p:spPr>
                      <a:xfrm>
                        <a:off x="5311784" y="3913760"/>
                        <a:ext cx="627" cy="753"/>
                      </a:xfrm>
                      <a:custGeom>
                        <a:avLst/>
                        <a:gdLst>
                          <a:gd name="connsiteX0" fmla="*/ 0 w 627"/>
                          <a:gd name="connsiteY0" fmla="*/ 754 h 753"/>
                          <a:gd name="connsiteX1" fmla="*/ 0 w 627"/>
                          <a:gd name="connsiteY1" fmla="*/ 377 h 753"/>
                          <a:gd name="connsiteX2" fmla="*/ 251 w 627"/>
                          <a:gd name="connsiteY2" fmla="*/ 0 h 753"/>
                          <a:gd name="connsiteX3" fmla="*/ 628 w 627"/>
                          <a:gd name="connsiteY3" fmla="*/ 0 h 753"/>
                          <a:gd name="connsiteX4" fmla="*/ 628 w 627"/>
                          <a:gd name="connsiteY4" fmla="*/ 377 h 753"/>
                          <a:gd name="connsiteX5" fmla="*/ 251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754"/>
                            </a:moveTo>
                            <a:lnTo>
                              <a:pt x="0" y="377"/>
                            </a:lnTo>
                            <a:lnTo>
                              <a:pt x="251" y="0"/>
                            </a:lnTo>
                            <a:lnTo>
                              <a:pt x="628" y="0"/>
                            </a:lnTo>
                            <a:lnTo>
                              <a:pt x="628"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08" name="Freeform: Shape 2807">
                        <a:extLst>
                          <a:ext uri="{FF2B5EF4-FFF2-40B4-BE49-F238E27FC236}">
                            <a16:creationId xmlns:a16="http://schemas.microsoft.com/office/drawing/2014/main" id="{E9C49F5B-F30B-439E-ADEC-12AEBA2A5143}"/>
                          </a:ext>
                        </a:extLst>
                      </p:cNvPr>
                      <p:cNvSpPr/>
                      <p:nvPr/>
                    </p:nvSpPr>
                    <p:spPr>
                      <a:xfrm>
                        <a:off x="5311784" y="3913760"/>
                        <a:ext cx="502" cy="753"/>
                      </a:xfrm>
                      <a:custGeom>
                        <a:avLst/>
                        <a:gdLst>
                          <a:gd name="connsiteX0" fmla="*/ 0 w 502"/>
                          <a:gd name="connsiteY0" fmla="*/ 754 h 753"/>
                          <a:gd name="connsiteX1" fmla="*/ 0 w 502"/>
                          <a:gd name="connsiteY1" fmla="*/ 377 h 753"/>
                          <a:gd name="connsiteX2" fmla="*/ 251 w 502"/>
                          <a:gd name="connsiteY2" fmla="*/ 0 h 753"/>
                          <a:gd name="connsiteX3" fmla="*/ 502 w 502"/>
                          <a:gd name="connsiteY3" fmla="*/ 126 h 753"/>
                          <a:gd name="connsiteX4" fmla="*/ 502 w 502"/>
                          <a:gd name="connsiteY4" fmla="*/ 502 h 753"/>
                          <a:gd name="connsiteX5" fmla="*/ 251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754"/>
                            </a:moveTo>
                            <a:lnTo>
                              <a:pt x="0" y="377"/>
                            </a:lnTo>
                            <a:lnTo>
                              <a:pt x="251" y="0"/>
                            </a:lnTo>
                            <a:lnTo>
                              <a:pt x="502" y="126"/>
                            </a:lnTo>
                            <a:lnTo>
                              <a:pt x="502" y="502"/>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2809" name="Graphic 4">
                <a:extLst>
                  <a:ext uri="{FF2B5EF4-FFF2-40B4-BE49-F238E27FC236}">
                    <a16:creationId xmlns:a16="http://schemas.microsoft.com/office/drawing/2014/main" id="{84FB7ED1-A2DF-40A1-A747-5F7CF3F14040}"/>
                  </a:ext>
                </a:extLst>
              </p:cNvPr>
              <p:cNvGrpSpPr/>
              <p:nvPr/>
            </p:nvGrpSpPr>
            <p:grpSpPr>
              <a:xfrm>
                <a:off x="5413767" y="3843397"/>
                <a:ext cx="14192" cy="17642"/>
                <a:chOff x="5413767" y="3843397"/>
                <a:chExt cx="14192" cy="17642"/>
              </a:xfrm>
              <a:solidFill>
                <a:schemeClr val="accent1"/>
              </a:solidFill>
            </p:grpSpPr>
            <p:sp>
              <p:nvSpPr>
                <p:cNvPr id="2810" name="Freeform: Shape 2809">
                  <a:extLst>
                    <a:ext uri="{FF2B5EF4-FFF2-40B4-BE49-F238E27FC236}">
                      <a16:creationId xmlns:a16="http://schemas.microsoft.com/office/drawing/2014/main" id="{F0C7C590-BACF-4E65-BA57-459EA08B4CE5}"/>
                    </a:ext>
                  </a:extLst>
                </p:cNvPr>
                <p:cNvSpPr/>
                <p:nvPr/>
              </p:nvSpPr>
              <p:spPr>
                <a:xfrm>
                  <a:off x="5413767" y="3843397"/>
                  <a:ext cx="13564" cy="17364"/>
                </a:xfrm>
                <a:custGeom>
                  <a:avLst/>
                  <a:gdLst>
                    <a:gd name="connsiteX0" fmla="*/ 9922 w 13564"/>
                    <a:gd name="connsiteY0" fmla="*/ 13594 h 17364"/>
                    <a:gd name="connsiteX1" fmla="*/ 10173 w 13564"/>
                    <a:gd name="connsiteY1" fmla="*/ 13343 h 17364"/>
                    <a:gd name="connsiteX2" fmla="*/ 10299 w 13564"/>
                    <a:gd name="connsiteY2" fmla="*/ 13217 h 17364"/>
                    <a:gd name="connsiteX3" fmla="*/ 10424 w 13564"/>
                    <a:gd name="connsiteY3" fmla="*/ 12966 h 17364"/>
                    <a:gd name="connsiteX4" fmla="*/ 10550 w 13564"/>
                    <a:gd name="connsiteY4" fmla="*/ 12841 h 17364"/>
                    <a:gd name="connsiteX5" fmla="*/ 10676 w 13564"/>
                    <a:gd name="connsiteY5" fmla="*/ 12715 h 17364"/>
                    <a:gd name="connsiteX6" fmla="*/ 13564 w 13564"/>
                    <a:gd name="connsiteY6" fmla="*/ 4802 h 17364"/>
                    <a:gd name="connsiteX7" fmla="*/ 6782 w 13564"/>
                    <a:gd name="connsiteY7" fmla="*/ 909 h 17364"/>
                    <a:gd name="connsiteX8" fmla="*/ 0 w 13564"/>
                    <a:gd name="connsiteY8" fmla="*/ 12589 h 17364"/>
                    <a:gd name="connsiteX9" fmla="*/ 1633 w 13564"/>
                    <a:gd name="connsiteY9" fmla="*/ 16734 h 17364"/>
                    <a:gd name="connsiteX10" fmla="*/ 1633 w 13564"/>
                    <a:gd name="connsiteY10" fmla="*/ 16734 h 17364"/>
                    <a:gd name="connsiteX11" fmla="*/ 6782 w 13564"/>
                    <a:gd name="connsiteY11" fmla="*/ 16483 h 17364"/>
                    <a:gd name="connsiteX12" fmla="*/ 9922 w 13564"/>
                    <a:gd name="connsiteY12" fmla="*/ 13594 h 17364"/>
                    <a:gd name="connsiteX13" fmla="*/ 9922 w 13564"/>
                    <a:gd name="connsiteY13" fmla="*/ 13594 h 1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64" h="17364">
                      <a:moveTo>
                        <a:pt x="9922" y="13594"/>
                      </a:moveTo>
                      <a:cubicBezTo>
                        <a:pt x="10047" y="13469"/>
                        <a:pt x="10047" y="13469"/>
                        <a:pt x="10173" y="13343"/>
                      </a:cubicBezTo>
                      <a:cubicBezTo>
                        <a:pt x="10173" y="13343"/>
                        <a:pt x="10299" y="13217"/>
                        <a:pt x="10299" y="13217"/>
                      </a:cubicBezTo>
                      <a:cubicBezTo>
                        <a:pt x="10299" y="13092"/>
                        <a:pt x="10424" y="13092"/>
                        <a:pt x="10424" y="12966"/>
                      </a:cubicBezTo>
                      <a:cubicBezTo>
                        <a:pt x="10424" y="12966"/>
                        <a:pt x="10550" y="12841"/>
                        <a:pt x="10550" y="12841"/>
                      </a:cubicBezTo>
                      <a:cubicBezTo>
                        <a:pt x="10550" y="12841"/>
                        <a:pt x="10550" y="12715"/>
                        <a:pt x="10676" y="12715"/>
                      </a:cubicBezTo>
                      <a:cubicBezTo>
                        <a:pt x="12434" y="10329"/>
                        <a:pt x="13564" y="7314"/>
                        <a:pt x="13564" y="4802"/>
                      </a:cubicBezTo>
                      <a:cubicBezTo>
                        <a:pt x="13564" y="532"/>
                        <a:pt x="10550" y="-1226"/>
                        <a:pt x="6782" y="909"/>
                      </a:cubicBezTo>
                      <a:cubicBezTo>
                        <a:pt x="3014" y="3044"/>
                        <a:pt x="0" y="8319"/>
                        <a:pt x="0" y="12589"/>
                      </a:cubicBezTo>
                      <a:cubicBezTo>
                        <a:pt x="0" y="14473"/>
                        <a:pt x="628" y="15980"/>
                        <a:pt x="1633" y="16734"/>
                      </a:cubicBezTo>
                      <a:lnTo>
                        <a:pt x="1633" y="16734"/>
                      </a:lnTo>
                      <a:cubicBezTo>
                        <a:pt x="2889" y="17613"/>
                        <a:pt x="4647" y="17613"/>
                        <a:pt x="6782" y="16483"/>
                      </a:cubicBezTo>
                      <a:cubicBezTo>
                        <a:pt x="7787" y="15729"/>
                        <a:pt x="8917" y="14850"/>
                        <a:pt x="9922" y="13594"/>
                      </a:cubicBezTo>
                      <a:cubicBezTo>
                        <a:pt x="9922" y="13594"/>
                        <a:pt x="9922" y="13594"/>
                        <a:pt x="9922" y="13594"/>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11" name="Graphic 4">
                  <a:extLst>
                    <a:ext uri="{FF2B5EF4-FFF2-40B4-BE49-F238E27FC236}">
                      <a16:creationId xmlns:a16="http://schemas.microsoft.com/office/drawing/2014/main" id="{84FB7ED1-A2DF-40A1-A747-5F7CF3F14040}"/>
                    </a:ext>
                  </a:extLst>
                </p:cNvPr>
                <p:cNvGrpSpPr/>
                <p:nvPr/>
              </p:nvGrpSpPr>
              <p:grpSpPr>
                <a:xfrm>
                  <a:off x="5414395" y="3843648"/>
                  <a:ext cx="13564" cy="17391"/>
                  <a:chOff x="5414395" y="3843648"/>
                  <a:chExt cx="13564" cy="17391"/>
                </a:xfrm>
                <a:solidFill>
                  <a:schemeClr val="accent1"/>
                </a:solidFill>
              </p:grpSpPr>
              <p:sp>
                <p:nvSpPr>
                  <p:cNvPr id="2812" name="Freeform: Shape 2811">
                    <a:extLst>
                      <a:ext uri="{FF2B5EF4-FFF2-40B4-BE49-F238E27FC236}">
                        <a16:creationId xmlns:a16="http://schemas.microsoft.com/office/drawing/2014/main" id="{B55B72D8-3D0A-46C6-9F75-F353015E2CE4}"/>
                      </a:ext>
                    </a:extLst>
                  </p:cNvPr>
                  <p:cNvSpPr/>
                  <p:nvPr/>
                </p:nvSpPr>
                <p:spPr>
                  <a:xfrm>
                    <a:off x="5414395" y="3843648"/>
                    <a:ext cx="13564" cy="17391"/>
                  </a:xfrm>
                  <a:custGeom>
                    <a:avLst/>
                    <a:gdLst>
                      <a:gd name="connsiteX0" fmla="*/ 13564 w 13564"/>
                      <a:gd name="connsiteY0" fmla="*/ 4802 h 17391"/>
                      <a:gd name="connsiteX1" fmla="*/ 6782 w 13564"/>
                      <a:gd name="connsiteY1" fmla="*/ 16483 h 17391"/>
                      <a:gd name="connsiteX2" fmla="*/ 0 w 13564"/>
                      <a:gd name="connsiteY2" fmla="*/ 12589 h 17391"/>
                      <a:gd name="connsiteX3" fmla="*/ 6782 w 13564"/>
                      <a:gd name="connsiteY3" fmla="*/ 909 h 17391"/>
                      <a:gd name="connsiteX4" fmla="*/ 13564 w 13564"/>
                      <a:gd name="connsiteY4" fmla="*/ 4802 h 1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17391">
                        <a:moveTo>
                          <a:pt x="13564" y="4802"/>
                        </a:moveTo>
                        <a:cubicBezTo>
                          <a:pt x="13564" y="9073"/>
                          <a:pt x="10550" y="14222"/>
                          <a:pt x="6782" y="16483"/>
                        </a:cubicBezTo>
                        <a:cubicBezTo>
                          <a:pt x="3015" y="18618"/>
                          <a:pt x="0" y="16860"/>
                          <a:pt x="0" y="12589"/>
                        </a:cubicBezTo>
                        <a:cubicBezTo>
                          <a:pt x="0" y="8319"/>
                          <a:pt x="3015" y="3170"/>
                          <a:pt x="6782" y="909"/>
                        </a:cubicBezTo>
                        <a:cubicBezTo>
                          <a:pt x="10550" y="-1226"/>
                          <a:pt x="13564" y="532"/>
                          <a:pt x="13564" y="4802"/>
                        </a:cubicBez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13" name="Graphic 4">
                    <a:extLst>
                      <a:ext uri="{FF2B5EF4-FFF2-40B4-BE49-F238E27FC236}">
                        <a16:creationId xmlns:a16="http://schemas.microsoft.com/office/drawing/2014/main" id="{84FB7ED1-A2DF-40A1-A747-5F7CF3F14040}"/>
                      </a:ext>
                    </a:extLst>
                  </p:cNvPr>
                  <p:cNvGrpSpPr/>
                  <p:nvPr/>
                </p:nvGrpSpPr>
                <p:grpSpPr>
                  <a:xfrm>
                    <a:off x="5416153" y="3844306"/>
                    <a:ext cx="11680" cy="16581"/>
                    <a:chOff x="5416153" y="3844306"/>
                    <a:chExt cx="11680" cy="16581"/>
                  </a:xfrm>
                  <a:solidFill>
                    <a:srgbClr val="3C3D32"/>
                  </a:solidFill>
                </p:grpSpPr>
                <p:sp>
                  <p:nvSpPr>
                    <p:cNvPr id="2814" name="Freeform: Shape 2813">
                      <a:extLst>
                        <a:ext uri="{FF2B5EF4-FFF2-40B4-BE49-F238E27FC236}">
                          <a16:creationId xmlns:a16="http://schemas.microsoft.com/office/drawing/2014/main" id="{665DD0D7-AF5C-4B17-BD60-EDBC3A81F2F6}"/>
                        </a:ext>
                      </a:extLst>
                    </p:cNvPr>
                    <p:cNvSpPr/>
                    <p:nvPr/>
                  </p:nvSpPr>
                  <p:spPr>
                    <a:xfrm>
                      <a:off x="5422684" y="3844306"/>
                      <a:ext cx="5149" cy="7284"/>
                    </a:xfrm>
                    <a:custGeom>
                      <a:avLst/>
                      <a:gdLst>
                        <a:gd name="connsiteX0" fmla="*/ 377 w 5149"/>
                        <a:gd name="connsiteY0" fmla="*/ 7284 h 7284"/>
                        <a:gd name="connsiteX1" fmla="*/ 5149 w 5149"/>
                        <a:gd name="connsiteY1" fmla="*/ 3642 h 7284"/>
                        <a:gd name="connsiteX2" fmla="*/ 3517 w 5149"/>
                        <a:gd name="connsiteY2" fmla="*/ 0 h 7284"/>
                        <a:gd name="connsiteX3" fmla="*/ 0 w 5149"/>
                        <a:gd name="connsiteY3" fmla="*/ 5400 h 7284"/>
                        <a:gd name="connsiteX4" fmla="*/ 377 w 5149"/>
                        <a:gd name="connsiteY4" fmla="*/ 7284 h 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 h="7284">
                          <a:moveTo>
                            <a:pt x="377" y="7284"/>
                          </a:moveTo>
                          <a:lnTo>
                            <a:pt x="5149" y="3642"/>
                          </a:lnTo>
                          <a:cubicBezTo>
                            <a:pt x="5024" y="2009"/>
                            <a:pt x="4522" y="754"/>
                            <a:pt x="3517" y="0"/>
                          </a:cubicBezTo>
                          <a:lnTo>
                            <a:pt x="0" y="5400"/>
                          </a:lnTo>
                          <a:lnTo>
                            <a:pt x="377" y="7284"/>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15" name="Freeform: Shape 2814">
                      <a:extLst>
                        <a:ext uri="{FF2B5EF4-FFF2-40B4-BE49-F238E27FC236}">
                          <a16:creationId xmlns:a16="http://schemas.microsoft.com/office/drawing/2014/main" id="{6A59DD69-C682-4D3F-9A80-F2C99682259B}"/>
                        </a:ext>
                      </a:extLst>
                    </p:cNvPr>
                    <p:cNvSpPr/>
                    <p:nvPr/>
                  </p:nvSpPr>
                  <p:spPr>
                    <a:xfrm>
                      <a:off x="5416153" y="3854228"/>
                      <a:ext cx="9042" cy="6659"/>
                    </a:xfrm>
                    <a:custGeom>
                      <a:avLst/>
                      <a:gdLst>
                        <a:gd name="connsiteX0" fmla="*/ 2512 w 9042"/>
                        <a:gd name="connsiteY0" fmla="*/ 2135 h 6659"/>
                        <a:gd name="connsiteX1" fmla="*/ 0 w 9042"/>
                        <a:gd name="connsiteY1" fmla="*/ 6028 h 6659"/>
                        <a:gd name="connsiteX2" fmla="*/ 5024 w 9042"/>
                        <a:gd name="connsiteY2" fmla="*/ 5777 h 6659"/>
                        <a:gd name="connsiteX3" fmla="*/ 9043 w 9042"/>
                        <a:gd name="connsiteY3" fmla="*/ 1884 h 6659"/>
                        <a:gd name="connsiteX4" fmla="*/ 6405 w 9042"/>
                        <a:gd name="connsiteY4" fmla="*/ 0 h 6659"/>
                        <a:gd name="connsiteX5" fmla="*/ 2512 w 9042"/>
                        <a:gd name="connsiteY5" fmla="*/ 2135 h 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42" h="6659">
                          <a:moveTo>
                            <a:pt x="2512" y="2135"/>
                          </a:moveTo>
                          <a:lnTo>
                            <a:pt x="0" y="6028"/>
                          </a:lnTo>
                          <a:cubicBezTo>
                            <a:pt x="1256" y="6908"/>
                            <a:pt x="3014" y="6908"/>
                            <a:pt x="5024" y="5777"/>
                          </a:cubicBezTo>
                          <a:cubicBezTo>
                            <a:pt x="6531" y="4898"/>
                            <a:pt x="7913" y="3517"/>
                            <a:pt x="9043" y="1884"/>
                          </a:cubicBezTo>
                          <a:lnTo>
                            <a:pt x="6405" y="0"/>
                          </a:lnTo>
                          <a:lnTo>
                            <a:pt x="2512" y="213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816" name="Freeform: Shape 2815">
                    <a:extLst>
                      <a:ext uri="{FF2B5EF4-FFF2-40B4-BE49-F238E27FC236}">
                        <a16:creationId xmlns:a16="http://schemas.microsoft.com/office/drawing/2014/main" id="{970C48D2-2C13-49E1-AD2E-CCDAB47EB0EC}"/>
                      </a:ext>
                    </a:extLst>
                  </p:cNvPr>
                  <p:cNvSpPr/>
                  <p:nvPr/>
                </p:nvSpPr>
                <p:spPr>
                  <a:xfrm>
                    <a:off x="5415902" y="3845302"/>
                    <a:ext cx="10800" cy="14083"/>
                  </a:xfrm>
                  <a:custGeom>
                    <a:avLst/>
                    <a:gdLst>
                      <a:gd name="connsiteX0" fmla="*/ 10801 w 10800"/>
                      <a:gd name="connsiteY0" fmla="*/ 3902 h 14083"/>
                      <a:gd name="connsiteX1" fmla="*/ 5400 w 10800"/>
                      <a:gd name="connsiteY1" fmla="*/ 13322 h 14083"/>
                      <a:gd name="connsiteX2" fmla="*/ 0 w 10800"/>
                      <a:gd name="connsiteY2" fmla="*/ 10182 h 14083"/>
                      <a:gd name="connsiteX3" fmla="*/ 5400 w 10800"/>
                      <a:gd name="connsiteY3" fmla="*/ 762 h 14083"/>
                      <a:gd name="connsiteX4" fmla="*/ 10801 w 10800"/>
                      <a:gd name="connsiteY4" fmla="*/ 3902 h 14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 h="14083">
                        <a:moveTo>
                          <a:pt x="10801" y="3902"/>
                        </a:moveTo>
                        <a:cubicBezTo>
                          <a:pt x="10801" y="7293"/>
                          <a:pt x="8415" y="11563"/>
                          <a:pt x="5400" y="13322"/>
                        </a:cubicBezTo>
                        <a:cubicBezTo>
                          <a:pt x="2386" y="15080"/>
                          <a:pt x="0" y="13698"/>
                          <a:pt x="0" y="10182"/>
                        </a:cubicBezTo>
                        <a:cubicBezTo>
                          <a:pt x="0" y="6791"/>
                          <a:pt x="2386" y="2521"/>
                          <a:pt x="5400" y="762"/>
                        </a:cubicBezTo>
                        <a:cubicBezTo>
                          <a:pt x="8289" y="-996"/>
                          <a:pt x="10801" y="385"/>
                          <a:pt x="10801" y="3902"/>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17" name="Freeform: Shape 2816">
                    <a:extLst>
                      <a:ext uri="{FF2B5EF4-FFF2-40B4-BE49-F238E27FC236}">
                        <a16:creationId xmlns:a16="http://schemas.microsoft.com/office/drawing/2014/main" id="{1BB48B44-2BD5-491E-B122-33A09D934250}"/>
                      </a:ext>
                    </a:extLst>
                  </p:cNvPr>
                  <p:cNvSpPr/>
                  <p:nvPr/>
                </p:nvSpPr>
                <p:spPr>
                  <a:xfrm>
                    <a:off x="5416656" y="3846302"/>
                    <a:ext cx="9293" cy="11958"/>
                  </a:xfrm>
                  <a:custGeom>
                    <a:avLst/>
                    <a:gdLst>
                      <a:gd name="connsiteX0" fmla="*/ 9294 w 9293"/>
                      <a:gd name="connsiteY0" fmla="*/ 3279 h 11958"/>
                      <a:gd name="connsiteX1" fmla="*/ 4647 w 9293"/>
                      <a:gd name="connsiteY1" fmla="*/ 11317 h 11958"/>
                      <a:gd name="connsiteX2" fmla="*/ 0 w 9293"/>
                      <a:gd name="connsiteY2" fmla="*/ 8680 h 11958"/>
                      <a:gd name="connsiteX3" fmla="*/ 4647 w 9293"/>
                      <a:gd name="connsiteY3" fmla="*/ 642 h 11958"/>
                      <a:gd name="connsiteX4" fmla="*/ 9294 w 9293"/>
                      <a:gd name="connsiteY4" fmla="*/ 3279 h 1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3" h="11958">
                        <a:moveTo>
                          <a:pt x="9294" y="3279"/>
                        </a:moveTo>
                        <a:cubicBezTo>
                          <a:pt x="9294" y="6293"/>
                          <a:pt x="7159" y="9810"/>
                          <a:pt x="4647" y="11317"/>
                        </a:cubicBezTo>
                        <a:cubicBezTo>
                          <a:pt x="2009" y="12824"/>
                          <a:pt x="0" y="11568"/>
                          <a:pt x="0" y="8680"/>
                        </a:cubicBezTo>
                        <a:cubicBezTo>
                          <a:pt x="0" y="5665"/>
                          <a:pt x="2135" y="2149"/>
                          <a:pt x="4647" y="642"/>
                        </a:cubicBezTo>
                        <a:cubicBezTo>
                          <a:pt x="7159" y="-865"/>
                          <a:pt x="9294" y="390"/>
                          <a:pt x="9294" y="3279"/>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18" name="Freeform: Shape 2817">
                    <a:extLst>
                      <a:ext uri="{FF2B5EF4-FFF2-40B4-BE49-F238E27FC236}">
                        <a16:creationId xmlns:a16="http://schemas.microsoft.com/office/drawing/2014/main" id="{A4E0CAEA-B6F9-433C-9E03-5562F88966F3}"/>
                      </a:ext>
                    </a:extLst>
                  </p:cNvPr>
                  <p:cNvSpPr/>
                  <p:nvPr/>
                </p:nvSpPr>
                <p:spPr>
                  <a:xfrm>
                    <a:off x="5417284" y="3846316"/>
                    <a:ext cx="8552" cy="11997"/>
                  </a:xfrm>
                  <a:custGeom>
                    <a:avLst/>
                    <a:gdLst>
                      <a:gd name="connsiteX0" fmla="*/ 6531 w 8552"/>
                      <a:gd name="connsiteY0" fmla="*/ 0 h 11997"/>
                      <a:gd name="connsiteX1" fmla="*/ 7284 w 8552"/>
                      <a:gd name="connsiteY1" fmla="*/ 2512 h 11997"/>
                      <a:gd name="connsiteX2" fmla="*/ 2637 w 8552"/>
                      <a:gd name="connsiteY2" fmla="*/ 10550 h 11997"/>
                      <a:gd name="connsiteX3" fmla="*/ 0 w 8552"/>
                      <a:gd name="connsiteY3" fmla="*/ 11178 h 11997"/>
                      <a:gd name="connsiteX4" fmla="*/ 3893 w 8552"/>
                      <a:gd name="connsiteY4" fmla="*/ 11304 h 11997"/>
                      <a:gd name="connsiteX5" fmla="*/ 8540 w 8552"/>
                      <a:gd name="connsiteY5" fmla="*/ 3266 h 11997"/>
                      <a:gd name="connsiteX6" fmla="*/ 6531 w 8552"/>
                      <a:gd name="connsiteY6" fmla="*/ 0 h 1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2" h="11997">
                        <a:moveTo>
                          <a:pt x="6531" y="0"/>
                        </a:moveTo>
                        <a:cubicBezTo>
                          <a:pt x="7033" y="502"/>
                          <a:pt x="7284" y="1382"/>
                          <a:pt x="7284" y="2512"/>
                        </a:cubicBezTo>
                        <a:cubicBezTo>
                          <a:pt x="7284" y="5526"/>
                          <a:pt x="5149" y="9043"/>
                          <a:pt x="2637" y="10550"/>
                        </a:cubicBezTo>
                        <a:cubicBezTo>
                          <a:pt x="1633" y="11052"/>
                          <a:pt x="754" y="11304"/>
                          <a:pt x="0" y="11178"/>
                        </a:cubicBezTo>
                        <a:cubicBezTo>
                          <a:pt x="879" y="12183"/>
                          <a:pt x="2261" y="12308"/>
                          <a:pt x="3893" y="11304"/>
                        </a:cubicBezTo>
                        <a:cubicBezTo>
                          <a:pt x="6531" y="9796"/>
                          <a:pt x="8540" y="6154"/>
                          <a:pt x="8540" y="3266"/>
                        </a:cubicBezTo>
                        <a:cubicBezTo>
                          <a:pt x="8666" y="1382"/>
                          <a:pt x="7787" y="251"/>
                          <a:pt x="6531" y="0"/>
                        </a:cubicBezTo>
                        <a:close/>
                      </a:path>
                    </a:pathLst>
                  </a:custGeom>
                  <a:solidFill>
                    <a:srgbClr val="B1B6BE">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19" name="Graphic 4">
                    <a:extLst>
                      <a:ext uri="{FF2B5EF4-FFF2-40B4-BE49-F238E27FC236}">
                        <a16:creationId xmlns:a16="http://schemas.microsoft.com/office/drawing/2014/main" id="{84FB7ED1-A2DF-40A1-A747-5F7CF3F14040}"/>
                      </a:ext>
                    </a:extLst>
                  </p:cNvPr>
                  <p:cNvGrpSpPr/>
                  <p:nvPr/>
                </p:nvGrpSpPr>
                <p:grpSpPr>
                  <a:xfrm>
                    <a:off x="5417410" y="3847320"/>
                    <a:ext cx="7786" cy="10047"/>
                    <a:chOff x="5417410" y="3847320"/>
                    <a:chExt cx="7786" cy="10047"/>
                  </a:xfrm>
                  <a:solidFill>
                    <a:srgbClr val="63656A"/>
                  </a:solidFill>
                </p:grpSpPr>
                <p:grpSp>
                  <p:nvGrpSpPr>
                    <p:cNvPr id="2820" name="Graphic 4">
                      <a:extLst>
                        <a:ext uri="{FF2B5EF4-FFF2-40B4-BE49-F238E27FC236}">
                          <a16:creationId xmlns:a16="http://schemas.microsoft.com/office/drawing/2014/main" id="{84FB7ED1-A2DF-40A1-A747-5F7CF3F14040}"/>
                        </a:ext>
                      </a:extLst>
                    </p:cNvPr>
                    <p:cNvGrpSpPr/>
                    <p:nvPr/>
                  </p:nvGrpSpPr>
                  <p:grpSpPr>
                    <a:xfrm>
                      <a:off x="5420675" y="3847572"/>
                      <a:ext cx="1381" cy="1758"/>
                      <a:chOff x="5420675" y="3847572"/>
                      <a:chExt cx="1381" cy="1758"/>
                    </a:xfrm>
                    <a:solidFill>
                      <a:srgbClr val="63656A"/>
                    </a:solidFill>
                  </p:grpSpPr>
                  <p:sp>
                    <p:nvSpPr>
                      <p:cNvPr id="2821" name="Freeform: Shape 2820">
                        <a:extLst>
                          <a:ext uri="{FF2B5EF4-FFF2-40B4-BE49-F238E27FC236}">
                            <a16:creationId xmlns:a16="http://schemas.microsoft.com/office/drawing/2014/main" id="{BE948F56-62DB-4F3F-BEC0-D70A9C91E8AB}"/>
                          </a:ext>
                        </a:extLst>
                      </p:cNvPr>
                      <p:cNvSpPr/>
                      <p:nvPr/>
                    </p:nvSpPr>
                    <p:spPr>
                      <a:xfrm>
                        <a:off x="5420675" y="3847572"/>
                        <a:ext cx="1381" cy="1758"/>
                      </a:xfrm>
                      <a:custGeom>
                        <a:avLst/>
                        <a:gdLst>
                          <a:gd name="connsiteX0" fmla="*/ 377 w 1381"/>
                          <a:gd name="connsiteY0" fmla="*/ 1758 h 1758"/>
                          <a:gd name="connsiteX1" fmla="*/ 0 w 1381"/>
                          <a:gd name="connsiteY1" fmla="*/ 1256 h 1758"/>
                          <a:gd name="connsiteX2" fmla="*/ 377 w 1381"/>
                          <a:gd name="connsiteY2" fmla="*/ 377 h 1758"/>
                          <a:gd name="connsiteX3" fmla="*/ 1005 w 1381"/>
                          <a:gd name="connsiteY3" fmla="*/ 0 h 1758"/>
                          <a:gd name="connsiteX4" fmla="*/ 1382 w 1381"/>
                          <a:gd name="connsiteY4" fmla="*/ 502 h 1758"/>
                          <a:gd name="connsiteX5" fmla="*/ 1005 w 1381"/>
                          <a:gd name="connsiteY5" fmla="*/ 138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1758"/>
                            </a:moveTo>
                            <a:lnTo>
                              <a:pt x="0" y="1256"/>
                            </a:lnTo>
                            <a:lnTo>
                              <a:pt x="377" y="377"/>
                            </a:lnTo>
                            <a:lnTo>
                              <a:pt x="1005" y="0"/>
                            </a:lnTo>
                            <a:lnTo>
                              <a:pt x="1382" y="502"/>
                            </a:lnTo>
                            <a:lnTo>
                              <a:pt x="1005"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22" name="Freeform: Shape 2821">
                        <a:extLst>
                          <a:ext uri="{FF2B5EF4-FFF2-40B4-BE49-F238E27FC236}">
                            <a16:creationId xmlns:a16="http://schemas.microsoft.com/office/drawing/2014/main" id="{B908359E-4187-4D4F-A77F-D96A1C9ABCE2}"/>
                          </a:ext>
                        </a:extLst>
                      </p:cNvPr>
                      <p:cNvSpPr/>
                      <p:nvPr/>
                    </p:nvSpPr>
                    <p:spPr>
                      <a:xfrm>
                        <a:off x="5420675" y="3847697"/>
                        <a:ext cx="1256" cy="1632"/>
                      </a:xfrm>
                      <a:custGeom>
                        <a:avLst/>
                        <a:gdLst>
                          <a:gd name="connsiteX0" fmla="*/ 251 w 1256"/>
                          <a:gd name="connsiteY0" fmla="*/ 1633 h 1632"/>
                          <a:gd name="connsiteX1" fmla="*/ 0 w 1256"/>
                          <a:gd name="connsiteY1" fmla="*/ 1256 h 1632"/>
                          <a:gd name="connsiteX2" fmla="*/ 251 w 1256"/>
                          <a:gd name="connsiteY2" fmla="*/ 377 h 1632"/>
                          <a:gd name="connsiteX3" fmla="*/ 879 w 1256"/>
                          <a:gd name="connsiteY3" fmla="*/ 0 h 1632"/>
                          <a:gd name="connsiteX4" fmla="*/ 1256 w 1256"/>
                          <a:gd name="connsiteY4" fmla="*/ 502 h 1632"/>
                          <a:gd name="connsiteX5" fmla="*/ 879 w 1256"/>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251" y="1633"/>
                            </a:moveTo>
                            <a:lnTo>
                              <a:pt x="0" y="1256"/>
                            </a:lnTo>
                            <a:lnTo>
                              <a:pt x="251" y="377"/>
                            </a:lnTo>
                            <a:lnTo>
                              <a:pt x="879" y="0"/>
                            </a:lnTo>
                            <a:lnTo>
                              <a:pt x="1256" y="502"/>
                            </a:lnTo>
                            <a:lnTo>
                              <a:pt x="879"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23" name="Graphic 4">
                      <a:extLst>
                        <a:ext uri="{FF2B5EF4-FFF2-40B4-BE49-F238E27FC236}">
                          <a16:creationId xmlns:a16="http://schemas.microsoft.com/office/drawing/2014/main" id="{84FB7ED1-A2DF-40A1-A747-5F7CF3F14040}"/>
                        </a:ext>
                      </a:extLst>
                    </p:cNvPr>
                    <p:cNvGrpSpPr/>
                    <p:nvPr/>
                  </p:nvGrpSpPr>
                  <p:grpSpPr>
                    <a:xfrm>
                      <a:off x="5419042" y="3849204"/>
                      <a:ext cx="1255" cy="1507"/>
                      <a:chOff x="5419042" y="3849204"/>
                      <a:chExt cx="1255" cy="1507"/>
                    </a:xfrm>
                    <a:solidFill>
                      <a:srgbClr val="63656A"/>
                    </a:solidFill>
                  </p:grpSpPr>
                  <p:sp>
                    <p:nvSpPr>
                      <p:cNvPr id="2824" name="Freeform: Shape 2823">
                        <a:extLst>
                          <a:ext uri="{FF2B5EF4-FFF2-40B4-BE49-F238E27FC236}">
                            <a16:creationId xmlns:a16="http://schemas.microsoft.com/office/drawing/2014/main" id="{9CF3440A-2E82-423B-A3C8-2288FC393F1B}"/>
                          </a:ext>
                        </a:extLst>
                      </p:cNvPr>
                      <p:cNvSpPr/>
                      <p:nvPr/>
                    </p:nvSpPr>
                    <p:spPr>
                      <a:xfrm>
                        <a:off x="5419042" y="3849204"/>
                        <a:ext cx="1255" cy="1507"/>
                      </a:xfrm>
                      <a:custGeom>
                        <a:avLst/>
                        <a:gdLst>
                          <a:gd name="connsiteX0" fmla="*/ 628 w 1255"/>
                          <a:gd name="connsiteY0" fmla="*/ 1507 h 1507"/>
                          <a:gd name="connsiteX1" fmla="*/ 0 w 1255"/>
                          <a:gd name="connsiteY1" fmla="*/ 1507 h 1507"/>
                          <a:gd name="connsiteX2" fmla="*/ 0 w 1255"/>
                          <a:gd name="connsiteY2" fmla="*/ 628 h 1507"/>
                          <a:gd name="connsiteX3" fmla="*/ 628 w 1255"/>
                          <a:gd name="connsiteY3" fmla="*/ 0 h 1507"/>
                          <a:gd name="connsiteX4" fmla="*/ 1256 w 1255"/>
                          <a:gd name="connsiteY4" fmla="*/ 0 h 1507"/>
                          <a:gd name="connsiteX5" fmla="*/ 1256 w 1255"/>
                          <a:gd name="connsiteY5" fmla="*/ 754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507">
                            <a:moveTo>
                              <a:pt x="628" y="1507"/>
                            </a:moveTo>
                            <a:lnTo>
                              <a:pt x="0" y="1507"/>
                            </a:lnTo>
                            <a:lnTo>
                              <a:pt x="0" y="628"/>
                            </a:lnTo>
                            <a:lnTo>
                              <a:pt x="628" y="0"/>
                            </a:lnTo>
                            <a:lnTo>
                              <a:pt x="1256" y="0"/>
                            </a:lnTo>
                            <a:lnTo>
                              <a:pt x="1256"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25" name="Freeform: Shape 2824">
                        <a:extLst>
                          <a:ext uri="{FF2B5EF4-FFF2-40B4-BE49-F238E27FC236}">
                            <a16:creationId xmlns:a16="http://schemas.microsoft.com/office/drawing/2014/main" id="{78F99614-CEE7-4826-822B-E70F8265F640}"/>
                          </a:ext>
                        </a:extLst>
                      </p:cNvPr>
                      <p:cNvSpPr/>
                      <p:nvPr/>
                    </p:nvSpPr>
                    <p:spPr>
                      <a:xfrm>
                        <a:off x="5419042" y="3849330"/>
                        <a:ext cx="1130" cy="1381"/>
                      </a:xfrm>
                      <a:custGeom>
                        <a:avLst/>
                        <a:gdLst>
                          <a:gd name="connsiteX0" fmla="*/ 628 w 1130"/>
                          <a:gd name="connsiteY0" fmla="*/ 1382 h 1381"/>
                          <a:gd name="connsiteX1" fmla="*/ 0 w 1130"/>
                          <a:gd name="connsiteY1" fmla="*/ 1382 h 1381"/>
                          <a:gd name="connsiteX2" fmla="*/ 0 w 1130"/>
                          <a:gd name="connsiteY2" fmla="*/ 628 h 1381"/>
                          <a:gd name="connsiteX3" fmla="*/ 628 w 1130"/>
                          <a:gd name="connsiteY3" fmla="*/ 0 h 1381"/>
                          <a:gd name="connsiteX4" fmla="*/ 1130 w 1130"/>
                          <a:gd name="connsiteY4" fmla="*/ 0 h 1381"/>
                          <a:gd name="connsiteX5" fmla="*/ 1130 w 1130"/>
                          <a:gd name="connsiteY5" fmla="*/ 754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628" y="1382"/>
                            </a:moveTo>
                            <a:lnTo>
                              <a:pt x="0" y="1382"/>
                            </a:lnTo>
                            <a:lnTo>
                              <a:pt x="0" y="628"/>
                            </a:lnTo>
                            <a:lnTo>
                              <a:pt x="628" y="0"/>
                            </a:lnTo>
                            <a:lnTo>
                              <a:pt x="1130" y="0"/>
                            </a:lnTo>
                            <a:lnTo>
                              <a:pt x="113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26" name="Graphic 4">
                      <a:extLst>
                        <a:ext uri="{FF2B5EF4-FFF2-40B4-BE49-F238E27FC236}">
                          <a16:creationId xmlns:a16="http://schemas.microsoft.com/office/drawing/2014/main" id="{84FB7ED1-A2DF-40A1-A747-5F7CF3F14040}"/>
                        </a:ext>
                      </a:extLst>
                    </p:cNvPr>
                    <p:cNvGrpSpPr/>
                    <p:nvPr/>
                  </p:nvGrpSpPr>
                  <p:grpSpPr>
                    <a:xfrm>
                      <a:off x="5417786" y="3851088"/>
                      <a:ext cx="1381" cy="1758"/>
                      <a:chOff x="5417786" y="3851088"/>
                      <a:chExt cx="1381" cy="1758"/>
                    </a:xfrm>
                    <a:solidFill>
                      <a:srgbClr val="63656A"/>
                    </a:solidFill>
                  </p:grpSpPr>
                  <p:sp>
                    <p:nvSpPr>
                      <p:cNvPr id="2827" name="Freeform: Shape 2826">
                        <a:extLst>
                          <a:ext uri="{FF2B5EF4-FFF2-40B4-BE49-F238E27FC236}">
                            <a16:creationId xmlns:a16="http://schemas.microsoft.com/office/drawing/2014/main" id="{A46EA34D-ECD2-4A9B-A42F-DCD6AA403989}"/>
                          </a:ext>
                        </a:extLst>
                      </p:cNvPr>
                      <p:cNvSpPr/>
                      <p:nvPr/>
                    </p:nvSpPr>
                    <p:spPr>
                      <a:xfrm>
                        <a:off x="5417786" y="3851088"/>
                        <a:ext cx="1381" cy="1758"/>
                      </a:xfrm>
                      <a:custGeom>
                        <a:avLst/>
                        <a:gdLst>
                          <a:gd name="connsiteX0" fmla="*/ 1005 w 1381"/>
                          <a:gd name="connsiteY0" fmla="*/ 1382 h 1758"/>
                          <a:gd name="connsiteX1" fmla="*/ 377 w 1381"/>
                          <a:gd name="connsiteY1" fmla="*/ 1758 h 1758"/>
                          <a:gd name="connsiteX2" fmla="*/ 0 w 1381"/>
                          <a:gd name="connsiteY2" fmla="*/ 1256 h 1758"/>
                          <a:gd name="connsiteX3" fmla="*/ 377 w 1381"/>
                          <a:gd name="connsiteY3" fmla="*/ 502 h 1758"/>
                          <a:gd name="connsiteX4" fmla="*/ 1005 w 1381"/>
                          <a:gd name="connsiteY4" fmla="*/ 0 h 1758"/>
                          <a:gd name="connsiteX5" fmla="*/ 1381 w 1381"/>
                          <a:gd name="connsiteY5" fmla="*/ 50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1382"/>
                            </a:moveTo>
                            <a:lnTo>
                              <a:pt x="377" y="1758"/>
                            </a:lnTo>
                            <a:lnTo>
                              <a:pt x="0" y="1256"/>
                            </a:lnTo>
                            <a:lnTo>
                              <a:pt x="377" y="502"/>
                            </a:lnTo>
                            <a:lnTo>
                              <a:pt x="1005" y="0"/>
                            </a:lnTo>
                            <a:lnTo>
                              <a:pt x="1381" y="50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28" name="Freeform: Shape 2827">
                        <a:extLst>
                          <a:ext uri="{FF2B5EF4-FFF2-40B4-BE49-F238E27FC236}">
                            <a16:creationId xmlns:a16="http://schemas.microsoft.com/office/drawing/2014/main" id="{0B7CFC31-6D57-4787-9858-17F614D17FA2}"/>
                          </a:ext>
                        </a:extLst>
                      </p:cNvPr>
                      <p:cNvSpPr/>
                      <p:nvPr/>
                    </p:nvSpPr>
                    <p:spPr>
                      <a:xfrm>
                        <a:off x="5417786" y="3851340"/>
                        <a:ext cx="1256" cy="1507"/>
                      </a:xfrm>
                      <a:custGeom>
                        <a:avLst/>
                        <a:gdLst>
                          <a:gd name="connsiteX0" fmla="*/ 1005 w 1256"/>
                          <a:gd name="connsiteY0" fmla="*/ 1130 h 1507"/>
                          <a:gd name="connsiteX1" fmla="*/ 377 w 1256"/>
                          <a:gd name="connsiteY1" fmla="*/ 1507 h 1507"/>
                          <a:gd name="connsiteX2" fmla="*/ 0 w 1256"/>
                          <a:gd name="connsiteY2" fmla="*/ 1130 h 1507"/>
                          <a:gd name="connsiteX3" fmla="*/ 377 w 1256"/>
                          <a:gd name="connsiteY3" fmla="*/ 251 h 1507"/>
                          <a:gd name="connsiteX4" fmla="*/ 1005 w 1256"/>
                          <a:gd name="connsiteY4" fmla="*/ 0 h 1507"/>
                          <a:gd name="connsiteX5" fmla="*/ 1256 w 1256"/>
                          <a:gd name="connsiteY5" fmla="*/ 37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005" y="1130"/>
                            </a:moveTo>
                            <a:lnTo>
                              <a:pt x="377" y="1507"/>
                            </a:lnTo>
                            <a:lnTo>
                              <a:pt x="0" y="1130"/>
                            </a:lnTo>
                            <a:lnTo>
                              <a:pt x="377" y="251"/>
                            </a:lnTo>
                            <a:lnTo>
                              <a:pt x="1005" y="0"/>
                            </a:lnTo>
                            <a:lnTo>
                              <a:pt x="1256"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29" name="Graphic 4">
                      <a:extLst>
                        <a:ext uri="{FF2B5EF4-FFF2-40B4-BE49-F238E27FC236}">
                          <a16:creationId xmlns:a16="http://schemas.microsoft.com/office/drawing/2014/main" id="{84FB7ED1-A2DF-40A1-A747-5F7CF3F14040}"/>
                        </a:ext>
                      </a:extLst>
                    </p:cNvPr>
                    <p:cNvGrpSpPr/>
                    <p:nvPr/>
                  </p:nvGrpSpPr>
                  <p:grpSpPr>
                    <a:xfrm>
                      <a:off x="5417410" y="3853475"/>
                      <a:ext cx="1130" cy="1507"/>
                      <a:chOff x="5417410" y="3853475"/>
                      <a:chExt cx="1130" cy="1507"/>
                    </a:xfrm>
                    <a:solidFill>
                      <a:srgbClr val="63656A"/>
                    </a:solidFill>
                  </p:grpSpPr>
                  <p:sp>
                    <p:nvSpPr>
                      <p:cNvPr id="2830" name="Freeform: Shape 2829">
                        <a:extLst>
                          <a:ext uri="{FF2B5EF4-FFF2-40B4-BE49-F238E27FC236}">
                            <a16:creationId xmlns:a16="http://schemas.microsoft.com/office/drawing/2014/main" id="{18C680EE-52C0-437C-9B0F-1328F793E7FF}"/>
                          </a:ext>
                        </a:extLst>
                      </p:cNvPr>
                      <p:cNvSpPr/>
                      <p:nvPr/>
                    </p:nvSpPr>
                    <p:spPr>
                      <a:xfrm>
                        <a:off x="5417410" y="3853475"/>
                        <a:ext cx="1130" cy="1507"/>
                      </a:xfrm>
                      <a:custGeom>
                        <a:avLst/>
                        <a:gdLst>
                          <a:gd name="connsiteX0" fmla="*/ 1130 w 1130"/>
                          <a:gd name="connsiteY0" fmla="*/ 754 h 1507"/>
                          <a:gd name="connsiteX1" fmla="*/ 502 w 1130"/>
                          <a:gd name="connsiteY1" fmla="*/ 1507 h 1507"/>
                          <a:gd name="connsiteX2" fmla="*/ 0 w 1130"/>
                          <a:gd name="connsiteY2" fmla="*/ 1382 h 1507"/>
                          <a:gd name="connsiteX3" fmla="*/ 0 w 1130"/>
                          <a:gd name="connsiteY3" fmla="*/ 628 h 1507"/>
                          <a:gd name="connsiteX4" fmla="*/ 502 w 1130"/>
                          <a:gd name="connsiteY4" fmla="*/ 0 h 1507"/>
                          <a:gd name="connsiteX5" fmla="*/ 1130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754"/>
                            </a:moveTo>
                            <a:lnTo>
                              <a:pt x="502" y="1507"/>
                            </a:lnTo>
                            <a:lnTo>
                              <a:pt x="0" y="1382"/>
                            </a:lnTo>
                            <a:lnTo>
                              <a:pt x="0" y="628"/>
                            </a:lnTo>
                            <a:lnTo>
                              <a:pt x="502" y="0"/>
                            </a:lnTo>
                            <a:lnTo>
                              <a:pt x="1130"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31" name="Freeform: Shape 2830">
                        <a:extLst>
                          <a:ext uri="{FF2B5EF4-FFF2-40B4-BE49-F238E27FC236}">
                            <a16:creationId xmlns:a16="http://schemas.microsoft.com/office/drawing/2014/main" id="{1AE2052C-2D16-4E15-97A0-BD36AAE7FEC0}"/>
                          </a:ext>
                        </a:extLst>
                      </p:cNvPr>
                      <p:cNvSpPr/>
                      <p:nvPr/>
                    </p:nvSpPr>
                    <p:spPr>
                      <a:xfrm>
                        <a:off x="5417410" y="3853475"/>
                        <a:ext cx="1130" cy="1507"/>
                      </a:xfrm>
                      <a:custGeom>
                        <a:avLst/>
                        <a:gdLst>
                          <a:gd name="connsiteX0" fmla="*/ 1130 w 1130"/>
                          <a:gd name="connsiteY0" fmla="*/ 754 h 1507"/>
                          <a:gd name="connsiteX1" fmla="*/ 628 w 1130"/>
                          <a:gd name="connsiteY1" fmla="*/ 1507 h 1507"/>
                          <a:gd name="connsiteX2" fmla="*/ 0 w 1130"/>
                          <a:gd name="connsiteY2" fmla="*/ 1382 h 1507"/>
                          <a:gd name="connsiteX3" fmla="*/ 0 w 1130"/>
                          <a:gd name="connsiteY3" fmla="*/ 754 h 1507"/>
                          <a:gd name="connsiteX4" fmla="*/ 628 w 1130"/>
                          <a:gd name="connsiteY4" fmla="*/ 0 h 1507"/>
                          <a:gd name="connsiteX5" fmla="*/ 1130 w 1130"/>
                          <a:gd name="connsiteY5" fmla="*/ 126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754"/>
                            </a:moveTo>
                            <a:lnTo>
                              <a:pt x="628" y="1507"/>
                            </a:lnTo>
                            <a:lnTo>
                              <a:pt x="0" y="1382"/>
                            </a:lnTo>
                            <a:lnTo>
                              <a:pt x="0" y="754"/>
                            </a:lnTo>
                            <a:lnTo>
                              <a:pt x="628" y="0"/>
                            </a:lnTo>
                            <a:lnTo>
                              <a:pt x="1130" y="12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32" name="Graphic 4">
                      <a:extLst>
                        <a:ext uri="{FF2B5EF4-FFF2-40B4-BE49-F238E27FC236}">
                          <a16:creationId xmlns:a16="http://schemas.microsoft.com/office/drawing/2014/main" id="{84FB7ED1-A2DF-40A1-A747-5F7CF3F14040}"/>
                        </a:ext>
                      </a:extLst>
                    </p:cNvPr>
                    <p:cNvGrpSpPr/>
                    <p:nvPr/>
                  </p:nvGrpSpPr>
                  <p:grpSpPr>
                    <a:xfrm>
                      <a:off x="5417661" y="3854982"/>
                      <a:ext cx="1381" cy="1758"/>
                      <a:chOff x="5417661" y="3854982"/>
                      <a:chExt cx="1381" cy="1758"/>
                    </a:xfrm>
                    <a:solidFill>
                      <a:srgbClr val="63656A"/>
                    </a:solidFill>
                  </p:grpSpPr>
                  <p:sp>
                    <p:nvSpPr>
                      <p:cNvPr id="2833" name="Freeform: Shape 2832">
                        <a:extLst>
                          <a:ext uri="{FF2B5EF4-FFF2-40B4-BE49-F238E27FC236}">
                            <a16:creationId xmlns:a16="http://schemas.microsoft.com/office/drawing/2014/main" id="{3F4678AD-ACB3-4724-95CB-F4DCB6892E07}"/>
                          </a:ext>
                        </a:extLst>
                      </p:cNvPr>
                      <p:cNvSpPr/>
                      <p:nvPr/>
                    </p:nvSpPr>
                    <p:spPr>
                      <a:xfrm>
                        <a:off x="5417661" y="3854982"/>
                        <a:ext cx="1381" cy="1758"/>
                      </a:xfrm>
                      <a:custGeom>
                        <a:avLst/>
                        <a:gdLst>
                          <a:gd name="connsiteX0" fmla="*/ 1382 w 1381"/>
                          <a:gd name="connsiteY0" fmla="*/ 502 h 1758"/>
                          <a:gd name="connsiteX1" fmla="*/ 1005 w 1381"/>
                          <a:gd name="connsiteY1" fmla="*/ 1382 h 1758"/>
                          <a:gd name="connsiteX2" fmla="*/ 377 w 1381"/>
                          <a:gd name="connsiteY2" fmla="*/ 1758 h 1758"/>
                          <a:gd name="connsiteX3" fmla="*/ 0 w 1381"/>
                          <a:gd name="connsiteY3" fmla="*/ 1256 h 1758"/>
                          <a:gd name="connsiteX4" fmla="*/ 377 w 1381"/>
                          <a:gd name="connsiteY4" fmla="*/ 377 h 1758"/>
                          <a:gd name="connsiteX5" fmla="*/ 1005 w 1381"/>
                          <a:gd name="connsiteY5" fmla="*/ 0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382" y="502"/>
                            </a:moveTo>
                            <a:lnTo>
                              <a:pt x="1005" y="1382"/>
                            </a:lnTo>
                            <a:lnTo>
                              <a:pt x="377" y="1758"/>
                            </a:lnTo>
                            <a:lnTo>
                              <a:pt x="0" y="1256"/>
                            </a:lnTo>
                            <a:lnTo>
                              <a:pt x="377"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34" name="Freeform: Shape 2833">
                        <a:extLst>
                          <a:ext uri="{FF2B5EF4-FFF2-40B4-BE49-F238E27FC236}">
                            <a16:creationId xmlns:a16="http://schemas.microsoft.com/office/drawing/2014/main" id="{D36CCED9-79A8-4959-AFB6-B7AC73AFAD62}"/>
                          </a:ext>
                        </a:extLst>
                      </p:cNvPr>
                      <p:cNvSpPr/>
                      <p:nvPr/>
                    </p:nvSpPr>
                    <p:spPr>
                      <a:xfrm>
                        <a:off x="5417786" y="3855107"/>
                        <a:ext cx="1256" cy="1507"/>
                      </a:xfrm>
                      <a:custGeom>
                        <a:avLst/>
                        <a:gdLst>
                          <a:gd name="connsiteX0" fmla="*/ 1256 w 1256"/>
                          <a:gd name="connsiteY0" fmla="*/ 377 h 1507"/>
                          <a:gd name="connsiteX1" fmla="*/ 1005 w 1256"/>
                          <a:gd name="connsiteY1" fmla="*/ 1130 h 1507"/>
                          <a:gd name="connsiteX2" fmla="*/ 377 w 1256"/>
                          <a:gd name="connsiteY2" fmla="*/ 1507 h 1507"/>
                          <a:gd name="connsiteX3" fmla="*/ 0 w 1256"/>
                          <a:gd name="connsiteY3" fmla="*/ 1130 h 1507"/>
                          <a:gd name="connsiteX4" fmla="*/ 377 w 1256"/>
                          <a:gd name="connsiteY4" fmla="*/ 377 h 1507"/>
                          <a:gd name="connsiteX5" fmla="*/ 1005 w 1256"/>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256" y="377"/>
                            </a:moveTo>
                            <a:lnTo>
                              <a:pt x="1005" y="1130"/>
                            </a:lnTo>
                            <a:lnTo>
                              <a:pt x="377" y="1507"/>
                            </a:lnTo>
                            <a:lnTo>
                              <a:pt x="0" y="1130"/>
                            </a:lnTo>
                            <a:lnTo>
                              <a:pt x="377"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35" name="Graphic 4">
                      <a:extLst>
                        <a:ext uri="{FF2B5EF4-FFF2-40B4-BE49-F238E27FC236}">
                          <a16:creationId xmlns:a16="http://schemas.microsoft.com/office/drawing/2014/main" id="{84FB7ED1-A2DF-40A1-A747-5F7CF3F14040}"/>
                        </a:ext>
                      </a:extLst>
                    </p:cNvPr>
                    <p:cNvGrpSpPr/>
                    <p:nvPr/>
                  </p:nvGrpSpPr>
                  <p:grpSpPr>
                    <a:xfrm>
                      <a:off x="5419042" y="3855861"/>
                      <a:ext cx="1130" cy="1507"/>
                      <a:chOff x="5419042" y="3855861"/>
                      <a:chExt cx="1130" cy="1507"/>
                    </a:xfrm>
                    <a:solidFill>
                      <a:srgbClr val="63656A"/>
                    </a:solidFill>
                  </p:grpSpPr>
                  <p:sp>
                    <p:nvSpPr>
                      <p:cNvPr id="2836" name="Freeform: Shape 2835">
                        <a:extLst>
                          <a:ext uri="{FF2B5EF4-FFF2-40B4-BE49-F238E27FC236}">
                            <a16:creationId xmlns:a16="http://schemas.microsoft.com/office/drawing/2014/main" id="{009E6EFD-131A-4941-96DA-2B4A7B284FD7}"/>
                          </a:ext>
                        </a:extLst>
                      </p:cNvPr>
                      <p:cNvSpPr/>
                      <p:nvPr/>
                    </p:nvSpPr>
                    <p:spPr>
                      <a:xfrm>
                        <a:off x="5419042" y="3855861"/>
                        <a:ext cx="1130" cy="1507"/>
                      </a:xfrm>
                      <a:custGeom>
                        <a:avLst/>
                        <a:gdLst>
                          <a:gd name="connsiteX0" fmla="*/ 1130 w 1130"/>
                          <a:gd name="connsiteY0" fmla="*/ 0 h 1507"/>
                          <a:gd name="connsiteX1" fmla="*/ 1130 w 1130"/>
                          <a:gd name="connsiteY1" fmla="*/ 754 h 1507"/>
                          <a:gd name="connsiteX2" fmla="*/ 502 w 1130"/>
                          <a:gd name="connsiteY2" fmla="*/ 1507 h 1507"/>
                          <a:gd name="connsiteX3" fmla="*/ 0 w 1130"/>
                          <a:gd name="connsiteY3" fmla="*/ 1382 h 1507"/>
                          <a:gd name="connsiteX4" fmla="*/ 0 w 1130"/>
                          <a:gd name="connsiteY4" fmla="*/ 628 h 1507"/>
                          <a:gd name="connsiteX5" fmla="*/ 502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0"/>
                            </a:moveTo>
                            <a:lnTo>
                              <a:pt x="1130" y="754"/>
                            </a:lnTo>
                            <a:lnTo>
                              <a:pt x="502" y="1507"/>
                            </a:lnTo>
                            <a:lnTo>
                              <a:pt x="0" y="1382"/>
                            </a:lnTo>
                            <a:lnTo>
                              <a:pt x="0" y="628"/>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37" name="Freeform: Shape 2836">
                        <a:extLst>
                          <a:ext uri="{FF2B5EF4-FFF2-40B4-BE49-F238E27FC236}">
                            <a16:creationId xmlns:a16="http://schemas.microsoft.com/office/drawing/2014/main" id="{7E6A24EF-64EB-4BA3-80AE-FBC27451B0B2}"/>
                          </a:ext>
                        </a:extLst>
                      </p:cNvPr>
                      <p:cNvSpPr/>
                      <p:nvPr/>
                    </p:nvSpPr>
                    <p:spPr>
                      <a:xfrm>
                        <a:off x="5419168" y="3855861"/>
                        <a:ext cx="1004" cy="1381"/>
                      </a:xfrm>
                      <a:custGeom>
                        <a:avLst/>
                        <a:gdLst>
                          <a:gd name="connsiteX0" fmla="*/ 1005 w 1004"/>
                          <a:gd name="connsiteY0" fmla="*/ 0 h 1381"/>
                          <a:gd name="connsiteX1" fmla="*/ 1005 w 1004"/>
                          <a:gd name="connsiteY1" fmla="*/ 754 h 1381"/>
                          <a:gd name="connsiteX2" fmla="*/ 502 w 1004"/>
                          <a:gd name="connsiteY2" fmla="*/ 1382 h 1381"/>
                          <a:gd name="connsiteX3" fmla="*/ 0 w 1004"/>
                          <a:gd name="connsiteY3" fmla="*/ 1382 h 1381"/>
                          <a:gd name="connsiteX4" fmla="*/ 0 w 1004"/>
                          <a:gd name="connsiteY4" fmla="*/ 628 h 1381"/>
                          <a:gd name="connsiteX5" fmla="*/ 502 w 1004"/>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1005" y="0"/>
                            </a:moveTo>
                            <a:lnTo>
                              <a:pt x="1005" y="754"/>
                            </a:lnTo>
                            <a:lnTo>
                              <a:pt x="502" y="1382"/>
                            </a:lnTo>
                            <a:lnTo>
                              <a:pt x="0" y="1382"/>
                            </a:lnTo>
                            <a:lnTo>
                              <a:pt x="0" y="628"/>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38" name="Graphic 4">
                      <a:extLst>
                        <a:ext uri="{FF2B5EF4-FFF2-40B4-BE49-F238E27FC236}">
                          <a16:creationId xmlns:a16="http://schemas.microsoft.com/office/drawing/2014/main" id="{84FB7ED1-A2DF-40A1-A747-5F7CF3F14040}"/>
                        </a:ext>
                      </a:extLst>
                    </p:cNvPr>
                    <p:cNvGrpSpPr/>
                    <p:nvPr/>
                  </p:nvGrpSpPr>
                  <p:grpSpPr>
                    <a:xfrm>
                      <a:off x="5420549" y="3855233"/>
                      <a:ext cx="1381" cy="1758"/>
                      <a:chOff x="5420549" y="3855233"/>
                      <a:chExt cx="1381" cy="1758"/>
                    </a:xfrm>
                    <a:solidFill>
                      <a:srgbClr val="63656A"/>
                    </a:solidFill>
                  </p:grpSpPr>
                  <p:sp>
                    <p:nvSpPr>
                      <p:cNvPr id="2839" name="Freeform: Shape 2838">
                        <a:extLst>
                          <a:ext uri="{FF2B5EF4-FFF2-40B4-BE49-F238E27FC236}">
                            <a16:creationId xmlns:a16="http://schemas.microsoft.com/office/drawing/2014/main" id="{BCC57F8E-A0FD-4E9B-B258-95F8523EA811}"/>
                          </a:ext>
                        </a:extLst>
                      </p:cNvPr>
                      <p:cNvSpPr/>
                      <p:nvPr/>
                    </p:nvSpPr>
                    <p:spPr>
                      <a:xfrm>
                        <a:off x="5420549" y="3855233"/>
                        <a:ext cx="1381" cy="1758"/>
                      </a:xfrm>
                      <a:custGeom>
                        <a:avLst/>
                        <a:gdLst>
                          <a:gd name="connsiteX0" fmla="*/ 1005 w 1381"/>
                          <a:gd name="connsiteY0" fmla="*/ 0 h 1758"/>
                          <a:gd name="connsiteX1" fmla="*/ 1381 w 1381"/>
                          <a:gd name="connsiteY1" fmla="*/ 502 h 1758"/>
                          <a:gd name="connsiteX2" fmla="*/ 1005 w 1381"/>
                          <a:gd name="connsiteY2" fmla="*/ 1382 h 1758"/>
                          <a:gd name="connsiteX3" fmla="*/ 377 w 1381"/>
                          <a:gd name="connsiteY3" fmla="*/ 1758 h 1758"/>
                          <a:gd name="connsiteX4" fmla="*/ 0 w 1381"/>
                          <a:gd name="connsiteY4" fmla="*/ 1382 h 1758"/>
                          <a:gd name="connsiteX5" fmla="*/ 377 w 1381"/>
                          <a:gd name="connsiteY5" fmla="*/ 50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0"/>
                            </a:moveTo>
                            <a:lnTo>
                              <a:pt x="1381" y="502"/>
                            </a:lnTo>
                            <a:lnTo>
                              <a:pt x="1005" y="1382"/>
                            </a:lnTo>
                            <a:lnTo>
                              <a:pt x="377" y="1758"/>
                            </a:lnTo>
                            <a:lnTo>
                              <a:pt x="0" y="1382"/>
                            </a:lnTo>
                            <a:lnTo>
                              <a:pt x="377" y="50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40" name="Freeform: Shape 2839">
                        <a:extLst>
                          <a:ext uri="{FF2B5EF4-FFF2-40B4-BE49-F238E27FC236}">
                            <a16:creationId xmlns:a16="http://schemas.microsoft.com/office/drawing/2014/main" id="{D87303B7-56A5-4D15-BE96-DCCA3901AF64}"/>
                          </a:ext>
                        </a:extLst>
                      </p:cNvPr>
                      <p:cNvSpPr/>
                      <p:nvPr/>
                    </p:nvSpPr>
                    <p:spPr>
                      <a:xfrm>
                        <a:off x="5420675" y="3855233"/>
                        <a:ext cx="1256" cy="1632"/>
                      </a:xfrm>
                      <a:custGeom>
                        <a:avLst/>
                        <a:gdLst>
                          <a:gd name="connsiteX0" fmla="*/ 879 w 1256"/>
                          <a:gd name="connsiteY0" fmla="*/ 0 h 1632"/>
                          <a:gd name="connsiteX1" fmla="*/ 1256 w 1256"/>
                          <a:gd name="connsiteY1" fmla="*/ 502 h 1632"/>
                          <a:gd name="connsiteX2" fmla="*/ 879 w 1256"/>
                          <a:gd name="connsiteY2" fmla="*/ 1256 h 1632"/>
                          <a:gd name="connsiteX3" fmla="*/ 251 w 1256"/>
                          <a:gd name="connsiteY3" fmla="*/ 1633 h 1632"/>
                          <a:gd name="connsiteX4" fmla="*/ 0 w 1256"/>
                          <a:gd name="connsiteY4" fmla="*/ 1256 h 1632"/>
                          <a:gd name="connsiteX5" fmla="*/ 251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879" y="0"/>
                            </a:moveTo>
                            <a:lnTo>
                              <a:pt x="1256" y="502"/>
                            </a:lnTo>
                            <a:lnTo>
                              <a:pt x="879" y="1256"/>
                            </a:lnTo>
                            <a:lnTo>
                              <a:pt x="251" y="1633"/>
                            </a:lnTo>
                            <a:lnTo>
                              <a:pt x="0" y="1256"/>
                            </a:lnTo>
                            <a:lnTo>
                              <a:pt x="251"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41" name="Graphic 4">
                      <a:extLst>
                        <a:ext uri="{FF2B5EF4-FFF2-40B4-BE49-F238E27FC236}">
                          <a16:creationId xmlns:a16="http://schemas.microsoft.com/office/drawing/2014/main" id="{84FB7ED1-A2DF-40A1-A747-5F7CF3F14040}"/>
                        </a:ext>
                      </a:extLst>
                    </p:cNvPr>
                    <p:cNvGrpSpPr/>
                    <p:nvPr/>
                  </p:nvGrpSpPr>
                  <p:grpSpPr>
                    <a:xfrm>
                      <a:off x="5422308" y="3853977"/>
                      <a:ext cx="1130" cy="1507"/>
                      <a:chOff x="5422308" y="3853977"/>
                      <a:chExt cx="1130" cy="1507"/>
                    </a:xfrm>
                    <a:solidFill>
                      <a:srgbClr val="63656A"/>
                    </a:solidFill>
                  </p:grpSpPr>
                  <p:sp>
                    <p:nvSpPr>
                      <p:cNvPr id="2842" name="Freeform: Shape 2841">
                        <a:extLst>
                          <a:ext uri="{FF2B5EF4-FFF2-40B4-BE49-F238E27FC236}">
                            <a16:creationId xmlns:a16="http://schemas.microsoft.com/office/drawing/2014/main" id="{2B35B63A-F6E1-4405-BA3F-BAEB246C3436}"/>
                          </a:ext>
                        </a:extLst>
                      </p:cNvPr>
                      <p:cNvSpPr/>
                      <p:nvPr/>
                    </p:nvSpPr>
                    <p:spPr>
                      <a:xfrm>
                        <a:off x="5422308" y="3853977"/>
                        <a:ext cx="1130" cy="1507"/>
                      </a:xfrm>
                      <a:custGeom>
                        <a:avLst/>
                        <a:gdLst>
                          <a:gd name="connsiteX0" fmla="*/ 628 w 1130"/>
                          <a:gd name="connsiteY0" fmla="*/ 0 h 1507"/>
                          <a:gd name="connsiteX1" fmla="*/ 1130 w 1130"/>
                          <a:gd name="connsiteY1" fmla="*/ 0 h 1507"/>
                          <a:gd name="connsiteX2" fmla="*/ 1130 w 1130"/>
                          <a:gd name="connsiteY2" fmla="*/ 754 h 1507"/>
                          <a:gd name="connsiteX3" fmla="*/ 628 w 1130"/>
                          <a:gd name="connsiteY3" fmla="*/ 1507 h 1507"/>
                          <a:gd name="connsiteX4" fmla="*/ 0 w 1130"/>
                          <a:gd name="connsiteY4" fmla="*/ 1507 h 1507"/>
                          <a:gd name="connsiteX5" fmla="*/ 0 w 1130"/>
                          <a:gd name="connsiteY5" fmla="*/ 628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628" y="0"/>
                            </a:moveTo>
                            <a:lnTo>
                              <a:pt x="1130" y="0"/>
                            </a:lnTo>
                            <a:lnTo>
                              <a:pt x="1130" y="754"/>
                            </a:lnTo>
                            <a:lnTo>
                              <a:pt x="628" y="1507"/>
                            </a:lnTo>
                            <a:lnTo>
                              <a:pt x="0" y="1507"/>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43" name="Freeform: Shape 2842">
                        <a:extLst>
                          <a:ext uri="{FF2B5EF4-FFF2-40B4-BE49-F238E27FC236}">
                            <a16:creationId xmlns:a16="http://schemas.microsoft.com/office/drawing/2014/main" id="{3B034D5A-4504-4A87-A5B5-A0D722860EE5}"/>
                          </a:ext>
                        </a:extLst>
                      </p:cNvPr>
                      <p:cNvSpPr/>
                      <p:nvPr/>
                    </p:nvSpPr>
                    <p:spPr>
                      <a:xfrm>
                        <a:off x="5422433" y="3853977"/>
                        <a:ext cx="1004" cy="1381"/>
                      </a:xfrm>
                      <a:custGeom>
                        <a:avLst/>
                        <a:gdLst>
                          <a:gd name="connsiteX0" fmla="*/ 502 w 1004"/>
                          <a:gd name="connsiteY0" fmla="*/ 0 h 1381"/>
                          <a:gd name="connsiteX1" fmla="*/ 1005 w 1004"/>
                          <a:gd name="connsiteY1" fmla="*/ 0 h 1381"/>
                          <a:gd name="connsiteX2" fmla="*/ 1005 w 1004"/>
                          <a:gd name="connsiteY2" fmla="*/ 754 h 1381"/>
                          <a:gd name="connsiteX3" fmla="*/ 502 w 1004"/>
                          <a:gd name="connsiteY3" fmla="*/ 1382 h 1381"/>
                          <a:gd name="connsiteX4" fmla="*/ 0 w 1004"/>
                          <a:gd name="connsiteY4" fmla="*/ 1382 h 1381"/>
                          <a:gd name="connsiteX5" fmla="*/ 0 w 1004"/>
                          <a:gd name="connsiteY5" fmla="*/ 628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502" y="0"/>
                            </a:moveTo>
                            <a:lnTo>
                              <a:pt x="1005" y="0"/>
                            </a:lnTo>
                            <a:lnTo>
                              <a:pt x="1005" y="754"/>
                            </a:lnTo>
                            <a:lnTo>
                              <a:pt x="502" y="1382"/>
                            </a:lnTo>
                            <a:lnTo>
                              <a:pt x="0" y="1382"/>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44" name="Graphic 4">
                      <a:extLst>
                        <a:ext uri="{FF2B5EF4-FFF2-40B4-BE49-F238E27FC236}">
                          <a16:creationId xmlns:a16="http://schemas.microsoft.com/office/drawing/2014/main" id="{84FB7ED1-A2DF-40A1-A747-5F7CF3F14040}"/>
                        </a:ext>
                      </a:extLst>
                    </p:cNvPr>
                    <p:cNvGrpSpPr/>
                    <p:nvPr/>
                  </p:nvGrpSpPr>
                  <p:grpSpPr>
                    <a:xfrm>
                      <a:off x="5423438" y="3851716"/>
                      <a:ext cx="1381" cy="1758"/>
                      <a:chOff x="5423438" y="3851716"/>
                      <a:chExt cx="1381" cy="1758"/>
                    </a:xfrm>
                    <a:solidFill>
                      <a:srgbClr val="63656A"/>
                    </a:solidFill>
                  </p:grpSpPr>
                  <p:sp>
                    <p:nvSpPr>
                      <p:cNvPr id="2845" name="Freeform: Shape 2844">
                        <a:extLst>
                          <a:ext uri="{FF2B5EF4-FFF2-40B4-BE49-F238E27FC236}">
                            <a16:creationId xmlns:a16="http://schemas.microsoft.com/office/drawing/2014/main" id="{67319B55-46B5-4E6E-9C31-E43EF4248163}"/>
                          </a:ext>
                        </a:extLst>
                      </p:cNvPr>
                      <p:cNvSpPr/>
                      <p:nvPr/>
                    </p:nvSpPr>
                    <p:spPr>
                      <a:xfrm>
                        <a:off x="5423438" y="3851716"/>
                        <a:ext cx="1381" cy="1758"/>
                      </a:xfrm>
                      <a:custGeom>
                        <a:avLst/>
                        <a:gdLst>
                          <a:gd name="connsiteX0" fmla="*/ 377 w 1381"/>
                          <a:gd name="connsiteY0" fmla="*/ 377 h 1758"/>
                          <a:gd name="connsiteX1" fmla="*/ 1005 w 1381"/>
                          <a:gd name="connsiteY1" fmla="*/ 0 h 1758"/>
                          <a:gd name="connsiteX2" fmla="*/ 1382 w 1381"/>
                          <a:gd name="connsiteY2" fmla="*/ 502 h 1758"/>
                          <a:gd name="connsiteX3" fmla="*/ 1005 w 1381"/>
                          <a:gd name="connsiteY3" fmla="*/ 1382 h 1758"/>
                          <a:gd name="connsiteX4" fmla="*/ 377 w 1381"/>
                          <a:gd name="connsiteY4" fmla="*/ 1758 h 1758"/>
                          <a:gd name="connsiteX5" fmla="*/ 0 w 1381"/>
                          <a:gd name="connsiteY5" fmla="*/ 1256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377"/>
                            </a:moveTo>
                            <a:lnTo>
                              <a:pt x="1005" y="0"/>
                            </a:lnTo>
                            <a:lnTo>
                              <a:pt x="1382" y="502"/>
                            </a:lnTo>
                            <a:lnTo>
                              <a:pt x="1005" y="1382"/>
                            </a:lnTo>
                            <a:lnTo>
                              <a:pt x="377" y="1758"/>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46" name="Freeform: Shape 2845">
                        <a:extLst>
                          <a:ext uri="{FF2B5EF4-FFF2-40B4-BE49-F238E27FC236}">
                            <a16:creationId xmlns:a16="http://schemas.microsoft.com/office/drawing/2014/main" id="{F34BE5A4-A17E-4B32-8532-67D094687392}"/>
                          </a:ext>
                        </a:extLst>
                      </p:cNvPr>
                      <p:cNvSpPr/>
                      <p:nvPr/>
                    </p:nvSpPr>
                    <p:spPr>
                      <a:xfrm>
                        <a:off x="5423564" y="3851716"/>
                        <a:ext cx="1256" cy="1632"/>
                      </a:xfrm>
                      <a:custGeom>
                        <a:avLst/>
                        <a:gdLst>
                          <a:gd name="connsiteX0" fmla="*/ 251 w 1256"/>
                          <a:gd name="connsiteY0" fmla="*/ 377 h 1632"/>
                          <a:gd name="connsiteX1" fmla="*/ 879 w 1256"/>
                          <a:gd name="connsiteY1" fmla="*/ 0 h 1632"/>
                          <a:gd name="connsiteX2" fmla="*/ 1256 w 1256"/>
                          <a:gd name="connsiteY2" fmla="*/ 502 h 1632"/>
                          <a:gd name="connsiteX3" fmla="*/ 879 w 1256"/>
                          <a:gd name="connsiteY3" fmla="*/ 1256 h 1632"/>
                          <a:gd name="connsiteX4" fmla="*/ 251 w 1256"/>
                          <a:gd name="connsiteY4" fmla="*/ 1633 h 1632"/>
                          <a:gd name="connsiteX5" fmla="*/ 0 w 1256"/>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251" y="377"/>
                            </a:moveTo>
                            <a:lnTo>
                              <a:pt x="879" y="0"/>
                            </a:lnTo>
                            <a:lnTo>
                              <a:pt x="1256" y="502"/>
                            </a:lnTo>
                            <a:lnTo>
                              <a:pt x="879" y="1256"/>
                            </a:lnTo>
                            <a:lnTo>
                              <a:pt x="251" y="1633"/>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47" name="Graphic 4">
                      <a:extLst>
                        <a:ext uri="{FF2B5EF4-FFF2-40B4-BE49-F238E27FC236}">
                          <a16:creationId xmlns:a16="http://schemas.microsoft.com/office/drawing/2014/main" id="{84FB7ED1-A2DF-40A1-A747-5F7CF3F14040}"/>
                        </a:ext>
                      </a:extLst>
                    </p:cNvPr>
                    <p:cNvGrpSpPr/>
                    <p:nvPr/>
                  </p:nvGrpSpPr>
                  <p:grpSpPr>
                    <a:xfrm>
                      <a:off x="5424066" y="3849707"/>
                      <a:ext cx="1130" cy="1507"/>
                      <a:chOff x="5424066" y="3849707"/>
                      <a:chExt cx="1130" cy="1507"/>
                    </a:xfrm>
                    <a:solidFill>
                      <a:srgbClr val="63656A"/>
                    </a:solidFill>
                  </p:grpSpPr>
                  <p:sp>
                    <p:nvSpPr>
                      <p:cNvPr id="2848" name="Freeform: Shape 2847">
                        <a:extLst>
                          <a:ext uri="{FF2B5EF4-FFF2-40B4-BE49-F238E27FC236}">
                            <a16:creationId xmlns:a16="http://schemas.microsoft.com/office/drawing/2014/main" id="{115E7EFC-3C9C-4D64-8A9C-BD1D58ED26A6}"/>
                          </a:ext>
                        </a:extLst>
                      </p:cNvPr>
                      <p:cNvSpPr/>
                      <p:nvPr/>
                    </p:nvSpPr>
                    <p:spPr>
                      <a:xfrm>
                        <a:off x="5424066" y="3849707"/>
                        <a:ext cx="1130" cy="1507"/>
                      </a:xfrm>
                      <a:custGeom>
                        <a:avLst/>
                        <a:gdLst>
                          <a:gd name="connsiteX0" fmla="*/ 0 w 1130"/>
                          <a:gd name="connsiteY0" fmla="*/ 754 h 1507"/>
                          <a:gd name="connsiteX1" fmla="*/ 502 w 1130"/>
                          <a:gd name="connsiteY1" fmla="*/ 0 h 1507"/>
                          <a:gd name="connsiteX2" fmla="*/ 1130 w 1130"/>
                          <a:gd name="connsiteY2" fmla="*/ 0 h 1507"/>
                          <a:gd name="connsiteX3" fmla="*/ 1130 w 1130"/>
                          <a:gd name="connsiteY3" fmla="*/ 754 h 1507"/>
                          <a:gd name="connsiteX4" fmla="*/ 502 w 1130"/>
                          <a:gd name="connsiteY4" fmla="*/ 1507 h 1507"/>
                          <a:gd name="connsiteX5" fmla="*/ 0 w 1130"/>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502" y="0"/>
                            </a:lnTo>
                            <a:lnTo>
                              <a:pt x="1130" y="0"/>
                            </a:lnTo>
                            <a:lnTo>
                              <a:pt x="1130" y="754"/>
                            </a:lnTo>
                            <a:lnTo>
                              <a:pt x="502" y="1507"/>
                            </a:lnTo>
                            <a:lnTo>
                              <a:pt x="0"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49" name="Freeform: Shape 2848">
                        <a:extLst>
                          <a:ext uri="{FF2B5EF4-FFF2-40B4-BE49-F238E27FC236}">
                            <a16:creationId xmlns:a16="http://schemas.microsoft.com/office/drawing/2014/main" id="{15B44F47-F14A-4B3E-A11C-C0CE1B1505B5}"/>
                          </a:ext>
                        </a:extLst>
                      </p:cNvPr>
                      <p:cNvSpPr/>
                      <p:nvPr/>
                    </p:nvSpPr>
                    <p:spPr>
                      <a:xfrm>
                        <a:off x="5424066" y="3849707"/>
                        <a:ext cx="1004" cy="1381"/>
                      </a:xfrm>
                      <a:custGeom>
                        <a:avLst/>
                        <a:gdLst>
                          <a:gd name="connsiteX0" fmla="*/ 0 w 1004"/>
                          <a:gd name="connsiteY0" fmla="*/ 628 h 1381"/>
                          <a:gd name="connsiteX1" fmla="*/ 502 w 1004"/>
                          <a:gd name="connsiteY1" fmla="*/ 0 h 1381"/>
                          <a:gd name="connsiteX2" fmla="*/ 1005 w 1004"/>
                          <a:gd name="connsiteY2" fmla="*/ 0 h 1381"/>
                          <a:gd name="connsiteX3" fmla="*/ 1005 w 1004"/>
                          <a:gd name="connsiteY3" fmla="*/ 754 h 1381"/>
                          <a:gd name="connsiteX4" fmla="*/ 502 w 1004"/>
                          <a:gd name="connsiteY4" fmla="*/ 1382 h 1381"/>
                          <a:gd name="connsiteX5" fmla="*/ 0 w 1004"/>
                          <a:gd name="connsiteY5" fmla="*/ 1382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0" y="628"/>
                            </a:moveTo>
                            <a:lnTo>
                              <a:pt x="502" y="0"/>
                            </a:lnTo>
                            <a:lnTo>
                              <a:pt x="1005" y="0"/>
                            </a:lnTo>
                            <a:lnTo>
                              <a:pt x="1005" y="754"/>
                            </a:lnTo>
                            <a:lnTo>
                              <a:pt x="502" y="1382"/>
                            </a:lnTo>
                            <a:lnTo>
                              <a:pt x="0"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50" name="Graphic 4">
                      <a:extLst>
                        <a:ext uri="{FF2B5EF4-FFF2-40B4-BE49-F238E27FC236}">
                          <a16:creationId xmlns:a16="http://schemas.microsoft.com/office/drawing/2014/main" id="{84FB7ED1-A2DF-40A1-A747-5F7CF3F14040}"/>
                        </a:ext>
                      </a:extLst>
                    </p:cNvPr>
                    <p:cNvGrpSpPr/>
                    <p:nvPr/>
                  </p:nvGrpSpPr>
                  <p:grpSpPr>
                    <a:xfrm>
                      <a:off x="5423564" y="3847948"/>
                      <a:ext cx="1256" cy="1758"/>
                      <a:chOff x="5423564" y="3847948"/>
                      <a:chExt cx="1256" cy="1758"/>
                    </a:xfrm>
                    <a:solidFill>
                      <a:srgbClr val="63656A"/>
                    </a:solidFill>
                  </p:grpSpPr>
                  <p:sp>
                    <p:nvSpPr>
                      <p:cNvPr id="2851" name="Freeform: Shape 2850">
                        <a:extLst>
                          <a:ext uri="{FF2B5EF4-FFF2-40B4-BE49-F238E27FC236}">
                            <a16:creationId xmlns:a16="http://schemas.microsoft.com/office/drawing/2014/main" id="{B7322DDE-DEE2-4153-84B5-F811B5025D96}"/>
                          </a:ext>
                        </a:extLst>
                      </p:cNvPr>
                      <p:cNvSpPr/>
                      <p:nvPr/>
                    </p:nvSpPr>
                    <p:spPr>
                      <a:xfrm>
                        <a:off x="5423564" y="3847948"/>
                        <a:ext cx="1256" cy="1758"/>
                      </a:xfrm>
                      <a:custGeom>
                        <a:avLst/>
                        <a:gdLst>
                          <a:gd name="connsiteX0" fmla="*/ 0 w 1256"/>
                          <a:gd name="connsiteY0" fmla="*/ 1256 h 1758"/>
                          <a:gd name="connsiteX1" fmla="*/ 251 w 1256"/>
                          <a:gd name="connsiteY1" fmla="*/ 377 h 1758"/>
                          <a:gd name="connsiteX2" fmla="*/ 1005 w 1256"/>
                          <a:gd name="connsiteY2" fmla="*/ 0 h 1758"/>
                          <a:gd name="connsiteX3" fmla="*/ 1256 w 1256"/>
                          <a:gd name="connsiteY3" fmla="*/ 502 h 1758"/>
                          <a:gd name="connsiteX4" fmla="*/ 1005 w 1256"/>
                          <a:gd name="connsiteY4" fmla="*/ 1382 h 1758"/>
                          <a:gd name="connsiteX5" fmla="*/ 251 w 1256"/>
                          <a:gd name="connsiteY5" fmla="*/ 1758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758">
                            <a:moveTo>
                              <a:pt x="0" y="1256"/>
                            </a:moveTo>
                            <a:lnTo>
                              <a:pt x="251" y="377"/>
                            </a:lnTo>
                            <a:lnTo>
                              <a:pt x="1005" y="0"/>
                            </a:lnTo>
                            <a:lnTo>
                              <a:pt x="1256" y="502"/>
                            </a:lnTo>
                            <a:lnTo>
                              <a:pt x="1005" y="1382"/>
                            </a:lnTo>
                            <a:lnTo>
                              <a:pt x="251" y="175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52" name="Freeform: Shape 2851">
                        <a:extLst>
                          <a:ext uri="{FF2B5EF4-FFF2-40B4-BE49-F238E27FC236}">
                            <a16:creationId xmlns:a16="http://schemas.microsoft.com/office/drawing/2014/main" id="{F7BD782C-D393-4B0E-9413-95C1AC055860}"/>
                          </a:ext>
                        </a:extLst>
                      </p:cNvPr>
                      <p:cNvSpPr/>
                      <p:nvPr/>
                    </p:nvSpPr>
                    <p:spPr>
                      <a:xfrm>
                        <a:off x="5423564" y="3847948"/>
                        <a:ext cx="1256" cy="1632"/>
                      </a:xfrm>
                      <a:custGeom>
                        <a:avLst/>
                        <a:gdLst>
                          <a:gd name="connsiteX0" fmla="*/ 0 w 1256"/>
                          <a:gd name="connsiteY0" fmla="*/ 1256 h 1632"/>
                          <a:gd name="connsiteX1" fmla="*/ 251 w 1256"/>
                          <a:gd name="connsiteY1" fmla="*/ 377 h 1632"/>
                          <a:gd name="connsiteX2" fmla="*/ 879 w 1256"/>
                          <a:gd name="connsiteY2" fmla="*/ 0 h 1632"/>
                          <a:gd name="connsiteX3" fmla="*/ 1256 w 1256"/>
                          <a:gd name="connsiteY3" fmla="*/ 502 h 1632"/>
                          <a:gd name="connsiteX4" fmla="*/ 879 w 1256"/>
                          <a:gd name="connsiteY4" fmla="*/ 1256 h 1632"/>
                          <a:gd name="connsiteX5" fmla="*/ 251 w 1256"/>
                          <a:gd name="connsiteY5" fmla="*/ 1633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0" y="1256"/>
                            </a:moveTo>
                            <a:lnTo>
                              <a:pt x="251" y="377"/>
                            </a:lnTo>
                            <a:lnTo>
                              <a:pt x="879" y="0"/>
                            </a:lnTo>
                            <a:lnTo>
                              <a:pt x="1256" y="502"/>
                            </a:lnTo>
                            <a:lnTo>
                              <a:pt x="879" y="1256"/>
                            </a:lnTo>
                            <a:lnTo>
                              <a:pt x="251" y="1633"/>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53" name="Graphic 4">
                      <a:extLst>
                        <a:ext uri="{FF2B5EF4-FFF2-40B4-BE49-F238E27FC236}">
                          <a16:creationId xmlns:a16="http://schemas.microsoft.com/office/drawing/2014/main" id="{84FB7ED1-A2DF-40A1-A747-5F7CF3F14040}"/>
                        </a:ext>
                      </a:extLst>
                    </p:cNvPr>
                    <p:cNvGrpSpPr/>
                    <p:nvPr/>
                  </p:nvGrpSpPr>
                  <p:grpSpPr>
                    <a:xfrm>
                      <a:off x="5422433" y="3847320"/>
                      <a:ext cx="1130" cy="1507"/>
                      <a:chOff x="5422433" y="3847320"/>
                      <a:chExt cx="1130" cy="1507"/>
                    </a:xfrm>
                    <a:solidFill>
                      <a:srgbClr val="63656A"/>
                    </a:solidFill>
                  </p:grpSpPr>
                  <p:sp>
                    <p:nvSpPr>
                      <p:cNvPr id="2854" name="Freeform: Shape 2853">
                        <a:extLst>
                          <a:ext uri="{FF2B5EF4-FFF2-40B4-BE49-F238E27FC236}">
                            <a16:creationId xmlns:a16="http://schemas.microsoft.com/office/drawing/2014/main" id="{A11CBFFB-BF1E-4397-9002-84ED15079980}"/>
                          </a:ext>
                        </a:extLst>
                      </p:cNvPr>
                      <p:cNvSpPr/>
                      <p:nvPr/>
                    </p:nvSpPr>
                    <p:spPr>
                      <a:xfrm>
                        <a:off x="5422433" y="3847320"/>
                        <a:ext cx="1130" cy="1507"/>
                      </a:xfrm>
                      <a:custGeom>
                        <a:avLst/>
                        <a:gdLst>
                          <a:gd name="connsiteX0" fmla="*/ 0 w 1130"/>
                          <a:gd name="connsiteY0" fmla="*/ 1507 h 1507"/>
                          <a:gd name="connsiteX1" fmla="*/ 0 w 1130"/>
                          <a:gd name="connsiteY1" fmla="*/ 754 h 1507"/>
                          <a:gd name="connsiteX2" fmla="*/ 502 w 1130"/>
                          <a:gd name="connsiteY2" fmla="*/ 0 h 1507"/>
                          <a:gd name="connsiteX3" fmla="*/ 1130 w 1130"/>
                          <a:gd name="connsiteY3" fmla="*/ 0 h 1507"/>
                          <a:gd name="connsiteX4" fmla="*/ 1130 w 1130"/>
                          <a:gd name="connsiteY4" fmla="*/ 754 h 1507"/>
                          <a:gd name="connsiteX5" fmla="*/ 502 w 1130"/>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1507"/>
                            </a:moveTo>
                            <a:lnTo>
                              <a:pt x="0" y="754"/>
                            </a:lnTo>
                            <a:lnTo>
                              <a:pt x="502" y="0"/>
                            </a:lnTo>
                            <a:lnTo>
                              <a:pt x="1130" y="0"/>
                            </a:lnTo>
                            <a:lnTo>
                              <a:pt x="1130" y="754"/>
                            </a:lnTo>
                            <a:lnTo>
                              <a:pt x="502"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55" name="Freeform: Shape 2854">
                        <a:extLst>
                          <a:ext uri="{FF2B5EF4-FFF2-40B4-BE49-F238E27FC236}">
                            <a16:creationId xmlns:a16="http://schemas.microsoft.com/office/drawing/2014/main" id="{233C0327-3021-4E4F-9FB5-B0F0737CBA66}"/>
                          </a:ext>
                        </a:extLst>
                      </p:cNvPr>
                      <p:cNvSpPr/>
                      <p:nvPr/>
                    </p:nvSpPr>
                    <p:spPr>
                      <a:xfrm>
                        <a:off x="5422433" y="3847446"/>
                        <a:ext cx="1004" cy="1381"/>
                      </a:xfrm>
                      <a:custGeom>
                        <a:avLst/>
                        <a:gdLst>
                          <a:gd name="connsiteX0" fmla="*/ 0 w 1004"/>
                          <a:gd name="connsiteY0" fmla="*/ 1381 h 1381"/>
                          <a:gd name="connsiteX1" fmla="*/ 0 w 1004"/>
                          <a:gd name="connsiteY1" fmla="*/ 628 h 1381"/>
                          <a:gd name="connsiteX2" fmla="*/ 502 w 1004"/>
                          <a:gd name="connsiteY2" fmla="*/ 0 h 1381"/>
                          <a:gd name="connsiteX3" fmla="*/ 1005 w 1004"/>
                          <a:gd name="connsiteY3" fmla="*/ 0 h 1381"/>
                          <a:gd name="connsiteX4" fmla="*/ 1005 w 1004"/>
                          <a:gd name="connsiteY4" fmla="*/ 754 h 1381"/>
                          <a:gd name="connsiteX5" fmla="*/ 502 w 1004"/>
                          <a:gd name="connsiteY5" fmla="*/ 1381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0" y="1381"/>
                            </a:moveTo>
                            <a:lnTo>
                              <a:pt x="0" y="628"/>
                            </a:lnTo>
                            <a:lnTo>
                              <a:pt x="502" y="0"/>
                            </a:lnTo>
                            <a:lnTo>
                              <a:pt x="1005" y="0"/>
                            </a:lnTo>
                            <a:lnTo>
                              <a:pt x="1005" y="754"/>
                            </a:lnTo>
                            <a:lnTo>
                              <a:pt x="502" y="1381"/>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856" name="Graphic 4">
                    <a:extLst>
                      <a:ext uri="{FF2B5EF4-FFF2-40B4-BE49-F238E27FC236}">
                        <a16:creationId xmlns:a16="http://schemas.microsoft.com/office/drawing/2014/main" id="{84FB7ED1-A2DF-40A1-A747-5F7CF3F14040}"/>
                      </a:ext>
                    </a:extLst>
                  </p:cNvPr>
                  <p:cNvGrpSpPr/>
                  <p:nvPr/>
                </p:nvGrpSpPr>
                <p:grpSpPr>
                  <a:xfrm>
                    <a:off x="5419293" y="3849707"/>
                    <a:ext cx="4019" cy="5149"/>
                    <a:chOff x="5419293" y="3849707"/>
                    <a:chExt cx="4019" cy="5149"/>
                  </a:xfrm>
                  <a:solidFill>
                    <a:srgbClr val="B1B6BE"/>
                  </a:solidFill>
                </p:grpSpPr>
                <p:grpSp>
                  <p:nvGrpSpPr>
                    <p:cNvPr id="2857" name="Graphic 4">
                      <a:extLst>
                        <a:ext uri="{FF2B5EF4-FFF2-40B4-BE49-F238E27FC236}">
                          <a16:creationId xmlns:a16="http://schemas.microsoft.com/office/drawing/2014/main" id="{84FB7ED1-A2DF-40A1-A747-5F7CF3F14040}"/>
                        </a:ext>
                      </a:extLst>
                    </p:cNvPr>
                    <p:cNvGrpSpPr/>
                    <p:nvPr/>
                  </p:nvGrpSpPr>
                  <p:grpSpPr>
                    <a:xfrm>
                      <a:off x="5420926" y="3849832"/>
                      <a:ext cx="753" cy="879"/>
                      <a:chOff x="5420926" y="3849832"/>
                      <a:chExt cx="753" cy="879"/>
                    </a:xfrm>
                    <a:solidFill>
                      <a:srgbClr val="B1B6BE"/>
                    </a:solidFill>
                  </p:grpSpPr>
                  <p:sp>
                    <p:nvSpPr>
                      <p:cNvPr id="2858" name="Freeform: Shape 2857">
                        <a:extLst>
                          <a:ext uri="{FF2B5EF4-FFF2-40B4-BE49-F238E27FC236}">
                            <a16:creationId xmlns:a16="http://schemas.microsoft.com/office/drawing/2014/main" id="{F631F623-D847-4908-9081-3DCE02C6C620}"/>
                          </a:ext>
                        </a:extLst>
                      </p:cNvPr>
                      <p:cNvSpPr/>
                      <p:nvPr/>
                    </p:nvSpPr>
                    <p:spPr>
                      <a:xfrm>
                        <a:off x="5420926" y="3849832"/>
                        <a:ext cx="753" cy="879"/>
                      </a:xfrm>
                      <a:custGeom>
                        <a:avLst/>
                        <a:gdLst>
                          <a:gd name="connsiteX0" fmla="*/ 251 w 753"/>
                          <a:gd name="connsiteY0" fmla="*/ 879 h 879"/>
                          <a:gd name="connsiteX1" fmla="*/ 0 w 753"/>
                          <a:gd name="connsiteY1" fmla="*/ 628 h 879"/>
                          <a:gd name="connsiteX2" fmla="*/ 251 w 753"/>
                          <a:gd name="connsiteY2" fmla="*/ 251 h 879"/>
                          <a:gd name="connsiteX3" fmla="*/ 628 w 753"/>
                          <a:gd name="connsiteY3" fmla="*/ 0 h 879"/>
                          <a:gd name="connsiteX4" fmla="*/ 754 w 753"/>
                          <a:gd name="connsiteY4" fmla="*/ 251 h 879"/>
                          <a:gd name="connsiteX5" fmla="*/ 628 w 753"/>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879"/>
                            </a:moveTo>
                            <a:lnTo>
                              <a:pt x="0" y="628"/>
                            </a:lnTo>
                            <a:lnTo>
                              <a:pt x="251" y="251"/>
                            </a:lnTo>
                            <a:lnTo>
                              <a:pt x="628" y="0"/>
                            </a:lnTo>
                            <a:lnTo>
                              <a:pt x="754" y="251"/>
                            </a:lnTo>
                            <a:lnTo>
                              <a:pt x="628"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59" name="Freeform: Shape 2858">
                        <a:extLst>
                          <a:ext uri="{FF2B5EF4-FFF2-40B4-BE49-F238E27FC236}">
                            <a16:creationId xmlns:a16="http://schemas.microsoft.com/office/drawing/2014/main" id="{11D68C72-B1BB-4679-BE6D-78051F04E7C2}"/>
                          </a:ext>
                        </a:extLst>
                      </p:cNvPr>
                      <p:cNvSpPr/>
                      <p:nvPr/>
                    </p:nvSpPr>
                    <p:spPr>
                      <a:xfrm>
                        <a:off x="5420926" y="3849832"/>
                        <a:ext cx="753" cy="879"/>
                      </a:xfrm>
                      <a:custGeom>
                        <a:avLst/>
                        <a:gdLst>
                          <a:gd name="connsiteX0" fmla="*/ 251 w 753"/>
                          <a:gd name="connsiteY0" fmla="*/ 879 h 879"/>
                          <a:gd name="connsiteX1" fmla="*/ 0 w 753"/>
                          <a:gd name="connsiteY1" fmla="*/ 628 h 879"/>
                          <a:gd name="connsiteX2" fmla="*/ 251 w 753"/>
                          <a:gd name="connsiteY2" fmla="*/ 251 h 879"/>
                          <a:gd name="connsiteX3" fmla="*/ 502 w 753"/>
                          <a:gd name="connsiteY3" fmla="*/ 0 h 879"/>
                          <a:gd name="connsiteX4" fmla="*/ 754 w 753"/>
                          <a:gd name="connsiteY4" fmla="*/ 251 h 879"/>
                          <a:gd name="connsiteX5" fmla="*/ 502 w 753"/>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879"/>
                            </a:moveTo>
                            <a:lnTo>
                              <a:pt x="0" y="628"/>
                            </a:lnTo>
                            <a:lnTo>
                              <a:pt x="251" y="251"/>
                            </a:lnTo>
                            <a:lnTo>
                              <a:pt x="502" y="0"/>
                            </a:lnTo>
                            <a:lnTo>
                              <a:pt x="754" y="251"/>
                            </a:lnTo>
                            <a:lnTo>
                              <a:pt x="502"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60" name="Graphic 4">
                      <a:extLst>
                        <a:ext uri="{FF2B5EF4-FFF2-40B4-BE49-F238E27FC236}">
                          <a16:creationId xmlns:a16="http://schemas.microsoft.com/office/drawing/2014/main" id="{84FB7ED1-A2DF-40A1-A747-5F7CF3F14040}"/>
                        </a:ext>
                      </a:extLst>
                    </p:cNvPr>
                    <p:cNvGrpSpPr/>
                    <p:nvPr/>
                  </p:nvGrpSpPr>
                  <p:grpSpPr>
                    <a:xfrm>
                      <a:off x="5420173" y="3850586"/>
                      <a:ext cx="627" cy="879"/>
                      <a:chOff x="5420173" y="3850586"/>
                      <a:chExt cx="627" cy="879"/>
                    </a:xfrm>
                    <a:solidFill>
                      <a:srgbClr val="B1B6BE"/>
                    </a:solidFill>
                  </p:grpSpPr>
                  <p:sp>
                    <p:nvSpPr>
                      <p:cNvPr id="2861" name="Freeform: Shape 2860">
                        <a:extLst>
                          <a:ext uri="{FF2B5EF4-FFF2-40B4-BE49-F238E27FC236}">
                            <a16:creationId xmlns:a16="http://schemas.microsoft.com/office/drawing/2014/main" id="{E2E6F84E-C72C-4284-955E-B073132D1AF2}"/>
                          </a:ext>
                        </a:extLst>
                      </p:cNvPr>
                      <p:cNvSpPr/>
                      <p:nvPr/>
                    </p:nvSpPr>
                    <p:spPr>
                      <a:xfrm>
                        <a:off x="5420173" y="3850586"/>
                        <a:ext cx="627" cy="879"/>
                      </a:xfrm>
                      <a:custGeom>
                        <a:avLst/>
                        <a:gdLst>
                          <a:gd name="connsiteX0" fmla="*/ 251 w 627"/>
                          <a:gd name="connsiteY0" fmla="*/ 879 h 879"/>
                          <a:gd name="connsiteX1" fmla="*/ 0 w 627"/>
                          <a:gd name="connsiteY1" fmla="*/ 754 h 879"/>
                          <a:gd name="connsiteX2" fmla="*/ 0 w 627"/>
                          <a:gd name="connsiteY2" fmla="*/ 377 h 879"/>
                          <a:gd name="connsiteX3" fmla="*/ 251 w 627"/>
                          <a:gd name="connsiteY3" fmla="*/ 0 h 879"/>
                          <a:gd name="connsiteX4" fmla="*/ 628 w 627"/>
                          <a:gd name="connsiteY4" fmla="*/ 0 h 879"/>
                          <a:gd name="connsiteX5" fmla="*/ 628 w 627"/>
                          <a:gd name="connsiteY5" fmla="*/ 502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251" y="879"/>
                            </a:moveTo>
                            <a:lnTo>
                              <a:pt x="0" y="754"/>
                            </a:lnTo>
                            <a:lnTo>
                              <a:pt x="0" y="377"/>
                            </a:lnTo>
                            <a:lnTo>
                              <a:pt x="251" y="0"/>
                            </a:lnTo>
                            <a:lnTo>
                              <a:pt x="628" y="0"/>
                            </a:lnTo>
                            <a:lnTo>
                              <a:pt x="628" y="502"/>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62" name="Freeform: Shape 2861">
                        <a:extLst>
                          <a:ext uri="{FF2B5EF4-FFF2-40B4-BE49-F238E27FC236}">
                            <a16:creationId xmlns:a16="http://schemas.microsoft.com/office/drawing/2014/main" id="{A0D0A27E-8653-455A-A39D-CEB2CD6F18B9}"/>
                          </a:ext>
                        </a:extLst>
                      </p:cNvPr>
                      <p:cNvSpPr/>
                      <p:nvPr/>
                    </p:nvSpPr>
                    <p:spPr>
                      <a:xfrm>
                        <a:off x="5420173" y="3850712"/>
                        <a:ext cx="502" cy="753"/>
                      </a:xfrm>
                      <a:custGeom>
                        <a:avLst/>
                        <a:gdLst>
                          <a:gd name="connsiteX0" fmla="*/ 251 w 502"/>
                          <a:gd name="connsiteY0" fmla="*/ 754 h 753"/>
                          <a:gd name="connsiteX1" fmla="*/ 0 w 502"/>
                          <a:gd name="connsiteY1" fmla="*/ 754 h 753"/>
                          <a:gd name="connsiteX2" fmla="*/ 0 w 502"/>
                          <a:gd name="connsiteY2" fmla="*/ 377 h 753"/>
                          <a:gd name="connsiteX3" fmla="*/ 251 w 502"/>
                          <a:gd name="connsiteY3" fmla="*/ 0 h 753"/>
                          <a:gd name="connsiteX4" fmla="*/ 502 w 502"/>
                          <a:gd name="connsiteY4" fmla="*/ 0 h 753"/>
                          <a:gd name="connsiteX5" fmla="*/ 502 w 502"/>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754"/>
                            </a:moveTo>
                            <a:lnTo>
                              <a:pt x="0" y="754"/>
                            </a:lnTo>
                            <a:lnTo>
                              <a:pt x="0" y="377"/>
                            </a:lnTo>
                            <a:lnTo>
                              <a:pt x="251" y="0"/>
                            </a:lnTo>
                            <a:lnTo>
                              <a:pt x="502" y="0"/>
                            </a:lnTo>
                            <a:lnTo>
                              <a:pt x="502"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63" name="Graphic 4">
                      <a:extLst>
                        <a:ext uri="{FF2B5EF4-FFF2-40B4-BE49-F238E27FC236}">
                          <a16:creationId xmlns:a16="http://schemas.microsoft.com/office/drawing/2014/main" id="{84FB7ED1-A2DF-40A1-A747-5F7CF3F14040}"/>
                        </a:ext>
                      </a:extLst>
                    </p:cNvPr>
                    <p:cNvGrpSpPr/>
                    <p:nvPr/>
                  </p:nvGrpSpPr>
                  <p:grpSpPr>
                    <a:xfrm>
                      <a:off x="5419419" y="3851716"/>
                      <a:ext cx="753" cy="879"/>
                      <a:chOff x="5419419" y="3851716"/>
                      <a:chExt cx="753" cy="879"/>
                    </a:xfrm>
                    <a:solidFill>
                      <a:srgbClr val="B1B6BE"/>
                    </a:solidFill>
                  </p:grpSpPr>
                  <p:sp>
                    <p:nvSpPr>
                      <p:cNvPr id="2864" name="Freeform: Shape 2863">
                        <a:extLst>
                          <a:ext uri="{FF2B5EF4-FFF2-40B4-BE49-F238E27FC236}">
                            <a16:creationId xmlns:a16="http://schemas.microsoft.com/office/drawing/2014/main" id="{857D0969-ECDF-48AB-9554-D97175D46461}"/>
                          </a:ext>
                        </a:extLst>
                      </p:cNvPr>
                      <p:cNvSpPr/>
                      <p:nvPr/>
                    </p:nvSpPr>
                    <p:spPr>
                      <a:xfrm>
                        <a:off x="5419419" y="3851716"/>
                        <a:ext cx="753" cy="879"/>
                      </a:xfrm>
                      <a:custGeom>
                        <a:avLst/>
                        <a:gdLst>
                          <a:gd name="connsiteX0" fmla="*/ 628 w 753"/>
                          <a:gd name="connsiteY0" fmla="*/ 628 h 879"/>
                          <a:gd name="connsiteX1" fmla="*/ 251 w 753"/>
                          <a:gd name="connsiteY1" fmla="*/ 879 h 879"/>
                          <a:gd name="connsiteX2" fmla="*/ 0 w 753"/>
                          <a:gd name="connsiteY2" fmla="*/ 628 h 879"/>
                          <a:gd name="connsiteX3" fmla="*/ 251 w 753"/>
                          <a:gd name="connsiteY3" fmla="*/ 126 h 879"/>
                          <a:gd name="connsiteX4" fmla="*/ 628 w 753"/>
                          <a:gd name="connsiteY4" fmla="*/ 0 h 879"/>
                          <a:gd name="connsiteX5" fmla="*/ 754 w 753"/>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628" y="628"/>
                            </a:moveTo>
                            <a:lnTo>
                              <a:pt x="251" y="879"/>
                            </a:lnTo>
                            <a:lnTo>
                              <a:pt x="0" y="628"/>
                            </a:lnTo>
                            <a:lnTo>
                              <a:pt x="251" y="126"/>
                            </a:lnTo>
                            <a:lnTo>
                              <a:pt x="628" y="0"/>
                            </a:lnTo>
                            <a:lnTo>
                              <a:pt x="754"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65" name="Freeform: Shape 2864">
                        <a:extLst>
                          <a:ext uri="{FF2B5EF4-FFF2-40B4-BE49-F238E27FC236}">
                            <a16:creationId xmlns:a16="http://schemas.microsoft.com/office/drawing/2014/main" id="{8B4BA05C-778E-498D-8B33-5F9CBC75FA65}"/>
                          </a:ext>
                        </a:extLst>
                      </p:cNvPr>
                      <p:cNvSpPr/>
                      <p:nvPr/>
                    </p:nvSpPr>
                    <p:spPr>
                      <a:xfrm>
                        <a:off x="5419544" y="3851716"/>
                        <a:ext cx="628" cy="879"/>
                      </a:xfrm>
                      <a:custGeom>
                        <a:avLst/>
                        <a:gdLst>
                          <a:gd name="connsiteX0" fmla="*/ 502 w 628"/>
                          <a:gd name="connsiteY0" fmla="*/ 628 h 879"/>
                          <a:gd name="connsiteX1" fmla="*/ 126 w 628"/>
                          <a:gd name="connsiteY1" fmla="*/ 879 h 879"/>
                          <a:gd name="connsiteX2" fmla="*/ 0 w 628"/>
                          <a:gd name="connsiteY2" fmla="*/ 628 h 879"/>
                          <a:gd name="connsiteX3" fmla="*/ 126 w 628"/>
                          <a:gd name="connsiteY3" fmla="*/ 251 h 879"/>
                          <a:gd name="connsiteX4" fmla="*/ 502 w 628"/>
                          <a:gd name="connsiteY4" fmla="*/ 0 h 879"/>
                          <a:gd name="connsiteX5" fmla="*/ 628 w 628"/>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502" y="628"/>
                            </a:moveTo>
                            <a:lnTo>
                              <a:pt x="126" y="879"/>
                            </a:lnTo>
                            <a:lnTo>
                              <a:pt x="0" y="628"/>
                            </a:lnTo>
                            <a:lnTo>
                              <a:pt x="126" y="251"/>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66" name="Graphic 4">
                      <a:extLst>
                        <a:ext uri="{FF2B5EF4-FFF2-40B4-BE49-F238E27FC236}">
                          <a16:creationId xmlns:a16="http://schemas.microsoft.com/office/drawing/2014/main" id="{84FB7ED1-A2DF-40A1-A747-5F7CF3F14040}"/>
                        </a:ext>
                      </a:extLst>
                    </p:cNvPr>
                    <p:cNvGrpSpPr/>
                    <p:nvPr/>
                  </p:nvGrpSpPr>
                  <p:grpSpPr>
                    <a:xfrm>
                      <a:off x="5419293" y="3852847"/>
                      <a:ext cx="627" cy="753"/>
                      <a:chOff x="5419293" y="3852847"/>
                      <a:chExt cx="627" cy="753"/>
                    </a:xfrm>
                    <a:solidFill>
                      <a:srgbClr val="B1B6BE"/>
                    </a:solidFill>
                  </p:grpSpPr>
                  <p:sp>
                    <p:nvSpPr>
                      <p:cNvPr id="2867" name="Freeform: Shape 2866">
                        <a:extLst>
                          <a:ext uri="{FF2B5EF4-FFF2-40B4-BE49-F238E27FC236}">
                            <a16:creationId xmlns:a16="http://schemas.microsoft.com/office/drawing/2014/main" id="{6CC6A26B-A379-409E-8D42-B0AD3391ED2D}"/>
                          </a:ext>
                        </a:extLst>
                      </p:cNvPr>
                      <p:cNvSpPr/>
                      <p:nvPr/>
                    </p:nvSpPr>
                    <p:spPr>
                      <a:xfrm>
                        <a:off x="5419293" y="3852847"/>
                        <a:ext cx="627" cy="753"/>
                      </a:xfrm>
                      <a:custGeom>
                        <a:avLst/>
                        <a:gdLst>
                          <a:gd name="connsiteX0" fmla="*/ 628 w 627"/>
                          <a:gd name="connsiteY0" fmla="*/ 377 h 753"/>
                          <a:gd name="connsiteX1" fmla="*/ 251 w 627"/>
                          <a:gd name="connsiteY1" fmla="*/ 754 h 753"/>
                          <a:gd name="connsiteX2" fmla="*/ 0 w 627"/>
                          <a:gd name="connsiteY2" fmla="*/ 754 h 753"/>
                          <a:gd name="connsiteX3" fmla="*/ 0 w 627"/>
                          <a:gd name="connsiteY3" fmla="*/ 377 h 753"/>
                          <a:gd name="connsiteX4" fmla="*/ 251 w 627"/>
                          <a:gd name="connsiteY4" fmla="*/ 0 h 753"/>
                          <a:gd name="connsiteX5" fmla="*/ 628 w 627"/>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628" y="377"/>
                            </a:moveTo>
                            <a:lnTo>
                              <a:pt x="251" y="754"/>
                            </a:lnTo>
                            <a:lnTo>
                              <a:pt x="0" y="754"/>
                            </a:lnTo>
                            <a:lnTo>
                              <a:pt x="0" y="377"/>
                            </a:lnTo>
                            <a:lnTo>
                              <a:pt x="251"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68" name="Freeform: Shape 2867">
                        <a:extLst>
                          <a:ext uri="{FF2B5EF4-FFF2-40B4-BE49-F238E27FC236}">
                            <a16:creationId xmlns:a16="http://schemas.microsoft.com/office/drawing/2014/main" id="{490BD9A0-FD56-4877-ACCF-7831A07A6CB5}"/>
                          </a:ext>
                        </a:extLst>
                      </p:cNvPr>
                      <p:cNvSpPr/>
                      <p:nvPr/>
                    </p:nvSpPr>
                    <p:spPr>
                      <a:xfrm>
                        <a:off x="5419293" y="3852847"/>
                        <a:ext cx="627" cy="753"/>
                      </a:xfrm>
                      <a:custGeom>
                        <a:avLst/>
                        <a:gdLst>
                          <a:gd name="connsiteX0" fmla="*/ 628 w 627"/>
                          <a:gd name="connsiteY0" fmla="*/ 377 h 753"/>
                          <a:gd name="connsiteX1" fmla="*/ 251 w 627"/>
                          <a:gd name="connsiteY1" fmla="*/ 754 h 753"/>
                          <a:gd name="connsiteX2" fmla="*/ 0 w 627"/>
                          <a:gd name="connsiteY2" fmla="*/ 754 h 753"/>
                          <a:gd name="connsiteX3" fmla="*/ 0 w 627"/>
                          <a:gd name="connsiteY3" fmla="*/ 377 h 753"/>
                          <a:gd name="connsiteX4" fmla="*/ 251 w 627"/>
                          <a:gd name="connsiteY4" fmla="*/ 0 h 753"/>
                          <a:gd name="connsiteX5" fmla="*/ 628 w 627"/>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628" y="377"/>
                            </a:moveTo>
                            <a:lnTo>
                              <a:pt x="251" y="754"/>
                            </a:lnTo>
                            <a:lnTo>
                              <a:pt x="0" y="754"/>
                            </a:lnTo>
                            <a:lnTo>
                              <a:pt x="0" y="377"/>
                            </a:lnTo>
                            <a:lnTo>
                              <a:pt x="251"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69" name="Graphic 4">
                      <a:extLst>
                        <a:ext uri="{FF2B5EF4-FFF2-40B4-BE49-F238E27FC236}">
                          <a16:creationId xmlns:a16="http://schemas.microsoft.com/office/drawing/2014/main" id="{84FB7ED1-A2DF-40A1-A747-5F7CF3F14040}"/>
                        </a:ext>
                      </a:extLst>
                    </p:cNvPr>
                    <p:cNvGrpSpPr/>
                    <p:nvPr/>
                  </p:nvGrpSpPr>
                  <p:grpSpPr>
                    <a:xfrm>
                      <a:off x="5419419" y="3853600"/>
                      <a:ext cx="753" cy="1004"/>
                      <a:chOff x="5419419" y="3853600"/>
                      <a:chExt cx="753" cy="1004"/>
                    </a:xfrm>
                    <a:solidFill>
                      <a:srgbClr val="B1B6BE"/>
                    </a:solidFill>
                  </p:grpSpPr>
                  <p:sp>
                    <p:nvSpPr>
                      <p:cNvPr id="2870" name="Freeform: Shape 2869">
                        <a:extLst>
                          <a:ext uri="{FF2B5EF4-FFF2-40B4-BE49-F238E27FC236}">
                            <a16:creationId xmlns:a16="http://schemas.microsoft.com/office/drawing/2014/main" id="{BB9BD653-FF0D-4BB1-B70E-B341DCDF9CC6}"/>
                          </a:ext>
                        </a:extLst>
                      </p:cNvPr>
                      <p:cNvSpPr/>
                      <p:nvPr/>
                    </p:nvSpPr>
                    <p:spPr>
                      <a:xfrm>
                        <a:off x="5419419" y="3853600"/>
                        <a:ext cx="753" cy="1004"/>
                      </a:xfrm>
                      <a:custGeom>
                        <a:avLst/>
                        <a:gdLst>
                          <a:gd name="connsiteX0" fmla="*/ 754 w 753"/>
                          <a:gd name="connsiteY0" fmla="*/ 251 h 1004"/>
                          <a:gd name="connsiteX1" fmla="*/ 628 w 753"/>
                          <a:gd name="connsiteY1" fmla="*/ 754 h 1004"/>
                          <a:gd name="connsiteX2" fmla="*/ 251 w 753"/>
                          <a:gd name="connsiteY2" fmla="*/ 1005 h 1004"/>
                          <a:gd name="connsiteX3" fmla="*/ 0 w 753"/>
                          <a:gd name="connsiteY3" fmla="*/ 754 h 1004"/>
                          <a:gd name="connsiteX4" fmla="*/ 251 w 753"/>
                          <a:gd name="connsiteY4" fmla="*/ 251 h 1004"/>
                          <a:gd name="connsiteX5" fmla="*/ 628 w 753"/>
                          <a:gd name="connsiteY5" fmla="*/ 0 h 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1004">
                            <a:moveTo>
                              <a:pt x="754" y="251"/>
                            </a:moveTo>
                            <a:lnTo>
                              <a:pt x="628" y="754"/>
                            </a:lnTo>
                            <a:lnTo>
                              <a:pt x="251" y="1005"/>
                            </a:lnTo>
                            <a:lnTo>
                              <a:pt x="0" y="754"/>
                            </a:lnTo>
                            <a:lnTo>
                              <a:pt x="251" y="251"/>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71" name="Freeform: Shape 2870">
                        <a:extLst>
                          <a:ext uri="{FF2B5EF4-FFF2-40B4-BE49-F238E27FC236}">
                            <a16:creationId xmlns:a16="http://schemas.microsoft.com/office/drawing/2014/main" id="{2F12963B-E3AB-4E18-9964-AF21BA58E86B}"/>
                          </a:ext>
                        </a:extLst>
                      </p:cNvPr>
                      <p:cNvSpPr/>
                      <p:nvPr/>
                    </p:nvSpPr>
                    <p:spPr>
                      <a:xfrm>
                        <a:off x="5419544" y="3853726"/>
                        <a:ext cx="628" cy="753"/>
                      </a:xfrm>
                      <a:custGeom>
                        <a:avLst/>
                        <a:gdLst>
                          <a:gd name="connsiteX0" fmla="*/ 628 w 628"/>
                          <a:gd name="connsiteY0" fmla="*/ 126 h 753"/>
                          <a:gd name="connsiteX1" fmla="*/ 502 w 628"/>
                          <a:gd name="connsiteY1" fmla="*/ 628 h 753"/>
                          <a:gd name="connsiteX2" fmla="*/ 126 w 628"/>
                          <a:gd name="connsiteY2" fmla="*/ 754 h 753"/>
                          <a:gd name="connsiteX3" fmla="*/ 0 w 628"/>
                          <a:gd name="connsiteY3" fmla="*/ 502 h 753"/>
                          <a:gd name="connsiteX4" fmla="*/ 126 w 628"/>
                          <a:gd name="connsiteY4" fmla="*/ 126 h 753"/>
                          <a:gd name="connsiteX5" fmla="*/ 502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126"/>
                            </a:moveTo>
                            <a:lnTo>
                              <a:pt x="502" y="628"/>
                            </a:lnTo>
                            <a:lnTo>
                              <a:pt x="126" y="754"/>
                            </a:lnTo>
                            <a:lnTo>
                              <a:pt x="0" y="502"/>
                            </a:lnTo>
                            <a:lnTo>
                              <a:pt x="126"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72" name="Graphic 4">
                      <a:extLst>
                        <a:ext uri="{FF2B5EF4-FFF2-40B4-BE49-F238E27FC236}">
                          <a16:creationId xmlns:a16="http://schemas.microsoft.com/office/drawing/2014/main" id="{84FB7ED1-A2DF-40A1-A747-5F7CF3F14040}"/>
                        </a:ext>
                      </a:extLst>
                    </p:cNvPr>
                    <p:cNvGrpSpPr/>
                    <p:nvPr/>
                  </p:nvGrpSpPr>
                  <p:grpSpPr>
                    <a:xfrm>
                      <a:off x="5420173" y="3854103"/>
                      <a:ext cx="502" cy="753"/>
                      <a:chOff x="5420173" y="3854103"/>
                      <a:chExt cx="502" cy="753"/>
                    </a:xfrm>
                    <a:solidFill>
                      <a:srgbClr val="B1B6BE"/>
                    </a:solidFill>
                  </p:grpSpPr>
                  <p:sp>
                    <p:nvSpPr>
                      <p:cNvPr id="2873" name="Freeform: Shape 2872">
                        <a:extLst>
                          <a:ext uri="{FF2B5EF4-FFF2-40B4-BE49-F238E27FC236}">
                            <a16:creationId xmlns:a16="http://schemas.microsoft.com/office/drawing/2014/main" id="{D0E53518-B01C-405B-8A3F-026ED273C13E}"/>
                          </a:ext>
                        </a:extLst>
                      </p:cNvPr>
                      <p:cNvSpPr/>
                      <p:nvPr/>
                    </p:nvSpPr>
                    <p:spPr>
                      <a:xfrm>
                        <a:off x="5420173" y="3854103"/>
                        <a:ext cx="502" cy="753"/>
                      </a:xfrm>
                      <a:custGeom>
                        <a:avLst/>
                        <a:gdLst>
                          <a:gd name="connsiteX0" fmla="*/ 502 w 502"/>
                          <a:gd name="connsiteY0" fmla="*/ 0 h 753"/>
                          <a:gd name="connsiteX1" fmla="*/ 502 w 502"/>
                          <a:gd name="connsiteY1" fmla="*/ 377 h 753"/>
                          <a:gd name="connsiteX2" fmla="*/ 251 w 502"/>
                          <a:gd name="connsiteY2" fmla="*/ 754 h 753"/>
                          <a:gd name="connsiteX3" fmla="*/ 0 w 502"/>
                          <a:gd name="connsiteY3" fmla="*/ 754 h 753"/>
                          <a:gd name="connsiteX4" fmla="*/ 0 w 502"/>
                          <a:gd name="connsiteY4" fmla="*/ 377 h 753"/>
                          <a:gd name="connsiteX5" fmla="*/ 251 w 502"/>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502" y="0"/>
                            </a:moveTo>
                            <a:lnTo>
                              <a:pt x="502" y="377"/>
                            </a:lnTo>
                            <a:lnTo>
                              <a:pt x="251" y="754"/>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74" name="Freeform: Shape 2873">
                        <a:extLst>
                          <a:ext uri="{FF2B5EF4-FFF2-40B4-BE49-F238E27FC236}">
                            <a16:creationId xmlns:a16="http://schemas.microsoft.com/office/drawing/2014/main" id="{719D3705-CF5D-4ECB-8974-70AF61A2773F}"/>
                          </a:ext>
                        </a:extLst>
                      </p:cNvPr>
                      <p:cNvSpPr/>
                      <p:nvPr/>
                    </p:nvSpPr>
                    <p:spPr>
                      <a:xfrm>
                        <a:off x="5420173" y="3854103"/>
                        <a:ext cx="502" cy="753"/>
                      </a:xfrm>
                      <a:custGeom>
                        <a:avLst/>
                        <a:gdLst>
                          <a:gd name="connsiteX0" fmla="*/ 502 w 502"/>
                          <a:gd name="connsiteY0" fmla="*/ 0 h 753"/>
                          <a:gd name="connsiteX1" fmla="*/ 502 w 502"/>
                          <a:gd name="connsiteY1" fmla="*/ 377 h 753"/>
                          <a:gd name="connsiteX2" fmla="*/ 251 w 502"/>
                          <a:gd name="connsiteY2" fmla="*/ 754 h 753"/>
                          <a:gd name="connsiteX3" fmla="*/ 0 w 502"/>
                          <a:gd name="connsiteY3" fmla="*/ 628 h 753"/>
                          <a:gd name="connsiteX4" fmla="*/ 0 w 502"/>
                          <a:gd name="connsiteY4" fmla="*/ 377 h 753"/>
                          <a:gd name="connsiteX5" fmla="*/ 251 w 502"/>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502" y="0"/>
                            </a:moveTo>
                            <a:lnTo>
                              <a:pt x="502" y="377"/>
                            </a:lnTo>
                            <a:lnTo>
                              <a:pt x="251" y="754"/>
                            </a:lnTo>
                            <a:lnTo>
                              <a:pt x="0" y="628"/>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75" name="Graphic 4">
                      <a:extLst>
                        <a:ext uri="{FF2B5EF4-FFF2-40B4-BE49-F238E27FC236}">
                          <a16:creationId xmlns:a16="http://schemas.microsoft.com/office/drawing/2014/main" id="{84FB7ED1-A2DF-40A1-A747-5F7CF3F14040}"/>
                        </a:ext>
                      </a:extLst>
                    </p:cNvPr>
                    <p:cNvGrpSpPr/>
                    <p:nvPr/>
                  </p:nvGrpSpPr>
                  <p:grpSpPr>
                    <a:xfrm>
                      <a:off x="5420926" y="3853851"/>
                      <a:ext cx="753" cy="879"/>
                      <a:chOff x="5420926" y="3853851"/>
                      <a:chExt cx="753" cy="879"/>
                    </a:xfrm>
                    <a:solidFill>
                      <a:srgbClr val="B1B6BE"/>
                    </a:solidFill>
                  </p:grpSpPr>
                  <p:sp>
                    <p:nvSpPr>
                      <p:cNvPr id="2876" name="Freeform: Shape 2875">
                        <a:extLst>
                          <a:ext uri="{FF2B5EF4-FFF2-40B4-BE49-F238E27FC236}">
                            <a16:creationId xmlns:a16="http://schemas.microsoft.com/office/drawing/2014/main" id="{992EF3BE-1FD0-4EDC-B4B5-149FB3710F7C}"/>
                          </a:ext>
                        </a:extLst>
                      </p:cNvPr>
                      <p:cNvSpPr/>
                      <p:nvPr/>
                    </p:nvSpPr>
                    <p:spPr>
                      <a:xfrm>
                        <a:off x="5420926" y="3853851"/>
                        <a:ext cx="753" cy="879"/>
                      </a:xfrm>
                      <a:custGeom>
                        <a:avLst/>
                        <a:gdLst>
                          <a:gd name="connsiteX0" fmla="*/ 502 w 753"/>
                          <a:gd name="connsiteY0" fmla="*/ 0 h 879"/>
                          <a:gd name="connsiteX1" fmla="*/ 754 w 753"/>
                          <a:gd name="connsiteY1" fmla="*/ 251 h 879"/>
                          <a:gd name="connsiteX2" fmla="*/ 502 w 753"/>
                          <a:gd name="connsiteY2" fmla="*/ 628 h 879"/>
                          <a:gd name="connsiteX3" fmla="*/ 125 w 753"/>
                          <a:gd name="connsiteY3" fmla="*/ 879 h 879"/>
                          <a:gd name="connsiteX4" fmla="*/ 0 w 753"/>
                          <a:gd name="connsiteY4" fmla="*/ 628 h 879"/>
                          <a:gd name="connsiteX5" fmla="*/ 125 w 753"/>
                          <a:gd name="connsiteY5" fmla="*/ 126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502" y="0"/>
                            </a:moveTo>
                            <a:lnTo>
                              <a:pt x="754" y="251"/>
                            </a:lnTo>
                            <a:lnTo>
                              <a:pt x="502" y="628"/>
                            </a:lnTo>
                            <a:lnTo>
                              <a:pt x="125" y="879"/>
                            </a:lnTo>
                            <a:lnTo>
                              <a:pt x="0" y="628"/>
                            </a:lnTo>
                            <a:lnTo>
                              <a:pt x="125"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77" name="Freeform: Shape 2876">
                        <a:extLst>
                          <a:ext uri="{FF2B5EF4-FFF2-40B4-BE49-F238E27FC236}">
                            <a16:creationId xmlns:a16="http://schemas.microsoft.com/office/drawing/2014/main" id="{D674964C-ADD8-4712-8AC0-B18D7A890883}"/>
                          </a:ext>
                        </a:extLst>
                      </p:cNvPr>
                      <p:cNvSpPr/>
                      <p:nvPr/>
                    </p:nvSpPr>
                    <p:spPr>
                      <a:xfrm>
                        <a:off x="5421051" y="3853851"/>
                        <a:ext cx="628" cy="753"/>
                      </a:xfrm>
                      <a:custGeom>
                        <a:avLst/>
                        <a:gdLst>
                          <a:gd name="connsiteX0" fmla="*/ 377 w 628"/>
                          <a:gd name="connsiteY0" fmla="*/ 0 h 753"/>
                          <a:gd name="connsiteX1" fmla="*/ 628 w 628"/>
                          <a:gd name="connsiteY1" fmla="*/ 126 h 753"/>
                          <a:gd name="connsiteX2" fmla="*/ 377 w 628"/>
                          <a:gd name="connsiteY2" fmla="*/ 628 h 753"/>
                          <a:gd name="connsiteX3" fmla="*/ 126 w 628"/>
                          <a:gd name="connsiteY3" fmla="*/ 754 h 753"/>
                          <a:gd name="connsiteX4" fmla="*/ 0 w 628"/>
                          <a:gd name="connsiteY4" fmla="*/ 502 h 753"/>
                          <a:gd name="connsiteX5" fmla="*/ 126 w 628"/>
                          <a:gd name="connsiteY5" fmla="*/ 126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0"/>
                            </a:moveTo>
                            <a:lnTo>
                              <a:pt x="628" y="126"/>
                            </a:lnTo>
                            <a:lnTo>
                              <a:pt x="377" y="628"/>
                            </a:lnTo>
                            <a:lnTo>
                              <a:pt x="126" y="754"/>
                            </a:lnTo>
                            <a:lnTo>
                              <a:pt x="0" y="502"/>
                            </a:lnTo>
                            <a:lnTo>
                              <a:pt x="126"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78" name="Graphic 4">
                      <a:extLst>
                        <a:ext uri="{FF2B5EF4-FFF2-40B4-BE49-F238E27FC236}">
                          <a16:creationId xmlns:a16="http://schemas.microsoft.com/office/drawing/2014/main" id="{84FB7ED1-A2DF-40A1-A747-5F7CF3F14040}"/>
                        </a:ext>
                      </a:extLst>
                    </p:cNvPr>
                    <p:cNvGrpSpPr/>
                    <p:nvPr/>
                  </p:nvGrpSpPr>
                  <p:grpSpPr>
                    <a:xfrm>
                      <a:off x="5421805" y="3853098"/>
                      <a:ext cx="628" cy="753"/>
                      <a:chOff x="5421805" y="3853098"/>
                      <a:chExt cx="628" cy="753"/>
                    </a:xfrm>
                    <a:solidFill>
                      <a:srgbClr val="B1B6BE"/>
                    </a:solidFill>
                  </p:grpSpPr>
                  <p:sp>
                    <p:nvSpPr>
                      <p:cNvPr id="2879" name="Freeform: Shape 2878">
                        <a:extLst>
                          <a:ext uri="{FF2B5EF4-FFF2-40B4-BE49-F238E27FC236}">
                            <a16:creationId xmlns:a16="http://schemas.microsoft.com/office/drawing/2014/main" id="{762D15C8-623A-4804-B349-D678A383E577}"/>
                          </a:ext>
                        </a:extLst>
                      </p:cNvPr>
                      <p:cNvSpPr/>
                      <p:nvPr/>
                    </p:nvSpPr>
                    <p:spPr>
                      <a:xfrm>
                        <a:off x="5421805" y="3853098"/>
                        <a:ext cx="628" cy="753"/>
                      </a:xfrm>
                      <a:custGeom>
                        <a:avLst/>
                        <a:gdLst>
                          <a:gd name="connsiteX0" fmla="*/ 377 w 628"/>
                          <a:gd name="connsiteY0" fmla="*/ 0 h 753"/>
                          <a:gd name="connsiteX1" fmla="*/ 628 w 628"/>
                          <a:gd name="connsiteY1" fmla="*/ 0 h 753"/>
                          <a:gd name="connsiteX2" fmla="*/ 628 w 628"/>
                          <a:gd name="connsiteY2" fmla="*/ 377 h 753"/>
                          <a:gd name="connsiteX3" fmla="*/ 377 w 628"/>
                          <a:gd name="connsiteY3" fmla="*/ 754 h 753"/>
                          <a:gd name="connsiteX4" fmla="*/ 0 w 628"/>
                          <a:gd name="connsiteY4" fmla="*/ 754 h 753"/>
                          <a:gd name="connsiteX5" fmla="*/ 0 w 628"/>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0"/>
                            </a:moveTo>
                            <a:lnTo>
                              <a:pt x="628" y="0"/>
                            </a:lnTo>
                            <a:lnTo>
                              <a:pt x="628" y="377"/>
                            </a:lnTo>
                            <a:lnTo>
                              <a:pt x="377"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0" name="Freeform: Shape 2879">
                        <a:extLst>
                          <a:ext uri="{FF2B5EF4-FFF2-40B4-BE49-F238E27FC236}">
                            <a16:creationId xmlns:a16="http://schemas.microsoft.com/office/drawing/2014/main" id="{0187937F-EF02-4AD6-8C68-2959B89EB8FB}"/>
                          </a:ext>
                        </a:extLst>
                      </p:cNvPr>
                      <p:cNvSpPr/>
                      <p:nvPr/>
                    </p:nvSpPr>
                    <p:spPr>
                      <a:xfrm>
                        <a:off x="5421931" y="3853098"/>
                        <a:ext cx="502" cy="753"/>
                      </a:xfrm>
                      <a:custGeom>
                        <a:avLst/>
                        <a:gdLst>
                          <a:gd name="connsiteX0" fmla="*/ 251 w 502"/>
                          <a:gd name="connsiteY0" fmla="*/ 0 h 753"/>
                          <a:gd name="connsiteX1" fmla="*/ 502 w 502"/>
                          <a:gd name="connsiteY1" fmla="*/ 0 h 753"/>
                          <a:gd name="connsiteX2" fmla="*/ 502 w 502"/>
                          <a:gd name="connsiteY2" fmla="*/ 377 h 753"/>
                          <a:gd name="connsiteX3" fmla="*/ 251 w 502"/>
                          <a:gd name="connsiteY3" fmla="*/ 754 h 753"/>
                          <a:gd name="connsiteX4" fmla="*/ 0 w 502"/>
                          <a:gd name="connsiteY4" fmla="*/ 754 h 753"/>
                          <a:gd name="connsiteX5" fmla="*/ 0 w 502"/>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0"/>
                            </a:moveTo>
                            <a:lnTo>
                              <a:pt x="502" y="0"/>
                            </a:lnTo>
                            <a:lnTo>
                              <a:pt x="502" y="377"/>
                            </a:lnTo>
                            <a:lnTo>
                              <a:pt x="251"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81" name="Graphic 4">
                      <a:extLst>
                        <a:ext uri="{FF2B5EF4-FFF2-40B4-BE49-F238E27FC236}">
                          <a16:creationId xmlns:a16="http://schemas.microsoft.com/office/drawing/2014/main" id="{84FB7ED1-A2DF-40A1-A747-5F7CF3F14040}"/>
                        </a:ext>
                      </a:extLst>
                    </p:cNvPr>
                    <p:cNvGrpSpPr/>
                    <p:nvPr/>
                  </p:nvGrpSpPr>
                  <p:grpSpPr>
                    <a:xfrm>
                      <a:off x="5422433" y="3851967"/>
                      <a:ext cx="753" cy="879"/>
                      <a:chOff x="5422433" y="3851967"/>
                      <a:chExt cx="753" cy="879"/>
                    </a:xfrm>
                    <a:solidFill>
                      <a:srgbClr val="B1B6BE"/>
                    </a:solidFill>
                  </p:grpSpPr>
                  <p:sp>
                    <p:nvSpPr>
                      <p:cNvPr id="2882" name="Freeform: Shape 2881">
                        <a:extLst>
                          <a:ext uri="{FF2B5EF4-FFF2-40B4-BE49-F238E27FC236}">
                            <a16:creationId xmlns:a16="http://schemas.microsoft.com/office/drawing/2014/main" id="{A5E2B19A-E8BD-4EB5-9A72-96E9C8EE4961}"/>
                          </a:ext>
                        </a:extLst>
                      </p:cNvPr>
                      <p:cNvSpPr/>
                      <p:nvPr/>
                    </p:nvSpPr>
                    <p:spPr>
                      <a:xfrm>
                        <a:off x="5422433" y="3851967"/>
                        <a:ext cx="753" cy="879"/>
                      </a:xfrm>
                      <a:custGeom>
                        <a:avLst/>
                        <a:gdLst>
                          <a:gd name="connsiteX0" fmla="*/ 126 w 753"/>
                          <a:gd name="connsiteY0" fmla="*/ 251 h 879"/>
                          <a:gd name="connsiteX1" fmla="*/ 502 w 753"/>
                          <a:gd name="connsiteY1" fmla="*/ 0 h 879"/>
                          <a:gd name="connsiteX2" fmla="*/ 754 w 753"/>
                          <a:gd name="connsiteY2" fmla="*/ 251 h 879"/>
                          <a:gd name="connsiteX3" fmla="*/ 502 w 753"/>
                          <a:gd name="connsiteY3" fmla="*/ 754 h 879"/>
                          <a:gd name="connsiteX4" fmla="*/ 126 w 753"/>
                          <a:gd name="connsiteY4" fmla="*/ 879 h 879"/>
                          <a:gd name="connsiteX5" fmla="*/ 0 w 753"/>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126" y="251"/>
                            </a:moveTo>
                            <a:lnTo>
                              <a:pt x="502" y="0"/>
                            </a:lnTo>
                            <a:lnTo>
                              <a:pt x="754" y="251"/>
                            </a:lnTo>
                            <a:lnTo>
                              <a:pt x="502" y="754"/>
                            </a:lnTo>
                            <a:lnTo>
                              <a:pt x="126"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3" name="Freeform: Shape 2882">
                        <a:extLst>
                          <a:ext uri="{FF2B5EF4-FFF2-40B4-BE49-F238E27FC236}">
                            <a16:creationId xmlns:a16="http://schemas.microsoft.com/office/drawing/2014/main" id="{FDEDDF16-BEC6-4DFB-B289-7560859AA89B}"/>
                          </a:ext>
                        </a:extLst>
                      </p:cNvPr>
                      <p:cNvSpPr/>
                      <p:nvPr/>
                    </p:nvSpPr>
                    <p:spPr>
                      <a:xfrm>
                        <a:off x="5422433" y="3851967"/>
                        <a:ext cx="627" cy="879"/>
                      </a:xfrm>
                      <a:custGeom>
                        <a:avLst/>
                        <a:gdLst>
                          <a:gd name="connsiteX0" fmla="*/ 251 w 627"/>
                          <a:gd name="connsiteY0" fmla="*/ 251 h 879"/>
                          <a:gd name="connsiteX1" fmla="*/ 502 w 627"/>
                          <a:gd name="connsiteY1" fmla="*/ 0 h 879"/>
                          <a:gd name="connsiteX2" fmla="*/ 628 w 627"/>
                          <a:gd name="connsiteY2" fmla="*/ 251 h 879"/>
                          <a:gd name="connsiteX3" fmla="*/ 502 w 627"/>
                          <a:gd name="connsiteY3" fmla="*/ 628 h 879"/>
                          <a:gd name="connsiteX4" fmla="*/ 251 w 627"/>
                          <a:gd name="connsiteY4" fmla="*/ 879 h 879"/>
                          <a:gd name="connsiteX5" fmla="*/ 0 w 627"/>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251" y="251"/>
                            </a:moveTo>
                            <a:lnTo>
                              <a:pt x="502" y="0"/>
                            </a:lnTo>
                            <a:lnTo>
                              <a:pt x="628" y="251"/>
                            </a:lnTo>
                            <a:lnTo>
                              <a:pt x="502" y="628"/>
                            </a:lnTo>
                            <a:lnTo>
                              <a:pt x="251"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84" name="Graphic 4">
                      <a:extLst>
                        <a:ext uri="{FF2B5EF4-FFF2-40B4-BE49-F238E27FC236}">
                          <a16:creationId xmlns:a16="http://schemas.microsoft.com/office/drawing/2014/main" id="{84FB7ED1-A2DF-40A1-A747-5F7CF3F14040}"/>
                        </a:ext>
                      </a:extLst>
                    </p:cNvPr>
                    <p:cNvGrpSpPr/>
                    <p:nvPr/>
                  </p:nvGrpSpPr>
                  <p:grpSpPr>
                    <a:xfrm>
                      <a:off x="5422684" y="3850963"/>
                      <a:ext cx="628" cy="753"/>
                      <a:chOff x="5422684" y="3850963"/>
                      <a:chExt cx="628" cy="753"/>
                    </a:xfrm>
                    <a:solidFill>
                      <a:srgbClr val="B1B6BE"/>
                    </a:solidFill>
                  </p:grpSpPr>
                  <p:sp>
                    <p:nvSpPr>
                      <p:cNvPr id="2885" name="Freeform: Shape 2884">
                        <a:extLst>
                          <a:ext uri="{FF2B5EF4-FFF2-40B4-BE49-F238E27FC236}">
                            <a16:creationId xmlns:a16="http://schemas.microsoft.com/office/drawing/2014/main" id="{EBE8E2F9-E612-451E-8905-2EA1B39F45EF}"/>
                          </a:ext>
                        </a:extLst>
                      </p:cNvPr>
                      <p:cNvSpPr/>
                      <p:nvPr/>
                    </p:nvSpPr>
                    <p:spPr>
                      <a:xfrm>
                        <a:off x="5422684" y="3850963"/>
                        <a:ext cx="628" cy="753"/>
                      </a:xfrm>
                      <a:custGeom>
                        <a:avLst/>
                        <a:gdLst>
                          <a:gd name="connsiteX0" fmla="*/ 0 w 628"/>
                          <a:gd name="connsiteY0" fmla="*/ 377 h 753"/>
                          <a:gd name="connsiteX1" fmla="*/ 377 w 628"/>
                          <a:gd name="connsiteY1" fmla="*/ 0 h 753"/>
                          <a:gd name="connsiteX2" fmla="*/ 628 w 628"/>
                          <a:gd name="connsiteY2" fmla="*/ 0 h 753"/>
                          <a:gd name="connsiteX3" fmla="*/ 628 w 628"/>
                          <a:gd name="connsiteY3" fmla="*/ 377 h 753"/>
                          <a:gd name="connsiteX4" fmla="*/ 377 w 628"/>
                          <a:gd name="connsiteY4" fmla="*/ 754 h 753"/>
                          <a:gd name="connsiteX5" fmla="*/ 0 w 628"/>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0" y="377"/>
                            </a:moveTo>
                            <a:lnTo>
                              <a:pt x="377" y="0"/>
                            </a:lnTo>
                            <a:lnTo>
                              <a:pt x="628" y="0"/>
                            </a:lnTo>
                            <a:lnTo>
                              <a:pt x="628" y="377"/>
                            </a:lnTo>
                            <a:lnTo>
                              <a:pt x="377"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6" name="Freeform: Shape 2885">
                        <a:extLst>
                          <a:ext uri="{FF2B5EF4-FFF2-40B4-BE49-F238E27FC236}">
                            <a16:creationId xmlns:a16="http://schemas.microsoft.com/office/drawing/2014/main" id="{8A67D1A8-45E6-487C-B893-E7C95FD4A2DF}"/>
                          </a:ext>
                        </a:extLst>
                      </p:cNvPr>
                      <p:cNvSpPr/>
                      <p:nvPr/>
                    </p:nvSpPr>
                    <p:spPr>
                      <a:xfrm>
                        <a:off x="5422684" y="3850963"/>
                        <a:ext cx="628" cy="753"/>
                      </a:xfrm>
                      <a:custGeom>
                        <a:avLst/>
                        <a:gdLst>
                          <a:gd name="connsiteX0" fmla="*/ 0 w 628"/>
                          <a:gd name="connsiteY0" fmla="*/ 251 h 753"/>
                          <a:gd name="connsiteX1" fmla="*/ 377 w 628"/>
                          <a:gd name="connsiteY1" fmla="*/ 0 h 753"/>
                          <a:gd name="connsiteX2" fmla="*/ 628 w 628"/>
                          <a:gd name="connsiteY2" fmla="*/ 0 h 753"/>
                          <a:gd name="connsiteX3" fmla="*/ 628 w 628"/>
                          <a:gd name="connsiteY3" fmla="*/ 377 h 753"/>
                          <a:gd name="connsiteX4" fmla="*/ 377 w 628"/>
                          <a:gd name="connsiteY4" fmla="*/ 754 h 753"/>
                          <a:gd name="connsiteX5" fmla="*/ 0 w 628"/>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0" y="251"/>
                            </a:moveTo>
                            <a:lnTo>
                              <a:pt x="377" y="0"/>
                            </a:lnTo>
                            <a:lnTo>
                              <a:pt x="628" y="0"/>
                            </a:lnTo>
                            <a:lnTo>
                              <a:pt x="628" y="377"/>
                            </a:lnTo>
                            <a:lnTo>
                              <a:pt x="377" y="754"/>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87" name="Graphic 4">
                      <a:extLst>
                        <a:ext uri="{FF2B5EF4-FFF2-40B4-BE49-F238E27FC236}">
                          <a16:creationId xmlns:a16="http://schemas.microsoft.com/office/drawing/2014/main" id="{84FB7ED1-A2DF-40A1-A747-5F7CF3F14040}"/>
                        </a:ext>
                      </a:extLst>
                    </p:cNvPr>
                    <p:cNvGrpSpPr/>
                    <p:nvPr/>
                  </p:nvGrpSpPr>
                  <p:grpSpPr>
                    <a:xfrm>
                      <a:off x="5422433" y="3849958"/>
                      <a:ext cx="753" cy="879"/>
                      <a:chOff x="5422433" y="3849958"/>
                      <a:chExt cx="753" cy="879"/>
                    </a:xfrm>
                    <a:solidFill>
                      <a:srgbClr val="B1B6BE"/>
                    </a:solidFill>
                  </p:grpSpPr>
                  <p:sp>
                    <p:nvSpPr>
                      <p:cNvPr id="2888" name="Freeform: Shape 2887">
                        <a:extLst>
                          <a:ext uri="{FF2B5EF4-FFF2-40B4-BE49-F238E27FC236}">
                            <a16:creationId xmlns:a16="http://schemas.microsoft.com/office/drawing/2014/main" id="{029DDAD6-2E41-4917-9A6D-755D912325AA}"/>
                          </a:ext>
                        </a:extLst>
                      </p:cNvPr>
                      <p:cNvSpPr/>
                      <p:nvPr/>
                    </p:nvSpPr>
                    <p:spPr>
                      <a:xfrm>
                        <a:off x="5422433" y="3849958"/>
                        <a:ext cx="753" cy="879"/>
                      </a:xfrm>
                      <a:custGeom>
                        <a:avLst/>
                        <a:gdLst>
                          <a:gd name="connsiteX0" fmla="*/ 0 w 753"/>
                          <a:gd name="connsiteY0" fmla="*/ 628 h 879"/>
                          <a:gd name="connsiteX1" fmla="*/ 251 w 753"/>
                          <a:gd name="connsiteY1" fmla="*/ 251 h 879"/>
                          <a:gd name="connsiteX2" fmla="*/ 502 w 753"/>
                          <a:gd name="connsiteY2" fmla="*/ 0 h 879"/>
                          <a:gd name="connsiteX3" fmla="*/ 754 w 753"/>
                          <a:gd name="connsiteY3" fmla="*/ 251 h 879"/>
                          <a:gd name="connsiteX4" fmla="*/ 502 w 753"/>
                          <a:gd name="connsiteY4" fmla="*/ 754 h 879"/>
                          <a:gd name="connsiteX5" fmla="*/ 251 w 753"/>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0" y="628"/>
                            </a:moveTo>
                            <a:lnTo>
                              <a:pt x="251" y="251"/>
                            </a:lnTo>
                            <a:lnTo>
                              <a:pt x="502" y="0"/>
                            </a:lnTo>
                            <a:lnTo>
                              <a:pt x="754" y="251"/>
                            </a:lnTo>
                            <a:lnTo>
                              <a:pt x="502" y="754"/>
                            </a:lnTo>
                            <a:lnTo>
                              <a:pt x="251"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9" name="Freeform: Shape 2888">
                        <a:extLst>
                          <a:ext uri="{FF2B5EF4-FFF2-40B4-BE49-F238E27FC236}">
                            <a16:creationId xmlns:a16="http://schemas.microsoft.com/office/drawing/2014/main" id="{2AACDDCA-3469-46E6-BCBB-D584BB772B53}"/>
                          </a:ext>
                        </a:extLst>
                      </p:cNvPr>
                      <p:cNvSpPr/>
                      <p:nvPr/>
                    </p:nvSpPr>
                    <p:spPr>
                      <a:xfrm>
                        <a:off x="5422433" y="3849958"/>
                        <a:ext cx="627" cy="879"/>
                      </a:xfrm>
                      <a:custGeom>
                        <a:avLst/>
                        <a:gdLst>
                          <a:gd name="connsiteX0" fmla="*/ 0 w 627"/>
                          <a:gd name="connsiteY0" fmla="*/ 628 h 879"/>
                          <a:gd name="connsiteX1" fmla="*/ 251 w 627"/>
                          <a:gd name="connsiteY1" fmla="*/ 251 h 879"/>
                          <a:gd name="connsiteX2" fmla="*/ 502 w 627"/>
                          <a:gd name="connsiteY2" fmla="*/ 0 h 879"/>
                          <a:gd name="connsiteX3" fmla="*/ 628 w 627"/>
                          <a:gd name="connsiteY3" fmla="*/ 251 h 879"/>
                          <a:gd name="connsiteX4" fmla="*/ 502 w 627"/>
                          <a:gd name="connsiteY4" fmla="*/ 754 h 879"/>
                          <a:gd name="connsiteX5" fmla="*/ 251 w 627"/>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0" y="628"/>
                            </a:moveTo>
                            <a:lnTo>
                              <a:pt x="251" y="251"/>
                            </a:lnTo>
                            <a:lnTo>
                              <a:pt x="502" y="0"/>
                            </a:lnTo>
                            <a:lnTo>
                              <a:pt x="628" y="251"/>
                            </a:lnTo>
                            <a:lnTo>
                              <a:pt x="502" y="754"/>
                            </a:lnTo>
                            <a:lnTo>
                              <a:pt x="251"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90" name="Graphic 4">
                      <a:extLst>
                        <a:ext uri="{FF2B5EF4-FFF2-40B4-BE49-F238E27FC236}">
                          <a16:creationId xmlns:a16="http://schemas.microsoft.com/office/drawing/2014/main" id="{84FB7ED1-A2DF-40A1-A747-5F7CF3F14040}"/>
                        </a:ext>
                      </a:extLst>
                    </p:cNvPr>
                    <p:cNvGrpSpPr/>
                    <p:nvPr/>
                  </p:nvGrpSpPr>
                  <p:grpSpPr>
                    <a:xfrm>
                      <a:off x="5421931" y="3849707"/>
                      <a:ext cx="502" cy="753"/>
                      <a:chOff x="5421931" y="3849707"/>
                      <a:chExt cx="502" cy="753"/>
                    </a:xfrm>
                    <a:solidFill>
                      <a:srgbClr val="B1B6BE"/>
                    </a:solidFill>
                  </p:grpSpPr>
                  <p:sp>
                    <p:nvSpPr>
                      <p:cNvPr id="2891" name="Freeform: Shape 2890">
                        <a:extLst>
                          <a:ext uri="{FF2B5EF4-FFF2-40B4-BE49-F238E27FC236}">
                            <a16:creationId xmlns:a16="http://schemas.microsoft.com/office/drawing/2014/main" id="{43586D51-CF23-43BE-9D0F-039C95C4877D}"/>
                          </a:ext>
                        </a:extLst>
                      </p:cNvPr>
                      <p:cNvSpPr/>
                      <p:nvPr/>
                    </p:nvSpPr>
                    <p:spPr>
                      <a:xfrm>
                        <a:off x="5421931" y="3849707"/>
                        <a:ext cx="502" cy="753"/>
                      </a:xfrm>
                      <a:custGeom>
                        <a:avLst/>
                        <a:gdLst>
                          <a:gd name="connsiteX0" fmla="*/ 0 w 502"/>
                          <a:gd name="connsiteY0" fmla="*/ 754 h 753"/>
                          <a:gd name="connsiteX1" fmla="*/ 0 w 502"/>
                          <a:gd name="connsiteY1" fmla="*/ 377 h 753"/>
                          <a:gd name="connsiteX2" fmla="*/ 251 w 502"/>
                          <a:gd name="connsiteY2" fmla="*/ 0 h 753"/>
                          <a:gd name="connsiteX3" fmla="*/ 502 w 502"/>
                          <a:gd name="connsiteY3" fmla="*/ 0 h 753"/>
                          <a:gd name="connsiteX4" fmla="*/ 502 w 502"/>
                          <a:gd name="connsiteY4" fmla="*/ 377 h 753"/>
                          <a:gd name="connsiteX5" fmla="*/ 251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754"/>
                            </a:moveTo>
                            <a:lnTo>
                              <a:pt x="0" y="377"/>
                            </a:lnTo>
                            <a:lnTo>
                              <a:pt x="251" y="0"/>
                            </a:lnTo>
                            <a:lnTo>
                              <a:pt x="502" y="0"/>
                            </a:lnTo>
                            <a:lnTo>
                              <a:pt x="502"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92" name="Freeform: Shape 2891">
                        <a:extLst>
                          <a:ext uri="{FF2B5EF4-FFF2-40B4-BE49-F238E27FC236}">
                            <a16:creationId xmlns:a16="http://schemas.microsoft.com/office/drawing/2014/main" id="{ABA01812-1823-417A-BC3F-BDC8F62CFF6E}"/>
                          </a:ext>
                        </a:extLst>
                      </p:cNvPr>
                      <p:cNvSpPr/>
                      <p:nvPr/>
                    </p:nvSpPr>
                    <p:spPr>
                      <a:xfrm>
                        <a:off x="5421931" y="3849707"/>
                        <a:ext cx="502" cy="753"/>
                      </a:xfrm>
                      <a:custGeom>
                        <a:avLst/>
                        <a:gdLst>
                          <a:gd name="connsiteX0" fmla="*/ 0 w 502"/>
                          <a:gd name="connsiteY0" fmla="*/ 754 h 753"/>
                          <a:gd name="connsiteX1" fmla="*/ 0 w 502"/>
                          <a:gd name="connsiteY1" fmla="*/ 377 h 753"/>
                          <a:gd name="connsiteX2" fmla="*/ 251 w 502"/>
                          <a:gd name="connsiteY2" fmla="*/ 0 h 753"/>
                          <a:gd name="connsiteX3" fmla="*/ 502 w 502"/>
                          <a:gd name="connsiteY3" fmla="*/ 0 h 753"/>
                          <a:gd name="connsiteX4" fmla="*/ 502 w 502"/>
                          <a:gd name="connsiteY4" fmla="*/ 377 h 753"/>
                          <a:gd name="connsiteX5" fmla="*/ 251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754"/>
                            </a:moveTo>
                            <a:lnTo>
                              <a:pt x="0" y="377"/>
                            </a:lnTo>
                            <a:lnTo>
                              <a:pt x="251" y="0"/>
                            </a:lnTo>
                            <a:lnTo>
                              <a:pt x="502" y="0"/>
                            </a:lnTo>
                            <a:lnTo>
                              <a:pt x="502"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2893" name="Graphic 4">
                <a:extLst>
                  <a:ext uri="{FF2B5EF4-FFF2-40B4-BE49-F238E27FC236}">
                    <a16:creationId xmlns:a16="http://schemas.microsoft.com/office/drawing/2014/main" id="{84FB7ED1-A2DF-40A1-A747-5F7CF3F14040}"/>
                  </a:ext>
                </a:extLst>
              </p:cNvPr>
              <p:cNvGrpSpPr/>
              <p:nvPr/>
            </p:nvGrpSpPr>
            <p:grpSpPr>
              <a:xfrm>
                <a:off x="5537980" y="3771055"/>
                <a:ext cx="14192" cy="17517"/>
                <a:chOff x="5537980" y="3771055"/>
                <a:chExt cx="14192" cy="17517"/>
              </a:xfrm>
              <a:solidFill>
                <a:schemeClr val="accent1"/>
              </a:solidFill>
            </p:grpSpPr>
            <p:sp>
              <p:nvSpPr>
                <p:cNvPr id="2894" name="Freeform: Shape 2893">
                  <a:extLst>
                    <a:ext uri="{FF2B5EF4-FFF2-40B4-BE49-F238E27FC236}">
                      <a16:creationId xmlns:a16="http://schemas.microsoft.com/office/drawing/2014/main" id="{E29DA7BF-C822-4F23-A06B-48BCBBAFFF78}"/>
                    </a:ext>
                  </a:extLst>
                </p:cNvPr>
                <p:cNvSpPr/>
                <p:nvPr/>
              </p:nvSpPr>
              <p:spPr>
                <a:xfrm>
                  <a:off x="5537980" y="3771055"/>
                  <a:ext cx="13564" cy="17364"/>
                </a:xfrm>
                <a:custGeom>
                  <a:avLst/>
                  <a:gdLst>
                    <a:gd name="connsiteX0" fmla="*/ 9922 w 13564"/>
                    <a:gd name="connsiteY0" fmla="*/ 13468 h 17364"/>
                    <a:gd name="connsiteX1" fmla="*/ 10174 w 13564"/>
                    <a:gd name="connsiteY1" fmla="*/ 13217 h 17364"/>
                    <a:gd name="connsiteX2" fmla="*/ 10299 w 13564"/>
                    <a:gd name="connsiteY2" fmla="*/ 13092 h 17364"/>
                    <a:gd name="connsiteX3" fmla="*/ 10425 w 13564"/>
                    <a:gd name="connsiteY3" fmla="*/ 12966 h 17364"/>
                    <a:gd name="connsiteX4" fmla="*/ 10550 w 13564"/>
                    <a:gd name="connsiteY4" fmla="*/ 12840 h 17364"/>
                    <a:gd name="connsiteX5" fmla="*/ 10676 w 13564"/>
                    <a:gd name="connsiteY5" fmla="*/ 12715 h 17364"/>
                    <a:gd name="connsiteX6" fmla="*/ 13564 w 13564"/>
                    <a:gd name="connsiteY6" fmla="*/ 4802 h 17364"/>
                    <a:gd name="connsiteX7" fmla="*/ 6782 w 13564"/>
                    <a:gd name="connsiteY7" fmla="*/ 909 h 17364"/>
                    <a:gd name="connsiteX8" fmla="*/ 0 w 13564"/>
                    <a:gd name="connsiteY8" fmla="*/ 12589 h 17364"/>
                    <a:gd name="connsiteX9" fmla="*/ 1633 w 13564"/>
                    <a:gd name="connsiteY9" fmla="*/ 16734 h 17364"/>
                    <a:gd name="connsiteX10" fmla="*/ 1633 w 13564"/>
                    <a:gd name="connsiteY10" fmla="*/ 16734 h 17364"/>
                    <a:gd name="connsiteX11" fmla="*/ 6782 w 13564"/>
                    <a:gd name="connsiteY11" fmla="*/ 16483 h 17364"/>
                    <a:gd name="connsiteX12" fmla="*/ 9922 w 13564"/>
                    <a:gd name="connsiteY12" fmla="*/ 13468 h 17364"/>
                    <a:gd name="connsiteX13" fmla="*/ 9922 w 13564"/>
                    <a:gd name="connsiteY13" fmla="*/ 13468 h 1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64" h="17364">
                      <a:moveTo>
                        <a:pt x="9922" y="13468"/>
                      </a:moveTo>
                      <a:cubicBezTo>
                        <a:pt x="10048" y="13343"/>
                        <a:pt x="10048" y="13343"/>
                        <a:pt x="10174" y="13217"/>
                      </a:cubicBezTo>
                      <a:cubicBezTo>
                        <a:pt x="10174" y="13217"/>
                        <a:pt x="10299" y="13092"/>
                        <a:pt x="10299" y="13092"/>
                      </a:cubicBezTo>
                      <a:cubicBezTo>
                        <a:pt x="10299" y="13092"/>
                        <a:pt x="10425" y="12966"/>
                        <a:pt x="10425" y="12966"/>
                      </a:cubicBezTo>
                      <a:cubicBezTo>
                        <a:pt x="10425" y="12966"/>
                        <a:pt x="10550" y="12840"/>
                        <a:pt x="10550" y="12840"/>
                      </a:cubicBezTo>
                      <a:cubicBezTo>
                        <a:pt x="10550" y="12840"/>
                        <a:pt x="10550" y="12715"/>
                        <a:pt x="10676" y="12715"/>
                      </a:cubicBezTo>
                      <a:cubicBezTo>
                        <a:pt x="12434" y="10329"/>
                        <a:pt x="13564" y="7314"/>
                        <a:pt x="13564" y="4802"/>
                      </a:cubicBezTo>
                      <a:cubicBezTo>
                        <a:pt x="13564" y="532"/>
                        <a:pt x="10550" y="-1226"/>
                        <a:pt x="6782" y="909"/>
                      </a:cubicBezTo>
                      <a:cubicBezTo>
                        <a:pt x="3015" y="3044"/>
                        <a:pt x="0" y="8319"/>
                        <a:pt x="0" y="12589"/>
                      </a:cubicBezTo>
                      <a:cubicBezTo>
                        <a:pt x="0" y="14473"/>
                        <a:pt x="628" y="15980"/>
                        <a:pt x="1633" y="16734"/>
                      </a:cubicBezTo>
                      <a:lnTo>
                        <a:pt x="1633" y="16734"/>
                      </a:lnTo>
                      <a:cubicBezTo>
                        <a:pt x="2889" y="17613"/>
                        <a:pt x="4647" y="17613"/>
                        <a:pt x="6782" y="16483"/>
                      </a:cubicBezTo>
                      <a:cubicBezTo>
                        <a:pt x="7913" y="15729"/>
                        <a:pt x="8918" y="14724"/>
                        <a:pt x="9922" y="13468"/>
                      </a:cubicBezTo>
                      <a:cubicBezTo>
                        <a:pt x="9922" y="13594"/>
                        <a:pt x="9922" y="13594"/>
                        <a:pt x="9922" y="13468"/>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95" name="Graphic 4">
                  <a:extLst>
                    <a:ext uri="{FF2B5EF4-FFF2-40B4-BE49-F238E27FC236}">
                      <a16:creationId xmlns:a16="http://schemas.microsoft.com/office/drawing/2014/main" id="{84FB7ED1-A2DF-40A1-A747-5F7CF3F14040}"/>
                    </a:ext>
                  </a:extLst>
                </p:cNvPr>
                <p:cNvGrpSpPr/>
                <p:nvPr/>
              </p:nvGrpSpPr>
              <p:grpSpPr>
                <a:xfrm>
                  <a:off x="5538608" y="3771180"/>
                  <a:ext cx="13564" cy="17391"/>
                  <a:chOff x="5538608" y="3771180"/>
                  <a:chExt cx="13564" cy="17391"/>
                </a:xfrm>
                <a:solidFill>
                  <a:schemeClr val="accent1"/>
                </a:solidFill>
              </p:grpSpPr>
              <p:sp>
                <p:nvSpPr>
                  <p:cNvPr id="2896" name="Freeform: Shape 2895">
                    <a:extLst>
                      <a:ext uri="{FF2B5EF4-FFF2-40B4-BE49-F238E27FC236}">
                        <a16:creationId xmlns:a16="http://schemas.microsoft.com/office/drawing/2014/main" id="{1566BACC-021A-42AA-A25E-186382EBE115}"/>
                      </a:ext>
                    </a:extLst>
                  </p:cNvPr>
                  <p:cNvSpPr/>
                  <p:nvPr/>
                </p:nvSpPr>
                <p:spPr>
                  <a:xfrm>
                    <a:off x="5538608" y="3771180"/>
                    <a:ext cx="13564" cy="17391"/>
                  </a:xfrm>
                  <a:custGeom>
                    <a:avLst/>
                    <a:gdLst>
                      <a:gd name="connsiteX0" fmla="*/ 13564 w 13564"/>
                      <a:gd name="connsiteY0" fmla="*/ 4802 h 17391"/>
                      <a:gd name="connsiteX1" fmla="*/ 6782 w 13564"/>
                      <a:gd name="connsiteY1" fmla="*/ 16483 h 17391"/>
                      <a:gd name="connsiteX2" fmla="*/ 0 w 13564"/>
                      <a:gd name="connsiteY2" fmla="*/ 12589 h 17391"/>
                      <a:gd name="connsiteX3" fmla="*/ 6782 w 13564"/>
                      <a:gd name="connsiteY3" fmla="*/ 909 h 17391"/>
                      <a:gd name="connsiteX4" fmla="*/ 13564 w 13564"/>
                      <a:gd name="connsiteY4" fmla="*/ 4802 h 1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17391">
                        <a:moveTo>
                          <a:pt x="13564" y="4802"/>
                        </a:moveTo>
                        <a:cubicBezTo>
                          <a:pt x="13564" y="9073"/>
                          <a:pt x="10550" y="14222"/>
                          <a:pt x="6782" y="16483"/>
                        </a:cubicBezTo>
                        <a:cubicBezTo>
                          <a:pt x="3014" y="18618"/>
                          <a:pt x="0" y="16859"/>
                          <a:pt x="0" y="12589"/>
                        </a:cubicBezTo>
                        <a:cubicBezTo>
                          <a:pt x="0" y="8319"/>
                          <a:pt x="3014" y="3170"/>
                          <a:pt x="6782" y="909"/>
                        </a:cubicBezTo>
                        <a:cubicBezTo>
                          <a:pt x="10550" y="-1226"/>
                          <a:pt x="13564" y="532"/>
                          <a:pt x="13564" y="4802"/>
                        </a:cubicBez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97" name="Graphic 4">
                    <a:extLst>
                      <a:ext uri="{FF2B5EF4-FFF2-40B4-BE49-F238E27FC236}">
                        <a16:creationId xmlns:a16="http://schemas.microsoft.com/office/drawing/2014/main" id="{84FB7ED1-A2DF-40A1-A747-5F7CF3F14040}"/>
                      </a:ext>
                    </a:extLst>
                  </p:cNvPr>
                  <p:cNvGrpSpPr/>
                  <p:nvPr/>
                </p:nvGrpSpPr>
                <p:grpSpPr>
                  <a:xfrm>
                    <a:off x="5540367" y="3771838"/>
                    <a:ext cx="11805" cy="16581"/>
                    <a:chOff x="5540367" y="3771838"/>
                    <a:chExt cx="11805" cy="16581"/>
                  </a:xfrm>
                  <a:solidFill>
                    <a:srgbClr val="3C3D32"/>
                  </a:solidFill>
                </p:grpSpPr>
                <p:sp>
                  <p:nvSpPr>
                    <p:cNvPr id="2898" name="Freeform: Shape 2897">
                      <a:extLst>
                        <a:ext uri="{FF2B5EF4-FFF2-40B4-BE49-F238E27FC236}">
                          <a16:creationId xmlns:a16="http://schemas.microsoft.com/office/drawing/2014/main" id="{897F0689-0920-4E0F-82BD-9188B5608605}"/>
                        </a:ext>
                      </a:extLst>
                    </p:cNvPr>
                    <p:cNvSpPr/>
                    <p:nvPr/>
                  </p:nvSpPr>
                  <p:spPr>
                    <a:xfrm>
                      <a:off x="5547023" y="3771838"/>
                      <a:ext cx="5149" cy="7284"/>
                    </a:xfrm>
                    <a:custGeom>
                      <a:avLst/>
                      <a:gdLst>
                        <a:gd name="connsiteX0" fmla="*/ 377 w 5149"/>
                        <a:gd name="connsiteY0" fmla="*/ 7285 h 7284"/>
                        <a:gd name="connsiteX1" fmla="*/ 5149 w 5149"/>
                        <a:gd name="connsiteY1" fmla="*/ 3642 h 7284"/>
                        <a:gd name="connsiteX2" fmla="*/ 3517 w 5149"/>
                        <a:gd name="connsiteY2" fmla="*/ 0 h 7284"/>
                        <a:gd name="connsiteX3" fmla="*/ 0 w 5149"/>
                        <a:gd name="connsiteY3" fmla="*/ 5400 h 7284"/>
                        <a:gd name="connsiteX4" fmla="*/ 377 w 5149"/>
                        <a:gd name="connsiteY4" fmla="*/ 7285 h 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 h="7284">
                          <a:moveTo>
                            <a:pt x="377" y="7285"/>
                          </a:moveTo>
                          <a:lnTo>
                            <a:pt x="5149" y="3642"/>
                          </a:lnTo>
                          <a:cubicBezTo>
                            <a:pt x="5024" y="2010"/>
                            <a:pt x="4522" y="754"/>
                            <a:pt x="3517" y="0"/>
                          </a:cubicBezTo>
                          <a:lnTo>
                            <a:pt x="0" y="5400"/>
                          </a:lnTo>
                          <a:lnTo>
                            <a:pt x="377" y="728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99" name="Freeform: Shape 2898">
                      <a:extLst>
                        <a:ext uri="{FF2B5EF4-FFF2-40B4-BE49-F238E27FC236}">
                          <a16:creationId xmlns:a16="http://schemas.microsoft.com/office/drawing/2014/main" id="{384022DD-4A11-41A1-96B9-D9822A55C70E}"/>
                        </a:ext>
                      </a:extLst>
                    </p:cNvPr>
                    <p:cNvSpPr/>
                    <p:nvPr/>
                  </p:nvSpPr>
                  <p:spPr>
                    <a:xfrm>
                      <a:off x="5540367" y="3781760"/>
                      <a:ext cx="9042" cy="6659"/>
                    </a:xfrm>
                    <a:custGeom>
                      <a:avLst/>
                      <a:gdLst>
                        <a:gd name="connsiteX0" fmla="*/ 2512 w 9042"/>
                        <a:gd name="connsiteY0" fmla="*/ 2135 h 6659"/>
                        <a:gd name="connsiteX1" fmla="*/ 0 w 9042"/>
                        <a:gd name="connsiteY1" fmla="*/ 6029 h 6659"/>
                        <a:gd name="connsiteX2" fmla="*/ 5024 w 9042"/>
                        <a:gd name="connsiteY2" fmla="*/ 5777 h 6659"/>
                        <a:gd name="connsiteX3" fmla="*/ 9043 w 9042"/>
                        <a:gd name="connsiteY3" fmla="*/ 1884 h 6659"/>
                        <a:gd name="connsiteX4" fmla="*/ 6405 w 9042"/>
                        <a:gd name="connsiteY4" fmla="*/ 0 h 6659"/>
                        <a:gd name="connsiteX5" fmla="*/ 2512 w 9042"/>
                        <a:gd name="connsiteY5" fmla="*/ 2135 h 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42" h="6659">
                          <a:moveTo>
                            <a:pt x="2512" y="2135"/>
                          </a:moveTo>
                          <a:lnTo>
                            <a:pt x="0" y="6029"/>
                          </a:lnTo>
                          <a:cubicBezTo>
                            <a:pt x="1256" y="6908"/>
                            <a:pt x="3015" y="6908"/>
                            <a:pt x="5024" y="5777"/>
                          </a:cubicBezTo>
                          <a:cubicBezTo>
                            <a:pt x="6531" y="4898"/>
                            <a:pt x="7913" y="3517"/>
                            <a:pt x="9043" y="1884"/>
                          </a:cubicBezTo>
                          <a:lnTo>
                            <a:pt x="6405" y="0"/>
                          </a:lnTo>
                          <a:lnTo>
                            <a:pt x="2512" y="213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900" name="Freeform: Shape 2899">
                    <a:extLst>
                      <a:ext uri="{FF2B5EF4-FFF2-40B4-BE49-F238E27FC236}">
                        <a16:creationId xmlns:a16="http://schemas.microsoft.com/office/drawing/2014/main" id="{F2C79270-5BBD-4E03-888C-59ECBC832F53}"/>
                      </a:ext>
                    </a:extLst>
                  </p:cNvPr>
                  <p:cNvSpPr/>
                  <p:nvPr/>
                </p:nvSpPr>
                <p:spPr>
                  <a:xfrm>
                    <a:off x="5540116" y="3772834"/>
                    <a:ext cx="10801" cy="14083"/>
                  </a:xfrm>
                  <a:custGeom>
                    <a:avLst/>
                    <a:gdLst>
                      <a:gd name="connsiteX0" fmla="*/ 10801 w 10801"/>
                      <a:gd name="connsiteY0" fmla="*/ 3902 h 14083"/>
                      <a:gd name="connsiteX1" fmla="*/ 5400 w 10801"/>
                      <a:gd name="connsiteY1" fmla="*/ 13322 h 14083"/>
                      <a:gd name="connsiteX2" fmla="*/ 0 w 10801"/>
                      <a:gd name="connsiteY2" fmla="*/ 10182 h 14083"/>
                      <a:gd name="connsiteX3" fmla="*/ 5400 w 10801"/>
                      <a:gd name="connsiteY3" fmla="*/ 762 h 14083"/>
                      <a:gd name="connsiteX4" fmla="*/ 10801 w 10801"/>
                      <a:gd name="connsiteY4" fmla="*/ 3902 h 14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1" h="14083">
                        <a:moveTo>
                          <a:pt x="10801" y="3902"/>
                        </a:moveTo>
                        <a:cubicBezTo>
                          <a:pt x="10801" y="7419"/>
                          <a:pt x="8415" y="11563"/>
                          <a:pt x="5400" y="13322"/>
                        </a:cubicBezTo>
                        <a:cubicBezTo>
                          <a:pt x="2386" y="15080"/>
                          <a:pt x="0" y="13698"/>
                          <a:pt x="0" y="10182"/>
                        </a:cubicBezTo>
                        <a:cubicBezTo>
                          <a:pt x="0" y="6791"/>
                          <a:pt x="2386" y="2520"/>
                          <a:pt x="5400" y="762"/>
                        </a:cubicBezTo>
                        <a:cubicBezTo>
                          <a:pt x="8289" y="-996"/>
                          <a:pt x="10801" y="385"/>
                          <a:pt x="10801" y="3902"/>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1" name="Freeform: Shape 2900">
                    <a:extLst>
                      <a:ext uri="{FF2B5EF4-FFF2-40B4-BE49-F238E27FC236}">
                        <a16:creationId xmlns:a16="http://schemas.microsoft.com/office/drawing/2014/main" id="{010FB0F7-E6B8-4541-902B-154A019094D5}"/>
                      </a:ext>
                    </a:extLst>
                  </p:cNvPr>
                  <p:cNvSpPr/>
                  <p:nvPr/>
                </p:nvSpPr>
                <p:spPr>
                  <a:xfrm>
                    <a:off x="5540869" y="3773834"/>
                    <a:ext cx="9293" cy="11958"/>
                  </a:xfrm>
                  <a:custGeom>
                    <a:avLst/>
                    <a:gdLst>
                      <a:gd name="connsiteX0" fmla="*/ 9294 w 9293"/>
                      <a:gd name="connsiteY0" fmla="*/ 3279 h 11958"/>
                      <a:gd name="connsiteX1" fmla="*/ 4647 w 9293"/>
                      <a:gd name="connsiteY1" fmla="*/ 11317 h 11958"/>
                      <a:gd name="connsiteX2" fmla="*/ 0 w 9293"/>
                      <a:gd name="connsiteY2" fmla="*/ 8680 h 11958"/>
                      <a:gd name="connsiteX3" fmla="*/ 4647 w 9293"/>
                      <a:gd name="connsiteY3" fmla="*/ 642 h 11958"/>
                      <a:gd name="connsiteX4" fmla="*/ 9294 w 9293"/>
                      <a:gd name="connsiteY4" fmla="*/ 3279 h 1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3" h="11958">
                        <a:moveTo>
                          <a:pt x="9294" y="3279"/>
                        </a:moveTo>
                        <a:cubicBezTo>
                          <a:pt x="9294" y="6294"/>
                          <a:pt x="7159" y="9810"/>
                          <a:pt x="4647" y="11317"/>
                        </a:cubicBezTo>
                        <a:cubicBezTo>
                          <a:pt x="2010" y="12824"/>
                          <a:pt x="0" y="11568"/>
                          <a:pt x="0" y="8680"/>
                        </a:cubicBezTo>
                        <a:cubicBezTo>
                          <a:pt x="0" y="5666"/>
                          <a:pt x="2135" y="2149"/>
                          <a:pt x="4647" y="642"/>
                        </a:cubicBezTo>
                        <a:cubicBezTo>
                          <a:pt x="7285" y="-865"/>
                          <a:pt x="9294" y="391"/>
                          <a:pt x="9294" y="3279"/>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2" name="Freeform: Shape 2901">
                    <a:extLst>
                      <a:ext uri="{FF2B5EF4-FFF2-40B4-BE49-F238E27FC236}">
                        <a16:creationId xmlns:a16="http://schemas.microsoft.com/office/drawing/2014/main" id="{41DCE8D3-D1F3-48C4-BB55-3658EC305562}"/>
                      </a:ext>
                    </a:extLst>
                  </p:cNvPr>
                  <p:cNvSpPr/>
                  <p:nvPr/>
                </p:nvSpPr>
                <p:spPr>
                  <a:xfrm>
                    <a:off x="5541623" y="3773848"/>
                    <a:ext cx="8540" cy="11997"/>
                  </a:xfrm>
                  <a:custGeom>
                    <a:avLst/>
                    <a:gdLst>
                      <a:gd name="connsiteX0" fmla="*/ 6531 w 8540"/>
                      <a:gd name="connsiteY0" fmla="*/ 0 h 11997"/>
                      <a:gd name="connsiteX1" fmla="*/ 7285 w 8540"/>
                      <a:gd name="connsiteY1" fmla="*/ 2512 h 11997"/>
                      <a:gd name="connsiteX2" fmla="*/ 2637 w 8540"/>
                      <a:gd name="connsiteY2" fmla="*/ 10550 h 11997"/>
                      <a:gd name="connsiteX3" fmla="*/ 0 w 8540"/>
                      <a:gd name="connsiteY3" fmla="*/ 11178 h 11997"/>
                      <a:gd name="connsiteX4" fmla="*/ 3893 w 8540"/>
                      <a:gd name="connsiteY4" fmla="*/ 11303 h 11997"/>
                      <a:gd name="connsiteX5" fmla="*/ 8540 w 8540"/>
                      <a:gd name="connsiteY5" fmla="*/ 3265 h 11997"/>
                      <a:gd name="connsiteX6" fmla="*/ 6531 w 8540"/>
                      <a:gd name="connsiteY6" fmla="*/ 0 h 1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97">
                        <a:moveTo>
                          <a:pt x="6531" y="0"/>
                        </a:moveTo>
                        <a:cubicBezTo>
                          <a:pt x="7033" y="502"/>
                          <a:pt x="7285" y="1382"/>
                          <a:pt x="7285" y="2512"/>
                        </a:cubicBezTo>
                        <a:cubicBezTo>
                          <a:pt x="7285" y="5526"/>
                          <a:pt x="5149" y="9043"/>
                          <a:pt x="2637" y="10550"/>
                        </a:cubicBezTo>
                        <a:cubicBezTo>
                          <a:pt x="1633" y="11052"/>
                          <a:pt x="754" y="11303"/>
                          <a:pt x="0" y="11178"/>
                        </a:cubicBezTo>
                        <a:cubicBezTo>
                          <a:pt x="879" y="12183"/>
                          <a:pt x="2261" y="12308"/>
                          <a:pt x="3893" y="11303"/>
                        </a:cubicBezTo>
                        <a:cubicBezTo>
                          <a:pt x="6531" y="9796"/>
                          <a:pt x="8540" y="6154"/>
                          <a:pt x="8540" y="3265"/>
                        </a:cubicBezTo>
                        <a:cubicBezTo>
                          <a:pt x="8540" y="1382"/>
                          <a:pt x="7787" y="251"/>
                          <a:pt x="6531" y="0"/>
                        </a:cubicBezTo>
                        <a:close/>
                      </a:path>
                    </a:pathLst>
                  </a:custGeom>
                  <a:solidFill>
                    <a:srgbClr val="B1B6BE">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903" name="Graphic 4">
                    <a:extLst>
                      <a:ext uri="{FF2B5EF4-FFF2-40B4-BE49-F238E27FC236}">
                        <a16:creationId xmlns:a16="http://schemas.microsoft.com/office/drawing/2014/main" id="{84FB7ED1-A2DF-40A1-A747-5F7CF3F14040}"/>
                      </a:ext>
                    </a:extLst>
                  </p:cNvPr>
                  <p:cNvGrpSpPr/>
                  <p:nvPr/>
                </p:nvGrpSpPr>
                <p:grpSpPr>
                  <a:xfrm>
                    <a:off x="5541623" y="3774852"/>
                    <a:ext cx="7786" cy="10047"/>
                    <a:chOff x="5541623" y="3774852"/>
                    <a:chExt cx="7786" cy="10047"/>
                  </a:xfrm>
                  <a:solidFill>
                    <a:srgbClr val="63656A"/>
                  </a:solidFill>
                </p:grpSpPr>
                <p:grpSp>
                  <p:nvGrpSpPr>
                    <p:cNvPr id="2904" name="Graphic 4">
                      <a:extLst>
                        <a:ext uri="{FF2B5EF4-FFF2-40B4-BE49-F238E27FC236}">
                          <a16:creationId xmlns:a16="http://schemas.microsoft.com/office/drawing/2014/main" id="{84FB7ED1-A2DF-40A1-A747-5F7CF3F14040}"/>
                        </a:ext>
                      </a:extLst>
                    </p:cNvPr>
                    <p:cNvGrpSpPr/>
                    <p:nvPr/>
                  </p:nvGrpSpPr>
                  <p:grpSpPr>
                    <a:xfrm>
                      <a:off x="5544888" y="3775229"/>
                      <a:ext cx="1381" cy="1632"/>
                      <a:chOff x="5544888" y="3775229"/>
                      <a:chExt cx="1381" cy="1632"/>
                    </a:xfrm>
                    <a:solidFill>
                      <a:srgbClr val="63656A"/>
                    </a:solidFill>
                  </p:grpSpPr>
                  <p:sp>
                    <p:nvSpPr>
                      <p:cNvPr id="2905" name="Freeform: Shape 2904">
                        <a:extLst>
                          <a:ext uri="{FF2B5EF4-FFF2-40B4-BE49-F238E27FC236}">
                            <a16:creationId xmlns:a16="http://schemas.microsoft.com/office/drawing/2014/main" id="{565D9F30-B1C8-4ACB-915B-881E05C11A13}"/>
                          </a:ext>
                        </a:extLst>
                      </p:cNvPr>
                      <p:cNvSpPr/>
                      <p:nvPr/>
                    </p:nvSpPr>
                    <p:spPr>
                      <a:xfrm>
                        <a:off x="5544888" y="3775229"/>
                        <a:ext cx="1381" cy="1632"/>
                      </a:xfrm>
                      <a:custGeom>
                        <a:avLst/>
                        <a:gdLst>
                          <a:gd name="connsiteX0" fmla="*/ 377 w 1381"/>
                          <a:gd name="connsiteY0" fmla="*/ 1633 h 1632"/>
                          <a:gd name="connsiteX1" fmla="*/ 0 w 1381"/>
                          <a:gd name="connsiteY1" fmla="*/ 1256 h 1632"/>
                          <a:gd name="connsiteX2" fmla="*/ 377 w 1381"/>
                          <a:gd name="connsiteY2" fmla="*/ 377 h 1632"/>
                          <a:gd name="connsiteX3" fmla="*/ 1005 w 1381"/>
                          <a:gd name="connsiteY3" fmla="*/ 0 h 1632"/>
                          <a:gd name="connsiteX4" fmla="*/ 1381 w 1381"/>
                          <a:gd name="connsiteY4" fmla="*/ 377 h 1632"/>
                          <a:gd name="connsiteX5" fmla="*/ 1005 w 1381"/>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632">
                            <a:moveTo>
                              <a:pt x="377" y="1633"/>
                            </a:moveTo>
                            <a:lnTo>
                              <a:pt x="0" y="1256"/>
                            </a:lnTo>
                            <a:lnTo>
                              <a:pt x="377" y="377"/>
                            </a:lnTo>
                            <a:lnTo>
                              <a:pt x="1005" y="0"/>
                            </a:lnTo>
                            <a:lnTo>
                              <a:pt x="1381" y="377"/>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6" name="Freeform: Shape 2905">
                        <a:extLst>
                          <a:ext uri="{FF2B5EF4-FFF2-40B4-BE49-F238E27FC236}">
                            <a16:creationId xmlns:a16="http://schemas.microsoft.com/office/drawing/2014/main" id="{6B387940-CE30-44E2-A6D6-066ECB4A7226}"/>
                          </a:ext>
                        </a:extLst>
                      </p:cNvPr>
                      <p:cNvSpPr/>
                      <p:nvPr/>
                    </p:nvSpPr>
                    <p:spPr>
                      <a:xfrm>
                        <a:off x="5544888" y="3775355"/>
                        <a:ext cx="1256" cy="1507"/>
                      </a:xfrm>
                      <a:custGeom>
                        <a:avLst/>
                        <a:gdLst>
                          <a:gd name="connsiteX0" fmla="*/ 377 w 1256"/>
                          <a:gd name="connsiteY0" fmla="*/ 1507 h 1507"/>
                          <a:gd name="connsiteX1" fmla="*/ 0 w 1256"/>
                          <a:gd name="connsiteY1" fmla="*/ 1130 h 1507"/>
                          <a:gd name="connsiteX2" fmla="*/ 377 w 1256"/>
                          <a:gd name="connsiteY2" fmla="*/ 377 h 1507"/>
                          <a:gd name="connsiteX3" fmla="*/ 1005 w 1256"/>
                          <a:gd name="connsiteY3" fmla="*/ 0 h 1507"/>
                          <a:gd name="connsiteX4" fmla="*/ 1256 w 1256"/>
                          <a:gd name="connsiteY4" fmla="*/ 377 h 1507"/>
                          <a:gd name="connsiteX5" fmla="*/ 1005 w 1256"/>
                          <a:gd name="connsiteY5" fmla="*/ 113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377" y="1507"/>
                            </a:moveTo>
                            <a:lnTo>
                              <a:pt x="0" y="1130"/>
                            </a:lnTo>
                            <a:lnTo>
                              <a:pt x="377" y="377"/>
                            </a:lnTo>
                            <a:lnTo>
                              <a:pt x="1005" y="0"/>
                            </a:lnTo>
                            <a:lnTo>
                              <a:pt x="1256" y="377"/>
                            </a:lnTo>
                            <a:lnTo>
                              <a:pt x="1005" y="113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07" name="Graphic 4">
                      <a:extLst>
                        <a:ext uri="{FF2B5EF4-FFF2-40B4-BE49-F238E27FC236}">
                          <a16:creationId xmlns:a16="http://schemas.microsoft.com/office/drawing/2014/main" id="{84FB7ED1-A2DF-40A1-A747-5F7CF3F14040}"/>
                        </a:ext>
                      </a:extLst>
                    </p:cNvPr>
                    <p:cNvGrpSpPr/>
                    <p:nvPr/>
                  </p:nvGrpSpPr>
                  <p:grpSpPr>
                    <a:xfrm>
                      <a:off x="5543381" y="3776736"/>
                      <a:ext cx="1130" cy="1507"/>
                      <a:chOff x="5543381" y="3776736"/>
                      <a:chExt cx="1130" cy="1507"/>
                    </a:xfrm>
                    <a:solidFill>
                      <a:srgbClr val="63656A"/>
                    </a:solidFill>
                  </p:grpSpPr>
                  <p:sp>
                    <p:nvSpPr>
                      <p:cNvPr id="2908" name="Freeform: Shape 2907">
                        <a:extLst>
                          <a:ext uri="{FF2B5EF4-FFF2-40B4-BE49-F238E27FC236}">
                            <a16:creationId xmlns:a16="http://schemas.microsoft.com/office/drawing/2014/main" id="{C6087989-B799-4252-97C7-B4B73C623A27}"/>
                          </a:ext>
                        </a:extLst>
                      </p:cNvPr>
                      <p:cNvSpPr/>
                      <p:nvPr/>
                    </p:nvSpPr>
                    <p:spPr>
                      <a:xfrm>
                        <a:off x="5543381" y="3776736"/>
                        <a:ext cx="1130" cy="1507"/>
                      </a:xfrm>
                      <a:custGeom>
                        <a:avLst/>
                        <a:gdLst>
                          <a:gd name="connsiteX0" fmla="*/ 502 w 1130"/>
                          <a:gd name="connsiteY0" fmla="*/ 1507 h 1507"/>
                          <a:gd name="connsiteX1" fmla="*/ 0 w 1130"/>
                          <a:gd name="connsiteY1" fmla="*/ 1507 h 1507"/>
                          <a:gd name="connsiteX2" fmla="*/ 0 w 1130"/>
                          <a:gd name="connsiteY2" fmla="*/ 754 h 1507"/>
                          <a:gd name="connsiteX3" fmla="*/ 502 w 1130"/>
                          <a:gd name="connsiteY3" fmla="*/ 0 h 1507"/>
                          <a:gd name="connsiteX4" fmla="*/ 1130 w 1130"/>
                          <a:gd name="connsiteY4" fmla="*/ 0 h 1507"/>
                          <a:gd name="connsiteX5" fmla="*/ 1130 w 1130"/>
                          <a:gd name="connsiteY5" fmla="*/ 754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502" y="1507"/>
                            </a:moveTo>
                            <a:lnTo>
                              <a:pt x="0" y="1507"/>
                            </a:lnTo>
                            <a:lnTo>
                              <a:pt x="0" y="754"/>
                            </a:lnTo>
                            <a:lnTo>
                              <a:pt x="502" y="0"/>
                            </a:lnTo>
                            <a:lnTo>
                              <a:pt x="1130" y="0"/>
                            </a:lnTo>
                            <a:lnTo>
                              <a:pt x="113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9" name="Freeform: Shape 2908">
                        <a:extLst>
                          <a:ext uri="{FF2B5EF4-FFF2-40B4-BE49-F238E27FC236}">
                            <a16:creationId xmlns:a16="http://schemas.microsoft.com/office/drawing/2014/main" id="{753C296F-FE42-4D2C-AC18-7B4946973EAD}"/>
                          </a:ext>
                        </a:extLst>
                      </p:cNvPr>
                      <p:cNvSpPr/>
                      <p:nvPr/>
                    </p:nvSpPr>
                    <p:spPr>
                      <a:xfrm>
                        <a:off x="5543381" y="3776862"/>
                        <a:ext cx="1004" cy="1381"/>
                      </a:xfrm>
                      <a:custGeom>
                        <a:avLst/>
                        <a:gdLst>
                          <a:gd name="connsiteX0" fmla="*/ 502 w 1004"/>
                          <a:gd name="connsiteY0" fmla="*/ 1382 h 1381"/>
                          <a:gd name="connsiteX1" fmla="*/ 0 w 1004"/>
                          <a:gd name="connsiteY1" fmla="*/ 1382 h 1381"/>
                          <a:gd name="connsiteX2" fmla="*/ 0 w 1004"/>
                          <a:gd name="connsiteY2" fmla="*/ 628 h 1381"/>
                          <a:gd name="connsiteX3" fmla="*/ 502 w 1004"/>
                          <a:gd name="connsiteY3" fmla="*/ 0 h 1381"/>
                          <a:gd name="connsiteX4" fmla="*/ 1005 w 1004"/>
                          <a:gd name="connsiteY4" fmla="*/ 0 h 1381"/>
                          <a:gd name="connsiteX5" fmla="*/ 1005 w 1004"/>
                          <a:gd name="connsiteY5" fmla="*/ 754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502" y="1382"/>
                            </a:moveTo>
                            <a:lnTo>
                              <a:pt x="0" y="1382"/>
                            </a:lnTo>
                            <a:lnTo>
                              <a:pt x="0" y="628"/>
                            </a:lnTo>
                            <a:lnTo>
                              <a:pt x="502" y="0"/>
                            </a:lnTo>
                            <a:lnTo>
                              <a:pt x="1005" y="0"/>
                            </a:lnTo>
                            <a:lnTo>
                              <a:pt x="1005"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10" name="Graphic 4">
                      <a:extLst>
                        <a:ext uri="{FF2B5EF4-FFF2-40B4-BE49-F238E27FC236}">
                          <a16:creationId xmlns:a16="http://schemas.microsoft.com/office/drawing/2014/main" id="{84FB7ED1-A2DF-40A1-A747-5F7CF3F14040}"/>
                        </a:ext>
                      </a:extLst>
                    </p:cNvPr>
                    <p:cNvGrpSpPr/>
                    <p:nvPr/>
                  </p:nvGrpSpPr>
                  <p:grpSpPr>
                    <a:xfrm>
                      <a:off x="5541999" y="3778746"/>
                      <a:ext cx="1381" cy="1758"/>
                      <a:chOff x="5541999" y="3778746"/>
                      <a:chExt cx="1381" cy="1758"/>
                    </a:xfrm>
                    <a:solidFill>
                      <a:srgbClr val="63656A"/>
                    </a:solidFill>
                  </p:grpSpPr>
                  <p:sp>
                    <p:nvSpPr>
                      <p:cNvPr id="2911" name="Freeform: Shape 2910">
                        <a:extLst>
                          <a:ext uri="{FF2B5EF4-FFF2-40B4-BE49-F238E27FC236}">
                            <a16:creationId xmlns:a16="http://schemas.microsoft.com/office/drawing/2014/main" id="{7A3BE9C2-F43D-40D5-8893-607E8E75019F}"/>
                          </a:ext>
                        </a:extLst>
                      </p:cNvPr>
                      <p:cNvSpPr/>
                      <p:nvPr/>
                    </p:nvSpPr>
                    <p:spPr>
                      <a:xfrm>
                        <a:off x="5541999" y="3778746"/>
                        <a:ext cx="1381" cy="1758"/>
                      </a:xfrm>
                      <a:custGeom>
                        <a:avLst/>
                        <a:gdLst>
                          <a:gd name="connsiteX0" fmla="*/ 1005 w 1381"/>
                          <a:gd name="connsiteY0" fmla="*/ 1256 h 1758"/>
                          <a:gd name="connsiteX1" fmla="*/ 377 w 1381"/>
                          <a:gd name="connsiteY1" fmla="*/ 1758 h 1758"/>
                          <a:gd name="connsiteX2" fmla="*/ 0 w 1381"/>
                          <a:gd name="connsiteY2" fmla="*/ 1256 h 1758"/>
                          <a:gd name="connsiteX3" fmla="*/ 377 w 1381"/>
                          <a:gd name="connsiteY3" fmla="*/ 377 h 1758"/>
                          <a:gd name="connsiteX4" fmla="*/ 1005 w 1381"/>
                          <a:gd name="connsiteY4" fmla="*/ 0 h 1758"/>
                          <a:gd name="connsiteX5" fmla="*/ 1382 w 1381"/>
                          <a:gd name="connsiteY5" fmla="*/ 377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1256"/>
                            </a:moveTo>
                            <a:lnTo>
                              <a:pt x="377" y="1758"/>
                            </a:lnTo>
                            <a:lnTo>
                              <a:pt x="0" y="1256"/>
                            </a:lnTo>
                            <a:lnTo>
                              <a:pt x="377" y="377"/>
                            </a:lnTo>
                            <a:lnTo>
                              <a:pt x="1005" y="0"/>
                            </a:lnTo>
                            <a:lnTo>
                              <a:pt x="1382"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12" name="Freeform: Shape 2911">
                        <a:extLst>
                          <a:ext uri="{FF2B5EF4-FFF2-40B4-BE49-F238E27FC236}">
                            <a16:creationId xmlns:a16="http://schemas.microsoft.com/office/drawing/2014/main" id="{96BEEAB0-1536-49EC-AC86-1E3778906ACE}"/>
                          </a:ext>
                        </a:extLst>
                      </p:cNvPr>
                      <p:cNvSpPr/>
                      <p:nvPr/>
                    </p:nvSpPr>
                    <p:spPr>
                      <a:xfrm>
                        <a:off x="5541999" y="3778871"/>
                        <a:ext cx="1256" cy="1632"/>
                      </a:xfrm>
                      <a:custGeom>
                        <a:avLst/>
                        <a:gdLst>
                          <a:gd name="connsiteX0" fmla="*/ 1005 w 1256"/>
                          <a:gd name="connsiteY0" fmla="*/ 1256 h 1632"/>
                          <a:gd name="connsiteX1" fmla="*/ 377 w 1256"/>
                          <a:gd name="connsiteY1" fmla="*/ 1633 h 1632"/>
                          <a:gd name="connsiteX2" fmla="*/ 0 w 1256"/>
                          <a:gd name="connsiteY2" fmla="*/ 1130 h 1632"/>
                          <a:gd name="connsiteX3" fmla="*/ 377 w 1256"/>
                          <a:gd name="connsiteY3" fmla="*/ 377 h 1632"/>
                          <a:gd name="connsiteX4" fmla="*/ 1005 w 1256"/>
                          <a:gd name="connsiteY4" fmla="*/ 0 h 1632"/>
                          <a:gd name="connsiteX5" fmla="*/ 1256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005" y="1256"/>
                            </a:moveTo>
                            <a:lnTo>
                              <a:pt x="377" y="1633"/>
                            </a:lnTo>
                            <a:lnTo>
                              <a:pt x="0" y="1130"/>
                            </a:lnTo>
                            <a:lnTo>
                              <a:pt x="377" y="377"/>
                            </a:lnTo>
                            <a:lnTo>
                              <a:pt x="1005" y="0"/>
                            </a:lnTo>
                            <a:lnTo>
                              <a:pt x="1256"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13" name="Graphic 4">
                      <a:extLst>
                        <a:ext uri="{FF2B5EF4-FFF2-40B4-BE49-F238E27FC236}">
                          <a16:creationId xmlns:a16="http://schemas.microsoft.com/office/drawing/2014/main" id="{84FB7ED1-A2DF-40A1-A747-5F7CF3F14040}"/>
                        </a:ext>
                      </a:extLst>
                    </p:cNvPr>
                    <p:cNvGrpSpPr/>
                    <p:nvPr/>
                  </p:nvGrpSpPr>
                  <p:grpSpPr>
                    <a:xfrm>
                      <a:off x="5541623" y="3781006"/>
                      <a:ext cx="1130" cy="1507"/>
                      <a:chOff x="5541623" y="3781006"/>
                      <a:chExt cx="1130" cy="1507"/>
                    </a:xfrm>
                    <a:solidFill>
                      <a:srgbClr val="63656A"/>
                    </a:solidFill>
                  </p:grpSpPr>
                  <p:sp>
                    <p:nvSpPr>
                      <p:cNvPr id="2914" name="Freeform: Shape 2913">
                        <a:extLst>
                          <a:ext uri="{FF2B5EF4-FFF2-40B4-BE49-F238E27FC236}">
                            <a16:creationId xmlns:a16="http://schemas.microsoft.com/office/drawing/2014/main" id="{658978F2-6E8E-4E59-8B5C-AB5209620353}"/>
                          </a:ext>
                        </a:extLst>
                      </p:cNvPr>
                      <p:cNvSpPr/>
                      <p:nvPr/>
                    </p:nvSpPr>
                    <p:spPr>
                      <a:xfrm>
                        <a:off x="5541623" y="3781006"/>
                        <a:ext cx="1130" cy="1507"/>
                      </a:xfrm>
                      <a:custGeom>
                        <a:avLst/>
                        <a:gdLst>
                          <a:gd name="connsiteX0" fmla="*/ 1130 w 1130"/>
                          <a:gd name="connsiteY0" fmla="*/ 754 h 1507"/>
                          <a:gd name="connsiteX1" fmla="*/ 628 w 1130"/>
                          <a:gd name="connsiteY1" fmla="*/ 1507 h 1507"/>
                          <a:gd name="connsiteX2" fmla="*/ 0 w 1130"/>
                          <a:gd name="connsiteY2" fmla="*/ 1507 h 1507"/>
                          <a:gd name="connsiteX3" fmla="*/ 0 w 1130"/>
                          <a:gd name="connsiteY3" fmla="*/ 628 h 1507"/>
                          <a:gd name="connsiteX4" fmla="*/ 628 w 1130"/>
                          <a:gd name="connsiteY4" fmla="*/ 0 h 1507"/>
                          <a:gd name="connsiteX5" fmla="*/ 1130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754"/>
                            </a:moveTo>
                            <a:lnTo>
                              <a:pt x="628" y="1507"/>
                            </a:lnTo>
                            <a:lnTo>
                              <a:pt x="0" y="1507"/>
                            </a:lnTo>
                            <a:lnTo>
                              <a:pt x="0" y="628"/>
                            </a:lnTo>
                            <a:lnTo>
                              <a:pt x="628" y="0"/>
                            </a:lnTo>
                            <a:lnTo>
                              <a:pt x="1130"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15" name="Freeform: Shape 2914">
                        <a:extLst>
                          <a:ext uri="{FF2B5EF4-FFF2-40B4-BE49-F238E27FC236}">
                            <a16:creationId xmlns:a16="http://schemas.microsoft.com/office/drawing/2014/main" id="{857CDAC0-73D4-4338-9A22-D82E803B2995}"/>
                          </a:ext>
                        </a:extLst>
                      </p:cNvPr>
                      <p:cNvSpPr/>
                      <p:nvPr/>
                    </p:nvSpPr>
                    <p:spPr>
                      <a:xfrm>
                        <a:off x="5541748" y="3781006"/>
                        <a:ext cx="1004" cy="1507"/>
                      </a:xfrm>
                      <a:custGeom>
                        <a:avLst/>
                        <a:gdLst>
                          <a:gd name="connsiteX0" fmla="*/ 1005 w 1004"/>
                          <a:gd name="connsiteY0" fmla="*/ 879 h 1507"/>
                          <a:gd name="connsiteX1" fmla="*/ 502 w 1004"/>
                          <a:gd name="connsiteY1" fmla="*/ 1507 h 1507"/>
                          <a:gd name="connsiteX2" fmla="*/ 0 w 1004"/>
                          <a:gd name="connsiteY2" fmla="*/ 1507 h 1507"/>
                          <a:gd name="connsiteX3" fmla="*/ 0 w 1004"/>
                          <a:gd name="connsiteY3" fmla="*/ 754 h 1507"/>
                          <a:gd name="connsiteX4" fmla="*/ 502 w 1004"/>
                          <a:gd name="connsiteY4" fmla="*/ 0 h 1507"/>
                          <a:gd name="connsiteX5" fmla="*/ 1005 w 1004"/>
                          <a:gd name="connsiteY5" fmla="*/ 126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507">
                            <a:moveTo>
                              <a:pt x="1005" y="879"/>
                            </a:moveTo>
                            <a:lnTo>
                              <a:pt x="502" y="1507"/>
                            </a:lnTo>
                            <a:lnTo>
                              <a:pt x="0" y="1507"/>
                            </a:lnTo>
                            <a:lnTo>
                              <a:pt x="0" y="754"/>
                            </a:lnTo>
                            <a:lnTo>
                              <a:pt x="502" y="0"/>
                            </a:lnTo>
                            <a:lnTo>
                              <a:pt x="1005" y="12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16" name="Graphic 4">
                      <a:extLst>
                        <a:ext uri="{FF2B5EF4-FFF2-40B4-BE49-F238E27FC236}">
                          <a16:creationId xmlns:a16="http://schemas.microsoft.com/office/drawing/2014/main" id="{84FB7ED1-A2DF-40A1-A747-5F7CF3F14040}"/>
                        </a:ext>
                      </a:extLst>
                    </p:cNvPr>
                    <p:cNvGrpSpPr/>
                    <p:nvPr/>
                  </p:nvGrpSpPr>
                  <p:grpSpPr>
                    <a:xfrm>
                      <a:off x="5541999" y="3782513"/>
                      <a:ext cx="1256" cy="1758"/>
                      <a:chOff x="5541999" y="3782513"/>
                      <a:chExt cx="1256" cy="1758"/>
                    </a:xfrm>
                    <a:solidFill>
                      <a:srgbClr val="63656A"/>
                    </a:solidFill>
                  </p:grpSpPr>
                  <p:sp>
                    <p:nvSpPr>
                      <p:cNvPr id="2917" name="Freeform: Shape 2916">
                        <a:extLst>
                          <a:ext uri="{FF2B5EF4-FFF2-40B4-BE49-F238E27FC236}">
                            <a16:creationId xmlns:a16="http://schemas.microsoft.com/office/drawing/2014/main" id="{5706E657-0464-4D37-9FCD-67AE2005D347}"/>
                          </a:ext>
                        </a:extLst>
                      </p:cNvPr>
                      <p:cNvSpPr/>
                      <p:nvPr/>
                    </p:nvSpPr>
                    <p:spPr>
                      <a:xfrm>
                        <a:off x="5541999" y="3782513"/>
                        <a:ext cx="1256" cy="1758"/>
                      </a:xfrm>
                      <a:custGeom>
                        <a:avLst/>
                        <a:gdLst>
                          <a:gd name="connsiteX0" fmla="*/ 1256 w 1256"/>
                          <a:gd name="connsiteY0" fmla="*/ 502 h 1758"/>
                          <a:gd name="connsiteX1" fmla="*/ 1005 w 1256"/>
                          <a:gd name="connsiteY1" fmla="*/ 1382 h 1758"/>
                          <a:gd name="connsiteX2" fmla="*/ 251 w 1256"/>
                          <a:gd name="connsiteY2" fmla="*/ 1758 h 1758"/>
                          <a:gd name="connsiteX3" fmla="*/ 0 w 1256"/>
                          <a:gd name="connsiteY3" fmla="*/ 1256 h 1758"/>
                          <a:gd name="connsiteX4" fmla="*/ 251 w 1256"/>
                          <a:gd name="connsiteY4" fmla="*/ 377 h 1758"/>
                          <a:gd name="connsiteX5" fmla="*/ 1005 w 1256"/>
                          <a:gd name="connsiteY5" fmla="*/ 0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758">
                            <a:moveTo>
                              <a:pt x="1256" y="502"/>
                            </a:moveTo>
                            <a:lnTo>
                              <a:pt x="1005" y="1382"/>
                            </a:lnTo>
                            <a:lnTo>
                              <a:pt x="251" y="1758"/>
                            </a:lnTo>
                            <a:lnTo>
                              <a:pt x="0" y="1256"/>
                            </a:lnTo>
                            <a:lnTo>
                              <a:pt x="251"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18" name="Freeform: Shape 2917">
                        <a:extLst>
                          <a:ext uri="{FF2B5EF4-FFF2-40B4-BE49-F238E27FC236}">
                            <a16:creationId xmlns:a16="http://schemas.microsoft.com/office/drawing/2014/main" id="{2AC6BF6C-1F8D-4B03-B3B4-373AD44D1AD5}"/>
                          </a:ext>
                        </a:extLst>
                      </p:cNvPr>
                      <p:cNvSpPr/>
                      <p:nvPr/>
                    </p:nvSpPr>
                    <p:spPr>
                      <a:xfrm>
                        <a:off x="5541999" y="3782639"/>
                        <a:ext cx="1256" cy="1632"/>
                      </a:xfrm>
                      <a:custGeom>
                        <a:avLst/>
                        <a:gdLst>
                          <a:gd name="connsiteX0" fmla="*/ 1256 w 1256"/>
                          <a:gd name="connsiteY0" fmla="*/ 377 h 1632"/>
                          <a:gd name="connsiteX1" fmla="*/ 1005 w 1256"/>
                          <a:gd name="connsiteY1" fmla="*/ 1256 h 1632"/>
                          <a:gd name="connsiteX2" fmla="*/ 377 w 1256"/>
                          <a:gd name="connsiteY2" fmla="*/ 1633 h 1632"/>
                          <a:gd name="connsiteX3" fmla="*/ 0 w 1256"/>
                          <a:gd name="connsiteY3" fmla="*/ 1130 h 1632"/>
                          <a:gd name="connsiteX4" fmla="*/ 377 w 1256"/>
                          <a:gd name="connsiteY4" fmla="*/ 377 h 1632"/>
                          <a:gd name="connsiteX5" fmla="*/ 1005 w 1256"/>
                          <a:gd name="connsiteY5" fmla="*/ 0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256" y="377"/>
                            </a:moveTo>
                            <a:lnTo>
                              <a:pt x="1005" y="1256"/>
                            </a:lnTo>
                            <a:lnTo>
                              <a:pt x="377" y="1633"/>
                            </a:lnTo>
                            <a:lnTo>
                              <a:pt x="0" y="1130"/>
                            </a:lnTo>
                            <a:lnTo>
                              <a:pt x="377"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19" name="Graphic 4">
                      <a:extLst>
                        <a:ext uri="{FF2B5EF4-FFF2-40B4-BE49-F238E27FC236}">
                          <a16:creationId xmlns:a16="http://schemas.microsoft.com/office/drawing/2014/main" id="{84FB7ED1-A2DF-40A1-A747-5F7CF3F14040}"/>
                        </a:ext>
                      </a:extLst>
                    </p:cNvPr>
                    <p:cNvGrpSpPr/>
                    <p:nvPr/>
                  </p:nvGrpSpPr>
                  <p:grpSpPr>
                    <a:xfrm>
                      <a:off x="5543255" y="3783393"/>
                      <a:ext cx="1130" cy="1507"/>
                      <a:chOff x="5543255" y="3783393"/>
                      <a:chExt cx="1130" cy="1507"/>
                    </a:xfrm>
                    <a:solidFill>
                      <a:srgbClr val="63656A"/>
                    </a:solidFill>
                  </p:grpSpPr>
                  <p:sp>
                    <p:nvSpPr>
                      <p:cNvPr id="2920" name="Freeform: Shape 2919">
                        <a:extLst>
                          <a:ext uri="{FF2B5EF4-FFF2-40B4-BE49-F238E27FC236}">
                            <a16:creationId xmlns:a16="http://schemas.microsoft.com/office/drawing/2014/main" id="{31B59D73-AEDC-44F6-AD3D-D141E35871B3}"/>
                          </a:ext>
                        </a:extLst>
                      </p:cNvPr>
                      <p:cNvSpPr/>
                      <p:nvPr/>
                    </p:nvSpPr>
                    <p:spPr>
                      <a:xfrm>
                        <a:off x="5543255" y="3783393"/>
                        <a:ext cx="1130" cy="1507"/>
                      </a:xfrm>
                      <a:custGeom>
                        <a:avLst/>
                        <a:gdLst>
                          <a:gd name="connsiteX0" fmla="*/ 1130 w 1130"/>
                          <a:gd name="connsiteY0" fmla="*/ 0 h 1507"/>
                          <a:gd name="connsiteX1" fmla="*/ 1130 w 1130"/>
                          <a:gd name="connsiteY1" fmla="*/ 754 h 1507"/>
                          <a:gd name="connsiteX2" fmla="*/ 628 w 1130"/>
                          <a:gd name="connsiteY2" fmla="*/ 1507 h 1507"/>
                          <a:gd name="connsiteX3" fmla="*/ 0 w 1130"/>
                          <a:gd name="connsiteY3" fmla="*/ 1507 h 1507"/>
                          <a:gd name="connsiteX4" fmla="*/ 0 w 1130"/>
                          <a:gd name="connsiteY4" fmla="*/ 628 h 1507"/>
                          <a:gd name="connsiteX5" fmla="*/ 628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0"/>
                            </a:moveTo>
                            <a:lnTo>
                              <a:pt x="1130" y="754"/>
                            </a:lnTo>
                            <a:lnTo>
                              <a:pt x="628" y="1507"/>
                            </a:lnTo>
                            <a:lnTo>
                              <a:pt x="0" y="1507"/>
                            </a:lnTo>
                            <a:lnTo>
                              <a:pt x="0" y="628"/>
                            </a:lnTo>
                            <a:lnTo>
                              <a:pt x="628"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21" name="Freeform: Shape 2920">
                        <a:extLst>
                          <a:ext uri="{FF2B5EF4-FFF2-40B4-BE49-F238E27FC236}">
                            <a16:creationId xmlns:a16="http://schemas.microsoft.com/office/drawing/2014/main" id="{BB5EFE6B-2984-4F44-8EC5-0C722742BF41}"/>
                          </a:ext>
                        </a:extLst>
                      </p:cNvPr>
                      <p:cNvSpPr/>
                      <p:nvPr/>
                    </p:nvSpPr>
                    <p:spPr>
                      <a:xfrm>
                        <a:off x="5543381" y="3783393"/>
                        <a:ext cx="1004" cy="1381"/>
                      </a:xfrm>
                      <a:custGeom>
                        <a:avLst/>
                        <a:gdLst>
                          <a:gd name="connsiteX0" fmla="*/ 1005 w 1004"/>
                          <a:gd name="connsiteY0" fmla="*/ 0 h 1381"/>
                          <a:gd name="connsiteX1" fmla="*/ 1005 w 1004"/>
                          <a:gd name="connsiteY1" fmla="*/ 754 h 1381"/>
                          <a:gd name="connsiteX2" fmla="*/ 502 w 1004"/>
                          <a:gd name="connsiteY2" fmla="*/ 1382 h 1381"/>
                          <a:gd name="connsiteX3" fmla="*/ 0 w 1004"/>
                          <a:gd name="connsiteY3" fmla="*/ 1382 h 1381"/>
                          <a:gd name="connsiteX4" fmla="*/ 0 w 1004"/>
                          <a:gd name="connsiteY4" fmla="*/ 628 h 1381"/>
                          <a:gd name="connsiteX5" fmla="*/ 502 w 1004"/>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1005" y="0"/>
                            </a:moveTo>
                            <a:lnTo>
                              <a:pt x="1005" y="754"/>
                            </a:lnTo>
                            <a:lnTo>
                              <a:pt x="502" y="1382"/>
                            </a:lnTo>
                            <a:lnTo>
                              <a:pt x="0" y="1382"/>
                            </a:lnTo>
                            <a:lnTo>
                              <a:pt x="0" y="628"/>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22" name="Graphic 4">
                      <a:extLst>
                        <a:ext uri="{FF2B5EF4-FFF2-40B4-BE49-F238E27FC236}">
                          <a16:creationId xmlns:a16="http://schemas.microsoft.com/office/drawing/2014/main" id="{84FB7ED1-A2DF-40A1-A747-5F7CF3F14040}"/>
                        </a:ext>
                      </a:extLst>
                    </p:cNvPr>
                    <p:cNvGrpSpPr/>
                    <p:nvPr/>
                  </p:nvGrpSpPr>
                  <p:grpSpPr>
                    <a:xfrm>
                      <a:off x="5544762" y="3782890"/>
                      <a:ext cx="1381" cy="1758"/>
                      <a:chOff x="5544762" y="3782890"/>
                      <a:chExt cx="1381" cy="1758"/>
                    </a:xfrm>
                    <a:solidFill>
                      <a:srgbClr val="63656A"/>
                    </a:solidFill>
                  </p:grpSpPr>
                  <p:sp>
                    <p:nvSpPr>
                      <p:cNvPr id="2923" name="Freeform: Shape 2922">
                        <a:extLst>
                          <a:ext uri="{FF2B5EF4-FFF2-40B4-BE49-F238E27FC236}">
                            <a16:creationId xmlns:a16="http://schemas.microsoft.com/office/drawing/2014/main" id="{8FA94D8A-8CE0-4981-A41D-3ECF9C1E0093}"/>
                          </a:ext>
                        </a:extLst>
                      </p:cNvPr>
                      <p:cNvSpPr/>
                      <p:nvPr/>
                    </p:nvSpPr>
                    <p:spPr>
                      <a:xfrm>
                        <a:off x="5544762" y="3782890"/>
                        <a:ext cx="1381" cy="1758"/>
                      </a:xfrm>
                      <a:custGeom>
                        <a:avLst/>
                        <a:gdLst>
                          <a:gd name="connsiteX0" fmla="*/ 1005 w 1381"/>
                          <a:gd name="connsiteY0" fmla="*/ 0 h 1758"/>
                          <a:gd name="connsiteX1" fmla="*/ 1382 w 1381"/>
                          <a:gd name="connsiteY1" fmla="*/ 377 h 1758"/>
                          <a:gd name="connsiteX2" fmla="*/ 1005 w 1381"/>
                          <a:gd name="connsiteY2" fmla="*/ 1256 h 1758"/>
                          <a:gd name="connsiteX3" fmla="*/ 377 w 1381"/>
                          <a:gd name="connsiteY3" fmla="*/ 1759 h 1758"/>
                          <a:gd name="connsiteX4" fmla="*/ 0 w 1381"/>
                          <a:gd name="connsiteY4" fmla="*/ 1256 h 1758"/>
                          <a:gd name="connsiteX5" fmla="*/ 377 w 1381"/>
                          <a:gd name="connsiteY5" fmla="*/ 377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0"/>
                            </a:moveTo>
                            <a:lnTo>
                              <a:pt x="1382" y="377"/>
                            </a:lnTo>
                            <a:lnTo>
                              <a:pt x="1005" y="1256"/>
                            </a:lnTo>
                            <a:lnTo>
                              <a:pt x="377" y="1759"/>
                            </a:lnTo>
                            <a:lnTo>
                              <a:pt x="0" y="1256"/>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24" name="Freeform: Shape 2923">
                        <a:extLst>
                          <a:ext uri="{FF2B5EF4-FFF2-40B4-BE49-F238E27FC236}">
                            <a16:creationId xmlns:a16="http://schemas.microsoft.com/office/drawing/2014/main" id="{21DC0BCF-5D57-4356-8CAA-BF51A29F5685}"/>
                          </a:ext>
                        </a:extLst>
                      </p:cNvPr>
                      <p:cNvSpPr/>
                      <p:nvPr/>
                    </p:nvSpPr>
                    <p:spPr>
                      <a:xfrm>
                        <a:off x="5544888" y="3782890"/>
                        <a:ext cx="1256" cy="1507"/>
                      </a:xfrm>
                      <a:custGeom>
                        <a:avLst/>
                        <a:gdLst>
                          <a:gd name="connsiteX0" fmla="*/ 1005 w 1256"/>
                          <a:gd name="connsiteY0" fmla="*/ 0 h 1507"/>
                          <a:gd name="connsiteX1" fmla="*/ 1256 w 1256"/>
                          <a:gd name="connsiteY1" fmla="*/ 377 h 1507"/>
                          <a:gd name="connsiteX2" fmla="*/ 1005 w 1256"/>
                          <a:gd name="connsiteY2" fmla="*/ 1256 h 1507"/>
                          <a:gd name="connsiteX3" fmla="*/ 377 w 1256"/>
                          <a:gd name="connsiteY3" fmla="*/ 1507 h 1507"/>
                          <a:gd name="connsiteX4" fmla="*/ 0 w 1256"/>
                          <a:gd name="connsiteY4" fmla="*/ 1130 h 1507"/>
                          <a:gd name="connsiteX5" fmla="*/ 377 w 1256"/>
                          <a:gd name="connsiteY5" fmla="*/ 37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005" y="0"/>
                            </a:moveTo>
                            <a:lnTo>
                              <a:pt x="1256" y="377"/>
                            </a:lnTo>
                            <a:lnTo>
                              <a:pt x="1005" y="1256"/>
                            </a:lnTo>
                            <a:lnTo>
                              <a:pt x="377" y="1507"/>
                            </a:lnTo>
                            <a:lnTo>
                              <a:pt x="0" y="1130"/>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25" name="Graphic 4">
                      <a:extLst>
                        <a:ext uri="{FF2B5EF4-FFF2-40B4-BE49-F238E27FC236}">
                          <a16:creationId xmlns:a16="http://schemas.microsoft.com/office/drawing/2014/main" id="{84FB7ED1-A2DF-40A1-A747-5F7CF3F14040}"/>
                        </a:ext>
                      </a:extLst>
                    </p:cNvPr>
                    <p:cNvGrpSpPr/>
                    <p:nvPr/>
                  </p:nvGrpSpPr>
                  <p:grpSpPr>
                    <a:xfrm>
                      <a:off x="5546521" y="3781509"/>
                      <a:ext cx="1256" cy="1507"/>
                      <a:chOff x="5546521" y="3781509"/>
                      <a:chExt cx="1256" cy="1507"/>
                    </a:xfrm>
                    <a:solidFill>
                      <a:srgbClr val="63656A"/>
                    </a:solidFill>
                  </p:grpSpPr>
                  <p:sp>
                    <p:nvSpPr>
                      <p:cNvPr id="2926" name="Freeform: Shape 2925">
                        <a:extLst>
                          <a:ext uri="{FF2B5EF4-FFF2-40B4-BE49-F238E27FC236}">
                            <a16:creationId xmlns:a16="http://schemas.microsoft.com/office/drawing/2014/main" id="{C5D8A766-599D-4023-B619-4964CF4C9A0A}"/>
                          </a:ext>
                        </a:extLst>
                      </p:cNvPr>
                      <p:cNvSpPr/>
                      <p:nvPr/>
                    </p:nvSpPr>
                    <p:spPr>
                      <a:xfrm>
                        <a:off x="5546521" y="3781509"/>
                        <a:ext cx="1256" cy="1507"/>
                      </a:xfrm>
                      <a:custGeom>
                        <a:avLst/>
                        <a:gdLst>
                          <a:gd name="connsiteX0" fmla="*/ 628 w 1256"/>
                          <a:gd name="connsiteY0" fmla="*/ 0 h 1507"/>
                          <a:gd name="connsiteX1" fmla="*/ 1256 w 1256"/>
                          <a:gd name="connsiteY1" fmla="*/ 0 h 1507"/>
                          <a:gd name="connsiteX2" fmla="*/ 1256 w 1256"/>
                          <a:gd name="connsiteY2" fmla="*/ 754 h 1507"/>
                          <a:gd name="connsiteX3" fmla="*/ 628 w 1256"/>
                          <a:gd name="connsiteY3" fmla="*/ 1507 h 1507"/>
                          <a:gd name="connsiteX4" fmla="*/ 0 w 1256"/>
                          <a:gd name="connsiteY4" fmla="*/ 1507 h 1507"/>
                          <a:gd name="connsiteX5" fmla="*/ 0 w 1256"/>
                          <a:gd name="connsiteY5" fmla="*/ 754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628" y="0"/>
                            </a:moveTo>
                            <a:lnTo>
                              <a:pt x="1256" y="0"/>
                            </a:lnTo>
                            <a:lnTo>
                              <a:pt x="1256" y="754"/>
                            </a:lnTo>
                            <a:lnTo>
                              <a:pt x="628" y="1507"/>
                            </a:lnTo>
                            <a:lnTo>
                              <a:pt x="0" y="1507"/>
                            </a:lnTo>
                            <a:lnTo>
                              <a:pt x="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27" name="Freeform: Shape 2926">
                        <a:extLst>
                          <a:ext uri="{FF2B5EF4-FFF2-40B4-BE49-F238E27FC236}">
                            <a16:creationId xmlns:a16="http://schemas.microsoft.com/office/drawing/2014/main" id="{DF3DD5D9-58A3-453A-937F-475B06EE2221}"/>
                          </a:ext>
                        </a:extLst>
                      </p:cNvPr>
                      <p:cNvSpPr/>
                      <p:nvPr/>
                    </p:nvSpPr>
                    <p:spPr>
                      <a:xfrm>
                        <a:off x="5546646" y="3781509"/>
                        <a:ext cx="1130" cy="1381"/>
                      </a:xfrm>
                      <a:custGeom>
                        <a:avLst/>
                        <a:gdLst>
                          <a:gd name="connsiteX0" fmla="*/ 502 w 1130"/>
                          <a:gd name="connsiteY0" fmla="*/ 0 h 1381"/>
                          <a:gd name="connsiteX1" fmla="*/ 1131 w 1130"/>
                          <a:gd name="connsiteY1" fmla="*/ 0 h 1381"/>
                          <a:gd name="connsiteX2" fmla="*/ 1131 w 1130"/>
                          <a:gd name="connsiteY2" fmla="*/ 754 h 1381"/>
                          <a:gd name="connsiteX3" fmla="*/ 502 w 1130"/>
                          <a:gd name="connsiteY3" fmla="*/ 1381 h 1381"/>
                          <a:gd name="connsiteX4" fmla="*/ 0 w 1130"/>
                          <a:gd name="connsiteY4" fmla="*/ 1381 h 1381"/>
                          <a:gd name="connsiteX5" fmla="*/ 0 w 1130"/>
                          <a:gd name="connsiteY5" fmla="*/ 628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502" y="0"/>
                            </a:moveTo>
                            <a:lnTo>
                              <a:pt x="1131" y="0"/>
                            </a:lnTo>
                            <a:lnTo>
                              <a:pt x="1131" y="754"/>
                            </a:lnTo>
                            <a:lnTo>
                              <a:pt x="502" y="1381"/>
                            </a:lnTo>
                            <a:lnTo>
                              <a:pt x="0" y="1381"/>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28" name="Graphic 4">
                      <a:extLst>
                        <a:ext uri="{FF2B5EF4-FFF2-40B4-BE49-F238E27FC236}">
                          <a16:creationId xmlns:a16="http://schemas.microsoft.com/office/drawing/2014/main" id="{84FB7ED1-A2DF-40A1-A747-5F7CF3F14040}"/>
                        </a:ext>
                      </a:extLst>
                    </p:cNvPr>
                    <p:cNvGrpSpPr/>
                    <p:nvPr/>
                  </p:nvGrpSpPr>
                  <p:grpSpPr>
                    <a:xfrm>
                      <a:off x="5547651" y="3779374"/>
                      <a:ext cx="1381" cy="1632"/>
                      <a:chOff x="5547651" y="3779374"/>
                      <a:chExt cx="1381" cy="1632"/>
                    </a:xfrm>
                    <a:solidFill>
                      <a:srgbClr val="63656A"/>
                    </a:solidFill>
                  </p:grpSpPr>
                  <p:sp>
                    <p:nvSpPr>
                      <p:cNvPr id="2929" name="Freeform: Shape 2928">
                        <a:extLst>
                          <a:ext uri="{FF2B5EF4-FFF2-40B4-BE49-F238E27FC236}">
                            <a16:creationId xmlns:a16="http://schemas.microsoft.com/office/drawing/2014/main" id="{6DBE47DD-A80A-4BF8-8F93-EE85E589469C}"/>
                          </a:ext>
                        </a:extLst>
                      </p:cNvPr>
                      <p:cNvSpPr/>
                      <p:nvPr/>
                    </p:nvSpPr>
                    <p:spPr>
                      <a:xfrm>
                        <a:off x="5547651" y="3779374"/>
                        <a:ext cx="1381" cy="1632"/>
                      </a:xfrm>
                      <a:custGeom>
                        <a:avLst/>
                        <a:gdLst>
                          <a:gd name="connsiteX0" fmla="*/ 377 w 1381"/>
                          <a:gd name="connsiteY0" fmla="*/ 377 h 1632"/>
                          <a:gd name="connsiteX1" fmla="*/ 1005 w 1381"/>
                          <a:gd name="connsiteY1" fmla="*/ 0 h 1632"/>
                          <a:gd name="connsiteX2" fmla="*/ 1381 w 1381"/>
                          <a:gd name="connsiteY2" fmla="*/ 377 h 1632"/>
                          <a:gd name="connsiteX3" fmla="*/ 1005 w 1381"/>
                          <a:gd name="connsiteY3" fmla="*/ 1256 h 1632"/>
                          <a:gd name="connsiteX4" fmla="*/ 377 w 1381"/>
                          <a:gd name="connsiteY4" fmla="*/ 1633 h 1632"/>
                          <a:gd name="connsiteX5" fmla="*/ 0 w 1381"/>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632">
                            <a:moveTo>
                              <a:pt x="377" y="377"/>
                            </a:moveTo>
                            <a:lnTo>
                              <a:pt x="1005" y="0"/>
                            </a:lnTo>
                            <a:lnTo>
                              <a:pt x="1381" y="377"/>
                            </a:lnTo>
                            <a:lnTo>
                              <a:pt x="1005" y="1256"/>
                            </a:lnTo>
                            <a:lnTo>
                              <a:pt x="377" y="1633"/>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0" name="Freeform: Shape 2929">
                        <a:extLst>
                          <a:ext uri="{FF2B5EF4-FFF2-40B4-BE49-F238E27FC236}">
                            <a16:creationId xmlns:a16="http://schemas.microsoft.com/office/drawing/2014/main" id="{6579E021-8B00-499F-B01C-36DDCBEF104B}"/>
                          </a:ext>
                        </a:extLst>
                      </p:cNvPr>
                      <p:cNvSpPr/>
                      <p:nvPr/>
                    </p:nvSpPr>
                    <p:spPr>
                      <a:xfrm>
                        <a:off x="5547777" y="3779374"/>
                        <a:ext cx="1255" cy="1507"/>
                      </a:xfrm>
                      <a:custGeom>
                        <a:avLst/>
                        <a:gdLst>
                          <a:gd name="connsiteX0" fmla="*/ 251 w 1255"/>
                          <a:gd name="connsiteY0" fmla="*/ 251 h 1507"/>
                          <a:gd name="connsiteX1" fmla="*/ 879 w 1255"/>
                          <a:gd name="connsiteY1" fmla="*/ 0 h 1507"/>
                          <a:gd name="connsiteX2" fmla="*/ 1256 w 1255"/>
                          <a:gd name="connsiteY2" fmla="*/ 377 h 1507"/>
                          <a:gd name="connsiteX3" fmla="*/ 879 w 1255"/>
                          <a:gd name="connsiteY3" fmla="*/ 1130 h 1507"/>
                          <a:gd name="connsiteX4" fmla="*/ 251 w 1255"/>
                          <a:gd name="connsiteY4" fmla="*/ 1507 h 1507"/>
                          <a:gd name="connsiteX5" fmla="*/ 0 w 1255"/>
                          <a:gd name="connsiteY5" fmla="*/ 113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507">
                            <a:moveTo>
                              <a:pt x="251" y="251"/>
                            </a:moveTo>
                            <a:lnTo>
                              <a:pt x="879" y="0"/>
                            </a:lnTo>
                            <a:lnTo>
                              <a:pt x="1256" y="377"/>
                            </a:lnTo>
                            <a:lnTo>
                              <a:pt x="879" y="1130"/>
                            </a:lnTo>
                            <a:lnTo>
                              <a:pt x="251" y="1507"/>
                            </a:lnTo>
                            <a:lnTo>
                              <a:pt x="0" y="113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31" name="Graphic 4">
                      <a:extLst>
                        <a:ext uri="{FF2B5EF4-FFF2-40B4-BE49-F238E27FC236}">
                          <a16:creationId xmlns:a16="http://schemas.microsoft.com/office/drawing/2014/main" id="{84FB7ED1-A2DF-40A1-A747-5F7CF3F14040}"/>
                        </a:ext>
                      </a:extLst>
                    </p:cNvPr>
                    <p:cNvGrpSpPr/>
                    <p:nvPr/>
                  </p:nvGrpSpPr>
                  <p:grpSpPr>
                    <a:xfrm>
                      <a:off x="5548279" y="3777238"/>
                      <a:ext cx="1130" cy="1507"/>
                      <a:chOff x="5548279" y="3777238"/>
                      <a:chExt cx="1130" cy="1507"/>
                    </a:xfrm>
                    <a:solidFill>
                      <a:srgbClr val="63656A"/>
                    </a:solidFill>
                  </p:grpSpPr>
                  <p:sp>
                    <p:nvSpPr>
                      <p:cNvPr id="2932" name="Freeform: Shape 2931">
                        <a:extLst>
                          <a:ext uri="{FF2B5EF4-FFF2-40B4-BE49-F238E27FC236}">
                            <a16:creationId xmlns:a16="http://schemas.microsoft.com/office/drawing/2014/main" id="{824DECE5-7465-4D64-8444-96E957B115FB}"/>
                          </a:ext>
                        </a:extLst>
                      </p:cNvPr>
                      <p:cNvSpPr/>
                      <p:nvPr/>
                    </p:nvSpPr>
                    <p:spPr>
                      <a:xfrm>
                        <a:off x="5548279" y="3777238"/>
                        <a:ext cx="1130" cy="1507"/>
                      </a:xfrm>
                      <a:custGeom>
                        <a:avLst/>
                        <a:gdLst>
                          <a:gd name="connsiteX0" fmla="*/ 0 w 1130"/>
                          <a:gd name="connsiteY0" fmla="*/ 754 h 1507"/>
                          <a:gd name="connsiteX1" fmla="*/ 628 w 1130"/>
                          <a:gd name="connsiteY1" fmla="*/ 0 h 1507"/>
                          <a:gd name="connsiteX2" fmla="*/ 1130 w 1130"/>
                          <a:gd name="connsiteY2" fmla="*/ 0 h 1507"/>
                          <a:gd name="connsiteX3" fmla="*/ 1130 w 1130"/>
                          <a:gd name="connsiteY3" fmla="*/ 879 h 1507"/>
                          <a:gd name="connsiteX4" fmla="*/ 628 w 1130"/>
                          <a:gd name="connsiteY4" fmla="*/ 1507 h 1507"/>
                          <a:gd name="connsiteX5" fmla="*/ 0 w 1130"/>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628" y="0"/>
                            </a:lnTo>
                            <a:lnTo>
                              <a:pt x="1130" y="0"/>
                            </a:lnTo>
                            <a:lnTo>
                              <a:pt x="1130" y="879"/>
                            </a:lnTo>
                            <a:lnTo>
                              <a:pt x="628" y="1507"/>
                            </a:lnTo>
                            <a:lnTo>
                              <a:pt x="0"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3" name="Freeform: Shape 2932">
                        <a:extLst>
                          <a:ext uri="{FF2B5EF4-FFF2-40B4-BE49-F238E27FC236}">
                            <a16:creationId xmlns:a16="http://schemas.microsoft.com/office/drawing/2014/main" id="{D73DB06F-47EA-49FA-A755-7366B7596E95}"/>
                          </a:ext>
                        </a:extLst>
                      </p:cNvPr>
                      <p:cNvSpPr/>
                      <p:nvPr/>
                    </p:nvSpPr>
                    <p:spPr>
                      <a:xfrm>
                        <a:off x="5548279" y="3777238"/>
                        <a:ext cx="1130" cy="1507"/>
                      </a:xfrm>
                      <a:custGeom>
                        <a:avLst/>
                        <a:gdLst>
                          <a:gd name="connsiteX0" fmla="*/ 0 w 1130"/>
                          <a:gd name="connsiteY0" fmla="*/ 754 h 1507"/>
                          <a:gd name="connsiteX1" fmla="*/ 502 w 1130"/>
                          <a:gd name="connsiteY1" fmla="*/ 0 h 1507"/>
                          <a:gd name="connsiteX2" fmla="*/ 1130 w 1130"/>
                          <a:gd name="connsiteY2" fmla="*/ 0 h 1507"/>
                          <a:gd name="connsiteX3" fmla="*/ 1130 w 1130"/>
                          <a:gd name="connsiteY3" fmla="*/ 754 h 1507"/>
                          <a:gd name="connsiteX4" fmla="*/ 502 w 1130"/>
                          <a:gd name="connsiteY4" fmla="*/ 1507 h 1507"/>
                          <a:gd name="connsiteX5" fmla="*/ 0 w 1130"/>
                          <a:gd name="connsiteY5" fmla="*/ 1382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502" y="0"/>
                            </a:lnTo>
                            <a:lnTo>
                              <a:pt x="1130" y="0"/>
                            </a:lnTo>
                            <a:lnTo>
                              <a:pt x="1130" y="754"/>
                            </a:lnTo>
                            <a:lnTo>
                              <a:pt x="502" y="1507"/>
                            </a:lnTo>
                            <a:lnTo>
                              <a:pt x="0"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34" name="Graphic 4">
                      <a:extLst>
                        <a:ext uri="{FF2B5EF4-FFF2-40B4-BE49-F238E27FC236}">
                          <a16:creationId xmlns:a16="http://schemas.microsoft.com/office/drawing/2014/main" id="{84FB7ED1-A2DF-40A1-A747-5F7CF3F14040}"/>
                        </a:ext>
                      </a:extLst>
                    </p:cNvPr>
                    <p:cNvGrpSpPr/>
                    <p:nvPr/>
                  </p:nvGrpSpPr>
                  <p:grpSpPr>
                    <a:xfrm>
                      <a:off x="5547777" y="3775480"/>
                      <a:ext cx="1381" cy="1758"/>
                      <a:chOff x="5547777" y="3775480"/>
                      <a:chExt cx="1381" cy="1758"/>
                    </a:xfrm>
                    <a:solidFill>
                      <a:srgbClr val="63656A"/>
                    </a:solidFill>
                  </p:grpSpPr>
                  <p:sp>
                    <p:nvSpPr>
                      <p:cNvPr id="2935" name="Freeform: Shape 2934">
                        <a:extLst>
                          <a:ext uri="{FF2B5EF4-FFF2-40B4-BE49-F238E27FC236}">
                            <a16:creationId xmlns:a16="http://schemas.microsoft.com/office/drawing/2014/main" id="{6CF90E88-F0FD-4691-8997-5030459A818D}"/>
                          </a:ext>
                        </a:extLst>
                      </p:cNvPr>
                      <p:cNvSpPr/>
                      <p:nvPr/>
                    </p:nvSpPr>
                    <p:spPr>
                      <a:xfrm>
                        <a:off x="5547777" y="3775480"/>
                        <a:ext cx="1381" cy="1758"/>
                      </a:xfrm>
                      <a:custGeom>
                        <a:avLst/>
                        <a:gdLst>
                          <a:gd name="connsiteX0" fmla="*/ 0 w 1381"/>
                          <a:gd name="connsiteY0" fmla="*/ 1256 h 1758"/>
                          <a:gd name="connsiteX1" fmla="*/ 377 w 1381"/>
                          <a:gd name="connsiteY1" fmla="*/ 377 h 1758"/>
                          <a:gd name="connsiteX2" fmla="*/ 1005 w 1381"/>
                          <a:gd name="connsiteY2" fmla="*/ 0 h 1758"/>
                          <a:gd name="connsiteX3" fmla="*/ 1381 w 1381"/>
                          <a:gd name="connsiteY3" fmla="*/ 502 h 1758"/>
                          <a:gd name="connsiteX4" fmla="*/ 1005 w 1381"/>
                          <a:gd name="connsiteY4" fmla="*/ 1382 h 1758"/>
                          <a:gd name="connsiteX5" fmla="*/ 377 w 1381"/>
                          <a:gd name="connsiteY5" fmla="*/ 1758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0" y="1256"/>
                            </a:moveTo>
                            <a:lnTo>
                              <a:pt x="377" y="377"/>
                            </a:lnTo>
                            <a:lnTo>
                              <a:pt x="1005" y="0"/>
                            </a:lnTo>
                            <a:lnTo>
                              <a:pt x="1381" y="502"/>
                            </a:lnTo>
                            <a:lnTo>
                              <a:pt x="1005" y="1382"/>
                            </a:lnTo>
                            <a:lnTo>
                              <a:pt x="377" y="175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6" name="Freeform: Shape 2935">
                        <a:extLst>
                          <a:ext uri="{FF2B5EF4-FFF2-40B4-BE49-F238E27FC236}">
                            <a16:creationId xmlns:a16="http://schemas.microsoft.com/office/drawing/2014/main" id="{19B1C30A-E65B-4AEF-A6DF-29D66A3D0ED8}"/>
                          </a:ext>
                        </a:extLst>
                      </p:cNvPr>
                      <p:cNvSpPr/>
                      <p:nvPr/>
                    </p:nvSpPr>
                    <p:spPr>
                      <a:xfrm>
                        <a:off x="5547777" y="3775606"/>
                        <a:ext cx="1255" cy="1507"/>
                      </a:xfrm>
                      <a:custGeom>
                        <a:avLst/>
                        <a:gdLst>
                          <a:gd name="connsiteX0" fmla="*/ 0 w 1255"/>
                          <a:gd name="connsiteY0" fmla="*/ 1130 h 1507"/>
                          <a:gd name="connsiteX1" fmla="*/ 251 w 1255"/>
                          <a:gd name="connsiteY1" fmla="*/ 251 h 1507"/>
                          <a:gd name="connsiteX2" fmla="*/ 879 w 1255"/>
                          <a:gd name="connsiteY2" fmla="*/ 0 h 1507"/>
                          <a:gd name="connsiteX3" fmla="*/ 1256 w 1255"/>
                          <a:gd name="connsiteY3" fmla="*/ 377 h 1507"/>
                          <a:gd name="connsiteX4" fmla="*/ 879 w 1255"/>
                          <a:gd name="connsiteY4" fmla="*/ 1130 h 1507"/>
                          <a:gd name="connsiteX5" fmla="*/ 251 w 1255"/>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507">
                            <a:moveTo>
                              <a:pt x="0" y="1130"/>
                            </a:moveTo>
                            <a:lnTo>
                              <a:pt x="251" y="251"/>
                            </a:lnTo>
                            <a:lnTo>
                              <a:pt x="879" y="0"/>
                            </a:lnTo>
                            <a:lnTo>
                              <a:pt x="1256" y="377"/>
                            </a:lnTo>
                            <a:lnTo>
                              <a:pt x="879" y="1130"/>
                            </a:lnTo>
                            <a:lnTo>
                              <a:pt x="251"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37" name="Graphic 4">
                      <a:extLst>
                        <a:ext uri="{FF2B5EF4-FFF2-40B4-BE49-F238E27FC236}">
                          <a16:creationId xmlns:a16="http://schemas.microsoft.com/office/drawing/2014/main" id="{84FB7ED1-A2DF-40A1-A747-5F7CF3F14040}"/>
                        </a:ext>
                      </a:extLst>
                    </p:cNvPr>
                    <p:cNvGrpSpPr/>
                    <p:nvPr/>
                  </p:nvGrpSpPr>
                  <p:grpSpPr>
                    <a:xfrm>
                      <a:off x="5546646" y="3774852"/>
                      <a:ext cx="1130" cy="1507"/>
                      <a:chOff x="5546646" y="3774852"/>
                      <a:chExt cx="1130" cy="1507"/>
                    </a:xfrm>
                    <a:solidFill>
                      <a:srgbClr val="63656A"/>
                    </a:solidFill>
                  </p:grpSpPr>
                  <p:sp>
                    <p:nvSpPr>
                      <p:cNvPr id="2938" name="Freeform: Shape 2937">
                        <a:extLst>
                          <a:ext uri="{FF2B5EF4-FFF2-40B4-BE49-F238E27FC236}">
                            <a16:creationId xmlns:a16="http://schemas.microsoft.com/office/drawing/2014/main" id="{DDF45D6C-DD69-4B1A-9AFE-928403360FDA}"/>
                          </a:ext>
                        </a:extLst>
                      </p:cNvPr>
                      <p:cNvSpPr/>
                      <p:nvPr/>
                    </p:nvSpPr>
                    <p:spPr>
                      <a:xfrm>
                        <a:off x="5546646" y="3774852"/>
                        <a:ext cx="1130" cy="1507"/>
                      </a:xfrm>
                      <a:custGeom>
                        <a:avLst/>
                        <a:gdLst>
                          <a:gd name="connsiteX0" fmla="*/ 0 w 1130"/>
                          <a:gd name="connsiteY0" fmla="*/ 1507 h 1507"/>
                          <a:gd name="connsiteX1" fmla="*/ 0 w 1130"/>
                          <a:gd name="connsiteY1" fmla="*/ 754 h 1507"/>
                          <a:gd name="connsiteX2" fmla="*/ 628 w 1130"/>
                          <a:gd name="connsiteY2" fmla="*/ 0 h 1507"/>
                          <a:gd name="connsiteX3" fmla="*/ 1131 w 1130"/>
                          <a:gd name="connsiteY3" fmla="*/ 0 h 1507"/>
                          <a:gd name="connsiteX4" fmla="*/ 1131 w 1130"/>
                          <a:gd name="connsiteY4" fmla="*/ 879 h 1507"/>
                          <a:gd name="connsiteX5" fmla="*/ 628 w 1130"/>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1507"/>
                            </a:moveTo>
                            <a:lnTo>
                              <a:pt x="0" y="754"/>
                            </a:lnTo>
                            <a:lnTo>
                              <a:pt x="628" y="0"/>
                            </a:lnTo>
                            <a:lnTo>
                              <a:pt x="1131" y="0"/>
                            </a:lnTo>
                            <a:lnTo>
                              <a:pt x="1131" y="879"/>
                            </a:lnTo>
                            <a:lnTo>
                              <a:pt x="628"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9" name="Freeform: Shape 2938">
                        <a:extLst>
                          <a:ext uri="{FF2B5EF4-FFF2-40B4-BE49-F238E27FC236}">
                            <a16:creationId xmlns:a16="http://schemas.microsoft.com/office/drawing/2014/main" id="{9E2C2C4B-A28D-44B7-A9C0-260FC07B36AB}"/>
                          </a:ext>
                        </a:extLst>
                      </p:cNvPr>
                      <p:cNvSpPr/>
                      <p:nvPr/>
                    </p:nvSpPr>
                    <p:spPr>
                      <a:xfrm>
                        <a:off x="5546646" y="3774978"/>
                        <a:ext cx="1004" cy="1381"/>
                      </a:xfrm>
                      <a:custGeom>
                        <a:avLst/>
                        <a:gdLst>
                          <a:gd name="connsiteX0" fmla="*/ 0 w 1004"/>
                          <a:gd name="connsiteY0" fmla="*/ 1382 h 1381"/>
                          <a:gd name="connsiteX1" fmla="*/ 0 w 1004"/>
                          <a:gd name="connsiteY1" fmla="*/ 628 h 1381"/>
                          <a:gd name="connsiteX2" fmla="*/ 502 w 1004"/>
                          <a:gd name="connsiteY2" fmla="*/ 0 h 1381"/>
                          <a:gd name="connsiteX3" fmla="*/ 1005 w 1004"/>
                          <a:gd name="connsiteY3" fmla="*/ 0 h 1381"/>
                          <a:gd name="connsiteX4" fmla="*/ 1005 w 1004"/>
                          <a:gd name="connsiteY4" fmla="*/ 754 h 1381"/>
                          <a:gd name="connsiteX5" fmla="*/ 502 w 1004"/>
                          <a:gd name="connsiteY5" fmla="*/ 1382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0" y="1382"/>
                            </a:moveTo>
                            <a:lnTo>
                              <a:pt x="0" y="628"/>
                            </a:lnTo>
                            <a:lnTo>
                              <a:pt x="502" y="0"/>
                            </a:lnTo>
                            <a:lnTo>
                              <a:pt x="1005" y="0"/>
                            </a:lnTo>
                            <a:lnTo>
                              <a:pt x="1005" y="754"/>
                            </a:lnTo>
                            <a:lnTo>
                              <a:pt x="502"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940" name="Graphic 4">
                    <a:extLst>
                      <a:ext uri="{FF2B5EF4-FFF2-40B4-BE49-F238E27FC236}">
                        <a16:creationId xmlns:a16="http://schemas.microsoft.com/office/drawing/2014/main" id="{84FB7ED1-A2DF-40A1-A747-5F7CF3F14040}"/>
                      </a:ext>
                    </a:extLst>
                  </p:cNvPr>
                  <p:cNvGrpSpPr/>
                  <p:nvPr/>
                </p:nvGrpSpPr>
                <p:grpSpPr>
                  <a:xfrm>
                    <a:off x="5543506" y="3777238"/>
                    <a:ext cx="4019" cy="5149"/>
                    <a:chOff x="5543506" y="3777238"/>
                    <a:chExt cx="4019" cy="5149"/>
                  </a:xfrm>
                  <a:solidFill>
                    <a:srgbClr val="B1B6BE"/>
                  </a:solidFill>
                </p:grpSpPr>
                <p:grpSp>
                  <p:nvGrpSpPr>
                    <p:cNvPr id="2941" name="Graphic 4">
                      <a:extLst>
                        <a:ext uri="{FF2B5EF4-FFF2-40B4-BE49-F238E27FC236}">
                          <a16:creationId xmlns:a16="http://schemas.microsoft.com/office/drawing/2014/main" id="{84FB7ED1-A2DF-40A1-A747-5F7CF3F14040}"/>
                        </a:ext>
                      </a:extLst>
                    </p:cNvPr>
                    <p:cNvGrpSpPr/>
                    <p:nvPr/>
                  </p:nvGrpSpPr>
                  <p:grpSpPr>
                    <a:xfrm>
                      <a:off x="5545265" y="3777364"/>
                      <a:ext cx="627" cy="879"/>
                      <a:chOff x="5545265" y="3777364"/>
                      <a:chExt cx="627" cy="879"/>
                    </a:xfrm>
                    <a:solidFill>
                      <a:srgbClr val="B1B6BE"/>
                    </a:solidFill>
                  </p:grpSpPr>
                  <p:sp>
                    <p:nvSpPr>
                      <p:cNvPr id="2942" name="Freeform: Shape 2941">
                        <a:extLst>
                          <a:ext uri="{FF2B5EF4-FFF2-40B4-BE49-F238E27FC236}">
                            <a16:creationId xmlns:a16="http://schemas.microsoft.com/office/drawing/2014/main" id="{C6E4027A-3520-4BB5-B8FE-B498D53C1BFB}"/>
                          </a:ext>
                        </a:extLst>
                      </p:cNvPr>
                      <p:cNvSpPr/>
                      <p:nvPr/>
                    </p:nvSpPr>
                    <p:spPr>
                      <a:xfrm>
                        <a:off x="5545265" y="3777364"/>
                        <a:ext cx="627" cy="879"/>
                      </a:xfrm>
                      <a:custGeom>
                        <a:avLst/>
                        <a:gdLst>
                          <a:gd name="connsiteX0" fmla="*/ 126 w 627"/>
                          <a:gd name="connsiteY0" fmla="*/ 879 h 879"/>
                          <a:gd name="connsiteX1" fmla="*/ 0 w 627"/>
                          <a:gd name="connsiteY1" fmla="*/ 628 h 879"/>
                          <a:gd name="connsiteX2" fmla="*/ 126 w 627"/>
                          <a:gd name="connsiteY2" fmla="*/ 251 h 879"/>
                          <a:gd name="connsiteX3" fmla="*/ 502 w 627"/>
                          <a:gd name="connsiteY3" fmla="*/ 0 h 879"/>
                          <a:gd name="connsiteX4" fmla="*/ 628 w 627"/>
                          <a:gd name="connsiteY4" fmla="*/ 251 h 879"/>
                          <a:gd name="connsiteX5" fmla="*/ 502 w 627"/>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126" y="879"/>
                            </a:moveTo>
                            <a:lnTo>
                              <a:pt x="0" y="628"/>
                            </a:lnTo>
                            <a:lnTo>
                              <a:pt x="126" y="251"/>
                            </a:lnTo>
                            <a:lnTo>
                              <a:pt x="502" y="0"/>
                            </a:lnTo>
                            <a:lnTo>
                              <a:pt x="628" y="251"/>
                            </a:lnTo>
                            <a:lnTo>
                              <a:pt x="502"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43" name="Freeform: Shape 2942">
                        <a:extLst>
                          <a:ext uri="{FF2B5EF4-FFF2-40B4-BE49-F238E27FC236}">
                            <a16:creationId xmlns:a16="http://schemas.microsoft.com/office/drawing/2014/main" id="{767A1294-A0A6-4D06-93E0-0E272FDD430B}"/>
                          </a:ext>
                        </a:extLst>
                      </p:cNvPr>
                      <p:cNvSpPr/>
                      <p:nvPr/>
                    </p:nvSpPr>
                    <p:spPr>
                      <a:xfrm>
                        <a:off x="5545265" y="3777490"/>
                        <a:ext cx="627" cy="753"/>
                      </a:xfrm>
                      <a:custGeom>
                        <a:avLst/>
                        <a:gdLst>
                          <a:gd name="connsiteX0" fmla="*/ 126 w 627"/>
                          <a:gd name="connsiteY0" fmla="*/ 754 h 753"/>
                          <a:gd name="connsiteX1" fmla="*/ 0 w 627"/>
                          <a:gd name="connsiteY1" fmla="*/ 502 h 753"/>
                          <a:gd name="connsiteX2" fmla="*/ 126 w 627"/>
                          <a:gd name="connsiteY2" fmla="*/ 126 h 753"/>
                          <a:gd name="connsiteX3" fmla="*/ 502 w 627"/>
                          <a:gd name="connsiteY3" fmla="*/ 0 h 753"/>
                          <a:gd name="connsiteX4" fmla="*/ 628 w 627"/>
                          <a:gd name="connsiteY4" fmla="*/ 251 h 753"/>
                          <a:gd name="connsiteX5" fmla="*/ 502 w 627"/>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126" y="754"/>
                            </a:moveTo>
                            <a:lnTo>
                              <a:pt x="0" y="502"/>
                            </a:lnTo>
                            <a:lnTo>
                              <a:pt x="126" y="126"/>
                            </a:lnTo>
                            <a:lnTo>
                              <a:pt x="502" y="0"/>
                            </a:lnTo>
                            <a:lnTo>
                              <a:pt x="628" y="251"/>
                            </a:lnTo>
                            <a:lnTo>
                              <a:pt x="502"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44" name="Graphic 4">
                      <a:extLst>
                        <a:ext uri="{FF2B5EF4-FFF2-40B4-BE49-F238E27FC236}">
                          <a16:creationId xmlns:a16="http://schemas.microsoft.com/office/drawing/2014/main" id="{84FB7ED1-A2DF-40A1-A747-5F7CF3F14040}"/>
                        </a:ext>
                      </a:extLst>
                    </p:cNvPr>
                    <p:cNvGrpSpPr/>
                    <p:nvPr/>
                  </p:nvGrpSpPr>
                  <p:grpSpPr>
                    <a:xfrm>
                      <a:off x="5544386" y="3778118"/>
                      <a:ext cx="628" cy="879"/>
                      <a:chOff x="5544386" y="3778118"/>
                      <a:chExt cx="628" cy="879"/>
                    </a:xfrm>
                    <a:solidFill>
                      <a:srgbClr val="B1B6BE"/>
                    </a:solidFill>
                  </p:grpSpPr>
                  <p:sp>
                    <p:nvSpPr>
                      <p:cNvPr id="2945" name="Freeform: Shape 2944">
                        <a:extLst>
                          <a:ext uri="{FF2B5EF4-FFF2-40B4-BE49-F238E27FC236}">
                            <a16:creationId xmlns:a16="http://schemas.microsoft.com/office/drawing/2014/main" id="{89C70AB8-4644-4376-98F9-60FBF4E27246}"/>
                          </a:ext>
                        </a:extLst>
                      </p:cNvPr>
                      <p:cNvSpPr/>
                      <p:nvPr/>
                    </p:nvSpPr>
                    <p:spPr>
                      <a:xfrm>
                        <a:off x="5544386" y="3778118"/>
                        <a:ext cx="628" cy="879"/>
                      </a:xfrm>
                      <a:custGeom>
                        <a:avLst/>
                        <a:gdLst>
                          <a:gd name="connsiteX0" fmla="*/ 377 w 628"/>
                          <a:gd name="connsiteY0" fmla="*/ 879 h 879"/>
                          <a:gd name="connsiteX1" fmla="*/ 0 w 628"/>
                          <a:gd name="connsiteY1" fmla="*/ 879 h 879"/>
                          <a:gd name="connsiteX2" fmla="*/ 0 w 628"/>
                          <a:gd name="connsiteY2" fmla="*/ 502 h 879"/>
                          <a:gd name="connsiteX3" fmla="*/ 377 w 628"/>
                          <a:gd name="connsiteY3" fmla="*/ 0 h 879"/>
                          <a:gd name="connsiteX4" fmla="*/ 628 w 628"/>
                          <a:gd name="connsiteY4" fmla="*/ 126 h 879"/>
                          <a:gd name="connsiteX5" fmla="*/ 628 w 628"/>
                          <a:gd name="connsiteY5" fmla="*/ 502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377" y="879"/>
                            </a:moveTo>
                            <a:lnTo>
                              <a:pt x="0" y="879"/>
                            </a:lnTo>
                            <a:lnTo>
                              <a:pt x="0" y="502"/>
                            </a:lnTo>
                            <a:lnTo>
                              <a:pt x="377" y="0"/>
                            </a:lnTo>
                            <a:lnTo>
                              <a:pt x="628" y="126"/>
                            </a:lnTo>
                            <a:lnTo>
                              <a:pt x="628" y="502"/>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46" name="Freeform: Shape 2945">
                        <a:extLst>
                          <a:ext uri="{FF2B5EF4-FFF2-40B4-BE49-F238E27FC236}">
                            <a16:creationId xmlns:a16="http://schemas.microsoft.com/office/drawing/2014/main" id="{C59C6800-B557-4390-BE97-A12AC0F395E1}"/>
                          </a:ext>
                        </a:extLst>
                      </p:cNvPr>
                      <p:cNvSpPr/>
                      <p:nvPr/>
                    </p:nvSpPr>
                    <p:spPr>
                      <a:xfrm>
                        <a:off x="5544386" y="3778243"/>
                        <a:ext cx="628" cy="753"/>
                      </a:xfrm>
                      <a:custGeom>
                        <a:avLst/>
                        <a:gdLst>
                          <a:gd name="connsiteX0" fmla="*/ 377 w 628"/>
                          <a:gd name="connsiteY0" fmla="*/ 754 h 753"/>
                          <a:gd name="connsiteX1" fmla="*/ 0 w 628"/>
                          <a:gd name="connsiteY1" fmla="*/ 754 h 753"/>
                          <a:gd name="connsiteX2" fmla="*/ 0 w 628"/>
                          <a:gd name="connsiteY2" fmla="*/ 377 h 753"/>
                          <a:gd name="connsiteX3" fmla="*/ 377 w 628"/>
                          <a:gd name="connsiteY3" fmla="*/ 0 h 753"/>
                          <a:gd name="connsiteX4" fmla="*/ 628 w 628"/>
                          <a:gd name="connsiteY4" fmla="*/ 0 h 753"/>
                          <a:gd name="connsiteX5" fmla="*/ 628 w 628"/>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47" name="Graphic 4">
                      <a:extLst>
                        <a:ext uri="{FF2B5EF4-FFF2-40B4-BE49-F238E27FC236}">
                          <a16:creationId xmlns:a16="http://schemas.microsoft.com/office/drawing/2014/main" id="{84FB7ED1-A2DF-40A1-A747-5F7CF3F14040}"/>
                        </a:ext>
                      </a:extLst>
                    </p:cNvPr>
                    <p:cNvGrpSpPr/>
                    <p:nvPr/>
                  </p:nvGrpSpPr>
                  <p:grpSpPr>
                    <a:xfrm>
                      <a:off x="5543758" y="3779248"/>
                      <a:ext cx="627" cy="879"/>
                      <a:chOff x="5543758" y="3779248"/>
                      <a:chExt cx="627" cy="879"/>
                    </a:xfrm>
                    <a:solidFill>
                      <a:srgbClr val="B1B6BE"/>
                    </a:solidFill>
                  </p:grpSpPr>
                  <p:sp>
                    <p:nvSpPr>
                      <p:cNvPr id="2948" name="Freeform: Shape 2947">
                        <a:extLst>
                          <a:ext uri="{FF2B5EF4-FFF2-40B4-BE49-F238E27FC236}">
                            <a16:creationId xmlns:a16="http://schemas.microsoft.com/office/drawing/2014/main" id="{D5FC8385-4687-40F0-96CE-E39B01E10764}"/>
                          </a:ext>
                        </a:extLst>
                      </p:cNvPr>
                      <p:cNvSpPr/>
                      <p:nvPr/>
                    </p:nvSpPr>
                    <p:spPr>
                      <a:xfrm>
                        <a:off x="5543758" y="3779248"/>
                        <a:ext cx="627" cy="879"/>
                      </a:xfrm>
                      <a:custGeom>
                        <a:avLst/>
                        <a:gdLst>
                          <a:gd name="connsiteX0" fmla="*/ 502 w 627"/>
                          <a:gd name="connsiteY0" fmla="*/ 628 h 879"/>
                          <a:gd name="connsiteX1" fmla="*/ 125 w 627"/>
                          <a:gd name="connsiteY1" fmla="*/ 879 h 879"/>
                          <a:gd name="connsiteX2" fmla="*/ 0 w 627"/>
                          <a:gd name="connsiteY2" fmla="*/ 628 h 879"/>
                          <a:gd name="connsiteX3" fmla="*/ 125 w 627"/>
                          <a:gd name="connsiteY3" fmla="*/ 126 h 879"/>
                          <a:gd name="connsiteX4" fmla="*/ 502 w 627"/>
                          <a:gd name="connsiteY4" fmla="*/ 0 h 879"/>
                          <a:gd name="connsiteX5" fmla="*/ 628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628"/>
                            </a:moveTo>
                            <a:lnTo>
                              <a:pt x="125" y="879"/>
                            </a:lnTo>
                            <a:lnTo>
                              <a:pt x="0" y="628"/>
                            </a:lnTo>
                            <a:lnTo>
                              <a:pt x="125" y="126"/>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49" name="Freeform: Shape 2948">
                        <a:extLst>
                          <a:ext uri="{FF2B5EF4-FFF2-40B4-BE49-F238E27FC236}">
                            <a16:creationId xmlns:a16="http://schemas.microsoft.com/office/drawing/2014/main" id="{43E2FCE6-AE93-4ED9-BAC2-3ACC55C066F5}"/>
                          </a:ext>
                        </a:extLst>
                      </p:cNvPr>
                      <p:cNvSpPr/>
                      <p:nvPr/>
                    </p:nvSpPr>
                    <p:spPr>
                      <a:xfrm>
                        <a:off x="5543758" y="3779248"/>
                        <a:ext cx="627" cy="879"/>
                      </a:xfrm>
                      <a:custGeom>
                        <a:avLst/>
                        <a:gdLst>
                          <a:gd name="connsiteX0" fmla="*/ 502 w 627"/>
                          <a:gd name="connsiteY0" fmla="*/ 628 h 879"/>
                          <a:gd name="connsiteX1" fmla="*/ 125 w 627"/>
                          <a:gd name="connsiteY1" fmla="*/ 879 h 879"/>
                          <a:gd name="connsiteX2" fmla="*/ 0 w 627"/>
                          <a:gd name="connsiteY2" fmla="*/ 628 h 879"/>
                          <a:gd name="connsiteX3" fmla="*/ 125 w 627"/>
                          <a:gd name="connsiteY3" fmla="*/ 251 h 879"/>
                          <a:gd name="connsiteX4" fmla="*/ 502 w 627"/>
                          <a:gd name="connsiteY4" fmla="*/ 0 h 879"/>
                          <a:gd name="connsiteX5" fmla="*/ 628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628"/>
                            </a:moveTo>
                            <a:lnTo>
                              <a:pt x="125" y="879"/>
                            </a:lnTo>
                            <a:lnTo>
                              <a:pt x="0" y="628"/>
                            </a:lnTo>
                            <a:lnTo>
                              <a:pt x="125" y="251"/>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50" name="Graphic 4">
                      <a:extLst>
                        <a:ext uri="{FF2B5EF4-FFF2-40B4-BE49-F238E27FC236}">
                          <a16:creationId xmlns:a16="http://schemas.microsoft.com/office/drawing/2014/main" id="{84FB7ED1-A2DF-40A1-A747-5F7CF3F14040}"/>
                        </a:ext>
                      </a:extLst>
                    </p:cNvPr>
                    <p:cNvGrpSpPr/>
                    <p:nvPr/>
                  </p:nvGrpSpPr>
                  <p:grpSpPr>
                    <a:xfrm>
                      <a:off x="5543506" y="3780378"/>
                      <a:ext cx="628" cy="753"/>
                      <a:chOff x="5543506" y="3780378"/>
                      <a:chExt cx="628" cy="753"/>
                    </a:xfrm>
                    <a:solidFill>
                      <a:srgbClr val="B1B6BE"/>
                    </a:solidFill>
                  </p:grpSpPr>
                  <p:sp>
                    <p:nvSpPr>
                      <p:cNvPr id="2951" name="Freeform: Shape 2950">
                        <a:extLst>
                          <a:ext uri="{FF2B5EF4-FFF2-40B4-BE49-F238E27FC236}">
                            <a16:creationId xmlns:a16="http://schemas.microsoft.com/office/drawing/2014/main" id="{6A412103-9560-4AD8-957D-081C22572371}"/>
                          </a:ext>
                        </a:extLst>
                      </p:cNvPr>
                      <p:cNvSpPr/>
                      <p:nvPr/>
                    </p:nvSpPr>
                    <p:spPr>
                      <a:xfrm>
                        <a:off x="5543506" y="3780378"/>
                        <a:ext cx="628" cy="753"/>
                      </a:xfrm>
                      <a:custGeom>
                        <a:avLst/>
                        <a:gdLst>
                          <a:gd name="connsiteX0" fmla="*/ 628 w 628"/>
                          <a:gd name="connsiteY0" fmla="*/ 377 h 753"/>
                          <a:gd name="connsiteX1" fmla="*/ 377 w 628"/>
                          <a:gd name="connsiteY1" fmla="*/ 754 h 753"/>
                          <a:gd name="connsiteX2" fmla="*/ 0 w 628"/>
                          <a:gd name="connsiteY2" fmla="*/ 754 h 753"/>
                          <a:gd name="connsiteX3" fmla="*/ 0 w 628"/>
                          <a:gd name="connsiteY3" fmla="*/ 377 h 753"/>
                          <a:gd name="connsiteX4" fmla="*/ 377 w 628"/>
                          <a:gd name="connsiteY4" fmla="*/ 0 h 753"/>
                          <a:gd name="connsiteX5" fmla="*/ 628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377"/>
                            </a:moveTo>
                            <a:lnTo>
                              <a:pt x="377" y="754"/>
                            </a:lnTo>
                            <a:lnTo>
                              <a:pt x="0" y="754"/>
                            </a:lnTo>
                            <a:lnTo>
                              <a:pt x="0" y="377"/>
                            </a:lnTo>
                            <a:lnTo>
                              <a:pt x="377"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52" name="Freeform: Shape 2951">
                        <a:extLst>
                          <a:ext uri="{FF2B5EF4-FFF2-40B4-BE49-F238E27FC236}">
                            <a16:creationId xmlns:a16="http://schemas.microsoft.com/office/drawing/2014/main" id="{57EAEAC3-A542-4A0B-A59A-15730F087EDB}"/>
                          </a:ext>
                        </a:extLst>
                      </p:cNvPr>
                      <p:cNvSpPr/>
                      <p:nvPr/>
                    </p:nvSpPr>
                    <p:spPr>
                      <a:xfrm>
                        <a:off x="5543506" y="3780504"/>
                        <a:ext cx="628" cy="627"/>
                      </a:xfrm>
                      <a:custGeom>
                        <a:avLst/>
                        <a:gdLst>
                          <a:gd name="connsiteX0" fmla="*/ 628 w 628"/>
                          <a:gd name="connsiteY0" fmla="*/ 377 h 627"/>
                          <a:gd name="connsiteX1" fmla="*/ 377 w 628"/>
                          <a:gd name="connsiteY1" fmla="*/ 628 h 627"/>
                          <a:gd name="connsiteX2" fmla="*/ 0 w 628"/>
                          <a:gd name="connsiteY2" fmla="*/ 628 h 627"/>
                          <a:gd name="connsiteX3" fmla="*/ 0 w 628"/>
                          <a:gd name="connsiteY3" fmla="*/ 251 h 627"/>
                          <a:gd name="connsiteX4" fmla="*/ 377 w 628"/>
                          <a:gd name="connsiteY4" fmla="*/ 0 h 627"/>
                          <a:gd name="connsiteX5" fmla="*/ 628 w 628"/>
                          <a:gd name="connsiteY5" fmla="*/ 0 h 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627">
                            <a:moveTo>
                              <a:pt x="628" y="377"/>
                            </a:moveTo>
                            <a:lnTo>
                              <a:pt x="377" y="628"/>
                            </a:lnTo>
                            <a:lnTo>
                              <a:pt x="0" y="628"/>
                            </a:lnTo>
                            <a:lnTo>
                              <a:pt x="0" y="251"/>
                            </a:lnTo>
                            <a:lnTo>
                              <a:pt x="377"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53" name="Graphic 4">
                      <a:extLst>
                        <a:ext uri="{FF2B5EF4-FFF2-40B4-BE49-F238E27FC236}">
                          <a16:creationId xmlns:a16="http://schemas.microsoft.com/office/drawing/2014/main" id="{84FB7ED1-A2DF-40A1-A747-5F7CF3F14040}"/>
                        </a:ext>
                      </a:extLst>
                    </p:cNvPr>
                    <p:cNvGrpSpPr/>
                    <p:nvPr/>
                  </p:nvGrpSpPr>
                  <p:grpSpPr>
                    <a:xfrm>
                      <a:off x="5543758" y="3781258"/>
                      <a:ext cx="627" cy="879"/>
                      <a:chOff x="5543758" y="3781258"/>
                      <a:chExt cx="627" cy="879"/>
                    </a:xfrm>
                    <a:solidFill>
                      <a:srgbClr val="B1B6BE"/>
                    </a:solidFill>
                  </p:grpSpPr>
                  <p:sp>
                    <p:nvSpPr>
                      <p:cNvPr id="2954" name="Freeform: Shape 2953">
                        <a:extLst>
                          <a:ext uri="{FF2B5EF4-FFF2-40B4-BE49-F238E27FC236}">
                            <a16:creationId xmlns:a16="http://schemas.microsoft.com/office/drawing/2014/main" id="{E5F8AE72-2BCE-4346-B400-B612FF8492BC}"/>
                          </a:ext>
                        </a:extLst>
                      </p:cNvPr>
                      <p:cNvSpPr/>
                      <p:nvPr/>
                    </p:nvSpPr>
                    <p:spPr>
                      <a:xfrm>
                        <a:off x="5543758" y="3781258"/>
                        <a:ext cx="627" cy="879"/>
                      </a:xfrm>
                      <a:custGeom>
                        <a:avLst/>
                        <a:gdLst>
                          <a:gd name="connsiteX0" fmla="*/ 628 w 627"/>
                          <a:gd name="connsiteY0" fmla="*/ 251 h 879"/>
                          <a:gd name="connsiteX1" fmla="*/ 502 w 627"/>
                          <a:gd name="connsiteY1" fmla="*/ 628 h 879"/>
                          <a:gd name="connsiteX2" fmla="*/ 125 w 627"/>
                          <a:gd name="connsiteY2" fmla="*/ 879 h 879"/>
                          <a:gd name="connsiteX3" fmla="*/ 0 w 627"/>
                          <a:gd name="connsiteY3" fmla="*/ 628 h 879"/>
                          <a:gd name="connsiteX4" fmla="*/ 125 w 627"/>
                          <a:gd name="connsiteY4" fmla="*/ 126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5" y="879"/>
                            </a:lnTo>
                            <a:lnTo>
                              <a:pt x="0" y="628"/>
                            </a:lnTo>
                            <a:lnTo>
                              <a:pt x="125"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55" name="Freeform: Shape 2954">
                        <a:extLst>
                          <a:ext uri="{FF2B5EF4-FFF2-40B4-BE49-F238E27FC236}">
                            <a16:creationId xmlns:a16="http://schemas.microsoft.com/office/drawing/2014/main" id="{F7F33C1D-3DEE-423E-9FFE-9FE16FB83E65}"/>
                          </a:ext>
                        </a:extLst>
                      </p:cNvPr>
                      <p:cNvSpPr/>
                      <p:nvPr/>
                    </p:nvSpPr>
                    <p:spPr>
                      <a:xfrm>
                        <a:off x="5543758" y="3781258"/>
                        <a:ext cx="627" cy="753"/>
                      </a:xfrm>
                      <a:custGeom>
                        <a:avLst/>
                        <a:gdLst>
                          <a:gd name="connsiteX0" fmla="*/ 628 w 627"/>
                          <a:gd name="connsiteY0" fmla="*/ 251 h 753"/>
                          <a:gd name="connsiteX1" fmla="*/ 502 w 627"/>
                          <a:gd name="connsiteY1" fmla="*/ 628 h 753"/>
                          <a:gd name="connsiteX2" fmla="*/ 125 w 627"/>
                          <a:gd name="connsiteY2" fmla="*/ 754 h 753"/>
                          <a:gd name="connsiteX3" fmla="*/ 0 w 627"/>
                          <a:gd name="connsiteY3" fmla="*/ 628 h 753"/>
                          <a:gd name="connsiteX4" fmla="*/ 125 w 627"/>
                          <a:gd name="connsiteY4" fmla="*/ 126 h 753"/>
                          <a:gd name="connsiteX5" fmla="*/ 502 w 627"/>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628" y="251"/>
                            </a:moveTo>
                            <a:lnTo>
                              <a:pt x="502" y="628"/>
                            </a:lnTo>
                            <a:lnTo>
                              <a:pt x="125" y="754"/>
                            </a:lnTo>
                            <a:lnTo>
                              <a:pt x="0" y="628"/>
                            </a:lnTo>
                            <a:lnTo>
                              <a:pt x="125"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56" name="Graphic 4">
                      <a:extLst>
                        <a:ext uri="{FF2B5EF4-FFF2-40B4-BE49-F238E27FC236}">
                          <a16:creationId xmlns:a16="http://schemas.microsoft.com/office/drawing/2014/main" id="{84FB7ED1-A2DF-40A1-A747-5F7CF3F14040}"/>
                        </a:ext>
                      </a:extLst>
                    </p:cNvPr>
                    <p:cNvGrpSpPr/>
                    <p:nvPr/>
                  </p:nvGrpSpPr>
                  <p:grpSpPr>
                    <a:xfrm>
                      <a:off x="5544386" y="3781634"/>
                      <a:ext cx="628" cy="753"/>
                      <a:chOff x="5544386" y="3781634"/>
                      <a:chExt cx="628" cy="753"/>
                    </a:xfrm>
                    <a:solidFill>
                      <a:srgbClr val="B1B6BE"/>
                    </a:solidFill>
                  </p:grpSpPr>
                  <p:sp>
                    <p:nvSpPr>
                      <p:cNvPr id="2957" name="Freeform: Shape 2956">
                        <a:extLst>
                          <a:ext uri="{FF2B5EF4-FFF2-40B4-BE49-F238E27FC236}">
                            <a16:creationId xmlns:a16="http://schemas.microsoft.com/office/drawing/2014/main" id="{EAB867E4-8351-498E-9A19-D1B4EC553584}"/>
                          </a:ext>
                        </a:extLst>
                      </p:cNvPr>
                      <p:cNvSpPr/>
                      <p:nvPr/>
                    </p:nvSpPr>
                    <p:spPr>
                      <a:xfrm>
                        <a:off x="5544386" y="3781634"/>
                        <a:ext cx="628" cy="753"/>
                      </a:xfrm>
                      <a:custGeom>
                        <a:avLst/>
                        <a:gdLst>
                          <a:gd name="connsiteX0" fmla="*/ 628 w 628"/>
                          <a:gd name="connsiteY0" fmla="*/ 0 h 753"/>
                          <a:gd name="connsiteX1" fmla="*/ 628 w 628"/>
                          <a:gd name="connsiteY1" fmla="*/ 377 h 753"/>
                          <a:gd name="connsiteX2" fmla="*/ 251 w 628"/>
                          <a:gd name="connsiteY2" fmla="*/ 754 h 753"/>
                          <a:gd name="connsiteX3" fmla="*/ 0 w 628"/>
                          <a:gd name="connsiteY3" fmla="*/ 754 h 753"/>
                          <a:gd name="connsiteX4" fmla="*/ 0 w 628"/>
                          <a:gd name="connsiteY4" fmla="*/ 377 h 753"/>
                          <a:gd name="connsiteX5" fmla="*/ 251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0"/>
                            </a:moveTo>
                            <a:lnTo>
                              <a:pt x="628" y="377"/>
                            </a:lnTo>
                            <a:lnTo>
                              <a:pt x="251" y="754"/>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58" name="Freeform: Shape 2957">
                        <a:extLst>
                          <a:ext uri="{FF2B5EF4-FFF2-40B4-BE49-F238E27FC236}">
                            <a16:creationId xmlns:a16="http://schemas.microsoft.com/office/drawing/2014/main" id="{4D2E0AAD-4CE7-4A6D-ADD8-7C722251266A}"/>
                          </a:ext>
                        </a:extLst>
                      </p:cNvPr>
                      <p:cNvSpPr/>
                      <p:nvPr/>
                    </p:nvSpPr>
                    <p:spPr>
                      <a:xfrm>
                        <a:off x="5544386" y="3781634"/>
                        <a:ext cx="628" cy="753"/>
                      </a:xfrm>
                      <a:custGeom>
                        <a:avLst/>
                        <a:gdLst>
                          <a:gd name="connsiteX0" fmla="*/ 628 w 628"/>
                          <a:gd name="connsiteY0" fmla="*/ 0 h 753"/>
                          <a:gd name="connsiteX1" fmla="*/ 628 w 628"/>
                          <a:gd name="connsiteY1" fmla="*/ 377 h 753"/>
                          <a:gd name="connsiteX2" fmla="*/ 377 w 628"/>
                          <a:gd name="connsiteY2" fmla="*/ 754 h 753"/>
                          <a:gd name="connsiteX3" fmla="*/ 0 w 628"/>
                          <a:gd name="connsiteY3" fmla="*/ 754 h 753"/>
                          <a:gd name="connsiteX4" fmla="*/ 0 w 628"/>
                          <a:gd name="connsiteY4" fmla="*/ 377 h 753"/>
                          <a:gd name="connsiteX5" fmla="*/ 377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0"/>
                            </a:moveTo>
                            <a:lnTo>
                              <a:pt x="628" y="377"/>
                            </a:lnTo>
                            <a:lnTo>
                              <a:pt x="377" y="754"/>
                            </a:lnTo>
                            <a:lnTo>
                              <a:pt x="0" y="754"/>
                            </a:lnTo>
                            <a:lnTo>
                              <a:pt x="0" y="377"/>
                            </a:lnTo>
                            <a:lnTo>
                              <a:pt x="377"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59" name="Graphic 4">
                      <a:extLst>
                        <a:ext uri="{FF2B5EF4-FFF2-40B4-BE49-F238E27FC236}">
                          <a16:creationId xmlns:a16="http://schemas.microsoft.com/office/drawing/2014/main" id="{84FB7ED1-A2DF-40A1-A747-5F7CF3F14040}"/>
                        </a:ext>
                      </a:extLst>
                    </p:cNvPr>
                    <p:cNvGrpSpPr/>
                    <p:nvPr/>
                  </p:nvGrpSpPr>
                  <p:grpSpPr>
                    <a:xfrm>
                      <a:off x="5545139" y="3781383"/>
                      <a:ext cx="753" cy="879"/>
                      <a:chOff x="5545139" y="3781383"/>
                      <a:chExt cx="753" cy="879"/>
                    </a:xfrm>
                    <a:solidFill>
                      <a:srgbClr val="B1B6BE"/>
                    </a:solidFill>
                  </p:grpSpPr>
                  <p:sp>
                    <p:nvSpPr>
                      <p:cNvPr id="2960" name="Freeform: Shape 2959">
                        <a:extLst>
                          <a:ext uri="{FF2B5EF4-FFF2-40B4-BE49-F238E27FC236}">
                            <a16:creationId xmlns:a16="http://schemas.microsoft.com/office/drawing/2014/main" id="{2C582DD0-45ED-42E0-AF4B-9FD12457D9FA}"/>
                          </a:ext>
                        </a:extLst>
                      </p:cNvPr>
                      <p:cNvSpPr/>
                      <p:nvPr/>
                    </p:nvSpPr>
                    <p:spPr>
                      <a:xfrm>
                        <a:off x="5545139" y="3781383"/>
                        <a:ext cx="753" cy="879"/>
                      </a:xfrm>
                      <a:custGeom>
                        <a:avLst/>
                        <a:gdLst>
                          <a:gd name="connsiteX0" fmla="*/ 502 w 753"/>
                          <a:gd name="connsiteY0" fmla="*/ 0 h 879"/>
                          <a:gd name="connsiteX1" fmla="*/ 754 w 753"/>
                          <a:gd name="connsiteY1" fmla="*/ 251 h 879"/>
                          <a:gd name="connsiteX2" fmla="*/ 502 w 753"/>
                          <a:gd name="connsiteY2" fmla="*/ 628 h 879"/>
                          <a:gd name="connsiteX3" fmla="*/ 251 w 753"/>
                          <a:gd name="connsiteY3" fmla="*/ 879 h 879"/>
                          <a:gd name="connsiteX4" fmla="*/ 0 w 753"/>
                          <a:gd name="connsiteY4" fmla="*/ 628 h 879"/>
                          <a:gd name="connsiteX5" fmla="*/ 251 w 753"/>
                          <a:gd name="connsiteY5" fmla="*/ 126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502" y="0"/>
                            </a:moveTo>
                            <a:lnTo>
                              <a:pt x="754" y="251"/>
                            </a:lnTo>
                            <a:lnTo>
                              <a:pt x="502" y="628"/>
                            </a:lnTo>
                            <a:lnTo>
                              <a:pt x="251" y="879"/>
                            </a:lnTo>
                            <a:lnTo>
                              <a:pt x="0" y="628"/>
                            </a:lnTo>
                            <a:lnTo>
                              <a:pt x="251"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61" name="Freeform: Shape 2960">
                        <a:extLst>
                          <a:ext uri="{FF2B5EF4-FFF2-40B4-BE49-F238E27FC236}">
                            <a16:creationId xmlns:a16="http://schemas.microsoft.com/office/drawing/2014/main" id="{3F38AFF3-7801-45E1-B38C-FFD0AF455446}"/>
                          </a:ext>
                        </a:extLst>
                      </p:cNvPr>
                      <p:cNvSpPr/>
                      <p:nvPr/>
                    </p:nvSpPr>
                    <p:spPr>
                      <a:xfrm>
                        <a:off x="5545265" y="3781383"/>
                        <a:ext cx="627" cy="753"/>
                      </a:xfrm>
                      <a:custGeom>
                        <a:avLst/>
                        <a:gdLst>
                          <a:gd name="connsiteX0" fmla="*/ 502 w 627"/>
                          <a:gd name="connsiteY0" fmla="*/ 0 h 753"/>
                          <a:gd name="connsiteX1" fmla="*/ 628 w 627"/>
                          <a:gd name="connsiteY1" fmla="*/ 251 h 753"/>
                          <a:gd name="connsiteX2" fmla="*/ 502 w 627"/>
                          <a:gd name="connsiteY2" fmla="*/ 628 h 753"/>
                          <a:gd name="connsiteX3" fmla="*/ 126 w 627"/>
                          <a:gd name="connsiteY3" fmla="*/ 754 h 753"/>
                          <a:gd name="connsiteX4" fmla="*/ 0 w 627"/>
                          <a:gd name="connsiteY4" fmla="*/ 628 h 753"/>
                          <a:gd name="connsiteX5" fmla="*/ 126 w 627"/>
                          <a:gd name="connsiteY5" fmla="*/ 126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502" y="0"/>
                            </a:moveTo>
                            <a:lnTo>
                              <a:pt x="628" y="251"/>
                            </a:lnTo>
                            <a:lnTo>
                              <a:pt x="502" y="628"/>
                            </a:lnTo>
                            <a:lnTo>
                              <a:pt x="126" y="754"/>
                            </a:lnTo>
                            <a:lnTo>
                              <a:pt x="0" y="628"/>
                            </a:lnTo>
                            <a:lnTo>
                              <a:pt x="126"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62" name="Graphic 4">
                      <a:extLst>
                        <a:ext uri="{FF2B5EF4-FFF2-40B4-BE49-F238E27FC236}">
                          <a16:creationId xmlns:a16="http://schemas.microsoft.com/office/drawing/2014/main" id="{84FB7ED1-A2DF-40A1-A747-5F7CF3F14040}"/>
                        </a:ext>
                      </a:extLst>
                    </p:cNvPr>
                    <p:cNvGrpSpPr/>
                    <p:nvPr/>
                  </p:nvGrpSpPr>
                  <p:grpSpPr>
                    <a:xfrm>
                      <a:off x="5546144" y="3780630"/>
                      <a:ext cx="502" cy="879"/>
                      <a:chOff x="5546144" y="3780630"/>
                      <a:chExt cx="502" cy="879"/>
                    </a:xfrm>
                    <a:solidFill>
                      <a:srgbClr val="B1B6BE"/>
                    </a:solidFill>
                  </p:grpSpPr>
                  <p:sp>
                    <p:nvSpPr>
                      <p:cNvPr id="2963" name="Freeform: Shape 2962">
                        <a:extLst>
                          <a:ext uri="{FF2B5EF4-FFF2-40B4-BE49-F238E27FC236}">
                            <a16:creationId xmlns:a16="http://schemas.microsoft.com/office/drawing/2014/main" id="{B095350F-98FC-4E7F-BD16-D7E7887314CC}"/>
                          </a:ext>
                        </a:extLst>
                      </p:cNvPr>
                      <p:cNvSpPr/>
                      <p:nvPr/>
                    </p:nvSpPr>
                    <p:spPr>
                      <a:xfrm>
                        <a:off x="5546144" y="3780630"/>
                        <a:ext cx="502" cy="879"/>
                      </a:xfrm>
                      <a:custGeom>
                        <a:avLst/>
                        <a:gdLst>
                          <a:gd name="connsiteX0" fmla="*/ 251 w 502"/>
                          <a:gd name="connsiteY0" fmla="*/ 0 h 879"/>
                          <a:gd name="connsiteX1" fmla="*/ 502 w 502"/>
                          <a:gd name="connsiteY1" fmla="*/ 0 h 879"/>
                          <a:gd name="connsiteX2" fmla="*/ 502 w 502"/>
                          <a:gd name="connsiteY2" fmla="*/ 502 h 879"/>
                          <a:gd name="connsiteX3" fmla="*/ 251 w 502"/>
                          <a:gd name="connsiteY3" fmla="*/ 879 h 879"/>
                          <a:gd name="connsiteX4" fmla="*/ 0 w 502"/>
                          <a:gd name="connsiteY4" fmla="*/ 754 h 879"/>
                          <a:gd name="connsiteX5" fmla="*/ 0 w 502"/>
                          <a:gd name="connsiteY5" fmla="*/ 377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879">
                            <a:moveTo>
                              <a:pt x="251" y="0"/>
                            </a:moveTo>
                            <a:lnTo>
                              <a:pt x="502" y="0"/>
                            </a:lnTo>
                            <a:lnTo>
                              <a:pt x="502" y="502"/>
                            </a:lnTo>
                            <a:lnTo>
                              <a:pt x="251" y="879"/>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64" name="Freeform: Shape 2963">
                        <a:extLst>
                          <a:ext uri="{FF2B5EF4-FFF2-40B4-BE49-F238E27FC236}">
                            <a16:creationId xmlns:a16="http://schemas.microsoft.com/office/drawing/2014/main" id="{0D21FC83-23F0-4183-BCB0-AB5952A1F1F2}"/>
                          </a:ext>
                        </a:extLst>
                      </p:cNvPr>
                      <p:cNvSpPr/>
                      <p:nvPr/>
                    </p:nvSpPr>
                    <p:spPr>
                      <a:xfrm>
                        <a:off x="5546144" y="3780630"/>
                        <a:ext cx="502" cy="753"/>
                      </a:xfrm>
                      <a:custGeom>
                        <a:avLst/>
                        <a:gdLst>
                          <a:gd name="connsiteX0" fmla="*/ 251 w 502"/>
                          <a:gd name="connsiteY0" fmla="*/ 0 h 753"/>
                          <a:gd name="connsiteX1" fmla="*/ 502 w 502"/>
                          <a:gd name="connsiteY1" fmla="*/ 0 h 753"/>
                          <a:gd name="connsiteX2" fmla="*/ 502 w 502"/>
                          <a:gd name="connsiteY2" fmla="*/ 377 h 753"/>
                          <a:gd name="connsiteX3" fmla="*/ 251 w 502"/>
                          <a:gd name="connsiteY3" fmla="*/ 754 h 753"/>
                          <a:gd name="connsiteX4" fmla="*/ 0 w 502"/>
                          <a:gd name="connsiteY4" fmla="*/ 754 h 753"/>
                          <a:gd name="connsiteX5" fmla="*/ 0 w 502"/>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0"/>
                            </a:moveTo>
                            <a:lnTo>
                              <a:pt x="502" y="0"/>
                            </a:lnTo>
                            <a:lnTo>
                              <a:pt x="502" y="377"/>
                            </a:lnTo>
                            <a:lnTo>
                              <a:pt x="251"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65" name="Graphic 4">
                      <a:extLst>
                        <a:ext uri="{FF2B5EF4-FFF2-40B4-BE49-F238E27FC236}">
                          <a16:creationId xmlns:a16="http://schemas.microsoft.com/office/drawing/2014/main" id="{84FB7ED1-A2DF-40A1-A747-5F7CF3F14040}"/>
                        </a:ext>
                      </a:extLst>
                    </p:cNvPr>
                    <p:cNvGrpSpPr/>
                    <p:nvPr/>
                  </p:nvGrpSpPr>
                  <p:grpSpPr>
                    <a:xfrm>
                      <a:off x="5546646" y="3779499"/>
                      <a:ext cx="753" cy="879"/>
                      <a:chOff x="5546646" y="3779499"/>
                      <a:chExt cx="753" cy="879"/>
                    </a:xfrm>
                    <a:solidFill>
                      <a:srgbClr val="B1B6BE"/>
                    </a:solidFill>
                  </p:grpSpPr>
                  <p:sp>
                    <p:nvSpPr>
                      <p:cNvPr id="2966" name="Freeform: Shape 2965">
                        <a:extLst>
                          <a:ext uri="{FF2B5EF4-FFF2-40B4-BE49-F238E27FC236}">
                            <a16:creationId xmlns:a16="http://schemas.microsoft.com/office/drawing/2014/main" id="{CB61352F-1503-4B6A-8D5B-88FBABE6BB53}"/>
                          </a:ext>
                        </a:extLst>
                      </p:cNvPr>
                      <p:cNvSpPr/>
                      <p:nvPr/>
                    </p:nvSpPr>
                    <p:spPr>
                      <a:xfrm>
                        <a:off x="5546646" y="3779499"/>
                        <a:ext cx="753" cy="879"/>
                      </a:xfrm>
                      <a:custGeom>
                        <a:avLst/>
                        <a:gdLst>
                          <a:gd name="connsiteX0" fmla="*/ 251 w 753"/>
                          <a:gd name="connsiteY0" fmla="*/ 251 h 879"/>
                          <a:gd name="connsiteX1" fmla="*/ 502 w 753"/>
                          <a:gd name="connsiteY1" fmla="*/ 0 h 879"/>
                          <a:gd name="connsiteX2" fmla="*/ 754 w 753"/>
                          <a:gd name="connsiteY2" fmla="*/ 251 h 879"/>
                          <a:gd name="connsiteX3" fmla="*/ 502 w 753"/>
                          <a:gd name="connsiteY3" fmla="*/ 754 h 879"/>
                          <a:gd name="connsiteX4" fmla="*/ 251 w 753"/>
                          <a:gd name="connsiteY4" fmla="*/ 879 h 879"/>
                          <a:gd name="connsiteX5" fmla="*/ 0 w 753"/>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251"/>
                            </a:moveTo>
                            <a:lnTo>
                              <a:pt x="502" y="0"/>
                            </a:lnTo>
                            <a:lnTo>
                              <a:pt x="754" y="251"/>
                            </a:lnTo>
                            <a:lnTo>
                              <a:pt x="502" y="754"/>
                            </a:lnTo>
                            <a:lnTo>
                              <a:pt x="251"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67" name="Freeform: Shape 2966">
                        <a:extLst>
                          <a:ext uri="{FF2B5EF4-FFF2-40B4-BE49-F238E27FC236}">
                            <a16:creationId xmlns:a16="http://schemas.microsoft.com/office/drawing/2014/main" id="{DC850A39-31D7-46FB-A81E-A19F740BD12B}"/>
                          </a:ext>
                        </a:extLst>
                      </p:cNvPr>
                      <p:cNvSpPr/>
                      <p:nvPr/>
                    </p:nvSpPr>
                    <p:spPr>
                      <a:xfrm>
                        <a:off x="5546646" y="3779499"/>
                        <a:ext cx="753" cy="879"/>
                      </a:xfrm>
                      <a:custGeom>
                        <a:avLst/>
                        <a:gdLst>
                          <a:gd name="connsiteX0" fmla="*/ 251 w 753"/>
                          <a:gd name="connsiteY0" fmla="*/ 251 h 879"/>
                          <a:gd name="connsiteX1" fmla="*/ 502 w 753"/>
                          <a:gd name="connsiteY1" fmla="*/ 0 h 879"/>
                          <a:gd name="connsiteX2" fmla="*/ 754 w 753"/>
                          <a:gd name="connsiteY2" fmla="*/ 251 h 879"/>
                          <a:gd name="connsiteX3" fmla="*/ 502 w 753"/>
                          <a:gd name="connsiteY3" fmla="*/ 628 h 879"/>
                          <a:gd name="connsiteX4" fmla="*/ 251 w 753"/>
                          <a:gd name="connsiteY4" fmla="*/ 879 h 879"/>
                          <a:gd name="connsiteX5" fmla="*/ 0 w 753"/>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251"/>
                            </a:moveTo>
                            <a:lnTo>
                              <a:pt x="502" y="0"/>
                            </a:lnTo>
                            <a:lnTo>
                              <a:pt x="754" y="251"/>
                            </a:lnTo>
                            <a:lnTo>
                              <a:pt x="502" y="628"/>
                            </a:lnTo>
                            <a:lnTo>
                              <a:pt x="251"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68" name="Graphic 4">
                      <a:extLst>
                        <a:ext uri="{FF2B5EF4-FFF2-40B4-BE49-F238E27FC236}">
                          <a16:creationId xmlns:a16="http://schemas.microsoft.com/office/drawing/2014/main" id="{84FB7ED1-A2DF-40A1-A747-5F7CF3F14040}"/>
                        </a:ext>
                      </a:extLst>
                    </p:cNvPr>
                    <p:cNvGrpSpPr/>
                    <p:nvPr/>
                  </p:nvGrpSpPr>
                  <p:grpSpPr>
                    <a:xfrm>
                      <a:off x="5547023" y="3778495"/>
                      <a:ext cx="502" cy="753"/>
                      <a:chOff x="5547023" y="3778495"/>
                      <a:chExt cx="502" cy="753"/>
                    </a:xfrm>
                    <a:solidFill>
                      <a:srgbClr val="B1B6BE"/>
                    </a:solidFill>
                  </p:grpSpPr>
                  <p:sp>
                    <p:nvSpPr>
                      <p:cNvPr id="2969" name="Freeform: Shape 2968">
                        <a:extLst>
                          <a:ext uri="{FF2B5EF4-FFF2-40B4-BE49-F238E27FC236}">
                            <a16:creationId xmlns:a16="http://schemas.microsoft.com/office/drawing/2014/main" id="{A6BE2028-9B34-48B9-AC9D-3DBA1489C6BF}"/>
                          </a:ext>
                        </a:extLst>
                      </p:cNvPr>
                      <p:cNvSpPr/>
                      <p:nvPr/>
                    </p:nvSpPr>
                    <p:spPr>
                      <a:xfrm>
                        <a:off x="5547023" y="3778495"/>
                        <a:ext cx="502" cy="753"/>
                      </a:xfrm>
                      <a:custGeom>
                        <a:avLst/>
                        <a:gdLst>
                          <a:gd name="connsiteX0" fmla="*/ 0 w 502"/>
                          <a:gd name="connsiteY0" fmla="*/ 377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377"/>
                            </a:moveTo>
                            <a:lnTo>
                              <a:pt x="251" y="0"/>
                            </a:lnTo>
                            <a:lnTo>
                              <a:pt x="502" y="0"/>
                            </a:lnTo>
                            <a:lnTo>
                              <a:pt x="502"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70" name="Freeform: Shape 2969">
                        <a:extLst>
                          <a:ext uri="{FF2B5EF4-FFF2-40B4-BE49-F238E27FC236}">
                            <a16:creationId xmlns:a16="http://schemas.microsoft.com/office/drawing/2014/main" id="{C77EC08E-D4D4-4E12-A0B9-98937B1D9685}"/>
                          </a:ext>
                        </a:extLst>
                      </p:cNvPr>
                      <p:cNvSpPr/>
                      <p:nvPr/>
                    </p:nvSpPr>
                    <p:spPr>
                      <a:xfrm>
                        <a:off x="5547023" y="3778495"/>
                        <a:ext cx="502" cy="753"/>
                      </a:xfrm>
                      <a:custGeom>
                        <a:avLst/>
                        <a:gdLst>
                          <a:gd name="connsiteX0" fmla="*/ 0 w 502"/>
                          <a:gd name="connsiteY0" fmla="*/ 251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251"/>
                            </a:moveTo>
                            <a:lnTo>
                              <a:pt x="251" y="0"/>
                            </a:lnTo>
                            <a:lnTo>
                              <a:pt x="502" y="0"/>
                            </a:lnTo>
                            <a:lnTo>
                              <a:pt x="502" y="377"/>
                            </a:lnTo>
                            <a:lnTo>
                              <a:pt x="251" y="754"/>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71" name="Graphic 4">
                      <a:extLst>
                        <a:ext uri="{FF2B5EF4-FFF2-40B4-BE49-F238E27FC236}">
                          <a16:creationId xmlns:a16="http://schemas.microsoft.com/office/drawing/2014/main" id="{84FB7ED1-A2DF-40A1-A747-5F7CF3F14040}"/>
                        </a:ext>
                      </a:extLst>
                    </p:cNvPr>
                    <p:cNvGrpSpPr/>
                    <p:nvPr/>
                  </p:nvGrpSpPr>
                  <p:grpSpPr>
                    <a:xfrm>
                      <a:off x="5546646" y="3777490"/>
                      <a:ext cx="753" cy="1004"/>
                      <a:chOff x="5546646" y="3777490"/>
                      <a:chExt cx="753" cy="1004"/>
                    </a:xfrm>
                    <a:solidFill>
                      <a:srgbClr val="B1B6BE"/>
                    </a:solidFill>
                  </p:grpSpPr>
                  <p:sp>
                    <p:nvSpPr>
                      <p:cNvPr id="2972" name="Freeform: Shape 2971">
                        <a:extLst>
                          <a:ext uri="{FF2B5EF4-FFF2-40B4-BE49-F238E27FC236}">
                            <a16:creationId xmlns:a16="http://schemas.microsoft.com/office/drawing/2014/main" id="{40DECC1E-B551-47C8-841D-7AC57BD5A467}"/>
                          </a:ext>
                        </a:extLst>
                      </p:cNvPr>
                      <p:cNvSpPr/>
                      <p:nvPr/>
                    </p:nvSpPr>
                    <p:spPr>
                      <a:xfrm>
                        <a:off x="5546646" y="3777490"/>
                        <a:ext cx="753" cy="1004"/>
                      </a:xfrm>
                      <a:custGeom>
                        <a:avLst/>
                        <a:gdLst>
                          <a:gd name="connsiteX0" fmla="*/ 0 w 753"/>
                          <a:gd name="connsiteY0" fmla="*/ 754 h 1004"/>
                          <a:gd name="connsiteX1" fmla="*/ 251 w 753"/>
                          <a:gd name="connsiteY1" fmla="*/ 251 h 1004"/>
                          <a:gd name="connsiteX2" fmla="*/ 628 w 753"/>
                          <a:gd name="connsiteY2" fmla="*/ 0 h 1004"/>
                          <a:gd name="connsiteX3" fmla="*/ 754 w 753"/>
                          <a:gd name="connsiteY3" fmla="*/ 251 h 1004"/>
                          <a:gd name="connsiteX4" fmla="*/ 628 w 753"/>
                          <a:gd name="connsiteY4" fmla="*/ 754 h 1004"/>
                          <a:gd name="connsiteX5" fmla="*/ 251 w 753"/>
                          <a:gd name="connsiteY5" fmla="*/ 1005 h 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1004">
                            <a:moveTo>
                              <a:pt x="0" y="754"/>
                            </a:moveTo>
                            <a:lnTo>
                              <a:pt x="251" y="251"/>
                            </a:lnTo>
                            <a:lnTo>
                              <a:pt x="628" y="0"/>
                            </a:lnTo>
                            <a:lnTo>
                              <a:pt x="754" y="251"/>
                            </a:lnTo>
                            <a:lnTo>
                              <a:pt x="628" y="754"/>
                            </a:lnTo>
                            <a:lnTo>
                              <a:pt x="251" y="1005"/>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73" name="Freeform: Shape 2972">
                        <a:extLst>
                          <a:ext uri="{FF2B5EF4-FFF2-40B4-BE49-F238E27FC236}">
                            <a16:creationId xmlns:a16="http://schemas.microsoft.com/office/drawing/2014/main" id="{DF8B462B-C9CB-49D8-99D8-E3F9234F5D0D}"/>
                          </a:ext>
                        </a:extLst>
                      </p:cNvPr>
                      <p:cNvSpPr/>
                      <p:nvPr/>
                    </p:nvSpPr>
                    <p:spPr>
                      <a:xfrm>
                        <a:off x="5546646" y="3777615"/>
                        <a:ext cx="753" cy="753"/>
                      </a:xfrm>
                      <a:custGeom>
                        <a:avLst/>
                        <a:gdLst>
                          <a:gd name="connsiteX0" fmla="*/ 0 w 753"/>
                          <a:gd name="connsiteY0" fmla="*/ 502 h 753"/>
                          <a:gd name="connsiteX1" fmla="*/ 251 w 753"/>
                          <a:gd name="connsiteY1" fmla="*/ 126 h 753"/>
                          <a:gd name="connsiteX2" fmla="*/ 502 w 753"/>
                          <a:gd name="connsiteY2" fmla="*/ 0 h 753"/>
                          <a:gd name="connsiteX3" fmla="*/ 754 w 753"/>
                          <a:gd name="connsiteY3" fmla="*/ 126 h 753"/>
                          <a:gd name="connsiteX4" fmla="*/ 502 w 753"/>
                          <a:gd name="connsiteY4" fmla="*/ 628 h 753"/>
                          <a:gd name="connsiteX5" fmla="*/ 251 w 753"/>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753">
                            <a:moveTo>
                              <a:pt x="0" y="502"/>
                            </a:moveTo>
                            <a:lnTo>
                              <a:pt x="251" y="126"/>
                            </a:lnTo>
                            <a:lnTo>
                              <a:pt x="502" y="0"/>
                            </a:lnTo>
                            <a:lnTo>
                              <a:pt x="754" y="126"/>
                            </a:lnTo>
                            <a:lnTo>
                              <a:pt x="502" y="628"/>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74" name="Graphic 4">
                      <a:extLst>
                        <a:ext uri="{FF2B5EF4-FFF2-40B4-BE49-F238E27FC236}">
                          <a16:creationId xmlns:a16="http://schemas.microsoft.com/office/drawing/2014/main" id="{84FB7ED1-A2DF-40A1-A747-5F7CF3F14040}"/>
                        </a:ext>
                      </a:extLst>
                    </p:cNvPr>
                    <p:cNvGrpSpPr/>
                    <p:nvPr/>
                  </p:nvGrpSpPr>
                  <p:grpSpPr>
                    <a:xfrm>
                      <a:off x="5546144" y="3777238"/>
                      <a:ext cx="627" cy="753"/>
                      <a:chOff x="5546144" y="3777238"/>
                      <a:chExt cx="627" cy="753"/>
                    </a:xfrm>
                    <a:solidFill>
                      <a:srgbClr val="B1B6BE"/>
                    </a:solidFill>
                  </p:grpSpPr>
                  <p:sp>
                    <p:nvSpPr>
                      <p:cNvPr id="2975" name="Freeform: Shape 2974">
                        <a:extLst>
                          <a:ext uri="{FF2B5EF4-FFF2-40B4-BE49-F238E27FC236}">
                            <a16:creationId xmlns:a16="http://schemas.microsoft.com/office/drawing/2014/main" id="{825BA4D7-C3F5-4E96-B43B-49FA1B24E844}"/>
                          </a:ext>
                        </a:extLst>
                      </p:cNvPr>
                      <p:cNvSpPr/>
                      <p:nvPr/>
                    </p:nvSpPr>
                    <p:spPr>
                      <a:xfrm>
                        <a:off x="5546144" y="3777238"/>
                        <a:ext cx="627" cy="753"/>
                      </a:xfrm>
                      <a:custGeom>
                        <a:avLst/>
                        <a:gdLst>
                          <a:gd name="connsiteX0" fmla="*/ 0 w 627"/>
                          <a:gd name="connsiteY0" fmla="*/ 754 h 753"/>
                          <a:gd name="connsiteX1" fmla="*/ 0 w 627"/>
                          <a:gd name="connsiteY1" fmla="*/ 377 h 753"/>
                          <a:gd name="connsiteX2" fmla="*/ 251 w 627"/>
                          <a:gd name="connsiteY2" fmla="*/ 0 h 753"/>
                          <a:gd name="connsiteX3" fmla="*/ 628 w 627"/>
                          <a:gd name="connsiteY3" fmla="*/ 0 h 753"/>
                          <a:gd name="connsiteX4" fmla="*/ 628 w 627"/>
                          <a:gd name="connsiteY4" fmla="*/ 377 h 753"/>
                          <a:gd name="connsiteX5" fmla="*/ 251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754"/>
                            </a:moveTo>
                            <a:lnTo>
                              <a:pt x="0" y="377"/>
                            </a:lnTo>
                            <a:lnTo>
                              <a:pt x="251" y="0"/>
                            </a:lnTo>
                            <a:lnTo>
                              <a:pt x="628" y="0"/>
                            </a:lnTo>
                            <a:lnTo>
                              <a:pt x="628"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76" name="Freeform: Shape 2975">
                        <a:extLst>
                          <a:ext uri="{FF2B5EF4-FFF2-40B4-BE49-F238E27FC236}">
                            <a16:creationId xmlns:a16="http://schemas.microsoft.com/office/drawing/2014/main" id="{6C604A81-3599-4921-A802-1DD504BA0FF2}"/>
                          </a:ext>
                        </a:extLst>
                      </p:cNvPr>
                      <p:cNvSpPr/>
                      <p:nvPr/>
                    </p:nvSpPr>
                    <p:spPr>
                      <a:xfrm>
                        <a:off x="5546144" y="3777238"/>
                        <a:ext cx="502" cy="753"/>
                      </a:xfrm>
                      <a:custGeom>
                        <a:avLst/>
                        <a:gdLst>
                          <a:gd name="connsiteX0" fmla="*/ 0 w 502"/>
                          <a:gd name="connsiteY0" fmla="*/ 754 h 753"/>
                          <a:gd name="connsiteX1" fmla="*/ 0 w 502"/>
                          <a:gd name="connsiteY1" fmla="*/ 377 h 753"/>
                          <a:gd name="connsiteX2" fmla="*/ 251 w 502"/>
                          <a:gd name="connsiteY2" fmla="*/ 0 h 753"/>
                          <a:gd name="connsiteX3" fmla="*/ 502 w 502"/>
                          <a:gd name="connsiteY3" fmla="*/ 0 h 753"/>
                          <a:gd name="connsiteX4" fmla="*/ 502 w 502"/>
                          <a:gd name="connsiteY4" fmla="*/ 377 h 753"/>
                          <a:gd name="connsiteX5" fmla="*/ 251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754"/>
                            </a:moveTo>
                            <a:lnTo>
                              <a:pt x="0" y="377"/>
                            </a:lnTo>
                            <a:lnTo>
                              <a:pt x="251" y="0"/>
                            </a:lnTo>
                            <a:lnTo>
                              <a:pt x="502" y="0"/>
                            </a:lnTo>
                            <a:lnTo>
                              <a:pt x="502"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2977" name="Graphic 4">
                <a:extLst>
                  <a:ext uri="{FF2B5EF4-FFF2-40B4-BE49-F238E27FC236}">
                    <a16:creationId xmlns:a16="http://schemas.microsoft.com/office/drawing/2014/main" id="{84FB7ED1-A2DF-40A1-A747-5F7CF3F14040}"/>
                  </a:ext>
                </a:extLst>
              </p:cNvPr>
              <p:cNvGrpSpPr/>
              <p:nvPr/>
            </p:nvGrpSpPr>
            <p:grpSpPr>
              <a:xfrm>
                <a:off x="5647122" y="3708383"/>
                <a:ext cx="14192" cy="17517"/>
                <a:chOff x="5647122" y="3708383"/>
                <a:chExt cx="14192" cy="17517"/>
              </a:xfrm>
              <a:solidFill>
                <a:schemeClr val="accent1"/>
              </a:solidFill>
            </p:grpSpPr>
            <p:sp>
              <p:nvSpPr>
                <p:cNvPr id="2978" name="Freeform: Shape 2977">
                  <a:extLst>
                    <a:ext uri="{FF2B5EF4-FFF2-40B4-BE49-F238E27FC236}">
                      <a16:creationId xmlns:a16="http://schemas.microsoft.com/office/drawing/2014/main" id="{669F5CC1-FEC8-4F72-BB82-D0D2079FD388}"/>
                    </a:ext>
                  </a:extLst>
                </p:cNvPr>
                <p:cNvSpPr/>
                <p:nvPr/>
              </p:nvSpPr>
              <p:spPr>
                <a:xfrm>
                  <a:off x="5647122" y="3708383"/>
                  <a:ext cx="13564" cy="17364"/>
                </a:xfrm>
                <a:custGeom>
                  <a:avLst/>
                  <a:gdLst>
                    <a:gd name="connsiteX0" fmla="*/ 9922 w 13564"/>
                    <a:gd name="connsiteY0" fmla="*/ 13594 h 17364"/>
                    <a:gd name="connsiteX1" fmla="*/ 10173 w 13564"/>
                    <a:gd name="connsiteY1" fmla="*/ 13343 h 17364"/>
                    <a:gd name="connsiteX2" fmla="*/ 10299 w 13564"/>
                    <a:gd name="connsiteY2" fmla="*/ 13217 h 17364"/>
                    <a:gd name="connsiteX3" fmla="*/ 10425 w 13564"/>
                    <a:gd name="connsiteY3" fmla="*/ 12966 h 17364"/>
                    <a:gd name="connsiteX4" fmla="*/ 10550 w 13564"/>
                    <a:gd name="connsiteY4" fmla="*/ 12841 h 17364"/>
                    <a:gd name="connsiteX5" fmla="*/ 10676 w 13564"/>
                    <a:gd name="connsiteY5" fmla="*/ 12715 h 17364"/>
                    <a:gd name="connsiteX6" fmla="*/ 13564 w 13564"/>
                    <a:gd name="connsiteY6" fmla="*/ 4802 h 17364"/>
                    <a:gd name="connsiteX7" fmla="*/ 6782 w 13564"/>
                    <a:gd name="connsiteY7" fmla="*/ 909 h 17364"/>
                    <a:gd name="connsiteX8" fmla="*/ 0 w 13564"/>
                    <a:gd name="connsiteY8" fmla="*/ 12589 h 17364"/>
                    <a:gd name="connsiteX9" fmla="*/ 1633 w 13564"/>
                    <a:gd name="connsiteY9" fmla="*/ 16734 h 17364"/>
                    <a:gd name="connsiteX10" fmla="*/ 1633 w 13564"/>
                    <a:gd name="connsiteY10" fmla="*/ 16734 h 17364"/>
                    <a:gd name="connsiteX11" fmla="*/ 6782 w 13564"/>
                    <a:gd name="connsiteY11" fmla="*/ 16483 h 17364"/>
                    <a:gd name="connsiteX12" fmla="*/ 9922 w 13564"/>
                    <a:gd name="connsiteY12" fmla="*/ 13594 h 17364"/>
                    <a:gd name="connsiteX13" fmla="*/ 9922 w 13564"/>
                    <a:gd name="connsiteY13" fmla="*/ 13594 h 1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64" h="17364">
                      <a:moveTo>
                        <a:pt x="9922" y="13594"/>
                      </a:moveTo>
                      <a:cubicBezTo>
                        <a:pt x="9922" y="13469"/>
                        <a:pt x="10048" y="13469"/>
                        <a:pt x="10173" y="13343"/>
                      </a:cubicBezTo>
                      <a:cubicBezTo>
                        <a:pt x="10173" y="13343"/>
                        <a:pt x="10299" y="13217"/>
                        <a:pt x="10299" y="13217"/>
                      </a:cubicBezTo>
                      <a:cubicBezTo>
                        <a:pt x="10299" y="13092"/>
                        <a:pt x="10425" y="13092"/>
                        <a:pt x="10425" y="12966"/>
                      </a:cubicBezTo>
                      <a:cubicBezTo>
                        <a:pt x="10425" y="12966"/>
                        <a:pt x="10550" y="12841"/>
                        <a:pt x="10550" y="12841"/>
                      </a:cubicBezTo>
                      <a:cubicBezTo>
                        <a:pt x="10550" y="12841"/>
                        <a:pt x="10550" y="12715"/>
                        <a:pt x="10676" y="12715"/>
                      </a:cubicBezTo>
                      <a:cubicBezTo>
                        <a:pt x="12434" y="10329"/>
                        <a:pt x="13564" y="7314"/>
                        <a:pt x="13564" y="4802"/>
                      </a:cubicBezTo>
                      <a:cubicBezTo>
                        <a:pt x="13564" y="532"/>
                        <a:pt x="10550" y="-1226"/>
                        <a:pt x="6782" y="909"/>
                      </a:cubicBezTo>
                      <a:cubicBezTo>
                        <a:pt x="3015" y="3044"/>
                        <a:pt x="0" y="8319"/>
                        <a:pt x="0" y="12589"/>
                      </a:cubicBezTo>
                      <a:cubicBezTo>
                        <a:pt x="0" y="14473"/>
                        <a:pt x="628" y="15980"/>
                        <a:pt x="1633" y="16734"/>
                      </a:cubicBezTo>
                      <a:lnTo>
                        <a:pt x="1633" y="16734"/>
                      </a:lnTo>
                      <a:cubicBezTo>
                        <a:pt x="2889" y="17613"/>
                        <a:pt x="4647" y="17613"/>
                        <a:pt x="6782" y="16483"/>
                      </a:cubicBezTo>
                      <a:cubicBezTo>
                        <a:pt x="7913" y="15729"/>
                        <a:pt x="9043" y="14724"/>
                        <a:pt x="9922" y="13594"/>
                      </a:cubicBezTo>
                      <a:cubicBezTo>
                        <a:pt x="9922" y="13594"/>
                        <a:pt x="9922" y="13594"/>
                        <a:pt x="9922" y="13594"/>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979" name="Graphic 4">
                  <a:extLst>
                    <a:ext uri="{FF2B5EF4-FFF2-40B4-BE49-F238E27FC236}">
                      <a16:creationId xmlns:a16="http://schemas.microsoft.com/office/drawing/2014/main" id="{84FB7ED1-A2DF-40A1-A747-5F7CF3F14040}"/>
                    </a:ext>
                  </a:extLst>
                </p:cNvPr>
                <p:cNvGrpSpPr/>
                <p:nvPr/>
              </p:nvGrpSpPr>
              <p:grpSpPr>
                <a:xfrm>
                  <a:off x="5647750" y="3708508"/>
                  <a:ext cx="13564" cy="17391"/>
                  <a:chOff x="5647750" y="3708508"/>
                  <a:chExt cx="13564" cy="17391"/>
                </a:xfrm>
                <a:solidFill>
                  <a:schemeClr val="accent1"/>
                </a:solidFill>
              </p:grpSpPr>
              <p:sp>
                <p:nvSpPr>
                  <p:cNvPr id="2980" name="Freeform: Shape 2979">
                    <a:extLst>
                      <a:ext uri="{FF2B5EF4-FFF2-40B4-BE49-F238E27FC236}">
                        <a16:creationId xmlns:a16="http://schemas.microsoft.com/office/drawing/2014/main" id="{904DA92C-80CA-4668-B597-FCE9DD53C427}"/>
                      </a:ext>
                    </a:extLst>
                  </p:cNvPr>
                  <p:cNvSpPr/>
                  <p:nvPr/>
                </p:nvSpPr>
                <p:spPr>
                  <a:xfrm>
                    <a:off x="5647750" y="3708508"/>
                    <a:ext cx="13564" cy="17391"/>
                  </a:xfrm>
                  <a:custGeom>
                    <a:avLst/>
                    <a:gdLst>
                      <a:gd name="connsiteX0" fmla="*/ 13564 w 13564"/>
                      <a:gd name="connsiteY0" fmla="*/ 4802 h 17391"/>
                      <a:gd name="connsiteX1" fmla="*/ 6782 w 13564"/>
                      <a:gd name="connsiteY1" fmla="*/ 16483 h 17391"/>
                      <a:gd name="connsiteX2" fmla="*/ 0 w 13564"/>
                      <a:gd name="connsiteY2" fmla="*/ 12589 h 17391"/>
                      <a:gd name="connsiteX3" fmla="*/ 6782 w 13564"/>
                      <a:gd name="connsiteY3" fmla="*/ 909 h 17391"/>
                      <a:gd name="connsiteX4" fmla="*/ 13564 w 13564"/>
                      <a:gd name="connsiteY4" fmla="*/ 4802 h 1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17391">
                        <a:moveTo>
                          <a:pt x="13564" y="4802"/>
                        </a:moveTo>
                        <a:cubicBezTo>
                          <a:pt x="13564" y="9073"/>
                          <a:pt x="10550" y="14222"/>
                          <a:pt x="6782" y="16483"/>
                        </a:cubicBezTo>
                        <a:cubicBezTo>
                          <a:pt x="3014" y="18618"/>
                          <a:pt x="0" y="16860"/>
                          <a:pt x="0" y="12589"/>
                        </a:cubicBezTo>
                        <a:cubicBezTo>
                          <a:pt x="0" y="8319"/>
                          <a:pt x="3014" y="3170"/>
                          <a:pt x="6782" y="909"/>
                        </a:cubicBezTo>
                        <a:cubicBezTo>
                          <a:pt x="10550" y="-1226"/>
                          <a:pt x="13564" y="532"/>
                          <a:pt x="13564" y="4802"/>
                        </a:cubicBez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981" name="Graphic 4">
                    <a:extLst>
                      <a:ext uri="{FF2B5EF4-FFF2-40B4-BE49-F238E27FC236}">
                        <a16:creationId xmlns:a16="http://schemas.microsoft.com/office/drawing/2014/main" id="{84FB7ED1-A2DF-40A1-A747-5F7CF3F14040}"/>
                      </a:ext>
                    </a:extLst>
                  </p:cNvPr>
                  <p:cNvGrpSpPr/>
                  <p:nvPr/>
                </p:nvGrpSpPr>
                <p:grpSpPr>
                  <a:xfrm>
                    <a:off x="5649508" y="3709166"/>
                    <a:ext cx="11805" cy="16581"/>
                    <a:chOff x="5649508" y="3709166"/>
                    <a:chExt cx="11805" cy="16581"/>
                  </a:xfrm>
                  <a:solidFill>
                    <a:srgbClr val="3C3D32"/>
                  </a:solidFill>
                </p:grpSpPr>
                <p:sp>
                  <p:nvSpPr>
                    <p:cNvPr id="2982" name="Freeform: Shape 2981">
                      <a:extLst>
                        <a:ext uri="{FF2B5EF4-FFF2-40B4-BE49-F238E27FC236}">
                          <a16:creationId xmlns:a16="http://schemas.microsoft.com/office/drawing/2014/main" id="{22038F17-2BD5-408C-A89C-57CD150B88A2}"/>
                        </a:ext>
                      </a:extLst>
                    </p:cNvPr>
                    <p:cNvSpPr/>
                    <p:nvPr/>
                  </p:nvSpPr>
                  <p:spPr>
                    <a:xfrm>
                      <a:off x="5656165" y="3709166"/>
                      <a:ext cx="5149" cy="7284"/>
                    </a:xfrm>
                    <a:custGeom>
                      <a:avLst/>
                      <a:gdLst>
                        <a:gd name="connsiteX0" fmla="*/ 377 w 5149"/>
                        <a:gd name="connsiteY0" fmla="*/ 7285 h 7284"/>
                        <a:gd name="connsiteX1" fmla="*/ 5149 w 5149"/>
                        <a:gd name="connsiteY1" fmla="*/ 3642 h 7284"/>
                        <a:gd name="connsiteX2" fmla="*/ 3517 w 5149"/>
                        <a:gd name="connsiteY2" fmla="*/ 0 h 7284"/>
                        <a:gd name="connsiteX3" fmla="*/ 0 w 5149"/>
                        <a:gd name="connsiteY3" fmla="*/ 5401 h 7284"/>
                        <a:gd name="connsiteX4" fmla="*/ 377 w 5149"/>
                        <a:gd name="connsiteY4" fmla="*/ 7285 h 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 h="7284">
                          <a:moveTo>
                            <a:pt x="377" y="7285"/>
                          </a:moveTo>
                          <a:lnTo>
                            <a:pt x="5149" y="3642"/>
                          </a:lnTo>
                          <a:cubicBezTo>
                            <a:pt x="5024" y="2010"/>
                            <a:pt x="4522" y="754"/>
                            <a:pt x="3517" y="0"/>
                          </a:cubicBezTo>
                          <a:lnTo>
                            <a:pt x="0" y="5401"/>
                          </a:lnTo>
                          <a:lnTo>
                            <a:pt x="377" y="728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83" name="Freeform: Shape 2982">
                      <a:extLst>
                        <a:ext uri="{FF2B5EF4-FFF2-40B4-BE49-F238E27FC236}">
                          <a16:creationId xmlns:a16="http://schemas.microsoft.com/office/drawing/2014/main" id="{D01846AE-D8AC-4E83-8463-0384EC439E9C}"/>
                        </a:ext>
                      </a:extLst>
                    </p:cNvPr>
                    <p:cNvSpPr/>
                    <p:nvPr/>
                  </p:nvSpPr>
                  <p:spPr>
                    <a:xfrm>
                      <a:off x="5649508" y="3719088"/>
                      <a:ext cx="9042" cy="6659"/>
                    </a:xfrm>
                    <a:custGeom>
                      <a:avLst/>
                      <a:gdLst>
                        <a:gd name="connsiteX0" fmla="*/ 2512 w 9042"/>
                        <a:gd name="connsiteY0" fmla="*/ 2135 h 6659"/>
                        <a:gd name="connsiteX1" fmla="*/ 0 w 9042"/>
                        <a:gd name="connsiteY1" fmla="*/ 6028 h 6659"/>
                        <a:gd name="connsiteX2" fmla="*/ 5024 w 9042"/>
                        <a:gd name="connsiteY2" fmla="*/ 5777 h 6659"/>
                        <a:gd name="connsiteX3" fmla="*/ 9043 w 9042"/>
                        <a:gd name="connsiteY3" fmla="*/ 1884 h 6659"/>
                        <a:gd name="connsiteX4" fmla="*/ 6405 w 9042"/>
                        <a:gd name="connsiteY4" fmla="*/ 0 h 6659"/>
                        <a:gd name="connsiteX5" fmla="*/ 2512 w 9042"/>
                        <a:gd name="connsiteY5" fmla="*/ 2135 h 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42" h="6659">
                          <a:moveTo>
                            <a:pt x="2512" y="2135"/>
                          </a:moveTo>
                          <a:lnTo>
                            <a:pt x="0" y="6028"/>
                          </a:lnTo>
                          <a:cubicBezTo>
                            <a:pt x="1256" y="6908"/>
                            <a:pt x="3015" y="6908"/>
                            <a:pt x="5024" y="5777"/>
                          </a:cubicBezTo>
                          <a:cubicBezTo>
                            <a:pt x="6531" y="4898"/>
                            <a:pt x="7913" y="3517"/>
                            <a:pt x="9043" y="1884"/>
                          </a:cubicBezTo>
                          <a:lnTo>
                            <a:pt x="6405" y="0"/>
                          </a:lnTo>
                          <a:lnTo>
                            <a:pt x="2512" y="213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984" name="Freeform: Shape 2983">
                    <a:extLst>
                      <a:ext uri="{FF2B5EF4-FFF2-40B4-BE49-F238E27FC236}">
                        <a16:creationId xmlns:a16="http://schemas.microsoft.com/office/drawing/2014/main" id="{DD8A31B9-1DAE-4A42-AA71-243FE11C6C84}"/>
                      </a:ext>
                    </a:extLst>
                  </p:cNvPr>
                  <p:cNvSpPr/>
                  <p:nvPr/>
                </p:nvSpPr>
                <p:spPr>
                  <a:xfrm>
                    <a:off x="5649257" y="3710162"/>
                    <a:ext cx="10800" cy="14083"/>
                  </a:xfrm>
                  <a:custGeom>
                    <a:avLst/>
                    <a:gdLst>
                      <a:gd name="connsiteX0" fmla="*/ 10801 w 10800"/>
                      <a:gd name="connsiteY0" fmla="*/ 3902 h 14083"/>
                      <a:gd name="connsiteX1" fmla="*/ 5400 w 10800"/>
                      <a:gd name="connsiteY1" fmla="*/ 13322 h 14083"/>
                      <a:gd name="connsiteX2" fmla="*/ 0 w 10800"/>
                      <a:gd name="connsiteY2" fmla="*/ 10182 h 14083"/>
                      <a:gd name="connsiteX3" fmla="*/ 5400 w 10800"/>
                      <a:gd name="connsiteY3" fmla="*/ 762 h 14083"/>
                      <a:gd name="connsiteX4" fmla="*/ 10801 w 10800"/>
                      <a:gd name="connsiteY4" fmla="*/ 3902 h 14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 h="14083">
                        <a:moveTo>
                          <a:pt x="10801" y="3902"/>
                        </a:moveTo>
                        <a:cubicBezTo>
                          <a:pt x="10801" y="7293"/>
                          <a:pt x="8415" y="11563"/>
                          <a:pt x="5400" y="13322"/>
                        </a:cubicBezTo>
                        <a:cubicBezTo>
                          <a:pt x="2386" y="15080"/>
                          <a:pt x="0" y="13698"/>
                          <a:pt x="0" y="10182"/>
                        </a:cubicBezTo>
                        <a:cubicBezTo>
                          <a:pt x="0" y="6665"/>
                          <a:pt x="2386" y="2520"/>
                          <a:pt x="5400" y="762"/>
                        </a:cubicBezTo>
                        <a:cubicBezTo>
                          <a:pt x="8415" y="-996"/>
                          <a:pt x="10801" y="385"/>
                          <a:pt x="10801" y="3902"/>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85" name="Freeform: Shape 2984">
                    <a:extLst>
                      <a:ext uri="{FF2B5EF4-FFF2-40B4-BE49-F238E27FC236}">
                        <a16:creationId xmlns:a16="http://schemas.microsoft.com/office/drawing/2014/main" id="{FE8EC75C-7896-40E5-A993-95162C98904E}"/>
                      </a:ext>
                    </a:extLst>
                  </p:cNvPr>
                  <p:cNvSpPr/>
                  <p:nvPr/>
                </p:nvSpPr>
                <p:spPr>
                  <a:xfrm>
                    <a:off x="5650137" y="3711209"/>
                    <a:ext cx="9293" cy="12037"/>
                  </a:xfrm>
                  <a:custGeom>
                    <a:avLst/>
                    <a:gdLst>
                      <a:gd name="connsiteX0" fmla="*/ 9294 w 9293"/>
                      <a:gd name="connsiteY0" fmla="*/ 3358 h 12037"/>
                      <a:gd name="connsiteX1" fmla="*/ 4647 w 9293"/>
                      <a:gd name="connsiteY1" fmla="*/ 11396 h 12037"/>
                      <a:gd name="connsiteX2" fmla="*/ 0 w 9293"/>
                      <a:gd name="connsiteY2" fmla="*/ 8758 h 12037"/>
                      <a:gd name="connsiteX3" fmla="*/ 4647 w 9293"/>
                      <a:gd name="connsiteY3" fmla="*/ 720 h 12037"/>
                      <a:gd name="connsiteX4" fmla="*/ 9294 w 9293"/>
                      <a:gd name="connsiteY4" fmla="*/ 3358 h 1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3" h="12037">
                        <a:moveTo>
                          <a:pt x="9294" y="3358"/>
                        </a:moveTo>
                        <a:cubicBezTo>
                          <a:pt x="9294" y="6372"/>
                          <a:pt x="7159" y="9888"/>
                          <a:pt x="4647" y="11396"/>
                        </a:cubicBezTo>
                        <a:cubicBezTo>
                          <a:pt x="2010" y="12903"/>
                          <a:pt x="0" y="11647"/>
                          <a:pt x="0" y="8758"/>
                        </a:cubicBezTo>
                        <a:cubicBezTo>
                          <a:pt x="0" y="5744"/>
                          <a:pt x="2135" y="2227"/>
                          <a:pt x="4647" y="720"/>
                        </a:cubicBezTo>
                        <a:cubicBezTo>
                          <a:pt x="7159" y="-913"/>
                          <a:pt x="9294" y="343"/>
                          <a:pt x="9294" y="3358"/>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86" name="Freeform: Shape 2985">
                    <a:extLst>
                      <a:ext uri="{FF2B5EF4-FFF2-40B4-BE49-F238E27FC236}">
                        <a16:creationId xmlns:a16="http://schemas.microsoft.com/office/drawing/2014/main" id="{AA053576-39D4-45A8-A980-C32699186B3C}"/>
                      </a:ext>
                    </a:extLst>
                  </p:cNvPr>
                  <p:cNvSpPr/>
                  <p:nvPr/>
                </p:nvSpPr>
                <p:spPr>
                  <a:xfrm>
                    <a:off x="5650890" y="3711176"/>
                    <a:ext cx="8540" cy="11997"/>
                  </a:xfrm>
                  <a:custGeom>
                    <a:avLst/>
                    <a:gdLst>
                      <a:gd name="connsiteX0" fmla="*/ 6405 w 8540"/>
                      <a:gd name="connsiteY0" fmla="*/ 0 h 11997"/>
                      <a:gd name="connsiteX1" fmla="*/ 7159 w 8540"/>
                      <a:gd name="connsiteY1" fmla="*/ 2512 h 11997"/>
                      <a:gd name="connsiteX2" fmla="*/ 2512 w 8540"/>
                      <a:gd name="connsiteY2" fmla="*/ 10550 h 11997"/>
                      <a:gd name="connsiteX3" fmla="*/ 0 w 8540"/>
                      <a:gd name="connsiteY3" fmla="*/ 11178 h 11997"/>
                      <a:gd name="connsiteX4" fmla="*/ 3893 w 8540"/>
                      <a:gd name="connsiteY4" fmla="*/ 11303 h 11997"/>
                      <a:gd name="connsiteX5" fmla="*/ 8540 w 8540"/>
                      <a:gd name="connsiteY5" fmla="*/ 3265 h 11997"/>
                      <a:gd name="connsiteX6" fmla="*/ 6405 w 8540"/>
                      <a:gd name="connsiteY6" fmla="*/ 0 h 1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97">
                        <a:moveTo>
                          <a:pt x="6405" y="0"/>
                        </a:moveTo>
                        <a:cubicBezTo>
                          <a:pt x="6908" y="628"/>
                          <a:pt x="7159" y="1382"/>
                          <a:pt x="7159" y="2512"/>
                        </a:cubicBezTo>
                        <a:cubicBezTo>
                          <a:pt x="7159" y="5526"/>
                          <a:pt x="5024" y="9043"/>
                          <a:pt x="2512" y="10550"/>
                        </a:cubicBezTo>
                        <a:cubicBezTo>
                          <a:pt x="1507" y="11052"/>
                          <a:pt x="628" y="11303"/>
                          <a:pt x="0" y="11178"/>
                        </a:cubicBezTo>
                        <a:cubicBezTo>
                          <a:pt x="879" y="12183"/>
                          <a:pt x="2261" y="12308"/>
                          <a:pt x="3893" y="11303"/>
                        </a:cubicBezTo>
                        <a:cubicBezTo>
                          <a:pt x="6531" y="9796"/>
                          <a:pt x="8540" y="6154"/>
                          <a:pt x="8540" y="3265"/>
                        </a:cubicBezTo>
                        <a:cubicBezTo>
                          <a:pt x="8540" y="1507"/>
                          <a:pt x="7661" y="251"/>
                          <a:pt x="6405" y="0"/>
                        </a:cubicBezTo>
                        <a:close/>
                      </a:path>
                    </a:pathLst>
                  </a:custGeom>
                  <a:solidFill>
                    <a:srgbClr val="B1B6BE">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987" name="Graphic 4">
                    <a:extLst>
                      <a:ext uri="{FF2B5EF4-FFF2-40B4-BE49-F238E27FC236}">
                        <a16:creationId xmlns:a16="http://schemas.microsoft.com/office/drawing/2014/main" id="{84FB7ED1-A2DF-40A1-A747-5F7CF3F14040}"/>
                      </a:ext>
                    </a:extLst>
                  </p:cNvPr>
                  <p:cNvGrpSpPr/>
                  <p:nvPr/>
                </p:nvGrpSpPr>
                <p:grpSpPr>
                  <a:xfrm>
                    <a:off x="5650765" y="3712180"/>
                    <a:ext cx="7786" cy="10047"/>
                    <a:chOff x="5650765" y="3712180"/>
                    <a:chExt cx="7786" cy="10047"/>
                  </a:xfrm>
                  <a:solidFill>
                    <a:srgbClr val="63656A"/>
                  </a:solidFill>
                </p:grpSpPr>
                <p:grpSp>
                  <p:nvGrpSpPr>
                    <p:cNvPr id="2988" name="Graphic 4">
                      <a:extLst>
                        <a:ext uri="{FF2B5EF4-FFF2-40B4-BE49-F238E27FC236}">
                          <a16:creationId xmlns:a16="http://schemas.microsoft.com/office/drawing/2014/main" id="{84FB7ED1-A2DF-40A1-A747-5F7CF3F14040}"/>
                        </a:ext>
                      </a:extLst>
                    </p:cNvPr>
                    <p:cNvGrpSpPr/>
                    <p:nvPr/>
                  </p:nvGrpSpPr>
                  <p:grpSpPr>
                    <a:xfrm>
                      <a:off x="5654030" y="3712557"/>
                      <a:ext cx="1381" cy="1758"/>
                      <a:chOff x="5654030" y="3712557"/>
                      <a:chExt cx="1381" cy="1758"/>
                    </a:xfrm>
                    <a:solidFill>
                      <a:srgbClr val="63656A"/>
                    </a:solidFill>
                  </p:grpSpPr>
                  <p:sp>
                    <p:nvSpPr>
                      <p:cNvPr id="2989" name="Freeform: Shape 2988">
                        <a:extLst>
                          <a:ext uri="{FF2B5EF4-FFF2-40B4-BE49-F238E27FC236}">
                            <a16:creationId xmlns:a16="http://schemas.microsoft.com/office/drawing/2014/main" id="{208ED363-3E33-4380-9B28-AA3D590DCBC5}"/>
                          </a:ext>
                        </a:extLst>
                      </p:cNvPr>
                      <p:cNvSpPr/>
                      <p:nvPr/>
                    </p:nvSpPr>
                    <p:spPr>
                      <a:xfrm>
                        <a:off x="5654030" y="3712557"/>
                        <a:ext cx="1381" cy="1758"/>
                      </a:xfrm>
                      <a:custGeom>
                        <a:avLst/>
                        <a:gdLst>
                          <a:gd name="connsiteX0" fmla="*/ 377 w 1381"/>
                          <a:gd name="connsiteY0" fmla="*/ 1758 h 1758"/>
                          <a:gd name="connsiteX1" fmla="*/ 0 w 1381"/>
                          <a:gd name="connsiteY1" fmla="*/ 1256 h 1758"/>
                          <a:gd name="connsiteX2" fmla="*/ 377 w 1381"/>
                          <a:gd name="connsiteY2" fmla="*/ 377 h 1758"/>
                          <a:gd name="connsiteX3" fmla="*/ 1005 w 1381"/>
                          <a:gd name="connsiteY3" fmla="*/ 0 h 1758"/>
                          <a:gd name="connsiteX4" fmla="*/ 1381 w 1381"/>
                          <a:gd name="connsiteY4" fmla="*/ 502 h 1758"/>
                          <a:gd name="connsiteX5" fmla="*/ 1005 w 1381"/>
                          <a:gd name="connsiteY5" fmla="*/ 1256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1758"/>
                            </a:moveTo>
                            <a:lnTo>
                              <a:pt x="0" y="1256"/>
                            </a:lnTo>
                            <a:lnTo>
                              <a:pt x="377" y="377"/>
                            </a:lnTo>
                            <a:lnTo>
                              <a:pt x="1005" y="0"/>
                            </a:lnTo>
                            <a:lnTo>
                              <a:pt x="1381" y="502"/>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0" name="Freeform: Shape 2989">
                        <a:extLst>
                          <a:ext uri="{FF2B5EF4-FFF2-40B4-BE49-F238E27FC236}">
                            <a16:creationId xmlns:a16="http://schemas.microsoft.com/office/drawing/2014/main" id="{B76554AA-8C27-43D9-9A3E-4A58D27BDB0F}"/>
                          </a:ext>
                        </a:extLst>
                      </p:cNvPr>
                      <p:cNvSpPr/>
                      <p:nvPr/>
                    </p:nvSpPr>
                    <p:spPr>
                      <a:xfrm>
                        <a:off x="5654030" y="3712683"/>
                        <a:ext cx="1256" cy="1507"/>
                      </a:xfrm>
                      <a:custGeom>
                        <a:avLst/>
                        <a:gdLst>
                          <a:gd name="connsiteX0" fmla="*/ 377 w 1256"/>
                          <a:gd name="connsiteY0" fmla="*/ 1507 h 1507"/>
                          <a:gd name="connsiteX1" fmla="*/ 0 w 1256"/>
                          <a:gd name="connsiteY1" fmla="*/ 1130 h 1507"/>
                          <a:gd name="connsiteX2" fmla="*/ 377 w 1256"/>
                          <a:gd name="connsiteY2" fmla="*/ 377 h 1507"/>
                          <a:gd name="connsiteX3" fmla="*/ 1005 w 1256"/>
                          <a:gd name="connsiteY3" fmla="*/ 0 h 1507"/>
                          <a:gd name="connsiteX4" fmla="*/ 1256 w 1256"/>
                          <a:gd name="connsiteY4" fmla="*/ 377 h 1507"/>
                          <a:gd name="connsiteX5" fmla="*/ 1005 w 1256"/>
                          <a:gd name="connsiteY5" fmla="*/ 1256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377" y="1507"/>
                            </a:moveTo>
                            <a:lnTo>
                              <a:pt x="0" y="1130"/>
                            </a:lnTo>
                            <a:lnTo>
                              <a:pt x="377" y="377"/>
                            </a:lnTo>
                            <a:lnTo>
                              <a:pt x="1005" y="0"/>
                            </a:lnTo>
                            <a:lnTo>
                              <a:pt x="1256" y="377"/>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91" name="Graphic 4">
                      <a:extLst>
                        <a:ext uri="{FF2B5EF4-FFF2-40B4-BE49-F238E27FC236}">
                          <a16:creationId xmlns:a16="http://schemas.microsoft.com/office/drawing/2014/main" id="{84FB7ED1-A2DF-40A1-A747-5F7CF3F14040}"/>
                        </a:ext>
                      </a:extLst>
                    </p:cNvPr>
                    <p:cNvGrpSpPr/>
                    <p:nvPr/>
                  </p:nvGrpSpPr>
                  <p:grpSpPr>
                    <a:xfrm>
                      <a:off x="5652523" y="3714064"/>
                      <a:ext cx="1130" cy="1507"/>
                      <a:chOff x="5652523" y="3714064"/>
                      <a:chExt cx="1130" cy="1507"/>
                    </a:xfrm>
                    <a:solidFill>
                      <a:srgbClr val="63656A"/>
                    </a:solidFill>
                  </p:grpSpPr>
                  <p:sp>
                    <p:nvSpPr>
                      <p:cNvPr id="2992" name="Freeform: Shape 2991">
                        <a:extLst>
                          <a:ext uri="{FF2B5EF4-FFF2-40B4-BE49-F238E27FC236}">
                            <a16:creationId xmlns:a16="http://schemas.microsoft.com/office/drawing/2014/main" id="{9EA2772A-5732-4CD4-A81F-A6394477303D}"/>
                          </a:ext>
                        </a:extLst>
                      </p:cNvPr>
                      <p:cNvSpPr/>
                      <p:nvPr/>
                    </p:nvSpPr>
                    <p:spPr>
                      <a:xfrm>
                        <a:off x="5652523" y="3714064"/>
                        <a:ext cx="1130" cy="1507"/>
                      </a:xfrm>
                      <a:custGeom>
                        <a:avLst/>
                        <a:gdLst>
                          <a:gd name="connsiteX0" fmla="*/ 502 w 1130"/>
                          <a:gd name="connsiteY0" fmla="*/ 1507 h 1507"/>
                          <a:gd name="connsiteX1" fmla="*/ 0 w 1130"/>
                          <a:gd name="connsiteY1" fmla="*/ 1507 h 1507"/>
                          <a:gd name="connsiteX2" fmla="*/ 0 w 1130"/>
                          <a:gd name="connsiteY2" fmla="*/ 754 h 1507"/>
                          <a:gd name="connsiteX3" fmla="*/ 502 w 1130"/>
                          <a:gd name="connsiteY3" fmla="*/ 0 h 1507"/>
                          <a:gd name="connsiteX4" fmla="*/ 1130 w 1130"/>
                          <a:gd name="connsiteY4" fmla="*/ 0 h 1507"/>
                          <a:gd name="connsiteX5" fmla="*/ 1130 w 1130"/>
                          <a:gd name="connsiteY5" fmla="*/ 879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502" y="1507"/>
                            </a:moveTo>
                            <a:lnTo>
                              <a:pt x="0" y="1507"/>
                            </a:lnTo>
                            <a:lnTo>
                              <a:pt x="0" y="754"/>
                            </a:lnTo>
                            <a:lnTo>
                              <a:pt x="502" y="0"/>
                            </a:lnTo>
                            <a:lnTo>
                              <a:pt x="1130" y="0"/>
                            </a:lnTo>
                            <a:lnTo>
                              <a:pt x="1130" y="879"/>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3" name="Freeform: Shape 2992">
                        <a:extLst>
                          <a:ext uri="{FF2B5EF4-FFF2-40B4-BE49-F238E27FC236}">
                            <a16:creationId xmlns:a16="http://schemas.microsoft.com/office/drawing/2014/main" id="{C4BBA755-9E82-4030-9C0B-5B44BDAE2C49}"/>
                          </a:ext>
                        </a:extLst>
                      </p:cNvPr>
                      <p:cNvSpPr/>
                      <p:nvPr/>
                    </p:nvSpPr>
                    <p:spPr>
                      <a:xfrm>
                        <a:off x="5652523" y="3714190"/>
                        <a:ext cx="1130" cy="1381"/>
                      </a:xfrm>
                      <a:custGeom>
                        <a:avLst/>
                        <a:gdLst>
                          <a:gd name="connsiteX0" fmla="*/ 502 w 1130"/>
                          <a:gd name="connsiteY0" fmla="*/ 1382 h 1381"/>
                          <a:gd name="connsiteX1" fmla="*/ 0 w 1130"/>
                          <a:gd name="connsiteY1" fmla="*/ 1382 h 1381"/>
                          <a:gd name="connsiteX2" fmla="*/ 0 w 1130"/>
                          <a:gd name="connsiteY2" fmla="*/ 628 h 1381"/>
                          <a:gd name="connsiteX3" fmla="*/ 502 w 1130"/>
                          <a:gd name="connsiteY3" fmla="*/ 0 h 1381"/>
                          <a:gd name="connsiteX4" fmla="*/ 1130 w 1130"/>
                          <a:gd name="connsiteY4" fmla="*/ 0 h 1381"/>
                          <a:gd name="connsiteX5" fmla="*/ 1130 w 1130"/>
                          <a:gd name="connsiteY5" fmla="*/ 754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502" y="1382"/>
                            </a:moveTo>
                            <a:lnTo>
                              <a:pt x="0" y="1382"/>
                            </a:lnTo>
                            <a:lnTo>
                              <a:pt x="0" y="628"/>
                            </a:lnTo>
                            <a:lnTo>
                              <a:pt x="502" y="0"/>
                            </a:lnTo>
                            <a:lnTo>
                              <a:pt x="1130" y="0"/>
                            </a:lnTo>
                            <a:lnTo>
                              <a:pt x="113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94" name="Graphic 4">
                      <a:extLst>
                        <a:ext uri="{FF2B5EF4-FFF2-40B4-BE49-F238E27FC236}">
                          <a16:creationId xmlns:a16="http://schemas.microsoft.com/office/drawing/2014/main" id="{84FB7ED1-A2DF-40A1-A747-5F7CF3F14040}"/>
                        </a:ext>
                      </a:extLst>
                    </p:cNvPr>
                    <p:cNvGrpSpPr/>
                    <p:nvPr/>
                  </p:nvGrpSpPr>
                  <p:grpSpPr>
                    <a:xfrm>
                      <a:off x="5651141" y="3716074"/>
                      <a:ext cx="1381" cy="1758"/>
                      <a:chOff x="5651141" y="3716074"/>
                      <a:chExt cx="1381" cy="1758"/>
                    </a:xfrm>
                    <a:solidFill>
                      <a:srgbClr val="63656A"/>
                    </a:solidFill>
                  </p:grpSpPr>
                  <p:sp>
                    <p:nvSpPr>
                      <p:cNvPr id="2995" name="Freeform: Shape 2994">
                        <a:extLst>
                          <a:ext uri="{FF2B5EF4-FFF2-40B4-BE49-F238E27FC236}">
                            <a16:creationId xmlns:a16="http://schemas.microsoft.com/office/drawing/2014/main" id="{329D03E3-8D7E-4234-B012-156FA1847F5D}"/>
                          </a:ext>
                        </a:extLst>
                      </p:cNvPr>
                      <p:cNvSpPr/>
                      <p:nvPr/>
                    </p:nvSpPr>
                    <p:spPr>
                      <a:xfrm>
                        <a:off x="5651141" y="3716074"/>
                        <a:ext cx="1381" cy="1758"/>
                      </a:xfrm>
                      <a:custGeom>
                        <a:avLst/>
                        <a:gdLst>
                          <a:gd name="connsiteX0" fmla="*/ 1005 w 1381"/>
                          <a:gd name="connsiteY0" fmla="*/ 1256 h 1758"/>
                          <a:gd name="connsiteX1" fmla="*/ 377 w 1381"/>
                          <a:gd name="connsiteY1" fmla="*/ 1758 h 1758"/>
                          <a:gd name="connsiteX2" fmla="*/ 0 w 1381"/>
                          <a:gd name="connsiteY2" fmla="*/ 1256 h 1758"/>
                          <a:gd name="connsiteX3" fmla="*/ 377 w 1381"/>
                          <a:gd name="connsiteY3" fmla="*/ 377 h 1758"/>
                          <a:gd name="connsiteX4" fmla="*/ 1005 w 1381"/>
                          <a:gd name="connsiteY4" fmla="*/ 0 h 1758"/>
                          <a:gd name="connsiteX5" fmla="*/ 1382 w 1381"/>
                          <a:gd name="connsiteY5" fmla="*/ 50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1256"/>
                            </a:moveTo>
                            <a:lnTo>
                              <a:pt x="377" y="1758"/>
                            </a:lnTo>
                            <a:lnTo>
                              <a:pt x="0" y="1256"/>
                            </a:lnTo>
                            <a:lnTo>
                              <a:pt x="377" y="377"/>
                            </a:lnTo>
                            <a:lnTo>
                              <a:pt x="1005" y="0"/>
                            </a:lnTo>
                            <a:lnTo>
                              <a:pt x="1382" y="50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6" name="Freeform: Shape 2995">
                        <a:extLst>
                          <a:ext uri="{FF2B5EF4-FFF2-40B4-BE49-F238E27FC236}">
                            <a16:creationId xmlns:a16="http://schemas.microsoft.com/office/drawing/2014/main" id="{93EA8458-6356-4DF6-99F8-44D822F2D97C}"/>
                          </a:ext>
                        </a:extLst>
                      </p:cNvPr>
                      <p:cNvSpPr/>
                      <p:nvPr/>
                    </p:nvSpPr>
                    <p:spPr>
                      <a:xfrm>
                        <a:off x="5651267" y="3716199"/>
                        <a:ext cx="1256" cy="1632"/>
                      </a:xfrm>
                      <a:custGeom>
                        <a:avLst/>
                        <a:gdLst>
                          <a:gd name="connsiteX0" fmla="*/ 879 w 1256"/>
                          <a:gd name="connsiteY0" fmla="*/ 1256 h 1632"/>
                          <a:gd name="connsiteX1" fmla="*/ 251 w 1256"/>
                          <a:gd name="connsiteY1" fmla="*/ 1633 h 1632"/>
                          <a:gd name="connsiteX2" fmla="*/ 0 w 1256"/>
                          <a:gd name="connsiteY2" fmla="*/ 1130 h 1632"/>
                          <a:gd name="connsiteX3" fmla="*/ 251 w 1256"/>
                          <a:gd name="connsiteY3" fmla="*/ 377 h 1632"/>
                          <a:gd name="connsiteX4" fmla="*/ 879 w 1256"/>
                          <a:gd name="connsiteY4" fmla="*/ 0 h 1632"/>
                          <a:gd name="connsiteX5" fmla="*/ 1256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879" y="1256"/>
                            </a:moveTo>
                            <a:lnTo>
                              <a:pt x="251" y="1633"/>
                            </a:lnTo>
                            <a:lnTo>
                              <a:pt x="0" y="1130"/>
                            </a:lnTo>
                            <a:lnTo>
                              <a:pt x="251" y="377"/>
                            </a:lnTo>
                            <a:lnTo>
                              <a:pt x="879" y="0"/>
                            </a:lnTo>
                            <a:lnTo>
                              <a:pt x="1256"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97" name="Graphic 4">
                      <a:extLst>
                        <a:ext uri="{FF2B5EF4-FFF2-40B4-BE49-F238E27FC236}">
                          <a16:creationId xmlns:a16="http://schemas.microsoft.com/office/drawing/2014/main" id="{84FB7ED1-A2DF-40A1-A747-5F7CF3F14040}"/>
                        </a:ext>
                      </a:extLst>
                    </p:cNvPr>
                    <p:cNvGrpSpPr/>
                    <p:nvPr/>
                  </p:nvGrpSpPr>
                  <p:grpSpPr>
                    <a:xfrm>
                      <a:off x="5650765" y="3718334"/>
                      <a:ext cx="1256" cy="1507"/>
                      <a:chOff x="5650765" y="3718334"/>
                      <a:chExt cx="1256" cy="1507"/>
                    </a:xfrm>
                    <a:solidFill>
                      <a:srgbClr val="63656A"/>
                    </a:solidFill>
                  </p:grpSpPr>
                  <p:sp>
                    <p:nvSpPr>
                      <p:cNvPr id="2998" name="Freeform: Shape 2997">
                        <a:extLst>
                          <a:ext uri="{FF2B5EF4-FFF2-40B4-BE49-F238E27FC236}">
                            <a16:creationId xmlns:a16="http://schemas.microsoft.com/office/drawing/2014/main" id="{EDA6ACD0-7209-4F00-937A-9A17BB660E5B}"/>
                          </a:ext>
                        </a:extLst>
                      </p:cNvPr>
                      <p:cNvSpPr/>
                      <p:nvPr/>
                    </p:nvSpPr>
                    <p:spPr>
                      <a:xfrm>
                        <a:off x="5650765" y="3718334"/>
                        <a:ext cx="1256" cy="1507"/>
                      </a:xfrm>
                      <a:custGeom>
                        <a:avLst/>
                        <a:gdLst>
                          <a:gd name="connsiteX0" fmla="*/ 1256 w 1256"/>
                          <a:gd name="connsiteY0" fmla="*/ 754 h 1507"/>
                          <a:gd name="connsiteX1" fmla="*/ 628 w 1256"/>
                          <a:gd name="connsiteY1" fmla="*/ 1507 h 1507"/>
                          <a:gd name="connsiteX2" fmla="*/ 0 w 1256"/>
                          <a:gd name="connsiteY2" fmla="*/ 1507 h 1507"/>
                          <a:gd name="connsiteX3" fmla="*/ 0 w 1256"/>
                          <a:gd name="connsiteY3" fmla="*/ 628 h 1507"/>
                          <a:gd name="connsiteX4" fmla="*/ 628 w 1256"/>
                          <a:gd name="connsiteY4" fmla="*/ 0 h 1507"/>
                          <a:gd name="connsiteX5" fmla="*/ 1256 w 1256"/>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256" y="754"/>
                            </a:moveTo>
                            <a:lnTo>
                              <a:pt x="628" y="1507"/>
                            </a:lnTo>
                            <a:lnTo>
                              <a:pt x="0" y="1507"/>
                            </a:lnTo>
                            <a:lnTo>
                              <a:pt x="0" y="628"/>
                            </a:lnTo>
                            <a:lnTo>
                              <a:pt x="628" y="0"/>
                            </a:lnTo>
                            <a:lnTo>
                              <a:pt x="1256"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9" name="Freeform: Shape 2998">
                        <a:extLst>
                          <a:ext uri="{FF2B5EF4-FFF2-40B4-BE49-F238E27FC236}">
                            <a16:creationId xmlns:a16="http://schemas.microsoft.com/office/drawing/2014/main" id="{70DA1361-7BDC-4882-8304-F46F44CE0C9E}"/>
                          </a:ext>
                        </a:extLst>
                      </p:cNvPr>
                      <p:cNvSpPr/>
                      <p:nvPr/>
                    </p:nvSpPr>
                    <p:spPr>
                      <a:xfrm>
                        <a:off x="5650890" y="3718460"/>
                        <a:ext cx="1004" cy="1381"/>
                      </a:xfrm>
                      <a:custGeom>
                        <a:avLst/>
                        <a:gdLst>
                          <a:gd name="connsiteX0" fmla="*/ 1005 w 1004"/>
                          <a:gd name="connsiteY0" fmla="*/ 754 h 1381"/>
                          <a:gd name="connsiteX1" fmla="*/ 502 w 1004"/>
                          <a:gd name="connsiteY1" fmla="*/ 1382 h 1381"/>
                          <a:gd name="connsiteX2" fmla="*/ 0 w 1004"/>
                          <a:gd name="connsiteY2" fmla="*/ 1382 h 1381"/>
                          <a:gd name="connsiteX3" fmla="*/ 0 w 1004"/>
                          <a:gd name="connsiteY3" fmla="*/ 628 h 1381"/>
                          <a:gd name="connsiteX4" fmla="*/ 502 w 1004"/>
                          <a:gd name="connsiteY4" fmla="*/ 0 h 1381"/>
                          <a:gd name="connsiteX5" fmla="*/ 1005 w 1004"/>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1005" y="754"/>
                            </a:moveTo>
                            <a:lnTo>
                              <a:pt x="502" y="1382"/>
                            </a:lnTo>
                            <a:lnTo>
                              <a:pt x="0" y="1382"/>
                            </a:lnTo>
                            <a:lnTo>
                              <a:pt x="0" y="628"/>
                            </a:lnTo>
                            <a:lnTo>
                              <a:pt x="502" y="0"/>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00" name="Graphic 4">
                      <a:extLst>
                        <a:ext uri="{FF2B5EF4-FFF2-40B4-BE49-F238E27FC236}">
                          <a16:creationId xmlns:a16="http://schemas.microsoft.com/office/drawing/2014/main" id="{84FB7ED1-A2DF-40A1-A747-5F7CF3F14040}"/>
                        </a:ext>
                      </a:extLst>
                    </p:cNvPr>
                    <p:cNvGrpSpPr/>
                    <p:nvPr/>
                  </p:nvGrpSpPr>
                  <p:grpSpPr>
                    <a:xfrm>
                      <a:off x="5651141" y="3719842"/>
                      <a:ext cx="1381" cy="1758"/>
                      <a:chOff x="5651141" y="3719842"/>
                      <a:chExt cx="1381" cy="1758"/>
                    </a:xfrm>
                    <a:solidFill>
                      <a:srgbClr val="63656A"/>
                    </a:solidFill>
                  </p:grpSpPr>
                  <p:sp>
                    <p:nvSpPr>
                      <p:cNvPr id="3001" name="Freeform: Shape 3000">
                        <a:extLst>
                          <a:ext uri="{FF2B5EF4-FFF2-40B4-BE49-F238E27FC236}">
                            <a16:creationId xmlns:a16="http://schemas.microsoft.com/office/drawing/2014/main" id="{9E94BE05-F66C-4502-B696-3F08EEB770F2}"/>
                          </a:ext>
                        </a:extLst>
                      </p:cNvPr>
                      <p:cNvSpPr/>
                      <p:nvPr/>
                    </p:nvSpPr>
                    <p:spPr>
                      <a:xfrm>
                        <a:off x="5651141" y="3719842"/>
                        <a:ext cx="1381" cy="1758"/>
                      </a:xfrm>
                      <a:custGeom>
                        <a:avLst/>
                        <a:gdLst>
                          <a:gd name="connsiteX0" fmla="*/ 1382 w 1381"/>
                          <a:gd name="connsiteY0" fmla="*/ 502 h 1758"/>
                          <a:gd name="connsiteX1" fmla="*/ 1005 w 1381"/>
                          <a:gd name="connsiteY1" fmla="*/ 1382 h 1758"/>
                          <a:gd name="connsiteX2" fmla="*/ 377 w 1381"/>
                          <a:gd name="connsiteY2" fmla="*/ 1758 h 1758"/>
                          <a:gd name="connsiteX3" fmla="*/ 0 w 1381"/>
                          <a:gd name="connsiteY3" fmla="*/ 1256 h 1758"/>
                          <a:gd name="connsiteX4" fmla="*/ 377 w 1381"/>
                          <a:gd name="connsiteY4" fmla="*/ 377 h 1758"/>
                          <a:gd name="connsiteX5" fmla="*/ 1005 w 1381"/>
                          <a:gd name="connsiteY5" fmla="*/ 0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382" y="502"/>
                            </a:moveTo>
                            <a:lnTo>
                              <a:pt x="1005" y="1382"/>
                            </a:lnTo>
                            <a:lnTo>
                              <a:pt x="377" y="1758"/>
                            </a:lnTo>
                            <a:lnTo>
                              <a:pt x="0" y="1256"/>
                            </a:lnTo>
                            <a:lnTo>
                              <a:pt x="377"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02" name="Freeform: Shape 3001">
                        <a:extLst>
                          <a:ext uri="{FF2B5EF4-FFF2-40B4-BE49-F238E27FC236}">
                            <a16:creationId xmlns:a16="http://schemas.microsoft.com/office/drawing/2014/main" id="{5C5029EF-84DA-414A-8DFA-33E835273E39}"/>
                          </a:ext>
                        </a:extLst>
                      </p:cNvPr>
                      <p:cNvSpPr/>
                      <p:nvPr/>
                    </p:nvSpPr>
                    <p:spPr>
                      <a:xfrm>
                        <a:off x="5651267" y="3719967"/>
                        <a:ext cx="1256" cy="1632"/>
                      </a:xfrm>
                      <a:custGeom>
                        <a:avLst/>
                        <a:gdLst>
                          <a:gd name="connsiteX0" fmla="*/ 1256 w 1256"/>
                          <a:gd name="connsiteY0" fmla="*/ 377 h 1632"/>
                          <a:gd name="connsiteX1" fmla="*/ 879 w 1256"/>
                          <a:gd name="connsiteY1" fmla="*/ 1256 h 1632"/>
                          <a:gd name="connsiteX2" fmla="*/ 251 w 1256"/>
                          <a:gd name="connsiteY2" fmla="*/ 1633 h 1632"/>
                          <a:gd name="connsiteX3" fmla="*/ 0 w 1256"/>
                          <a:gd name="connsiteY3" fmla="*/ 1130 h 1632"/>
                          <a:gd name="connsiteX4" fmla="*/ 251 w 1256"/>
                          <a:gd name="connsiteY4" fmla="*/ 377 h 1632"/>
                          <a:gd name="connsiteX5" fmla="*/ 879 w 1256"/>
                          <a:gd name="connsiteY5" fmla="*/ 0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256" y="377"/>
                            </a:moveTo>
                            <a:lnTo>
                              <a:pt x="879" y="1256"/>
                            </a:lnTo>
                            <a:lnTo>
                              <a:pt x="251" y="1633"/>
                            </a:lnTo>
                            <a:lnTo>
                              <a:pt x="0" y="1130"/>
                            </a:lnTo>
                            <a:lnTo>
                              <a:pt x="251" y="377"/>
                            </a:lnTo>
                            <a:lnTo>
                              <a:pt x="879"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03" name="Graphic 4">
                      <a:extLst>
                        <a:ext uri="{FF2B5EF4-FFF2-40B4-BE49-F238E27FC236}">
                          <a16:creationId xmlns:a16="http://schemas.microsoft.com/office/drawing/2014/main" id="{84FB7ED1-A2DF-40A1-A747-5F7CF3F14040}"/>
                        </a:ext>
                      </a:extLst>
                    </p:cNvPr>
                    <p:cNvGrpSpPr/>
                    <p:nvPr/>
                  </p:nvGrpSpPr>
                  <p:grpSpPr>
                    <a:xfrm>
                      <a:off x="5652397" y="3720721"/>
                      <a:ext cx="1256" cy="1507"/>
                      <a:chOff x="5652397" y="3720721"/>
                      <a:chExt cx="1256" cy="1507"/>
                    </a:xfrm>
                    <a:solidFill>
                      <a:srgbClr val="63656A"/>
                    </a:solidFill>
                  </p:grpSpPr>
                  <p:sp>
                    <p:nvSpPr>
                      <p:cNvPr id="3004" name="Freeform: Shape 3003">
                        <a:extLst>
                          <a:ext uri="{FF2B5EF4-FFF2-40B4-BE49-F238E27FC236}">
                            <a16:creationId xmlns:a16="http://schemas.microsoft.com/office/drawing/2014/main" id="{681476E9-9742-493A-A193-D63118E562ED}"/>
                          </a:ext>
                        </a:extLst>
                      </p:cNvPr>
                      <p:cNvSpPr/>
                      <p:nvPr/>
                    </p:nvSpPr>
                    <p:spPr>
                      <a:xfrm>
                        <a:off x="5652397" y="3720721"/>
                        <a:ext cx="1256" cy="1507"/>
                      </a:xfrm>
                      <a:custGeom>
                        <a:avLst/>
                        <a:gdLst>
                          <a:gd name="connsiteX0" fmla="*/ 1256 w 1256"/>
                          <a:gd name="connsiteY0" fmla="*/ 0 h 1507"/>
                          <a:gd name="connsiteX1" fmla="*/ 1256 w 1256"/>
                          <a:gd name="connsiteY1" fmla="*/ 754 h 1507"/>
                          <a:gd name="connsiteX2" fmla="*/ 628 w 1256"/>
                          <a:gd name="connsiteY2" fmla="*/ 1507 h 1507"/>
                          <a:gd name="connsiteX3" fmla="*/ 0 w 1256"/>
                          <a:gd name="connsiteY3" fmla="*/ 1507 h 1507"/>
                          <a:gd name="connsiteX4" fmla="*/ 0 w 1256"/>
                          <a:gd name="connsiteY4" fmla="*/ 754 h 1507"/>
                          <a:gd name="connsiteX5" fmla="*/ 628 w 1256"/>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256" y="0"/>
                            </a:moveTo>
                            <a:lnTo>
                              <a:pt x="1256" y="754"/>
                            </a:lnTo>
                            <a:lnTo>
                              <a:pt x="628" y="1507"/>
                            </a:lnTo>
                            <a:lnTo>
                              <a:pt x="0" y="1507"/>
                            </a:lnTo>
                            <a:lnTo>
                              <a:pt x="0" y="754"/>
                            </a:lnTo>
                            <a:lnTo>
                              <a:pt x="628"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05" name="Freeform: Shape 3004">
                        <a:extLst>
                          <a:ext uri="{FF2B5EF4-FFF2-40B4-BE49-F238E27FC236}">
                            <a16:creationId xmlns:a16="http://schemas.microsoft.com/office/drawing/2014/main" id="{18335E5F-E4C9-4AFF-B2BC-86C0A5941501}"/>
                          </a:ext>
                        </a:extLst>
                      </p:cNvPr>
                      <p:cNvSpPr/>
                      <p:nvPr/>
                    </p:nvSpPr>
                    <p:spPr>
                      <a:xfrm>
                        <a:off x="5652523" y="3720721"/>
                        <a:ext cx="1130" cy="1381"/>
                      </a:xfrm>
                      <a:custGeom>
                        <a:avLst/>
                        <a:gdLst>
                          <a:gd name="connsiteX0" fmla="*/ 1130 w 1130"/>
                          <a:gd name="connsiteY0" fmla="*/ 0 h 1381"/>
                          <a:gd name="connsiteX1" fmla="*/ 1130 w 1130"/>
                          <a:gd name="connsiteY1" fmla="*/ 754 h 1381"/>
                          <a:gd name="connsiteX2" fmla="*/ 502 w 1130"/>
                          <a:gd name="connsiteY2" fmla="*/ 1382 h 1381"/>
                          <a:gd name="connsiteX3" fmla="*/ 0 w 1130"/>
                          <a:gd name="connsiteY3" fmla="*/ 1382 h 1381"/>
                          <a:gd name="connsiteX4" fmla="*/ 0 w 1130"/>
                          <a:gd name="connsiteY4" fmla="*/ 628 h 1381"/>
                          <a:gd name="connsiteX5" fmla="*/ 502 w 1130"/>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1130" y="0"/>
                            </a:moveTo>
                            <a:lnTo>
                              <a:pt x="1130" y="754"/>
                            </a:lnTo>
                            <a:lnTo>
                              <a:pt x="502" y="1382"/>
                            </a:lnTo>
                            <a:lnTo>
                              <a:pt x="0" y="1382"/>
                            </a:lnTo>
                            <a:lnTo>
                              <a:pt x="0" y="628"/>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06" name="Graphic 4">
                      <a:extLst>
                        <a:ext uri="{FF2B5EF4-FFF2-40B4-BE49-F238E27FC236}">
                          <a16:creationId xmlns:a16="http://schemas.microsoft.com/office/drawing/2014/main" id="{84FB7ED1-A2DF-40A1-A747-5F7CF3F14040}"/>
                        </a:ext>
                      </a:extLst>
                    </p:cNvPr>
                    <p:cNvGrpSpPr/>
                    <p:nvPr/>
                  </p:nvGrpSpPr>
                  <p:grpSpPr>
                    <a:xfrm>
                      <a:off x="5654030" y="3720219"/>
                      <a:ext cx="1256" cy="1758"/>
                      <a:chOff x="5654030" y="3720219"/>
                      <a:chExt cx="1256" cy="1758"/>
                    </a:xfrm>
                    <a:solidFill>
                      <a:srgbClr val="63656A"/>
                    </a:solidFill>
                  </p:grpSpPr>
                  <p:sp>
                    <p:nvSpPr>
                      <p:cNvPr id="3007" name="Freeform: Shape 3006">
                        <a:extLst>
                          <a:ext uri="{FF2B5EF4-FFF2-40B4-BE49-F238E27FC236}">
                            <a16:creationId xmlns:a16="http://schemas.microsoft.com/office/drawing/2014/main" id="{BE5F429D-6C3F-4FEF-AE5E-C0188881179F}"/>
                          </a:ext>
                        </a:extLst>
                      </p:cNvPr>
                      <p:cNvSpPr/>
                      <p:nvPr/>
                    </p:nvSpPr>
                    <p:spPr>
                      <a:xfrm>
                        <a:off x="5654030" y="3720219"/>
                        <a:ext cx="1256" cy="1758"/>
                      </a:xfrm>
                      <a:custGeom>
                        <a:avLst/>
                        <a:gdLst>
                          <a:gd name="connsiteX0" fmla="*/ 1005 w 1256"/>
                          <a:gd name="connsiteY0" fmla="*/ 0 h 1758"/>
                          <a:gd name="connsiteX1" fmla="*/ 1256 w 1256"/>
                          <a:gd name="connsiteY1" fmla="*/ 502 h 1758"/>
                          <a:gd name="connsiteX2" fmla="*/ 1005 w 1256"/>
                          <a:gd name="connsiteY2" fmla="*/ 1382 h 1758"/>
                          <a:gd name="connsiteX3" fmla="*/ 251 w 1256"/>
                          <a:gd name="connsiteY3" fmla="*/ 1758 h 1758"/>
                          <a:gd name="connsiteX4" fmla="*/ 0 w 1256"/>
                          <a:gd name="connsiteY4" fmla="*/ 1256 h 1758"/>
                          <a:gd name="connsiteX5" fmla="*/ 251 w 1256"/>
                          <a:gd name="connsiteY5" fmla="*/ 377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758">
                            <a:moveTo>
                              <a:pt x="1005" y="0"/>
                            </a:moveTo>
                            <a:lnTo>
                              <a:pt x="1256" y="502"/>
                            </a:lnTo>
                            <a:lnTo>
                              <a:pt x="1005" y="1382"/>
                            </a:lnTo>
                            <a:lnTo>
                              <a:pt x="251" y="1758"/>
                            </a:lnTo>
                            <a:lnTo>
                              <a:pt x="0" y="1256"/>
                            </a:lnTo>
                            <a:lnTo>
                              <a:pt x="251"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08" name="Freeform: Shape 3007">
                        <a:extLst>
                          <a:ext uri="{FF2B5EF4-FFF2-40B4-BE49-F238E27FC236}">
                            <a16:creationId xmlns:a16="http://schemas.microsoft.com/office/drawing/2014/main" id="{E28A9FE9-1814-4736-A4D6-855B5EC9D2F7}"/>
                          </a:ext>
                        </a:extLst>
                      </p:cNvPr>
                      <p:cNvSpPr/>
                      <p:nvPr/>
                    </p:nvSpPr>
                    <p:spPr>
                      <a:xfrm>
                        <a:off x="5654030" y="3720219"/>
                        <a:ext cx="1256" cy="1632"/>
                      </a:xfrm>
                      <a:custGeom>
                        <a:avLst/>
                        <a:gdLst>
                          <a:gd name="connsiteX0" fmla="*/ 1005 w 1256"/>
                          <a:gd name="connsiteY0" fmla="*/ 0 h 1632"/>
                          <a:gd name="connsiteX1" fmla="*/ 1256 w 1256"/>
                          <a:gd name="connsiteY1" fmla="*/ 377 h 1632"/>
                          <a:gd name="connsiteX2" fmla="*/ 1005 w 1256"/>
                          <a:gd name="connsiteY2" fmla="*/ 1256 h 1632"/>
                          <a:gd name="connsiteX3" fmla="*/ 377 w 1256"/>
                          <a:gd name="connsiteY3" fmla="*/ 1633 h 1632"/>
                          <a:gd name="connsiteX4" fmla="*/ 0 w 1256"/>
                          <a:gd name="connsiteY4" fmla="*/ 1130 h 1632"/>
                          <a:gd name="connsiteX5" fmla="*/ 377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005" y="0"/>
                            </a:moveTo>
                            <a:lnTo>
                              <a:pt x="1256" y="377"/>
                            </a:lnTo>
                            <a:lnTo>
                              <a:pt x="1005" y="1256"/>
                            </a:lnTo>
                            <a:lnTo>
                              <a:pt x="377" y="1633"/>
                            </a:lnTo>
                            <a:lnTo>
                              <a:pt x="0" y="1130"/>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09" name="Graphic 4">
                      <a:extLst>
                        <a:ext uri="{FF2B5EF4-FFF2-40B4-BE49-F238E27FC236}">
                          <a16:creationId xmlns:a16="http://schemas.microsoft.com/office/drawing/2014/main" id="{84FB7ED1-A2DF-40A1-A747-5F7CF3F14040}"/>
                        </a:ext>
                      </a:extLst>
                    </p:cNvPr>
                    <p:cNvGrpSpPr/>
                    <p:nvPr/>
                  </p:nvGrpSpPr>
                  <p:grpSpPr>
                    <a:xfrm>
                      <a:off x="5655788" y="3718837"/>
                      <a:ext cx="1130" cy="1507"/>
                      <a:chOff x="5655788" y="3718837"/>
                      <a:chExt cx="1130" cy="1507"/>
                    </a:xfrm>
                    <a:solidFill>
                      <a:srgbClr val="63656A"/>
                    </a:solidFill>
                  </p:grpSpPr>
                  <p:sp>
                    <p:nvSpPr>
                      <p:cNvPr id="3010" name="Freeform: Shape 3009">
                        <a:extLst>
                          <a:ext uri="{FF2B5EF4-FFF2-40B4-BE49-F238E27FC236}">
                            <a16:creationId xmlns:a16="http://schemas.microsoft.com/office/drawing/2014/main" id="{F26070D8-218B-47BD-A27B-E1A823376881}"/>
                          </a:ext>
                        </a:extLst>
                      </p:cNvPr>
                      <p:cNvSpPr/>
                      <p:nvPr/>
                    </p:nvSpPr>
                    <p:spPr>
                      <a:xfrm>
                        <a:off x="5655788" y="3718837"/>
                        <a:ext cx="1130" cy="1507"/>
                      </a:xfrm>
                      <a:custGeom>
                        <a:avLst/>
                        <a:gdLst>
                          <a:gd name="connsiteX0" fmla="*/ 502 w 1130"/>
                          <a:gd name="connsiteY0" fmla="*/ 0 h 1507"/>
                          <a:gd name="connsiteX1" fmla="*/ 1130 w 1130"/>
                          <a:gd name="connsiteY1" fmla="*/ 0 h 1507"/>
                          <a:gd name="connsiteX2" fmla="*/ 1130 w 1130"/>
                          <a:gd name="connsiteY2" fmla="*/ 879 h 1507"/>
                          <a:gd name="connsiteX3" fmla="*/ 502 w 1130"/>
                          <a:gd name="connsiteY3" fmla="*/ 1507 h 1507"/>
                          <a:gd name="connsiteX4" fmla="*/ 0 w 1130"/>
                          <a:gd name="connsiteY4" fmla="*/ 1507 h 1507"/>
                          <a:gd name="connsiteX5" fmla="*/ 0 w 1130"/>
                          <a:gd name="connsiteY5" fmla="*/ 754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502" y="0"/>
                            </a:moveTo>
                            <a:lnTo>
                              <a:pt x="1130" y="0"/>
                            </a:lnTo>
                            <a:lnTo>
                              <a:pt x="1130" y="879"/>
                            </a:lnTo>
                            <a:lnTo>
                              <a:pt x="502" y="1507"/>
                            </a:lnTo>
                            <a:lnTo>
                              <a:pt x="0" y="1507"/>
                            </a:lnTo>
                            <a:lnTo>
                              <a:pt x="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11" name="Freeform: Shape 3010">
                        <a:extLst>
                          <a:ext uri="{FF2B5EF4-FFF2-40B4-BE49-F238E27FC236}">
                            <a16:creationId xmlns:a16="http://schemas.microsoft.com/office/drawing/2014/main" id="{EEFE7843-7C7E-4B8B-A680-7E48954F9553}"/>
                          </a:ext>
                        </a:extLst>
                      </p:cNvPr>
                      <p:cNvSpPr/>
                      <p:nvPr/>
                    </p:nvSpPr>
                    <p:spPr>
                      <a:xfrm>
                        <a:off x="5655788" y="3718837"/>
                        <a:ext cx="1130" cy="1381"/>
                      </a:xfrm>
                      <a:custGeom>
                        <a:avLst/>
                        <a:gdLst>
                          <a:gd name="connsiteX0" fmla="*/ 502 w 1130"/>
                          <a:gd name="connsiteY0" fmla="*/ 0 h 1381"/>
                          <a:gd name="connsiteX1" fmla="*/ 1130 w 1130"/>
                          <a:gd name="connsiteY1" fmla="*/ 0 h 1381"/>
                          <a:gd name="connsiteX2" fmla="*/ 1130 w 1130"/>
                          <a:gd name="connsiteY2" fmla="*/ 754 h 1381"/>
                          <a:gd name="connsiteX3" fmla="*/ 502 w 1130"/>
                          <a:gd name="connsiteY3" fmla="*/ 1382 h 1381"/>
                          <a:gd name="connsiteX4" fmla="*/ 0 w 1130"/>
                          <a:gd name="connsiteY4" fmla="*/ 1382 h 1381"/>
                          <a:gd name="connsiteX5" fmla="*/ 0 w 1130"/>
                          <a:gd name="connsiteY5" fmla="*/ 628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502" y="0"/>
                            </a:moveTo>
                            <a:lnTo>
                              <a:pt x="1130" y="0"/>
                            </a:lnTo>
                            <a:lnTo>
                              <a:pt x="1130" y="754"/>
                            </a:lnTo>
                            <a:lnTo>
                              <a:pt x="502" y="1382"/>
                            </a:lnTo>
                            <a:lnTo>
                              <a:pt x="0" y="1382"/>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12" name="Graphic 4">
                      <a:extLst>
                        <a:ext uri="{FF2B5EF4-FFF2-40B4-BE49-F238E27FC236}">
                          <a16:creationId xmlns:a16="http://schemas.microsoft.com/office/drawing/2014/main" id="{84FB7ED1-A2DF-40A1-A747-5F7CF3F14040}"/>
                        </a:ext>
                      </a:extLst>
                    </p:cNvPr>
                    <p:cNvGrpSpPr/>
                    <p:nvPr/>
                  </p:nvGrpSpPr>
                  <p:grpSpPr>
                    <a:xfrm>
                      <a:off x="5656919" y="3716702"/>
                      <a:ext cx="1256" cy="1632"/>
                      <a:chOff x="5656919" y="3716702"/>
                      <a:chExt cx="1256" cy="1632"/>
                    </a:xfrm>
                    <a:solidFill>
                      <a:srgbClr val="63656A"/>
                    </a:solidFill>
                  </p:grpSpPr>
                  <p:sp>
                    <p:nvSpPr>
                      <p:cNvPr id="3013" name="Freeform: Shape 3012">
                        <a:extLst>
                          <a:ext uri="{FF2B5EF4-FFF2-40B4-BE49-F238E27FC236}">
                            <a16:creationId xmlns:a16="http://schemas.microsoft.com/office/drawing/2014/main" id="{B69273A9-2568-4038-B324-741139D7B3C3}"/>
                          </a:ext>
                        </a:extLst>
                      </p:cNvPr>
                      <p:cNvSpPr/>
                      <p:nvPr/>
                    </p:nvSpPr>
                    <p:spPr>
                      <a:xfrm>
                        <a:off x="5656919" y="3716702"/>
                        <a:ext cx="1256" cy="1632"/>
                      </a:xfrm>
                      <a:custGeom>
                        <a:avLst/>
                        <a:gdLst>
                          <a:gd name="connsiteX0" fmla="*/ 251 w 1256"/>
                          <a:gd name="connsiteY0" fmla="*/ 377 h 1632"/>
                          <a:gd name="connsiteX1" fmla="*/ 1005 w 1256"/>
                          <a:gd name="connsiteY1" fmla="*/ 0 h 1632"/>
                          <a:gd name="connsiteX2" fmla="*/ 1256 w 1256"/>
                          <a:gd name="connsiteY2" fmla="*/ 377 h 1632"/>
                          <a:gd name="connsiteX3" fmla="*/ 1005 w 1256"/>
                          <a:gd name="connsiteY3" fmla="*/ 1256 h 1632"/>
                          <a:gd name="connsiteX4" fmla="*/ 251 w 1256"/>
                          <a:gd name="connsiteY4" fmla="*/ 1633 h 1632"/>
                          <a:gd name="connsiteX5" fmla="*/ 0 w 1256"/>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251" y="377"/>
                            </a:moveTo>
                            <a:lnTo>
                              <a:pt x="1005" y="0"/>
                            </a:lnTo>
                            <a:lnTo>
                              <a:pt x="1256" y="377"/>
                            </a:lnTo>
                            <a:lnTo>
                              <a:pt x="1005" y="1256"/>
                            </a:lnTo>
                            <a:lnTo>
                              <a:pt x="251" y="1633"/>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14" name="Freeform: Shape 3013">
                        <a:extLst>
                          <a:ext uri="{FF2B5EF4-FFF2-40B4-BE49-F238E27FC236}">
                            <a16:creationId xmlns:a16="http://schemas.microsoft.com/office/drawing/2014/main" id="{DD7C620A-B36E-4DF3-BA2A-BB843E67CA99}"/>
                          </a:ext>
                        </a:extLst>
                      </p:cNvPr>
                      <p:cNvSpPr/>
                      <p:nvPr/>
                    </p:nvSpPr>
                    <p:spPr>
                      <a:xfrm>
                        <a:off x="5656919" y="3716702"/>
                        <a:ext cx="1256" cy="1507"/>
                      </a:xfrm>
                      <a:custGeom>
                        <a:avLst/>
                        <a:gdLst>
                          <a:gd name="connsiteX0" fmla="*/ 377 w 1256"/>
                          <a:gd name="connsiteY0" fmla="*/ 377 h 1507"/>
                          <a:gd name="connsiteX1" fmla="*/ 1005 w 1256"/>
                          <a:gd name="connsiteY1" fmla="*/ 0 h 1507"/>
                          <a:gd name="connsiteX2" fmla="*/ 1256 w 1256"/>
                          <a:gd name="connsiteY2" fmla="*/ 377 h 1507"/>
                          <a:gd name="connsiteX3" fmla="*/ 1005 w 1256"/>
                          <a:gd name="connsiteY3" fmla="*/ 1256 h 1507"/>
                          <a:gd name="connsiteX4" fmla="*/ 377 w 1256"/>
                          <a:gd name="connsiteY4" fmla="*/ 1507 h 1507"/>
                          <a:gd name="connsiteX5" fmla="*/ 0 w 1256"/>
                          <a:gd name="connsiteY5" fmla="*/ 113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377" y="377"/>
                            </a:moveTo>
                            <a:lnTo>
                              <a:pt x="1005" y="0"/>
                            </a:lnTo>
                            <a:lnTo>
                              <a:pt x="1256" y="377"/>
                            </a:lnTo>
                            <a:lnTo>
                              <a:pt x="1005" y="1256"/>
                            </a:lnTo>
                            <a:lnTo>
                              <a:pt x="377" y="1507"/>
                            </a:lnTo>
                            <a:lnTo>
                              <a:pt x="0" y="113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15" name="Graphic 4">
                      <a:extLst>
                        <a:ext uri="{FF2B5EF4-FFF2-40B4-BE49-F238E27FC236}">
                          <a16:creationId xmlns:a16="http://schemas.microsoft.com/office/drawing/2014/main" id="{84FB7ED1-A2DF-40A1-A747-5F7CF3F14040}"/>
                        </a:ext>
                      </a:extLst>
                    </p:cNvPr>
                    <p:cNvGrpSpPr/>
                    <p:nvPr/>
                  </p:nvGrpSpPr>
                  <p:grpSpPr>
                    <a:xfrm>
                      <a:off x="5657421" y="3714567"/>
                      <a:ext cx="1130" cy="1632"/>
                      <a:chOff x="5657421" y="3714567"/>
                      <a:chExt cx="1130" cy="1632"/>
                    </a:xfrm>
                    <a:solidFill>
                      <a:srgbClr val="63656A"/>
                    </a:solidFill>
                  </p:grpSpPr>
                  <p:sp>
                    <p:nvSpPr>
                      <p:cNvPr id="3016" name="Freeform: Shape 3015">
                        <a:extLst>
                          <a:ext uri="{FF2B5EF4-FFF2-40B4-BE49-F238E27FC236}">
                            <a16:creationId xmlns:a16="http://schemas.microsoft.com/office/drawing/2014/main" id="{92561320-88C6-4CCA-BE8B-F013DE1E4BD3}"/>
                          </a:ext>
                        </a:extLst>
                      </p:cNvPr>
                      <p:cNvSpPr/>
                      <p:nvPr/>
                    </p:nvSpPr>
                    <p:spPr>
                      <a:xfrm>
                        <a:off x="5657421" y="3714567"/>
                        <a:ext cx="1130" cy="1632"/>
                      </a:xfrm>
                      <a:custGeom>
                        <a:avLst/>
                        <a:gdLst>
                          <a:gd name="connsiteX0" fmla="*/ 0 w 1130"/>
                          <a:gd name="connsiteY0" fmla="*/ 754 h 1632"/>
                          <a:gd name="connsiteX1" fmla="*/ 628 w 1130"/>
                          <a:gd name="connsiteY1" fmla="*/ 0 h 1632"/>
                          <a:gd name="connsiteX2" fmla="*/ 1130 w 1130"/>
                          <a:gd name="connsiteY2" fmla="*/ 126 h 1632"/>
                          <a:gd name="connsiteX3" fmla="*/ 1130 w 1130"/>
                          <a:gd name="connsiteY3" fmla="*/ 879 h 1632"/>
                          <a:gd name="connsiteX4" fmla="*/ 628 w 1130"/>
                          <a:gd name="connsiteY4" fmla="*/ 1633 h 1632"/>
                          <a:gd name="connsiteX5" fmla="*/ 0 w 1130"/>
                          <a:gd name="connsiteY5" fmla="*/ 150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0" y="754"/>
                            </a:moveTo>
                            <a:lnTo>
                              <a:pt x="628" y="0"/>
                            </a:lnTo>
                            <a:lnTo>
                              <a:pt x="1130" y="126"/>
                            </a:lnTo>
                            <a:lnTo>
                              <a:pt x="1130" y="879"/>
                            </a:lnTo>
                            <a:lnTo>
                              <a:pt x="628" y="1633"/>
                            </a:lnTo>
                            <a:lnTo>
                              <a:pt x="0"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17" name="Freeform: Shape 3016">
                        <a:extLst>
                          <a:ext uri="{FF2B5EF4-FFF2-40B4-BE49-F238E27FC236}">
                            <a16:creationId xmlns:a16="http://schemas.microsoft.com/office/drawing/2014/main" id="{9870CAE1-9271-4387-A77B-63CF79ACE58E}"/>
                          </a:ext>
                        </a:extLst>
                      </p:cNvPr>
                      <p:cNvSpPr/>
                      <p:nvPr/>
                    </p:nvSpPr>
                    <p:spPr>
                      <a:xfrm>
                        <a:off x="5657421" y="3714567"/>
                        <a:ext cx="1130" cy="1507"/>
                      </a:xfrm>
                      <a:custGeom>
                        <a:avLst/>
                        <a:gdLst>
                          <a:gd name="connsiteX0" fmla="*/ 0 w 1130"/>
                          <a:gd name="connsiteY0" fmla="*/ 754 h 1507"/>
                          <a:gd name="connsiteX1" fmla="*/ 502 w 1130"/>
                          <a:gd name="connsiteY1" fmla="*/ 0 h 1507"/>
                          <a:gd name="connsiteX2" fmla="*/ 1130 w 1130"/>
                          <a:gd name="connsiteY2" fmla="*/ 126 h 1507"/>
                          <a:gd name="connsiteX3" fmla="*/ 1130 w 1130"/>
                          <a:gd name="connsiteY3" fmla="*/ 754 h 1507"/>
                          <a:gd name="connsiteX4" fmla="*/ 502 w 1130"/>
                          <a:gd name="connsiteY4" fmla="*/ 1507 h 1507"/>
                          <a:gd name="connsiteX5" fmla="*/ 0 w 1130"/>
                          <a:gd name="connsiteY5" fmla="*/ 1382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502" y="0"/>
                            </a:lnTo>
                            <a:lnTo>
                              <a:pt x="1130" y="126"/>
                            </a:lnTo>
                            <a:lnTo>
                              <a:pt x="1130" y="754"/>
                            </a:lnTo>
                            <a:lnTo>
                              <a:pt x="502" y="1507"/>
                            </a:lnTo>
                            <a:lnTo>
                              <a:pt x="0"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18" name="Graphic 4">
                      <a:extLst>
                        <a:ext uri="{FF2B5EF4-FFF2-40B4-BE49-F238E27FC236}">
                          <a16:creationId xmlns:a16="http://schemas.microsoft.com/office/drawing/2014/main" id="{84FB7ED1-A2DF-40A1-A747-5F7CF3F14040}"/>
                        </a:ext>
                      </a:extLst>
                    </p:cNvPr>
                    <p:cNvGrpSpPr/>
                    <p:nvPr/>
                  </p:nvGrpSpPr>
                  <p:grpSpPr>
                    <a:xfrm>
                      <a:off x="5656919" y="3712808"/>
                      <a:ext cx="1381" cy="1758"/>
                      <a:chOff x="5656919" y="3712808"/>
                      <a:chExt cx="1381" cy="1758"/>
                    </a:xfrm>
                    <a:solidFill>
                      <a:srgbClr val="63656A"/>
                    </a:solidFill>
                  </p:grpSpPr>
                  <p:sp>
                    <p:nvSpPr>
                      <p:cNvPr id="3019" name="Freeform: Shape 3018">
                        <a:extLst>
                          <a:ext uri="{FF2B5EF4-FFF2-40B4-BE49-F238E27FC236}">
                            <a16:creationId xmlns:a16="http://schemas.microsoft.com/office/drawing/2014/main" id="{EC26053D-2FE0-43DE-93C4-330364952BF0}"/>
                          </a:ext>
                        </a:extLst>
                      </p:cNvPr>
                      <p:cNvSpPr/>
                      <p:nvPr/>
                    </p:nvSpPr>
                    <p:spPr>
                      <a:xfrm>
                        <a:off x="5656919" y="3712808"/>
                        <a:ext cx="1381" cy="1758"/>
                      </a:xfrm>
                      <a:custGeom>
                        <a:avLst/>
                        <a:gdLst>
                          <a:gd name="connsiteX0" fmla="*/ 0 w 1381"/>
                          <a:gd name="connsiteY0" fmla="*/ 1256 h 1758"/>
                          <a:gd name="connsiteX1" fmla="*/ 377 w 1381"/>
                          <a:gd name="connsiteY1" fmla="*/ 377 h 1758"/>
                          <a:gd name="connsiteX2" fmla="*/ 1005 w 1381"/>
                          <a:gd name="connsiteY2" fmla="*/ 0 h 1758"/>
                          <a:gd name="connsiteX3" fmla="*/ 1382 w 1381"/>
                          <a:gd name="connsiteY3" fmla="*/ 502 h 1758"/>
                          <a:gd name="connsiteX4" fmla="*/ 1005 w 1381"/>
                          <a:gd name="connsiteY4" fmla="*/ 1382 h 1758"/>
                          <a:gd name="connsiteX5" fmla="*/ 377 w 1381"/>
                          <a:gd name="connsiteY5" fmla="*/ 1758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0" y="1256"/>
                            </a:moveTo>
                            <a:lnTo>
                              <a:pt x="377" y="377"/>
                            </a:lnTo>
                            <a:lnTo>
                              <a:pt x="1005" y="0"/>
                            </a:lnTo>
                            <a:lnTo>
                              <a:pt x="1382" y="502"/>
                            </a:lnTo>
                            <a:lnTo>
                              <a:pt x="1005" y="1382"/>
                            </a:lnTo>
                            <a:lnTo>
                              <a:pt x="377" y="175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20" name="Freeform: Shape 3019">
                        <a:extLst>
                          <a:ext uri="{FF2B5EF4-FFF2-40B4-BE49-F238E27FC236}">
                            <a16:creationId xmlns:a16="http://schemas.microsoft.com/office/drawing/2014/main" id="{BA02B320-038C-420B-846E-3DDF80A2E4EE}"/>
                          </a:ext>
                        </a:extLst>
                      </p:cNvPr>
                      <p:cNvSpPr/>
                      <p:nvPr/>
                    </p:nvSpPr>
                    <p:spPr>
                      <a:xfrm>
                        <a:off x="5656919" y="3712934"/>
                        <a:ext cx="1256" cy="1507"/>
                      </a:xfrm>
                      <a:custGeom>
                        <a:avLst/>
                        <a:gdLst>
                          <a:gd name="connsiteX0" fmla="*/ 0 w 1256"/>
                          <a:gd name="connsiteY0" fmla="*/ 1130 h 1507"/>
                          <a:gd name="connsiteX1" fmla="*/ 377 w 1256"/>
                          <a:gd name="connsiteY1" fmla="*/ 251 h 1507"/>
                          <a:gd name="connsiteX2" fmla="*/ 879 w 1256"/>
                          <a:gd name="connsiteY2" fmla="*/ 0 h 1507"/>
                          <a:gd name="connsiteX3" fmla="*/ 1256 w 1256"/>
                          <a:gd name="connsiteY3" fmla="*/ 377 h 1507"/>
                          <a:gd name="connsiteX4" fmla="*/ 879 w 1256"/>
                          <a:gd name="connsiteY4" fmla="*/ 1256 h 1507"/>
                          <a:gd name="connsiteX5" fmla="*/ 377 w 1256"/>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0" y="1130"/>
                            </a:moveTo>
                            <a:lnTo>
                              <a:pt x="377" y="251"/>
                            </a:lnTo>
                            <a:lnTo>
                              <a:pt x="879" y="0"/>
                            </a:lnTo>
                            <a:lnTo>
                              <a:pt x="1256" y="377"/>
                            </a:lnTo>
                            <a:lnTo>
                              <a:pt x="879" y="1256"/>
                            </a:lnTo>
                            <a:lnTo>
                              <a:pt x="377"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21" name="Graphic 4">
                      <a:extLst>
                        <a:ext uri="{FF2B5EF4-FFF2-40B4-BE49-F238E27FC236}">
                          <a16:creationId xmlns:a16="http://schemas.microsoft.com/office/drawing/2014/main" id="{84FB7ED1-A2DF-40A1-A747-5F7CF3F14040}"/>
                        </a:ext>
                      </a:extLst>
                    </p:cNvPr>
                    <p:cNvGrpSpPr/>
                    <p:nvPr/>
                  </p:nvGrpSpPr>
                  <p:grpSpPr>
                    <a:xfrm>
                      <a:off x="5655788" y="3712180"/>
                      <a:ext cx="1256" cy="1507"/>
                      <a:chOff x="5655788" y="3712180"/>
                      <a:chExt cx="1256" cy="1507"/>
                    </a:xfrm>
                    <a:solidFill>
                      <a:srgbClr val="63656A"/>
                    </a:solidFill>
                  </p:grpSpPr>
                  <p:sp>
                    <p:nvSpPr>
                      <p:cNvPr id="3022" name="Freeform: Shape 3021">
                        <a:extLst>
                          <a:ext uri="{FF2B5EF4-FFF2-40B4-BE49-F238E27FC236}">
                            <a16:creationId xmlns:a16="http://schemas.microsoft.com/office/drawing/2014/main" id="{A0BBD04E-9647-4FAD-B818-572B0D0F63E2}"/>
                          </a:ext>
                        </a:extLst>
                      </p:cNvPr>
                      <p:cNvSpPr/>
                      <p:nvPr/>
                    </p:nvSpPr>
                    <p:spPr>
                      <a:xfrm>
                        <a:off x="5655788" y="3712180"/>
                        <a:ext cx="1256" cy="1507"/>
                      </a:xfrm>
                      <a:custGeom>
                        <a:avLst/>
                        <a:gdLst>
                          <a:gd name="connsiteX0" fmla="*/ 0 w 1256"/>
                          <a:gd name="connsiteY0" fmla="*/ 1507 h 1507"/>
                          <a:gd name="connsiteX1" fmla="*/ 0 w 1256"/>
                          <a:gd name="connsiteY1" fmla="*/ 754 h 1507"/>
                          <a:gd name="connsiteX2" fmla="*/ 628 w 1256"/>
                          <a:gd name="connsiteY2" fmla="*/ 0 h 1507"/>
                          <a:gd name="connsiteX3" fmla="*/ 1256 w 1256"/>
                          <a:gd name="connsiteY3" fmla="*/ 126 h 1507"/>
                          <a:gd name="connsiteX4" fmla="*/ 1256 w 1256"/>
                          <a:gd name="connsiteY4" fmla="*/ 879 h 1507"/>
                          <a:gd name="connsiteX5" fmla="*/ 628 w 1256"/>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0" y="1507"/>
                            </a:moveTo>
                            <a:lnTo>
                              <a:pt x="0" y="754"/>
                            </a:lnTo>
                            <a:lnTo>
                              <a:pt x="628" y="0"/>
                            </a:lnTo>
                            <a:lnTo>
                              <a:pt x="1256" y="126"/>
                            </a:lnTo>
                            <a:lnTo>
                              <a:pt x="1256" y="879"/>
                            </a:lnTo>
                            <a:lnTo>
                              <a:pt x="628"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23" name="Freeform: Shape 3022">
                        <a:extLst>
                          <a:ext uri="{FF2B5EF4-FFF2-40B4-BE49-F238E27FC236}">
                            <a16:creationId xmlns:a16="http://schemas.microsoft.com/office/drawing/2014/main" id="{B21EA952-C320-4860-8E83-1AB87F2E14E8}"/>
                          </a:ext>
                        </a:extLst>
                      </p:cNvPr>
                      <p:cNvSpPr/>
                      <p:nvPr/>
                    </p:nvSpPr>
                    <p:spPr>
                      <a:xfrm>
                        <a:off x="5655788" y="3712306"/>
                        <a:ext cx="1130" cy="1381"/>
                      </a:xfrm>
                      <a:custGeom>
                        <a:avLst/>
                        <a:gdLst>
                          <a:gd name="connsiteX0" fmla="*/ 0 w 1130"/>
                          <a:gd name="connsiteY0" fmla="*/ 1382 h 1381"/>
                          <a:gd name="connsiteX1" fmla="*/ 0 w 1130"/>
                          <a:gd name="connsiteY1" fmla="*/ 628 h 1381"/>
                          <a:gd name="connsiteX2" fmla="*/ 502 w 1130"/>
                          <a:gd name="connsiteY2" fmla="*/ 0 h 1381"/>
                          <a:gd name="connsiteX3" fmla="*/ 1130 w 1130"/>
                          <a:gd name="connsiteY3" fmla="*/ 0 h 1381"/>
                          <a:gd name="connsiteX4" fmla="*/ 1130 w 1130"/>
                          <a:gd name="connsiteY4" fmla="*/ 754 h 1381"/>
                          <a:gd name="connsiteX5" fmla="*/ 502 w 1130"/>
                          <a:gd name="connsiteY5" fmla="*/ 1382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0" y="1382"/>
                            </a:moveTo>
                            <a:lnTo>
                              <a:pt x="0" y="628"/>
                            </a:lnTo>
                            <a:lnTo>
                              <a:pt x="502" y="0"/>
                            </a:lnTo>
                            <a:lnTo>
                              <a:pt x="1130" y="0"/>
                            </a:lnTo>
                            <a:lnTo>
                              <a:pt x="1130" y="754"/>
                            </a:lnTo>
                            <a:lnTo>
                              <a:pt x="502"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24" name="Graphic 4">
                    <a:extLst>
                      <a:ext uri="{FF2B5EF4-FFF2-40B4-BE49-F238E27FC236}">
                        <a16:creationId xmlns:a16="http://schemas.microsoft.com/office/drawing/2014/main" id="{84FB7ED1-A2DF-40A1-A747-5F7CF3F14040}"/>
                      </a:ext>
                    </a:extLst>
                  </p:cNvPr>
                  <p:cNvGrpSpPr/>
                  <p:nvPr/>
                </p:nvGrpSpPr>
                <p:grpSpPr>
                  <a:xfrm>
                    <a:off x="5652648" y="3714567"/>
                    <a:ext cx="4144" cy="5149"/>
                    <a:chOff x="5652648" y="3714567"/>
                    <a:chExt cx="4144" cy="5149"/>
                  </a:xfrm>
                  <a:solidFill>
                    <a:srgbClr val="B1B6BE"/>
                  </a:solidFill>
                </p:grpSpPr>
                <p:grpSp>
                  <p:nvGrpSpPr>
                    <p:cNvPr id="3025" name="Graphic 4">
                      <a:extLst>
                        <a:ext uri="{FF2B5EF4-FFF2-40B4-BE49-F238E27FC236}">
                          <a16:creationId xmlns:a16="http://schemas.microsoft.com/office/drawing/2014/main" id="{84FB7ED1-A2DF-40A1-A747-5F7CF3F14040}"/>
                        </a:ext>
                      </a:extLst>
                    </p:cNvPr>
                    <p:cNvGrpSpPr/>
                    <p:nvPr/>
                  </p:nvGrpSpPr>
                  <p:grpSpPr>
                    <a:xfrm>
                      <a:off x="5654407" y="3714692"/>
                      <a:ext cx="627" cy="879"/>
                      <a:chOff x="5654407" y="3714692"/>
                      <a:chExt cx="627" cy="879"/>
                    </a:xfrm>
                    <a:solidFill>
                      <a:srgbClr val="B1B6BE"/>
                    </a:solidFill>
                  </p:grpSpPr>
                  <p:sp>
                    <p:nvSpPr>
                      <p:cNvPr id="3026" name="Freeform: Shape 3025">
                        <a:extLst>
                          <a:ext uri="{FF2B5EF4-FFF2-40B4-BE49-F238E27FC236}">
                            <a16:creationId xmlns:a16="http://schemas.microsoft.com/office/drawing/2014/main" id="{52337E4A-082B-44D0-8681-B43F023AE458}"/>
                          </a:ext>
                        </a:extLst>
                      </p:cNvPr>
                      <p:cNvSpPr/>
                      <p:nvPr/>
                    </p:nvSpPr>
                    <p:spPr>
                      <a:xfrm>
                        <a:off x="5654407" y="3714692"/>
                        <a:ext cx="627" cy="879"/>
                      </a:xfrm>
                      <a:custGeom>
                        <a:avLst/>
                        <a:gdLst>
                          <a:gd name="connsiteX0" fmla="*/ 126 w 627"/>
                          <a:gd name="connsiteY0" fmla="*/ 879 h 879"/>
                          <a:gd name="connsiteX1" fmla="*/ 0 w 627"/>
                          <a:gd name="connsiteY1" fmla="*/ 628 h 879"/>
                          <a:gd name="connsiteX2" fmla="*/ 126 w 627"/>
                          <a:gd name="connsiteY2" fmla="*/ 251 h 879"/>
                          <a:gd name="connsiteX3" fmla="*/ 502 w 627"/>
                          <a:gd name="connsiteY3" fmla="*/ 0 h 879"/>
                          <a:gd name="connsiteX4" fmla="*/ 628 w 627"/>
                          <a:gd name="connsiteY4" fmla="*/ 251 h 879"/>
                          <a:gd name="connsiteX5" fmla="*/ 502 w 627"/>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126" y="879"/>
                            </a:moveTo>
                            <a:lnTo>
                              <a:pt x="0" y="628"/>
                            </a:lnTo>
                            <a:lnTo>
                              <a:pt x="126" y="251"/>
                            </a:lnTo>
                            <a:lnTo>
                              <a:pt x="502" y="0"/>
                            </a:lnTo>
                            <a:lnTo>
                              <a:pt x="628" y="251"/>
                            </a:lnTo>
                            <a:lnTo>
                              <a:pt x="502"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27" name="Freeform: Shape 3026">
                        <a:extLst>
                          <a:ext uri="{FF2B5EF4-FFF2-40B4-BE49-F238E27FC236}">
                            <a16:creationId xmlns:a16="http://schemas.microsoft.com/office/drawing/2014/main" id="{2EC1B3A0-D2BA-48E0-99D9-8EC0E7ECFF38}"/>
                          </a:ext>
                        </a:extLst>
                      </p:cNvPr>
                      <p:cNvSpPr/>
                      <p:nvPr/>
                    </p:nvSpPr>
                    <p:spPr>
                      <a:xfrm>
                        <a:off x="5654407" y="3714818"/>
                        <a:ext cx="627" cy="753"/>
                      </a:xfrm>
                      <a:custGeom>
                        <a:avLst/>
                        <a:gdLst>
                          <a:gd name="connsiteX0" fmla="*/ 126 w 627"/>
                          <a:gd name="connsiteY0" fmla="*/ 754 h 753"/>
                          <a:gd name="connsiteX1" fmla="*/ 0 w 627"/>
                          <a:gd name="connsiteY1" fmla="*/ 628 h 753"/>
                          <a:gd name="connsiteX2" fmla="*/ 126 w 627"/>
                          <a:gd name="connsiteY2" fmla="*/ 126 h 753"/>
                          <a:gd name="connsiteX3" fmla="*/ 502 w 627"/>
                          <a:gd name="connsiteY3" fmla="*/ 0 h 753"/>
                          <a:gd name="connsiteX4" fmla="*/ 628 w 627"/>
                          <a:gd name="connsiteY4" fmla="*/ 251 h 753"/>
                          <a:gd name="connsiteX5" fmla="*/ 502 w 627"/>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126" y="754"/>
                            </a:moveTo>
                            <a:lnTo>
                              <a:pt x="0" y="628"/>
                            </a:lnTo>
                            <a:lnTo>
                              <a:pt x="126" y="126"/>
                            </a:lnTo>
                            <a:lnTo>
                              <a:pt x="502" y="0"/>
                            </a:lnTo>
                            <a:lnTo>
                              <a:pt x="628" y="251"/>
                            </a:lnTo>
                            <a:lnTo>
                              <a:pt x="502"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28" name="Graphic 4">
                      <a:extLst>
                        <a:ext uri="{FF2B5EF4-FFF2-40B4-BE49-F238E27FC236}">
                          <a16:creationId xmlns:a16="http://schemas.microsoft.com/office/drawing/2014/main" id="{84FB7ED1-A2DF-40A1-A747-5F7CF3F14040}"/>
                        </a:ext>
                      </a:extLst>
                    </p:cNvPr>
                    <p:cNvGrpSpPr/>
                    <p:nvPr/>
                  </p:nvGrpSpPr>
                  <p:grpSpPr>
                    <a:xfrm>
                      <a:off x="5653528" y="3715572"/>
                      <a:ext cx="627" cy="753"/>
                      <a:chOff x="5653528" y="3715572"/>
                      <a:chExt cx="627" cy="753"/>
                    </a:xfrm>
                    <a:solidFill>
                      <a:srgbClr val="B1B6BE"/>
                    </a:solidFill>
                  </p:grpSpPr>
                  <p:sp>
                    <p:nvSpPr>
                      <p:cNvPr id="3029" name="Freeform: Shape 3028">
                        <a:extLst>
                          <a:ext uri="{FF2B5EF4-FFF2-40B4-BE49-F238E27FC236}">
                            <a16:creationId xmlns:a16="http://schemas.microsoft.com/office/drawing/2014/main" id="{35394A30-418E-4C2D-B716-F6575F77E11D}"/>
                          </a:ext>
                        </a:extLst>
                      </p:cNvPr>
                      <p:cNvSpPr/>
                      <p:nvPr/>
                    </p:nvSpPr>
                    <p:spPr>
                      <a:xfrm>
                        <a:off x="5653528" y="3715572"/>
                        <a:ext cx="627" cy="753"/>
                      </a:xfrm>
                      <a:custGeom>
                        <a:avLst/>
                        <a:gdLst>
                          <a:gd name="connsiteX0" fmla="*/ 377 w 627"/>
                          <a:gd name="connsiteY0" fmla="*/ 754 h 753"/>
                          <a:gd name="connsiteX1" fmla="*/ 0 w 627"/>
                          <a:gd name="connsiteY1" fmla="*/ 754 h 753"/>
                          <a:gd name="connsiteX2" fmla="*/ 0 w 627"/>
                          <a:gd name="connsiteY2" fmla="*/ 377 h 753"/>
                          <a:gd name="connsiteX3" fmla="*/ 377 w 627"/>
                          <a:gd name="connsiteY3" fmla="*/ 0 h 753"/>
                          <a:gd name="connsiteX4" fmla="*/ 628 w 627"/>
                          <a:gd name="connsiteY4" fmla="*/ 0 h 753"/>
                          <a:gd name="connsiteX5" fmla="*/ 628 w 627"/>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0" name="Freeform: Shape 3029">
                        <a:extLst>
                          <a:ext uri="{FF2B5EF4-FFF2-40B4-BE49-F238E27FC236}">
                            <a16:creationId xmlns:a16="http://schemas.microsoft.com/office/drawing/2014/main" id="{FFA5E368-331A-4FEE-B3B5-3B2D22A928DD}"/>
                          </a:ext>
                        </a:extLst>
                      </p:cNvPr>
                      <p:cNvSpPr/>
                      <p:nvPr/>
                    </p:nvSpPr>
                    <p:spPr>
                      <a:xfrm>
                        <a:off x="5653528" y="3715572"/>
                        <a:ext cx="627" cy="753"/>
                      </a:xfrm>
                      <a:custGeom>
                        <a:avLst/>
                        <a:gdLst>
                          <a:gd name="connsiteX0" fmla="*/ 377 w 627"/>
                          <a:gd name="connsiteY0" fmla="*/ 754 h 753"/>
                          <a:gd name="connsiteX1" fmla="*/ 0 w 627"/>
                          <a:gd name="connsiteY1" fmla="*/ 754 h 753"/>
                          <a:gd name="connsiteX2" fmla="*/ 0 w 627"/>
                          <a:gd name="connsiteY2" fmla="*/ 377 h 753"/>
                          <a:gd name="connsiteX3" fmla="*/ 377 w 627"/>
                          <a:gd name="connsiteY3" fmla="*/ 0 h 753"/>
                          <a:gd name="connsiteX4" fmla="*/ 628 w 627"/>
                          <a:gd name="connsiteY4" fmla="*/ 0 h 753"/>
                          <a:gd name="connsiteX5" fmla="*/ 628 w 627"/>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31" name="Graphic 4">
                      <a:extLst>
                        <a:ext uri="{FF2B5EF4-FFF2-40B4-BE49-F238E27FC236}">
                          <a16:creationId xmlns:a16="http://schemas.microsoft.com/office/drawing/2014/main" id="{84FB7ED1-A2DF-40A1-A747-5F7CF3F14040}"/>
                        </a:ext>
                      </a:extLst>
                    </p:cNvPr>
                    <p:cNvGrpSpPr/>
                    <p:nvPr/>
                  </p:nvGrpSpPr>
                  <p:grpSpPr>
                    <a:xfrm>
                      <a:off x="5652900" y="3716576"/>
                      <a:ext cx="753" cy="879"/>
                      <a:chOff x="5652900" y="3716576"/>
                      <a:chExt cx="753" cy="879"/>
                    </a:xfrm>
                    <a:solidFill>
                      <a:srgbClr val="B1B6BE"/>
                    </a:solidFill>
                  </p:grpSpPr>
                  <p:sp>
                    <p:nvSpPr>
                      <p:cNvPr id="3032" name="Freeform: Shape 3031">
                        <a:extLst>
                          <a:ext uri="{FF2B5EF4-FFF2-40B4-BE49-F238E27FC236}">
                            <a16:creationId xmlns:a16="http://schemas.microsoft.com/office/drawing/2014/main" id="{7A98C867-648C-4317-9DA5-760010FC6303}"/>
                          </a:ext>
                        </a:extLst>
                      </p:cNvPr>
                      <p:cNvSpPr/>
                      <p:nvPr/>
                    </p:nvSpPr>
                    <p:spPr>
                      <a:xfrm>
                        <a:off x="5652900" y="3716576"/>
                        <a:ext cx="753" cy="879"/>
                      </a:xfrm>
                      <a:custGeom>
                        <a:avLst/>
                        <a:gdLst>
                          <a:gd name="connsiteX0" fmla="*/ 502 w 753"/>
                          <a:gd name="connsiteY0" fmla="*/ 628 h 879"/>
                          <a:gd name="connsiteX1" fmla="*/ 125 w 753"/>
                          <a:gd name="connsiteY1" fmla="*/ 879 h 879"/>
                          <a:gd name="connsiteX2" fmla="*/ 0 w 753"/>
                          <a:gd name="connsiteY2" fmla="*/ 628 h 879"/>
                          <a:gd name="connsiteX3" fmla="*/ 125 w 753"/>
                          <a:gd name="connsiteY3" fmla="*/ 126 h 879"/>
                          <a:gd name="connsiteX4" fmla="*/ 502 w 753"/>
                          <a:gd name="connsiteY4" fmla="*/ 0 h 879"/>
                          <a:gd name="connsiteX5" fmla="*/ 754 w 753"/>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502" y="628"/>
                            </a:moveTo>
                            <a:lnTo>
                              <a:pt x="125" y="879"/>
                            </a:lnTo>
                            <a:lnTo>
                              <a:pt x="0" y="628"/>
                            </a:lnTo>
                            <a:lnTo>
                              <a:pt x="125" y="126"/>
                            </a:lnTo>
                            <a:lnTo>
                              <a:pt x="502" y="0"/>
                            </a:lnTo>
                            <a:lnTo>
                              <a:pt x="754"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3" name="Freeform: Shape 3032">
                        <a:extLst>
                          <a:ext uri="{FF2B5EF4-FFF2-40B4-BE49-F238E27FC236}">
                            <a16:creationId xmlns:a16="http://schemas.microsoft.com/office/drawing/2014/main" id="{CFC9012E-D69F-4986-959C-7061C39A6711}"/>
                          </a:ext>
                        </a:extLst>
                      </p:cNvPr>
                      <p:cNvSpPr/>
                      <p:nvPr/>
                    </p:nvSpPr>
                    <p:spPr>
                      <a:xfrm>
                        <a:off x="5652900" y="3716576"/>
                        <a:ext cx="627" cy="879"/>
                      </a:xfrm>
                      <a:custGeom>
                        <a:avLst/>
                        <a:gdLst>
                          <a:gd name="connsiteX0" fmla="*/ 502 w 627"/>
                          <a:gd name="connsiteY0" fmla="*/ 754 h 879"/>
                          <a:gd name="connsiteX1" fmla="*/ 125 w 627"/>
                          <a:gd name="connsiteY1" fmla="*/ 879 h 879"/>
                          <a:gd name="connsiteX2" fmla="*/ 0 w 627"/>
                          <a:gd name="connsiteY2" fmla="*/ 628 h 879"/>
                          <a:gd name="connsiteX3" fmla="*/ 125 w 627"/>
                          <a:gd name="connsiteY3" fmla="*/ 251 h 879"/>
                          <a:gd name="connsiteX4" fmla="*/ 502 w 627"/>
                          <a:gd name="connsiteY4" fmla="*/ 0 h 879"/>
                          <a:gd name="connsiteX5" fmla="*/ 628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754"/>
                            </a:moveTo>
                            <a:lnTo>
                              <a:pt x="125" y="879"/>
                            </a:lnTo>
                            <a:lnTo>
                              <a:pt x="0" y="628"/>
                            </a:lnTo>
                            <a:lnTo>
                              <a:pt x="125" y="251"/>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34" name="Graphic 4">
                      <a:extLst>
                        <a:ext uri="{FF2B5EF4-FFF2-40B4-BE49-F238E27FC236}">
                          <a16:creationId xmlns:a16="http://schemas.microsoft.com/office/drawing/2014/main" id="{84FB7ED1-A2DF-40A1-A747-5F7CF3F14040}"/>
                        </a:ext>
                      </a:extLst>
                    </p:cNvPr>
                    <p:cNvGrpSpPr/>
                    <p:nvPr/>
                  </p:nvGrpSpPr>
                  <p:grpSpPr>
                    <a:xfrm>
                      <a:off x="5652648" y="3717707"/>
                      <a:ext cx="628" cy="879"/>
                      <a:chOff x="5652648" y="3717707"/>
                      <a:chExt cx="628" cy="879"/>
                    </a:xfrm>
                    <a:solidFill>
                      <a:srgbClr val="B1B6BE"/>
                    </a:solidFill>
                  </p:grpSpPr>
                  <p:sp>
                    <p:nvSpPr>
                      <p:cNvPr id="3035" name="Freeform: Shape 3034">
                        <a:extLst>
                          <a:ext uri="{FF2B5EF4-FFF2-40B4-BE49-F238E27FC236}">
                            <a16:creationId xmlns:a16="http://schemas.microsoft.com/office/drawing/2014/main" id="{61916EB8-E405-40F7-AA1E-0AA777016332}"/>
                          </a:ext>
                        </a:extLst>
                      </p:cNvPr>
                      <p:cNvSpPr/>
                      <p:nvPr/>
                    </p:nvSpPr>
                    <p:spPr>
                      <a:xfrm>
                        <a:off x="5652648" y="3717707"/>
                        <a:ext cx="628" cy="879"/>
                      </a:xfrm>
                      <a:custGeom>
                        <a:avLst/>
                        <a:gdLst>
                          <a:gd name="connsiteX0" fmla="*/ 628 w 628"/>
                          <a:gd name="connsiteY0" fmla="*/ 502 h 879"/>
                          <a:gd name="connsiteX1" fmla="*/ 377 w 628"/>
                          <a:gd name="connsiteY1" fmla="*/ 879 h 879"/>
                          <a:gd name="connsiteX2" fmla="*/ 0 w 628"/>
                          <a:gd name="connsiteY2" fmla="*/ 754 h 879"/>
                          <a:gd name="connsiteX3" fmla="*/ 0 w 628"/>
                          <a:gd name="connsiteY3" fmla="*/ 377 h 879"/>
                          <a:gd name="connsiteX4" fmla="*/ 377 w 628"/>
                          <a:gd name="connsiteY4" fmla="*/ 0 h 879"/>
                          <a:gd name="connsiteX5" fmla="*/ 628 w 628"/>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628" y="502"/>
                            </a:moveTo>
                            <a:lnTo>
                              <a:pt x="377" y="879"/>
                            </a:lnTo>
                            <a:lnTo>
                              <a:pt x="0" y="754"/>
                            </a:lnTo>
                            <a:lnTo>
                              <a:pt x="0" y="377"/>
                            </a:lnTo>
                            <a:lnTo>
                              <a:pt x="377"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6" name="Freeform: Shape 3035">
                        <a:extLst>
                          <a:ext uri="{FF2B5EF4-FFF2-40B4-BE49-F238E27FC236}">
                            <a16:creationId xmlns:a16="http://schemas.microsoft.com/office/drawing/2014/main" id="{49619EDA-87A6-43D0-B266-70717CD9ED3B}"/>
                          </a:ext>
                        </a:extLst>
                      </p:cNvPr>
                      <p:cNvSpPr/>
                      <p:nvPr/>
                    </p:nvSpPr>
                    <p:spPr>
                      <a:xfrm>
                        <a:off x="5652774" y="3717832"/>
                        <a:ext cx="502" cy="628"/>
                      </a:xfrm>
                      <a:custGeom>
                        <a:avLst/>
                        <a:gdLst>
                          <a:gd name="connsiteX0" fmla="*/ 502 w 502"/>
                          <a:gd name="connsiteY0" fmla="*/ 377 h 628"/>
                          <a:gd name="connsiteX1" fmla="*/ 251 w 502"/>
                          <a:gd name="connsiteY1" fmla="*/ 628 h 628"/>
                          <a:gd name="connsiteX2" fmla="*/ 0 w 502"/>
                          <a:gd name="connsiteY2" fmla="*/ 628 h 628"/>
                          <a:gd name="connsiteX3" fmla="*/ 0 w 502"/>
                          <a:gd name="connsiteY3" fmla="*/ 251 h 628"/>
                          <a:gd name="connsiteX4" fmla="*/ 251 w 502"/>
                          <a:gd name="connsiteY4" fmla="*/ 0 h 628"/>
                          <a:gd name="connsiteX5" fmla="*/ 502 w 502"/>
                          <a:gd name="connsiteY5" fmla="*/ 0 h 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628">
                            <a:moveTo>
                              <a:pt x="502" y="377"/>
                            </a:moveTo>
                            <a:lnTo>
                              <a:pt x="251" y="628"/>
                            </a:lnTo>
                            <a:lnTo>
                              <a:pt x="0" y="628"/>
                            </a:lnTo>
                            <a:lnTo>
                              <a:pt x="0" y="251"/>
                            </a:lnTo>
                            <a:lnTo>
                              <a:pt x="251" y="0"/>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37" name="Graphic 4">
                      <a:extLst>
                        <a:ext uri="{FF2B5EF4-FFF2-40B4-BE49-F238E27FC236}">
                          <a16:creationId xmlns:a16="http://schemas.microsoft.com/office/drawing/2014/main" id="{84FB7ED1-A2DF-40A1-A747-5F7CF3F14040}"/>
                        </a:ext>
                      </a:extLst>
                    </p:cNvPr>
                    <p:cNvGrpSpPr/>
                    <p:nvPr/>
                  </p:nvGrpSpPr>
                  <p:grpSpPr>
                    <a:xfrm>
                      <a:off x="5652900" y="3718586"/>
                      <a:ext cx="627" cy="879"/>
                      <a:chOff x="5652900" y="3718586"/>
                      <a:chExt cx="627" cy="879"/>
                    </a:xfrm>
                    <a:solidFill>
                      <a:srgbClr val="B1B6BE"/>
                    </a:solidFill>
                  </p:grpSpPr>
                  <p:sp>
                    <p:nvSpPr>
                      <p:cNvPr id="3038" name="Freeform: Shape 3037">
                        <a:extLst>
                          <a:ext uri="{FF2B5EF4-FFF2-40B4-BE49-F238E27FC236}">
                            <a16:creationId xmlns:a16="http://schemas.microsoft.com/office/drawing/2014/main" id="{BFFD00F7-2940-4795-A813-611A2040611A}"/>
                          </a:ext>
                        </a:extLst>
                      </p:cNvPr>
                      <p:cNvSpPr/>
                      <p:nvPr/>
                    </p:nvSpPr>
                    <p:spPr>
                      <a:xfrm>
                        <a:off x="5652900" y="3718586"/>
                        <a:ext cx="627" cy="879"/>
                      </a:xfrm>
                      <a:custGeom>
                        <a:avLst/>
                        <a:gdLst>
                          <a:gd name="connsiteX0" fmla="*/ 628 w 627"/>
                          <a:gd name="connsiteY0" fmla="*/ 251 h 879"/>
                          <a:gd name="connsiteX1" fmla="*/ 502 w 627"/>
                          <a:gd name="connsiteY1" fmla="*/ 628 h 879"/>
                          <a:gd name="connsiteX2" fmla="*/ 125 w 627"/>
                          <a:gd name="connsiteY2" fmla="*/ 879 h 879"/>
                          <a:gd name="connsiteX3" fmla="*/ 0 w 627"/>
                          <a:gd name="connsiteY3" fmla="*/ 628 h 879"/>
                          <a:gd name="connsiteX4" fmla="*/ 125 w 627"/>
                          <a:gd name="connsiteY4" fmla="*/ 126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5" y="879"/>
                            </a:lnTo>
                            <a:lnTo>
                              <a:pt x="0" y="628"/>
                            </a:lnTo>
                            <a:lnTo>
                              <a:pt x="125"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9" name="Freeform: Shape 3038">
                        <a:extLst>
                          <a:ext uri="{FF2B5EF4-FFF2-40B4-BE49-F238E27FC236}">
                            <a16:creationId xmlns:a16="http://schemas.microsoft.com/office/drawing/2014/main" id="{D6892951-323E-4079-81BB-A543D5F153B1}"/>
                          </a:ext>
                        </a:extLst>
                      </p:cNvPr>
                      <p:cNvSpPr/>
                      <p:nvPr/>
                    </p:nvSpPr>
                    <p:spPr>
                      <a:xfrm>
                        <a:off x="5652900" y="3718586"/>
                        <a:ext cx="627" cy="879"/>
                      </a:xfrm>
                      <a:custGeom>
                        <a:avLst/>
                        <a:gdLst>
                          <a:gd name="connsiteX0" fmla="*/ 628 w 627"/>
                          <a:gd name="connsiteY0" fmla="*/ 251 h 879"/>
                          <a:gd name="connsiteX1" fmla="*/ 502 w 627"/>
                          <a:gd name="connsiteY1" fmla="*/ 628 h 879"/>
                          <a:gd name="connsiteX2" fmla="*/ 125 w 627"/>
                          <a:gd name="connsiteY2" fmla="*/ 879 h 879"/>
                          <a:gd name="connsiteX3" fmla="*/ 0 w 627"/>
                          <a:gd name="connsiteY3" fmla="*/ 628 h 879"/>
                          <a:gd name="connsiteX4" fmla="*/ 125 w 627"/>
                          <a:gd name="connsiteY4" fmla="*/ 126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5" y="879"/>
                            </a:lnTo>
                            <a:lnTo>
                              <a:pt x="0" y="628"/>
                            </a:lnTo>
                            <a:lnTo>
                              <a:pt x="125"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0" name="Graphic 4">
                      <a:extLst>
                        <a:ext uri="{FF2B5EF4-FFF2-40B4-BE49-F238E27FC236}">
                          <a16:creationId xmlns:a16="http://schemas.microsoft.com/office/drawing/2014/main" id="{84FB7ED1-A2DF-40A1-A747-5F7CF3F14040}"/>
                        </a:ext>
                      </a:extLst>
                    </p:cNvPr>
                    <p:cNvGrpSpPr/>
                    <p:nvPr/>
                  </p:nvGrpSpPr>
                  <p:grpSpPr>
                    <a:xfrm>
                      <a:off x="5653528" y="3718963"/>
                      <a:ext cx="627" cy="753"/>
                      <a:chOff x="5653528" y="3718963"/>
                      <a:chExt cx="627" cy="753"/>
                    </a:xfrm>
                    <a:solidFill>
                      <a:srgbClr val="B1B6BE"/>
                    </a:solidFill>
                  </p:grpSpPr>
                  <p:sp>
                    <p:nvSpPr>
                      <p:cNvPr id="3041" name="Freeform: Shape 3040">
                        <a:extLst>
                          <a:ext uri="{FF2B5EF4-FFF2-40B4-BE49-F238E27FC236}">
                            <a16:creationId xmlns:a16="http://schemas.microsoft.com/office/drawing/2014/main" id="{762CFBA3-0555-42A7-BE54-2DBD6F79D6AF}"/>
                          </a:ext>
                        </a:extLst>
                      </p:cNvPr>
                      <p:cNvSpPr/>
                      <p:nvPr/>
                    </p:nvSpPr>
                    <p:spPr>
                      <a:xfrm>
                        <a:off x="5653528" y="3718963"/>
                        <a:ext cx="627" cy="753"/>
                      </a:xfrm>
                      <a:custGeom>
                        <a:avLst/>
                        <a:gdLst>
                          <a:gd name="connsiteX0" fmla="*/ 628 w 627"/>
                          <a:gd name="connsiteY0" fmla="*/ 0 h 753"/>
                          <a:gd name="connsiteX1" fmla="*/ 628 w 627"/>
                          <a:gd name="connsiteY1" fmla="*/ 377 h 753"/>
                          <a:gd name="connsiteX2" fmla="*/ 251 w 627"/>
                          <a:gd name="connsiteY2" fmla="*/ 754 h 753"/>
                          <a:gd name="connsiteX3" fmla="*/ 0 w 627"/>
                          <a:gd name="connsiteY3" fmla="*/ 754 h 753"/>
                          <a:gd name="connsiteX4" fmla="*/ 0 w 627"/>
                          <a:gd name="connsiteY4" fmla="*/ 377 h 753"/>
                          <a:gd name="connsiteX5" fmla="*/ 251 w 627"/>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628" y="0"/>
                            </a:moveTo>
                            <a:lnTo>
                              <a:pt x="628" y="377"/>
                            </a:lnTo>
                            <a:lnTo>
                              <a:pt x="251" y="754"/>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42" name="Freeform: Shape 3041">
                        <a:extLst>
                          <a:ext uri="{FF2B5EF4-FFF2-40B4-BE49-F238E27FC236}">
                            <a16:creationId xmlns:a16="http://schemas.microsoft.com/office/drawing/2014/main" id="{6A2D02B0-BA75-409C-89CF-77F96B8F774A}"/>
                          </a:ext>
                        </a:extLst>
                      </p:cNvPr>
                      <p:cNvSpPr/>
                      <p:nvPr/>
                    </p:nvSpPr>
                    <p:spPr>
                      <a:xfrm>
                        <a:off x="5653653" y="3718963"/>
                        <a:ext cx="502" cy="753"/>
                      </a:xfrm>
                      <a:custGeom>
                        <a:avLst/>
                        <a:gdLst>
                          <a:gd name="connsiteX0" fmla="*/ 502 w 502"/>
                          <a:gd name="connsiteY0" fmla="*/ 0 h 753"/>
                          <a:gd name="connsiteX1" fmla="*/ 502 w 502"/>
                          <a:gd name="connsiteY1" fmla="*/ 377 h 753"/>
                          <a:gd name="connsiteX2" fmla="*/ 251 w 502"/>
                          <a:gd name="connsiteY2" fmla="*/ 754 h 753"/>
                          <a:gd name="connsiteX3" fmla="*/ 0 w 502"/>
                          <a:gd name="connsiteY3" fmla="*/ 754 h 753"/>
                          <a:gd name="connsiteX4" fmla="*/ 0 w 502"/>
                          <a:gd name="connsiteY4" fmla="*/ 377 h 753"/>
                          <a:gd name="connsiteX5" fmla="*/ 251 w 502"/>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502" y="0"/>
                            </a:moveTo>
                            <a:lnTo>
                              <a:pt x="502" y="377"/>
                            </a:lnTo>
                            <a:lnTo>
                              <a:pt x="251" y="754"/>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3" name="Graphic 4">
                      <a:extLst>
                        <a:ext uri="{FF2B5EF4-FFF2-40B4-BE49-F238E27FC236}">
                          <a16:creationId xmlns:a16="http://schemas.microsoft.com/office/drawing/2014/main" id="{84FB7ED1-A2DF-40A1-A747-5F7CF3F14040}"/>
                        </a:ext>
                      </a:extLst>
                    </p:cNvPr>
                    <p:cNvGrpSpPr/>
                    <p:nvPr/>
                  </p:nvGrpSpPr>
                  <p:grpSpPr>
                    <a:xfrm>
                      <a:off x="5654281" y="3718711"/>
                      <a:ext cx="753" cy="879"/>
                      <a:chOff x="5654281" y="3718711"/>
                      <a:chExt cx="753" cy="879"/>
                    </a:xfrm>
                    <a:solidFill>
                      <a:srgbClr val="B1B6BE"/>
                    </a:solidFill>
                  </p:grpSpPr>
                  <p:sp>
                    <p:nvSpPr>
                      <p:cNvPr id="3044" name="Freeform: Shape 3043">
                        <a:extLst>
                          <a:ext uri="{FF2B5EF4-FFF2-40B4-BE49-F238E27FC236}">
                            <a16:creationId xmlns:a16="http://schemas.microsoft.com/office/drawing/2014/main" id="{45D9D437-7DFE-4959-8999-3B0873DF5F50}"/>
                          </a:ext>
                        </a:extLst>
                      </p:cNvPr>
                      <p:cNvSpPr/>
                      <p:nvPr/>
                    </p:nvSpPr>
                    <p:spPr>
                      <a:xfrm>
                        <a:off x="5654281" y="3718711"/>
                        <a:ext cx="753" cy="879"/>
                      </a:xfrm>
                      <a:custGeom>
                        <a:avLst/>
                        <a:gdLst>
                          <a:gd name="connsiteX0" fmla="*/ 628 w 753"/>
                          <a:gd name="connsiteY0" fmla="*/ 0 h 879"/>
                          <a:gd name="connsiteX1" fmla="*/ 754 w 753"/>
                          <a:gd name="connsiteY1" fmla="*/ 251 h 879"/>
                          <a:gd name="connsiteX2" fmla="*/ 628 w 753"/>
                          <a:gd name="connsiteY2" fmla="*/ 754 h 879"/>
                          <a:gd name="connsiteX3" fmla="*/ 251 w 753"/>
                          <a:gd name="connsiteY3" fmla="*/ 879 h 879"/>
                          <a:gd name="connsiteX4" fmla="*/ 0 w 753"/>
                          <a:gd name="connsiteY4" fmla="*/ 628 h 879"/>
                          <a:gd name="connsiteX5" fmla="*/ 251 w 753"/>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628" y="0"/>
                            </a:moveTo>
                            <a:lnTo>
                              <a:pt x="754" y="251"/>
                            </a:lnTo>
                            <a:lnTo>
                              <a:pt x="628" y="754"/>
                            </a:lnTo>
                            <a:lnTo>
                              <a:pt x="251" y="879"/>
                            </a:lnTo>
                            <a:lnTo>
                              <a:pt x="0" y="628"/>
                            </a:lnTo>
                            <a:lnTo>
                              <a:pt x="251"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45" name="Freeform: Shape 3044">
                        <a:extLst>
                          <a:ext uri="{FF2B5EF4-FFF2-40B4-BE49-F238E27FC236}">
                            <a16:creationId xmlns:a16="http://schemas.microsoft.com/office/drawing/2014/main" id="{0EEA1E13-E2F5-489E-8339-E3460C17303E}"/>
                          </a:ext>
                        </a:extLst>
                      </p:cNvPr>
                      <p:cNvSpPr/>
                      <p:nvPr/>
                    </p:nvSpPr>
                    <p:spPr>
                      <a:xfrm>
                        <a:off x="5654407" y="3718711"/>
                        <a:ext cx="627" cy="879"/>
                      </a:xfrm>
                      <a:custGeom>
                        <a:avLst/>
                        <a:gdLst>
                          <a:gd name="connsiteX0" fmla="*/ 502 w 627"/>
                          <a:gd name="connsiteY0" fmla="*/ 0 h 879"/>
                          <a:gd name="connsiteX1" fmla="*/ 628 w 627"/>
                          <a:gd name="connsiteY1" fmla="*/ 251 h 879"/>
                          <a:gd name="connsiteX2" fmla="*/ 502 w 627"/>
                          <a:gd name="connsiteY2" fmla="*/ 628 h 879"/>
                          <a:gd name="connsiteX3" fmla="*/ 126 w 627"/>
                          <a:gd name="connsiteY3" fmla="*/ 879 h 879"/>
                          <a:gd name="connsiteX4" fmla="*/ 0 w 627"/>
                          <a:gd name="connsiteY4" fmla="*/ 628 h 879"/>
                          <a:gd name="connsiteX5" fmla="*/ 126 w 627"/>
                          <a:gd name="connsiteY5" fmla="*/ 126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0"/>
                            </a:moveTo>
                            <a:lnTo>
                              <a:pt x="628" y="251"/>
                            </a:lnTo>
                            <a:lnTo>
                              <a:pt x="502" y="628"/>
                            </a:lnTo>
                            <a:lnTo>
                              <a:pt x="126" y="879"/>
                            </a:lnTo>
                            <a:lnTo>
                              <a:pt x="0" y="628"/>
                            </a:lnTo>
                            <a:lnTo>
                              <a:pt x="126"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6" name="Graphic 4">
                      <a:extLst>
                        <a:ext uri="{FF2B5EF4-FFF2-40B4-BE49-F238E27FC236}">
                          <a16:creationId xmlns:a16="http://schemas.microsoft.com/office/drawing/2014/main" id="{84FB7ED1-A2DF-40A1-A747-5F7CF3F14040}"/>
                        </a:ext>
                      </a:extLst>
                    </p:cNvPr>
                    <p:cNvGrpSpPr/>
                    <p:nvPr/>
                  </p:nvGrpSpPr>
                  <p:grpSpPr>
                    <a:xfrm>
                      <a:off x="5655286" y="3717958"/>
                      <a:ext cx="627" cy="879"/>
                      <a:chOff x="5655286" y="3717958"/>
                      <a:chExt cx="627" cy="879"/>
                    </a:xfrm>
                    <a:solidFill>
                      <a:srgbClr val="B1B6BE"/>
                    </a:solidFill>
                  </p:grpSpPr>
                  <p:sp>
                    <p:nvSpPr>
                      <p:cNvPr id="3047" name="Freeform: Shape 3046">
                        <a:extLst>
                          <a:ext uri="{FF2B5EF4-FFF2-40B4-BE49-F238E27FC236}">
                            <a16:creationId xmlns:a16="http://schemas.microsoft.com/office/drawing/2014/main" id="{5E9DC91C-717F-40D6-9481-3EC951653133}"/>
                          </a:ext>
                        </a:extLst>
                      </p:cNvPr>
                      <p:cNvSpPr/>
                      <p:nvPr/>
                    </p:nvSpPr>
                    <p:spPr>
                      <a:xfrm>
                        <a:off x="5655286" y="3717958"/>
                        <a:ext cx="627" cy="879"/>
                      </a:xfrm>
                      <a:custGeom>
                        <a:avLst/>
                        <a:gdLst>
                          <a:gd name="connsiteX0" fmla="*/ 251 w 627"/>
                          <a:gd name="connsiteY0" fmla="*/ 0 h 879"/>
                          <a:gd name="connsiteX1" fmla="*/ 628 w 627"/>
                          <a:gd name="connsiteY1" fmla="*/ 126 h 879"/>
                          <a:gd name="connsiteX2" fmla="*/ 628 w 627"/>
                          <a:gd name="connsiteY2" fmla="*/ 502 h 879"/>
                          <a:gd name="connsiteX3" fmla="*/ 251 w 627"/>
                          <a:gd name="connsiteY3" fmla="*/ 879 h 879"/>
                          <a:gd name="connsiteX4" fmla="*/ 0 w 627"/>
                          <a:gd name="connsiteY4" fmla="*/ 879 h 879"/>
                          <a:gd name="connsiteX5" fmla="*/ 0 w 627"/>
                          <a:gd name="connsiteY5" fmla="*/ 377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251" y="0"/>
                            </a:moveTo>
                            <a:lnTo>
                              <a:pt x="628" y="126"/>
                            </a:lnTo>
                            <a:lnTo>
                              <a:pt x="628" y="502"/>
                            </a:lnTo>
                            <a:lnTo>
                              <a:pt x="251" y="879"/>
                            </a:lnTo>
                            <a:lnTo>
                              <a:pt x="0" y="879"/>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48" name="Freeform: Shape 3047">
                        <a:extLst>
                          <a:ext uri="{FF2B5EF4-FFF2-40B4-BE49-F238E27FC236}">
                            <a16:creationId xmlns:a16="http://schemas.microsoft.com/office/drawing/2014/main" id="{E2DADE96-2324-4EC9-B8B2-F1715398F4BA}"/>
                          </a:ext>
                        </a:extLst>
                      </p:cNvPr>
                      <p:cNvSpPr/>
                      <p:nvPr/>
                    </p:nvSpPr>
                    <p:spPr>
                      <a:xfrm>
                        <a:off x="5655286" y="3717958"/>
                        <a:ext cx="627" cy="753"/>
                      </a:xfrm>
                      <a:custGeom>
                        <a:avLst/>
                        <a:gdLst>
                          <a:gd name="connsiteX0" fmla="*/ 251 w 627"/>
                          <a:gd name="connsiteY0" fmla="*/ 0 h 753"/>
                          <a:gd name="connsiteX1" fmla="*/ 628 w 627"/>
                          <a:gd name="connsiteY1" fmla="*/ 0 h 753"/>
                          <a:gd name="connsiteX2" fmla="*/ 628 w 627"/>
                          <a:gd name="connsiteY2" fmla="*/ 377 h 753"/>
                          <a:gd name="connsiteX3" fmla="*/ 251 w 627"/>
                          <a:gd name="connsiteY3" fmla="*/ 754 h 753"/>
                          <a:gd name="connsiteX4" fmla="*/ 0 w 627"/>
                          <a:gd name="connsiteY4" fmla="*/ 754 h 753"/>
                          <a:gd name="connsiteX5" fmla="*/ 0 w 627"/>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251" y="0"/>
                            </a:moveTo>
                            <a:lnTo>
                              <a:pt x="628" y="0"/>
                            </a:lnTo>
                            <a:lnTo>
                              <a:pt x="628" y="377"/>
                            </a:lnTo>
                            <a:lnTo>
                              <a:pt x="251"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9" name="Graphic 4">
                      <a:extLst>
                        <a:ext uri="{FF2B5EF4-FFF2-40B4-BE49-F238E27FC236}">
                          <a16:creationId xmlns:a16="http://schemas.microsoft.com/office/drawing/2014/main" id="{84FB7ED1-A2DF-40A1-A747-5F7CF3F14040}"/>
                        </a:ext>
                      </a:extLst>
                    </p:cNvPr>
                    <p:cNvGrpSpPr/>
                    <p:nvPr/>
                  </p:nvGrpSpPr>
                  <p:grpSpPr>
                    <a:xfrm>
                      <a:off x="5655788" y="3716827"/>
                      <a:ext cx="753" cy="1004"/>
                      <a:chOff x="5655788" y="3716827"/>
                      <a:chExt cx="753" cy="1004"/>
                    </a:xfrm>
                    <a:solidFill>
                      <a:srgbClr val="B1B6BE"/>
                    </a:solidFill>
                  </p:grpSpPr>
                  <p:sp>
                    <p:nvSpPr>
                      <p:cNvPr id="3050" name="Freeform: Shape 3049">
                        <a:extLst>
                          <a:ext uri="{FF2B5EF4-FFF2-40B4-BE49-F238E27FC236}">
                            <a16:creationId xmlns:a16="http://schemas.microsoft.com/office/drawing/2014/main" id="{3B145A62-89F6-4556-BBD8-17D0ADD33027}"/>
                          </a:ext>
                        </a:extLst>
                      </p:cNvPr>
                      <p:cNvSpPr/>
                      <p:nvPr/>
                    </p:nvSpPr>
                    <p:spPr>
                      <a:xfrm>
                        <a:off x="5655788" y="3716827"/>
                        <a:ext cx="753" cy="1004"/>
                      </a:xfrm>
                      <a:custGeom>
                        <a:avLst/>
                        <a:gdLst>
                          <a:gd name="connsiteX0" fmla="*/ 251 w 753"/>
                          <a:gd name="connsiteY0" fmla="*/ 251 h 1004"/>
                          <a:gd name="connsiteX1" fmla="*/ 628 w 753"/>
                          <a:gd name="connsiteY1" fmla="*/ 0 h 1004"/>
                          <a:gd name="connsiteX2" fmla="*/ 754 w 753"/>
                          <a:gd name="connsiteY2" fmla="*/ 251 h 1004"/>
                          <a:gd name="connsiteX3" fmla="*/ 628 w 753"/>
                          <a:gd name="connsiteY3" fmla="*/ 754 h 1004"/>
                          <a:gd name="connsiteX4" fmla="*/ 251 w 753"/>
                          <a:gd name="connsiteY4" fmla="*/ 1005 h 1004"/>
                          <a:gd name="connsiteX5" fmla="*/ 0 w 753"/>
                          <a:gd name="connsiteY5" fmla="*/ 754 h 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1004">
                            <a:moveTo>
                              <a:pt x="251" y="251"/>
                            </a:moveTo>
                            <a:lnTo>
                              <a:pt x="628" y="0"/>
                            </a:lnTo>
                            <a:lnTo>
                              <a:pt x="754" y="251"/>
                            </a:lnTo>
                            <a:lnTo>
                              <a:pt x="628" y="754"/>
                            </a:lnTo>
                            <a:lnTo>
                              <a:pt x="251" y="1005"/>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51" name="Freeform: Shape 3050">
                        <a:extLst>
                          <a:ext uri="{FF2B5EF4-FFF2-40B4-BE49-F238E27FC236}">
                            <a16:creationId xmlns:a16="http://schemas.microsoft.com/office/drawing/2014/main" id="{75B13804-FFFF-41E0-92EE-C6215B38BAD8}"/>
                          </a:ext>
                        </a:extLst>
                      </p:cNvPr>
                      <p:cNvSpPr/>
                      <p:nvPr/>
                    </p:nvSpPr>
                    <p:spPr>
                      <a:xfrm>
                        <a:off x="5655914" y="3716827"/>
                        <a:ext cx="627" cy="879"/>
                      </a:xfrm>
                      <a:custGeom>
                        <a:avLst/>
                        <a:gdLst>
                          <a:gd name="connsiteX0" fmla="*/ 126 w 627"/>
                          <a:gd name="connsiteY0" fmla="*/ 251 h 879"/>
                          <a:gd name="connsiteX1" fmla="*/ 502 w 627"/>
                          <a:gd name="connsiteY1" fmla="*/ 0 h 879"/>
                          <a:gd name="connsiteX2" fmla="*/ 628 w 627"/>
                          <a:gd name="connsiteY2" fmla="*/ 251 h 879"/>
                          <a:gd name="connsiteX3" fmla="*/ 502 w 627"/>
                          <a:gd name="connsiteY3" fmla="*/ 628 h 879"/>
                          <a:gd name="connsiteX4" fmla="*/ 126 w 627"/>
                          <a:gd name="connsiteY4" fmla="*/ 879 h 879"/>
                          <a:gd name="connsiteX5" fmla="*/ 0 w 627"/>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126" y="251"/>
                            </a:moveTo>
                            <a:lnTo>
                              <a:pt x="502" y="0"/>
                            </a:lnTo>
                            <a:lnTo>
                              <a:pt x="628" y="251"/>
                            </a:lnTo>
                            <a:lnTo>
                              <a:pt x="502" y="628"/>
                            </a:lnTo>
                            <a:lnTo>
                              <a:pt x="126"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52" name="Graphic 4">
                      <a:extLst>
                        <a:ext uri="{FF2B5EF4-FFF2-40B4-BE49-F238E27FC236}">
                          <a16:creationId xmlns:a16="http://schemas.microsoft.com/office/drawing/2014/main" id="{84FB7ED1-A2DF-40A1-A747-5F7CF3F14040}"/>
                        </a:ext>
                      </a:extLst>
                    </p:cNvPr>
                    <p:cNvGrpSpPr/>
                    <p:nvPr/>
                  </p:nvGrpSpPr>
                  <p:grpSpPr>
                    <a:xfrm>
                      <a:off x="5656165" y="3715823"/>
                      <a:ext cx="628" cy="753"/>
                      <a:chOff x="5656165" y="3715823"/>
                      <a:chExt cx="628" cy="753"/>
                    </a:xfrm>
                    <a:solidFill>
                      <a:srgbClr val="B1B6BE"/>
                    </a:solidFill>
                  </p:grpSpPr>
                  <p:sp>
                    <p:nvSpPr>
                      <p:cNvPr id="3053" name="Freeform: Shape 3052">
                        <a:extLst>
                          <a:ext uri="{FF2B5EF4-FFF2-40B4-BE49-F238E27FC236}">
                            <a16:creationId xmlns:a16="http://schemas.microsoft.com/office/drawing/2014/main" id="{F40DB070-369E-470A-B634-A9470393F0AA}"/>
                          </a:ext>
                        </a:extLst>
                      </p:cNvPr>
                      <p:cNvSpPr/>
                      <p:nvPr/>
                    </p:nvSpPr>
                    <p:spPr>
                      <a:xfrm>
                        <a:off x="5656165" y="3715823"/>
                        <a:ext cx="628" cy="753"/>
                      </a:xfrm>
                      <a:custGeom>
                        <a:avLst/>
                        <a:gdLst>
                          <a:gd name="connsiteX0" fmla="*/ 0 w 628"/>
                          <a:gd name="connsiteY0" fmla="*/ 377 h 753"/>
                          <a:gd name="connsiteX1" fmla="*/ 251 w 628"/>
                          <a:gd name="connsiteY1" fmla="*/ 0 h 753"/>
                          <a:gd name="connsiteX2" fmla="*/ 628 w 628"/>
                          <a:gd name="connsiteY2" fmla="*/ 0 h 753"/>
                          <a:gd name="connsiteX3" fmla="*/ 628 w 628"/>
                          <a:gd name="connsiteY3" fmla="*/ 377 h 753"/>
                          <a:gd name="connsiteX4" fmla="*/ 251 w 628"/>
                          <a:gd name="connsiteY4" fmla="*/ 754 h 753"/>
                          <a:gd name="connsiteX5" fmla="*/ 0 w 628"/>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0" y="377"/>
                            </a:moveTo>
                            <a:lnTo>
                              <a:pt x="251" y="0"/>
                            </a:lnTo>
                            <a:lnTo>
                              <a:pt x="628" y="0"/>
                            </a:lnTo>
                            <a:lnTo>
                              <a:pt x="628"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54" name="Freeform: Shape 3053">
                        <a:extLst>
                          <a:ext uri="{FF2B5EF4-FFF2-40B4-BE49-F238E27FC236}">
                            <a16:creationId xmlns:a16="http://schemas.microsoft.com/office/drawing/2014/main" id="{362B9B45-F3D8-4D79-97A1-26FC2EC59690}"/>
                          </a:ext>
                        </a:extLst>
                      </p:cNvPr>
                      <p:cNvSpPr/>
                      <p:nvPr/>
                    </p:nvSpPr>
                    <p:spPr>
                      <a:xfrm>
                        <a:off x="5656165" y="3715823"/>
                        <a:ext cx="502" cy="753"/>
                      </a:xfrm>
                      <a:custGeom>
                        <a:avLst/>
                        <a:gdLst>
                          <a:gd name="connsiteX0" fmla="*/ 0 w 502"/>
                          <a:gd name="connsiteY0" fmla="*/ 377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377"/>
                            </a:moveTo>
                            <a:lnTo>
                              <a:pt x="251" y="0"/>
                            </a:lnTo>
                            <a:lnTo>
                              <a:pt x="502" y="0"/>
                            </a:lnTo>
                            <a:lnTo>
                              <a:pt x="502"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55" name="Graphic 4">
                      <a:extLst>
                        <a:ext uri="{FF2B5EF4-FFF2-40B4-BE49-F238E27FC236}">
                          <a16:creationId xmlns:a16="http://schemas.microsoft.com/office/drawing/2014/main" id="{84FB7ED1-A2DF-40A1-A747-5F7CF3F14040}"/>
                        </a:ext>
                      </a:extLst>
                    </p:cNvPr>
                    <p:cNvGrpSpPr/>
                    <p:nvPr/>
                  </p:nvGrpSpPr>
                  <p:grpSpPr>
                    <a:xfrm>
                      <a:off x="5655914" y="3714944"/>
                      <a:ext cx="627" cy="879"/>
                      <a:chOff x="5655914" y="3714944"/>
                      <a:chExt cx="627" cy="879"/>
                    </a:xfrm>
                    <a:solidFill>
                      <a:srgbClr val="B1B6BE"/>
                    </a:solidFill>
                  </p:grpSpPr>
                  <p:sp>
                    <p:nvSpPr>
                      <p:cNvPr id="3056" name="Freeform: Shape 3055">
                        <a:extLst>
                          <a:ext uri="{FF2B5EF4-FFF2-40B4-BE49-F238E27FC236}">
                            <a16:creationId xmlns:a16="http://schemas.microsoft.com/office/drawing/2014/main" id="{4AC27CD0-D5D8-4741-91C9-DAB4168E01C5}"/>
                          </a:ext>
                        </a:extLst>
                      </p:cNvPr>
                      <p:cNvSpPr/>
                      <p:nvPr/>
                    </p:nvSpPr>
                    <p:spPr>
                      <a:xfrm>
                        <a:off x="5655914" y="3714944"/>
                        <a:ext cx="627" cy="879"/>
                      </a:xfrm>
                      <a:custGeom>
                        <a:avLst/>
                        <a:gdLst>
                          <a:gd name="connsiteX0" fmla="*/ 0 w 627"/>
                          <a:gd name="connsiteY0" fmla="*/ 628 h 879"/>
                          <a:gd name="connsiteX1" fmla="*/ 126 w 627"/>
                          <a:gd name="connsiteY1" fmla="*/ 126 h 879"/>
                          <a:gd name="connsiteX2" fmla="*/ 502 w 627"/>
                          <a:gd name="connsiteY2" fmla="*/ 0 h 879"/>
                          <a:gd name="connsiteX3" fmla="*/ 628 w 627"/>
                          <a:gd name="connsiteY3" fmla="*/ 251 h 879"/>
                          <a:gd name="connsiteX4" fmla="*/ 502 w 627"/>
                          <a:gd name="connsiteY4" fmla="*/ 628 h 879"/>
                          <a:gd name="connsiteX5" fmla="*/ 126 w 627"/>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0" y="628"/>
                            </a:moveTo>
                            <a:lnTo>
                              <a:pt x="126" y="126"/>
                            </a:lnTo>
                            <a:lnTo>
                              <a:pt x="502" y="0"/>
                            </a:lnTo>
                            <a:lnTo>
                              <a:pt x="628" y="251"/>
                            </a:lnTo>
                            <a:lnTo>
                              <a:pt x="502" y="628"/>
                            </a:lnTo>
                            <a:lnTo>
                              <a:pt x="126"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57" name="Freeform: Shape 3056">
                        <a:extLst>
                          <a:ext uri="{FF2B5EF4-FFF2-40B4-BE49-F238E27FC236}">
                            <a16:creationId xmlns:a16="http://schemas.microsoft.com/office/drawing/2014/main" id="{77C8A2EE-FF52-4A80-BE67-47A0AECCF784}"/>
                          </a:ext>
                        </a:extLst>
                      </p:cNvPr>
                      <p:cNvSpPr/>
                      <p:nvPr/>
                    </p:nvSpPr>
                    <p:spPr>
                      <a:xfrm>
                        <a:off x="5655914" y="3714944"/>
                        <a:ext cx="627" cy="753"/>
                      </a:xfrm>
                      <a:custGeom>
                        <a:avLst/>
                        <a:gdLst>
                          <a:gd name="connsiteX0" fmla="*/ 0 w 627"/>
                          <a:gd name="connsiteY0" fmla="*/ 628 h 753"/>
                          <a:gd name="connsiteX1" fmla="*/ 126 w 627"/>
                          <a:gd name="connsiteY1" fmla="*/ 126 h 753"/>
                          <a:gd name="connsiteX2" fmla="*/ 502 w 627"/>
                          <a:gd name="connsiteY2" fmla="*/ 0 h 753"/>
                          <a:gd name="connsiteX3" fmla="*/ 628 w 627"/>
                          <a:gd name="connsiteY3" fmla="*/ 251 h 753"/>
                          <a:gd name="connsiteX4" fmla="*/ 502 w 627"/>
                          <a:gd name="connsiteY4" fmla="*/ 628 h 753"/>
                          <a:gd name="connsiteX5" fmla="*/ 126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628"/>
                            </a:moveTo>
                            <a:lnTo>
                              <a:pt x="126" y="126"/>
                            </a:lnTo>
                            <a:lnTo>
                              <a:pt x="502" y="0"/>
                            </a:lnTo>
                            <a:lnTo>
                              <a:pt x="628" y="251"/>
                            </a:lnTo>
                            <a:lnTo>
                              <a:pt x="502" y="628"/>
                            </a:lnTo>
                            <a:lnTo>
                              <a:pt x="126"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58" name="Graphic 4">
                      <a:extLst>
                        <a:ext uri="{FF2B5EF4-FFF2-40B4-BE49-F238E27FC236}">
                          <a16:creationId xmlns:a16="http://schemas.microsoft.com/office/drawing/2014/main" id="{84FB7ED1-A2DF-40A1-A747-5F7CF3F14040}"/>
                        </a:ext>
                      </a:extLst>
                    </p:cNvPr>
                    <p:cNvGrpSpPr/>
                    <p:nvPr/>
                  </p:nvGrpSpPr>
                  <p:grpSpPr>
                    <a:xfrm>
                      <a:off x="5655286" y="3714567"/>
                      <a:ext cx="627" cy="753"/>
                      <a:chOff x="5655286" y="3714567"/>
                      <a:chExt cx="627" cy="753"/>
                    </a:xfrm>
                    <a:solidFill>
                      <a:srgbClr val="B1B6BE"/>
                    </a:solidFill>
                  </p:grpSpPr>
                  <p:sp>
                    <p:nvSpPr>
                      <p:cNvPr id="3059" name="Freeform: Shape 3058">
                        <a:extLst>
                          <a:ext uri="{FF2B5EF4-FFF2-40B4-BE49-F238E27FC236}">
                            <a16:creationId xmlns:a16="http://schemas.microsoft.com/office/drawing/2014/main" id="{1035A141-A815-4C1B-A5F6-C33E171F2B22}"/>
                          </a:ext>
                        </a:extLst>
                      </p:cNvPr>
                      <p:cNvSpPr/>
                      <p:nvPr/>
                    </p:nvSpPr>
                    <p:spPr>
                      <a:xfrm>
                        <a:off x="5655286" y="3714567"/>
                        <a:ext cx="627" cy="753"/>
                      </a:xfrm>
                      <a:custGeom>
                        <a:avLst/>
                        <a:gdLst>
                          <a:gd name="connsiteX0" fmla="*/ 0 w 627"/>
                          <a:gd name="connsiteY0" fmla="*/ 754 h 753"/>
                          <a:gd name="connsiteX1" fmla="*/ 0 w 627"/>
                          <a:gd name="connsiteY1" fmla="*/ 377 h 753"/>
                          <a:gd name="connsiteX2" fmla="*/ 251 w 627"/>
                          <a:gd name="connsiteY2" fmla="*/ 0 h 753"/>
                          <a:gd name="connsiteX3" fmla="*/ 628 w 627"/>
                          <a:gd name="connsiteY3" fmla="*/ 0 h 753"/>
                          <a:gd name="connsiteX4" fmla="*/ 628 w 627"/>
                          <a:gd name="connsiteY4" fmla="*/ 377 h 753"/>
                          <a:gd name="connsiteX5" fmla="*/ 251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754"/>
                            </a:moveTo>
                            <a:lnTo>
                              <a:pt x="0" y="377"/>
                            </a:lnTo>
                            <a:lnTo>
                              <a:pt x="251" y="0"/>
                            </a:lnTo>
                            <a:lnTo>
                              <a:pt x="628" y="0"/>
                            </a:lnTo>
                            <a:lnTo>
                              <a:pt x="628"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60" name="Freeform: Shape 3059">
                        <a:extLst>
                          <a:ext uri="{FF2B5EF4-FFF2-40B4-BE49-F238E27FC236}">
                            <a16:creationId xmlns:a16="http://schemas.microsoft.com/office/drawing/2014/main" id="{B512E49B-1B7A-4855-960B-9E2CE4CBDE7A}"/>
                          </a:ext>
                        </a:extLst>
                      </p:cNvPr>
                      <p:cNvSpPr/>
                      <p:nvPr/>
                    </p:nvSpPr>
                    <p:spPr>
                      <a:xfrm>
                        <a:off x="5655286" y="3714567"/>
                        <a:ext cx="627" cy="753"/>
                      </a:xfrm>
                      <a:custGeom>
                        <a:avLst/>
                        <a:gdLst>
                          <a:gd name="connsiteX0" fmla="*/ 0 w 627"/>
                          <a:gd name="connsiteY0" fmla="*/ 754 h 753"/>
                          <a:gd name="connsiteX1" fmla="*/ 0 w 627"/>
                          <a:gd name="connsiteY1" fmla="*/ 377 h 753"/>
                          <a:gd name="connsiteX2" fmla="*/ 251 w 627"/>
                          <a:gd name="connsiteY2" fmla="*/ 0 h 753"/>
                          <a:gd name="connsiteX3" fmla="*/ 628 w 627"/>
                          <a:gd name="connsiteY3" fmla="*/ 0 h 753"/>
                          <a:gd name="connsiteX4" fmla="*/ 628 w 627"/>
                          <a:gd name="connsiteY4" fmla="*/ 377 h 753"/>
                          <a:gd name="connsiteX5" fmla="*/ 251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754"/>
                            </a:moveTo>
                            <a:lnTo>
                              <a:pt x="0" y="377"/>
                            </a:lnTo>
                            <a:lnTo>
                              <a:pt x="251" y="0"/>
                            </a:lnTo>
                            <a:lnTo>
                              <a:pt x="628" y="0"/>
                            </a:lnTo>
                            <a:lnTo>
                              <a:pt x="628"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3061" name="Graphic 4">
                <a:extLst>
                  <a:ext uri="{FF2B5EF4-FFF2-40B4-BE49-F238E27FC236}">
                    <a16:creationId xmlns:a16="http://schemas.microsoft.com/office/drawing/2014/main" id="{84FB7ED1-A2DF-40A1-A747-5F7CF3F14040}"/>
                  </a:ext>
                </a:extLst>
              </p:cNvPr>
              <p:cNvGrpSpPr/>
              <p:nvPr/>
            </p:nvGrpSpPr>
            <p:grpSpPr>
              <a:xfrm>
                <a:off x="5297341" y="3718209"/>
                <a:ext cx="387334" cy="231471"/>
                <a:chOff x="5297341" y="3718209"/>
                <a:chExt cx="387334" cy="231471"/>
              </a:xfrm>
              <a:solidFill>
                <a:schemeClr val="accent1"/>
              </a:solidFill>
            </p:grpSpPr>
            <p:grpSp>
              <p:nvGrpSpPr>
                <p:cNvPr id="3062" name="Graphic 4">
                  <a:extLst>
                    <a:ext uri="{FF2B5EF4-FFF2-40B4-BE49-F238E27FC236}">
                      <a16:creationId xmlns:a16="http://schemas.microsoft.com/office/drawing/2014/main" id="{84FB7ED1-A2DF-40A1-A747-5F7CF3F14040}"/>
                    </a:ext>
                  </a:extLst>
                </p:cNvPr>
                <p:cNvGrpSpPr/>
                <p:nvPr/>
              </p:nvGrpSpPr>
              <p:grpSpPr>
                <a:xfrm>
                  <a:off x="5297341" y="3718209"/>
                  <a:ext cx="387334" cy="231471"/>
                  <a:chOff x="5297341" y="3718209"/>
                  <a:chExt cx="387334" cy="231471"/>
                </a:xfrm>
                <a:solidFill>
                  <a:schemeClr val="accent1"/>
                </a:solidFill>
              </p:grpSpPr>
              <p:sp>
                <p:nvSpPr>
                  <p:cNvPr id="3063" name="Freeform: Shape 3062">
                    <a:extLst>
                      <a:ext uri="{FF2B5EF4-FFF2-40B4-BE49-F238E27FC236}">
                        <a16:creationId xmlns:a16="http://schemas.microsoft.com/office/drawing/2014/main" id="{EAEB2C81-1D84-4750-A405-DF42A511CE20}"/>
                      </a:ext>
                    </a:extLst>
                  </p:cNvPr>
                  <p:cNvSpPr/>
                  <p:nvPr/>
                </p:nvSpPr>
                <p:spPr>
                  <a:xfrm>
                    <a:off x="5304374" y="3722982"/>
                    <a:ext cx="380175" cy="226698"/>
                  </a:xfrm>
                  <a:custGeom>
                    <a:avLst/>
                    <a:gdLst>
                      <a:gd name="connsiteX0" fmla="*/ 380175 w 380175"/>
                      <a:gd name="connsiteY0" fmla="*/ 0 h 226698"/>
                      <a:gd name="connsiteX1" fmla="*/ 190276 w 380175"/>
                      <a:gd name="connsiteY1" fmla="*/ 109644 h 226698"/>
                      <a:gd name="connsiteX2" fmla="*/ 190276 w 380175"/>
                      <a:gd name="connsiteY2" fmla="*/ 109644 h 226698"/>
                      <a:gd name="connsiteX3" fmla="*/ 0 w 380175"/>
                      <a:gd name="connsiteY3" fmla="*/ 219540 h 226698"/>
                      <a:gd name="connsiteX4" fmla="*/ 125 w 380175"/>
                      <a:gd name="connsiteY4" fmla="*/ 226322 h 226698"/>
                      <a:gd name="connsiteX5" fmla="*/ 1130 w 380175"/>
                      <a:gd name="connsiteY5" fmla="*/ 226699 h 226698"/>
                      <a:gd name="connsiteX6" fmla="*/ 190904 w 380175"/>
                      <a:gd name="connsiteY6" fmla="*/ 117180 h 226698"/>
                      <a:gd name="connsiteX7" fmla="*/ 190904 w 380175"/>
                      <a:gd name="connsiteY7" fmla="*/ 117180 h 226698"/>
                      <a:gd name="connsiteX8" fmla="*/ 380175 w 380175"/>
                      <a:gd name="connsiteY8" fmla="*/ 7787 h 22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175" h="226698">
                        <a:moveTo>
                          <a:pt x="380175" y="0"/>
                        </a:moveTo>
                        <a:lnTo>
                          <a:pt x="190276" y="109644"/>
                        </a:lnTo>
                        <a:lnTo>
                          <a:pt x="190276" y="109644"/>
                        </a:lnTo>
                        <a:lnTo>
                          <a:pt x="0" y="219540"/>
                        </a:lnTo>
                        <a:lnTo>
                          <a:pt x="125" y="226322"/>
                        </a:lnTo>
                        <a:lnTo>
                          <a:pt x="1130" y="226699"/>
                        </a:lnTo>
                        <a:lnTo>
                          <a:pt x="190904" y="117180"/>
                        </a:lnTo>
                        <a:lnTo>
                          <a:pt x="190904" y="117180"/>
                        </a:lnTo>
                        <a:lnTo>
                          <a:pt x="380175" y="7787"/>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64" name="Freeform: Shape 3063">
                    <a:extLst>
                      <a:ext uri="{FF2B5EF4-FFF2-40B4-BE49-F238E27FC236}">
                        <a16:creationId xmlns:a16="http://schemas.microsoft.com/office/drawing/2014/main" id="{50EB3061-4197-4D09-BFD8-440CEE460EC9}"/>
                      </a:ext>
                    </a:extLst>
                  </p:cNvPr>
                  <p:cNvSpPr/>
                  <p:nvPr/>
                </p:nvSpPr>
                <p:spPr>
                  <a:xfrm>
                    <a:off x="5297341" y="3718209"/>
                    <a:ext cx="387334" cy="223684"/>
                  </a:xfrm>
                  <a:custGeom>
                    <a:avLst/>
                    <a:gdLst>
                      <a:gd name="connsiteX0" fmla="*/ 387334 w 387334"/>
                      <a:gd name="connsiteY0" fmla="*/ 4773 h 223684"/>
                      <a:gd name="connsiteX1" fmla="*/ 379045 w 387334"/>
                      <a:gd name="connsiteY1" fmla="*/ 0 h 223684"/>
                      <a:gd name="connsiteX2" fmla="*/ 189899 w 387334"/>
                      <a:gd name="connsiteY2" fmla="*/ 109393 h 223684"/>
                      <a:gd name="connsiteX3" fmla="*/ 189648 w 387334"/>
                      <a:gd name="connsiteY3" fmla="*/ 109267 h 223684"/>
                      <a:gd name="connsiteX4" fmla="*/ 0 w 387334"/>
                      <a:gd name="connsiteY4" fmla="*/ 219037 h 223684"/>
                      <a:gd name="connsiteX5" fmla="*/ 8038 w 387334"/>
                      <a:gd name="connsiteY5" fmla="*/ 223684 h 223684"/>
                      <a:gd name="connsiteX6" fmla="*/ 197435 w 387334"/>
                      <a:gd name="connsiteY6" fmla="*/ 114417 h 223684"/>
                      <a:gd name="connsiteX7" fmla="*/ 197435 w 387334"/>
                      <a:gd name="connsiteY7" fmla="*/ 114417 h 22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7334" h="223684">
                        <a:moveTo>
                          <a:pt x="387334" y="4773"/>
                        </a:moveTo>
                        <a:lnTo>
                          <a:pt x="379045" y="0"/>
                        </a:lnTo>
                        <a:lnTo>
                          <a:pt x="189899" y="109393"/>
                        </a:lnTo>
                        <a:lnTo>
                          <a:pt x="189648" y="109267"/>
                        </a:lnTo>
                        <a:lnTo>
                          <a:pt x="0" y="219037"/>
                        </a:lnTo>
                        <a:lnTo>
                          <a:pt x="8038" y="223684"/>
                        </a:lnTo>
                        <a:lnTo>
                          <a:pt x="197435" y="114417"/>
                        </a:lnTo>
                        <a:lnTo>
                          <a:pt x="197435" y="114417"/>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065" name="Freeform: Shape 3064">
                  <a:extLst>
                    <a:ext uri="{FF2B5EF4-FFF2-40B4-BE49-F238E27FC236}">
                      <a16:creationId xmlns:a16="http://schemas.microsoft.com/office/drawing/2014/main" id="{89BFAD28-BB08-4EB7-89C2-5623449453A9}"/>
                    </a:ext>
                  </a:extLst>
                </p:cNvPr>
                <p:cNvSpPr/>
                <p:nvPr/>
              </p:nvSpPr>
              <p:spPr>
                <a:xfrm>
                  <a:off x="5297341" y="3937246"/>
                  <a:ext cx="8037" cy="12433"/>
                </a:xfrm>
                <a:custGeom>
                  <a:avLst/>
                  <a:gdLst>
                    <a:gd name="connsiteX0" fmla="*/ 8038 w 8037"/>
                    <a:gd name="connsiteY0" fmla="*/ 4521 h 12433"/>
                    <a:gd name="connsiteX1" fmla="*/ 0 w 8037"/>
                    <a:gd name="connsiteY1" fmla="*/ 0 h 12433"/>
                    <a:gd name="connsiteX2" fmla="*/ 0 w 8037"/>
                    <a:gd name="connsiteY2" fmla="*/ 8289 h 12433"/>
                    <a:gd name="connsiteX3" fmla="*/ 8038 w 8037"/>
                    <a:gd name="connsiteY3" fmla="*/ 12434 h 12433"/>
                  </a:gdLst>
                  <a:ahLst/>
                  <a:cxnLst>
                    <a:cxn ang="0">
                      <a:pos x="connsiteX0" y="connsiteY0"/>
                    </a:cxn>
                    <a:cxn ang="0">
                      <a:pos x="connsiteX1" y="connsiteY1"/>
                    </a:cxn>
                    <a:cxn ang="0">
                      <a:pos x="connsiteX2" y="connsiteY2"/>
                    </a:cxn>
                    <a:cxn ang="0">
                      <a:pos x="connsiteX3" y="connsiteY3"/>
                    </a:cxn>
                  </a:cxnLst>
                  <a:rect l="l" t="t" r="r" b="b"/>
                  <a:pathLst>
                    <a:path w="8037" h="12433">
                      <a:moveTo>
                        <a:pt x="8038" y="4521"/>
                      </a:moveTo>
                      <a:lnTo>
                        <a:pt x="0" y="0"/>
                      </a:lnTo>
                      <a:lnTo>
                        <a:pt x="0" y="8289"/>
                      </a:lnTo>
                      <a:lnTo>
                        <a:pt x="8038" y="12434"/>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66" name="Graphic 4">
                <a:extLst>
                  <a:ext uri="{FF2B5EF4-FFF2-40B4-BE49-F238E27FC236}">
                    <a16:creationId xmlns:a16="http://schemas.microsoft.com/office/drawing/2014/main" id="{84FB7ED1-A2DF-40A1-A747-5F7CF3F14040}"/>
                  </a:ext>
                </a:extLst>
              </p:cNvPr>
              <p:cNvGrpSpPr/>
              <p:nvPr/>
            </p:nvGrpSpPr>
            <p:grpSpPr>
              <a:xfrm>
                <a:off x="5318064" y="3886380"/>
                <a:ext cx="83269" cy="56266"/>
                <a:chOff x="5318064" y="3886380"/>
                <a:chExt cx="83269" cy="56266"/>
              </a:xfrm>
              <a:solidFill>
                <a:schemeClr val="accent1"/>
              </a:solidFill>
            </p:grpSpPr>
            <p:sp>
              <p:nvSpPr>
                <p:cNvPr id="3067" name="Freeform: Shape 3066">
                  <a:extLst>
                    <a:ext uri="{FF2B5EF4-FFF2-40B4-BE49-F238E27FC236}">
                      <a16:creationId xmlns:a16="http://schemas.microsoft.com/office/drawing/2014/main" id="{D972FE36-941D-4AB2-A22B-A848EF0A4AC6}"/>
                    </a:ext>
                  </a:extLst>
                </p:cNvPr>
                <p:cNvSpPr/>
                <p:nvPr/>
              </p:nvSpPr>
              <p:spPr>
                <a:xfrm>
                  <a:off x="5318064" y="3886380"/>
                  <a:ext cx="83269" cy="56266"/>
                </a:xfrm>
                <a:custGeom>
                  <a:avLst/>
                  <a:gdLst>
                    <a:gd name="connsiteX0" fmla="*/ 0 w 83269"/>
                    <a:gd name="connsiteY0" fmla="*/ 48103 h 56266"/>
                    <a:gd name="connsiteX1" fmla="*/ 0 w 83269"/>
                    <a:gd name="connsiteY1" fmla="*/ 56266 h 56266"/>
                    <a:gd name="connsiteX2" fmla="*/ 83269 w 83269"/>
                    <a:gd name="connsiteY2" fmla="*/ 8164 h 56266"/>
                    <a:gd name="connsiteX3" fmla="*/ 83269 w 83269"/>
                    <a:gd name="connsiteY3" fmla="*/ 0 h 56266"/>
                  </a:gdLst>
                  <a:ahLst/>
                  <a:cxnLst>
                    <a:cxn ang="0">
                      <a:pos x="connsiteX0" y="connsiteY0"/>
                    </a:cxn>
                    <a:cxn ang="0">
                      <a:pos x="connsiteX1" y="connsiteY1"/>
                    </a:cxn>
                    <a:cxn ang="0">
                      <a:pos x="connsiteX2" y="connsiteY2"/>
                    </a:cxn>
                    <a:cxn ang="0">
                      <a:pos x="connsiteX3" y="connsiteY3"/>
                    </a:cxn>
                  </a:cxnLst>
                  <a:rect l="l" t="t" r="r" b="b"/>
                  <a:pathLst>
                    <a:path w="83269" h="56266">
                      <a:moveTo>
                        <a:pt x="0" y="48103"/>
                      </a:moveTo>
                      <a:lnTo>
                        <a:pt x="0" y="56266"/>
                      </a:lnTo>
                      <a:lnTo>
                        <a:pt x="83269" y="8164"/>
                      </a:lnTo>
                      <a:lnTo>
                        <a:pt x="83269" y="0"/>
                      </a:lnTo>
                      <a:close/>
                    </a:path>
                  </a:pathLst>
                </a:custGeom>
                <a:solidFill>
                  <a:srgbClr val="FFDB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68" name="Graphic 4">
                  <a:extLst>
                    <a:ext uri="{FF2B5EF4-FFF2-40B4-BE49-F238E27FC236}">
                      <a16:creationId xmlns:a16="http://schemas.microsoft.com/office/drawing/2014/main" id="{84FB7ED1-A2DF-40A1-A747-5F7CF3F14040}"/>
                    </a:ext>
                  </a:extLst>
                </p:cNvPr>
                <p:cNvGrpSpPr/>
                <p:nvPr/>
              </p:nvGrpSpPr>
              <p:grpSpPr>
                <a:xfrm>
                  <a:off x="5318064" y="3889269"/>
                  <a:ext cx="78119" cy="53377"/>
                  <a:chOff x="5318064" y="3889269"/>
                  <a:chExt cx="78119" cy="53377"/>
                </a:xfrm>
                <a:solidFill>
                  <a:srgbClr val="3C3D32"/>
                </a:solidFill>
              </p:grpSpPr>
              <p:sp>
                <p:nvSpPr>
                  <p:cNvPr id="3069" name="Freeform: Shape 3068">
                    <a:extLst>
                      <a:ext uri="{FF2B5EF4-FFF2-40B4-BE49-F238E27FC236}">
                        <a16:creationId xmlns:a16="http://schemas.microsoft.com/office/drawing/2014/main" id="{2B1BDD4F-ADAA-4830-B3B2-5571F1FA3C44}"/>
                      </a:ext>
                    </a:extLst>
                  </p:cNvPr>
                  <p:cNvSpPr/>
                  <p:nvPr/>
                </p:nvSpPr>
                <p:spPr>
                  <a:xfrm>
                    <a:off x="5318064" y="3933353"/>
                    <a:ext cx="1758" cy="9293"/>
                  </a:xfrm>
                  <a:custGeom>
                    <a:avLst/>
                    <a:gdLst>
                      <a:gd name="connsiteX0" fmla="*/ 0 w 1758"/>
                      <a:gd name="connsiteY0" fmla="*/ 1130 h 9293"/>
                      <a:gd name="connsiteX1" fmla="*/ 0 w 1758"/>
                      <a:gd name="connsiteY1" fmla="*/ 9294 h 9293"/>
                      <a:gd name="connsiteX2" fmla="*/ 0 w 1758"/>
                      <a:gd name="connsiteY2" fmla="*/ 9294 h 9293"/>
                      <a:gd name="connsiteX3" fmla="*/ 1758 w 1758"/>
                      <a:gd name="connsiteY3" fmla="*/ 0 h 9293"/>
                    </a:gdLst>
                    <a:ahLst/>
                    <a:cxnLst>
                      <a:cxn ang="0">
                        <a:pos x="connsiteX0" y="connsiteY0"/>
                      </a:cxn>
                      <a:cxn ang="0">
                        <a:pos x="connsiteX1" y="connsiteY1"/>
                      </a:cxn>
                      <a:cxn ang="0">
                        <a:pos x="connsiteX2" y="connsiteY2"/>
                      </a:cxn>
                      <a:cxn ang="0">
                        <a:pos x="connsiteX3" y="connsiteY3"/>
                      </a:cxn>
                    </a:cxnLst>
                    <a:rect l="l" t="t" r="r" b="b"/>
                    <a:pathLst>
                      <a:path w="1758" h="9293">
                        <a:moveTo>
                          <a:pt x="0" y="1130"/>
                        </a:moveTo>
                        <a:lnTo>
                          <a:pt x="0" y="9294"/>
                        </a:lnTo>
                        <a:lnTo>
                          <a:pt x="0" y="9294"/>
                        </a:lnTo>
                        <a:lnTo>
                          <a:pt x="175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0" name="Freeform: Shape 3069">
                    <a:extLst>
                      <a:ext uri="{FF2B5EF4-FFF2-40B4-BE49-F238E27FC236}">
                        <a16:creationId xmlns:a16="http://schemas.microsoft.com/office/drawing/2014/main" id="{DE44D07C-BCBA-49EF-8A4F-76457313F19C}"/>
                      </a:ext>
                    </a:extLst>
                  </p:cNvPr>
                  <p:cNvSpPr/>
                  <p:nvPr/>
                </p:nvSpPr>
                <p:spPr>
                  <a:xfrm>
                    <a:off x="5325725" y="3926068"/>
                    <a:ext cx="6907" cy="12182"/>
                  </a:xfrm>
                  <a:custGeom>
                    <a:avLst/>
                    <a:gdLst>
                      <a:gd name="connsiteX0" fmla="*/ 1633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633"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1" name="Freeform: Shape 3070">
                    <a:extLst>
                      <a:ext uri="{FF2B5EF4-FFF2-40B4-BE49-F238E27FC236}">
                        <a16:creationId xmlns:a16="http://schemas.microsoft.com/office/drawing/2014/main" id="{2D169300-DBDB-4659-84D1-38C82FABDDD4}"/>
                      </a:ext>
                    </a:extLst>
                  </p:cNvPr>
                  <p:cNvSpPr/>
                  <p:nvPr/>
                </p:nvSpPr>
                <p:spPr>
                  <a:xfrm>
                    <a:off x="5338410" y="3918658"/>
                    <a:ext cx="6907" cy="12308"/>
                  </a:xfrm>
                  <a:custGeom>
                    <a:avLst/>
                    <a:gdLst>
                      <a:gd name="connsiteX0" fmla="*/ 1758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8"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2" name="Freeform: Shape 3071">
                    <a:extLst>
                      <a:ext uri="{FF2B5EF4-FFF2-40B4-BE49-F238E27FC236}">
                        <a16:creationId xmlns:a16="http://schemas.microsoft.com/office/drawing/2014/main" id="{34ADA1EA-E244-4675-B000-E4A3DF39FC48}"/>
                      </a:ext>
                    </a:extLst>
                  </p:cNvPr>
                  <p:cNvSpPr/>
                  <p:nvPr/>
                </p:nvSpPr>
                <p:spPr>
                  <a:xfrm>
                    <a:off x="5351095" y="3911374"/>
                    <a:ext cx="6907" cy="12182"/>
                  </a:xfrm>
                  <a:custGeom>
                    <a:avLst/>
                    <a:gdLst>
                      <a:gd name="connsiteX0" fmla="*/ 1758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8"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3" name="Freeform: Shape 3072">
                    <a:extLst>
                      <a:ext uri="{FF2B5EF4-FFF2-40B4-BE49-F238E27FC236}">
                        <a16:creationId xmlns:a16="http://schemas.microsoft.com/office/drawing/2014/main" id="{5C0196F4-0694-44B3-B981-595FC0253144}"/>
                      </a:ext>
                    </a:extLst>
                  </p:cNvPr>
                  <p:cNvSpPr/>
                  <p:nvPr/>
                </p:nvSpPr>
                <p:spPr>
                  <a:xfrm>
                    <a:off x="5363906" y="3903964"/>
                    <a:ext cx="6907" cy="12308"/>
                  </a:xfrm>
                  <a:custGeom>
                    <a:avLst/>
                    <a:gdLst>
                      <a:gd name="connsiteX0" fmla="*/ 1633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633"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4" name="Freeform: Shape 3073">
                    <a:extLst>
                      <a:ext uri="{FF2B5EF4-FFF2-40B4-BE49-F238E27FC236}">
                        <a16:creationId xmlns:a16="http://schemas.microsoft.com/office/drawing/2014/main" id="{6E10B65E-8370-4386-A5CB-ED422476AA9D}"/>
                      </a:ext>
                    </a:extLst>
                  </p:cNvPr>
                  <p:cNvSpPr/>
                  <p:nvPr/>
                </p:nvSpPr>
                <p:spPr>
                  <a:xfrm>
                    <a:off x="5376591" y="3896679"/>
                    <a:ext cx="6907" cy="12182"/>
                  </a:xfrm>
                  <a:custGeom>
                    <a:avLst/>
                    <a:gdLst>
                      <a:gd name="connsiteX0" fmla="*/ 1758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8"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5" name="Freeform: Shape 3074">
                    <a:extLst>
                      <a:ext uri="{FF2B5EF4-FFF2-40B4-BE49-F238E27FC236}">
                        <a16:creationId xmlns:a16="http://schemas.microsoft.com/office/drawing/2014/main" id="{190A640D-03FD-4EBE-BBFE-03CB288ED88E}"/>
                      </a:ext>
                    </a:extLst>
                  </p:cNvPr>
                  <p:cNvSpPr/>
                  <p:nvPr/>
                </p:nvSpPr>
                <p:spPr>
                  <a:xfrm>
                    <a:off x="5389276" y="3889269"/>
                    <a:ext cx="6907" cy="12308"/>
                  </a:xfrm>
                  <a:custGeom>
                    <a:avLst/>
                    <a:gdLst>
                      <a:gd name="connsiteX0" fmla="*/ 1759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9"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76" name="Graphic 4">
                <a:extLst>
                  <a:ext uri="{FF2B5EF4-FFF2-40B4-BE49-F238E27FC236}">
                    <a16:creationId xmlns:a16="http://schemas.microsoft.com/office/drawing/2014/main" id="{84FB7ED1-A2DF-40A1-A747-5F7CF3F14040}"/>
                  </a:ext>
                </a:extLst>
              </p:cNvPr>
              <p:cNvGrpSpPr/>
              <p:nvPr/>
            </p:nvGrpSpPr>
            <p:grpSpPr>
              <a:xfrm>
                <a:off x="5470159" y="3798087"/>
                <a:ext cx="83269" cy="56392"/>
                <a:chOff x="5470159" y="3798087"/>
                <a:chExt cx="83269" cy="56392"/>
              </a:xfrm>
              <a:solidFill>
                <a:schemeClr val="accent1"/>
              </a:solidFill>
            </p:grpSpPr>
            <p:sp>
              <p:nvSpPr>
                <p:cNvPr id="3077" name="Freeform: Shape 3076">
                  <a:extLst>
                    <a:ext uri="{FF2B5EF4-FFF2-40B4-BE49-F238E27FC236}">
                      <a16:creationId xmlns:a16="http://schemas.microsoft.com/office/drawing/2014/main" id="{9FCF333B-84A0-484B-8831-32893DA831E8}"/>
                    </a:ext>
                  </a:extLst>
                </p:cNvPr>
                <p:cNvSpPr/>
                <p:nvPr/>
              </p:nvSpPr>
              <p:spPr>
                <a:xfrm>
                  <a:off x="5470159" y="3798087"/>
                  <a:ext cx="83269" cy="56392"/>
                </a:xfrm>
                <a:custGeom>
                  <a:avLst/>
                  <a:gdLst>
                    <a:gd name="connsiteX0" fmla="*/ 0 w 83269"/>
                    <a:gd name="connsiteY0" fmla="*/ 48103 h 56392"/>
                    <a:gd name="connsiteX1" fmla="*/ 0 w 83269"/>
                    <a:gd name="connsiteY1" fmla="*/ 56392 h 56392"/>
                    <a:gd name="connsiteX2" fmla="*/ 83269 w 83269"/>
                    <a:gd name="connsiteY2" fmla="*/ 8289 h 56392"/>
                    <a:gd name="connsiteX3" fmla="*/ 83269 w 83269"/>
                    <a:gd name="connsiteY3" fmla="*/ 0 h 56392"/>
                  </a:gdLst>
                  <a:ahLst/>
                  <a:cxnLst>
                    <a:cxn ang="0">
                      <a:pos x="connsiteX0" y="connsiteY0"/>
                    </a:cxn>
                    <a:cxn ang="0">
                      <a:pos x="connsiteX1" y="connsiteY1"/>
                    </a:cxn>
                    <a:cxn ang="0">
                      <a:pos x="connsiteX2" y="connsiteY2"/>
                    </a:cxn>
                    <a:cxn ang="0">
                      <a:pos x="connsiteX3" y="connsiteY3"/>
                    </a:cxn>
                  </a:cxnLst>
                  <a:rect l="l" t="t" r="r" b="b"/>
                  <a:pathLst>
                    <a:path w="83269" h="56392">
                      <a:moveTo>
                        <a:pt x="0" y="48103"/>
                      </a:moveTo>
                      <a:lnTo>
                        <a:pt x="0" y="56392"/>
                      </a:lnTo>
                      <a:lnTo>
                        <a:pt x="83269" y="8289"/>
                      </a:lnTo>
                      <a:lnTo>
                        <a:pt x="83269" y="0"/>
                      </a:lnTo>
                      <a:close/>
                    </a:path>
                  </a:pathLst>
                </a:custGeom>
                <a:solidFill>
                  <a:srgbClr val="FFDB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78" name="Graphic 4">
                  <a:extLst>
                    <a:ext uri="{FF2B5EF4-FFF2-40B4-BE49-F238E27FC236}">
                      <a16:creationId xmlns:a16="http://schemas.microsoft.com/office/drawing/2014/main" id="{84FB7ED1-A2DF-40A1-A747-5F7CF3F14040}"/>
                    </a:ext>
                  </a:extLst>
                </p:cNvPr>
                <p:cNvGrpSpPr/>
                <p:nvPr/>
              </p:nvGrpSpPr>
              <p:grpSpPr>
                <a:xfrm>
                  <a:off x="5470159" y="3801102"/>
                  <a:ext cx="78119" cy="53377"/>
                  <a:chOff x="5470159" y="3801102"/>
                  <a:chExt cx="78119" cy="53377"/>
                </a:xfrm>
                <a:solidFill>
                  <a:srgbClr val="3C3D32"/>
                </a:solidFill>
              </p:grpSpPr>
              <p:sp>
                <p:nvSpPr>
                  <p:cNvPr id="3079" name="Freeform: Shape 3078">
                    <a:extLst>
                      <a:ext uri="{FF2B5EF4-FFF2-40B4-BE49-F238E27FC236}">
                        <a16:creationId xmlns:a16="http://schemas.microsoft.com/office/drawing/2014/main" id="{8C39EEA5-4F0F-41E0-AC94-7C80EB03571A}"/>
                      </a:ext>
                    </a:extLst>
                  </p:cNvPr>
                  <p:cNvSpPr/>
                  <p:nvPr/>
                </p:nvSpPr>
                <p:spPr>
                  <a:xfrm>
                    <a:off x="5470159" y="3845185"/>
                    <a:ext cx="1758" cy="9294"/>
                  </a:xfrm>
                  <a:custGeom>
                    <a:avLst/>
                    <a:gdLst>
                      <a:gd name="connsiteX0" fmla="*/ 0 w 1758"/>
                      <a:gd name="connsiteY0" fmla="*/ 1005 h 9294"/>
                      <a:gd name="connsiteX1" fmla="*/ 0 w 1758"/>
                      <a:gd name="connsiteY1" fmla="*/ 9294 h 9294"/>
                      <a:gd name="connsiteX2" fmla="*/ 0 w 1758"/>
                      <a:gd name="connsiteY2" fmla="*/ 9294 h 9294"/>
                      <a:gd name="connsiteX3" fmla="*/ 1759 w 1758"/>
                      <a:gd name="connsiteY3" fmla="*/ 0 h 9294"/>
                    </a:gdLst>
                    <a:ahLst/>
                    <a:cxnLst>
                      <a:cxn ang="0">
                        <a:pos x="connsiteX0" y="connsiteY0"/>
                      </a:cxn>
                      <a:cxn ang="0">
                        <a:pos x="connsiteX1" y="connsiteY1"/>
                      </a:cxn>
                      <a:cxn ang="0">
                        <a:pos x="connsiteX2" y="connsiteY2"/>
                      </a:cxn>
                      <a:cxn ang="0">
                        <a:pos x="connsiteX3" y="connsiteY3"/>
                      </a:cxn>
                    </a:cxnLst>
                    <a:rect l="l" t="t" r="r" b="b"/>
                    <a:pathLst>
                      <a:path w="1758" h="9294">
                        <a:moveTo>
                          <a:pt x="0" y="1005"/>
                        </a:moveTo>
                        <a:lnTo>
                          <a:pt x="0" y="9294"/>
                        </a:lnTo>
                        <a:lnTo>
                          <a:pt x="0" y="9294"/>
                        </a:lnTo>
                        <a:lnTo>
                          <a:pt x="1759"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0" name="Freeform: Shape 3079">
                    <a:extLst>
                      <a:ext uri="{FF2B5EF4-FFF2-40B4-BE49-F238E27FC236}">
                        <a16:creationId xmlns:a16="http://schemas.microsoft.com/office/drawing/2014/main" id="{086CC268-E3FD-4C9B-90E3-CEE4C58F9044}"/>
                      </a:ext>
                    </a:extLst>
                  </p:cNvPr>
                  <p:cNvSpPr/>
                  <p:nvPr/>
                </p:nvSpPr>
                <p:spPr>
                  <a:xfrm>
                    <a:off x="5477821" y="3837775"/>
                    <a:ext cx="6907" cy="12308"/>
                  </a:xfrm>
                  <a:custGeom>
                    <a:avLst/>
                    <a:gdLst>
                      <a:gd name="connsiteX0" fmla="*/ 1633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633"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1" name="Freeform: Shape 3080">
                    <a:extLst>
                      <a:ext uri="{FF2B5EF4-FFF2-40B4-BE49-F238E27FC236}">
                        <a16:creationId xmlns:a16="http://schemas.microsoft.com/office/drawing/2014/main" id="{FF872CC7-9F42-48B8-8E06-2DF10026A579}"/>
                      </a:ext>
                    </a:extLst>
                  </p:cNvPr>
                  <p:cNvSpPr/>
                  <p:nvPr/>
                </p:nvSpPr>
                <p:spPr>
                  <a:xfrm>
                    <a:off x="5490505" y="3830491"/>
                    <a:ext cx="6907" cy="12308"/>
                  </a:xfrm>
                  <a:custGeom>
                    <a:avLst/>
                    <a:gdLst>
                      <a:gd name="connsiteX0" fmla="*/ 1759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9"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2" name="Freeform: Shape 3081">
                    <a:extLst>
                      <a:ext uri="{FF2B5EF4-FFF2-40B4-BE49-F238E27FC236}">
                        <a16:creationId xmlns:a16="http://schemas.microsoft.com/office/drawing/2014/main" id="{C107FCD3-817D-49E4-96B5-9FABF21D3536}"/>
                      </a:ext>
                    </a:extLst>
                  </p:cNvPr>
                  <p:cNvSpPr/>
                  <p:nvPr/>
                </p:nvSpPr>
                <p:spPr>
                  <a:xfrm>
                    <a:off x="5503191" y="3823081"/>
                    <a:ext cx="6907" cy="12308"/>
                  </a:xfrm>
                  <a:custGeom>
                    <a:avLst/>
                    <a:gdLst>
                      <a:gd name="connsiteX0" fmla="*/ 1759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9"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3" name="Freeform: Shape 3082">
                    <a:extLst>
                      <a:ext uri="{FF2B5EF4-FFF2-40B4-BE49-F238E27FC236}">
                        <a16:creationId xmlns:a16="http://schemas.microsoft.com/office/drawing/2014/main" id="{7E813C44-6843-4AEC-A92B-8822C00E1C29}"/>
                      </a:ext>
                    </a:extLst>
                  </p:cNvPr>
                  <p:cNvSpPr/>
                  <p:nvPr/>
                </p:nvSpPr>
                <p:spPr>
                  <a:xfrm>
                    <a:off x="5515876" y="3815796"/>
                    <a:ext cx="7033" cy="12308"/>
                  </a:xfrm>
                  <a:custGeom>
                    <a:avLst/>
                    <a:gdLst>
                      <a:gd name="connsiteX0" fmla="*/ 1758 w 7033"/>
                      <a:gd name="connsiteY0" fmla="*/ 3014 h 12308"/>
                      <a:gd name="connsiteX1" fmla="*/ 0 w 7033"/>
                      <a:gd name="connsiteY1" fmla="*/ 12308 h 12308"/>
                      <a:gd name="connsiteX2" fmla="*/ 5275 w 7033"/>
                      <a:gd name="connsiteY2" fmla="*/ 9294 h 12308"/>
                      <a:gd name="connsiteX3" fmla="*/ 7033 w 7033"/>
                      <a:gd name="connsiteY3" fmla="*/ 0 h 12308"/>
                    </a:gdLst>
                    <a:ahLst/>
                    <a:cxnLst>
                      <a:cxn ang="0">
                        <a:pos x="connsiteX0" y="connsiteY0"/>
                      </a:cxn>
                      <a:cxn ang="0">
                        <a:pos x="connsiteX1" y="connsiteY1"/>
                      </a:cxn>
                      <a:cxn ang="0">
                        <a:pos x="connsiteX2" y="connsiteY2"/>
                      </a:cxn>
                      <a:cxn ang="0">
                        <a:pos x="connsiteX3" y="connsiteY3"/>
                      </a:cxn>
                    </a:cxnLst>
                    <a:rect l="l" t="t" r="r" b="b"/>
                    <a:pathLst>
                      <a:path w="7033" h="12308">
                        <a:moveTo>
                          <a:pt x="1758" y="3014"/>
                        </a:moveTo>
                        <a:lnTo>
                          <a:pt x="0" y="12308"/>
                        </a:lnTo>
                        <a:lnTo>
                          <a:pt x="5275" y="9294"/>
                        </a:lnTo>
                        <a:lnTo>
                          <a:pt x="7033"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4" name="Freeform: Shape 3083">
                    <a:extLst>
                      <a:ext uri="{FF2B5EF4-FFF2-40B4-BE49-F238E27FC236}">
                        <a16:creationId xmlns:a16="http://schemas.microsoft.com/office/drawing/2014/main" id="{46FE8CEF-80FB-4E41-89FD-812245F8948A}"/>
                      </a:ext>
                    </a:extLst>
                  </p:cNvPr>
                  <p:cNvSpPr/>
                  <p:nvPr/>
                </p:nvSpPr>
                <p:spPr>
                  <a:xfrm>
                    <a:off x="5528686" y="3808512"/>
                    <a:ext cx="6907" cy="12182"/>
                  </a:xfrm>
                  <a:custGeom>
                    <a:avLst/>
                    <a:gdLst>
                      <a:gd name="connsiteX0" fmla="*/ 1759 w 6907"/>
                      <a:gd name="connsiteY0" fmla="*/ 2889 h 12182"/>
                      <a:gd name="connsiteX1" fmla="*/ 0 w 6907"/>
                      <a:gd name="connsiteY1" fmla="*/ 12183 h 12182"/>
                      <a:gd name="connsiteX2" fmla="*/ 5149 w 6907"/>
                      <a:gd name="connsiteY2" fmla="*/ 9168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9" y="2889"/>
                        </a:moveTo>
                        <a:lnTo>
                          <a:pt x="0" y="12183"/>
                        </a:lnTo>
                        <a:lnTo>
                          <a:pt x="5149" y="9168"/>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5" name="Freeform: Shape 3084">
                    <a:extLst>
                      <a:ext uri="{FF2B5EF4-FFF2-40B4-BE49-F238E27FC236}">
                        <a16:creationId xmlns:a16="http://schemas.microsoft.com/office/drawing/2014/main" id="{7C6BD2B5-4868-4C6C-B1E6-47D61A8B403A}"/>
                      </a:ext>
                    </a:extLst>
                  </p:cNvPr>
                  <p:cNvSpPr/>
                  <p:nvPr/>
                </p:nvSpPr>
                <p:spPr>
                  <a:xfrm>
                    <a:off x="5541372" y="3801102"/>
                    <a:ext cx="6907" cy="12308"/>
                  </a:xfrm>
                  <a:custGeom>
                    <a:avLst/>
                    <a:gdLst>
                      <a:gd name="connsiteX0" fmla="*/ 1758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8"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86" name="Graphic 4">
                <a:extLst>
                  <a:ext uri="{FF2B5EF4-FFF2-40B4-BE49-F238E27FC236}">
                    <a16:creationId xmlns:a16="http://schemas.microsoft.com/office/drawing/2014/main" id="{84FB7ED1-A2DF-40A1-A747-5F7CF3F14040}"/>
                  </a:ext>
                </a:extLst>
              </p:cNvPr>
              <p:cNvGrpSpPr/>
              <p:nvPr/>
            </p:nvGrpSpPr>
            <p:grpSpPr>
              <a:xfrm>
                <a:off x="5589977" y="3729136"/>
                <a:ext cx="83395" cy="56392"/>
                <a:chOff x="5589977" y="3729136"/>
                <a:chExt cx="83395" cy="56392"/>
              </a:xfrm>
              <a:solidFill>
                <a:schemeClr val="accent1"/>
              </a:solidFill>
            </p:grpSpPr>
            <p:sp>
              <p:nvSpPr>
                <p:cNvPr id="3087" name="Freeform: Shape 3086">
                  <a:extLst>
                    <a:ext uri="{FF2B5EF4-FFF2-40B4-BE49-F238E27FC236}">
                      <a16:creationId xmlns:a16="http://schemas.microsoft.com/office/drawing/2014/main" id="{CAAAA2A7-F5DF-410A-B253-2893C67B486B}"/>
                    </a:ext>
                  </a:extLst>
                </p:cNvPr>
                <p:cNvSpPr/>
                <p:nvPr/>
              </p:nvSpPr>
              <p:spPr>
                <a:xfrm>
                  <a:off x="5589977" y="3729136"/>
                  <a:ext cx="83395" cy="56392"/>
                </a:xfrm>
                <a:custGeom>
                  <a:avLst/>
                  <a:gdLst>
                    <a:gd name="connsiteX0" fmla="*/ 0 w 83395"/>
                    <a:gd name="connsiteY0" fmla="*/ 48103 h 56392"/>
                    <a:gd name="connsiteX1" fmla="*/ 0 w 83395"/>
                    <a:gd name="connsiteY1" fmla="*/ 56392 h 56392"/>
                    <a:gd name="connsiteX2" fmla="*/ 83395 w 83395"/>
                    <a:gd name="connsiteY2" fmla="*/ 8289 h 56392"/>
                    <a:gd name="connsiteX3" fmla="*/ 83395 w 83395"/>
                    <a:gd name="connsiteY3" fmla="*/ 0 h 56392"/>
                  </a:gdLst>
                  <a:ahLst/>
                  <a:cxnLst>
                    <a:cxn ang="0">
                      <a:pos x="connsiteX0" y="connsiteY0"/>
                    </a:cxn>
                    <a:cxn ang="0">
                      <a:pos x="connsiteX1" y="connsiteY1"/>
                    </a:cxn>
                    <a:cxn ang="0">
                      <a:pos x="connsiteX2" y="connsiteY2"/>
                    </a:cxn>
                    <a:cxn ang="0">
                      <a:pos x="connsiteX3" y="connsiteY3"/>
                    </a:cxn>
                  </a:cxnLst>
                  <a:rect l="l" t="t" r="r" b="b"/>
                  <a:pathLst>
                    <a:path w="83395" h="56392">
                      <a:moveTo>
                        <a:pt x="0" y="48103"/>
                      </a:moveTo>
                      <a:lnTo>
                        <a:pt x="0" y="56392"/>
                      </a:lnTo>
                      <a:lnTo>
                        <a:pt x="83395" y="8289"/>
                      </a:lnTo>
                      <a:lnTo>
                        <a:pt x="83395" y="0"/>
                      </a:lnTo>
                      <a:close/>
                    </a:path>
                  </a:pathLst>
                </a:custGeom>
                <a:solidFill>
                  <a:srgbClr val="FFDB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88" name="Graphic 4">
                  <a:extLst>
                    <a:ext uri="{FF2B5EF4-FFF2-40B4-BE49-F238E27FC236}">
                      <a16:creationId xmlns:a16="http://schemas.microsoft.com/office/drawing/2014/main" id="{84FB7ED1-A2DF-40A1-A747-5F7CF3F14040}"/>
                    </a:ext>
                  </a:extLst>
                </p:cNvPr>
                <p:cNvGrpSpPr/>
                <p:nvPr/>
              </p:nvGrpSpPr>
              <p:grpSpPr>
                <a:xfrm>
                  <a:off x="5589977" y="3732150"/>
                  <a:ext cx="78245" cy="53377"/>
                  <a:chOff x="5589977" y="3732150"/>
                  <a:chExt cx="78245" cy="53377"/>
                </a:xfrm>
                <a:solidFill>
                  <a:srgbClr val="3C3D32"/>
                </a:solidFill>
              </p:grpSpPr>
              <p:sp>
                <p:nvSpPr>
                  <p:cNvPr id="3089" name="Freeform: Shape 3088">
                    <a:extLst>
                      <a:ext uri="{FF2B5EF4-FFF2-40B4-BE49-F238E27FC236}">
                        <a16:creationId xmlns:a16="http://schemas.microsoft.com/office/drawing/2014/main" id="{9BF14B53-E9E1-4DF3-8791-C7DD3CEA427F}"/>
                      </a:ext>
                    </a:extLst>
                  </p:cNvPr>
                  <p:cNvSpPr/>
                  <p:nvPr/>
                </p:nvSpPr>
                <p:spPr>
                  <a:xfrm>
                    <a:off x="5589977" y="3776234"/>
                    <a:ext cx="1883" cy="9294"/>
                  </a:xfrm>
                  <a:custGeom>
                    <a:avLst/>
                    <a:gdLst>
                      <a:gd name="connsiteX0" fmla="*/ 0 w 1883"/>
                      <a:gd name="connsiteY0" fmla="*/ 1005 h 9294"/>
                      <a:gd name="connsiteX1" fmla="*/ 0 w 1883"/>
                      <a:gd name="connsiteY1" fmla="*/ 9294 h 9294"/>
                      <a:gd name="connsiteX2" fmla="*/ 126 w 1883"/>
                      <a:gd name="connsiteY2" fmla="*/ 9169 h 9294"/>
                      <a:gd name="connsiteX3" fmla="*/ 1884 w 1883"/>
                      <a:gd name="connsiteY3" fmla="*/ 0 h 9294"/>
                    </a:gdLst>
                    <a:ahLst/>
                    <a:cxnLst>
                      <a:cxn ang="0">
                        <a:pos x="connsiteX0" y="connsiteY0"/>
                      </a:cxn>
                      <a:cxn ang="0">
                        <a:pos x="connsiteX1" y="connsiteY1"/>
                      </a:cxn>
                      <a:cxn ang="0">
                        <a:pos x="connsiteX2" y="connsiteY2"/>
                      </a:cxn>
                      <a:cxn ang="0">
                        <a:pos x="connsiteX3" y="connsiteY3"/>
                      </a:cxn>
                    </a:cxnLst>
                    <a:rect l="l" t="t" r="r" b="b"/>
                    <a:pathLst>
                      <a:path w="1883" h="9294">
                        <a:moveTo>
                          <a:pt x="0" y="1005"/>
                        </a:moveTo>
                        <a:lnTo>
                          <a:pt x="0" y="9294"/>
                        </a:lnTo>
                        <a:lnTo>
                          <a:pt x="126" y="9169"/>
                        </a:lnTo>
                        <a:lnTo>
                          <a:pt x="1884"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0" name="Freeform: Shape 3089">
                    <a:extLst>
                      <a:ext uri="{FF2B5EF4-FFF2-40B4-BE49-F238E27FC236}">
                        <a16:creationId xmlns:a16="http://schemas.microsoft.com/office/drawing/2014/main" id="{0CC9CD46-9119-4818-8AEB-574C277D10E9}"/>
                      </a:ext>
                    </a:extLst>
                  </p:cNvPr>
                  <p:cNvSpPr/>
                  <p:nvPr/>
                </p:nvSpPr>
                <p:spPr>
                  <a:xfrm>
                    <a:off x="5597638" y="3768824"/>
                    <a:ext cx="7033" cy="12308"/>
                  </a:xfrm>
                  <a:custGeom>
                    <a:avLst/>
                    <a:gdLst>
                      <a:gd name="connsiteX0" fmla="*/ 1759 w 7033"/>
                      <a:gd name="connsiteY0" fmla="*/ 3014 h 12308"/>
                      <a:gd name="connsiteX1" fmla="*/ 0 w 7033"/>
                      <a:gd name="connsiteY1" fmla="*/ 12308 h 12308"/>
                      <a:gd name="connsiteX2" fmla="*/ 5149 w 7033"/>
                      <a:gd name="connsiteY2" fmla="*/ 9294 h 12308"/>
                      <a:gd name="connsiteX3" fmla="*/ 7034 w 7033"/>
                      <a:gd name="connsiteY3" fmla="*/ 0 h 12308"/>
                    </a:gdLst>
                    <a:ahLst/>
                    <a:cxnLst>
                      <a:cxn ang="0">
                        <a:pos x="connsiteX0" y="connsiteY0"/>
                      </a:cxn>
                      <a:cxn ang="0">
                        <a:pos x="connsiteX1" y="connsiteY1"/>
                      </a:cxn>
                      <a:cxn ang="0">
                        <a:pos x="connsiteX2" y="connsiteY2"/>
                      </a:cxn>
                      <a:cxn ang="0">
                        <a:pos x="connsiteX3" y="connsiteY3"/>
                      </a:cxn>
                    </a:cxnLst>
                    <a:rect l="l" t="t" r="r" b="b"/>
                    <a:pathLst>
                      <a:path w="7033" h="12308">
                        <a:moveTo>
                          <a:pt x="1759" y="3014"/>
                        </a:moveTo>
                        <a:lnTo>
                          <a:pt x="0" y="12308"/>
                        </a:lnTo>
                        <a:lnTo>
                          <a:pt x="5149" y="9294"/>
                        </a:lnTo>
                        <a:lnTo>
                          <a:pt x="7034"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1" name="Freeform: Shape 3090">
                    <a:extLst>
                      <a:ext uri="{FF2B5EF4-FFF2-40B4-BE49-F238E27FC236}">
                        <a16:creationId xmlns:a16="http://schemas.microsoft.com/office/drawing/2014/main" id="{77D7BFED-2F99-4B06-B3CB-5D222E7FFFAD}"/>
                      </a:ext>
                    </a:extLst>
                  </p:cNvPr>
                  <p:cNvSpPr/>
                  <p:nvPr/>
                </p:nvSpPr>
                <p:spPr>
                  <a:xfrm>
                    <a:off x="5610449" y="3761539"/>
                    <a:ext cx="6907" cy="12182"/>
                  </a:xfrm>
                  <a:custGeom>
                    <a:avLst/>
                    <a:gdLst>
                      <a:gd name="connsiteX0" fmla="*/ 1758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8"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2" name="Freeform: Shape 3091">
                    <a:extLst>
                      <a:ext uri="{FF2B5EF4-FFF2-40B4-BE49-F238E27FC236}">
                        <a16:creationId xmlns:a16="http://schemas.microsoft.com/office/drawing/2014/main" id="{00457550-DEDE-4D3A-9004-044409C84FB9}"/>
                      </a:ext>
                    </a:extLst>
                  </p:cNvPr>
                  <p:cNvSpPr/>
                  <p:nvPr/>
                </p:nvSpPr>
                <p:spPr>
                  <a:xfrm>
                    <a:off x="5623134" y="3754129"/>
                    <a:ext cx="6907" cy="12308"/>
                  </a:xfrm>
                  <a:custGeom>
                    <a:avLst/>
                    <a:gdLst>
                      <a:gd name="connsiteX0" fmla="*/ 1758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8"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3" name="Freeform: Shape 3092">
                    <a:extLst>
                      <a:ext uri="{FF2B5EF4-FFF2-40B4-BE49-F238E27FC236}">
                        <a16:creationId xmlns:a16="http://schemas.microsoft.com/office/drawing/2014/main" id="{3630E412-19D5-49F7-BB57-44F4FEE25B7E}"/>
                      </a:ext>
                    </a:extLst>
                  </p:cNvPr>
                  <p:cNvSpPr/>
                  <p:nvPr/>
                </p:nvSpPr>
                <p:spPr>
                  <a:xfrm>
                    <a:off x="5635819" y="3746845"/>
                    <a:ext cx="6907" cy="12182"/>
                  </a:xfrm>
                  <a:custGeom>
                    <a:avLst/>
                    <a:gdLst>
                      <a:gd name="connsiteX0" fmla="*/ 1759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9"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4" name="Freeform: Shape 3093">
                    <a:extLst>
                      <a:ext uri="{FF2B5EF4-FFF2-40B4-BE49-F238E27FC236}">
                        <a16:creationId xmlns:a16="http://schemas.microsoft.com/office/drawing/2014/main" id="{51008609-5E87-439C-89D8-2845005870C5}"/>
                      </a:ext>
                    </a:extLst>
                  </p:cNvPr>
                  <p:cNvSpPr/>
                  <p:nvPr/>
                </p:nvSpPr>
                <p:spPr>
                  <a:xfrm>
                    <a:off x="5648630" y="3739435"/>
                    <a:ext cx="6907" cy="12308"/>
                  </a:xfrm>
                  <a:custGeom>
                    <a:avLst/>
                    <a:gdLst>
                      <a:gd name="connsiteX0" fmla="*/ 1632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632"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5" name="Freeform: Shape 3094">
                    <a:extLst>
                      <a:ext uri="{FF2B5EF4-FFF2-40B4-BE49-F238E27FC236}">
                        <a16:creationId xmlns:a16="http://schemas.microsoft.com/office/drawing/2014/main" id="{B349FE11-DB6A-4AD9-BED6-0F356D9DAB85}"/>
                      </a:ext>
                    </a:extLst>
                  </p:cNvPr>
                  <p:cNvSpPr/>
                  <p:nvPr/>
                </p:nvSpPr>
                <p:spPr>
                  <a:xfrm>
                    <a:off x="5661314" y="3732150"/>
                    <a:ext cx="6907" cy="12182"/>
                  </a:xfrm>
                  <a:custGeom>
                    <a:avLst/>
                    <a:gdLst>
                      <a:gd name="connsiteX0" fmla="*/ 1759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9"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96" name="Graphic 4">
                <a:extLst>
                  <a:ext uri="{FF2B5EF4-FFF2-40B4-BE49-F238E27FC236}">
                    <a16:creationId xmlns:a16="http://schemas.microsoft.com/office/drawing/2014/main" id="{84FB7ED1-A2DF-40A1-A747-5F7CF3F14040}"/>
                  </a:ext>
                </a:extLst>
              </p:cNvPr>
              <p:cNvGrpSpPr/>
              <p:nvPr/>
            </p:nvGrpSpPr>
            <p:grpSpPr>
              <a:xfrm>
                <a:off x="5191464" y="3909992"/>
                <a:ext cx="117431" cy="96582"/>
                <a:chOff x="5191464" y="3909992"/>
                <a:chExt cx="117431" cy="96582"/>
              </a:xfrm>
              <a:solidFill>
                <a:schemeClr val="accent1"/>
              </a:solidFill>
            </p:grpSpPr>
            <p:sp>
              <p:nvSpPr>
                <p:cNvPr id="3097" name="Freeform: Shape 3096">
                  <a:extLst>
                    <a:ext uri="{FF2B5EF4-FFF2-40B4-BE49-F238E27FC236}">
                      <a16:creationId xmlns:a16="http://schemas.microsoft.com/office/drawing/2014/main" id="{B10A9F9D-1817-40BC-A860-55B56C7300A5}"/>
                    </a:ext>
                  </a:extLst>
                </p:cNvPr>
                <p:cNvSpPr/>
                <p:nvPr/>
              </p:nvSpPr>
              <p:spPr>
                <a:xfrm>
                  <a:off x="5191464" y="3913006"/>
                  <a:ext cx="117431" cy="93568"/>
                </a:xfrm>
                <a:custGeom>
                  <a:avLst/>
                  <a:gdLst>
                    <a:gd name="connsiteX0" fmla="*/ 117431 w 117431"/>
                    <a:gd name="connsiteY0" fmla="*/ 67821 h 93568"/>
                    <a:gd name="connsiteX1" fmla="*/ 0 w 117431"/>
                    <a:gd name="connsiteY1" fmla="*/ 0 h 93568"/>
                    <a:gd name="connsiteX2" fmla="*/ 0 w 117431"/>
                    <a:gd name="connsiteY2" fmla="*/ 25370 h 93568"/>
                    <a:gd name="connsiteX3" fmla="*/ 117431 w 117431"/>
                    <a:gd name="connsiteY3" fmla="*/ 93568 h 93568"/>
                  </a:gdLst>
                  <a:ahLst/>
                  <a:cxnLst>
                    <a:cxn ang="0">
                      <a:pos x="connsiteX0" y="connsiteY0"/>
                    </a:cxn>
                    <a:cxn ang="0">
                      <a:pos x="connsiteX1" y="connsiteY1"/>
                    </a:cxn>
                    <a:cxn ang="0">
                      <a:pos x="connsiteX2" y="connsiteY2"/>
                    </a:cxn>
                    <a:cxn ang="0">
                      <a:pos x="connsiteX3" y="connsiteY3"/>
                    </a:cxn>
                  </a:cxnLst>
                  <a:rect l="l" t="t" r="r" b="b"/>
                  <a:pathLst>
                    <a:path w="117431" h="93568">
                      <a:moveTo>
                        <a:pt x="117431" y="67821"/>
                      </a:moveTo>
                      <a:lnTo>
                        <a:pt x="0" y="0"/>
                      </a:lnTo>
                      <a:lnTo>
                        <a:pt x="0" y="25370"/>
                      </a:lnTo>
                      <a:lnTo>
                        <a:pt x="117431" y="93568"/>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8" name="Freeform: Shape 3097">
                  <a:extLst>
                    <a:ext uri="{FF2B5EF4-FFF2-40B4-BE49-F238E27FC236}">
                      <a16:creationId xmlns:a16="http://schemas.microsoft.com/office/drawing/2014/main" id="{4667D3A9-2BE0-4C62-A65B-802E7AF6A019}"/>
                    </a:ext>
                  </a:extLst>
                </p:cNvPr>
                <p:cNvSpPr/>
                <p:nvPr/>
              </p:nvSpPr>
              <p:spPr>
                <a:xfrm>
                  <a:off x="5191464" y="3909992"/>
                  <a:ext cx="117431" cy="70835"/>
                </a:xfrm>
                <a:custGeom>
                  <a:avLst/>
                  <a:gdLst>
                    <a:gd name="connsiteX0" fmla="*/ 117431 w 117431"/>
                    <a:gd name="connsiteY0" fmla="*/ 64807 h 70835"/>
                    <a:gd name="connsiteX1" fmla="*/ 5149 w 117431"/>
                    <a:gd name="connsiteY1" fmla="*/ 0 h 70835"/>
                    <a:gd name="connsiteX2" fmla="*/ 0 w 117431"/>
                    <a:gd name="connsiteY2" fmla="*/ 3014 h 70835"/>
                    <a:gd name="connsiteX3" fmla="*/ 117431 w 117431"/>
                    <a:gd name="connsiteY3" fmla="*/ 70835 h 70835"/>
                  </a:gdLst>
                  <a:ahLst/>
                  <a:cxnLst>
                    <a:cxn ang="0">
                      <a:pos x="connsiteX0" y="connsiteY0"/>
                    </a:cxn>
                    <a:cxn ang="0">
                      <a:pos x="connsiteX1" y="connsiteY1"/>
                    </a:cxn>
                    <a:cxn ang="0">
                      <a:pos x="connsiteX2" y="connsiteY2"/>
                    </a:cxn>
                    <a:cxn ang="0">
                      <a:pos x="connsiteX3" y="connsiteY3"/>
                    </a:cxn>
                  </a:cxnLst>
                  <a:rect l="l" t="t" r="r" b="b"/>
                  <a:pathLst>
                    <a:path w="117431" h="70835">
                      <a:moveTo>
                        <a:pt x="117431" y="64807"/>
                      </a:moveTo>
                      <a:lnTo>
                        <a:pt x="5149" y="0"/>
                      </a:lnTo>
                      <a:lnTo>
                        <a:pt x="0" y="3014"/>
                      </a:lnTo>
                      <a:lnTo>
                        <a:pt x="117431" y="70835"/>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99" name="Graphic 4">
              <a:extLst>
                <a:ext uri="{FF2B5EF4-FFF2-40B4-BE49-F238E27FC236}">
                  <a16:creationId xmlns:a16="http://schemas.microsoft.com/office/drawing/2014/main" id="{84FB7ED1-A2DF-40A1-A747-5F7CF3F14040}"/>
                </a:ext>
              </a:extLst>
            </p:cNvPr>
            <p:cNvGrpSpPr/>
            <p:nvPr/>
          </p:nvGrpSpPr>
          <p:grpSpPr>
            <a:xfrm>
              <a:off x="5485607" y="3575659"/>
              <a:ext cx="130492" cy="157119"/>
              <a:chOff x="5485607" y="3575659"/>
              <a:chExt cx="130492" cy="157119"/>
            </a:xfrm>
            <a:solidFill>
              <a:schemeClr val="accent1"/>
            </a:solidFill>
          </p:grpSpPr>
          <p:sp>
            <p:nvSpPr>
              <p:cNvPr id="3100" name="Freeform: Shape 3099">
                <a:extLst>
                  <a:ext uri="{FF2B5EF4-FFF2-40B4-BE49-F238E27FC236}">
                    <a16:creationId xmlns:a16="http://schemas.microsoft.com/office/drawing/2014/main" id="{BCF339E0-6BD2-406E-A082-687227104136}"/>
                  </a:ext>
                </a:extLst>
              </p:cNvPr>
              <p:cNvSpPr/>
              <p:nvPr/>
            </p:nvSpPr>
            <p:spPr>
              <a:xfrm>
                <a:off x="5550917" y="3613337"/>
                <a:ext cx="65183" cy="119440"/>
              </a:xfrm>
              <a:custGeom>
                <a:avLst/>
                <a:gdLst>
                  <a:gd name="connsiteX0" fmla="*/ 0 w 65183"/>
                  <a:gd name="connsiteY0" fmla="*/ 119441 h 119440"/>
                  <a:gd name="connsiteX1" fmla="*/ 0 w 65183"/>
                  <a:gd name="connsiteY1" fmla="*/ 37678 h 119440"/>
                  <a:gd name="connsiteX2" fmla="*/ 65183 w 65183"/>
                  <a:gd name="connsiteY2" fmla="*/ 0 h 119440"/>
                  <a:gd name="connsiteX3" fmla="*/ 65183 w 65183"/>
                  <a:gd name="connsiteY3" fmla="*/ 81637 h 119440"/>
                </a:gdLst>
                <a:ahLst/>
                <a:cxnLst>
                  <a:cxn ang="0">
                    <a:pos x="connsiteX0" y="connsiteY0"/>
                  </a:cxn>
                  <a:cxn ang="0">
                    <a:pos x="connsiteX1" y="connsiteY1"/>
                  </a:cxn>
                  <a:cxn ang="0">
                    <a:pos x="connsiteX2" y="connsiteY2"/>
                  </a:cxn>
                  <a:cxn ang="0">
                    <a:pos x="connsiteX3" y="connsiteY3"/>
                  </a:cxn>
                </a:cxnLst>
                <a:rect l="l" t="t" r="r" b="b"/>
                <a:pathLst>
                  <a:path w="65183" h="119440">
                    <a:moveTo>
                      <a:pt x="0" y="119441"/>
                    </a:moveTo>
                    <a:lnTo>
                      <a:pt x="0" y="37678"/>
                    </a:lnTo>
                    <a:lnTo>
                      <a:pt x="65183" y="0"/>
                    </a:lnTo>
                    <a:lnTo>
                      <a:pt x="65183" y="81637"/>
                    </a:lnTo>
                    <a:close/>
                  </a:path>
                </a:pathLst>
              </a:custGeom>
              <a:solidFill>
                <a:srgbClr val="DBA7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1" name="Freeform: Shape 3100">
                <a:extLst>
                  <a:ext uri="{FF2B5EF4-FFF2-40B4-BE49-F238E27FC236}">
                    <a16:creationId xmlns:a16="http://schemas.microsoft.com/office/drawing/2014/main" id="{713179FD-8B9F-4509-8CF1-D992BF8389EE}"/>
                  </a:ext>
                </a:extLst>
              </p:cNvPr>
              <p:cNvSpPr/>
              <p:nvPr/>
            </p:nvSpPr>
            <p:spPr>
              <a:xfrm>
                <a:off x="5485607" y="3613337"/>
                <a:ext cx="65309" cy="119440"/>
              </a:xfrm>
              <a:custGeom>
                <a:avLst/>
                <a:gdLst>
                  <a:gd name="connsiteX0" fmla="*/ 65309 w 65309"/>
                  <a:gd name="connsiteY0" fmla="*/ 119441 h 119440"/>
                  <a:gd name="connsiteX1" fmla="*/ 65309 w 65309"/>
                  <a:gd name="connsiteY1" fmla="*/ 37678 h 119440"/>
                  <a:gd name="connsiteX2" fmla="*/ 0 w 65309"/>
                  <a:gd name="connsiteY2" fmla="*/ 0 h 119440"/>
                  <a:gd name="connsiteX3" fmla="*/ 0 w 65309"/>
                  <a:gd name="connsiteY3" fmla="*/ 81637 h 119440"/>
                </a:gdLst>
                <a:ahLst/>
                <a:cxnLst>
                  <a:cxn ang="0">
                    <a:pos x="connsiteX0" y="connsiteY0"/>
                  </a:cxn>
                  <a:cxn ang="0">
                    <a:pos x="connsiteX1" y="connsiteY1"/>
                  </a:cxn>
                  <a:cxn ang="0">
                    <a:pos x="connsiteX2" y="connsiteY2"/>
                  </a:cxn>
                  <a:cxn ang="0">
                    <a:pos x="connsiteX3" y="connsiteY3"/>
                  </a:cxn>
                </a:cxnLst>
                <a:rect l="l" t="t" r="r" b="b"/>
                <a:pathLst>
                  <a:path w="65309" h="119440">
                    <a:moveTo>
                      <a:pt x="65309" y="119441"/>
                    </a:moveTo>
                    <a:lnTo>
                      <a:pt x="65309" y="37678"/>
                    </a:lnTo>
                    <a:lnTo>
                      <a:pt x="0" y="0"/>
                    </a:lnTo>
                    <a:lnTo>
                      <a:pt x="0" y="81637"/>
                    </a:lnTo>
                    <a:close/>
                  </a:path>
                </a:pathLst>
              </a:custGeom>
              <a:solidFill>
                <a:srgbClr val="E8B6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2" name="Freeform: Shape 3101">
                <a:extLst>
                  <a:ext uri="{FF2B5EF4-FFF2-40B4-BE49-F238E27FC236}">
                    <a16:creationId xmlns:a16="http://schemas.microsoft.com/office/drawing/2014/main" id="{6780DCA2-C7AB-4F97-B655-EC573725D2A1}"/>
                  </a:ext>
                </a:extLst>
              </p:cNvPr>
              <p:cNvSpPr/>
              <p:nvPr/>
            </p:nvSpPr>
            <p:spPr>
              <a:xfrm>
                <a:off x="5485607" y="3575659"/>
                <a:ext cx="130492" cy="75356"/>
              </a:xfrm>
              <a:custGeom>
                <a:avLst/>
                <a:gdLst>
                  <a:gd name="connsiteX0" fmla="*/ 0 w 130492"/>
                  <a:gd name="connsiteY0" fmla="*/ 37678 h 75356"/>
                  <a:gd name="connsiteX1" fmla="*/ 65309 w 130492"/>
                  <a:gd name="connsiteY1" fmla="*/ 75357 h 75356"/>
                  <a:gd name="connsiteX2" fmla="*/ 130493 w 130492"/>
                  <a:gd name="connsiteY2" fmla="*/ 37678 h 75356"/>
                  <a:gd name="connsiteX3" fmla="*/ 65309 w 130492"/>
                  <a:gd name="connsiteY3" fmla="*/ 0 h 75356"/>
                </a:gdLst>
                <a:ahLst/>
                <a:cxnLst>
                  <a:cxn ang="0">
                    <a:pos x="connsiteX0" y="connsiteY0"/>
                  </a:cxn>
                  <a:cxn ang="0">
                    <a:pos x="connsiteX1" y="connsiteY1"/>
                  </a:cxn>
                  <a:cxn ang="0">
                    <a:pos x="connsiteX2" y="connsiteY2"/>
                  </a:cxn>
                  <a:cxn ang="0">
                    <a:pos x="connsiteX3" y="connsiteY3"/>
                  </a:cxn>
                </a:cxnLst>
                <a:rect l="l" t="t" r="r" b="b"/>
                <a:pathLst>
                  <a:path w="130492" h="75356">
                    <a:moveTo>
                      <a:pt x="0" y="37678"/>
                    </a:moveTo>
                    <a:lnTo>
                      <a:pt x="65309" y="75357"/>
                    </a:lnTo>
                    <a:lnTo>
                      <a:pt x="130493" y="37678"/>
                    </a:lnTo>
                    <a:lnTo>
                      <a:pt x="65309" y="0"/>
                    </a:lnTo>
                    <a:close/>
                  </a:path>
                </a:pathLst>
              </a:custGeom>
              <a:solidFill>
                <a:srgbClr val="FFE1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03" name="Graphic 4">
                <a:extLst>
                  <a:ext uri="{FF2B5EF4-FFF2-40B4-BE49-F238E27FC236}">
                    <a16:creationId xmlns:a16="http://schemas.microsoft.com/office/drawing/2014/main" id="{84FB7ED1-A2DF-40A1-A747-5F7CF3F14040}"/>
                  </a:ext>
                </a:extLst>
              </p:cNvPr>
              <p:cNvGrpSpPr/>
              <p:nvPr/>
            </p:nvGrpSpPr>
            <p:grpSpPr>
              <a:xfrm>
                <a:off x="5489501" y="3589600"/>
                <a:ext cx="122078" cy="131497"/>
                <a:chOff x="5489501" y="3589600"/>
                <a:chExt cx="122078" cy="131497"/>
              </a:xfrm>
              <a:solidFill>
                <a:schemeClr val="accent1"/>
              </a:solidFill>
            </p:grpSpPr>
            <p:sp>
              <p:nvSpPr>
                <p:cNvPr id="3104" name="Freeform: Shape 3103">
                  <a:extLst>
                    <a:ext uri="{FF2B5EF4-FFF2-40B4-BE49-F238E27FC236}">
                      <a16:creationId xmlns:a16="http://schemas.microsoft.com/office/drawing/2014/main" id="{494A901E-AD2F-4ED5-97E1-B99A64640E83}"/>
                    </a:ext>
                  </a:extLst>
                </p:cNvPr>
                <p:cNvSpPr/>
                <p:nvPr/>
              </p:nvSpPr>
              <p:spPr>
                <a:xfrm>
                  <a:off x="5577291" y="3627278"/>
                  <a:ext cx="14569" cy="32277"/>
                </a:xfrm>
                <a:custGeom>
                  <a:avLst/>
                  <a:gdLst>
                    <a:gd name="connsiteX0" fmla="*/ 14569 w 14569"/>
                    <a:gd name="connsiteY0" fmla="*/ 23863 h 32277"/>
                    <a:gd name="connsiteX1" fmla="*/ 0 w 14569"/>
                    <a:gd name="connsiteY1" fmla="*/ 32278 h 32277"/>
                    <a:gd name="connsiteX2" fmla="*/ 0 w 14569"/>
                    <a:gd name="connsiteY2" fmla="*/ 8415 h 32277"/>
                    <a:gd name="connsiteX3" fmla="*/ 14569 w 14569"/>
                    <a:gd name="connsiteY3" fmla="*/ 0 h 32277"/>
                  </a:gdLst>
                  <a:ahLst/>
                  <a:cxnLst>
                    <a:cxn ang="0">
                      <a:pos x="connsiteX0" y="connsiteY0"/>
                    </a:cxn>
                    <a:cxn ang="0">
                      <a:pos x="connsiteX1" y="connsiteY1"/>
                    </a:cxn>
                    <a:cxn ang="0">
                      <a:pos x="connsiteX2" y="connsiteY2"/>
                    </a:cxn>
                    <a:cxn ang="0">
                      <a:pos x="connsiteX3" y="connsiteY3"/>
                    </a:cxn>
                  </a:cxnLst>
                  <a:rect l="l" t="t" r="r" b="b"/>
                  <a:pathLst>
                    <a:path w="14569" h="32277">
                      <a:moveTo>
                        <a:pt x="14569" y="23863"/>
                      </a:moveTo>
                      <a:lnTo>
                        <a:pt x="0" y="32278"/>
                      </a:lnTo>
                      <a:lnTo>
                        <a:pt x="0" y="8415"/>
                      </a:lnTo>
                      <a:lnTo>
                        <a:pt x="14569"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5" name="Freeform: Shape 3104">
                  <a:extLst>
                    <a:ext uri="{FF2B5EF4-FFF2-40B4-BE49-F238E27FC236}">
                      <a16:creationId xmlns:a16="http://schemas.microsoft.com/office/drawing/2014/main" id="{EFCD161F-1F68-4725-843D-CE827C667194}"/>
                    </a:ext>
                  </a:extLst>
                </p:cNvPr>
                <p:cNvSpPr/>
                <p:nvPr/>
              </p:nvSpPr>
              <p:spPr>
                <a:xfrm>
                  <a:off x="5512108" y="3589600"/>
                  <a:ext cx="79752" cy="46218"/>
                </a:xfrm>
                <a:custGeom>
                  <a:avLst/>
                  <a:gdLst>
                    <a:gd name="connsiteX0" fmla="*/ 79753 w 79752"/>
                    <a:gd name="connsiteY0" fmla="*/ 37678 h 46218"/>
                    <a:gd name="connsiteX1" fmla="*/ 14569 w 79752"/>
                    <a:gd name="connsiteY1" fmla="*/ 0 h 46218"/>
                    <a:gd name="connsiteX2" fmla="*/ 0 w 79752"/>
                    <a:gd name="connsiteY2" fmla="*/ 8415 h 46218"/>
                    <a:gd name="connsiteX3" fmla="*/ 65184 w 79752"/>
                    <a:gd name="connsiteY3" fmla="*/ 46219 h 46218"/>
                  </a:gdLst>
                  <a:ahLst/>
                  <a:cxnLst>
                    <a:cxn ang="0">
                      <a:pos x="connsiteX0" y="connsiteY0"/>
                    </a:cxn>
                    <a:cxn ang="0">
                      <a:pos x="connsiteX1" y="connsiteY1"/>
                    </a:cxn>
                    <a:cxn ang="0">
                      <a:pos x="connsiteX2" y="connsiteY2"/>
                    </a:cxn>
                    <a:cxn ang="0">
                      <a:pos x="connsiteX3" y="connsiteY3"/>
                    </a:cxn>
                  </a:cxnLst>
                  <a:rect l="l" t="t" r="r" b="b"/>
                  <a:pathLst>
                    <a:path w="79752" h="46218">
                      <a:moveTo>
                        <a:pt x="79753" y="37678"/>
                      </a:moveTo>
                      <a:lnTo>
                        <a:pt x="14569" y="0"/>
                      </a:lnTo>
                      <a:lnTo>
                        <a:pt x="0" y="8415"/>
                      </a:lnTo>
                      <a:lnTo>
                        <a:pt x="65184" y="46219"/>
                      </a:lnTo>
                      <a:close/>
                    </a:path>
                  </a:pathLst>
                </a:custGeom>
                <a:solidFill>
                  <a:srgbClr val="6D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6" name="Freeform: Shape 3105">
                  <a:extLst>
                    <a:ext uri="{FF2B5EF4-FFF2-40B4-BE49-F238E27FC236}">
                      <a16:creationId xmlns:a16="http://schemas.microsoft.com/office/drawing/2014/main" id="{77C5756A-DF8B-4F84-A1AD-2E761D3BC075}"/>
                    </a:ext>
                  </a:extLst>
                </p:cNvPr>
                <p:cNvSpPr/>
                <p:nvPr/>
              </p:nvSpPr>
              <p:spPr>
                <a:xfrm>
                  <a:off x="5559583" y="3704142"/>
                  <a:ext cx="21853" cy="16955"/>
                </a:xfrm>
                <a:custGeom>
                  <a:avLst/>
                  <a:gdLst>
                    <a:gd name="connsiteX0" fmla="*/ 0 w 21853"/>
                    <a:gd name="connsiteY0" fmla="*/ 16955 h 16955"/>
                    <a:gd name="connsiteX1" fmla="*/ 0 w 21853"/>
                    <a:gd name="connsiteY1" fmla="*/ 12685 h 16955"/>
                    <a:gd name="connsiteX2" fmla="*/ 21854 w 21853"/>
                    <a:gd name="connsiteY2" fmla="*/ 0 h 16955"/>
                    <a:gd name="connsiteX3" fmla="*/ 21854 w 21853"/>
                    <a:gd name="connsiteY3" fmla="*/ 4270 h 16955"/>
                  </a:gdLst>
                  <a:ahLst/>
                  <a:cxnLst>
                    <a:cxn ang="0">
                      <a:pos x="connsiteX0" y="connsiteY0"/>
                    </a:cxn>
                    <a:cxn ang="0">
                      <a:pos x="connsiteX1" y="connsiteY1"/>
                    </a:cxn>
                    <a:cxn ang="0">
                      <a:pos x="connsiteX2" y="connsiteY2"/>
                    </a:cxn>
                    <a:cxn ang="0">
                      <a:pos x="connsiteX3" y="connsiteY3"/>
                    </a:cxn>
                  </a:cxnLst>
                  <a:rect l="l" t="t" r="r" b="b"/>
                  <a:pathLst>
                    <a:path w="21853" h="16955">
                      <a:moveTo>
                        <a:pt x="0" y="16955"/>
                      </a:moveTo>
                      <a:lnTo>
                        <a:pt x="0" y="12685"/>
                      </a:lnTo>
                      <a:lnTo>
                        <a:pt x="21854" y="0"/>
                      </a:lnTo>
                      <a:lnTo>
                        <a:pt x="21854"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7" name="Freeform: Shape 3106">
                  <a:extLst>
                    <a:ext uri="{FF2B5EF4-FFF2-40B4-BE49-F238E27FC236}">
                      <a16:creationId xmlns:a16="http://schemas.microsoft.com/office/drawing/2014/main" id="{66C14AD2-D54F-4437-92F3-EE1C054203FB}"/>
                    </a:ext>
                  </a:extLst>
                </p:cNvPr>
                <p:cNvSpPr/>
                <p:nvPr/>
              </p:nvSpPr>
              <p:spPr>
                <a:xfrm>
                  <a:off x="5559583" y="3696607"/>
                  <a:ext cx="21853" cy="16955"/>
                </a:xfrm>
                <a:custGeom>
                  <a:avLst/>
                  <a:gdLst>
                    <a:gd name="connsiteX0" fmla="*/ 0 w 21853"/>
                    <a:gd name="connsiteY0" fmla="*/ 16955 h 16955"/>
                    <a:gd name="connsiteX1" fmla="*/ 0 w 21853"/>
                    <a:gd name="connsiteY1" fmla="*/ 12685 h 16955"/>
                    <a:gd name="connsiteX2" fmla="*/ 21854 w 21853"/>
                    <a:gd name="connsiteY2" fmla="*/ 0 h 16955"/>
                    <a:gd name="connsiteX3" fmla="*/ 21854 w 21853"/>
                    <a:gd name="connsiteY3" fmla="*/ 4270 h 16955"/>
                  </a:gdLst>
                  <a:ahLst/>
                  <a:cxnLst>
                    <a:cxn ang="0">
                      <a:pos x="connsiteX0" y="connsiteY0"/>
                    </a:cxn>
                    <a:cxn ang="0">
                      <a:pos x="connsiteX1" y="connsiteY1"/>
                    </a:cxn>
                    <a:cxn ang="0">
                      <a:pos x="connsiteX2" y="connsiteY2"/>
                    </a:cxn>
                    <a:cxn ang="0">
                      <a:pos x="connsiteX3" y="connsiteY3"/>
                    </a:cxn>
                  </a:cxnLst>
                  <a:rect l="l" t="t" r="r" b="b"/>
                  <a:pathLst>
                    <a:path w="21853" h="16955">
                      <a:moveTo>
                        <a:pt x="0" y="16955"/>
                      </a:moveTo>
                      <a:lnTo>
                        <a:pt x="0" y="12685"/>
                      </a:lnTo>
                      <a:lnTo>
                        <a:pt x="21854" y="0"/>
                      </a:lnTo>
                      <a:lnTo>
                        <a:pt x="21854"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8" name="Freeform: Shape 3107">
                  <a:extLst>
                    <a:ext uri="{FF2B5EF4-FFF2-40B4-BE49-F238E27FC236}">
                      <a16:creationId xmlns:a16="http://schemas.microsoft.com/office/drawing/2014/main" id="{E8389659-29F5-4017-A6EE-2C7701C923A8}"/>
                    </a:ext>
                  </a:extLst>
                </p:cNvPr>
                <p:cNvSpPr/>
                <p:nvPr/>
              </p:nvSpPr>
              <p:spPr>
                <a:xfrm>
                  <a:off x="5601155" y="3676888"/>
                  <a:ext cx="10424" cy="20597"/>
                </a:xfrm>
                <a:custGeom>
                  <a:avLst/>
                  <a:gdLst>
                    <a:gd name="connsiteX0" fmla="*/ 0 w 10424"/>
                    <a:gd name="connsiteY0" fmla="*/ 6028 h 20597"/>
                    <a:gd name="connsiteX1" fmla="*/ 0 w 10424"/>
                    <a:gd name="connsiteY1" fmla="*/ 20598 h 20597"/>
                    <a:gd name="connsiteX2" fmla="*/ 10424 w 10424"/>
                    <a:gd name="connsiteY2" fmla="*/ 14569 h 20597"/>
                    <a:gd name="connsiteX3" fmla="*/ 10424 w 10424"/>
                    <a:gd name="connsiteY3" fmla="*/ 0 h 20597"/>
                  </a:gdLst>
                  <a:ahLst/>
                  <a:cxnLst>
                    <a:cxn ang="0">
                      <a:pos x="connsiteX0" y="connsiteY0"/>
                    </a:cxn>
                    <a:cxn ang="0">
                      <a:pos x="connsiteX1" y="connsiteY1"/>
                    </a:cxn>
                    <a:cxn ang="0">
                      <a:pos x="connsiteX2" y="connsiteY2"/>
                    </a:cxn>
                    <a:cxn ang="0">
                      <a:pos x="connsiteX3" y="connsiteY3"/>
                    </a:cxn>
                  </a:cxnLst>
                  <a:rect l="l" t="t" r="r" b="b"/>
                  <a:pathLst>
                    <a:path w="10424" h="20597">
                      <a:moveTo>
                        <a:pt x="0" y="6028"/>
                      </a:moveTo>
                      <a:lnTo>
                        <a:pt x="0" y="20598"/>
                      </a:lnTo>
                      <a:lnTo>
                        <a:pt x="10424" y="14569"/>
                      </a:lnTo>
                      <a:lnTo>
                        <a:pt x="10424"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9" name="Freeform: Shape 3108">
                  <a:extLst>
                    <a:ext uri="{FF2B5EF4-FFF2-40B4-BE49-F238E27FC236}">
                      <a16:creationId xmlns:a16="http://schemas.microsoft.com/office/drawing/2014/main" id="{E02B5A8F-3955-467F-B49F-94DED517A0A9}"/>
                    </a:ext>
                  </a:extLst>
                </p:cNvPr>
                <p:cNvSpPr/>
                <p:nvPr/>
              </p:nvSpPr>
              <p:spPr>
                <a:xfrm>
                  <a:off x="5489501" y="3675381"/>
                  <a:ext cx="10549" cy="21225"/>
                </a:xfrm>
                <a:custGeom>
                  <a:avLst/>
                  <a:gdLst>
                    <a:gd name="connsiteX0" fmla="*/ 10550 w 10549"/>
                    <a:gd name="connsiteY0" fmla="*/ 6029 h 21225"/>
                    <a:gd name="connsiteX1" fmla="*/ 10550 w 10549"/>
                    <a:gd name="connsiteY1" fmla="*/ 21226 h 21225"/>
                    <a:gd name="connsiteX2" fmla="*/ 0 w 10549"/>
                    <a:gd name="connsiteY2" fmla="*/ 15197 h 21225"/>
                    <a:gd name="connsiteX3" fmla="*/ 0 w 10549"/>
                    <a:gd name="connsiteY3" fmla="*/ 0 h 21225"/>
                  </a:gdLst>
                  <a:ahLst/>
                  <a:cxnLst>
                    <a:cxn ang="0">
                      <a:pos x="connsiteX0" y="connsiteY0"/>
                    </a:cxn>
                    <a:cxn ang="0">
                      <a:pos x="connsiteX1" y="connsiteY1"/>
                    </a:cxn>
                    <a:cxn ang="0">
                      <a:pos x="connsiteX2" y="connsiteY2"/>
                    </a:cxn>
                    <a:cxn ang="0">
                      <a:pos x="connsiteX3" y="connsiteY3"/>
                    </a:cxn>
                  </a:cxnLst>
                  <a:rect l="l" t="t" r="r" b="b"/>
                  <a:pathLst>
                    <a:path w="10549" h="21225">
                      <a:moveTo>
                        <a:pt x="10550" y="6029"/>
                      </a:moveTo>
                      <a:lnTo>
                        <a:pt x="10550"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0" name="Freeform: Shape 3109">
                  <a:extLst>
                    <a:ext uri="{FF2B5EF4-FFF2-40B4-BE49-F238E27FC236}">
                      <a16:creationId xmlns:a16="http://schemas.microsoft.com/office/drawing/2014/main" id="{6AB3618F-E0AB-4461-A497-6034898ADA6F}"/>
                    </a:ext>
                  </a:extLst>
                </p:cNvPr>
                <p:cNvSpPr/>
                <p:nvPr/>
              </p:nvSpPr>
              <p:spPr>
                <a:xfrm>
                  <a:off x="5503819" y="3683670"/>
                  <a:ext cx="10549" cy="21225"/>
                </a:xfrm>
                <a:custGeom>
                  <a:avLst/>
                  <a:gdLst>
                    <a:gd name="connsiteX0" fmla="*/ 10550 w 10549"/>
                    <a:gd name="connsiteY0" fmla="*/ 6028 h 21225"/>
                    <a:gd name="connsiteX1" fmla="*/ 10550 w 10549"/>
                    <a:gd name="connsiteY1" fmla="*/ 21226 h 21225"/>
                    <a:gd name="connsiteX2" fmla="*/ 0 w 10549"/>
                    <a:gd name="connsiteY2" fmla="*/ 15197 h 21225"/>
                    <a:gd name="connsiteX3" fmla="*/ 0 w 10549"/>
                    <a:gd name="connsiteY3" fmla="*/ 0 h 21225"/>
                  </a:gdLst>
                  <a:ahLst/>
                  <a:cxnLst>
                    <a:cxn ang="0">
                      <a:pos x="connsiteX0" y="connsiteY0"/>
                    </a:cxn>
                    <a:cxn ang="0">
                      <a:pos x="connsiteX1" y="connsiteY1"/>
                    </a:cxn>
                    <a:cxn ang="0">
                      <a:pos x="connsiteX2" y="connsiteY2"/>
                    </a:cxn>
                    <a:cxn ang="0">
                      <a:pos x="connsiteX3" y="connsiteY3"/>
                    </a:cxn>
                  </a:cxnLst>
                  <a:rect l="l" t="t" r="r" b="b"/>
                  <a:pathLst>
                    <a:path w="10549" h="21225">
                      <a:moveTo>
                        <a:pt x="10550" y="6028"/>
                      </a:moveTo>
                      <a:lnTo>
                        <a:pt x="10550"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1" name="Freeform: Shape 3110">
                  <a:extLst>
                    <a:ext uri="{FF2B5EF4-FFF2-40B4-BE49-F238E27FC236}">
                      <a16:creationId xmlns:a16="http://schemas.microsoft.com/office/drawing/2014/main" id="{BE32E2CB-43A9-4D0A-97DF-9CA92CF83367}"/>
                    </a:ext>
                  </a:extLst>
                </p:cNvPr>
                <p:cNvSpPr/>
                <p:nvPr/>
              </p:nvSpPr>
              <p:spPr>
                <a:xfrm>
                  <a:off x="5489501" y="3624641"/>
                  <a:ext cx="21602" cy="34287"/>
                </a:xfrm>
                <a:custGeom>
                  <a:avLst/>
                  <a:gdLst>
                    <a:gd name="connsiteX0" fmla="*/ 21602 w 21602"/>
                    <a:gd name="connsiteY0" fmla="*/ 12434 h 34287"/>
                    <a:gd name="connsiteX1" fmla="*/ 21602 w 21602"/>
                    <a:gd name="connsiteY1" fmla="*/ 34287 h 34287"/>
                    <a:gd name="connsiteX2" fmla="*/ 0 w 21602"/>
                    <a:gd name="connsiteY2" fmla="*/ 21854 h 34287"/>
                    <a:gd name="connsiteX3" fmla="*/ 0 w 21602"/>
                    <a:gd name="connsiteY3" fmla="*/ 0 h 34287"/>
                  </a:gdLst>
                  <a:ahLst/>
                  <a:cxnLst>
                    <a:cxn ang="0">
                      <a:pos x="connsiteX0" y="connsiteY0"/>
                    </a:cxn>
                    <a:cxn ang="0">
                      <a:pos x="connsiteX1" y="connsiteY1"/>
                    </a:cxn>
                    <a:cxn ang="0">
                      <a:pos x="connsiteX2" y="connsiteY2"/>
                    </a:cxn>
                    <a:cxn ang="0">
                      <a:pos x="connsiteX3" y="connsiteY3"/>
                    </a:cxn>
                  </a:cxnLst>
                  <a:rect l="l" t="t" r="r" b="b"/>
                  <a:pathLst>
                    <a:path w="21602" h="34287">
                      <a:moveTo>
                        <a:pt x="21602" y="12434"/>
                      </a:moveTo>
                      <a:lnTo>
                        <a:pt x="21602" y="34287"/>
                      </a:lnTo>
                      <a:lnTo>
                        <a:pt x="0" y="21854"/>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2" name="Freeform: Shape 3111">
                  <a:extLst>
                    <a:ext uri="{FF2B5EF4-FFF2-40B4-BE49-F238E27FC236}">
                      <a16:creationId xmlns:a16="http://schemas.microsoft.com/office/drawing/2014/main" id="{A5FA5BA4-AADF-4488-AD9D-D9CCAB309766}"/>
                    </a:ext>
                  </a:extLst>
                </p:cNvPr>
                <p:cNvSpPr/>
                <p:nvPr/>
              </p:nvSpPr>
              <p:spPr>
                <a:xfrm>
                  <a:off x="5491510" y="3628158"/>
                  <a:ext cx="16955" cy="13313"/>
                </a:xfrm>
                <a:custGeom>
                  <a:avLst/>
                  <a:gdLst>
                    <a:gd name="connsiteX0" fmla="*/ 16955 w 16955"/>
                    <a:gd name="connsiteY0" fmla="*/ 13313 h 13313"/>
                    <a:gd name="connsiteX1" fmla="*/ 16955 w 16955"/>
                    <a:gd name="connsiteY1" fmla="*/ 9796 h 13313"/>
                    <a:gd name="connsiteX2" fmla="*/ 0 w 16955"/>
                    <a:gd name="connsiteY2" fmla="*/ 0 h 13313"/>
                    <a:gd name="connsiteX3" fmla="*/ 0 w 16955"/>
                    <a:gd name="connsiteY3" fmla="*/ 3517 h 13313"/>
                  </a:gdLst>
                  <a:ahLst/>
                  <a:cxnLst>
                    <a:cxn ang="0">
                      <a:pos x="connsiteX0" y="connsiteY0"/>
                    </a:cxn>
                    <a:cxn ang="0">
                      <a:pos x="connsiteX1" y="connsiteY1"/>
                    </a:cxn>
                    <a:cxn ang="0">
                      <a:pos x="connsiteX2" y="connsiteY2"/>
                    </a:cxn>
                    <a:cxn ang="0">
                      <a:pos x="connsiteX3" y="connsiteY3"/>
                    </a:cxn>
                  </a:cxnLst>
                  <a:rect l="l" t="t" r="r" b="b"/>
                  <a:pathLst>
                    <a:path w="16955" h="13313">
                      <a:moveTo>
                        <a:pt x="16955" y="13313"/>
                      </a:moveTo>
                      <a:lnTo>
                        <a:pt x="16955" y="9796"/>
                      </a:lnTo>
                      <a:lnTo>
                        <a:pt x="0" y="0"/>
                      </a:lnTo>
                      <a:lnTo>
                        <a:pt x="0" y="3517"/>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113" name="Graphic 4">
              <a:extLst>
                <a:ext uri="{FF2B5EF4-FFF2-40B4-BE49-F238E27FC236}">
                  <a16:creationId xmlns:a16="http://schemas.microsoft.com/office/drawing/2014/main" id="{84FB7ED1-A2DF-40A1-A747-5F7CF3F14040}"/>
                </a:ext>
              </a:extLst>
            </p:cNvPr>
            <p:cNvGrpSpPr/>
            <p:nvPr/>
          </p:nvGrpSpPr>
          <p:grpSpPr>
            <a:xfrm>
              <a:off x="5497539" y="3915142"/>
              <a:ext cx="130492" cy="156993"/>
              <a:chOff x="5497539" y="3915142"/>
              <a:chExt cx="130492" cy="156993"/>
            </a:xfrm>
            <a:solidFill>
              <a:schemeClr val="accent1"/>
            </a:solidFill>
          </p:grpSpPr>
          <p:sp>
            <p:nvSpPr>
              <p:cNvPr id="3114" name="Freeform: Shape 3113">
                <a:extLst>
                  <a:ext uri="{FF2B5EF4-FFF2-40B4-BE49-F238E27FC236}">
                    <a16:creationId xmlns:a16="http://schemas.microsoft.com/office/drawing/2014/main" id="{3CCC72C5-EBC2-453B-9F40-69F6885C16C6}"/>
                  </a:ext>
                </a:extLst>
              </p:cNvPr>
              <p:cNvSpPr/>
              <p:nvPr/>
            </p:nvSpPr>
            <p:spPr>
              <a:xfrm>
                <a:off x="5562848" y="3952820"/>
                <a:ext cx="65183" cy="119315"/>
              </a:xfrm>
              <a:custGeom>
                <a:avLst/>
                <a:gdLst>
                  <a:gd name="connsiteX0" fmla="*/ 0 w 65183"/>
                  <a:gd name="connsiteY0" fmla="*/ 119315 h 119315"/>
                  <a:gd name="connsiteX1" fmla="*/ 0 w 65183"/>
                  <a:gd name="connsiteY1" fmla="*/ 37678 h 119315"/>
                  <a:gd name="connsiteX2" fmla="*/ 65184 w 65183"/>
                  <a:gd name="connsiteY2" fmla="*/ 0 h 119315"/>
                  <a:gd name="connsiteX3" fmla="*/ 65184 w 65183"/>
                  <a:gd name="connsiteY3" fmla="*/ 81511 h 119315"/>
                </a:gdLst>
                <a:ahLst/>
                <a:cxnLst>
                  <a:cxn ang="0">
                    <a:pos x="connsiteX0" y="connsiteY0"/>
                  </a:cxn>
                  <a:cxn ang="0">
                    <a:pos x="connsiteX1" y="connsiteY1"/>
                  </a:cxn>
                  <a:cxn ang="0">
                    <a:pos x="connsiteX2" y="connsiteY2"/>
                  </a:cxn>
                  <a:cxn ang="0">
                    <a:pos x="connsiteX3" y="connsiteY3"/>
                  </a:cxn>
                </a:cxnLst>
                <a:rect l="l" t="t" r="r" b="b"/>
                <a:pathLst>
                  <a:path w="65183" h="119315">
                    <a:moveTo>
                      <a:pt x="0" y="119315"/>
                    </a:moveTo>
                    <a:lnTo>
                      <a:pt x="0" y="37678"/>
                    </a:lnTo>
                    <a:lnTo>
                      <a:pt x="65184" y="0"/>
                    </a:lnTo>
                    <a:lnTo>
                      <a:pt x="65184" y="81511"/>
                    </a:lnTo>
                    <a:close/>
                  </a:path>
                </a:pathLst>
              </a:custGeom>
              <a:solidFill>
                <a:srgbClr val="DBA7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5" name="Freeform: Shape 3114">
                <a:extLst>
                  <a:ext uri="{FF2B5EF4-FFF2-40B4-BE49-F238E27FC236}">
                    <a16:creationId xmlns:a16="http://schemas.microsoft.com/office/drawing/2014/main" id="{763D519E-662F-42CE-9682-E686F0FDF5AE}"/>
                  </a:ext>
                </a:extLst>
              </p:cNvPr>
              <p:cNvSpPr/>
              <p:nvPr/>
            </p:nvSpPr>
            <p:spPr>
              <a:xfrm>
                <a:off x="5497539" y="3952820"/>
                <a:ext cx="65309" cy="119315"/>
              </a:xfrm>
              <a:custGeom>
                <a:avLst/>
                <a:gdLst>
                  <a:gd name="connsiteX0" fmla="*/ 65309 w 65309"/>
                  <a:gd name="connsiteY0" fmla="*/ 119315 h 119315"/>
                  <a:gd name="connsiteX1" fmla="*/ 65309 w 65309"/>
                  <a:gd name="connsiteY1" fmla="*/ 37678 h 119315"/>
                  <a:gd name="connsiteX2" fmla="*/ 0 w 65309"/>
                  <a:gd name="connsiteY2" fmla="*/ 0 h 119315"/>
                  <a:gd name="connsiteX3" fmla="*/ 0 w 65309"/>
                  <a:gd name="connsiteY3" fmla="*/ 81511 h 119315"/>
                </a:gdLst>
                <a:ahLst/>
                <a:cxnLst>
                  <a:cxn ang="0">
                    <a:pos x="connsiteX0" y="connsiteY0"/>
                  </a:cxn>
                  <a:cxn ang="0">
                    <a:pos x="connsiteX1" y="connsiteY1"/>
                  </a:cxn>
                  <a:cxn ang="0">
                    <a:pos x="connsiteX2" y="connsiteY2"/>
                  </a:cxn>
                  <a:cxn ang="0">
                    <a:pos x="connsiteX3" y="connsiteY3"/>
                  </a:cxn>
                </a:cxnLst>
                <a:rect l="l" t="t" r="r" b="b"/>
                <a:pathLst>
                  <a:path w="65309" h="119315">
                    <a:moveTo>
                      <a:pt x="65309" y="119315"/>
                    </a:moveTo>
                    <a:lnTo>
                      <a:pt x="65309" y="37678"/>
                    </a:lnTo>
                    <a:lnTo>
                      <a:pt x="0" y="0"/>
                    </a:lnTo>
                    <a:lnTo>
                      <a:pt x="0" y="81511"/>
                    </a:lnTo>
                    <a:close/>
                  </a:path>
                </a:pathLst>
              </a:custGeom>
              <a:solidFill>
                <a:srgbClr val="E8B6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6" name="Freeform: Shape 3115">
                <a:extLst>
                  <a:ext uri="{FF2B5EF4-FFF2-40B4-BE49-F238E27FC236}">
                    <a16:creationId xmlns:a16="http://schemas.microsoft.com/office/drawing/2014/main" id="{BAD64BE2-EEEB-4088-B7C5-66130D9A5D8D}"/>
                  </a:ext>
                </a:extLst>
              </p:cNvPr>
              <p:cNvSpPr/>
              <p:nvPr/>
            </p:nvSpPr>
            <p:spPr>
              <a:xfrm>
                <a:off x="5497539" y="3915142"/>
                <a:ext cx="130492" cy="75356"/>
              </a:xfrm>
              <a:custGeom>
                <a:avLst/>
                <a:gdLst>
                  <a:gd name="connsiteX0" fmla="*/ 0 w 130492"/>
                  <a:gd name="connsiteY0" fmla="*/ 37678 h 75356"/>
                  <a:gd name="connsiteX1" fmla="*/ 65309 w 130492"/>
                  <a:gd name="connsiteY1" fmla="*/ 75357 h 75356"/>
                  <a:gd name="connsiteX2" fmla="*/ 130493 w 130492"/>
                  <a:gd name="connsiteY2" fmla="*/ 37678 h 75356"/>
                  <a:gd name="connsiteX3" fmla="*/ 65309 w 130492"/>
                  <a:gd name="connsiteY3" fmla="*/ 0 h 75356"/>
                </a:gdLst>
                <a:ahLst/>
                <a:cxnLst>
                  <a:cxn ang="0">
                    <a:pos x="connsiteX0" y="connsiteY0"/>
                  </a:cxn>
                  <a:cxn ang="0">
                    <a:pos x="connsiteX1" y="connsiteY1"/>
                  </a:cxn>
                  <a:cxn ang="0">
                    <a:pos x="connsiteX2" y="connsiteY2"/>
                  </a:cxn>
                  <a:cxn ang="0">
                    <a:pos x="connsiteX3" y="connsiteY3"/>
                  </a:cxn>
                </a:cxnLst>
                <a:rect l="l" t="t" r="r" b="b"/>
                <a:pathLst>
                  <a:path w="130492" h="75356">
                    <a:moveTo>
                      <a:pt x="0" y="37678"/>
                    </a:moveTo>
                    <a:lnTo>
                      <a:pt x="65309" y="75357"/>
                    </a:lnTo>
                    <a:lnTo>
                      <a:pt x="130493" y="37678"/>
                    </a:lnTo>
                    <a:lnTo>
                      <a:pt x="65309" y="0"/>
                    </a:lnTo>
                    <a:close/>
                  </a:path>
                </a:pathLst>
              </a:custGeom>
              <a:solidFill>
                <a:srgbClr val="FFE1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17" name="Graphic 4">
                <a:extLst>
                  <a:ext uri="{FF2B5EF4-FFF2-40B4-BE49-F238E27FC236}">
                    <a16:creationId xmlns:a16="http://schemas.microsoft.com/office/drawing/2014/main" id="{84FB7ED1-A2DF-40A1-A747-5F7CF3F14040}"/>
                  </a:ext>
                </a:extLst>
              </p:cNvPr>
              <p:cNvGrpSpPr/>
              <p:nvPr/>
            </p:nvGrpSpPr>
            <p:grpSpPr>
              <a:xfrm>
                <a:off x="5501432" y="3929083"/>
                <a:ext cx="122078" cy="131372"/>
                <a:chOff x="5501432" y="3929083"/>
                <a:chExt cx="122078" cy="131372"/>
              </a:xfrm>
              <a:solidFill>
                <a:schemeClr val="accent1"/>
              </a:solidFill>
            </p:grpSpPr>
            <p:sp>
              <p:nvSpPr>
                <p:cNvPr id="3118" name="Freeform: Shape 3117">
                  <a:extLst>
                    <a:ext uri="{FF2B5EF4-FFF2-40B4-BE49-F238E27FC236}">
                      <a16:creationId xmlns:a16="http://schemas.microsoft.com/office/drawing/2014/main" id="{FB9CD3D0-493B-4545-83A5-63405912CE8C}"/>
                    </a:ext>
                  </a:extLst>
                </p:cNvPr>
                <p:cNvSpPr/>
                <p:nvPr/>
              </p:nvSpPr>
              <p:spPr>
                <a:xfrm>
                  <a:off x="5589223" y="3966761"/>
                  <a:ext cx="14569" cy="32277"/>
                </a:xfrm>
                <a:custGeom>
                  <a:avLst/>
                  <a:gdLst>
                    <a:gd name="connsiteX0" fmla="*/ 14569 w 14569"/>
                    <a:gd name="connsiteY0" fmla="*/ 23863 h 32277"/>
                    <a:gd name="connsiteX1" fmla="*/ 0 w 14569"/>
                    <a:gd name="connsiteY1" fmla="*/ 32278 h 32277"/>
                    <a:gd name="connsiteX2" fmla="*/ 0 w 14569"/>
                    <a:gd name="connsiteY2" fmla="*/ 8415 h 32277"/>
                    <a:gd name="connsiteX3" fmla="*/ 14569 w 14569"/>
                    <a:gd name="connsiteY3" fmla="*/ 0 h 32277"/>
                  </a:gdLst>
                  <a:ahLst/>
                  <a:cxnLst>
                    <a:cxn ang="0">
                      <a:pos x="connsiteX0" y="connsiteY0"/>
                    </a:cxn>
                    <a:cxn ang="0">
                      <a:pos x="connsiteX1" y="connsiteY1"/>
                    </a:cxn>
                    <a:cxn ang="0">
                      <a:pos x="connsiteX2" y="connsiteY2"/>
                    </a:cxn>
                    <a:cxn ang="0">
                      <a:pos x="connsiteX3" y="connsiteY3"/>
                    </a:cxn>
                  </a:cxnLst>
                  <a:rect l="l" t="t" r="r" b="b"/>
                  <a:pathLst>
                    <a:path w="14569" h="32277">
                      <a:moveTo>
                        <a:pt x="14569" y="23863"/>
                      </a:moveTo>
                      <a:lnTo>
                        <a:pt x="0" y="32278"/>
                      </a:lnTo>
                      <a:lnTo>
                        <a:pt x="0" y="8415"/>
                      </a:lnTo>
                      <a:lnTo>
                        <a:pt x="14569"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9" name="Freeform: Shape 3118">
                  <a:extLst>
                    <a:ext uri="{FF2B5EF4-FFF2-40B4-BE49-F238E27FC236}">
                      <a16:creationId xmlns:a16="http://schemas.microsoft.com/office/drawing/2014/main" id="{C61A696C-1184-441A-8806-DA3393451F51}"/>
                    </a:ext>
                  </a:extLst>
                </p:cNvPr>
                <p:cNvSpPr/>
                <p:nvPr/>
              </p:nvSpPr>
              <p:spPr>
                <a:xfrm>
                  <a:off x="5524039" y="3929083"/>
                  <a:ext cx="79752" cy="46093"/>
                </a:xfrm>
                <a:custGeom>
                  <a:avLst/>
                  <a:gdLst>
                    <a:gd name="connsiteX0" fmla="*/ 79753 w 79752"/>
                    <a:gd name="connsiteY0" fmla="*/ 37678 h 46093"/>
                    <a:gd name="connsiteX1" fmla="*/ 14569 w 79752"/>
                    <a:gd name="connsiteY1" fmla="*/ 0 h 46093"/>
                    <a:gd name="connsiteX2" fmla="*/ 0 w 79752"/>
                    <a:gd name="connsiteY2" fmla="*/ 8415 h 46093"/>
                    <a:gd name="connsiteX3" fmla="*/ 65184 w 79752"/>
                    <a:gd name="connsiteY3" fmla="*/ 46093 h 46093"/>
                  </a:gdLst>
                  <a:ahLst/>
                  <a:cxnLst>
                    <a:cxn ang="0">
                      <a:pos x="connsiteX0" y="connsiteY0"/>
                    </a:cxn>
                    <a:cxn ang="0">
                      <a:pos x="connsiteX1" y="connsiteY1"/>
                    </a:cxn>
                    <a:cxn ang="0">
                      <a:pos x="connsiteX2" y="connsiteY2"/>
                    </a:cxn>
                    <a:cxn ang="0">
                      <a:pos x="connsiteX3" y="connsiteY3"/>
                    </a:cxn>
                  </a:cxnLst>
                  <a:rect l="l" t="t" r="r" b="b"/>
                  <a:pathLst>
                    <a:path w="79752" h="46093">
                      <a:moveTo>
                        <a:pt x="79753" y="37678"/>
                      </a:moveTo>
                      <a:lnTo>
                        <a:pt x="14569" y="0"/>
                      </a:lnTo>
                      <a:lnTo>
                        <a:pt x="0" y="8415"/>
                      </a:lnTo>
                      <a:lnTo>
                        <a:pt x="65184" y="46093"/>
                      </a:lnTo>
                      <a:close/>
                    </a:path>
                  </a:pathLst>
                </a:custGeom>
                <a:solidFill>
                  <a:srgbClr val="6D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0" name="Freeform: Shape 3119">
                  <a:extLst>
                    <a:ext uri="{FF2B5EF4-FFF2-40B4-BE49-F238E27FC236}">
                      <a16:creationId xmlns:a16="http://schemas.microsoft.com/office/drawing/2014/main" id="{F851ECA7-6FC6-4C77-8BF4-641A160B8E36}"/>
                    </a:ext>
                  </a:extLst>
                </p:cNvPr>
                <p:cNvSpPr/>
                <p:nvPr/>
              </p:nvSpPr>
              <p:spPr>
                <a:xfrm>
                  <a:off x="5571514" y="4043625"/>
                  <a:ext cx="21853" cy="16829"/>
                </a:xfrm>
                <a:custGeom>
                  <a:avLst/>
                  <a:gdLst>
                    <a:gd name="connsiteX0" fmla="*/ 0 w 21853"/>
                    <a:gd name="connsiteY0" fmla="*/ 16830 h 16829"/>
                    <a:gd name="connsiteX1" fmla="*/ 0 w 21853"/>
                    <a:gd name="connsiteY1" fmla="*/ 12685 h 16829"/>
                    <a:gd name="connsiteX2" fmla="*/ 21853 w 21853"/>
                    <a:gd name="connsiteY2" fmla="*/ 0 h 16829"/>
                    <a:gd name="connsiteX3" fmla="*/ 21853 w 21853"/>
                    <a:gd name="connsiteY3" fmla="*/ 4270 h 16829"/>
                  </a:gdLst>
                  <a:ahLst/>
                  <a:cxnLst>
                    <a:cxn ang="0">
                      <a:pos x="connsiteX0" y="connsiteY0"/>
                    </a:cxn>
                    <a:cxn ang="0">
                      <a:pos x="connsiteX1" y="connsiteY1"/>
                    </a:cxn>
                    <a:cxn ang="0">
                      <a:pos x="connsiteX2" y="connsiteY2"/>
                    </a:cxn>
                    <a:cxn ang="0">
                      <a:pos x="connsiteX3" y="connsiteY3"/>
                    </a:cxn>
                  </a:cxnLst>
                  <a:rect l="l" t="t" r="r" b="b"/>
                  <a:pathLst>
                    <a:path w="21853" h="16829">
                      <a:moveTo>
                        <a:pt x="0" y="16830"/>
                      </a:moveTo>
                      <a:lnTo>
                        <a:pt x="0" y="12685"/>
                      </a:lnTo>
                      <a:lnTo>
                        <a:pt x="21853" y="0"/>
                      </a:lnTo>
                      <a:lnTo>
                        <a:pt x="21853"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1" name="Freeform: Shape 3120">
                  <a:extLst>
                    <a:ext uri="{FF2B5EF4-FFF2-40B4-BE49-F238E27FC236}">
                      <a16:creationId xmlns:a16="http://schemas.microsoft.com/office/drawing/2014/main" id="{783D52B9-401E-4DB0-90AA-9D2382FEC12B}"/>
                    </a:ext>
                  </a:extLst>
                </p:cNvPr>
                <p:cNvSpPr/>
                <p:nvPr/>
              </p:nvSpPr>
              <p:spPr>
                <a:xfrm>
                  <a:off x="5571514" y="4036089"/>
                  <a:ext cx="21853" cy="16955"/>
                </a:xfrm>
                <a:custGeom>
                  <a:avLst/>
                  <a:gdLst>
                    <a:gd name="connsiteX0" fmla="*/ 0 w 21853"/>
                    <a:gd name="connsiteY0" fmla="*/ 16955 h 16955"/>
                    <a:gd name="connsiteX1" fmla="*/ 0 w 21853"/>
                    <a:gd name="connsiteY1" fmla="*/ 12685 h 16955"/>
                    <a:gd name="connsiteX2" fmla="*/ 21853 w 21853"/>
                    <a:gd name="connsiteY2" fmla="*/ 0 h 16955"/>
                    <a:gd name="connsiteX3" fmla="*/ 21853 w 21853"/>
                    <a:gd name="connsiteY3" fmla="*/ 4270 h 16955"/>
                  </a:gdLst>
                  <a:ahLst/>
                  <a:cxnLst>
                    <a:cxn ang="0">
                      <a:pos x="connsiteX0" y="connsiteY0"/>
                    </a:cxn>
                    <a:cxn ang="0">
                      <a:pos x="connsiteX1" y="connsiteY1"/>
                    </a:cxn>
                    <a:cxn ang="0">
                      <a:pos x="connsiteX2" y="connsiteY2"/>
                    </a:cxn>
                    <a:cxn ang="0">
                      <a:pos x="connsiteX3" y="connsiteY3"/>
                    </a:cxn>
                  </a:cxnLst>
                  <a:rect l="l" t="t" r="r" b="b"/>
                  <a:pathLst>
                    <a:path w="21853" h="16955">
                      <a:moveTo>
                        <a:pt x="0" y="16955"/>
                      </a:moveTo>
                      <a:lnTo>
                        <a:pt x="0" y="12685"/>
                      </a:lnTo>
                      <a:lnTo>
                        <a:pt x="21853" y="0"/>
                      </a:lnTo>
                      <a:lnTo>
                        <a:pt x="21853"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2" name="Freeform: Shape 3121">
                  <a:extLst>
                    <a:ext uri="{FF2B5EF4-FFF2-40B4-BE49-F238E27FC236}">
                      <a16:creationId xmlns:a16="http://schemas.microsoft.com/office/drawing/2014/main" id="{F82FC1F6-D0C7-49BA-B1F2-47DD0FF64EB0}"/>
                    </a:ext>
                  </a:extLst>
                </p:cNvPr>
                <p:cNvSpPr/>
                <p:nvPr/>
              </p:nvSpPr>
              <p:spPr>
                <a:xfrm>
                  <a:off x="5613086" y="4016371"/>
                  <a:ext cx="10424" cy="20597"/>
                </a:xfrm>
                <a:custGeom>
                  <a:avLst/>
                  <a:gdLst>
                    <a:gd name="connsiteX0" fmla="*/ 0 w 10424"/>
                    <a:gd name="connsiteY0" fmla="*/ 6028 h 20597"/>
                    <a:gd name="connsiteX1" fmla="*/ 0 w 10424"/>
                    <a:gd name="connsiteY1" fmla="*/ 20598 h 20597"/>
                    <a:gd name="connsiteX2" fmla="*/ 10425 w 10424"/>
                    <a:gd name="connsiteY2" fmla="*/ 14569 h 20597"/>
                    <a:gd name="connsiteX3" fmla="*/ 10425 w 10424"/>
                    <a:gd name="connsiteY3" fmla="*/ 0 h 20597"/>
                  </a:gdLst>
                  <a:ahLst/>
                  <a:cxnLst>
                    <a:cxn ang="0">
                      <a:pos x="connsiteX0" y="connsiteY0"/>
                    </a:cxn>
                    <a:cxn ang="0">
                      <a:pos x="connsiteX1" y="connsiteY1"/>
                    </a:cxn>
                    <a:cxn ang="0">
                      <a:pos x="connsiteX2" y="connsiteY2"/>
                    </a:cxn>
                    <a:cxn ang="0">
                      <a:pos x="connsiteX3" y="connsiteY3"/>
                    </a:cxn>
                  </a:cxnLst>
                  <a:rect l="l" t="t" r="r" b="b"/>
                  <a:pathLst>
                    <a:path w="10424" h="20597">
                      <a:moveTo>
                        <a:pt x="0" y="6028"/>
                      </a:moveTo>
                      <a:lnTo>
                        <a:pt x="0" y="20598"/>
                      </a:lnTo>
                      <a:lnTo>
                        <a:pt x="10425" y="14569"/>
                      </a:lnTo>
                      <a:lnTo>
                        <a:pt x="10425"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3" name="Freeform: Shape 3122">
                  <a:extLst>
                    <a:ext uri="{FF2B5EF4-FFF2-40B4-BE49-F238E27FC236}">
                      <a16:creationId xmlns:a16="http://schemas.microsoft.com/office/drawing/2014/main" id="{7EF67C86-E74E-4B22-B5F7-3078E4E4ED39}"/>
                    </a:ext>
                  </a:extLst>
                </p:cNvPr>
                <p:cNvSpPr/>
                <p:nvPr/>
              </p:nvSpPr>
              <p:spPr>
                <a:xfrm>
                  <a:off x="5501432" y="4014864"/>
                  <a:ext cx="10549" cy="21225"/>
                </a:xfrm>
                <a:custGeom>
                  <a:avLst/>
                  <a:gdLst>
                    <a:gd name="connsiteX0" fmla="*/ 10550 w 10549"/>
                    <a:gd name="connsiteY0" fmla="*/ 6029 h 21225"/>
                    <a:gd name="connsiteX1" fmla="*/ 10550 w 10549"/>
                    <a:gd name="connsiteY1" fmla="*/ 21226 h 21225"/>
                    <a:gd name="connsiteX2" fmla="*/ 0 w 10549"/>
                    <a:gd name="connsiteY2" fmla="*/ 15197 h 21225"/>
                    <a:gd name="connsiteX3" fmla="*/ 0 w 10549"/>
                    <a:gd name="connsiteY3" fmla="*/ 0 h 21225"/>
                  </a:gdLst>
                  <a:ahLst/>
                  <a:cxnLst>
                    <a:cxn ang="0">
                      <a:pos x="connsiteX0" y="connsiteY0"/>
                    </a:cxn>
                    <a:cxn ang="0">
                      <a:pos x="connsiteX1" y="connsiteY1"/>
                    </a:cxn>
                    <a:cxn ang="0">
                      <a:pos x="connsiteX2" y="connsiteY2"/>
                    </a:cxn>
                    <a:cxn ang="0">
                      <a:pos x="connsiteX3" y="connsiteY3"/>
                    </a:cxn>
                  </a:cxnLst>
                  <a:rect l="l" t="t" r="r" b="b"/>
                  <a:pathLst>
                    <a:path w="10549" h="21225">
                      <a:moveTo>
                        <a:pt x="10550" y="6029"/>
                      </a:moveTo>
                      <a:lnTo>
                        <a:pt x="10550"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4" name="Freeform: Shape 3123">
                  <a:extLst>
                    <a:ext uri="{FF2B5EF4-FFF2-40B4-BE49-F238E27FC236}">
                      <a16:creationId xmlns:a16="http://schemas.microsoft.com/office/drawing/2014/main" id="{62EE8851-3755-4EF3-A309-13EF823665DE}"/>
                    </a:ext>
                  </a:extLst>
                </p:cNvPr>
                <p:cNvSpPr/>
                <p:nvPr/>
              </p:nvSpPr>
              <p:spPr>
                <a:xfrm>
                  <a:off x="5515750" y="4023153"/>
                  <a:ext cx="10424" cy="21225"/>
                </a:xfrm>
                <a:custGeom>
                  <a:avLst/>
                  <a:gdLst>
                    <a:gd name="connsiteX0" fmla="*/ 10425 w 10424"/>
                    <a:gd name="connsiteY0" fmla="*/ 6028 h 21225"/>
                    <a:gd name="connsiteX1" fmla="*/ 10425 w 10424"/>
                    <a:gd name="connsiteY1" fmla="*/ 21226 h 21225"/>
                    <a:gd name="connsiteX2" fmla="*/ 0 w 10424"/>
                    <a:gd name="connsiteY2" fmla="*/ 15197 h 21225"/>
                    <a:gd name="connsiteX3" fmla="*/ 0 w 10424"/>
                    <a:gd name="connsiteY3" fmla="*/ 0 h 21225"/>
                  </a:gdLst>
                  <a:ahLst/>
                  <a:cxnLst>
                    <a:cxn ang="0">
                      <a:pos x="connsiteX0" y="connsiteY0"/>
                    </a:cxn>
                    <a:cxn ang="0">
                      <a:pos x="connsiteX1" y="connsiteY1"/>
                    </a:cxn>
                    <a:cxn ang="0">
                      <a:pos x="connsiteX2" y="connsiteY2"/>
                    </a:cxn>
                    <a:cxn ang="0">
                      <a:pos x="connsiteX3" y="connsiteY3"/>
                    </a:cxn>
                  </a:cxnLst>
                  <a:rect l="l" t="t" r="r" b="b"/>
                  <a:pathLst>
                    <a:path w="10424" h="21225">
                      <a:moveTo>
                        <a:pt x="10425" y="6028"/>
                      </a:moveTo>
                      <a:lnTo>
                        <a:pt x="10425"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5" name="Freeform: Shape 3124">
                  <a:extLst>
                    <a:ext uri="{FF2B5EF4-FFF2-40B4-BE49-F238E27FC236}">
                      <a16:creationId xmlns:a16="http://schemas.microsoft.com/office/drawing/2014/main" id="{C1B22213-A5A3-4483-9740-9C9A11008701}"/>
                    </a:ext>
                  </a:extLst>
                </p:cNvPr>
                <p:cNvSpPr/>
                <p:nvPr/>
              </p:nvSpPr>
              <p:spPr>
                <a:xfrm>
                  <a:off x="5501432" y="3963998"/>
                  <a:ext cx="21602" cy="34287"/>
                </a:xfrm>
                <a:custGeom>
                  <a:avLst/>
                  <a:gdLst>
                    <a:gd name="connsiteX0" fmla="*/ 21602 w 21602"/>
                    <a:gd name="connsiteY0" fmla="*/ 12559 h 34287"/>
                    <a:gd name="connsiteX1" fmla="*/ 21602 w 21602"/>
                    <a:gd name="connsiteY1" fmla="*/ 34287 h 34287"/>
                    <a:gd name="connsiteX2" fmla="*/ 0 w 21602"/>
                    <a:gd name="connsiteY2" fmla="*/ 21853 h 34287"/>
                    <a:gd name="connsiteX3" fmla="*/ 0 w 21602"/>
                    <a:gd name="connsiteY3" fmla="*/ 0 h 34287"/>
                  </a:gdLst>
                  <a:ahLst/>
                  <a:cxnLst>
                    <a:cxn ang="0">
                      <a:pos x="connsiteX0" y="connsiteY0"/>
                    </a:cxn>
                    <a:cxn ang="0">
                      <a:pos x="connsiteX1" y="connsiteY1"/>
                    </a:cxn>
                    <a:cxn ang="0">
                      <a:pos x="connsiteX2" y="connsiteY2"/>
                    </a:cxn>
                    <a:cxn ang="0">
                      <a:pos x="connsiteX3" y="connsiteY3"/>
                    </a:cxn>
                  </a:cxnLst>
                  <a:rect l="l" t="t" r="r" b="b"/>
                  <a:pathLst>
                    <a:path w="21602" h="34287">
                      <a:moveTo>
                        <a:pt x="21602" y="12559"/>
                      </a:moveTo>
                      <a:lnTo>
                        <a:pt x="21602" y="34287"/>
                      </a:lnTo>
                      <a:lnTo>
                        <a:pt x="0" y="21853"/>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6" name="Freeform: Shape 3125">
                  <a:extLst>
                    <a:ext uri="{FF2B5EF4-FFF2-40B4-BE49-F238E27FC236}">
                      <a16:creationId xmlns:a16="http://schemas.microsoft.com/office/drawing/2014/main" id="{6AF04D41-5CA8-428A-B13D-12681DABA0DE}"/>
                    </a:ext>
                  </a:extLst>
                </p:cNvPr>
                <p:cNvSpPr/>
                <p:nvPr/>
              </p:nvSpPr>
              <p:spPr>
                <a:xfrm>
                  <a:off x="5503442" y="3967640"/>
                  <a:ext cx="16955" cy="13313"/>
                </a:xfrm>
                <a:custGeom>
                  <a:avLst/>
                  <a:gdLst>
                    <a:gd name="connsiteX0" fmla="*/ 16955 w 16955"/>
                    <a:gd name="connsiteY0" fmla="*/ 13313 h 13313"/>
                    <a:gd name="connsiteX1" fmla="*/ 16955 w 16955"/>
                    <a:gd name="connsiteY1" fmla="*/ 9796 h 13313"/>
                    <a:gd name="connsiteX2" fmla="*/ 0 w 16955"/>
                    <a:gd name="connsiteY2" fmla="*/ 0 h 13313"/>
                    <a:gd name="connsiteX3" fmla="*/ 0 w 16955"/>
                    <a:gd name="connsiteY3" fmla="*/ 3517 h 13313"/>
                  </a:gdLst>
                  <a:ahLst/>
                  <a:cxnLst>
                    <a:cxn ang="0">
                      <a:pos x="connsiteX0" y="connsiteY0"/>
                    </a:cxn>
                    <a:cxn ang="0">
                      <a:pos x="connsiteX1" y="connsiteY1"/>
                    </a:cxn>
                    <a:cxn ang="0">
                      <a:pos x="connsiteX2" y="connsiteY2"/>
                    </a:cxn>
                    <a:cxn ang="0">
                      <a:pos x="connsiteX3" y="connsiteY3"/>
                    </a:cxn>
                  </a:cxnLst>
                  <a:rect l="l" t="t" r="r" b="b"/>
                  <a:pathLst>
                    <a:path w="16955" h="13313">
                      <a:moveTo>
                        <a:pt x="16955" y="13313"/>
                      </a:moveTo>
                      <a:lnTo>
                        <a:pt x="16955" y="9796"/>
                      </a:lnTo>
                      <a:lnTo>
                        <a:pt x="0" y="0"/>
                      </a:lnTo>
                      <a:lnTo>
                        <a:pt x="0" y="3517"/>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127" name="Graphic 4">
              <a:extLst>
                <a:ext uri="{FF2B5EF4-FFF2-40B4-BE49-F238E27FC236}">
                  <a16:creationId xmlns:a16="http://schemas.microsoft.com/office/drawing/2014/main" id="{84FB7ED1-A2DF-40A1-A747-5F7CF3F14040}"/>
                </a:ext>
              </a:extLst>
            </p:cNvPr>
            <p:cNvGrpSpPr/>
            <p:nvPr/>
          </p:nvGrpSpPr>
          <p:grpSpPr>
            <a:xfrm>
              <a:off x="5401836" y="3621501"/>
              <a:ext cx="130493" cy="156993"/>
              <a:chOff x="5401836" y="3621501"/>
              <a:chExt cx="130493" cy="156993"/>
            </a:xfrm>
            <a:solidFill>
              <a:schemeClr val="accent1"/>
            </a:solidFill>
          </p:grpSpPr>
          <p:sp>
            <p:nvSpPr>
              <p:cNvPr id="3128" name="Freeform: Shape 3127">
                <a:extLst>
                  <a:ext uri="{FF2B5EF4-FFF2-40B4-BE49-F238E27FC236}">
                    <a16:creationId xmlns:a16="http://schemas.microsoft.com/office/drawing/2014/main" id="{58B145F7-CA07-4138-86EE-61FD9B2B444C}"/>
                  </a:ext>
                </a:extLst>
              </p:cNvPr>
              <p:cNvSpPr/>
              <p:nvPr/>
            </p:nvSpPr>
            <p:spPr>
              <a:xfrm>
                <a:off x="5467019" y="3659179"/>
                <a:ext cx="65309" cy="119315"/>
              </a:xfrm>
              <a:custGeom>
                <a:avLst/>
                <a:gdLst>
                  <a:gd name="connsiteX0" fmla="*/ 126 w 65309"/>
                  <a:gd name="connsiteY0" fmla="*/ 119315 h 119315"/>
                  <a:gd name="connsiteX1" fmla="*/ 0 w 65309"/>
                  <a:gd name="connsiteY1" fmla="*/ 37678 h 119315"/>
                  <a:gd name="connsiteX2" fmla="*/ 65309 w 65309"/>
                  <a:gd name="connsiteY2" fmla="*/ 0 h 119315"/>
                  <a:gd name="connsiteX3" fmla="*/ 65309 w 65309"/>
                  <a:gd name="connsiteY3" fmla="*/ 81511 h 119315"/>
                </a:gdLst>
                <a:ahLst/>
                <a:cxnLst>
                  <a:cxn ang="0">
                    <a:pos x="connsiteX0" y="connsiteY0"/>
                  </a:cxn>
                  <a:cxn ang="0">
                    <a:pos x="connsiteX1" y="connsiteY1"/>
                  </a:cxn>
                  <a:cxn ang="0">
                    <a:pos x="connsiteX2" y="connsiteY2"/>
                  </a:cxn>
                  <a:cxn ang="0">
                    <a:pos x="connsiteX3" y="connsiteY3"/>
                  </a:cxn>
                </a:cxnLst>
                <a:rect l="l" t="t" r="r" b="b"/>
                <a:pathLst>
                  <a:path w="65309" h="119315">
                    <a:moveTo>
                      <a:pt x="126" y="119315"/>
                    </a:moveTo>
                    <a:lnTo>
                      <a:pt x="0" y="37678"/>
                    </a:lnTo>
                    <a:lnTo>
                      <a:pt x="65309" y="0"/>
                    </a:lnTo>
                    <a:lnTo>
                      <a:pt x="65309" y="81511"/>
                    </a:lnTo>
                    <a:close/>
                  </a:path>
                </a:pathLst>
              </a:custGeom>
              <a:solidFill>
                <a:srgbClr val="DBA7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9" name="Freeform: Shape 3128">
                <a:extLst>
                  <a:ext uri="{FF2B5EF4-FFF2-40B4-BE49-F238E27FC236}">
                    <a16:creationId xmlns:a16="http://schemas.microsoft.com/office/drawing/2014/main" id="{2BF24C26-504E-4825-8D71-43B01A9A9E48}"/>
                  </a:ext>
                </a:extLst>
              </p:cNvPr>
              <p:cNvSpPr/>
              <p:nvPr/>
            </p:nvSpPr>
            <p:spPr>
              <a:xfrm>
                <a:off x="5401836" y="3659179"/>
                <a:ext cx="65309" cy="119315"/>
              </a:xfrm>
              <a:custGeom>
                <a:avLst/>
                <a:gdLst>
                  <a:gd name="connsiteX0" fmla="*/ 65309 w 65309"/>
                  <a:gd name="connsiteY0" fmla="*/ 119315 h 119315"/>
                  <a:gd name="connsiteX1" fmla="*/ 65184 w 65309"/>
                  <a:gd name="connsiteY1" fmla="*/ 37678 h 119315"/>
                  <a:gd name="connsiteX2" fmla="*/ 0 w 65309"/>
                  <a:gd name="connsiteY2" fmla="*/ 0 h 119315"/>
                  <a:gd name="connsiteX3" fmla="*/ 0 w 65309"/>
                  <a:gd name="connsiteY3" fmla="*/ 81511 h 119315"/>
                </a:gdLst>
                <a:ahLst/>
                <a:cxnLst>
                  <a:cxn ang="0">
                    <a:pos x="connsiteX0" y="connsiteY0"/>
                  </a:cxn>
                  <a:cxn ang="0">
                    <a:pos x="connsiteX1" y="connsiteY1"/>
                  </a:cxn>
                  <a:cxn ang="0">
                    <a:pos x="connsiteX2" y="connsiteY2"/>
                  </a:cxn>
                  <a:cxn ang="0">
                    <a:pos x="connsiteX3" y="connsiteY3"/>
                  </a:cxn>
                </a:cxnLst>
                <a:rect l="l" t="t" r="r" b="b"/>
                <a:pathLst>
                  <a:path w="65309" h="119315">
                    <a:moveTo>
                      <a:pt x="65309" y="119315"/>
                    </a:moveTo>
                    <a:lnTo>
                      <a:pt x="65184" y="37678"/>
                    </a:lnTo>
                    <a:lnTo>
                      <a:pt x="0" y="0"/>
                    </a:lnTo>
                    <a:lnTo>
                      <a:pt x="0" y="81511"/>
                    </a:lnTo>
                    <a:close/>
                  </a:path>
                </a:pathLst>
              </a:custGeom>
              <a:solidFill>
                <a:srgbClr val="E8B6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0" name="Freeform: Shape 3129">
                <a:extLst>
                  <a:ext uri="{FF2B5EF4-FFF2-40B4-BE49-F238E27FC236}">
                    <a16:creationId xmlns:a16="http://schemas.microsoft.com/office/drawing/2014/main" id="{D911A5C6-BEEC-48B3-96D4-95D800DBFC87}"/>
                  </a:ext>
                </a:extLst>
              </p:cNvPr>
              <p:cNvSpPr/>
              <p:nvPr/>
            </p:nvSpPr>
            <p:spPr>
              <a:xfrm>
                <a:off x="5401836" y="3621501"/>
                <a:ext cx="130493" cy="75356"/>
              </a:xfrm>
              <a:custGeom>
                <a:avLst/>
                <a:gdLst>
                  <a:gd name="connsiteX0" fmla="*/ 0 w 130493"/>
                  <a:gd name="connsiteY0" fmla="*/ 37678 h 75356"/>
                  <a:gd name="connsiteX1" fmla="*/ 65184 w 130493"/>
                  <a:gd name="connsiteY1" fmla="*/ 75357 h 75356"/>
                  <a:gd name="connsiteX2" fmla="*/ 130493 w 130493"/>
                  <a:gd name="connsiteY2" fmla="*/ 37678 h 75356"/>
                  <a:gd name="connsiteX3" fmla="*/ 65309 w 130493"/>
                  <a:gd name="connsiteY3" fmla="*/ 0 h 75356"/>
                </a:gdLst>
                <a:ahLst/>
                <a:cxnLst>
                  <a:cxn ang="0">
                    <a:pos x="connsiteX0" y="connsiteY0"/>
                  </a:cxn>
                  <a:cxn ang="0">
                    <a:pos x="connsiteX1" y="connsiteY1"/>
                  </a:cxn>
                  <a:cxn ang="0">
                    <a:pos x="connsiteX2" y="connsiteY2"/>
                  </a:cxn>
                  <a:cxn ang="0">
                    <a:pos x="connsiteX3" y="connsiteY3"/>
                  </a:cxn>
                </a:cxnLst>
                <a:rect l="l" t="t" r="r" b="b"/>
                <a:pathLst>
                  <a:path w="130493" h="75356">
                    <a:moveTo>
                      <a:pt x="0" y="37678"/>
                    </a:moveTo>
                    <a:lnTo>
                      <a:pt x="65184" y="75357"/>
                    </a:lnTo>
                    <a:lnTo>
                      <a:pt x="130493" y="37678"/>
                    </a:lnTo>
                    <a:lnTo>
                      <a:pt x="65309" y="0"/>
                    </a:lnTo>
                    <a:close/>
                  </a:path>
                </a:pathLst>
              </a:custGeom>
              <a:solidFill>
                <a:srgbClr val="FFE1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31" name="Graphic 4">
                <a:extLst>
                  <a:ext uri="{FF2B5EF4-FFF2-40B4-BE49-F238E27FC236}">
                    <a16:creationId xmlns:a16="http://schemas.microsoft.com/office/drawing/2014/main" id="{84FB7ED1-A2DF-40A1-A747-5F7CF3F14040}"/>
                  </a:ext>
                </a:extLst>
              </p:cNvPr>
              <p:cNvGrpSpPr/>
              <p:nvPr/>
            </p:nvGrpSpPr>
            <p:grpSpPr>
              <a:xfrm>
                <a:off x="5405729" y="3635442"/>
                <a:ext cx="122078" cy="131372"/>
                <a:chOff x="5405729" y="3635442"/>
                <a:chExt cx="122078" cy="131372"/>
              </a:xfrm>
              <a:solidFill>
                <a:schemeClr val="accent1"/>
              </a:solidFill>
            </p:grpSpPr>
            <p:sp>
              <p:nvSpPr>
                <p:cNvPr id="3132" name="Freeform: Shape 3131">
                  <a:extLst>
                    <a:ext uri="{FF2B5EF4-FFF2-40B4-BE49-F238E27FC236}">
                      <a16:creationId xmlns:a16="http://schemas.microsoft.com/office/drawing/2014/main" id="{1E293D02-8EB5-4BD3-9E6C-FFEAB2978956}"/>
                    </a:ext>
                  </a:extLst>
                </p:cNvPr>
                <p:cNvSpPr/>
                <p:nvPr/>
              </p:nvSpPr>
              <p:spPr>
                <a:xfrm>
                  <a:off x="5493520" y="3673120"/>
                  <a:ext cx="14569" cy="32277"/>
                </a:xfrm>
                <a:custGeom>
                  <a:avLst/>
                  <a:gdLst>
                    <a:gd name="connsiteX0" fmla="*/ 14569 w 14569"/>
                    <a:gd name="connsiteY0" fmla="*/ 23863 h 32277"/>
                    <a:gd name="connsiteX1" fmla="*/ 0 w 14569"/>
                    <a:gd name="connsiteY1" fmla="*/ 32278 h 32277"/>
                    <a:gd name="connsiteX2" fmla="*/ 0 w 14569"/>
                    <a:gd name="connsiteY2" fmla="*/ 8415 h 32277"/>
                    <a:gd name="connsiteX3" fmla="*/ 14569 w 14569"/>
                    <a:gd name="connsiteY3" fmla="*/ 0 h 32277"/>
                  </a:gdLst>
                  <a:ahLst/>
                  <a:cxnLst>
                    <a:cxn ang="0">
                      <a:pos x="connsiteX0" y="connsiteY0"/>
                    </a:cxn>
                    <a:cxn ang="0">
                      <a:pos x="connsiteX1" y="connsiteY1"/>
                    </a:cxn>
                    <a:cxn ang="0">
                      <a:pos x="connsiteX2" y="connsiteY2"/>
                    </a:cxn>
                    <a:cxn ang="0">
                      <a:pos x="connsiteX3" y="connsiteY3"/>
                    </a:cxn>
                  </a:cxnLst>
                  <a:rect l="l" t="t" r="r" b="b"/>
                  <a:pathLst>
                    <a:path w="14569" h="32277">
                      <a:moveTo>
                        <a:pt x="14569" y="23863"/>
                      </a:moveTo>
                      <a:lnTo>
                        <a:pt x="0" y="32278"/>
                      </a:lnTo>
                      <a:lnTo>
                        <a:pt x="0" y="8415"/>
                      </a:lnTo>
                      <a:lnTo>
                        <a:pt x="14569"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3" name="Freeform: Shape 3132">
                  <a:extLst>
                    <a:ext uri="{FF2B5EF4-FFF2-40B4-BE49-F238E27FC236}">
                      <a16:creationId xmlns:a16="http://schemas.microsoft.com/office/drawing/2014/main" id="{1DA1C037-5B36-4983-BD1F-ACF3CC4325A2}"/>
                    </a:ext>
                  </a:extLst>
                </p:cNvPr>
                <p:cNvSpPr/>
                <p:nvPr/>
              </p:nvSpPr>
              <p:spPr>
                <a:xfrm>
                  <a:off x="5428336" y="3635442"/>
                  <a:ext cx="79752" cy="46093"/>
                </a:xfrm>
                <a:custGeom>
                  <a:avLst/>
                  <a:gdLst>
                    <a:gd name="connsiteX0" fmla="*/ 79753 w 79752"/>
                    <a:gd name="connsiteY0" fmla="*/ 37678 h 46093"/>
                    <a:gd name="connsiteX1" fmla="*/ 14569 w 79752"/>
                    <a:gd name="connsiteY1" fmla="*/ 0 h 46093"/>
                    <a:gd name="connsiteX2" fmla="*/ 0 w 79752"/>
                    <a:gd name="connsiteY2" fmla="*/ 8415 h 46093"/>
                    <a:gd name="connsiteX3" fmla="*/ 65184 w 79752"/>
                    <a:gd name="connsiteY3" fmla="*/ 46093 h 46093"/>
                  </a:gdLst>
                  <a:ahLst/>
                  <a:cxnLst>
                    <a:cxn ang="0">
                      <a:pos x="connsiteX0" y="connsiteY0"/>
                    </a:cxn>
                    <a:cxn ang="0">
                      <a:pos x="connsiteX1" y="connsiteY1"/>
                    </a:cxn>
                    <a:cxn ang="0">
                      <a:pos x="connsiteX2" y="connsiteY2"/>
                    </a:cxn>
                    <a:cxn ang="0">
                      <a:pos x="connsiteX3" y="connsiteY3"/>
                    </a:cxn>
                  </a:cxnLst>
                  <a:rect l="l" t="t" r="r" b="b"/>
                  <a:pathLst>
                    <a:path w="79752" h="46093">
                      <a:moveTo>
                        <a:pt x="79753" y="37678"/>
                      </a:moveTo>
                      <a:lnTo>
                        <a:pt x="14569" y="0"/>
                      </a:lnTo>
                      <a:lnTo>
                        <a:pt x="0" y="8415"/>
                      </a:lnTo>
                      <a:lnTo>
                        <a:pt x="65184" y="46093"/>
                      </a:lnTo>
                      <a:close/>
                    </a:path>
                  </a:pathLst>
                </a:custGeom>
                <a:solidFill>
                  <a:srgbClr val="6D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4" name="Freeform: Shape 3133">
                  <a:extLst>
                    <a:ext uri="{FF2B5EF4-FFF2-40B4-BE49-F238E27FC236}">
                      <a16:creationId xmlns:a16="http://schemas.microsoft.com/office/drawing/2014/main" id="{B40C4956-D36F-4E4E-910E-C066C44C963D}"/>
                    </a:ext>
                  </a:extLst>
                </p:cNvPr>
                <p:cNvSpPr/>
                <p:nvPr/>
              </p:nvSpPr>
              <p:spPr>
                <a:xfrm>
                  <a:off x="5475685" y="3749984"/>
                  <a:ext cx="21979" cy="16829"/>
                </a:xfrm>
                <a:custGeom>
                  <a:avLst/>
                  <a:gdLst>
                    <a:gd name="connsiteX0" fmla="*/ 0 w 21979"/>
                    <a:gd name="connsiteY0" fmla="*/ 16830 h 16829"/>
                    <a:gd name="connsiteX1" fmla="*/ 0 w 21979"/>
                    <a:gd name="connsiteY1" fmla="*/ 12685 h 16829"/>
                    <a:gd name="connsiteX2" fmla="*/ 21979 w 21979"/>
                    <a:gd name="connsiteY2" fmla="*/ 0 h 16829"/>
                    <a:gd name="connsiteX3" fmla="*/ 21979 w 21979"/>
                    <a:gd name="connsiteY3" fmla="*/ 4270 h 16829"/>
                  </a:gdLst>
                  <a:ahLst/>
                  <a:cxnLst>
                    <a:cxn ang="0">
                      <a:pos x="connsiteX0" y="connsiteY0"/>
                    </a:cxn>
                    <a:cxn ang="0">
                      <a:pos x="connsiteX1" y="connsiteY1"/>
                    </a:cxn>
                    <a:cxn ang="0">
                      <a:pos x="connsiteX2" y="connsiteY2"/>
                    </a:cxn>
                    <a:cxn ang="0">
                      <a:pos x="connsiteX3" y="connsiteY3"/>
                    </a:cxn>
                  </a:cxnLst>
                  <a:rect l="l" t="t" r="r" b="b"/>
                  <a:pathLst>
                    <a:path w="21979" h="16829">
                      <a:moveTo>
                        <a:pt x="0" y="16830"/>
                      </a:moveTo>
                      <a:lnTo>
                        <a:pt x="0" y="12685"/>
                      </a:lnTo>
                      <a:lnTo>
                        <a:pt x="21979" y="0"/>
                      </a:lnTo>
                      <a:lnTo>
                        <a:pt x="21979"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5" name="Freeform: Shape 3134">
                  <a:extLst>
                    <a:ext uri="{FF2B5EF4-FFF2-40B4-BE49-F238E27FC236}">
                      <a16:creationId xmlns:a16="http://schemas.microsoft.com/office/drawing/2014/main" id="{04232730-F80C-4656-A38B-1DBCEF729150}"/>
                    </a:ext>
                  </a:extLst>
                </p:cNvPr>
                <p:cNvSpPr/>
                <p:nvPr/>
              </p:nvSpPr>
              <p:spPr>
                <a:xfrm>
                  <a:off x="5475685" y="3742449"/>
                  <a:ext cx="21979" cy="16955"/>
                </a:xfrm>
                <a:custGeom>
                  <a:avLst/>
                  <a:gdLst>
                    <a:gd name="connsiteX0" fmla="*/ 0 w 21979"/>
                    <a:gd name="connsiteY0" fmla="*/ 16955 h 16955"/>
                    <a:gd name="connsiteX1" fmla="*/ 0 w 21979"/>
                    <a:gd name="connsiteY1" fmla="*/ 12685 h 16955"/>
                    <a:gd name="connsiteX2" fmla="*/ 21979 w 21979"/>
                    <a:gd name="connsiteY2" fmla="*/ 0 h 16955"/>
                    <a:gd name="connsiteX3" fmla="*/ 21979 w 21979"/>
                    <a:gd name="connsiteY3" fmla="*/ 4270 h 16955"/>
                  </a:gdLst>
                  <a:ahLst/>
                  <a:cxnLst>
                    <a:cxn ang="0">
                      <a:pos x="connsiteX0" y="connsiteY0"/>
                    </a:cxn>
                    <a:cxn ang="0">
                      <a:pos x="connsiteX1" y="connsiteY1"/>
                    </a:cxn>
                    <a:cxn ang="0">
                      <a:pos x="connsiteX2" y="connsiteY2"/>
                    </a:cxn>
                    <a:cxn ang="0">
                      <a:pos x="connsiteX3" y="connsiteY3"/>
                    </a:cxn>
                  </a:cxnLst>
                  <a:rect l="l" t="t" r="r" b="b"/>
                  <a:pathLst>
                    <a:path w="21979" h="16955">
                      <a:moveTo>
                        <a:pt x="0" y="16955"/>
                      </a:moveTo>
                      <a:lnTo>
                        <a:pt x="0" y="12685"/>
                      </a:lnTo>
                      <a:lnTo>
                        <a:pt x="21979" y="0"/>
                      </a:lnTo>
                      <a:lnTo>
                        <a:pt x="21979"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6" name="Freeform: Shape 3135">
                  <a:extLst>
                    <a:ext uri="{FF2B5EF4-FFF2-40B4-BE49-F238E27FC236}">
                      <a16:creationId xmlns:a16="http://schemas.microsoft.com/office/drawing/2014/main" id="{E9249B6E-A839-47AC-8972-708696781B45}"/>
                    </a:ext>
                  </a:extLst>
                </p:cNvPr>
                <p:cNvSpPr/>
                <p:nvPr/>
              </p:nvSpPr>
              <p:spPr>
                <a:xfrm>
                  <a:off x="5517257" y="3722730"/>
                  <a:ext cx="10549" cy="20597"/>
                </a:xfrm>
                <a:custGeom>
                  <a:avLst/>
                  <a:gdLst>
                    <a:gd name="connsiteX0" fmla="*/ 0 w 10549"/>
                    <a:gd name="connsiteY0" fmla="*/ 6028 h 20597"/>
                    <a:gd name="connsiteX1" fmla="*/ 0 w 10549"/>
                    <a:gd name="connsiteY1" fmla="*/ 20598 h 20597"/>
                    <a:gd name="connsiteX2" fmla="*/ 10550 w 10549"/>
                    <a:gd name="connsiteY2" fmla="*/ 14569 h 20597"/>
                    <a:gd name="connsiteX3" fmla="*/ 10550 w 10549"/>
                    <a:gd name="connsiteY3" fmla="*/ 0 h 20597"/>
                  </a:gdLst>
                  <a:ahLst/>
                  <a:cxnLst>
                    <a:cxn ang="0">
                      <a:pos x="connsiteX0" y="connsiteY0"/>
                    </a:cxn>
                    <a:cxn ang="0">
                      <a:pos x="connsiteX1" y="connsiteY1"/>
                    </a:cxn>
                    <a:cxn ang="0">
                      <a:pos x="connsiteX2" y="connsiteY2"/>
                    </a:cxn>
                    <a:cxn ang="0">
                      <a:pos x="connsiteX3" y="connsiteY3"/>
                    </a:cxn>
                  </a:cxnLst>
                  <a:rect l="l" t="t" r="r" b="b"/>
                  <a:pathLst>
                    <a:path w="10549" h="20597">
                      <a:moveTo>
                        <a:pt x="0" y="6028"/>
                      </a:moveTo>
                      <a:lnTo>
                        <a:pt x="0" y="20598"/>
                      </a:lnTo>
                      <a:lnTo>
                        <a:pt x="10550" y="14569"/>
                      </a:lnTo>
                      <a:lnTo>
                        <a:pt x="1055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7" name="Freeform: Shape 3136">
                  <a:extLst>
                    <a:ext uri="{FF2B5EF4-FFF2-40B4-BE49-F238E27FC236}">
                      <a16:creationId xmlns:a16="http://schemas.microsoft.com/office/drawing/2014/main" id="{577429C6-9B7A-4769-B186-93D9F57006AE}"/>
                    </a:ext>
                  </a:extLst>
                </p:cNvPr>
                <p:cNvSpPr/>
                <p:nvPr/>
              </p:nvSpPr>
              <p:spPr>
                <a:xfrm>
                  <a:off x="5405729" y="3721223"/>
                  <a:ext cx="10424" cy="21225"/>
                </a:xfrm>
                <a:custGeom>
                  <a:avLst/>
                  <a:gdLst>
                    <a:gd name="connsiteX0" fmla="*/ 10425 w 10424"/>
                    <a:gd name="connsiteY0" fmla="*/ 6028 h 21225"/>
                    <a:gd name="connsiteX1" fmla="*/ 10425 w 10424"/>
                    <a:gd name="connsiteY1" fmla="*/ 21226 h 21225"/>
                    <a:gd name="connsiteX2" fmla="*/ 0 w 10424"/>
                    <a:gd name="connsiteY2" fmla="*/ 15197 h 21225"/>
                    <a:gd name="connsiteX3" fmla="*/ 0 w 10424"/>
                    <a:gd name="connsiteY3" fmla="*/ 0 h 21225"/>
                  </a:gdLst>
                  <a:ahLst/>
                  <a:cxnLst>
                    <a:cxn ang="0">
                      <a:pos x="connsiteX0" y="connsiteY0"/>
                    </a:cxn>
                    <a:cxn ang="0">
                      <a:pos x="connsiteX1" y="connsiteY1"/>
                    </a:cxn>
                    <a:cxn ang="0">
                      <a:pos x="connsiteX2" y="connsiteY2"/>
                    </a:cxn>
                    <a:cxn ang="0">
                      <a:pos x="connsiteX3" y="connsiteY3"/>
                    </a:cxn>
                  </a:cxnLst>
                  <a:rect l="l" t="t" r="r" b="b"/>
                  <a:pathLst>
                    <a:path w="10424" h="21225">
                      <a:moveTo>
                        <a:pt x="10425" y="6028"/>
                      </a:moveTo>
                      <a:lnTo>
                        <a:pt x="10425"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8" name="Freeform: Shape 3137">
                  <a:extLst>
                    <a:ext uri="{FF2B5EF4-FFF2-40B4-BE49-F238E27FC236}">
                      <a16:creationId xmlns:a16="http://schemas.microsoft.com/office/drawing/2014/main" id="{DCF24B0A-056F-4B43-A7BE-994A24406F5A}"/>
                    </a:ext>
                  </a:extLst>
                </p:cNvPr>
                <p:cNvSpPr/>
                <p:nvPr/>
              </p:nvSpPr>
              <p:spPr>
                <a:xfrm>
                  <a:off x="5420047" y="3729512"/>
                  <a:ext cx="10424" cy="21225"/>
                </a:xfrm>
                <a:custGeom>
                  <a:avLst/>
                  <a:gdLst>
                    <a:gd name="connsiteX0" fmla="*/ 10424 w 10424"/>
                    <a:gd name="connsiteY0" fmla="*/ 6029 h 21225"/>
                    <a:gd name="connsiteX1" fmla="*/ 10424 w 10424"/>
                    <a:gd name="connsiteY1" fmla="*/ 21226 h 21225"/>
                    <a:gd name="connsiteX2" fmla="*/ 0 w 10424"/>
                    <a:gd name="connsiteY2" fmla="*/ 15197 h 21225"/>
                    <a:gd name="connsiteX3" fmla="*/ 0 w 10424"/>
                    <a:gd name="connsiteY3" fmla="*/ 0 h 21225"/>
                  </a:gdLst>
                  <a:ahLst/>
                  <a:cxnLst>
                    <a:cxn ang="0">
                      <a:pos x="connsiteX0" y="connsiteY0"/>
                    </a:cxn>
                    <a:cxn ang="0">
                      <a:pos x="connsiteX1" y="connsiteY1"/>
                    </a:cxn>
                    <a:cxn ang="0">
                      <a:pos x="connsiteX2" y="connsiteY2"/>
                    </a:cxn>
                    <a:cxn ang="0">
                      <a:pos x="connsiteX3" y="connsiteY3"/>
                    </a:cxn>
                  </a:cxnLst>
                  <a:rect l="l" t="t" r="r" b="b"/>
                  <a:pathLst>
                    <a:path w="10424" h="21225">
                      <a:moveTo>
                        <a:pt x="10424" y="6029"/>
                      </a:moveTo>
                      <a:lnTo>
                        <a:pt x="10424"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9" name="Freeform: Shape 3138">
                  <a:extLst>
                    <a:ext uri="{FF2B5EF4-FFF2-40B4-BE49-F238E27FC236}">
                      <a16:creationId xmlns:a16="http://schemas.microsoft.com/office/drawing/2014/main" id="{E3CD66F9-B8B6-466D-B9C9-13F27AA8160B}"/>
                    </a:ext>
                  </a:extLst>
                </p:cNvPr>
                <p:cNvSpPr/>
                <p:nvPr/>
              </p:nvSpPr>
              <p:spPr>
                <a:xfrm>
                  <a:off x="5405729" y="3670357"/>
                  <a:ext cx="21476" cy="34287"/>
                </a:xfrm>
                <a:custGeom>
                  <a:avLst/>
                  <a:gdLst>
                    <a:gd name="connsiteX0" fmla="*/ 21477 w 21476"/>
                    <a:gd name="connsiteY0" fmla="*/ 12559 h 34287"/>
                    <a:gd name="connsiteX1" fmla="*/ 21477 w 21476"/>
                    <a:gd name="connsiteY1" fmla="*/ 34287 h 34287"/>
                    <a:gd name="connsiteX2" fmla="*/ 0 w 21476"/>
                    <a:gd name="connsiteY2" fmla="*/ 21854 h 34287"/>
                    <a:gd name="connsiteX3" fmla="*/ 0 w 21476"/>
                    <a:gd name="connsiteY3" fmla="*/ 0 h 34287"/>
                  </a:gdLst>
                  <a:ahLst/>
                  <a:cxnLst>
                    <a:cxn ang="0">
                      <a:pos x="connsiteX0" y="connsiteY0"/>
                    </a:cxn>
                    <a:cxn ang="0">
                      <a:pos x="connsiteX1" y="connsiteY1"/>
                    </a:cxn>
                    <a:cxn ang="0">
                      <a:pos x="connsiteX2" y="connsiteY2"/>
                    </a:cxn>
                    <a:cxn ang="0">
                      <a:pos x="connsiteX3" y="connsiteY3"/>
                    </a:cxn>
                  </a:cxnLst>
                  <a:rect l="l" t="t" r="r" b="b"/>
                  <a:pathLst>
                    <a:path w="21476" h="34287">
                      <a:moveTo>
                        <a:pt x="21477" y="12559"/>
                      </a:moveTo>
                      <a:lnTo>
                        <a:pt x="21477" y="34287"/>
                      </a:lnTo>
                      <a:lnTo>
                        <a:pt x="0" y="21854"/>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0" name="Freeform: Shape 3139">
                  <a:extLst>
                    <a:ext uri="{FF2B5EF4-FFF2-40B4-BE49-F238E27FC236}">
                      <a16:creationId xmlns:a16="http://schemas.microsoft.com/office/drawing/2014/main" id="{D91F79B9-1FFD-46FF-BFE3-D1AA64D7030B}"/>
                    </a:ext>
                  </a:extLst>
                </p:cNvPr>
                <p:cNvSpPr/>
                <p:nvPr/>
              </p:nvSpPr>
              <p:spPr>
                <a:xfrm>
                  <a:off x="5407613" y="3674000"/>
                  <a:ext cx="16954" cy="13313"/>
                </a:xfrm>
                <a:custGeom>
                  <a:avLst/>
                  <a:gdLst>
                    <a:gd name="connsiteX0" fmla="*/ 16955 w 16954"/>
                    <a:gd name="connsiteY0" fmla="*/ 13313 h 13313"/>
                    <a:gd name="connsiteX1" fmla="*/ 16955 w 16954"/>
                    <a:gd name="connsiteY1" fmla="*/ 9796 h 13313"/>
                    <a:gd name="connsiteX2" fmla="*/ 0 w 16954"/>
                    <a:gd name="connsiteY2" fmla="*/ 0 h 13313"/>
                    <a:gd name="connsiteX3" fmla="*/ 0 w 16954"/>
                    <a:gd name="connsiteY3" fmla="*/ 3517 h 13313"/>
                  </a:gdLst>
                  <a:ahLst/>
                  <a:cxnLst>
                    <a:cxn ang="0">
                      <a:pos x="connsiteX0" y="connsiteY0"/>
                    </a:cxn>
                    <a:cxn ang="0">
                      <a:pos x="connsiteX1" y="connsiteY1"/>
                    </a:cxn>
                    <a:cxn ang="0">
                      <a:pos x="connsiteX2" y="connsiteY2"/>
                    </a:cxn>
                    <a:cxn ang="0">
                      <a:pos x="connsiteX3" y="connsiteY3"/>
                    </a:cxn>
                  </a:cxnLst>
                  <a:rect l="l" t="t" r="r" b="b"/>
                  <a:pathLst>
                    <a:path w="16954" h="13313">
                      <a:moveTo>
                        <a:pt x="16955" y="13313"/>
                      </a:moveTo>
                      <a:lnTo>
                        <a:pt x="16955" y="9796"/>
                      </a:lnTo>
                      <a:lnTo>
                        <a:pt x="0" y="0"/>
                      </a:lnTo>
                      <a:lnTo>
                        <a:pt x="0" y="3517"/>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3141" name="Graphic 4">
            <a:extLst>
              <a:ext uri="{FF2B5EF4-FFF2-40B4-BE49-F238E27FC236}">
                <a16:creationId xmlns:a16="http://schemas.microsoft.com/office/drawing/2014/main" id="{84FB7ED1-A2DF-40A1-A747-5F7CF3F14040}"/>
              </a:ext>
            </a:extLst>
          </p:cNvPr>
          <p:cNvGrpSpPr/>
          <p:nvPr/>
        </p:nvGrpSpPr>
        <p:grpSpPr>
          <a:xfrm>
            <a:off x="4370326" y="4288751"/>
            <a:ext cx="820008" cy="776084"/>
            <a:chOff x="4370326" y="4288751"/>
            <a:chExt cx="820008" cy="776084"/>
          </a:xfrm>
          <a:solidFill>
            <a:schemeClr val="accent1"/>
          </a:solidFill>
        </p:grpSpPr>
        <p:grpSp>
          <p:nvGrpSpPr>
            <p:cNvPr id="3142" name="Graphic 4">
              <a:extLst>
                <a:ext uri="{FF2B5EF4-FFF2-40B4-BE49-F238E27FC236}">
                  <a16:creationId xmlns:a16="http://schemas.microsoft.com/office/drawing/2014/main" id="{84FB7ED1-A2DF-40A1-A747-5F7CF3F14040}"/>
                </a:ext>
              </a:extLst>
            </p:cNvPr>
            <p:cNvGrpSpPr/>
            <p:nvPr/>
          </p:nvGrpSpPr>
          <p:grpSpPr>
            <a:xfrm>
              <a:off x="4370326" y="4288751"/>
              <a:ext cx="488061" cy="588069"/>
              <a:chOff x="4370326" y="4288751"/>
              <a:chExt cx="488061" cy="588069"/>
            </a:xfrm>
            <a:solidFill>
              <a:schemeClr val="accent1"/>
            </a:solidFill>
          </p:grpSpPr>
          <p:grpSp>
            <p:nvGrpSpPr>
              <p:cNvPr id="3143" name="Graphic 4">
                <a:extLst>
                  <a:ext uri="{FF2B5EF4-FFF2-40B4-BE49-F238E27FC236}">
                    <a16:creationId xmlns:a16="http://schemas.microsoft.com/office/drawing/2014/main" id="{84FB7ED1-A2DF-40A1-A747-5F7CF3F14040}"/>
                  </a:ext>
                </a:extLst>
              </p:cNvPr>
              <p:cNvGrpSpPr/>
              <p:nvPr/>
            </p:nvGrpSpPr>
            <p:grpSpPr>
              <a:xfrm>
                <a:off x="4374219" y="4364645"/>
                <a:ext cx="166538" cy="329560"/>
                <a:chOff x="4374219" y="4364645"/>
                <a:chExt cx="166538" cy="329560"/>
              </a:xfrm>
              <a:solidFill>
                <a:schemeClr val="accent1"/>
              </a:solidFill>
            </p:grpSpPr>
            <p:sp>
              <p:nvSpPr>
                <p:cNvPr id="3144" name="Freeform: Shape 3143">
                  <a:extLst>
                    <a:ext uri="{FF2B5EF4-FFF2-40B4-BE49-F238E27FC236}">
                      <a16:creationId xmlns:a16="http://schemas.microsoft.com/office/drawing/2014/main" id="{2B1B8BC9-DA5B-4B49-AFBF-27CE5DA6370A}"/>
                    </a:ext>
                  </a:extLst>
                </p:cNvPr>
                <p:cNvSpPr/>
                <p:nvPr/>
              </p:nvSpPr>
              <p:spPr>
                <a:xfrm>
                  <a:off x="4374219" y="4454195"/>
                  <a:ext cx="5902" cy="240011"/>
                </a:xfrm>
                <a:custGeom>
                  <a:avLst/>
                  <a:gdLst>
                    <a:gd name="connsiteX0" fmla="*/ 5903 w 5902"/>
                    <a:gd name="connsiteY0" fmla="*/ 240011 h 240011"/>
                    <a:gd name="connsiteX1" fmla="*/ 0 w 5902"/>
                    <a:gd name="connsiteY1" fmla="*/ 236746 h 240011"/>
                    <a:gd name="connsiteX2" fmla="*/ 0 w 5902"/>
                    <a:gd name="connsiteY2" fmla="*/ 0 h 240011"/>
                    <a:gd name="connsiteX3" fmla="*/ 5903 w 5902"/>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902" h="240011">
                      <a:moveTo>
                        <a:pt x="5903" y="240011"/>
                      </a:moveTo>
                      <a:lnTo>
                        <a:pt x="0" y="236746"/>
                      </a:lnTo>
                      <a:lnTo>
                        <a:pt x="0" y="0"/>
                      </a:lnTo>
                      <a:lnTo>
                        <a:pt x="5903"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5" name="Freeform: Shape 3144">
                  <a:extLst>
                    <a:ext uri="{FF2B5EF4-FFF2-40B4-BE49-F238E27FC236}">
                      <a16:creationId xmlns:a16="http://schemas.microsoft.com/office/drawing/2014/main" id="{DB42515A-EDCE-4B99-A443-7D5B09F5B056}"/>
                    </a:ext>
                  </a:extLst>
                </p:cNvPr>
                <p:cNvSpPr/>
                <p:nvPr/>
              </p:nvSpPr>
              <p:spPr>
                <a:xfrm>
                  <a:off x="4380122" y="4454195"/>
                  <a:ext cx="5777" cy="240011"/>
                </a:xfrm>
                <a:custGeom>
                  <a:avLst/>
                  <a:gdLst>
                    <a:gd name="connsiteX0" fmla="*/ 0 w 5777"/>
                    <a:gd name="connsiteY0" fmla="*/ 240011 h 240011"/>
                    <a:gd name="connsiteX1" fmla="*/ 5777 w 5777"/>
                    <a:gd name="connsiteY1" fmla="*/ 236746 h 240011"/>
                    <a:gd name="connsiteX2" fmla="*/ 5777 w 5777"/>
                    <a:gd name="connsiteY2" fmla="*/ 0 h 240011"/>
                    <a:gd name="connsiteX3" fmla="*/ 0 w 5777"/>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777" h="240011">
                      <a:moveTo>
                        <a:pt x="0" y="240011"/>
                      </a:moveTo>
                      <a:lnTo>
                        <a:pt x="5777" y="236746"/>
                      </a:lnTo>
                      <a:lnTo>
                        <a:pt x="5777"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6" name="Freeform: Shape 3145">
                  <a:extLst>
                    <a:ext uri="{FF2B5EF4-FFF2-40B4-BE49-F238E27FC236}">
                      <a16:creationId xmlns:a16="http://schemas.microsoft.com/office/drawing/2014/main" id="{6B2256F5-8438-4E06-88B0-7D8AB3E81D66}"/>
                    </a:ext>
                  </a:extLst>
                </p:cNvPr>
                <p:cNvSpPr/>
                <p:nvPr/>
              </p:nvSpPr>
              <p:spPr>
                <a:xfrm>
                  <a:off x="4529203" y="4371428"/>
                  <a:ext cx="5777" cy="234108"/>
                </a:xfrm>
                <a:custGeom>
                  <a:avLst/>
                  <a:gdLst>
                    <a:gd name="connsiteX0" fmla="*/ 5777 w 5777"/>
                    <a:gd name="connsiteY0" fmla="*/ 234108 h 234108"/>
                    <a:gd name="connsiteX1" fmla="*/ 0 w 5777"/>
                    <a:gd name="connsiteY1" fmla="*/ 230718 h 234108"/>
                    <a:gd name="connsiteX2" fmla="*/ 0 w 5777"/>
                    <a:gd name="connsiteY2" fmla="*/ 0 h 234108"/>
                    <a:gd name="connsiteX3" fmla="*/ 5777 w 5777"/>
                    <a:gd name="connsiteY3" fmla="*/ 3265 h 234108"/>
                  </a:gdLst>
                  <a:ahLst/>
                  <a:cxnLst>
                    <a:cxn ang="0">
                      <a:pos x="connsiteX0" y="connsiteY0"/>
                    </a:cxn>
                    <a:cxn ang="0">
                      <a:pos x="connsiteX1" y="connsiteY1"/>
                    </a:cxn>
                    <a:cxn ang="0">
                      <a:pos x="connsiteX2" y="connsiteY2"/>
                    </a:cxn>
                    <a:cxn ang="0">
                      <a:pos x="connsiteX3" y="connsiteY3"/>
                    </a:cxn>
                  </a:cxnLst>
                  <a:rect l="l" t="t" r="r" b="b"/>
                  <a:pathLst>
                    <a:path w="5777" h="234108">
                      <a:moveTo>
                        <a:pt x="5777" y="234108"/>
                      </a:moveTo>
                      <a:lnTo>
                        <a:pt x="0" y="230718"/>
                      </a:lnTo>
                      <a:lnTo>
                        <a:pt x="0" y="0"/>
                      </a:lnTo>
                      <a:lnTo>
                        <a:pt x="5777" y="3265"/>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7" name="Freeform: Shape 3146">
                  <a:extLst>
                    <a:ext uri="{FF2B5EF4-FFF2-40B4-BE49-F238E27FC236}">
                      <a16:creationId xmlns:a16="http://schemas.microsoft.com/office/drawing/2014/main" id="{001B0695-C3C9-4C24-B08B-5085CB0794B5}"/>
                    </a:ext>
                  </a:extLst>
                </p:cNvPr>
                <p:cNvSpPr/>
                <p:nvPr/>
              </p:nvSpPr>
              <p:spPr>
                <a:xfrm>
                  <a:off x="4534980" y="4371302"/>
                  <a:ext cx="5777" cy="234234"/>
                </a:xfrm>
                <a:custGeom>
                  <a:avLst/>
                  <a:gdLst>
                    <a:gd name="connsiteX0" fmla="*/ 0 w 5777"/>
                    <a:gd name="connsiteY0" fmla="*/ 234234 h 234234"/>
                    <a:gd name="connsiteX1" fmla="*/ 5777 w 5777"/>
                    <a:gd name="connsiteY1" fmla="*/ 230718 h 234234"/>
                    <a:gd name="connsiteX2" fmla="*/ 5777 w 5777"/>
                    <a:gd name="connsiteY2" fmla="*/ 0 h 234234"/>
                    <a:gd name="connsiteX3" fmla="*/ 0 w 5777"/>
                    <a:gd name="connsiteY3" fmla="*/ 3391 h 234234"/>
                  </a:gdLst>
                  <a:ahLst/>
                  <a:cxnLst>
                    <a:cxn ang="0">
                      <a:pos x="connsiteX0" y="connsiteY0"/>
                    </a:cxn>
                    <a:cxn ang="0">
                      <a:pos x="connsiteX1" y="connsiteY1"/>
                    </a:cxn>
                    <a:cxn ang="0">
                      <a:pos x="connsiteX2" y="connsiteY2"/>
                    </a:cxn>
                    <a:cxn ang="0">
                      <a:pos x="connsiteX3" y="connsiteY3"/>
                    </a:cxn>
                  </a:cxnLst>
                  <a:rect l="l" t="t" r="r" b="b"/>
                  <a:pathLst>
                    <a:path w="5777" h="234234">
                      <a:moveTo>
                        <a:pt x="0" y="234234"/>
                      </a:moveTo>
                      <a:lnTo>
                        <a:pt x="5777" y="230718"/>
                      </a:lnTo>
                      <a:lnTo>
                        <a:pt x="5777"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8" name="Freeform: Shape 3147">
                  <a:extLst>
                    <a:ext uri="{FF2B5EF4-FFF2-40B4-BE49-F238E27FC236}">
                      <a16:creationId xmlns:a16="http://schemas.microsoft.com/office/drawing/2014/main" id="{C87A17B0-C76E-4ED9-9ED1-34FCB479FB20}"/>
                    </a:ext>
                  </a:extLst>
                </p:cNvPr>
                <p:cNvSpPr/>
                <p:nvPr/>
              </p:nvSpPr>
              <p:spPr>
                <a:xfrm>
                  <a:off x="4380122" y="4364645"/>
                  <a:ext cx="160635" cy="99596"/>
                </a:xfrm>
                <a:custGeom>
                  <a:avLst/>
                  <a:gdLst>
                    <a:gd name="connsiteX0" fmla="*/ 160635 w 160635"/>
                    <a:gd name="connsiteY0" fmla="*/ 6782 h 99596"/>
                    <a:gd name="connsiteX1" fmla="*/ 0 w 160635"/>
                    <a:gd name="connsiteY1" fmla="*/ 99597 h 99596"/>
                    <a:gd name="connsiteX2" fmla="*/ 0 w 160635"/>
                    <a:gd name="connsiteY2" fmla="*/ 92940 h 99596"/>
                    <a:gd name="connsiteX3" fmla="*/ 160635 w 160635"/>
                    <a:gd name="connsiteY3" fmla="*/ 0 h 99596"/>
                  </a:gdLst>
                  <a:ahLst/>
                  <a:cxnLst>
                    <a:cxn ang="0">
                      <a:pos x="connsiteX0" y="connsiteY0"/>
                    </a:cxn>
                    <a:cxn ang="0">
                      <a:pos x="connsiteX1" y="connsiteY1"/>
                    </a:cxn>
                    <a:cxn ang="0">
                      <a:pos x="connsiteX2" y="connsiteY2"/>
                    </a:cxn>
                    <a:cxn ang="0">
                      <a:pos x="connsiteX3" y="connsiteY3"/>
                    </a:cxn>
                  </a:cxnLst>
                  <a:rect l="l" t="t" r="r" b="b"/>
                  <a:pathLst>
                    <a:path w="160635" h="99596">
                      <a:moveTo>
                        <a:pt x="160635" y="6782"/>
                      </a:moveTo>
                      <a:lnTo>
                        <a:pt x="0" y="99597"/>
                      </a:lnTo>
                      <a:lnTo>
                        <a:pt x="0" y="92940"/>
                      </a:lnTo>
                      <a:lnTo>
                        <a:pt x="160635"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9" name="Freeform: Shape 3148">
                  <a:extLst>
                    <a:ext uri="{FF2B5EF4-FFF2-40B4-BE49-F238E27FC236}">
                      <a16:creationId xmlns:a16="http://schemas.microsoft.com/office/drawing/2014/main" id="{2FC42A1E-1D92-436A-B811-16CB65A2F258}"/>
                    </a:ext>
                  </a:extLst>
                </p:cNvPr>
                <p:cNvSpPr/>
                <p:nvPr/>
              </p:nvSpPr>
              <p:spPr>
                <a:xfrm>
                  <a:off x="4385899" y="4425307"/>
                  <a:ext cx="149080" cy="92563"/>
                </a:xfrm>
                <a:custGeom>
                  <a:avLst/>
                  <a:gdLst>
                    <a:gd name="connsiteX0" fmla="*/ 149081 w 149080"/>
                    <a:gd name="connsiteY0" fmla="*/ 0 h 92563"/>
                    <a:gd name="connsiteX1" fmla="*/ 0 w 149080"/>
                    <a:gd name="connsiteY1" fmla="*/ 85781 h 92563"/>
                    <a:gd name="connsiteX2" fmla="*/ 0 w 149080"/>
                    <a:gd name="connsiteY2" fmla="*/ 92564 h 92563"/>
                    <a:gd name="connsiteX3" fmla="*/ 149081 w 149080"/>
                    <a:gd name="connsiteY3" fmla="*/ 6531 h 92563"/>
                  </a:gdLst>
                  <a:ahLst/>
                  <a:cxnLst>
                    <a:cxn ang="0">
                      <a:pos x="connsiteX0" y="connsiteY0"/>
                    </a:cxn>
                    <a:cxn ang="0">
                      <a:pos x="connsiteX1" y="connsiteY1"/>
                    </a:cxn>
                    <a:cxn ang="0">
                      <a:pos x="connsiteX2" y="connsiteY2"/>
                    </a:cxn>
                    <a:cxn ang="0">
                      <a:pos x="connsiteX3" y="connsiteY3"/>
                    </a:cxn>
                  </a:cxnLst>
                  <a:rect l="l" t="t" r="r" b="b"/>
                  <a:pathLst>
                    <a:path w="149080" h="92563">
                      <a:moveTo>
                        <a:pt x="149081" y="0"/>
                      </a:moveTo>
                      <a:lnTo>
                        <a:pt x="0" y="85781"/>
                      </a:lnTo>
                      <a:lnTo>
                        <a:pt x="0" y="92564"/>
                      </a:lnTo>
                      <a:lnTo>
                        <a:pt x="149081" y="6531"/>
                      </a:lnTo>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0" name="Freeform: Shape 3149">
                  <a:extLst>
                    <a:ext uri="{FF2B5EF4-FFF2-40B4-BE49-F238E27FC236}">
                      <a16:creationId xmlns:a16="http://schemas.microsoft.com/office/drawing/2014/main" id="{E6A43C29-9E3F-43A0-B1AD-75A607AF6DE2}"/>
                    </a:ext>
                  </a:extLst>
                </p:cNvPr>
                <p:cNvSpPr/>
                <p:nvPr/>
              </p:nvSpPr>
              <p:spPr>
                <a:xfrm>
                  <a:off x="4380122" y="4431587"/>
                  <a:ext cx="155109" cy="96205"/>
                </a:xfrm>
                <a:custGeom>
                  <a:avLst/>
                  <a:gdLst>
                    <a:gd name="connsiteX0" fmla="*/ 155109 w 155109"/>
                    <a:gd name="connsiteY0" fmla="*/ 6531 h 96205"/>
                    <a:gd name="connsiteX1" fmla="*/ 0 w 155109"/>
                    <a:gd name="connsiteY1" fmla="*/ 96206 h 96205"/>
                    <a:gd name="connsiteX2" fmla="*/ 0 w 155109"/>
                    <a:gd name="connsiteY2" fmla="*/ 89675 h 96205"/>
                    <a:gd name="connsiteX3" fmla="*/ 155109 w 155109"/>
                    <a:gd name="connsiteY3" fmla="*/ 0 h 96205"/>
                  </a:gdLst>
                  <a:ahLst/>
                  <a:cxnLst>
                    <a:cxn ang="0">
                      <a:pos x="connsiteX0" y="connsiteY0"/>
                    </a:cxn>
                    <a:cxn ang="0">
                      <a:pos x="connsiteX1" y="connsiteY1"/>
                    </a:cxn>
                    <a:cxn ang="0">
                      <a:pos x="connsiteX2" y="connsiteY2"/>
                    </a:cxn>
                    <a:cxn ang="0">
                      <a:pos x="connsiteX3" y="connsiteY3"/>
                    </a:cxn>
                  </a:cxnLst>
                  <a:rect l="l" t="t" r="r" b="b"/>
                  <a:pathLst>
                    <a:path w="155109" h="96205">
                      <a:moveTo>
                        <a:pt x="155109" y="6531"/>
                      </a:moveTo>
                      <a:lnTo>
                        <a:pt x="0" y="96206"/>
                      </a:lnTo>
                      <a:lnTo>
                        <a:pt x="0" y="89675"/>
                      </a:lnTo>
                      <a:lnTo>
                        <a:pt x="155109"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151" name="Graphic 4">
                <a:extLst>
                  <a:ext uri="{FF2B5EF4-FFF2-40B4-BE49-F238E27FC236}">
                    <a16:creationId xmlns:a16="http://schemas.microsoft.com/office/drawing/2014/main" id="{84FB7ED1-A2DF-40A1-A747-5F7CF3F14040}"/>
                  </a:ext>
                </a:extLst>
              </p:cNvPr>
              <p:cNvGrpSpPr/>
              <p:nvPr/>
            </p:nvGrpSpPr>
            <p:grpSpPr>
              <a:xfrm>
                <a:off x="4380122" y="4451306"/>
                <a:ext cx="322275" cy="195676"/>
                <a:chOff x="4380122" y="4451306"/>
                <a:chExt cx="322275" cy="195676"/>
              </a:xfrm>
              <a:solidFill>
                <a:schemeClr val="accent1"/>
              </a:solidFill>
            </p:grpSpPr>
            <p:sp>
              <p:nvSpPr>
                <p:cNvPr id="3152" name="Freeform: Shape 3151">
                  <a:extLst>
                    <a:ext uri="{FF2B5EF4-FFF2-40B4-BE49-F238E27FC236}">
                      <a16:creationId xmlns:a16="http://schemas.microsoft.com/office/drawing/2014/main" id="{AB3D9278-FE06-4CC1-B7FC-073C48CD1DD2}"/>
                    </a:ext>
                  </a:extLst>
                </p:cNvPr>
                <p:cNvSpPr/>
                <p:nvPr/>
              </p:nvSpPr>
              <p:spPr>
                <a:xfrm>
                  <a:off x="4535860" y="4547260"/>
                  <a:ext cx="160635" cy="99722"/>
                </a:xfrm>
                <a:custGeom>
                  <a:avLst/>
                  <a:gdLst>
                    <a:gd name="connsiteX0" fmla="*/ 0 w 160635"/>
                    <a:gd name="connsiteY0" fmla="*/ 6782 h 99722"/>
                    <a:gd name="connsiteX1" fmla="*/ 160635 w 160635"/>
                    <a:gd name="connsiteY1" fmla="*/ 99722 h 99722"/>
                    <a:gd name="connsiteX2" fmla="*/ 160635 w 160635"/>
                    <a:gd name="connsiteY2" fmla="*/ 92940 h 99722"/>
                    <a:gd name="connsiteX3" fmla="*/ 0 w 160635"/>
                    <a:gd name="connsiteY3" fmla="*/ 0 h 99722"/>
                  </a:gdLst>
                  <a:ahLst/>
                  <a:cxnLst>
                    <a:cxn ang="0">
                      <a:pos x="connsiteX0" y="connsiteY0"/>
                    </a:cxn>
                    <a:cxn ang="0">
                      <a:pos x="connsiteX1" y="connsiteY1"/>
                    </a:cxn>
                    <a:cxn ang="0">
                      <a:pos x="connsiteX2" y="connsiteY2"/>
                    </a:cxn>
                    <a:cxn ang="0">
                      <a:pos x="connsiteX3" y="connsiteY3"/>
                    </a:cxn>
                  </a:cxnLst>
                  <a:rect l="l" t="t" r="r" b="b"/>
                  <a:pathLst>
                    <a:path w="160635" h="99722">
                      <a:moveTo>
                        <a:pt x="0" y="6782"/>
                      </a:moveTo>
                      <a:lnTo>
                        <a:pt x="160635" y="99722"/>
                      </a:lnTo>
                      <a:lnTo>
                        <a:pt x="160635" y="92940"/>
                      </a:lnTo>
                      <a:lnTo>
                        <a:pt x="0" y="0"/>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3" name="Freeform: Shape 3152">
                  <a:extLst>
                    <a:ext uri="{FF2B5EF4-FFF2-40B4-BE49-F238E27FC236}">
                      <a16:creationId xmlns:a16="http://schemas.microsoft.com/office/drawing/2014/main" id="{DA4957EF-09C8-483D-8EC0-79226539841D}"/>
                    </a:ext>
                  </a:extLst>
                </p:cNvPr>
                <p:cNvSpPr/>
                <p:nvPr/>
              </p:nvSpPr>
              <p:spPr>
                <a:xfrm>
                  <a:off x="4380122" y="4457585"/>
                  <a:ext cx="161514" cy="99973"/>
                </a:xfrm>
                <a:custGeom>
                  <a:avLst/>
                  <a:gdLst>
                    <a:gd name="connsiteX0" fmla="*/ 0 w 161514"/>
                    <a:gd name="connsiteY0" fmla="*/ 6657 h 99973"/>
                    <a:gd name="connsiteX1" fmla="*/ 161515 w 161514"/>
                    <a:gd name="connsiteY1" fmla="*/ 99973 h 99973"/>
                    <a:gd name="connsiteX2" fmla="*/ 161515 w 161514"/>
                    <a:gd name="connsiteY2" fmla="*/ 93192 h 99973"/>
                    <a:gd name="connsiteX3" fmla="*/ 0 w 161514"/>
                    <a:gd name="connsiteY3" fmla="*/ 0 h 99973"/>
                  </a:gdLst>
                  <a:ahLst/>
                  <a:cxnLst>
                    <a:cxn ang="0">
                      <a:pos x="connsiteX0" y="connsiteY0"/>
                    </a:cxn>
                    <a:cxn ang="0">
                      <a:pos x="connsiteX1" y="connsiteY1"/>
                    </a:cxn>
                    <a:cxn ang="0">
                      <a:pos x="connsiteX2" y="connsiteY2"/>
                    </a:cxn>
                    <a:cxn ang="0">
                      <a:pos x="connsiteX3" y="connsiteY3"/>
                    </a:cxn>
                  </a:cxnLst>
                  <a:rect l="l" t="t" r="r" b="b"/>
                  <a:pathLst>
                    <a:path w="161514" h="99973">
                      <a:moveTo>
                        <a:pt x="0" y="6657"/>
                      </a:moveTo>
                      <a:lnTo>
                        <a:pt x="161515" y="99973"/>
                      </a:lnTo>
                      <a:lnTo>
                        <a:pt x="161515" y="93192"/>
                      </a:lnTo>
                      <a:lnTo>
                        <a:pt x="0" y="0"/>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4" name="Freeform: Shape 3153">
                  <a:extLst>
                    <a:ext uri="{FF2B5EF4-FFF2-40B4-BE49-F238E27FC236}">
                      <a16:creationId xmlns:a16="http://schemas.microsoft.com/office/drawing/2014/main" id="{C175B811-1AD4-427B-8F0A-27080D6E4F14}"/>
                    </a:ext>
                  </a:extLst>
                </p:cNvPr>
                <p:cNvSpPr/>
                <p:nvPr/>
              </p:nvSpPr>
              <p:spPr>
                <a:xfrm>
                  <a:off x="4380122" y="4451306"/>
                  <a:ext cx="322275" cy="188894"/>
                </a:xfrm>
                <a:custGeom>
                  <a:avLst/>
                  <a:gdLst>
                    <a:gd name="connsiteX0" fmla="*/ 155737 w 322275"/>
                    <a:gd name="connsiteY0" fmla="*/ 89423 h 188894"/>
                    <a:gd name="connsiteX1" fmla="*/ 155737 w 322275"/>
                    <a:gd name="connsiteY1" fmla="*/ 89423 h 188894"/>
                    <a:gd name="connsiteX2" fmla="*/ 322276 w 322275"/>
                    <a:gd name="connsiteY2" fmla="*/ 185504 h 188894"/>
                    <a:gd name="connsiteX3" fmla="*/ 316373 w 322275"/>
                    <a:gd name="connsiteY3" fmla="*/ 188895 h 188894"/>
                    <a:gd name="connsiteX4" fmla="*/ 161640 w 322275"/>
                    <a:gd name="connsiteY4" fmla="*/ 99471 h 188894"/>
                    <a:gd name="connsiteX5" fmla="*/ 161515 w 322275"/>
                    <a:gd name="connsiteY5" fmla="*/ 99471 h 188894"/>
                    <a:gd name="connsiteX6" fmla="*/ 0 w 322275"/>
                    <a:gd name="connsiteY6" fmla="*/ 6280 h 188894"/>
                    <a:gd name="connsiteX7" fmla="*/ 879 w 322275"/>
                    <a:gd name="connsiteY7" fmla="*/ 0 h 18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275" h="188894">
                      <a:moveTo>
                        <a:pt x="155737" y="89423"/>
                      </a:moveTo>
                      <a:lnTo>
                        <a:pt x="155737" y="89423"/>
                      </a:lnTo>
                      <a:lnTo>
                        <a:pt x="322276" y="185504"/>
                      </a:lnTo>
                      <a:lnTo>
                        <a:pt x="316373" y="188895"/>
                      </a:lnTo>
                      <a:lnTo>
                        <a:pt x="161640" y="99471"/>
                      </a:lnTo>
                      <a:lnTo>
                        <a:pt x="161515" y="99471"/>
                      </a:lnTo>
                      <a:lnTo>
                        <a:pt x="0" y="6280"/>
                      </a:lnTo>
                      <a:lnTo>
                        <a:pt x="879" y="0"/>
                      </a:lnTo>
                      <a:close/>
                    </a:path>
                  </a:pathLst>
                </a:custGeom>
                <a:solidFill>
                  <a:srgbClr val="CA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155" name="Freeform: Shape 3154">
                <a:extLst>
                  <a:ext uri="{FF2B5EF4-FFF2-40B4-BE49-F238E27FC236}">
                    <a16:creationId xmlns:a16="http://schemas.microsoft.com/office/drawing/2014/main" id="{8C455D35-F964-4847-8A98-3075CE3B0CCA}"/>
                  </a:ext>
                </a:extLst>
              </p:cNvPr>
              <p:cNvSpPr/>
              <p:nvPr/>
            </p:nvSpPr>
            <p:spPr>
              <a:xfrm>
                <a:off x="4690718" y="4636809"/>
                <a:ext cx="5777" cy="240011"/>
              </a:xfrm>
              <a:custGeom>
                <a:avLst/>
                <a:gdLst>
                  <a:gd name="connsiteX0" fmla="*/ 5777 w 5777"/>
                  <a:gd name="connsiteY0" fmla="*/ 240011 h 240011"/>
                  <a:gd name="connsiteX1" fmla="*/ 0 w 5777"/>
                  <a:gd name="connsiteY1" fmla="*/ 236746 h 240011"/>
                  <a:gd name="connsiteX2" fmla="*/ 0 w 5777"/>
                  <a:gd name="connsiteY2" fmla="*/ 0 h 240011"/>
                  <a:gd name="connsiteX3" fmla="*/ 5777 w 5777"/>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777" h="240011">
                    <a:moveTo>
                      <a:pt x="5777" y="240011"/>
                    </a:moveTo>
                    <a:lnTo>
                      <a:pt x="0" y="236746"/>
                    </a:lnTo>
                    <a:lnTo>
                      <a:pt x="0" y="0"/>
                    </a:lnTo>
                    <a:lnTo>
                      <a:pt x="5777"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6" name="Freeform: Shape 3155">
                <a:extLst>
                  <a:ext uri="{FF2B5EF4-FFF2-40B4-BE49-F238E27FC236}">
                    <a16:creationId xmlns:a16="http://schemas.microsoft.com/office/drawing/2014/main" id="{394677E4-A60E-451D-BD98-1ABA246E00E6}"/>
                  </a:ext>
                </a:extLst>
              </p:cNvPr>
              <p:cNvSpPr/>
              <p:nvPr/>
            </p:nvSpPr>
            <p:spPr>
              <a:xfrm>
                <a:off x="4696495" y="4636809"/>
                <a:ext cx="5902" cy="240011"/>
              </a:xfrm>
              <a:custGeom>
                <a:avLst/>
                <a:gdLst>
                  <a:gd name="connsiteX0" fmla="*/ 0 w 5902"/>
                  <a:gd name="connsiteY0" fmla="*/ 240011 h 240011"/>
                  <a:gd name="connsiteX1" fmla="*/ 5903 w 5902"/>
                  <a:gd name="connsiteY1" fmla="*/ 236746 h 240011"/>
                  <a:gd name="connsiteX2" fmla="*/ 5903 w 5902"/>
                  <a:gd name="connsiteY2" fmla="*/ 0 h 240011"/>
                  <a:gd name="connsiteX3" fmla="*/ 0 w 5902"/>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902" h="240011">
                    <a:moveTo>
                      <a:pt x="0" y="240011"/>
                    </a:moveTo>
                    <a:lnTo>
                      <a:pt x="5903" y="236746"/>
                    </a:lnTo>
                    <a:lnTo>
                      <a:pt x="5903"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7" name="Freeform: Shape 3156">
                <a:extLst>
                  <a:ext uri="{FF2B5EF4-FFF2-40B4-BE49-F238E27FC236}">
                    <a16:creationId xmlns:a16="http://schemas.microsoft.com/office/drawing/2014/main" id="{EEBD2378-9450-4176-9753-9EFBF40CFBAD}"/>
                  </a:ext>
                </a:extLst>
              </p:cNvPr>
              <p:cNvSpPr/>
              <p:nvPr/>
            </p:nvSpPr>
            <p:spPr>
              <a:xfrm>
                <a:off x="4845576" y="4554042"/>
                <a:ext cx="5777" cy="234108"/>
              </a:xfrm>
              <a:custGeom>
                <a:avLst/>
                <a:gdLst>
                  <a:gd name="connsiteX0" fmla="*/ 5777 w 5777"/>
                  <a:gd name="connsiteY0" fmla="*/ 234109 h 234108"/>
                  <a:gd name="connsiteX1" fmla="*/ 0 w 5777"/>
                  <a:gd name="connsiteY1" fmla="*/ 230718 h 234108"/>
                  <a:gd name="connsiteX2" fmla="*/ 0 w 5777"/>
                  <a:gd name="connsiteY2" fmla="*/ 0 h 234108"/>
                  <a:gd name="connsiteX3" fmla="*/ 5777 w 5777"/>
                  <a:gd name="connsiteY3" fmla="*/ 3391 h 234108"/>
                </a:gdLst>
                <a:ahLst/>
                <a:cxnLst>
                  <a:cxn ang="0">
                    <a:pos x="connsiteX0" y="connsiteY0"/>
                  </a:cxn>
                  <a:cxn ang="0">
                    <a:pos x="connsiteX1" y="connsiteY1"/>
                  </a:cxn>
                  <a:cxn ang="0">
                    <a:pos x="connsiteX2" y="connsiteY2"/>
                  </a:cxn>
                  <a:cxn ang="0">
                    <a:pos x="connsiteX3" y="connsiteY3"/>
                  </a:cxn>
                </a:cxnLst>
                <a:rect l="l" t="t" r="r" b="b"/>
                <a:pathLst>
                  <a:path w="5777" h="234108">
                    <a:moveTo>
                      <a:pt x="5777" y="234109"/>
                    </a:moveTo>
                    <a:lnTo>
                      <a:pt x="0" y="230718"/>
                    </a:lnTo>
                    <a:lnTo>
                      <a:pt x="0" y="0"/>
                    </a:lnTo>
                    <a:lnTo>
                      <a:pt x="5777"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8" name="Freeform: Shape 3157">
                <a:extLst>
                  <a:ext uri="{FF2B5EF4-FFF2-40B4-BE49-F238E27FC236}">
                    <a16:creationId xmlns:a16="http://schemas.microsoft.com/office/drawing/2014/main" id="{77123533-1033-4A5E-A055-A9A26EA1B18D}"/>
                  </a:ext>
                </a:extLst>
              </p:cNvPr>
              <p:cNvSpPr/>
              <p:nvPr/>
            </p:nvSpPr>
            <p:spPr>
              <a:xfrm>
                <a:off x="4851354" y="4553917"/>
                <a:ext cx="5902" cy="234234"/>
              </a:xfrm>
              <a:custGeom>
                <a:avLst/>
                <a:gdLst>
                  <a:gd name="connsiteX0" fmla="*/ 0 w 5902"/>
                  <a:gd name="connsiteY0" fmla="*/ 234234 h 234234"/>
                  <a:gd name="connsiteX1" fmla="*/ 5903 w 5902"/>
                  <a:gd name="connsiteY1" fmla="*/ 230718 h 234234"/>
                  <a:gd name="connsiteX2" fmla="*/ 5903 w 5902"/>
                  <a:gd name="connsiteY2" fmla="*/ 0 h 234234"/>
                  <a:gd name="connsiteX3" fmla="*/ 0 w 5902"/>
                  <a:gd name="connsiteY3" fmla="*/ 3517 h 234234"/>
                </a:gdLst>
                <a:ahLst/>
                <a:cxnLst>
                  <a:cxn ang="0">
                    <a:pos x="connsiteX0" y="connsiteY0"/>
                  </a:cxn>
                  <a:cxn ang="0">
                    <a:pos x="connsiteX1" y="connsiteY1"/>
                  </a:cxn>
                  <a:cxn ang="0">
                    <a:pos x="connsiteX2" y="connsiteY2"/>
                  </a:cxn>
                  <a:cxn ang="0">
                    <a:pos x="connsiteX3" y="connsiteY3"/>
                  </a:cxn>
                </a:cxnLst>
                <a:rect l="l" t="t" r="r" b="b"/>
                <a:pathLst>
                  <a:path w="5902" h="234234">
                    <a:moveTo>
                      <a:pt x="0" y="234234"/>
                    </a:moveTo>
                    <a:lnTo>
                      <a:pt x="5903" y="230718"/>
                    </a:lnTo>
                    <a:lnTo>
                      <a:pt x="5903" y="0"/>
                    </a:lnTo>
                    <a:lnTo>
                      <a:pt x="0" y="3517"/>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9" name="Freeform: Shape 3158">
                <a:extLst>
                  <a:ext uri="{FF2B5EF4-FFF2-40B4-BE49-F238E27FC236}">
                    <a16:creationId xmlns:a16="http://schemas.microsoft.com/office/drawing/2014/main" id="{CBD0B86E-7110-4B97-B99D-3918636D7885}"/>
                  </a:ext>
                </a:extLst>
              </p:cNvPr>
              <p:cNvSpPr/>
              <p:nvPr/>
            </p:nvSpPr>
            <p:spPr>
              <a:xfrm>
                <a:off x="4696495" y="4547260"/>
                <a:ext cx="160761" cy="99722"/>
              </a:xfrm>
              <a:custGeom>
                <a:avLst/>
                <a:gdLst>
                  <a:gd name="connsiteX0" fmla="*/ 160762 w 160761"/>
                  <a:gd name="connsiteY0" fmla="*/ 6782 h 99722"/>
                  <a:gd name="connsiteX1" fmla="*/ 0 w 160761"/>
                  <a:gd name="connsiteY1" fmla="*/ 99722 h 99722"/>
                  <a:gd name="connsiteX2" fmla="*/ 0 w 160761"/>
                  <a:gd name="connsiteY2" fmla="*/ 92940 h 99722"/>
                  <a:gd name="connsiteX3" fmla="*/ 160762 w 160761"/>
                  <a:gd name="connsiteY3" fmla="*/ 0 h 99722"/>
                </a:gdLst>
                <a:ahLst/>
                <a:cxnLst>
                  <a:cxn ang="0">
                    <a:pos x="connsiteX0" y="connsiteY0"/>
                  </a:cxn>
                  <a:cxn ang="0">
                    <a:pos x="connsiteX1" y="connsiteY1"/>
                  </a:cxn>
                  <a:cxn ang="0">
                    <a:pos x="connsiteX2" y="connsiteY2"/>
                  </a:cxn>
                  <a:cxn ang="0">
                    <a:pos x="connsiteX3" y="connsiteY3"/>
                  </a:cxn>
                </a:cxnLst>
                <a:rect l="l" t="t" r="r" b="b"/>
                <a:pathLst>
                  <a:path w="160761" h="99722">
                    <a:moveTo>
                      <a:pt x="160762" y="6782"/>
                    </a:moveTo>
                    <a:lnTo>
                      <a:pt x="0" y="99722"/>
                    </a:lnTo>
                    <a:lnTo>
                      <a:pt x="0" y="92940"/>
                    </a:lnTo>
                    <a:lnTo>
                      <a:pt x="160762"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0" name="Freeform: Shape 3159">
                <a:extLst>
                  <a:ext uri="{FF2B5EF4-FFF2-40B4-BE49-F238E27FC236}">
                    <a16:creationId xmlns:a16="http://schemas.microsoft.com/office/drawing/2014/main" id="{C485CD34-EDDF-4C99-863F-568DD32B1BB8}"/>
                  </a:ext>
                </a:extLst>
              </p:cNvPr>
              <p:cNvSpPr/>
              <p:nvPr/>
            </p:nvSpPr>
            <p:spPr>
              <a:xfrm>
                <a:off x="4702398" y="4607922"/>
                <a:ext cx="149081" cy="92563"/>
              </a:xfrm>
              <a:custGeom>
                <a:avLst/>
                <a:gdLst>
                  <a:gd name="connsiteX0" fmla="*/ 149081 w 149081"/>
                  <a:gd name="connsiteY0" fmla="*/ 0 h 92563"/>
                  <a:gd name="connsiteX1" fmla="*/ 0 w 149081"/>
                  <a:gd name="connsiteY1" fmla="*/ 85907 h 92563"/>
                  <a:gd name="connsiteX2" fmla="*/ 0 w 149081"/>
                  <a:gd name="connsiteY2" fmla="*/ 92563 h 92563"/>
                  <a:gd name="connsiteX3" fmla="*/ 148956 w 149081"/>
                  <a:gd name="connsiteY3" fmla="*/ 6531 h 92563"/>
                </a:gdLst>
                <a:ahLst/>
                <a:cxnLst>
                  <a:cxn ang="0">
                    <a:pos x="connsiteX0" y="connsiteY0"/>
                  </a:cxn>
                  <a:cxn ang="0">
                    <a:pos x="connsiteX1" y="connsiteY1"/>
                  </a:cxn>
                  <a:cxn ang="0">
                    <a:pos x="connsiteX2" y="connsiteY2"/>
                  </a:cxn>
                  <a:cxn ang="0">
                    <a:pos x="connsiteX3" y="connsiteY3"/>
                  </a:cxn>
                </a:cxnLst>
                <a:rect l="l" t="t" r="r" b="b"/>
                <a:pathLst>
                  <a:path w="149081" h="92563">
                    <a:moveTo>
                      <a:pt x="149081" y="0"/>
                    </a:moveTo>
                    <a:lnTo>
                      <a:pt x="0" y="85907"/>
                    </a:lnTo>
                    <a:lnTo>
                      <a:pt x="0" y="92563"/>
                    </a:lnTo>
                    <a:lnTo>
                      <a:pt x="148956" y="6531"/>
                    </a:lnTo>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1" name="Freeform: Shape 3160">
                <a:extLst>
                  <a:ext uri="{FF2B5EF4-FFF2-40B4-BE49-F238E27FC236}">
                    <a16:creationId xmlns:a16="http://schemas.microsoft.com/office/drawing/2014/main" id="{5951CA05-87BE-47E4-B29D-427F451988E2}"/>
                  </a:ext>
                </a:extLst>
              </p:cNvPr>
              <p:cNvSpPr/>
              <p:nvPr/>
            </p:nvSpPr>
            <p:spPr>
              <a:xfrm>
                <a:off x="4696495" y="4614328"/>
                <a:ext cx="155235" cy="96079"/>
              </a:xfrm>
              <a:custGeom>
                <a:avLst/>
                <a:gdLst>
                  <a:gd name="connsiteX0" fmla="*/ 155235 w 155235"/>
                  <a:gd name="connsiteY0" fmla="*/ 6531 h 96079"/>
                  <a:gd name="connsiteX1" fmla="*/ 0 w 155235"/>
                  <a:gd name="connsiteY1" fmla="*/ 96080 h 96079"/>
                  <a:gd name="connsiteX2" fmla="*/ 0 w 155235"/>
                  <a:gd name="connsiteY2" fmla="*/ 89549 h 96079"/>
                  <a:gd name="connsiteX3" fmla="*/ 155235 w 155235"/>
                  <a:gd name="connsiteY3" fmla="*/ 0 h 96079"/>
                </a:gdLst>
                <a:ahLst/>
                <a:cxnLst>
                  <a:cxn ang="0">
                    <a:pos x="connsiteX0" y="connsiteY0"/>
                  </a:cxn>
                  <a:cxn ang="0">
                    <a:pos x="connsiteX1" y="connsiteY1"/>
                  </a:cxn>
                  <a:cxn ang="0">
                    <a:pos x="connsiteX2" y="connsiteY2"/>
                  </a:cxn>
                  <a:cxn ang="0">
                    <a:pos x="connsiteX3" y="connsiteY3"/>
                  </a:cxn>
                </a:cxnLst>
                <a:rect l="l" t="t" r="r" b="b"/>
                <a:pathLst>
                  <a:path w="155235" h="96079">
                    <a:moveTo>
                      <a:pt x="155235" y="6531"/>
                    </a:moveTo>
                    <a:lnTo>
                      <a:pt x="0" y="96080"/>
                    </a:lnTo>
                    <a:lnTo>
                      <a:pt x="0" y="89549"/>
                    </a:lnTo>
                    <a:lnTo>
                      <a:pt x="155235"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2" name="Freeform: Shape 3161">
                <a:extLst>
                  <a:ext uri="{FF2B5EF4-FFF2-40B4-BE49-F238E27FC236}">
                    <a16:creationId xmlns:a16="http://schemas.microsoft.com/office/drawing/2014/main" id="{077E577D-55E5-4C8C-97EE-4FAFBA0802BD}"/>
                  </a:ext>
                </a:extLst>
              </p:cNvPr>
              <p:cNvSpPr/>
              <p:nvPr/>
            </p:nvSpPr>
            <p:spPr>
              <a:xfrm>
                <a:off x="4370326" y="4363264"/>
                <a:ext cx="488061" cy="276936"/>
              </a:xfrm>
              <a:custGeom>
                <a:avLst/>
                <a:gdLst>
                  <a:gd name="connsiteX0" fmla="*/ 322276 w 488061"/>
                  <a:gd name="connsiteY0" fmla="*/ 276937 h 276936"/>
                  <a:gd name="connsiteX1" fmla="*/ 488061 w 488061"/>
                  <a:gd name="connsiteY1" fmla="*/ 182615 h 276936"/>
                  <a:gd name="connsiteX2" fmla="*/ 169553 w 488061"/>
                  <a:gd name="connsiteY2" fmla="*/ 0 h 276936"/>
                  <a:gd name="connsiteX3" fmla="*/ 0 w 488061"/>
                  <a:gd name="connsiteY3" fmla="*/ 90931 h 276936"/>
                </a:gdLst>
                <a:ahLst/>
                <a:cxnLst>
                  <a:cxn ang="0">
                    <a:pos x="connsiteX0" y="connsiteY0"/>
                  </a:cxn>
                  <a:cxn ang="0">
                    <a:pos x="connsiteX1" y="connsiteY1"/>
                  </a:cxn>
                  <a:cxn ang="0">
                    <a:pos x="connsiteX2" y="connsiteY2"/>
                  </a:cxn>
                  <a:cxn ang="0">
                    <a:pos x="connsiteX3" y="connsiteY3"/>
                  </a:cxn>
                </a:cxnLst>
                <a:rect l="l" t="t" r="r" b="b"/>
                <a:pathLst>
                  <a:path w="488061" h="276936">
                    <a:moveTo>
                      <a:pt x="322276" y="276937"/>
                    </a:moveTo>
                    <a:lnTo>
                      <a:pt x="488061" y="182615"/>
                    </a:lnTo>
                    <a:lnTo>
                      <a:pt x="169553" y="0"/>
                    </a:lnTo>
                    <a:lnTo>
                      <a:pt x="0" y="90931"/>
                    </a:ln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3" name="Freeform: Shape 3162">
                <a:extLst>
                  <a:ext uri="{FF2B5EF4-FFF2-40B4-BE49-F238E27FC236}">
                    <a16:creationId xmlns:a16="http://schemas.microsoft.com/office/drawing/2014/main" id="{DE104BE2-BC66-4185-B3C8-BDB0879F70D3}"/>
                  </a:ext>
                </a:extLst>
              </p:cNvPr>
              <p:cNvSpPr/>
              <p:nvPr/>
            </p:nvSpPr>
            <p:spPr>
              <a:xfrm>
                <a:off x="4589363" y="4445623"/>
                <a:ext cx="74854" cy="43016"/>
              </a:xfrm>
              <a:custGeom>
                <a:avLst/>
                <a:gdLst>
                  <a:gd name="connsiteX0" fmla="*/ 25998 w 74854"/>
                  <a:gd name="connsiteY0" fmla="*/ 659 h 43016"/>
                  <a:gd name="connsiteX1" fmla="*/ 1131 w 74854"/>
                  <a:gd name="connsiteY1" fmla="*/ 14852 h 43016"/>
                  <a:gd name="connsiteX2" fmla="*/ 1131 w 74854"/>
                  <a:gd name="connsiteY2" fmla="*/ 17866 h 43016"/>
                  <a:gd name="connsiteX3" fmla="*/ 43456 w 74854"/>
                  <a:gd name="connsiteY3" fmla="*/ 42357 h 43016"/>
                  <a:gd name="connsiteX4" fmla="*/ 48731 w 74854"/>
                  <a:gd name="connsiteY4" fmla="*/ 42357 h 43016"/>
                  <a:gd name="connsiteX5" fmla="*/ 73724 w 74854"/>
                  <a:gd name="connsiteY5" fmla="*/ 28290 h 43016"/>
                  <a:gd name="connsiteX6" fmla="*/ 73724 w 74854"/>
                  <a:gd name="connsiteY6" fmla="*/ 25276 h 43016"/>
                  <a:gd name="connsiteX7" fmla="*/ 31273 w 74854"/>
                  <a:gd name="connsiteY7" fmla="*/ 659 h 43016"/>
                  <a:gd name="connsiteX8" fmla="*/ 25998 w 74854"/>
                  <a:gd name="connsiteY8" fmla="*/ 659 h 43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854" h="43016">
                    <a:moveTo>
                      <a:pt x="25998" y="659"/>
                    </a:moveTo>
                    <a:lnTo>
                      <a:pt x="1131" y="14852"/>
                    </a:lnTo>
                    <a:cubicBezTo>
                      <a:pt x="-377" y="15731"/>
                      <a:pt x="-377" y="16987"/>
                      <a:pt x="1131" y="17866"/>
                    </a:cubicBezTo>
                    <a:lnTo>
                      <a:pt x="43456" y="42357"/>
                    </a:lnTo>
                    <a:cubicBezTo>
                      <a:pt x="44963" y="43236"/>
                      <a:pt x="47224" y="43236"/>
                      <a:pt x="48731" y="42357"/>
                    </a:cubicBezTo>
                    <a:lnTo>
                      <a:pt x="73724" y="28290"/>
                    </a:lnTo>
                    <a:cubicBezTo>
                      <a:pt x="75231" y="27411"/>
                      <a:pt x="75231" y="26155"/>
                      <a:pt x="73724" y="25276"/>
                    </a:cubicBezTo>
                    <a:lnTo>
                      <a:pt x="31273" y="659"/>
                    </a:lnTo>
                    <a:cubicBezTo>
                      <a:pt x="29892" y="-220"/>
                      <a:pt x="27505" y="-220"/>
                      <a:pt x="25998" y="659"/>
                    </a:cubicBez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4" name="Freeform: Shape 3163">
                <a:extLst>
                  <a:ext uri="{FF2B5EF4-FFF2-40B4-BE49-F238E27FC236}">
                    <a16:creationId xmlns:a16="http://schemas.microsoft.com/office/drawing/2014/main" id="{B74F29BB-C901-4E3A-815E-CF993DC621A6}"/>
                  </a:ext>
                </a:extLst>
              </p:cNvPr>
              <p:cNvSpPr/>
              <p:nvPr/>
            </p:nvSpPr>
            <p:spPr>
              <a:xfrm>
                <a:off x="4627119" y="4530045"/>
                <a:ext cx="50292" cy="34422"/>
              </a:xfrm>
              <a:custGeom>
                <a:avLst/>
                <a:gdLst>
                  <a:gd name="connsiteX0" fmla="*/ 44509 w 50292"/>
                  <a:gd name="connsiteY0" fmla="*/ 3023 h 34422"/>
                  <a:gd name="connsiteX1" fmla="*/ 43880 w 50292"/>
                  <a:gd name="connsiteY1" fmla="*/ 2647 h 34422"/>
                  <a:gd name="connsiteX2" fmla="*/ 43504 w 50292"/>
                  <a:gd name="connsiteY2" fmla="*/ 2144 h 34422"/>
                  <a:gd name="connsiteX3" fmla="*/ 42248 w 50292"/>
                  <a:gd name="connsiteY3" fmla="*/ 1893 h 34422"/>
                  <a:gd name="connsiteX4" fmla="*/ 19766 w 50292"/>
                  <a:gd name="connsiteY4" fmla="*/ 2647 h 34422"/>
                  <a:gd name="connsiteX5" fmla="*/ 8463 w 50292"/>
                  <a:gd name="connsiteY5" fmla="*/ 13071 h 34422"/>
                  <a:gd name="connsiteX6" fmla="*/ 550 w 50292"/>
                  <a:gd name="connsiteY6" fmla="*/ 18597 h 34422"/>
                  <a:gd name="connsiteX7" fmla="*/ 676 w 50292"/>
                  <a:gd name="connsiteY7" fmla="*/ 20732 h 34422"/>
                  <a:gd name="connsiteX8" fmla="*/ 23534 w 50292"/>
                  <a:gd name="connsiteY8" fmla="*/ 34045 h 34422"/>
                  <a:gd name="connsiteX9" fmla="*/ 26674 w 50292"/>
                  <a:gd name="connsiteY9" fmla="*/ 34045 h 34422"/>
                  <a:gd name="connsiteX10" fmla="*/ 44509 w 50292"/>
                  <a:gd name="connsiteY10" fmla="*/ 23746 h 34422"/>
                  <a:gd name="connsiteX11" fmla="*/ 44509 w 50292"/>
                  <a:gd name="connsiteY11" fmla="*/ 3023 h 3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292" h="34422">
                    <a:moveTo>
                      <a:pt x="44509" y="3023"/>
                    </a:moveTo>
                    <a:cubicBezTo>
                      <a:pt x="44257" y="2898"/>
                      <a:pt x="44006" y="2772"/>
                      <a:pt x="43880" y="2647"/>
                    </a:cubicBezTo>
                    <a:cubicBezTo>
                      <a:pt x="43880" y="2395"/>
                      <a:pt x="43755" y="2270"/>
                      <a:pt x="43504" y="2144"/>
                    </a:cubicBezTo>
                    <a:cubicBezTo>
                      <a:pt x="43253" y="2018"/>
                      <a:pt x="42750" y="1893"/>
                      <a:pt x="42248" y="1893"/>
                    </a:cubicBezTo>
                    <a:cubicBezTo>
                      <a:pt x="35717" y="-745"/>
                      <a:pt x="25544" y="-745"/>
                      <a:pt x="19766" y="2647"/>
                    </a:cubicBezTo>
                    <a:lnTo>
                      <a:pt x="8463" y="13071"/>
                    </a:lnTo>
                    <a:lnTo>
                      <a:pt x="550" y="18597"/>
                    </a:lnTo>
                    <a:cubicBezTo>
                      <a:pt x="-203" y="19099"/>
                      <a:pt x="-203" y="20355"/>
                      <a:pt x="676" y="20732"/>
                    </a:cubicBezTo>
                    <a:lnTo>
                      <a:pt x="23534" y="34045"/>
                    </a:lnTo>
                    <a:cubicBezTo>
                      <a:pt x="24539" y="34548"/>
                      <a:pt x="25669" y="34548"/>
                      <a:pt x="26674" y="34045"/>
                    </a:cubicBezTo>
                    <a:lnTo>
                      <a:pt x="44509" y="23746"/>
                    </a:lnTo>
                    <a:cubicBezTo>
                      <a:pt x="53426" y="18723"/>
                      <a:pt x="50914" y="6791"/>
                      <a:pt x="44509" y="3023"/>
                    </a:cubicBez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5" name="Freeform: Shape 3164">
                <a:extLst>
                  <a:ext uri="{FF2B5EF4-FFF2-40B4-BE49-F238E27FC236}">
                    <a16:creationId xmlns:a16="http://schemas.microsoft.com/office/drawing/2014/main" id="{2DAF20EE-5115-447B-8659-8BC0A1CCFA19}"/>
                  </a:ext>
                </a:extLst>
              </p:cNvPr>
              <p:cNvSpPr/>
              <p:nvPr/>
            </p:nvSpPr>
            <p:spPr>
              <a:xfrm>
                <a:off x="4650528" y="4463112"/>
                <a:ext cx="72656" cy="82013"/>
              </a:xfrm>
              <a:custGeom>
                <a:avLst/>
                <a:gdLst>
                  <a:gd name="connsiteX0" fmla="*/ 12936 w 72656"/>
                  <a:gd name="connsiteY0" fmla="*/ 82013 h 82013"/>
                  <a:gd name="connsiteX1" fmla="*/ 70207 w 72656"/>
                  <a:gd name="connsiteY1" fmla="*/ 49108 h 82013"/>
                  <a:gd name="connsiteX2" fmla="*/ 70207 w 72656"/>
                  <a:gd name="connsiteY2" fmla="*/ 40442 h 82013"/>
                  <a:gd name="connsiteX3" fmla="*/ 0 w 72656"/>
                  <a:gd name="connsiteY3" fmla="*/ 0 h 82013"/>
                </a:gdLst>
                <a:ahLst/>
                <a:cxnLst>
                  <a:cxn ang="0">
                    <a:pos x="connsiteX0" y="connsiteY0"/>
                  </a:cxn>
                  <a:cxn ang="0">
                    <a:pos x="connsiteX1" y="connsiteY1"/>
                  </a:cxn>
                  <a:cxn ang="0">
                    <a:pos x="connsiteX2" y="connsiteY2"/>
                  </a:cxn>
                  <a:cxn ang="0">
                    <a:pos x="connsiteX3" y="connsiteY3"/>
                  </a:cxn>
                </a:cxnLst>
                <a:rect l="l" t="t" r="r" b="b"/>
                <a:pathLst>
                  <a:path w="72656" h="82013">
                    <a:moveTo>
                      <a:pt x="12936" y="82013"/>
                    </a:moveTo>
                    <a:lnTo>
                      <a:pt x="70207" y="49108"/>
                    </a:lnTo>
                    <a:cubicBezTo>
                      <a:pt x="73473" y="47224"/>
                      <a:pt x="73473" y="42451"/>
                      <a:pt x="70207" y="40442"/>
                    </a:cubicBezTo>
                    <a:lnTo>
                      <a:pt x="0" y="0"/>
                    </a:lnTo>
                  </a:path>
                </a:pathLst>
              </a:custGeom>
              <a:noFill/>
              <a:ln w="4819" cap="flat">
                <a:solidFill>
                  <a:srgbClr val="05252D">
                    <a:alpha val="7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6" name="Freeform: Shape 3165">
                <a:extLst>
                  <a:ext uri="{FF2B5EF4-FFF2-40B4-BE49-F238E27FC236}">
                    <a16:creationId xmlns:a16="http://schemas.microsoft.com/office/drawing/2014/main" id="{93346777-6666-4408-921B-68ABC5451E66}"/>
                  </a:ext>
                </a:extLst>
              </p:cNvPr>
              <p:cNvSpPr/>
              <p:nvPr/>
            </p:nvSpPr>
            <p:spPr>
              <a:xfrm>
                <a:off x="4650528" y="4461102"/>
                <a:ext cx="72656" cy="82013"/>
              </a:xfrm>
              <a:custGeom>
                <a:avLst/>
                <a:gdLst>
                  <a:gd name="connsiteX0" fmla="*/ 12936 w 72656"/>
                  <a:gd name="connsiteY0" fmla="*/ 82013 h 82013"/>
                  <a:gd name="connsiteX1" fmla="*/ 70207 w 72656"/>
                  <a:gd name="connsiteY1" fmla="*/ 49108 h 82013"/>
                  <a:gd name="connsiteX2" fmla="*/ 70207 w 72656"/>
                  <a:gd name="connsiteY2" fmla="*/ 40442 h 82013"/>
                  <a:gd name="connsiteX3" fmla="*/ 0 w 72656"/>
                  <a:gd name="connsiteY3" fmla="*/ 0 h 82013"/>
                </a:gdLst>
                <a:ahLst/>
                <a:cxnLst>
                  <a:cxn ang="0">
                    <a:pos x="connsiteX0" y="connsiteY0"/>
                  </a:cxn>
                  <a:cxn ang="0">
                    <a:pos x="connsiteX1" y="connsiteY1"/>
                  </a:cxn>
                  <a:cxn ang="0">
                    <a:pos x="connsiteX2" y="connsiteY2"/>
                  </a:cxn>
                  <a:cxn ang="0">
                    <a:pos x="connsiteX3" y="connsiteY3"/>
                  </a:cxn>
                </a:cxnLst>
                <a:rect l="l" t="t" r="r" b="b"/>
                <a:pathLst>
                  <a:path w="72656" h="82013">
                    <a:moveTo>
                      <a:pt x="12936" y="82013"/>
                    </a:moveTo>
                    <a:lnTo>
                      <a:pt x="70207" y="49108"/>
                    </a:lnTo>
                    <a:cubicBezTo>
                      <a:pt x="73473" y="47224"/>
                      <a:pt x="73473" y="42451"/>
                      <a:pt x="70207" y="40442"/>
                    </a:cubicBezTo>
                    <a:lnTo>
                      <a:pt x="0" y="0"/>
                    </a:lnTo>
                  </a:path>
                </a:pathLst>
              </a:custGeom>
              <a:noFill/>
              <a:ln w="4338" cap="flat">
                <a:solidFill>
                  <a:srgbClr val="E2E2E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7" name="Freeform: Shape 3166">
                <a:extLst>
                  <a:ext uri="{FF2B5EF4-FFF2-40B4-BE49-F238E27FC236}">
                    <a16:creationId xmlns:a16="http://schemas.microsoft.com/office/drawing/2014/main" id="{88C1852D-9B99-458D-8C55-E62E307ED8A4}"/>
                  </a:ext>
                </a:extLst>
              </p:cNvPr>
              <p:cNvSpPr/>
              <p:nvPr/>
            </p:nvSpPr>
            <p:spPr>
              <a:xfrm>
                <a:off x="4629051" y="4528970"/>
                <a:ext cx="47782" cy="33863"/>
              </a:xfrm>
              <a:custGeom>
                <a:avLst/>
                <a:gdLst>
                  <a:gd name="connsiteX0" fmla="*/ 41823 w 47782"/>
                  <a:gd name="connsiteY0" fmla="*/ 22937 h 33863"/>
                  <a:gd name="connsiteX1" fmla="*/ 22984 w 47782"/>
                  <a:gd name="connsiteY1" fmla="*/ 33864 h 33863"/>
                  <a:gd name="connsiteX2" fmla="*/ 0 w 47782"/>
                  <a:gd name="connsiteY2" fmla="*/ 20551 h 33863"/>
                  <a:gd name="connsiteX3" fmla="*/ 6029 w 47782"/>
                  <a:gd name="connsiteY3" fmla="*/ 10252 h 33863"/>
                  <a:gd name="connsiteX4" fmla="*/ 18965 w 47782"/>
                  <a:gd name="connsiteY4" fmla="*/ 2842 h 33863"/>
                  <a:gd name="connsiteX5" fmla="*/ 42200 w 47782"/>
                  <a:gd name="connsiteY5" fmla="*/ 2716 h 33863"/>
                  <a:gd name="connsiteX6" fmla="*/ 41823 w 47782"/>
                  <a:gd name="connsiteY6" fmla="*/ 22937 h 3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82" h="33863">
                    <a:moveTo>
                      <a:pt x="41823" y="22937"/>
                    </a:moveTo>
                    <a:lnTo>
                      <a:pt x="22984" y="33864"/>
                    </a:lnTo>
                    <a:lnTo>
                      <a:pt x="0" y="20551"/>
                    </a:lnTo>
                    <a:cubicBezTo>
                      <a:pt x="0" y="16280"/>
                      <a:pt x="2261" y="12387"/>
                      <a:pt x="6029" y="10252"/>
                    </a:cubicBezTo>
                    <a:lnTo>
                      <a:pt x="18965" y="2842"/>
                    </a:lnTo>
                    <a:cubicBezTo>
                      <a:pt x="25496" y="-926"/>
                      <a:pt x="35795" y="-926"/>
                      <a:pt x="42200" y="2716"/>
                    </a:cubicBezTo>
                    <a:cubicBezTo>
                      <a:pt x="48480" y="6358"/>
                      <a:pt x="50866" y="18039"/>
                      <a:pt x="41823" y="2293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8" name="Freeform: Shape 3167">
                <a:extLst>
                  <a:ext uri="{FF2B5EF4-FFF2-40B4-BE49-F238E27FC236}">
                    <a16:creationId xmlns:a16="http://schemas.microsoft.com/office/drawing/2014/main" id="{624D00CF-128D-493D-B7C9-61E441C1BC48}"/>
                  </a:ext>
                </a:extLst>
              </p:cNvPr>
              <p:cNvSpPr/>
              <p:nvPr/>
            </p:nvSpPr>
            <p:spPr>
              <a:xfrm>
                <a:off x="4652035" y="4531561"/>
                <a:ext cx="24785" cy="31272"/>
              </a:xfrm>
              <a:custGeom>
                <a:avLst/>
                <a:gdLst>
                  <a:gd name="connsiteX0" fmla="*/ 18839 w 24785"/>
                  <a:gd name="connsiteY0" fmla="*/ 20346 h 31272"/>
                  <a:gd name="connsiteX1" fmla="*/ 0 w 24785"/>
                  <a:gd name="connsiteY1" fmla="*/ 31273 h 31272"/>
                  <a:gd name="connsiteX2" fmla="*/ 7661 w 24785"/>
                  <a:gd name="connsiteY2" fmla="*/ 17960 h 31272"/>
                  <a:gd name="connsiteX3" fmla="*/ 19090 w 24785"/>
                  <a:gd name="connsiteY3" fmla="*/ 11303 h 31272"/>
                  <a:gd name="connsiteX4" fmla="*/ 19090 w 24785"/>
                  <a:gd name="connsiteY4" fmla="*/ 0 h 31272"/>
                  <a:gd name="connsiteX5" fmla="*/ 18839 w 24785"/>
                  <a:gd name="connsiteY5" fmla="*/ 20346 h 3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85" h="31272">
                    <a:moveTo>
                      <a:pt x="18839" y="20346"/>
                    </a:moveTo>
                    <a:lnTo>
                      <a:pt x="0" y="31273"/>
                    </a:lnTo>
                    <a:cubicBezTo>
                      <a:pt x="0" y="25747"/>
                      <a:pt x="2888" y="20723"/>
                      <a:pt x="7661" y="17960"/>
                    </a:cubicBezTo>
                    <a:cubicBezTo>
                      <a:pt x="7661" y="17960"/>
                      <a:pt x="17583" y="12183"/>
                      <a:pt x="19090" y="11303"/>
                    </a:cubicBezTo>
                    <a:cubicBezTo>
                      <a:pt x="20597" y="10424"/>
                      <a:pt x="25747" y="5777"/>
                      <a:pt x="19090" y="0"/>
                    </a:cubicBezTo>
                    <a:cubicBezTo>
                      <a:pt x="25496" y="3768"/>
                      <a:pt x="27882" y="15448"/>
                      <a:pt x="18839" y="20346"/>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9" name="Freeform: Shape 3168">
                <a:extLst>
                  <a:ext uri="{FF2B5EF4-FFF2-40B4-BE49-F238E27FC236}">
                    <a16:creationId xmlns:a16="http://schemas.microsoft.com/office/drawing/2014/main" id="{9891A45C-87AF-4EBB-B821-EE86BE87F7D3}"/>
                  </a:ext>
                </a:extLst>
              </p:cNvPr>
              <p:cNvSpPr/>
              <p:nvPr/>
            </p:nvSpPr>
            <p:spPr>
              <a:xfrm>
                <a:off x="4658305" y="4530546"/>
                <a:ext cx="12202" cy="7053"/>
              </a:xfrm>
              <a:custGeom>
                <a:avLst/>
                <a:gdLst>
                  <a:gd name="connsiteX0" fmla="*/ 11816 w 12202"/>
                  <a:gd name="connsiteY0" fmla="*/ 261 h 7053"/>
                  <a:gd name="connsiteX1" fmla="*/ 10937 w 12202"/>
                  <a:gd name="connsiteY1" fmla="*/ 2396 h 7053"/>
                  <a:gd name="connsiteX2" fmla="*/ 4154 w 12202"/>
                  <a:gd name="connsiteY2" fmla="*/ 6290 h 7053"/>
                  <a:gd name="connsiteX3" fmla="*/ 387 w 12202"/>
                  <a:gd name="connsiteY3" fmla="*/ 6792 h 7053"/>
                  <a:gd name="connsiteX4" fmla="*/ 1266 w 12202"/>
                  <a:gd name="connsiteY4" fmla="*/ 4657 h 7053"/>
                  <a:gd name="connsiteX5" fmla="*/ 8048 w 12202"/>
                  <a:gd name="connsiteY5" fmla="*/ 764 h 7053"/>
                  <a:gd name="connsiteX6" fmla="*/ 11816 w 12202"/>
                  <a:gd name="connsiteY6" fmla="*/ 261 h 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02" h="7053">
                    <a:moveTo>
                      <a:pt x="11816" y="261"/>
                    </a:moveTo>
                    <a:cubicBezTo>
                      <a:pt x="12569" y="764"/>
                      <a:pt x="12193" y="1643"/>
                      <a:pt x="10937" y="2396"/>
                    </a:cubicBezTo>
                    <a:lnTo>
                      <a:pt x="4154" y="6290"/>
                    </a:lnTo>
                    <a:cubicBezTo>
                      <a:pt x="2898" y="7043"/>
                      <a:pt x="1140" y="7295"/>
                      <a:pt x="387" y="6792"/>
                    </a:cubicBezTo>
                    <a:cubicBezTo>
                      <a:pt x="-367" y="6290"/>
                      <a:pt x="10" y="5411"/>
                      <a:pt x="1266" y="4657"/>
                    </a:cubicBezTo>
                    <a:lnTo>
                      <a:pt x="8048" y="764"/>
                    </a:lnTo>
                    <a:cubicBezTo>
                      <a:pt x="9304" y="10"/>
                      <a:pt x="11062" y="-241"/>
                      <a:pt x="11816" y="261"/>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0" name="Freeform: Shape 3169">
                <a:extLst>
                  <a:ext uri="{FF2B5EF4-FFF2-40B4-BE49-F238E27FC236}">
                    <a16:creationId xmlns:a16="http://schemas.microsoft.com/office/drawing/2014/main" id="{37981E0C-CA67-4406-A168-B5D9978479D8}"/>
                  </a:ext>
                </a:extLst>
              </p:cNvPr>
              <p:cNvSpPr/>
              <p:nvPr/>
            </p:nvSpPr>
            <p:spPr>
              <a:xfrm>
                <a:off x="4591247" y="4403705"/>
                <a:ext cx="68951" cy="82233"/>
              </a:xfrm>
              <a:custGeom>
                <a:avLst/>
                <a:gdLst>
                  <a:gd name="connsiteX0" fmla="*/ 23235 w 68951"/>
                  <a:gd name="connsiteY0" fmla="*/ 0 h 82233"/>
                  <a:gd name="connsiteX1" fmla="*/ 20723 w 68951"/>
                  <a:gd name="connsiteY1" fmla="*/ 1382 h 82233"/>
                  <a:gd name="connsiteX2" fmla="*/ 20723 w 68951"/>
                  <a:gd name="connsiteY2" fmla="*/ 43707 h 82233"/>
                  <a:gd name="connsiteX3" fmla="*/ 11931 w 68951"/>
                  <a:gd name="connsiteY3" fmla="*/ 48857 h 82233"/>
                  <a:gd name="connsiteX4" fmla="*/ 3014 w 68951"/>
                  <a:gd name="connsiteY4" fmla="*/ 54006 h 82233"/>
                  <a:gd name="connsiteX5" fmla="*/ 0 w 68951"/>
                  <a:gd name="connsiteY5" fmla="*/ 54006 h 82233"/>
                  <a:gd name="connsiteX6" fmla="*/ 0 w 68951"/>
                  <a:gd name="connsiteY6" fmla="*/ 57020 h 82233"/>
                  <a:gd name="connsiteX7" fmla="*/ 0 w 68951"/>
                  <a:gd name="connsiteY7" fmla="*/ 57020 h 82233"/>
                  <a:gd name="connsiteX8" fmla="*/ 1130 w 68951"/>
                  <a:gd name="connsiteY8" fmla="*/ 58779 h 82233"/>
                  <a:gd name="connsiteX9" fmla="*/ 1507 w 68951"/>
                  <a:gd name="connsiteY9" fmla="*/ 59030 h 82233"/>
                  <a:gd name="connsiteX10" fmla="*/ 9420 w 68951"/>
                  <a:gd name="connsiteY10" fmla="*/ 63677 h 82233"/>
                  <a:gd name="connsiteX11" fmla="*/ 40065 w 68951"/>
                  <a:gd name="connsiteY11" fmla="*/ 81386 h 82233"/>
                  <a:gd name="connsiteX12" fmla="*/ 47098 w 68951"/>
                  <a:gd name="connsiteY12" fmla="*/ 81386 h 82233"/>
                  <a:gd name="connsiteX13" fmla="*/ 65561 w 68951"/>
                  <a:gd name="connsiteY13" fmla="*/ 70710 h 82233"/>
                  <a:gd name="connsiteX14" fmla="*/ 68951 w 68951"/>
                  <a:gd name="connsiteY14" fmla="*/ 64933 h 82233"/>
                  <a:gd name="connsiteX15" fmla="*/ 68951 w 68951"/>
                  <a:gd name="connsiteY15" fmla="*/ 26501 h 82233"/>
                  <a:gd name="connsiteX16" fmla="*/ 23235 w 68951"/>
                  <a:gd name="connsiteY16" fmla="*/ 0 h 82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951" h="82233">
                    <a:moveTo>
                      <a:pt x="23235" y="0"/>
                    </a:moveTo>
                    <a:lnTo>
                      <a:pt x="20723" y="1382"/>
                    </a:lnTo>
                    <a:lnTo>
                      <a:pt x="20723" y="43707"/>
                    </a:lnTo>
                    <a:lnTo>
                      <a:pt x="11931" y="48857"/>
                    </a:lnTo>
                    <a:lnTo>
                      <a:pt x="3014" y="54006"/>
                    </a:lnTo>
                    <a:lnTo>
                      <a:pt x="0" y="54006"/>
                    </a:lnTo>
                    <a:lnTo>
                      <a:pt x="0" y="57020"/>
                    </a:lnTo>
                    <a:lnTo>
                      <a:pt x="0" y="57020"/>
                    </a:lnTo>
                    <a:cubicBezTo>
                      <a:pt x="0" y="57648"/>
                      <a:pt x="377" y="58276"/>
                      <a:pt x="1130" y="58779"/>
                    </a:cubicBezTo>
                    <a:cubicBezTo>
                      <a:pt x="1256" y="58904"/>
                      <a:pt x="1381" y="58904"/>
                      <a:pt x="1507" y="59030"/>
                    </a:cubicBezTo>
                    <a:lnTo>
                      <a:pt x="9420" y="63677"/>
                    </a:lnTo>
                    <a:lnTo>
                      <a:pt x="40065" y="81386"/>
                    </a:lnTo>
                    <a:cubicBezTo>
                      <a:pt x="41949" y="82516"/>
                      <a:pt x="45088" y="82516"/>
                      <a:pt x="47098" y="81386"/>
                    </a:cubicBezTo>
                    <a:lnTo>
                      <a:pt x="65561" y="70710"/>
                    </a:lnTo>
                    <a:cubicBezTo>
                      <a:pt x="67570" y="69454"/>
                      <a:pt x="68951" y="67319"/>
                      <a:pt x="68951" y="64933"/>
                    </a:cubicBezTo>
                    <a:lnTo>
                      <a:pt x="68951" y="26501"/>
                    </a:lnTo>
                    <a:lnTo>
                      <a:pt x="23235" y="0"/>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1" name="Freeform: Shape 3170">
                <a:extLst>
                  <a:ext uri="{FF2B5EF4-FFF2-40B4-BE49-F238E27FC236}">
                    <a16:creationId xmlns:a16="http://schemas.microsoft.com/office/drawing/2014/main" id="{187FC107-AAF7-41F2-AB2C-113187032DE1}"/>
                  </a:ext>
                </a:extLst>
              </p:cNvPr>
              <p:cNvSpPr/>
              <p:nvPr/>
            </p:nvSpPr>
            <p:spPr>
              <a:xfrm>
                <a:off x="4590995" y="4403580"/>
                <a:ext cx="68951" cy="82264"/>
              </a:xfrm>
              <a:custGeom>
                <a:avLst/>
                <a:gdLst>
                  <a:gd name="connsiteX0" fmla="*/ 68952 w 68951"/>
                  <a:gd name="connsiteY0" fmla="*/ 26500 h 82264"/>
                  <a:gd name="connsiteX1" fmla="*/ 68952 w 68951"/>
                  <a:gd name="connsiteY1" fmla="*/ 64932 h 82264"/>
                  <a:gd name="connsiteX2" fmla="*/ 65561 w 68951"/>
                  <a:gd name="connsiteY2" fmla="*/ 70710 h 82264"/>
                  <a:gd name="connsiteX3" fmla="*/ 47098 w 68951"/>
                  <a:gd name="connsiteY3" fmla="*/ 81385 h 82264"/>
                  <a:gd name="connsiteX4" fmla="*/ 43581 w 68951"/>
                  <a:gd name="connsiteY4" fmla="*/ 82264 h 82264"/>
                  <a:gd name="connsiteX5" fmla="*/ 40065 w 68951"/>
                  <a:gd name="connsiteY5" fmla="*/ 81385 h 82264"/>
                  <a:gd name="connsiteX6" fmla="*/ 9420 w 68951"/>
                  <a:gd name="connsiteY6" fmla="*/ 63677 h 82264"/>
                  <a:gd name="connsiteX7" fmla="*/ 1507 w 68951"/>
                  <a:gd name="connsiteY7" fmla="*/ 59029 h 82264"/>
                  <a:gd name="connsiteX8" fmla="*/ 1130 w 68951"/>
                  <a:gd name="connsiteY8" fmla="*/ 58778 h 82264"/>
                  <a:gd name="connsiteX9" fmla="*/ 0 w 68951"/>
                  <a:gd name="connsiteY9" fmla="*/ 57020 h 82264"/>
                  <a:gd name="connsiteX10" fmla="*/ 0 w 68951"/>
                  <a:gd name="connsiteY10" fmla="*/ 57020 h 82264"/>
                  <a:gd name="connsiteX11" fmla="*/ 0 w 68951"/>
                  <a:gd name="connsiteY11" fmla="*/ 54006 h 82264"/>
                  <a:gd name="connsiteX12" fmla="*/ 3015 w 68951"/>
                  <a:gd name="connsiteY12" fmla="*/ 54006 h 82264"/>
                  <a:gd name="connsiteX13" fmla="*/ 11932 w 68951"/>
                  <a:gd name="connsiteY13" fmla="*/ 48856 h 82264"/>
                  <a:gd name="connsiteX14" fmla="*/ 20723 w 68951"/>
                  <a:gd name="connsiteY14" fmla="*/ 43707 h 82264"/>
                  <a:gd name="connsiteX15" fmla="*/ 20723 w 68951"/>
                  <a:gd name="connsiteY15" fmla="*/ 1381 h 82264"/>
                  <a:gd name="connsiteX16" fmla="*/ 23235 w 68951"/>
                  <a:gd name="connsiteY16" fmla="*/ 0 h 82264"/>
                  <a:gd name="connsiteX17" fmla="*/ 68952 w 68951"/>
                  <a:gd name="connsiteY17" fmla="*/ 26500 h 82264"/>
                  <a:gd name="connsiteX18" fmla="*/ 68952 w 68951"/>
                  <a:gd name="connsiteY18" fmla="*/ 26500 h 82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951" h="82264">
                    <a:moveTo>
                      <a:pt x="68952" y="26500"/>
                    </a:moveTo>
                    <a:lnTo>
                      <a:pt x="68952" y="64932"/>
                    </a:lnTo>
                    <a:cubicBezTo>
                      <a:pt x="68952" y="67319"/>
                      <a:pt x="67696" y="69580"/>
                      <a:pt x="65561" y="70710"/>
                    </a:cubicBezTo>
                    <a:lnTo>
                      <a:pt x="47098" y="81385"/>
                    </a:lnTo>
                    <a:cubicBezTo>
                      <a:pt x="46093" y="81888"/>
                      <a:pt x="44837" y="82264"/>
                      <a:pt x="43581" y="82264"/>
                    </a:cubicBezTo>
                    <a:cubicBezTo>
                      <a:pt x="42325" y="82264"/>
                      <a:pt x="41070" y="82013"/>
                      <a:pt x="40065" y="81385"/>
                    </a:cubicBezTo>
                    <a:lnTo>
                      <a:pt x="9420" y="63677"/>
                    </a:lnTo>
                    <a:lnTo>
                      <a:pt x="1507" y="59029"/>
                    </a:lnTo>
                    <a:cubicBezTo>
                      <a:pt x="1382" y="58904"/>
                      <a:pt x="1256" y="58904"/>
                      <a:pt x="1130" y="58778"/>
                    </a:cubicBezTo>
                    <a:cubicBezTo>
                      <a:pt x="377" y="58276"/>
                      <a:pt x="126" y="57648"/>
                      <a:pt x="0" y="57020"/>
                    </a:cubicBezTo>
                    <a:lnTo>
                      <a:pt x="0" y="57020"/>
                    </a:lnTo>
                    <a:lnTo>
                      <a:pt x="0" y="54006"/>
                    </a:lnTo>
                    <a:lnTo>
                      <a:pt x="3015" y="54006"/>
                    </a:lnTo>
                    <a:lnTo>
                      <a:pt x="11932" y="48856"/>
                    </a:lnTo>
                    <a:lnTo>
                      <a:pt x="20723" y="43707"/>
                    </a:lnTo>
                    <a:lnTo>
                      <a:pt x="20723" y="1381"/>
                    </a:lnTo>
                    <a:lnTo>
                      <a:pt x="23235" y="0"/>
                    </a:lnTo>
                    <a:lnTo>
                      <a:pt x="68952" y="26500"/>
                    </a:lnTo>
                    <a:lnTo>
                      <a:pt x="68952" y="26500"/>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2" name="Freeform: Shape 3171">
                <a:extLst>
                  <a:ext uri="{FF2B5EF4-FFF2-40B4-BE49-F238E27FC236}">
                    <a16:creationId xmlns:a16="http://schemas.microsoft.com/office/drawing/2014/main" id="{4F1FA3BA-9C37-405E-BEA9-832919BE4AFB}"/>
                  </a:ext>
                </a:extLst>
              </p:cNvPr>
              <p:cNvSpPr/>
              <p:nvPr/>
            </p:nvSpPr>
            <p:spPr>
              <a:xfrm>
                <a:off x="4634577" y="4430080"/>
                <a:ext cx="25370" cy="55764"/>
              </a:xfrm>
              <a:custGeom>
                <a:avLst/>
                <a:gdLst>
                  <a:gd name="connsiteX0" fmla="*/ 25370 w 25370"/>
                  <a:gd name="connsiteY0" fmla="*/ 0 h 55764"/>
                  <a:gd name="connsiteX1" fmla="*/ 25370 w 25370"/>
                  <a:gd name="connsiteY1" fmla="*/ 38432 h 55764"/>
                  <a:gd name="connsiteX2" fmla="*/ 21979 w 25370"/>
                  <a:gd name="connsiteY2" fmla="*/ 44210 h 55764"/>
                  <a:gd name="connsiteX3" fmla="*/ 3517 w 25370"/>
                  <a:gd name="connsiteY3" fmla="*/ 54885 h 55764"/>
                  <a:gd name="connsiteX4" fmla="*/ 0 w 25370"/>
                  <a:gd name="connsiteY4" fmla="*/ 55764 h 55764"/>
                  <a:gd name="connsiteX5" fmla="*/ 0 w 25370"/>
                  <a:gd name="connsiteY5" fmla="*/ 51368 h 55764"/>
                  <a:gd name="connsiteX6" fmla="*/ 22733 w 25370"/>
                  <a:gd name="connsiteY6" fmla="*/ 1507 h 55764"/>
                  <a:gd name="connsiteX7" fmla="*/ 25370 w 25370"/>
                  <a:gd name="connsiteY7" fmla="*/ 0 h 55764"/>
                  <a:gd name="connsiteX8" fmla="*/ 25370 w 25370"/>
                  <a:gd name="connsiteY8" fmla="*/ 0 h 5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70" h="55764">
                    <a:moveTo>
                      <a:pt x="25370" y="0"/>
                    </a:moveTo>
                    <a:lnTo>
                      <a:pt x="25370" y="38432"/>
                    </a:lnTo>
                    <a:cubicBezTo>
                      <a:pt x="25370" y="40818"/>
                      <a:pt x="24114" y="43079"/>
                      <a:pt x="21979" y="44210"/>
                    </a:cubicBezTo>
                    <a:lnTo>
                      <a:pt x="3517" y="54885"/>
                    </a:lnTo>
                    <a:cubicBezTo>
                      <a:pt x="2512" y="55387"/>
                      <a:pt x="1256" y="55764"/>
                      <a:pt x="0" y="55764"/>
                    </a:cubicBezTo>
                    <a:lnTo>
                      <a:pt x="0" y="51368"/>
                    </a:lnTo>
                    <a:lnTo>
                      <a:pt x="22733" y="1507"/>
                    </a:lnTo>
                    <a:lnTo>
                      <a:pt x="25370" y="0"/>
                    </a:lnTo>
                    <a:lnTo>
                      <a:pt x="25370" y="0"/>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3" name="Freeform: Shape 3172">
                <a:extLst>
                  <a:ext uri="{FF2B5EF4-FFF2-40B4-BE49-F238E27FC236}">
                    <a16:creationId xmlns:a16="http://schemas.microsoft.com/office/drawing/2014/main" id="{08B97A19-650B-4D3D-922B-F777C8C262F7}"/>
                  </a:ext>
                </a:extLst>
              </p:cNvPr>
              <p:cNvSpPr/>
              <p:nvPr/>
            </p:nvSpPr>
            <p:spPr>
              <a:xfrm>
                <a:off x="4591215" y="4405213"/>
                <a:ext cx="66345" cy="77585"/>
              </a:xfrm>
              <a:custGeom>
                <a:avLst/>
                <a:gdLst>
                  <a:gd name="connsiteX0" fmla="*/ 66346 w 66345"/>
                  <a:gd name="connsiteY0" fmla="*/ 26249 h 77585"/>
                  <a:gd name="connsiteX1" fmla="*/ 66346 w 66345"/>
                  <a:gd name="connsiteY1" fmla="*/ 61792 h 77585"/>
                  <a:gd name="connsiteX2" fmla="*/ 62954 w 66345"/>
                  <a:gd name="connsiteY2" fmla="*/ 67570 h 77585"/>
                  <a:gd name="connsiteX3" fmla="*/ 47004 w 66345"/>
                  <a:gd name="connsiteY3" fmla="*/ 76738 h 77585"/>
                  <a:gd name="connsiteX4" fmla="*/ 39971 w 66345"/>
                  <a:gd name="connsiteY4" fmla="*/ 76738 h 77585"/>
                  <a:gd name="connsiteX5" fmla="*/ 1413 w 66345"/>
                  <a:gd name="connsiteY5" fmla="*/ 54508 h 77585"/>
                  <a:gd name="connsiteX6" fmla="*/ 1413 w 66345"/>
                  <a:gd name="connsiteY6" fmla="*/ 50489 h 77585"/>
                  <a:gd name="connsiteX7" fmla="*/ 17363 w 66345"/>
                  <a:gd name="connsiteY7" fmla="*/ 41320 h 77585"/>
                  <a:gd name="connsiteX8" fmla="*/ 20755 w 66345"/>
                  <a:gd name="connsiteY8" fmla="*/ 35543 h 77585"/>
                  <a:gd name="connsiteX9" fmla="*/ 20755 w 66345"/>
                  <a:gd name="connsiteY9" fmla="*/ 0 h 7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45" h="77585">
                    <a:moveTo>
                      <a:pt x="66346" y="26249"/>
                    </a:moveTo>
                    <a:lnTo>
                      <a:pt x="66346" y="61792"/>
                    </a:lnTo>
                    <a:cubicBezTo>
                      <a:pt x="66346" y="64179"/>
                      <a:pt x="65090" y="66439"/>
                      <a:pt x="62954" y="67570"/>
                    </a:cubicBezTo>
                    <a:lnTo>
                      <a:pt x="47004" y="76738"/>
                    </a:lnTo>
                    <a:cubicBezTo>
                      <a:pt x="45120" y="77869"/>
                      <a:pt x="41980" y="77869"/>
                      <a:pt x="39971" y="76738"/>
                    </a:cubicBezTo>
                    <a:lnTo>
                      <a:pt x="1413" y="54508"/>
                    </a:lnTo>
                    <a:cubicBezTo>
                      <a:pt x="-471" y="53378"/>
                      <a:pt x="-471" y="51619"/>
                      <a:pt x="1413" y="50489"/>
                    </a:cubicBezTo>
                    <a:lnTo>
                      <a:pt x="17363" y="41320"/>
                    </a:lnTo>
                    <a:cubicBezTo>
                      <a:pt x="19499" y="40065"/>
                      <a:pt x="20755" y="37929"/>
                      <a:pt x="20755" y="35543"/>
                    </a:cubicBezTo>
                    <a:lnTo>
                      <a:pt x="20755" y="0"/>
                    </a:lnTo>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4" name="Freeform: Shape 3173">
                <a:extLst>
                  <a:ext uri="{FF2B5EF4-FFF2-40B4-BE49-F238E27FC236}">
                    <a16:creationId xmlns:a16="http://schemas.microsoft.com/office/drawing/2014/main" id="{6555A819-CD97-4D86-A1EF-BADC8616C338}"/>
                  </a:ext>
                </a:extLst>
              </p:cNvPr>
              <p:cNvSpPr/>
              <p:nvPr/>
            </p:nvSpPr>
            <p:spPr>
              <a:xfrm>
                <a:off x="4611970" y="4434225"/>
                <a:ext cx="45590" cy="32780"/>
              </a:xfrm>
              <a:custGeom>
                <a:avLst/>
                <a:gdLst>
                  <a:gd name="connsiteX0" fmla="*/ 0 w 45590"/>
                  <a:gd name="connsiteY0" fmla="*/ 6531 h 32780"/>
                  <a:gd name="connsiteX1" fmla="*/ 0 w 45590"/>
                  <a:gd name="connsiteY1" fmla="*/ 0 h 32780"/>
                  <a:gd name="connsiteX2" fmla="*/ 45591 w 45590"/>
                  <a:gd name="connsiteY2" fmla="*/ 26249 h 32780"/>
                  <a:gd name="connsiteX3" fmla="*/ 45591 w 45590"/>
                  <a:gd name="connsiteY3" fmla="*/ 32780 h 32780"/>
                </a:gdLst>
                <a:ahLst/>
                <a:cxnLst>
                  <a:cxn ang="0">
                    <a:pos x="connsiteX0" y="connsiteY0"/>
                  </a:cxn>
                  <a:cxn ang="0">
                    <a:pos x="connsiteX1" y="connsiteY1"/>
                  </a:cxn>
                  <a:cxn ang="0">
                    <a:pos x="connsiteX2" y="connsiteY2"/>
                  </a:cxn>
                  <a:cxn ang="0">
                    <a:pos x="connsiteX3" y="connsiteY3"/>
                  </a:cxn>
                </a:cxnLst>
                <a:rect l="l" t="t" r="r" b="b"/>
                <a:pathLst>
                  <a:path w="45590" h="32780">
                    <a:moveTo>
                      <a:pt x="0" y="6531"/>
                    </a:moveTo>
                    <a:lnTo>
                      <a:pt x="0" y="0"/>
                    </a:lnTo>
                    <a:lnTo>
                      <a:pt x="45591" y="26249"/>
                    </a:lnTo>
                    <a:lnTo>
                      <a:pt x="45591" y="32780"/>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5" name="Freeform: Shape 3174">
                <a:extLst>
                  <a:ext uri="{FF2B5EF4-FFF2-40B4-BE49-F238E27FC236}">
                    <a16:creationId xmlns:a16="http://schemas.microsoft.com/office/drawing/2014/main" id="{35D821A2-E2F4-4639-A941-A220A29BF6F9}"/>
                  </a:ext>
                </a:extLst>
              </p:cNvPr>
              <p:cNvSpPr/>
              <p:nvPr/>
            </p:nvSpPr>
            <p:spPr>
              <a:xfrm>
                <a:off x="4657561" y="4459093"/>
                <a:ext cx="2386" cy="7912"/>
              </a:xfrm>
              <a:custGeom>
                <a:avLst/>
                <a:gdLst>
                  <a:gd name="connsiteX0" fmla="*/ 0 w 2386"/>
                  <a:gd name="connsiteY0" fmla="*/ 7913 h 7912"/>
                  <a:gd name="connsiteX1" fmla="*/ 2386 w 2386"/>
                  <a:gd name="connsiteY1" fmla="*/ 6531 h 7912"/>
                  <a:gd name="connsiteX2" fmla="*/ 2386 w 2386"/>
                  <a:gd name="connsiteY2" fmla="*/ 0 h 7912"/>
                  <a:gd name="connsiteX3" fmla="*/ 0 w 2386"/>
                  <a:gd name="connsiteY3" fmla="*/ 1382 h 7912"/>
                </a:gdLst>
                <a:ahLst/>
                <a:cxnLst>
                  <a:cxn ang="0">
                    <a:pos x="connsiteX0" y="connsiteY0"/>
                  </a:cxn>
                  <a:cxn ang="0">
                    <a:pos x="connsiteX1" y="connsiteY1"/>
                  </a:cxn>
                  <a:cxn ang="0">
                    <a:pos x="connsiteX2" y="connsiteY2"/>
                  </a:cxn>
                  <a:cxn ang="0">
                    <a:pos x="connsiteX3" y="connsiteY3"/>
                  </a:cxn>
                </a:cxnLst>
                <a:rect l="l" t="t" r="r" b="b"/>
                <a:pathLst>
                  <a:path w="2386" h="7912">
                    <a:moveTo>
                      <a:pt x="0" y="7913"/>
                    </a:moveTo>
                    <a:lnTo>
                      <a:pt x="2386" y="6531"/>
                    </a:lnTo>
                    <a:lnTo>
                      <a:pt x="2386" y="0"/>
                    </a:lnTo>
                    <a:lnTo>
                      <a:pt x="0" y="1382"/>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6" name="Freeform: Shape 3175">
                <a:extLst>
                  <a:ext uri="{FF2B5EF4-FFF2-40B4-BE49-F238E27FC236}">
                    <a16:creationId xmlns:a16="http://schemas.microsoft.com/office/drawing/2014/main" id="{C6132BBE-C36F-457C-88E4-A4131A680F84}"/>
                  </a:ext>
                </a:extLst>
              </p:cNvPr>
              <p:cNvSpPr/>
              <p:nvPr/>
            </p:nvSpPr>
            <p:spPr>
              <a:xfrm>
                <a:off x="4568263" y="4288751"/>
                <a:ext cx="151648" cy="198562"/>
              </a:xfrm>
              <a:custGeom>
                <a:avLst/>
                <a:gdLst>
                  <a:gd name="connsiteX0" fmla="*/ 150211 w 151648"/>
                  <a:gd name="connsiteY0" fmla="*/ 83932 h 198562"/>
                  <a:gd name="connsiteX1" fmla="*/ 146067 w 151648"/>
                  <a:gd name="connsiteY1" fmla="*/ 79536 h 198562"/>
                  <a:gd name="connsiteX2" fmla="*/ 9545 w 151648"/>
                  <a:gd name="connsiteY2" fmla="*/ 788 h 198562"/>
                  <a:gd name="connsiteX3" fmla="*/ 5149 w 151648"/>
                  <a:gd name="connsiteY3" fmla="*/ 537 h 198562"/>
                  <a:gd name="connsiteX4" fmla="*/ 0 w 151648"/>
                  <a:gd name="connsiteY4" fmla="*/ 3551 h 198562"/>
                  <a:gd name="connsiteX5" fmla="*/ 3642 w 151648"/>
                  <a:gd name="connsiteY5" fmla="*/ 5812 h 198562"/>
                  <a:gd name="connsiteX6" fmla="*/ 3642 w 151648"/>
                  <a:gd name="connsiteY6" fmla="*/ 109177 h 198562"/>
                  <a:gd name="connsiteX7" fmla="*/ 9420 w 151648"/>
                  <a:gd name="connsiteY7" fmla="*/ 119099 h 198562"/>
                  <a:gd name="connsiteX8" fmla="*/ 134638 w 151648"/>
                  <a:gd name="connsiteY8" fmla="*/ 191316 h 198562"/>
                  <a:gd name="connsiteX9" fmla="*/ 140290 w 151648"/>
                  <a:gd name="connsiteY9" fmla="*/ 194581 h 198562"/>
                  <a:gd name="connsiteX10" fmla="*/ 145816 w 151648"/>
                  <a:gd name="connsiteY10" fmla="*/ 197846 h 198562"/>
                  <a:gd name="connsiteX11" fmla="*/ 145941 w 151648"/>
                  <a:gd name="connsiteY11" fmla="*/ 197846 h 198562"/>
                  <a:gd name="connsiteX12" fmla="*/ 149960 w 151648"/>
                  <a:gd name="connsiteY12" fmla="*/ 198223 h 198562"/>
                  <a:gd name="connsiteX13" fmla="*/ 151593 w 151648"/>
                  <a:gd name="connsiteY13" fmla="*/ 194456 h 198562"/>
                  <a:gd name="connsiteX14" fmla="*/ 151593 w 151648"/>
                  <a:gd name="connsiteY14" fmla="*/ 89458 h 198562"/>
                  <a:gd name="connsiteX15" fmla="*/ 150211 w 151648"/>
                  <a:gd name="connsiteY15" fmla="*/ 83932 h 198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1648" h="198562">
                    <a:moveTo>
                      <a:pt x="150211" y="83932"/>
                    </a:moveTo>
                    <a:cubicBezTo>
                      <a:pt x="149207" y="82048"/>
                      <a:pt x="147700" y="80541"/>
                      <a:pt x="146067" y="79536"/>
                    </a:cubicBezTo>
                    <a:lnTo>
                      <a:pt x="9545" y="788"/>
                    </a:lnTo>
                    <a:cubicBezTo>
                      <a:pt x="7787" y="-216"/>
                      <a:pt x="6280" y="-216"/>
                      <a:pt x="5149" y="537"/>
                    </a:cubicBezTo>
                    <a:lnTo>
                      <a:pt x="0" y="3551"/>
                    </a:lnTo>
                    <a:lnTo>
                      <a:pt x="3642" y="5812"/>
                    </a:lnTo>
                    <a:lnTo>
                      <a:pt x="3642" y="109177"/>
                    </a:lnTo>
                    <a:cubicBezTo>
                      <a:pt x="3768" y="112819"/>
                      <a:pt x="6280" y="117340"/>
                      <a:pt x="9420" y="119099"/>
                    </a:cubicBezTo>
                    <a:lnTo>
                      <a:pt x="134638" y="191316"/>
                    </a:lnTo>
                    <a:lnTo>
                      <a:pt x="140290" y="194581"/>
                    </a:lnTo>
                    <a:lnTo>
                      <a:pt x="145816" y="197846"/>
                    </a:lnTo>
                    <a:cubicBezTo>
                      <a:pt x="145816" y="197846"/>
                      <a:pt x="145941" y="197846"/>
                      <a:pt x="145941" y="197846"/>
                    </a:cubicBezTo>
                    <a:cubicBezTo>
                      <a:pt x="147574" y="198726"/>
                      <a:pt x="148956" y="198726"/>
                      <a:pt x="149960" y="198223"/>
                    </a:cubicBezTo>
                    <a:cubicBezTo>
                      <a:pt x="150965" y="197595"/>
                      <a:pt x="151593" y="196339"/>
                      <a:pt x="151593" y="194456"/>
                    </a:cubicBezTo>
                    <a:lnTo>
                      <a:pt x="151593" y="89458"/>
                    </a:lnTo>
                    <a:cubicBezTo>
                      <a:pt x="151844" y="87826"/>
                      <a:pt x="151216" y="85816"/>
                      <a:pt x="150211" y="8393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7" name="Freeform: Shape 3176">
                <a:extLst>
                  <a:ext uri="{FF2B5EF4-FFF2-40B4-BE49-F238E27FC236}">
                    <a16:creationId xmlns:a16="http://schemas.microsoft.com/office/drawing/2014/main" id="{A0F28B7D-127C-4BB8-B77A-1AB00B4A9632}"/>
                  </a:ext>
                </a:extLst>
              </p:cNvPr>
              <p:cNvSpPr/>
              <p:nvPr/>
            </p:nvSpPr>
            <p:spPr>
              <a:xfrm>
                <a:off x="4703152" y="4372684"/>
                <a:ext cx="17206" cy="118200"/>
              </a:xfrm>
              <a:custGeom>
                <a:avLst/>
                <a:gdLst>
                  <a:gd name="connsiteX0" fmla="*/ 15322 w 17206"/>
                  <a:gd name="connsiteY0" fmla="*/ 0 h 118200"/>
                  <a:gd name="connsiteX1" fmla="*/ 9671 w 17206"/>
                  <a:gd name="connsiteY1" fmla="*/ 3265 h 118200"/>
                  <a:gd name="connsiteX2" fmla="*/ 0 w 17206"/>
                  <a:gd name="connsiteY2" fmla="*/ 8917 h 118200"/>
                  <a:gd name="connsiteX3" fmla="*/ 0 w 17206"/>
                  <a:gd name="connsiteY3" fmla="*/ 114166 h 118200"/>
                  <a:gd name="connsiteX4" fmla="*/ 5652 w 17206"/>
                  <a:gd name="connsiteY4" fmla="*/ 117431 h 118200"/>
                  <a:gd name="connsiteX5" fmla="*/ 9796 w 17206"/>
                  <a:gd name="connsiteY5" fmla="*/ 117808 h 118200"/>
                  <a:gd name="connsiteX6" fmla="*/ 9922 w 17206"/>
                  <a:gd name="connsiteY6" fmla="*/ 117808 h 118200"/>
                  <a:gd name="connsiteX7" fmla="*/ 15574 w 17206"/>
                  <a:gd name="connsiteY7" fmla="*/ 114542 h 118200"/>
                  <a:gd name="connsiteX8" fmla="*/ 17206 w 17206"/>
                  <a:gd name="connsiteY8" fmla="*/ 110774 h 118200"/>
                  <a:gd name="connsiteX9" fmla="*/ 17206 w 17206"/>
                  <a:gd name="connsiteY9" fmla="*/ 5777 h 118200"/>
                  <a:gd name="connsiteX10" fmla="*/ 15322 w 17206"/>
                  <a:gd name="connsiteY10" fmla="*/ 0 h 11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06" h="118200">
                    <a:moveTo>
                      <a:pt x="15322" y="0"/>
                    </a:moveTo>
                    <a:lnTo>
                      <a:pt x="9671" y="3265"/>
                    </a:lnTo>
                    <a:lnTo>
                      <a:pt x="0" y="8917"/>
                    </a:lnTo>
                    <a:lnTo>
                      <a:pt x="0" y="114166"/>
                    </a:lnTo>
                    <a:lnTo>
                      <a:pt x="5652" y="117431"/>
                    </a:lnTo>
                    <a:cubicBezTo>
                      <a:pt x="7284" y="118310"/>
                      <a:pt x="8666" y="118436"/>
                      <a:pt x="9796" y="117808"/>
                    </a:cubicBezTo>
                    <a:cubicBezTo>
                      <a:pt x="9796" y="117808"/>
                      <a:pt x="9796" y="117808"/>
                      <a:pt x="9922" y="117808"/>
                    </a:cubicBezTo>
                    <a:lnTo>
                      <a:pt x="15574" y="114542"/>
                    </a:lnTo>
                    <a:cubicBezTo>
                      <a:pt x="16578" y="113914"/>
                      <a:pt x="17206" y="112658"/>
                      <a:pt x="17206" y="110774"/>
                    </a:cubicBezTo>
                    <a:lnTo>
                      <a:pt x="17206" y="5777"/>
                    </a:lnTo>
                    <a:cubicBezTo>
                      <a:pt x="16955" y="3893"/>
                      <a:pt x="16327" y="1884"/>
                      <a:pt x="15322" y="0"/>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8" name="Freeform: Shape 3177">
                <a:extLst>
                  <a:ext uri="{FF2B5EF4-FFF2-40B4-BE49-F238E27FC236}">
                    <a16:creationId xmlns:a16="http://schemas.microsoft.com/office/drawing/2014/main" id="{513FA458-B530-4264-888C-3FB613B3233D}"/>
                  </a:ext>
                </a:extLst>
              </p:cNvPr>
              <p:cNvSpPr/>
              <p:nvPr/>
            </p:nvSpPr>
            <p:spPr>
              <a:xfrm>
                <a:off x="4703152" y="4372684"/>
                <a:ext cx="17206" cy="118200"/>
              </a:xfrm>
              <a:custGeom>
                <a:avLst/>
                <a:gdLst>
                  <a:gd name="connsiteX0" fmla="*/ 15322 w 17206"/>
                  <a:gd name="connsiteY0" fmla="*/ 0 h 118200"/>
                  <a:gd name="connsiteX1" fmla="*/ 9671 w 17206"/>
                  <a:gd name="connsiteY1" fmla="*/ 3265 h 118200"/>
                  <a:gd name="connsiteX2" fmla="*/ 0 w 17206"/>
                  <a:gd name="connsiteY2" fmla="*/ 8917 h 118200"/>
                  <a:gd name="connsiteX3" fmla="*/ 0 w 17206"/>
                  <a:gd name="connsiteY3" fmla="*/ 114166 h 118200"/>
                  <a:gd name="connsiteX4" fmla="*/ 5652 w 17206"/>
                  <a:gd name="connsiteY4" fmla="*/ 117431 h 118200"/>
                  <a:gd name="connsiteX5" fmla="*/ 9796 w 17206"/>
                  <a:gd name="connsiteY5" fmla="*/ 117808 h 118200"/>
                  <a:gd name="connsiteX6" fmla="*/ 9922 w 17206"/>
                  <a:gd name="connsiteY6" fmla="*/ 117808 h 118200"/>
                  <a:gd name="connsiteX7" fmla="*/ 15574 w 17206"/>
                  <a:gd name="connsiteY7" fmla="*/ 114542 h 118200"/>
                  <a:gd name="connsiteX8" fmla="*/ 17206 w 17206"/>
                  <a:gd name="connsiteY8" fmla="*/ 110774 h 118200"/>
                  <a:gd name="connsiteX9" fmla="*/ 17206 w 17206"/>
                  <a:gd name="connsiteY9" fmla="*/ 5777 h 118200"/>
                  <a:gd name="connsiteX10" fmla="*/ 15322 w 17206"/>
                  <a:gd name="connsiteY10" fmla="*/ 0 h 11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06" h="118200">
                    <a:moveTo>
                      <a:pt x="15322" y="0"/>
                    </a:moveTo>
                    <a:lnTo>
                      <a:pt x="9671" y="3265"/>
                    </a:lnTo>
                    <a:lnTo>
                      <a:pt x="0" y="8917"/>
                    </a:lnTo>
                    <a:lnTo>
                      <a:pt x="0" y="114166"/>
                    </a:lnTo>
                    <a:lnTo>
                      <a:pt x="5652" y="117431"/>
                    </a:lnTo>
                    <a:cubicBezTo>
                      <a:pt x="7284" y="118310"/>
                      <a:pt x="8666" y="118436"/>
                      <a:pt x="9796" y="117808"/>
                    </a:cubicBezTo>
                    <a:cubicBezTo>
                      <a:pt x="9796" y="117808"/>
                      <a:pt x="9796" y="117808"/>
                      <a:pt x="9922" y="117808"/>
                    </a:cubicBezTo>
                    <a:lnTo>
                      <a:pt x="15574" y="114542"/>
                    </a:lnTo>
                    <a:cubicBezTo>
                      <a:pt x="16578" y="113914"/>
                      <a:pt x="17206" y="112658"/>
                      <a:pt x="17206" y="110774"/>
                    </a:cubicBezTo>
                    <a:lnTo>
                      <a:pt x="17206" y="5777"/>
                    </a:lnTo>
                    <a:cubicBezTo>
                      <a:pt x="16955" y="3893"/>
                      <a:pt x="16327" y="1884"/>
                      <a:pt x="15322" y="0"/>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9" name="Freeform: Shape 3178">
                <a:extLst>
                  <a:ext uri="{FF2B5EF4-FFF2-40B4-BE49-F238E27FC236}">
                    <a16:creationId xmlns:a16="http://schemas.microsoft.com/office/drawing/2014/main" id="{63B7DE27-F9B0-4855-8649-0B1876161B20}"/>
                  </a:ext>
                </a:extLst>
              </p:cNvPr>
              <p:cNvSpPr/>
              <p:nvPr/>
            </p:nvSpPr>
            <p:spPr>
              <a:xfrm>
                <a:off x="4566253" y="4292071"/>
                <a:ext cx="148202" cy="198812"/>
              </a:xfrm>
              <a:custGeom>
                <a:avLst/>
                <a:gdLst>
                  <a:gd name="connsiteX0" fmla="*/ 148202 w 148202"/>
                  <a:gd name="connsiteY0" fmla="*/ 89655 h 198812"/>
                  <a:gd name="connsiteX1" fmla="*/ 148202 w 148202"/>
                  <a:gd name="connsiteY1" fmla="*/ 194778 h 198812"/>
                  <a:gd name="connsiteX2" fmla="*/ 146569 w 148202"/>
                  <a:gd name="connsiteY2" fmla="*/ 198420 h 198812"/>
                  <a:gd name="connsiteX3" fmla="*/ 146444 w 148202"/>
                  <a:gd name="connsiteY3" fmla="*/ 198420 h 198812"/>
                  <a:gd name="connsiteX4" fmla="*/ 142299 w 148202"/>
                  <a:gd name="connsiteY4" fmla="*/ 198043 h 198812"/>
                  <a:gd name="connsiteX5" fmla="*/ 136647 w 148202"/>
                  <a:gd name="connsiteY5" fmla="*/ 194778 h 198812"/>
                  <a:gd name="connsiteX6" fmla="*/ 5778 w 148202"/>
                  <a:gd name="connsiteY6" fmla="*/ 119170 h 198812"/>
                  <a:gd name="connsiteX7" fmla="*/ 0 w 148202"/>
                  <a:gd name="connsiteY7" fmla="*/ 109122 h 198812"/>
                  <a:gd name="connsiteX8" fmla="*/ 0 w 148202"/>
                  <a:gd name="connsiteY8" fmla="*/ 4125 h 198812"/>
                  <a:gd name="connsiteX9" fmla="*/ 5652 w 148202"/>
                  <a:gd name="connsiteY9" fmla="*/ 734 h 198812"/>
                  <a:gd name="connsiteX10" fmla="*/ 5778 w 148202"/>
                  <a:gd name="connsiteY10" fmla="*/ 734 h 198812"/>
                  <a:gd name="connsiteX11" fmla="*/ 142299 w 148202"/>
                  <a:gd name="connsiteY11" fmla="*/ 79482 h 198812"/>
                  <a:gd name="connsiteX12" fmla="*/ 146444 w 148202"/>
                  <a:gd name="connsiteY12" fmla="*/ 83878 h 198812"/>
                  <a:gd name="connsiteX13" fmla="*/ 148202 w 148202"/>
                  <a:gd name="connsiteY13" fmla="*/ 89655 h 19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8202" h="198812">
                    <a:moveTo>
                      <a:pt x="148202" y="89655"/>
                    </a:moveTo>
                    <a:lnTo>
                      <a:pt x="148202" y="194778"/>
                    </a:lnTo>
                    <a:cubicBezTo>
                      <a:pt x="148202" y="196536"/>
                      <a:pt x="147574" y="197792"/>
                      <a:pt x="146569" y="198420"/>
                    </a:cubicBezTo>
                    <a:cubicBezTo>
                      <a:pt x="146569" y="198420"/>
                      <a:pt x="146569" y="198420"/>
                      <a:pt x="146444" y="198420"/>
                    </a:cubicBezTo>
                    <a:cubicBezTo>
                      <a:pt x="145439" y="199048"/>
                      <a:pt x="143932" y="198922"/>
                      <a:pt x="142299" y="198043"/>
                    </a:cubicBezTo>
                    <a:lnTo>
                      <a:pt x="136647" y="194778"/>
                    </a:lnTo>
                    <a:lnTo>
                      <a:pt x="5778" y="119170"/>
                    </a:lnTo>
                    <a:cubicBezTo>
                      <a:pt x="2512" y="117286"/>
                      <a:pt x="0" y="112765"/>
                      <a:pt x="0" y="109122"/>
                    </a:cubicBezTo>
                    <a:lnTo>
                      <a:pt x="0" y="4125"/>
                    </a:lnTo>
                    <a:cubicBezTo>
                      <a:pt x="0" y="483"/>
                      <a:pt x="2512" y="-1024"/>
                      <a:pt x="5652" y="734"/>
                    </a:cubicBezTo>
                    <a:cubicBezTo>
                      <a:pt x="5652" y="734"/>
                      <a:pt x="5778" y="734"/>
                      <a:pt x="5778" y="734"/>
                    </a:cubicBezTo>
                    <a:lnTo>
                      <a:pt x="142299" y="79482"/>
                    </a:lnTo>
                    <a:cubicBezTo>
                      <a:pt x="143932" y="80361"/>
                      <a:pt x="145313" y="81994"/>
                      <a:pt x="146444" y="83878"/>
                    </a:cubicBezTo>
                    <a:cubicBezTo>
                      <a:pt x="147574" y="85761"/>
                      <a:pt x="148202" y="87771"/>
                      <a:pt x="148202" y="89655"/>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0" name="Freeform: Shape 3179">
                <a:extLst>
                  <a:ext uri="{FF2B5EF4-FFF2-40B4-BE49-F238E27FC236}">
                    <a16:creationId xmlns:a16="http://schemas.microsoft.com/office/drawing/2014/main" id="{5B612D38-BEAC-4F54-ADD0-1C717B43FFF0}"/>
                  </a:ext>
                </a:extLst>
              </p:cNvPr>
              <p:cNvSpPr/>
              <p:nvPr/>
            </p:nvSpPr>
            <p:spPr>
              <a:xfrm>
                <a:off x="4570398" y="4299105"/>
                <a:ext cx="140038" cy="178827"/>
              </a:xfrm>
              <a:custGeom>
                <a:avLst/>
                <a:gdLst>
                  <a:gd name="connsiteX0" fmla="*/ 140038 w 140038"/>
                  <a:gd name="connsiteY0" fmla="*/ 82621 h 178827"/>
                  <a:gd name="connsiteX1" fmla="*/ 140038 w 140038"/>
                  <a:gd name="connsiteY1" fmla="*/ 178827 h 178827"/>
                  <a:gd name="connsiteX2" fmla="*/ 0 w 140038"/>
                  <a:gd name="connsiteY2" fmla="*/ 97944 h 178827"/>
                  <a:gd name="connsiteX3" fmla="*/ 0 w 140038"/>
                  <a:gd name="connsiteY3" fmla="*/ 4125 h 178827"/>
                  <a:gd name="connsiteX4" fmla="*/ 5777 w 140038"/>
                  <a:gd name="connsiteY4" fmla="*/ 734 h 178827"/>
                  <a:gd name="connsiteX5" fmla="*/ 6154 w 140038"/>
                  <a:gd name="connsiteY5" fmla="*/ 860 h 178827"/>
                  <a:gd name="connsiteX6" fmla="*/ 136270 w 140038"/>
                  <a:gd name="connsiteY6" fmla="*/ 75965 h 178827"/>
                  <a:gd name="connsiteX7" fmla="*/ 140038 w 140038"/>
                  <a:gd name="connsiteY7" fmla="*/ 82370 h 178827"/>
                  <a:gd name="connsiteX8" fmla="*/ 140038 w 140038"/>
                  <a:gd name="connsiteY8" fmla="*/ 82621 h 178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038" h="178827">
                    <a:moveTo>
                      <a:pt x="140038" y="82621"/>
                    </a:moveTo>
                    <a:lnTo>
                      <a:pt x="140038" y="178827"/>
                    </a:lnTo>
                    <a:lnTo>
                      <a:pt x="0" y="97944"/>
                    </a:lnTo>
                    <a:lnTo>
                      <a:pt x="0" y="4125"/>
                    </a:lnTo>
                    <a:cubicBezTo>
                      <a:pt x="0" y="483"/>
                      <a:pt x="2637" y="-1024"/>
                      <a:pt x="5777" y="734"/>
                    </a:cubicBezTo>
                    <a:lnTo>
                      <a:pt x="6154" y="860"/>
                    </a:lnTo>
                    <a:lnTo>
                      <a:pt x="136270" y="75965"/>
                    </a:lnTo>
                    <a:cubicBezTo>
                      <a:pt x="138154" y="77096"/>
                      <a:pt x="139912" y="80110"/>
                      <a:pt x="140038" y="82370"/>
                    </a:cubicBezTo>
                    <a:cubicBezTo>
                      <a:pt x="140038" y="82496"/>
                      <a:pt x="140038" y="82496"/>
                      <a:pt x="140038" y="82621"/>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1" name="Freeform: Shape 3180">
                <a:extLst>
                  <a:ext uri="{FF2B5EF4-FFF2-40B4-BE49-F238E27FC236}">
                    <a16:creationId xmlns:a16="http://schemas.microsoft.com/office/drawing/2014/main" id="{D3635F67-B0F4-44D0-B354-AC44A3BD2486}"/>
                  </a:ext>
                </a:extLst>
              </p:cNvPr>
              <p:cNvSpPr/>
              <p:nvPr/>
            </p:nvSpPr>
            <p:spPr>
              <a:xfrm>
                <a:off x="4570398" y="4299279"/>
                <a:ext cx="140038" cy="178904"/>
              </a:xfrm>
              <a:custGeom>
                <a:avLst/>
                <a:gdLst>
                  <a:gd name="connsiteX0" fmla="*/ 140038 w 140038"/>
                  <a:gd name="connsiteY0" fmla="*/ 82322 h 178904"/>
                  <a:gd name="connsiteX1" fmla="*/ 140038 w 140038"/>
                  <a:gd name="connsiteY1" fmla="*/ 177146 h 178904"/>
                  <a:gd name="connsiteX2" fmla="*/ 1381 w 140038"/>
                  <a:gd name="connsiteY2" fmla="*/ 97142 h 178904"/>
                  <a:gd name="connsiteX3" fmla="*/ 1381 w 140038"/>
                  <a:gd name="connsiteY3" fmla="*/ 3700 h 178904"/>
                  <a:gd name="connsiteX4" fmla="*/ 2763 w 140038"/>
                  <a:gd name="connsiteY4" fmla="*/ 560 h 178904"/>
                  <a:gd name="connsiteX5" fmla="*/ 6154 w 140038"/>
                  <a:gd name="connsiteY5" fmla="*/ 937 h 178904"/>
                  <a:gd name="connsiteX6" fmla="*/ 5777 w 140038"/>
                  <a:gd name="connsiteY6" fmla="*/ 811 h 178904"/>
                  <a:gd name="connsiteX7" fmla="*/ 0 w 140038"/>
                  <a:gd name="connsiteY7" fmla="*/ 4202 h 178904"/>
                  <a:gd name="connsiteX8" fmla="*/ 0 w 140038"/>
                  <a:gd name="connsiteY8" fmla="*/ 98021 h 178904"/>
                  <a:gd name="connsiteX9" fmla="*/ 140038 w 140038"/>
                  <a:gd name="connsiteY9" fmla="*/ 178905 h 178904"/>
                  <a:gd name="connsiteX10" fmla="*/ 140038 w 140038"/>
                  <a:gd name="connsiteY10" fmla="*/ 82699 h 178904"/>
                  <a:gd name="connsiteX11" fmla="*/ 140038 w 140038"/>
                  <a:gd name="connsiteY11" fmla="*/ 82322 h 17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0038" h="178904">
                    <a:moveTo>
                      <a:pt x="140038" y="82322"/>
                    </a:moveTo>
                    <a:lnTo>
                      <a:pt x="140038" y="177146"/>
                    </a:lnTo>
                    <a:lnTo>
                      <a:pt x="1381" y="97142"/>
                    </a:lnTo>
                    <a:lnTo>
                      <a:pt x="1381" y="3700"/>
                    </a:lnTo>
                    <a:cubicBezTo>
                      <a:pt x="1381" y="2193"/>
                      <a:pt x="1884" y="1062"/>
                      <a:pt x="2763" y="560"/>
                    </a:cubicBezTo>
                    <a:cubicBezTo>
                      <a:pt x="3642" y="57"/>
                      <a:pt x="4898" y="183"/>
                      <a:pt x="6154" y="937"/>
                    </a:cubicBezTo>
                    <a:lnTo>
                      <a:pt x="5777" y="811"/>
                    </a:lnTo>
                    <a:cubicBezTo>
                      <a:pt x="2512" y="-1073"/>
                      <a:pt x="0" y="434"/>
                      <a:pt x="0" y="4202"/>
                    </a:cubicBezTo>
                    <a:lnTo>
                      <a:pt x="0" y="98021"/>
                    </a:lnTo>
                    <a:lnTo>
                      <a:pt x="140038" y="178905"/>
                    </a:lnTo>
                    <a:lnTo>
                      <a:pt x="140038" y="82699"/>
                    </a:lnTo>
                    <a:cubicBezTo>
                      <a:pt x="140038" y="82322"/>
                      <a:pt x="140038" y="82322"/>
                      <a:pt x="140038" y="82322"/>
                    </a:cubicBezTo>
                    <a:close/>
                  </a:path>
                </a:pathLst>
              </a:custGeom>
              <a:solidFill>
                <a:srgbClr val="2BB2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2" name="Freeform: Shape 3181">
                <a:extLst>
                  <a:ext uri="{FF2B5EF4-FFF2-40B4-BE49-F238E27FC236}">
                    <a16:creationId xmlns:a16="http://schemas.microsoft.com/office/drawing/2014/main" id="{B3E0E014-1595-4A60-9524-81D1CC3FBB75}"/>
                  </a:ext>
                </a:extLst>
              </p:cNvPr>
              <p:cNvSpPr/>
              <p:nvPr/>
            </p:nvSpPr>
            <p:spPr>
              <a:xfrm>
                <a:off x="4566253" y="4394663"/>
                <a:ext cx="148202" cy="96095"/>
              </a:xfrm>
              <a:custGeom>
                <a:avLst/>
                <a:gdLst>
                  <a:gd name="connsiteX0" fmla="*/ 148202 w 148202"/>
                  <a:gd name="connsiteY0" fmla="*/ 85530 h 96095"/>
                  <a:gd name="connsiteX1" fmla="*/ 148202 w 148202"/>
                  <a:gd name="connsiteY1" fmla="*/ 92061 h 96095"/>
                  <a:gd name="connsiteX2" fmla="*/ 146569 w 148202"/>
                  <a:gd name="connsiteY2" fmla="*/ 95703 h 96095"/>
                  <a:gd name="connsiteX3" fmla="*/ 146444 w 148202"/>
                  <a:gd name="connsiteY3" fmla="*/ 95703 h 96095"/>
                  <a:gd name="connsiteX4" fmla="*/ 142299 w 148202"/>
                  <a:gd name="connsiteY4" fmla="*/ 95326 h 96095"/>
                  <a:gd name="connsiteX5" fmla="*/ 136647 w 148202"/>
                  <a:gd name="connsiteY5" fmla="*/ 92061 h 96095"/>
                  <a:gd name="connsiteX6" fmla="*/ 5778 w 148202"/>
                  <a:gd name="connsiteY6" fmla="*/ 16453 h 96095"/>
                  <a:gd name="connsiteX7" fmla="*/ 0 w 148202"/>
                  <a:gd name="connsiteY7" fmla="*/ 6405 h 96095"/>
                  <a:gd name="connsiteX8" fmla="*/ 0 w 148202"/>
                  <a:gd name="connsiteY8" fmla="*/ 0 h 96095"/>
                  <a:gd name="connsiteX9" fmla="*/ 5652 w 148202"/>
                  <a:gd name="connsiteY9" fmla="*/ 3265 h 96095"/>
                  <a:gd name="connsiteX10" fmla="*/ 136647 w 148202"/>
                  <a:gd name="connsiteY10" fmla="*/ 78874 h 96095"/>
                  <a:gd name="connsiteX11" fmla="*/ 148202 w 148202"/>
                  <a:gd name="connsiteY11" fmla="*/ 85530 h 96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202" h="96095">
                    <a:moveTo>
                      <a:pt x="148202" y="85530"/>
                    </a:moveTo>
                    <a:lnTo>
                      <a:pt x="148202" y="92061"/>
                    </a:lnTo>
                    <a:cubicBezTo>
                      <a:pt x="148202" y="93819"/>
                      <a:pt x="147574" y="95075"/>
                      <a:pt x="146569" y="95703"/>
                    </a:cubicBezTo>
                    <a:cubicBezTo>
                      <a:pt x="146569" y="95703"/>
                      <a:pt x="146569" y="95703"/>
                      <a:pt x="146444" y="95703"/>
                    </a:cubicBezTo>
                    <a:cubicBezTo>
                      <a:pt x="145439" y="96331"/>
                      <a:pt x="143932" y="96205"/>
                      <a:pt x="142299" y="95326"/>
                    </a:cubicBezTo>
                    <a:lnTo>
                      <a:pt x="136647" y="92061"/>
                    </a:lnTo>
                    <a:lnTo>
                      <a:pt x="5778" y="16453"/>
                    </a:lnTo>
                    <a:cubicBezTo>
                      <a:pt x="2512" y="14569"/>
                      <a:pt x="0" y="10047"/>
                      <a:pt x="0" y="6405"/>
                    </a:cubicBezTo>
                    <a:lnTo>
                      <a:pt x="0" y="0"/>
                    </a:lnTo>
                    <a:lnTo>
                      <a:pt x="5652" y="3265"/>
                    </a:lnTo>
                    <a:lnTo>
                      <a:pt x="136647" y="78874"/>
                    </a:lnTo>
                    <a:lnTo>
                      <a:pt x="148202" y="85530"/>
                    </a:ln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3" name="Freeform: Shape 3182">
                <a:extLst>
                  <a:ext uri="{FF2B5EF4-FFF2-40B4-BE49-F238E27FC236}">
                    <a16:creationId xmlns:a16="http://schemas.microsoft.com/office/drawing/2014/main" id="{0929EF64-286C-4025-B18C-3353D551B80A}"/>
                  </a:ext>
                </a:extLst>
              </p:cNvPr>
              <p:cNvSpPr/>
              <p:nvPr/>
            </p:nvSpPr>
            <p:spPr>
              <a:xfrm>
                <a:off x="4620887" y="4432600"/>
                <a:ext cx="22732" cy="14679"/>
              </a:xfrm>
              <a:custGeom>
                <a:avLst/>
                <a:gdLst>
                  <a:gd name="connsiteX0" fmla="*/ 2386 w 22732"/>
                  <a:gd name="connsiteY0" fmla="*/ 495 h 14679"/>
                  <a:gd name="connsiteX1" fmla="*/ 20472 w 22732"/>
                  <a:gd name="connsiteY1" fmla="*/ 10919 h 14679"/>
                  <a:gd name="connsiteX2" fmla="*/ 22733 w 22732"/>
                  <a:gd name="connsiteY2" fmla="*/ 13933 h 14679"/>
                  <a:gd name="connsiteX3" fmla="*/ 20472 w 22732"/>
                  <a:gd name="connsiteY3" fmla="*/ 14185 h 14679"/>
                  <a:gd name="connsiteX4" fmla="*/ 2386 w 22732"/>
                  <a:gd name="connsiteY4" fmla="*/ 3760 h 14679"/>
                  <a:gd name="connsiteX5" fmla="*/ 0 w 22732"/>
                  <a:gd name="connsiteY5" fmla="*/ 746 h 14679"/>
                  <a:gd name="connsiteX6" fmla="*/ 2386 w 22732"/>
                  <a:gd name="connsiteY6" fmla="*/ 495 h 1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2" h="14679">
                    <a:moveTo>
                      <a:pt x="2386" y="495"/>
                    </a:moveTo>
                    <a:lnTo>
                      <a:pt x="20472" y="10919"/>
                    </a:lnTo>
                    <a:cubicBezTo>
                      <a:pt x="21728" y="11673"/>
                      <a:pt x="22733" y="13054"/>
                      <a:pt x="22733" y="13933"/>
                    </a:cubicBezTo>
                    <a:cubicBezTo>
                      <a:pt x="22733" y="14812"/>
                      <a:pt x="21728" y="14938"/>
                      <a:pt x="20472" y="14185"/>
                    </a:cubicBezTo>
                    <a:lnTo>
                      <a:pt x="2386" y="3760"/>
                    </a:lnTo>
                    <a:cubicBezTo>
                      <a:pt x="1130" y="3007"/>
                      <a:pt x="0" y="1625"/>
                      <a:pt x="0" y="746"/>
                    </a:cubicBezTo>
                    <a:cubicBezTo>
                      <a:pt x="126" y="-133"/>
                      <a:pt x="1130" y="-259"/>
                      <a:pt x="2386" y="495"/>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84" name="Graphic 4">
                <a:extLst>
                  <a:ext uri="{FF2B5EF4-FFF2-40B4-BE49-F238E27FC236}">
                    <a16:creationId xmlns:a16="http://schemas.microsoft.com/office/drawing/2014/main" id="{84FB7ED1-A2DF-40A1-A747-5F7CF3F14040}"/>
                  </a:ext>
                </a:extLst>
              </p:cNvPr>
              <p:cNvGrpSpPr/>
              <p:nvPr/>
            </p:nvGrpSpPr>
            <p:grpSpPr>
              <a:xfrm>
                <a:off x="4510741" y="4454728"/>
                <a:ext cx="145438" cy="88638"/>
                <a:chOff x="4510741" y="4454728"/>
                <a:chExt cx="145438" cy="88638"/>
              </a:xfrm>
              <a:solidFill>
                <a:schemeClr val="accent1"/>
              </a:solidFill>
            </p:grpSpPr>
            <p:sp>
              <p:nvSpPr>
                <p:cNvPr id="3185" name="Freeform: Shape 3184">
                  <a:extLst>
                    <a:ext uri="{FF2B5EF4-FFF2-40B4-BE49-F238E27FC236}">
                      <a16:creationId xmlns:a16="http://schemas.microsoft.com/office/drawing/2014/main" id="{7DF59430-D2D2-47F2-BCE2-BA4BE4F1F317}"/>
                    </a:ext>
                  </a:extLst>
                </p:cNvPr>
                <p:cNvSpPr/>
                <p:nvPr/>
              </p:nvSpPr>
              <p:spPr>
                <a:xfrm>
                  <a:off x="4510741" y="4456141"/>
                  <a:ext cx="145438" cy="87225"/>
                </a:xfrm>
                <a:custGeom>
                  <a:avLst/>
                  <a:gdLst>
                    <a:gd name="connsiteX0" fmla="*/ 145439 w 145438"/>
                    <a:gd name="connsiteY0" fmla="*/ 58465 h 87225"/>
                    <a:gd name="connsiteX1" fmla="*/ 144434 w 145438"/>
                    <a:gd name="connsiteY1" fmla="*/ 57083 h 87225"/>
                    <a:gd name="connsiteX2" fmla="*/ 46596 w 145438"/>
                    <a:gd name="connsiteY2" fmla="*/ 565 h 87225"/>
                    <a:gd name="connsiteX3" fmla="*/ 41949 w 145438"/>
                    <a:gd name="connsiteY3" fmla="*/ 565 h 87225"/>
                    <a:gd name="connsiteX4" fmla="*/ 1005 w 145438"/>
                    <a:gd name="connsiteY4" fmla="*/ 24177 h 87225"/>
                    <a:gd name="connsiteX5" fmla="*/ 0 w 145438"/>
                    <a:gd name="connsiteY5" fmla="*/ 25559 h 87225"/>
                    <a:gd name="connsiteX6" fmla="*/ 0 w 145438"/>
                    <a:gd name="connsiteY6" fmla="*/ 25559 h 87225"/>
                    <a:gd name="connsiteX7" fmla="*/ 0 w 145438"/>
                    <a:gd name="connsiteY7" fmla="*/ 28824 h 87225"/>
                    <a:gd name="connsiteX8" fmla="*/ 628 w 145438"/>
                    <a:gd name="connsiteY8" fmla="*/ 29955 h 87225"/>
                    <a:gd name="connsiteX9" fmla="*/ 1005 w 145438"/>
                    <a:gd name="connsiteY9" fmla="*/ 30206 h 87225"/>
                    <a:gd name="connsiteX10" fmla="*/ 98843 w 145438"/>
                    <a:gd name="connsiteY10" fmla="*/ 86723 h 87225"/>
                    <a:gd name="connsiteX11" fmla="*/ 98843 w 145438"/>
                    <a:gd name="connsiteY11" fmla="*/ 86723 h 87225"/>
                    <a:gd name="connsiteX12" fmla="*/ 99722 w 145438"/>
                    <a:gd name="connsiteY12" fmla="*/ 87100 h 87225"/>
                    <a:gd name="connsiteX13" fmla="*/ 99973 w 145438"/>
                    <a:gd name="connsiteY13" fmla="*/ 87100 h 87225"/>
                    <a:gd name="connsiteX14" fmla="*/ 100853 w 145438"/>
                    <a:gd name="connsiteY14" fmla="*/ 87226 h 87225"/>
                    <a:gd name="connsiteX15" fmla="*/ 101229 w 145438"/>
                    <a:gd name="connsiteY15" fmla="*/ 87226 h 87225"/>
                    <a:gd name="connsiteX16" fmla="*/ 101229 w 145438"/>
                    <a:gd name="connsiteY16" fmla="*/ 87226 h 87225"/>
                    <a:gd name="connsiteX17" fmla="*/ 101480 w 145438"/>
                    <a:gd name="connsiteY17" fmla="*/ 87226 h 87225"/>
                    <a:gd name="connsiteX18" fmla="*/ 102234 w 145438"/>
                    <a:gd name="connsiteY18" fmla="*/ 87100 h 87225"/>
                    <a:gd name="connsiteX19" fmla="*/ 103113 w 145438"/>
                    <a:gd name="connsiteY19" fmla="*/ 86723 h 87225"/>
                    <a:gd name="connsiteX20" fmla="*/ 103239 w 145438"/>
                    <a:gd name="connsiteY20" fmla="*/ 86723 h 87225"/>
                    <a:gd name="connsiteX21" fmla="*/ 144183 w 145438"/>
                    <a:gd name="connsiteY21" fmla="*/ 63111 h 87225"/>
                    <a:gd name="connsiteX22" fmla="*/ 144811 w 145438"/>
                    <a:gd name="connsiteY22" fmla="*/ 62609 h 87225"/>
                    <a:gd name="connsiteX23" fmla="*/ 145188 w 145438"/>
                    <a:gd name="connsiteY23" fmla="*/ 61730 h 87225"/>
                    <a:gd name="connsiteX24" fmla="*/ 145188 w 145438"/>
                    <a:gd name="connsiteY24" fmla="*/ 61730 h 87225"/>
                    <a:gd name="connsiteX25" fmla="*/ 145188 w 145438"/>
                    <a:gd name="connsiteY25" fmla="*/ 61730 h 87225"/>
                    <a:gd name="connsiteX26" fmla="*/ 145439 w 145438"/>
                    <a:gd name="connsiteY26" fmla="*/ 58465 h 87225"/>
                    <a:gd name="connsiteX27" fmla="*/ 145439 w 145438"/>
                    <a:gd name="connsiteY27" fmla="*/ 58465 h 8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5438" h="87225">
                      <a:moveTo>
                        <a:pt x="145439" y="58465"/>
                      </a:moveTo>
                      <a:cubicBezTo>
                        <a:pt x="145439" y="57962"/>
                        <a:pt x="145062" y="57460"/>
                        <a:pt x="144434" y="57083"/>
                      </a:cubicBezTo>
                      <a:lnTo>
                        <a:pt x="46596" y="565"/>
                      </a:lnTo>
                      <a:cubicBezTo>
                        <a:pt x="45340" y="-188"/>
                        <a:pt x="43205" y="-188"/>
                        <a:pt x="41949" y="565"/>
                      </a:cubicBezTo>
                      <a:lnTo>
                        <a:pt x="1005" y="24177"/>
                      </a:lnTo>
                      <a:cubicBezTo>
                        <a:pt x="377" y="24554"/>
                        <a:pt x="0" y="25056"/>
                        <a:pt x="0" y="25559"/>
                      </a:cubicBezTo>
                      <a:lnTo>
                        <a:pt x="0" y="25559"/>
                      </a:lnTo>
                      <a:lnTo>
                        <a:pt x="0" y="28824"/>
                      </a:lnTo>
                      <a:cubicBezTo>
                        <a:pt x="0" y="29201"/>
                        <a:pt x="251" y="29578"/>
                        <a:pt x="628" y="29955"/>
                      </a:cubicBezTo>
                      <a:cubicBezTo>
                        <a:pt x="754" y="30080"/>
                        <a:pt x="879" y="30080"/>
                        <a:pt x="1005" y="30206"/>
                      </a:cubicBezTo>
                      <a:lnTo>
                        <a:pt x="98843" y="86723"/>
                      </a:lnTo>
                      <a:cubicBezTo>
                        <a:pt x="98843" y="86723"/>
                        <a:pt x="98843" y="86723"/>
                        <a:pt x="98843" y="86723"/>
                      </a:cubicBezTo>
                      <a:cubicBezTo>
                        <a:pt x="99094" y="86849"/>
                        <a:pt x="99471" y="86974"/>
                        <a:pt x="99722" y="87100"/>
                      </a:cubicBezTo>
                      <a:cubicBezTo>
                        <a:pt x="99848" y="87100"/>
                        <a:pt x="99848" y="87100"/>
                        <a:pt x="99973" y="87100"/>
                      </a:cubicBezTo>
                      <a:cubicBezTo>
                        <a:pt x="100224" y="87226"/>
                        <a:pt x="100601" y="87226"/>
                        <a:pt x="100853" y="87226"/>
                      </a:cubicBezTo>
                      <a:cubicBezTo>
                        <a:pt x="100978" y="87226"/>
                        <a:pt x="101104" y="87226"/>
                        <a:pt x="101229" y="87226"/>
                      </a:cubicBezTo>
                      <a:cubicBezTo>
                        <a:pt x="101229" y="87226"/>
                        <a:pt x="101229" y="87226"/>
                        <a:pt x="101229" y="87226"/>
                      </a:cubicBezTo>
                      <a:cubicBezTo>
                        <a:pt x="101355" y="87226"/>
                        <a:pt x="101355" y="87226"/>
                        <a:pt x="101480" y="87226"/>
                      </a:cubicBezTo>
                      <a:cubicBezTo>
                        <a:pt x="101732" y="87226"/>
                        <a:pt x="101983" y="87226"/>
                        <a:pt x="102234" y="87100"/>
                      </a:cubicBezTo>
                      <a:cubicBezTo>
                        <a:pt x="102611" y="86974"/>
                        <a:pt x="102862" y="86849"/>
                        <a:pt x="103113" y="86723"/>
                      </a:cubicBezTo>
                      <a:cubicBezTo>
                        <a:pt x="103113" y="86723"/>
                        <a:pt x="103239" y="86723"/>
                        <a:pt x="103239" y="86723"/>
                      </a:cubicBezTo>
                      <a:lnTo>
                        <a:pt x="144183" y="63111"/>
                      </a:lnTo>
                      <a:cubicBezTo>
                        <a:pt x="144434" y="62986"/>
                        <a:pt x="144559" y="62860"/>
                        <a:pt x="144811" y="62609"/>
                      </a:cubicBezTo>
                      <a:cubicBezTo>
                        <a:pt x="145062" y="62358"/>
                        <a:pt x="145188" y="62107"/>
                        <a:pt x="145188" y="61730"/>
                      </a:cubicBezTo>
                      <a:lnTo>
                        <a:pt x="145188" y="61730"/>
                      </a:lnTo>
                      <a:cubicBezTo>
                        <a:pt x="145188" y="61730"/>
                        <a:pt x="145188" y="61730"/>
                        <a:pt x="145188" y="61730"/>
                      </a:cubicBezTo>
                      <a:lnTo>
                        <a:pt x="145439" y="58465"/>
                      </a:lnTo>
                      <a:lnTo>
                        <a:pt x="145439" y="58465"/>
                      </a:ln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86" name="Graphic 4">
                  <a:extLst>
                    <a:ext uri="{FF2B5EF4-FFF2-40B4-BE49-F238E27FC236}">
                      <a16:creationId xmlns:a16="http://schemas.microsoft.com/office/drawing/2014/main" id="{84FB7ED1-A2DF-40A1-A747-5F7CF3F14040}"/>
                    </a:ext>
                  </a:extLst>
                </p:cNvPr>
                <p:cNvGrpSpPr/>
                <p:nvPr/>
              </p:nvGrpSpPr>
              <p:grpSpPr>
                <a:xfrm>
                  <a:off x="4510741" y="4454728"/>
                  <a:ext cx="145438" cy="87068"/>
                  <a:chOff x="4510741" y="4454728"/>
                  <a:chExt cx="145438" cy="87068"/>
                </a:xfrm>
                <a:solidFill>
                  <a:schemeClr val="accent1"/>
                </a:solidFill>
              </p:grpSpPr>
              <p:grpSp>
                <p:nvGrpSpPr>
                  <p:cNvPr id="3187" name="Graphic 4">
                    <a:extLst>
                      <a:ext uri="{FF2B5EF4-FFF2-40B4-BE49-F238E27FC236}">
                        <a16:creationId xmlns:a16="http://schemas.microsoft.com/office/drawing/2014/main" id="{84FB7ED1-A2DF-40A1-A747-5F7CF3F14040}"/>
                      </a:ext>
                    </a:extLst>
                  </p:cNvPr>
                  <p:cNvGrpSpPr/>
                  <p:nvPr/>
                </p:nvGrpSpPr>
                <p:grpSpPr>
                  <a:xfrm>
                    <a:off x="4510741" y="4454728"/>
                    <a:ext cx="145438" cy="87068"/>
                    <a:chOff x="4510741" y="4454728"/>
                    <a:chExt cx="145438" cy="87068"/>
                  </a:xfrm>
                  <a:solidFill>
                    <a:schemeClr val="accent1"/>
                  </a:solidFill>
                </p:grpSpPr>
                <p:sp>
                  <p:nvSpPr>
                    <p:cNvPr id="3188" name="Freeform: Shape 3187">
                      <a:extLst>
                        <a:ext uri="{FF2B5EF4-FFF2-40B4-BE49-F238E27FC236}">
                          <a16:creationId xmlns:a16="http://schemas.microsoft.com/office/drawing/2014/main" id="{375A21C9-9762-4453-ADC3-CCE1925E2F0D}"/>
                        </a:ext>
                      </a:extLst>
                    </p:cNvPr>
                    <p:cNvSpPr/>
                    <p:nvPr/>
                  </p:nvSpPr>
                  <p:spPr>
                    <a:xfrm>
                      <a:off x="4510866" y="4457900"/>
                      <a:ext cx="145313" cy="83897"/>
                    </a:xfrm>
                    <a:custGeom>
                      <a:avLst/>
                      <a:gdLst>
                        <a:gd name="connsiteX0" fmla="*/ 145313 w 145313"/>
                        <a:gd name="connsiteY0" fmla="*/ 58464 h 83897"/>
                        <a:gd name="connsiteX1" fmla="*/ 145313 w 145313"/>
                        <a:gd name="connsiteY1" fmla="*/ 58464 h 83897"/>
                        <a:gd name="connsiteX2" fmla="*/ 145313 w 145313"/>
                        <a:gd name="connsiteY2" fmla="*/ 55199 h 83897"/>
                        <a:gd name="connsiteX3" fmla="*/ 141922 w 145313"/>
                        <a:gd name="connsiteY3" fmla="*/ 55199 h 83897"/>
                        <a:gd name="connsiteX4" fmla="*/ 141922 w 145313"/>
                        <a:gd name="connsiteY4" fmla="*/ 55701 h 83897"/>
                        <a:gd name="connsiteX5" fmla="*/ 46470 w 145313"/>
                        <a:gd name="connsiteY5" fmla="*/ 565 h 83897"/>
                        <a:gd name="connsiteX6" fmla="*/ 41823 w 145313"/>
                        <a:gd name="connsiteY6" fmla="*/ 565 h 83897"/>
                        <a:gd name="connsiteX7" fmla="*/ 3768 w 145313"/>
                        <a:gd name="connsiteY7" fmla="*/ 22544 h 83897"/>
                        <a:gd name="connsiteX8" fmla="*/ 3768 w 145313"/>
                        <a:gd name="connsiteY8" fmla="*/ 22167 h 83897"/>
                        <a:gd name="connsiteX9" fmla="*/ 0 w 145313"/>
                        <a:gd name="connsiteY9" fmla="*/ 22167 h 83897"/>
                        <a:gd name="connsiteX10" fmla="*/ 0 w 145313"/>
                        <a:gd name="connsiteY10" fmla="*/ 25433 h 83897"/>
                        <a:gd name="connsiteX11" fmla="*/ 0 w 145313"/>
                        <a:gd name="connsiteY11" fmla="*/ 25433 h 83897"/>
                        <a:gd name="connsiteX12" fmla="*/ 0 w 145313"/>
                        <a:gd name="connsiteY12" fmla="*/ 25433 h 83897"/>
                        <a:gd name="connsiteX13" fmla="*/ 0 w 145313"/>
                        <a:gd name="connsiteY13" fmla="*/ 25433 h 83897"/>
                        <a:gd name="connsiteX14" fmla="*/ 1005 w 145313"/>
                        <a:gd name="connsiteY14" fmla="*/ 26814 h 83897"/>
                        <a:gd name="connsiteX15" fmla="*/ 98843 w 145313"/>
                        <a:gd name="connsiteY15" fmla="*/ 83332 h 83897"/>
                        <a:gd name="connsiteX16" fmla="*/ 103490 w 145313"/>
                        <a:gd name="connsiteY16" fmla="*/ 83332 h 83897"/>
                        <a:gd name="connsiteX17" fmla="*/ 144434 w 145313"/>
                        <a:gd name="connsiteY17" fmla="*/ 59720 h 83897"/>
                        <a:gd name="connsiteX18" fmla="*/ 145313 w 145313"/>
                        <a:gd name="connsiteY18" fmla="*/ 58464 h 83897"/>
                        <a:gd name="connsiteX19" fmla="*/ 145313 w 145313"/>
                        <a:gd name="connsiteY19" fmla="*/ 58464 h 83897"/>
                        <a:gd name="connsiteX20" fmla="*/ 145313 w 145313"/>
                        <a:gd name="connsiteY20" fmla="*/ 58464 h 8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5313" h="83897">
                          <a:moveTo>
                            <a:pt x="145313" y="58464"/>
                          </a:moveTo>
                          <a:cubicBezTo>
                            <a:pt x="145313" y="58464"/>
                            <a:pt x="145313" y="58464"/>
                            <a:pt x="145313" y="58464"/>
                          </a:cubicBezTo>
                          <a:lnTo>
                            <a:pt x="145313" y="55199"/>
                          </a:lnTo>
                          <a:lnTo>
                            <a:pt x="141922" y="55199"/>
                          </a:lnTo>
                          <a:lnTo>
                            <a:pt x="141922" y="55701"/>
                          </a:lnTo>
                          <a:lnTo>
                            <a:pt x="46470" y="565"/>
                          </a:lnTo>
                          <a:cubicBezTo>
                            <a:pt x="45214" y="-188"/>
                            <a:pt x="43079" y="-188"/>
                            <a:pt x="41823" y="565"/>
                          </a:cubicBezTo>
                          <a:lnTo>
                            <a:pt x="3768" y="22544"/>
                          </a:lnTo>
                          <a:lnTo>
                            <a:pt x="3768" y="22167"/>
                          </a:lnTo>
                          <a:lnTo>
                            <a:pt x="0" y="22167"/>
                          </a:lnTo>
                          <a:lnTo>
                            <a:pt x="0" y="25433"/>
                          </a:lnTo>
                          <a:lnTo>
                            <a:pt x="0" y="25433"/>
                          </a:lnTo>
                          <a:lnTo>
                            <a:pt x="0" y="25433"/>
                          </a:lnTo>
                          <a:lnTo>
                            <a:pt x="0" y="25433"/>
                          </a:lnTo>
                          <a:cubicBezTo>
                            <a:pt x="0" y="25935"/>
                            <a:pt x="377" y="26438"/>
                            <a:pt x="1005" y="26814"/>
                          </a:cubicBezTo>
                          <a:lnTo>
                            <a:pt x="98843" y="83332"/>
                          </a:lnTo>
                          <a:cubicBezTo>
                            <a:pt x="100099" y="84086"/>
                            <a:pt x="102234" y="84086"/>
                            <a:pt x="103490" y="83332"/>
                          </a:cubicBezTo>
                          <a:lnTo>
                            <a:pt x="144434" y="59720"/>
                          </a:lnTo>
                          <a:cubicBezTo>
                            <a:pt x="144937" y="59469"/>
                            <a:pt x="145313" y="58967"/>
                            <a:pt x="145313" y="58464"/>
                          </a:cubicBezTo>
                          <a:lnTo>
                            <a:pt x="145313" y="58464"/>
                          </a:lnTo>
                          <a:lnTo>
                            <a:pt x="145313" y="58464"/>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9" name="Freeform: Shape 3188">
                      <a:extLst>
                        <a:ext uri="{FF2B5EF4-FFF2-40B4-BE49-F238E27FC236}">
                          <a16:creationId xmlns:a16="http://schemas.microsoft.com/office/drawing/2014/main" id="{4B50652C-2042-44FF-8994-1376419590F7}"/>
                        </a:ext>
                      </a:extLst>
                    </p:cNvPr>
                    <p:cNvSpPr/>
                    <p:nvPr/>
                  </p:nvSpPr>
                  <p:spPr>
                    <a:xfrm>
                      <a:off x="4510741" y="4457900"/>
                      <a:ext cx="145438" cy="83834"/>
                    </a:xfrm>
                    <a:custGeom>
                      <a:avLst/>
                      <a:gdLst>
                        <a:gd name="connsiteX0" fmla="*/ 145439 w 145438"/>
                        <a:gd name="connsiteY0" fmla="*/ 55199 h 83834"/>
                        <a:gd name="connsiteX1" fmla="*/ 145439 w 145438"/>
                        <a:gd name="connsiteY1" fmla="*/ 58464 h 83834"/>
                        <a:gd name="connsiteX2" fmla="*/ 145439 w 145438"/>
                        <a:gd name="connsiteY2" fmla="*/ 58464 h 83834"/>
                        <a:gd name="connsiteX3" fmla="*/ 145439 w 145438"/>
                        <a:gd name="connsiteY3" fmla="*/ 58464 h 83834"/>
                        <a:gd name="connsiteX4" fmla="*/ 144434 w 145438"/>
                        <a:gd name="connsiteY4" fmla="*/ 59720 h 83834"/>
                        <a:gd name="connsiteX5" fmla="*/ 103490 w 145438"/>
                        <a:gd name="connsiteY5" fmla="*/ 83332 h 83834"/>
                        <a:gd name="connsiteX6" fmla="*/ 101355 w 145438"/>
                        <a:gd name="connsiteY6" fmla="*/ 83835 h 83834"/>
                        <a:gd name="connsiteX7" fmla="*/ 98843 w 145438"/>
                        <a:gd name="connsiteY7" fmla="*/ 83332 h 83834"/>
                        <a:gd name="connsiteX8" fmla="*/ 1005 w 145438"/>
                        <a:gd name="connsiteY8" fmla="*/ 26814 h 83834"/>
                        <a:gd name="connsiteX9" fmla="*/ 0 w 145438"/>
                        <a:gd name="connsiteY9" fmla="*/ 25433 h 83834"/>
                        <a:gd name="connsiteX10" fmla="*/ 0 w 145438"/>
                        <a:gd name="connsiteY10" fmla="*/ 22167 h 83834"/>
                        <a:gd name="connsiteX11" fmla="*/ 3768 w 145438"/>
                        <a:gd name="connsiteY11" fmla="*/ 22167 h 83834"/>
                        <a:gd name="connsiteX12" fmla="*/ 3768 w 145438"/>
                        <a:gd name="connsiteY12" fmla="*/ 22544 h 83834"/>
                        <a:gd name="connsiteX13" fmla="*/ 41823 w 145438"/>
                        <a:gd name="connsiteY13" fmla="*/ 565 h 83834"/>
                        <a:gd name="connsiteX14" fmla="*/ 46470 w 145438"/>
                        <a:gd name="connsiteY14" fmla="*/ 565 h 83834"/>
                        <a:gd name="connsiteX15" fmla="*/ 133256 w 145438"/>
                        <a:gd name="connsiteY15" fmla="*/ 50677 h 83834"/>
                        <a:gd name="connsiteX16" fmla="*/ 141922 w 145438"/>
                        <a:gd name="connsiteY16" fmla="*/ 55701 h 83834"/>
                        <a:gd name="connsiteX17" fmla="*/ 141922 w 145438"/>
                        <a:gd name="connsiteY17" fmla="*/ 55199 h 83834"/>
                        <a:gd name="connsiteX18" fmla="*/ 145439 w 145438"/>
                        <a:gd name="connsiteY18" fmla="*/ 55199 h 83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5438" h="83834">
                          <a:moveTo>
                            <a:pt x="145439" y="55199"/>
                          </a:moveTo>
                          <a:lnTo>
                            <a:pt x="145439" y="58464"/>
                          </a:lnTo>
                          <a:cubicBezTo>
                            <a:pt x="145439" y="58464"/>
                            <a:pt x="145439" y="58464"/>
                            <a:pt x="145439" y="58464"/>
                          </a:cubicBezTo>
                          <a:lnTo>
                            <a:pt x="145439" y="58464"/>
                          </a:lnTo>
                          <a:cubicBezTo>
                            <a:pt x="145439" y="58967"/>
                            <a:pt x="145062" y="59469"/>
                            <a:pt x="144434" y="59720"/>
                          </a:cubicBezTo>
                          <a:lnTo>
                            <a:pt x="103490" y="83332"/>
                          </a:lnTo>
                          <a:cubicBezTo>
                            <a:pt x="102862" y="83709"/>
                            <a:pt x="102109" y="83835"/>
                            <a:pt x="101355" y="83835"/>
                          </a:cubicBezTo>
                          <a:cubicBezTo>
                            <a:pt x="100476" y="83835"/>
                            <a:pt x="99471" y="83709"/>
                            <a:pt x="98843" y="83332"/>
                          </a:cubicBezTo>
                          <a:lnTo>
                            <a:pt x="1005" y="26814"/>
                          </a:lnTo>
                          <a:cubicBezTo>
                            <a:pt x="377" y="26438"/>
                            <a:pt x="0" y="25935"/>
                            <a:pt x="0" y="25433"/>
                          </a:cubicBezTo>
                          <a:lnTo>
                            <a:pt x="0" y="22167"/>
                          </a:lnTo>
                          <a:lnTo>
                            <a:pt x="3768" y="22167"/>
                          </a:lnTo>
                          <a:lnTo>
                            <a:pt x="3768" y="22544"/>
                          </a:lnTo>
                          <a:lnTo>
                            <a:pt x="41823" y="565"/>
                          </a:lnTo>
                          <a:cubicBezTo>
                            <a:pt x="43079" y="-188"/>
                            <a:pt x="45214" y="-188"/>
                            <a:pt x="46470" y="565"/>
                          </a:cubicBezTo>
                          <a:lnTo>
                            <a:pt x="133256" y="50677"/>
                          </a:lnTo>
                          <a:lnTo>
                            <a:pt x="141922" y="55701"/>
                          </a:lnTo>
                          <a:lnTo>
                            <a:pt x="141922" y="55199"/>
                          </a:lnTo>
                          <a:lnTo>
                            <a:pt x="145439" y="55199"/>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0" name="Freeform: Shape 3189">
                      <a:extLst>
                        <a:ext uri="{FF2B5EF4-FFF2-40B4-BE49-F238E27FC236}">
                          <a16:creationId xmlns:a16="http://schemas.microsoft.com/office/drawing/2014/main" id="{F56A4499-ACF7-4DF0-9E3E-83AB35EB5A79}"/>
                        </a:ext>
                      </a:extLst>
                    </p:cNvPr>
                    <p:cNvSpPr/>
                    <p:nvPr/>
                  </p:nvSpPr>
                  <p:spPr>
                    <a:xfrm>
                      <a:off x="4612096" y="4508577"/>
                      <a:ext cx="44083" cy="33157"/>
                    </a:xfrm>
                    <a:custGeom>
                      <a:avLst/>
                      <a:gdLst>
                        <a:gd name="connsiteX0" fmla="*/ 44084 w 44083"/>
                        <a:gd name="connsiteY0" fmla="*/ 4522 h 33157"/>
                        <a:gd name="connsiteX1" fmla="*/ 44084 w 44083"/>
                        <a:gd name="connsiteY1" fmla="*/ 7787 h 33157"/>
                        <a:gd name="connsiteX2" fmla="*/ 44084 w 44083"/>
                        <a:gd name="connsiteY2" fmla="*/ 7787 h 33157"/>
                        <a:gd name="connsiteX3" fmla="*/ 44084 w 44083"/>
                        <a:gd name="connsiteY3" fmla="*/ 7787 h 33157"/>
                        <a:gd name="connsiteX4" fmla="*/ 43079 w 44083"/>
                        <a:gd name="connsiteY4" fmla="*/ 9043 h 33157"/>
                        <a:gd name="connsiteX5" fmla="*/ 2135 w 44083"/>
                        <a:gd name="connsiteY5" fmla="*/ 32655 h 33157"/>
                        <a:gd name="connsiteX6" fmla="*/ 0 w 44083"/>
                        <a:gd name="connsiteY6" fmla="*/ 33157 h 33157"/>
                        <a:gd name="connsiteX7" fmla="*/ 0 w 44083"/>
                        <a:gd name="connsiteY7" fmla="*/ 0 h 33157"/>
                        <a:gd name="connsiteX8" fmla="*/ 32027 w 44083"/>
                        <a:gd name="connsiteY8" fmla="*/ 0 h 33157"/>
                        <a:gd name="connsiteX9" fmla="*/ 40693 w 44083"/>
                        <a:gd name="connsiteY9" fmla="*/ 5024 h 33157"/>
                        <a:gd name="connsiteX10" fmla="*/ 40693 w 44083"/>
                        <a:gd name="connsiteY10" fmla="*/ 4522 h 33157"/>
                        <a:gd name="connsiteX11" fmla="*/ 44084 w 44083"/>
                        <a:gd name="connsiteY11" fmla="*/ 4522 h 3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083" h="33157">
                          <a:moveTo>
                            <a:pt x="44084" y="4522"/>
                          </a:moveTo>
                          <a:lnTo>
                            <a:pt x="44084" y="7787"/>
                          </a:lnTo>
                          <a:cubicBezTo>
                            <a:pt x="44084" y="7787"/>
                            <a:pt x="44084" y="7787"/>
                            <a:pt x="44084" y="7787"/>
                          </a:cubicBezTo>
                          <a:lnTo>
                            <a:pt x="44084" y="7787"/>
                          </a:lnTo>
                          <a:cubicBezTo>
                            <a:pt x="44084" y="8289"/>
                            <a:pt x="43707" y="8792"/>
                            <a:pt x="43079" y="9043"/>
                          </a:cubicBezTo>
                          <a:lnTo>
                            <a:pt x="2135" y="32655"/>
                          </a:lnTo>
                          <a:cubicBezTo>
                            <a:pt x="1507" y="33031"/>
                            <a:pt x="754" y="33157"/>
                            <a:pt x="0" y="33157"/>
                          </a:cubicBezTo>
                          <a:lnTo>
                            <a:pt x="0" y="0"/>
                          </a:lnTo>
                          <a:lnTo>
                            <a:pt x="32027" y="0"/>
                          </a:lnTo>
                          <a:lnTo>
                            <a:pt x="40693" y="5024"/>
                          </a:lnTo>
                          <a:lnTo>
                            <a:pt x="40693" y="4522"/>
                          </a:lnTo>
                          <a:lnTo>
                            <a:pt x="44084" y="4522"/>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1" name="Freeform: Shape 3190">
                      <a:extLst>
                        <a:ext uri="{FF2B5EF4-FFF2-40B4-BE49-F238E27FC236}">
                          <a16:creationId xmlns:a16="http://schemas.microsoft.com/office/drawing/2014/main" id="{5C1EB8D2-6FD0-4124-861E-2FE1990C8F34}"/>
                        </a:ext>
                      </a:extLst>
                    </p:cNvPr>
                    <p:cNvSpPr/>
                    <p:nvPr/>
                  </p:nvSpPr>
                  <p:spPr>
                    <a:xfrm>
                      <a:off x="4510803" y="4454728"/>
                      <a:ext cx="145313" cy="83802"/>
                    </a:xfrm>
                    <a:custGeom>
                      <a:avLst/>
                      <a:gdLst>
                        <a:gd name="connsiteX0" fmla="*/ 41886 w 145313"/>
                        <a:gd name="connsiteY0" fmla="*/ 471 h 83802"/>
                        <a:gd name="connsiteX1" fmla="*/ 942 w 145313"/>
                        <a:gd name="connsiteY1" fmla="*/ 24083 h 83802"/>
                        <a:gd name="connsiteX2" fmla="*/ 942 w 145313"/>
                        <a:gd name="connsiteY2" fmla="*/ 26720 h 83802"/>
                        <a:gd name="connsiteX3" fmla="*/ 98780 w 145313"/>
                        <a:gd name="connsiteY3" fmla="*/ 83238 h 83802"/>
                        <a:gd name="connsiteX4" fmla="*/ 103427 w 145313"/>
                        <a:gd name="connsiteY4" fmla="*/ 83238 h 83802"/>
                        <a:gd name="connsiteX5" fmla="*/ 144371 w 145313"/>
                        <a:gd name="connsiteY5" fmla="*/ 59626 h 83802"/>
                        <a:gd name="connsiteX6" fmla="*/ 144371 w 145313"/>
                        <a:gd name="connsiteY6" fmla="*/ 56989 h 83802"/>
                        <a:gd name="connsiteX7" fmla="*/ 46533 w 145313"/>
                        <a:gd name="connsiteY7" fmla="*/ 471 h 83802"/>
                        <a:gd name="connsiteX8" fmla="*/ 41886 w 145313"/>
                        <a:gd name="connsiteY8" fmla="*/ 471 h 8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313" h="83802">
                          <a:moveTo>
                            <a:pt x="41886" y="471"/>
                          </a:moveTo>
                          <a:lnTo>
                            <a:pt x="942" y="24083"/>
                          </a:lnTo>
                          <a:cubicBezTo>
                            <a:pt x="-314" y="24836"/>
                            <a:pt x="-314" y="25967"/>
                            <a:pt x="942" y="26720"/>
                          </a:cubicBezTo>
                          <a:lnTo>
                            <a:pt x="98780" y="83238"/>
                          </a:lnTo>
                          <a:cubicBezTo>
                            <a:pt x="100037" y="83991"/>
                            <a:pt x="102171" y="83991"/>
                            <a:pt x="103427" y="83238"/>
                          </a:cubicBezTo>
                          <a:lnTo>
                            <a:pt x="144371" y="59626"/>
                          </a:lnTo>
                          <a:cubicBezTo>
                            <a:pt x="145627" y="58872"/>
                            <a:pt x="145627" y="57742"/>
                            <a:pt x="144371" y="56989"/>
                          </a:cubicBezTo>
                          <a:lnTo>
                            <a:pt x="46533" y="471"/>
                          </a:lnTo>
                          <a:cubicBezTo>
                            <a:pt x="45277" y="-157"/>
                            <a:pt x="43142" y="-157"/>
                            <a:pt x="41886" y="471"/>
                          </a:cubicBezTo>
                          <a:close/>
                        </a:path>
                      </a:pathLst>
                    </a:custGeom>
                    <a:solidFill>
                      <a:srgbClr val="E2E2E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192" name="Freeform: Shape 3191">
                    <a:extLst>
                      <a:ext uri="{FF2B5EF4-FFF2-40B4-BE49-F238E27FC236}">
                        <a16:creationId xmlns:a16="http://schemas.microsoft.com/office/drawing/2014/main" id="{E4AFCAFD-944A-4633-85CA-DB1A497E6D61}"/>
                      </a:ext>
                    </a:extLst>
                  </p:cNvPr>
                  <p:cNvSpPr/>
                  <p:nvPr/>
                </p:nvSpPr>
                <p:spPr>
                  <a:xfrm>
                    <a:off x="4517460" y="4458653"/>
                    <a:ext cx="131874" cy="76110"/>
                  </a:xfrm>
                  <a:custGeom>
                    <a:avLst/>
                    <a:gdLst>
                      <a:gd name="connsiteX0" fmla="*/ 942 w 131874"/>
                      <a:gd name="connsiteY0" fmla="*/ 20284 h 76110"/>
                      <a:gd name="connsiteX1" fmla="*/ 35104 w 131874"/>
                      <a:gd name="connsiteY1" fmla="*/ 565 h 76110"/>
                      <a:gd name="connsiteX2" fmla="*/ 39751 w 131874"/>
                      <a:gd name="connsiteY2" fmla="*/ 565 h 76110"/>
                      <a:gd name="connsiteX3" fmla="*/ 130933 w 131874"/>
                      <a:gd name="connsiteY3" fmla="*/ 53189 h 76110"/>
                      <a:gd name="connsiteX4" fmla="*/ 130933 w 131874"/>
                      <a:gd name="connsiteY4" fmla="*/ 55827 h 76110"/>
                      <a:gd name="connsiteX5" fmla="*/ 96771 w 131874"/>
                      <a:gd name="connsiteY5" fmla="*/ 75545 h 76110"/>
                      <a:gd name="connsiteX6" fmla="*/ 92124 w 131874"/>
                      <a:gd name="connsiteY6" fmla="*/ 75545 h 76110"/>
                      <a:gd name="connsiteX7" fmla="*/ 942 w 131874"/>
                      <a:gd name="connsiteY7" fmla="*/ 22921 h 76110"/>
                      <a:gd name="connsiteX8" fmla="*/ 942 w 131874"/>
                      <a:gd name="connsiteY8" fmla="*/ 20284 h 7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874" h="76110">
                        <a:moveTo>
                          <a:pt x="942" y="20284"/>
                        </a:moveTo>
                        <a:lnTo>
                          <a:pt x="35104" y="565"/>
                        </a:lnTo>
                        <a:cubicBezTo>
                          <a:pt x="36360" y="-188"/>
                          <a:pt x="38495" y="-188"/>
                          <a:pt x="39751" y="565"/>
                        </a:cubicBezTo>
                        <a:lnTo>
                          <a:pt x="130933" y="53189"/>
                        </a:lnTo>
                        <a:cubicBezTo>
                          <a:pt x="132189" y="53943"/>
                          <a:pt x="132189" y="55073"/>
                          <a:pt x="130933" y="55827"/>
                        </a:cubicBezTo>
                        <a:lnTo>
                          <a:pt x="96771" y="75545"/>
                        </a:lnTo>
                        <a:cubicBezTo>
                          <a:pt x="95515" y="76299"/>
                          <a:pt x="93380" y="76299"/>
                          <a:pt x="92124" y="75545"/>
                        </a:cubicBezTo>
                        <a:lnTo>
                          <a:pt x="942" y="22921"/>
                        </a:lnTo>
                        <a:cubicBezTo>
                          <a:pt x="-314" y="22167"/>
                          <a:pt x="-314" y="20911"/>
                          <a:pt x="942" y="20284"/>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93" name="Graphic 4">
                    <a:extLst>
                      <a:ext uri="{FF2B5EF4-FFF2-40B4-BE49-F238E27FC236}">
                        <a16:creationId xmlns:a16="http://schemas.microsoft.com/office/drawing/2014/main" id="{84FB7ED1-A2DF-40A1-A747-5F7CF3F14040}"/>
                      </a:ext>
                    </a:extLst>
                  </p:cNvPr>
                  <p:cNvGrpSpPr/>
                  <p:nvPr/>
                </p:nvGrpSpPr>
                <p:grpSpPr>
                  <a:xfrm>
                    <a:off x="4518356" y="4457805"/>
                    <a:ext cx="129955" cy="76047"/>
                    <a:chOff x="4518356" y="4457805"/>
                    <a:chExt cx="129955" cy="76047"/>
                  </a:xfrm>
                  <a:solidFill>
                    <a:schemeClr val="accent1"/>
                  </a:solidFill>
                </p:grpSpPr>
                <p:grpSp>
                  <p:nvGrpSpPr>
                    <p:cNvPr id="3194" name="Graphic 4">
                      <a:extLst>
                        <a:ext uri="{FF2B5EF4-FFF2-40B4-BE49-F238E27FC236}">
                          <a16:creationId xmlns:a16="http://schemas.microsoft.com/office/drawing/2014/main" id="{84FB7ED1-A2DF-40A1-A747-5F7CF3F14040}"/>
                        </a:ext>
                      </a:extLst>
                    </p:cNvPr>
                    <p:cNvGrpSpPr/>
                    <p:nvPr/>
                  </p:nvGrpSpPr>
                  <p:grpSpPr>
                    <a:xfrm>
                      <a:off x="4550258" y="4457805"/>
                      <a:ext cx="74190" cy="44020"/>
                      <a:chOff x="4550258" y="4457805"/>
                      <a:chExt cx="74190" cy="44020"/>
                    </a:xfrm>
                    <a:solidFill>
                      <a:schemeClr val="accent1"/>
                    </a:solidFill>
                  </p:grpSpPr>
                  <p:grpSp>
                    <p:nvGrpSpPr>
                      <p:cNvPr id="3195" name="Graphic 4">
                        <a:extLst>
                          <a:ext uri="{FF2B5EF4-FFF2-40B4-BE49-F238E27FC236}">
                            <a16:creationId xmlns:a16="http://schemas.microsoft.com/office/drawing/2014/main" id="{84FB7ED1-A2DF-40A1-A747-5F7CF3F14040}"/>
                          </a:ext>
                        </a:extLst>
                      </p:cNvPr>
                      <p:cNvGrpSpPr/>
                      <p:nvPr/>
                    </p:nvGrpSpPr>
                    <p:grpSpPr>
                      <a:xfrm>
                        <a:off x="4550258" y="4457805"/>
                        <a:ext cx="10502" cy="7347"/>
                        <a:chOff x="4550258" y="4457805"/>
                        <a:chExt cx="10502" cy="7347"/>
                      </a:xfrm>
                      <a:solidFill>
                        <a:schemeClr val="accent1"/>
                      </a:solidFill>
                    </p:grpSpPr>
                    <p:sp>
                      <p:nvSpPr>
                        <p:cNvPr id="3196" name="Freeform: Shape 3195">
                          <a:extLst>
                            <a:ext uri="{FF2B5EF4-FFF2-40B4-BE49-F238E27FC236}">
                              <a16:creationId xmlns:a16="http://schemas.microsoft.com/office/drawing/2014/main" id="{B1E51C01-C800-48A0-AC75-DBB5089D2FDC}"/>
                            </a:ext>
                          </a:extLst>
                        </p:cNvPr>
                        <p:cNvSpPr/>
                        <p:nvPr/>
                      </p:nvSpPr>
                      <p:spPr>
                        <a:xfrm>
                          <a:off x="4550258" y="4459187"/>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7" name="Freeform: Shape 3196">
                          <a:extLst>
                            <a:ext uri="{FF2B5EF4-FFF2-40B4-BE49-F238E27FC236}">
                              <a16:creationId xmlns:a16="http://schemas.microsoft.com/office/drawing/2014/main" id="{3D4F5E72-4449-4E76-9210-7BC89E9BDFA7}"/>
                            </a:ext>
                          </a:extLst>
                        </p:cNvPr>
                        <p:cNvSpPr/>
                        <p:nvPr/>
                      </p:nvSpPr>
                      <p:spPr>
                        <a:xfrm>
                          <a:off x="4550258" y="4459187"/>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8" name="Freeform: Shape 3197">
                          <a:extLst>
                            <a:ext uri="{FF2B5EF4-FFF2-40B4-BE49-F238E27FC236}">
                              <a16:creationId xmlns:a16="http://schemas.microsoft.com/office/drawing/2014/main" id="{731C8815-C57F-4FC8-967E-ADA49D5159E5}"/>
                            </a:ext>
                          </a:extLst>
                        </p:cNvPr>
                        <p:cNvSpPr/>
                        <p:nvPr/>
                      </p:nvSpPr>
                      <p:spPr>
                        <a:xfrm>
                          <a:off x="4550460" y="445780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199" name="Graphic 4">
                        <a:extLst>
                          <a:ext uri="{FF2B5EF4-FFF2-40B4-BE49-F238E27FC236}">
                            <a16:creationId xmlns:a16="http://schemas.microsoft.com/office/drawing/2014/main" id="{84FB7ED1-A2DF-40A1-A747-5F7CF3F14040}"/>
                          </a:ext>
                        </a:extLst>
                      </p:cNvPr>
                      <p:cNvGrpSpPr/>
                      <p:nvPr/>
                    </p:nvGrpSpPr>
                    <p:grpSpPr>
                      <a:xfrm>
                        <a:off x="4556537" y="4461448"/>
                        <a:ext cx="10514" cy="7346"/>
                        <a:chOff x="4556537" y="4461448"/>
                        <a:chExt cx="10514" cy="7346"/>
                      </a:xfrm>
                      <a:solidFill>
                        <a:schemeClr val="accent1"/>
                      </a:solidFill>
                    </p:grpSpPr>
                    <p:sp>
                      <p:nvSpPr>
                        <p:cNvPr id="3200" name="Freeform: Shape 3199">
                          <a:extLst>
                            <a:ext uri="{FF2B5EF4-FFF2-40B4-BE49-F238E27FC236}">
                              <a16:creationId xmlns:a16="http://schemas.microsoft.com/office/drawing/2014/main" id="{499E4D17-FCB0-4DD5-953D-D2CE4F557D4A}"/>
                            </a:ext>
                          </a:extLst>
                        </p:cNvPr>
                        <p:cNvSpPr/>
                        <p:nvPr/>
                      </p:nvSpPr>
                      <p:spPr>
                        <a:xfrm>
                          <a:off x="4556537" y="44628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1" name="Freeform: Shape 3200">
                          <a:extLst>
                            <a:ext uri="{FF2B5EF4-FFF2-40B4-BE49-F238E27FC236}">
                              <a16:creationId xmlns:a16="http://schemas.microsoft.com/office/drawing/2014/main" id="{2FB7B6B1-504B-4680-B588-3C861C0BFE7B}"/>
                            </a:ext>
                          </a:extLst>
                        </p:cNvPr>
                        <p:cNvSpPr/>
                        <p:nvPr/>
                      </p:nvSpPr>
                      <p:spPr>
                        <a:xfrm>
                          <a:off x="4556537" y="44628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2" name="Freeform: Shape 3201">
                          <a:extLst>
                            <a:ext uri="{FF2B5EF4-FFF2-40B4-BE49-F238E27FC236}">
                              <a16:creationId xmlns:a16="http://schemas.microsoft.com/office/drawing/2014/main" id="{8CDDF556-3746-49C1-BAD4-B04DED4D8535}"/>
                            </a:ext>
                          </a:extLst>
                        </p:cNvPr>
                        <p:cNvSpPr/>
                        <p:nvPr/>
                      </p:nvSpPr>
                      <p:spPr>
                        <a:xfrm>
                          <a:off x="4556740" y="4461448"/>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03" name="Graphic 4">
                        <a:extLst>
                          <a:ext uri="{FF2B5EF4-FFF2-40B4-BE49-F238E27FC236}">
                            <a16:creationId xmlns:a16="http://schemas.microsoft.com/office/drawing/2014/main" id="{84FB7ED1-A2DF-40A1-A747-5F7CF3F14040}"/>
                          </a:ext>
                        </a:extLst>
                      </p:cNvPr>
                      <p:cNvGrpSpPr/>
                      <p:nvPr/>
                    </p:nvGrpSpPr>
                    <p:grpSpPr>
                      <a:xfrm>
                        <a:off x="4562817" y="4465090"/>
                        <a:ext cx="10514" cy="7347"/>
                        <a:chOff x="4562817" y="4465090"/>
                        <a:chExt cx="10514" cy="7347"/>
                      </a:xfrm>
                      <a:solidFill>
                        <a:schemeClr val="accent1"/>
                      </a:solidFill>
                    </p:grpSpPr>
                    <p:sp>
                      <p:nvSpPr>
                        <p:cNvPr id="3204" name="Freeform: Shape 3203">
                          <a:extLst>
                            <a:ext uri="{FF2B5EF4-FFF2-40B4-BE49-F238E27FC236}">
                              <a16:creationId xmlns:a16="http://schemas.microsoft.com/office/drawing/2014/main" id="{B300DDC4-FB4B-45E7-985A-BC8FF677C61A}"/>
                            </a:ext>
                          </a:extLst>
                        </p:cNvPr>
                        <p:cNvSpPr/>
                        <p:nvPr/>
                      </p:nvSpPr>
                      <p:spPr>
                        <a:xfrm>
                          <a:off x="4562817" y="4466471"/>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5" name="Freeform: Shape 3204">
                          <a:extLst>
                            <a:ext uri="{FF2B5EF4-FFF2-40B4-BE49-F238E27FC236}">
                              <a16:creationId xmlns:a16="http://schemas.microsoft.com/office/drawing/2014/main" id="{5E1EC368-A15D-4199-A077-7083AEC6DA5D}"/>
                            </a:ext>
                          </a:extLst>
                        </p:cNvPr>
                        <p:cNvSpPr/>
                        <p:nvPr/>
                      </p:nvSpPr>
                      <p:spPr>
                        <a:xfrm>
                          <a:off x="4562817" y="4466471"/>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6" name="Freeform: Shape 3205">
                          <a:extLst>
                            <a:ext uri="{FF2B5EF4-FFF2-40B4-BE49-F238E27FC236}">
                              <a16:creationId xmlns:a16="http://schemas.microsoft.com/office/drawing/2014/main" id="{C6B21A8D-5360-4AB5-933C-E4E07E4D2408}"/>
                            </a:ext>
                          </a:extLst>
                        </p:cNvPr>
                        <p:cNvSpPr/>
                        <p:nvPr/>
                      </p:nvSpPr>
                      <p:spPr>
                        <a:xfrm>
                          <a:off x="4563019" y="4465090"/>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7" y="3171"/>
                                <a:pt x="10267" y="2544"/>
                                <a:pt x="9639" y="2167"/>
                              </a:cubicBezTo>
                              <a:lnTo>
                                <a:pt x="6249"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07" name="Graphic 4">
                        <a:extLst>
                          <a:ext uri="{FF2B5EF4-FFF2-40B4-BE49-F238E27FC236}">
                            <a16:creationId xmlns:a16="http://schemas.microsoft.com/office/drawing/2014/main" id="{84FB7ED1-A2DF-40A1-A747-5F7CF3F14040}"/>
                          </a:ext>
                        </a:extLst>
                      </p:cNvPr>
                      <p:cNvGrpSpPr/>
                      <p:nvPr/>
                    </p:nvGrpSpPr>
                    <p:grpSpPr>
                      <a:xfrm>
                        <a:off x="4569222" y="4468732"/>
                        <a:ext cx="10514" cy="7347"/>
                        <a:chOff x="4569222" y="4468732"/>
                        <a:chExt cx="10514" cy="7347"/>
                      </a:xfrm>
                      <a:solidFill>
                        <a:schemeClr val="accent1"/>
                      </a:solidFill>
                    </p:grpSpPr>
                    <p:sp>
                      <p:nvSpPr>
                        <p:cNvPr id="3208" name="Freeform: Shape 3207">
                          <a:extLst>
                            <a:ext uri="{FF2B5EF4-FFF2-40B4-BE49-F238E27FC236}">
                              <a16:creationId xmlns:a16="http://schemas.microsoft.com/office/drawing/2014/main" id="{E37744F3-7EFC-45CE-99F2-C1F016541EB1}"/>
                            </a:ext>
                          </a:extLst>
                        </p:cNvPr>
                        <p:cNvSpPr/>
                        <p:nvPr/>
                      </p:nvSpPr>
                      <p:spPr>
                        <a:xfrm>
                          <a:off x="4569222" y="4470114"/>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9" name="Freeform: Shape 3208">
                          <a:extLst>
                            <a:ext uri="{FF2B5EF4-FFF2-40B4-BE49-F238E27FC236}">
                              <a16:creationId xmlns:a16="http://schemas.microsoft.com/office/drawing/2014/main" id="{9DA2AFCD-DBA3-4EEC-A03B-5F1ED3021AC0}"/>
                            </a:ext>
                          </a:extLst>
                        </p:cNvPr>
                        <p:cNvSpPr/>
                        <p:nvPr/>
                      </p:nvSpPr>
                      <p:spPr>
                        <a:xfrm>
                          <a:off x="4569222" y="4470114"/>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0" name="Freeform: Shape 3209">
                          <a:extLst>
                            <a:ext uri="{FF2B5EF4-FFF2-40B4-BE49-F238E27FC236}">
                              <a16:creationId xmlns:a16="http://schemas.microsoft.com/office/drawing/2014/main" id="{C0528315-C93A-4936-97E9-B2BFF4FC07A0}"/>
                            </a:ext>
                          </a:extLst>
                        </p:cNvPr>
                        <p:cNvSpPr/>
                        <p:nvPr/>
                      </p:nvSpPr>
                      <p:spPr>
                        <a:xfrm>
                          <a:off x="4569425" y="4468732"/>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11" name="Graphic 4">
                        <a:extLst>
                          <a:ext uri="{FF2B5EF4-FFF2-40B4-BE49-F238E27FC236}">
                            <a16:creationId xmlns:a16="http://schemas.microsoft.com/office/drawing/2014/main" id="{84FB7ED1-A2DF-40A1-A747-5F7CF3F14040}"/>
                          </a:ext>
                        </a:extLst>
                      </p:cNvPr>
                      <p:cNvGrpSpPr/>
                      <p:nvPr/>
                    </p:nvGrpSpPr>
                    <p:grpSpPr>
                      <a:xfrm>
                        <a:off x="4575502" y="4472374"/>
                        <a:ext cx="10514" cy="7347"/>
                        <a:chOff x="4575502" y="4472374"/>
                        <a:chExt cx="10514" cy="7347"/>
                      </a:xfrm>
                      <a:solidFill>
                        <a:schemeClr val="accent1"/>
                      </a:solidFill>
                    </p:grpSpPr>
                    <p:sp>
                      <p:nvSpPr>
                        <p:cNvPr id="3212" name="Freeform: Shape 3211">
                          <a:extLst>
                            <a:ext uri="{FF2B5EF4-FFF2-40B4-BE49-F238E27FC236}">
                              <a16:creationId xmlns:a16="http://schemas.microsoft.com/office/drawing/2014/main" id="{3DCFCF88-0304-4EB9-9255-F60A3F0565E0}"/>
                            </a:ext>
                          </a:extLst>
                        </p:cNvPr>
                        <p:cNvSpPr/>
                        <p:nvPr/>
                      </p:nvSpPr>
                      <p:spPr>
                        <a:xfrm>
                          <a:off x="4575502" y="4473756"/>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3" name="Freeform: Shape 3212">
                          <a:extLst>
                            <a:ext uri="{FF2B5EF4-FFF2-40B4-BE49-F238E27FC236}">
                              <a16:creationId xmlns:a16="http://schemas.microsoft.com/office/drawing/2014/main" id="{3AE3291D-E4C3-4DF1-98BA-B4603F27D036}"/>
                            </a:ext>
                          </a:extLst>
                        </p:cNvPr>
                        <p:cNvSpPr/>
                        <p:nvPr/>
                      </p:nvSpPr>
                      <p:spPr>
                        <a:xfrm>
                          <a:off x="4575502" y="4473756"/>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4" name="Freeform: Shape 3213">
                          <a:extLst>
                            <a:ext uri="{FF2B5EF4-FFF2-40B4-BE49-F238E27FC236}">
                              <a16:creationId xmlns:a16="http://schemas.microsoft.com/office/drawing/2014/main" id="{8A91F00A-0F37-444E-92BC-29207F43542F}"/>
                            </a:ext>
                          </a:extLst>
                        </p:cNvPr>
                        <p:cNvSpPr/>
                        <p:nvPr/>
                      </p:nvSpPr>
                      <p:spPr>
                        <a:xfrm>
                          <a:off x="4575830" y="4472374"/>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15" name="Graphic 4">
                        <a:extLst>
                          <a:ext uri="{FF2B5EF4-FFF2-40B4-BE49-F238E27FC236}">
                            <a16:creationId xmlns:a16="http://schemas.microsoft.com/office/drawing/2014/main" id="{84FB7ED1-A2DF-40A1-A747-5F7CF3F14040}"/>
                          </a:ext>
                        </a:extLst>
                      </p:cNvPr>
                      <p:cNvGrpSpPr/>
                      <p:nvPr/>
                    </p:nvGrpSpPr>
                    <p:grpSpPr>
                      <a:xfrm>
                        <a:off x="4581907" y="4476142"/>
                        <a:ext cx="10514" cy="7347"/>
                        <a:chOff x="4581907" y="4476142"/>
                        <a:chExt cx="10514" cy="7347"/>
                      </a:xfrm>
                      <a:solidFill>
                        <a:schemeClr val="accent1"/>
                      </a:solidFill>
                    </p:grpSpPr>
                    <p:sp>
                      <p:nvSpPr>
                        <p:cNvPr id="3216" name="Freeform: Shape 3215">
                          <a:extLst>
                            <a:ext uri="{FF2B5EF4-FFF2-40B4-BE49-F238E27FC236}">
                              <a16:creationId xmlns:a16="http://schemas.microsoft.com/office/drawing/2014/main" id="{F369757C-9F08-41C3-A2DE-BA47C781E012}"/>
                            </a:ext>
                          </a:extLst>
                        </p:cNvPr>
                        <p:cNvSpPr/>
                        <p:nvPr/>
                      </p:nvSpPr>
                      <p:spPr>
                        <a:xfrm>
                          <a:off x="4581907" y="447752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7" name="Freeform: Shape 3216">
                          <a:extLst>
                            <a:ext uri="{FF2B5EF4-FFF2-40B4-BE49-F238E27FC236}">
                              <a16:creationId xmlns:a16="http://schemas.microsoft.com/office/drawing/2014/main" id="{4925D3A4-23EC-4DAB-A19B-11F3ECFC423C}"/>
                            </a:ext>
                          </a:extLst>
                        </p:cNvPr>
                        <p:cNvSpPr/>
                        <p:nvPr/>
                      </p:nvSpPr>
                      <p:spPr>
                        <a:xfrm>
                          <a:off x="4581907" y="447752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8" name="Freeform: Shape 3217">
                          <a:extLst>
                            <a:ext uri="{FF2B5EF4-FFF2-40B4-BE49-F238E27FC236}">
                              <a16:creationId xmlns:a16="http://schemas.microsoft.com/office/drawing/2014/main" id="{16B47283-B38C-4535-918A-3667D3F3F945}"/>
                            </a:ext>
                          </a:extLst>
                        </p:cNvPr>
                        <p:cNvSpPr/>
                        <p:nvPr/>
                      </p:nvSpPr>
                      <p:spPr>
                        <a:xfrm>
                          <a:off x="4582235" y="4476142"/>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19" name="Graphic 4">
                        <a:extLst>
                          <a:ext uri="{FF2B5EF4-FFF2-40B4-BE49-F238E27FC236}">
                            <a16:creationId xmlns:a16="http://schemas.microsoft.com/office/drawing/2014/main" id="{84FB7ED1-A2DF-40A1-A747-5F7CF3F14040}"/>
                          </a:ext>
                        </a:extLst>
                      </p:cNvPr>
                      <p:cNvGrpSpPr/>
                      <p:nvPr/>
                    </p:nvGrpSpPr>
                    <p:grpSpPr>
                      <a:xfrm>
                        <a:off x="4588313" y="4479784"/>
                        <a:ext cx="10514" cy="7347"/>
                        <a:chOff x="4588313" y="4479784"/>
                        <a:chExt cx="10514" cy="7347"/>
                      </a:xfrm>
                      <a:solidFill>
                        <a:schemeClr val="accent1"/>
                      </a:solidFill>
                    </p:grpSpPr>
                    <p:sp>
                      <p:nvSpPr>
                        <p:cNvPr id="3220" name="Freeform: Shape 3219">
                          <a:extLst>
                            <a:ext uri="{FF2B5EF4-FFF2-40B4-BE49-F238E27FC236}">
                              <a16:creationId xmlns:a16="http://schemas.microsoft.com/office/drawing/2014/main" id="{DC4444DE-25F4-48BD-8DC8-3C1AE51B0B84}"/>
                            </a:ext>
                          </a:extLst>
                        </p:cNvPr>
                        <p:cNvSpPr/>
                        <p:nvPr/>
                      </p:nvSpPr>
                      <p:spPr>
                        <a:xfrm>
                          <a:off x="4588313" y="4481166"/>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1" name="Freeform: Shape 3220">
                          <a:extLst>
                            <a:ext uri="{FF2B5EF4-FFF2-40B4-BE49-F238E27FC236}">
                              <a16:creationId xmlns:a16="http://schemas.microsoft.com/office/drawing/2014/main" id="{97B16342-5198-4B35-AA3A-3CF6D9E2A635}"/>
                            </a:ext>
                          </a:extLst>
                        </p:cNvPr>
                        <p:cNvSpPr/>
                        <p:nvPr/>
                      </p:nvSpPr>
                      <p:spPr>
                        <a:xfrm>
                          <a:off x="4588313" y="4481166"/>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2" name="Freeform: Shape 3221">
                          <a:extLst>
                            <a:ext uri="{FF2B5EF4-FFF2-40B4-BE49-F238E27FC236}">
                              <a16:creationId xmlns:a16="http://schemas.microsoft.com/office/drawing/2014/main" id="{0053EB5D-832C-4ADF-B7CC-248B00F2C669}"/>
                            </a:ext>
                          </a:extLst>
                        </p:cNvPr>
                        <p:cNvSpPr/>
                        <p:nvPr/>
                      </p:nvSpPr>
                      <p:spPr>
                        <a:xfrm>
                          <a:off x="4588515" y="4479784"/>
                          <a:ext cx="10110" cy="5840"/>
                        </a:xfrm>
                        <a:custGeom>
                          <a:avLst/>
                          <a:gdLst>
                            <a:gd name="connsiteX0" fmla="*/ 3862 w 10110"/>
                            <a:gd name="connsiteY0" fmla="*/ 283 h 5840"/>
                            <a:gd name="connsiteX1" fmla="*/ 471 w 10110"/>
                            <a:gd name="connsiteY1" fmla="*/ 2166 h 5840"/>
                            <a:gd name="connsiteX2" fmla="*/ 471 w 10110"/>
                            <a:gd name="connsiteY2" fmla="*/ 3548 h 5840"/>
                            <a:gd name="connsiteX3" fmla="*/ 3862 w 10110"/>
                            <a:gd name="connsiteY3" fmla="*/ 5557 h 5840"/>
                            <a:gd name="connsiteX4" fmla="*/ 6249 w 10110"/>
                            <a:gd name="connsiteY4" fmla="*/ 5557 h 5840"/>
                            <a:gd name="connsiteX5" fmla="*/ 9639 w 10110"/>
                            <a:gd name="connsiteY5" fmla="*/ 3548 h 5840"/>
                            <a:gd name="connsiteX6" fmla="*/ 9639 w 10110"/>
                            <a:gd name="connsiteY6" fmla="*/ 2166 h 5840"/>
                            <a:gd name="connsiteX7" fmla="*/ 6249 w 10110"/>
                            <a:gd name="connsiteY7" fmla="*/ 283 h 5840"/>
                            <a:gd name="connsiteX8" fmla="*/ 3862 w 10110"/>
                            <a:gd name="connsiteY8" fmla="*/ 283 h 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40">
                              <a:moveTo>
                                <a:pt x="3862" y="283"/>
                              </a:moveTo>
                              <a:lnTo>
                                <a:pt x="471" y="2166"/>
                              </a:lnTo>
                              <a:cubicBezTo>
                                <a:pt x="-157" y="2543"/>
                                <a:pt x="-157" y="3171"/>
                                <a:pt x="471" y="3548"/>
                              </a:cubicBezTo>
                              <a:lnTo>
                                <a:pt x="3862" y="5557"/>
                              </a:lnTo>
                              <a:cubicBezTo>
                                <a:pt x="4490" y="5934"/>
                                <a:pt x="5495" y="5934"/>
                                <a:pt x="6249" y="5557"/>
                              </a:cubicBezTo>
                              <a:lnTo>
                                <a:pt x="9639" y="3548"/>
                              </a:lnTo>
                              <a:cubicBezTo>
                                <a:pt x="10267" y="3171"/>
                                <a:pt x="10267" y="2543"/>
                                <a:pt x="9639" y="2166"/>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23" name="Graphic 4">
                        <a:extLst>
                          <a:ext uri="{FF2B5EF4-FFF2-40B4-BE49-F238E27FC236}">
                            <a16:creationId xmlns:a16="http://schemas.microsoft.com/office/drawing/2014/main" id="{84FB7ED1-A2DF-40A1-A747-5F7CF3F14040}"/>
                          </a:ext>
                        </a:extLst>
                      </p:cNvPr>
                      <p:cNvGrpSpPr/>
                      <p:nvPr/>
                    </p:nvGrpSpPr>
                    <p:grpSpPr>
                      <a:xfrm>
                        <a:off x="4594718" y="4483427"/>
                        <a:ext cx="10469" cy="7346"/>
                        <a:chOff x="4594718" y="4483427"/>
                        <a:chExt cx="10469" cy="7346"/>
                      </a:xfrm>
                      <a:solidFill>
                        <a:schemeClr val="accent1"/>
                      </a:solidFill>
                    </p:grpSpPr>
                    <p:sp>
                      <p:nvSpPr>
                        <p:cNvPr id="3224" name="Freeform: Shape 3223">
                          <a:extLst>
                            <a:ext uri="{FF2B5EF4-FFF2-40B4-BE49-F238E27FC236}">
                              <a16:creationId xmlns:a16="http://schemas.microsoft.com/office/drawing/2014/main" id="{CDA6168A-B51E-49E1-9005-F064D9C8DDDE}"/>
                            </a:ext>
                          </a:extLst>
                        </p:cNvPr>
                        <p:cNvSpPr/>
                        <p:nvPr/>
                      </p:nvSpPr>
                      <p:spPr>
                        <a:xfrm>
                          <a:off x="4594718" y="4484808"/>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5" name="Freeform: Shape 3224">
                          <a:extLst>
                            <a:ext uri="{FF2B5EF4-FFF2-40B4-BE49-F238E27FC236}">
                              <a16:creationId xmlns:a16="http://schemas.microsoft.com/office/drawing/2014/main" id="{4161F522-4F40-44D3-9D7B-EB99C06A3D74}"/>
                            </a:ext>
                          </a:extLst>
                        </p:cNvPr>
                        <p:cNvSpPr/>
                        <p:nvPr/>
                      </p:nvSpPr>
                      <p:spPr>
                        <a:xfrm>
                          <a:off x="4594718" y="4484808"/>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6" name="Freeform: Shape 3225">
                          <a:extLst>
                            <a:ext uri="{FF2B5EF4-FFF2-40B4-BE49-F238E27FC236}">
                              <a16:creationId xmlns:a16="http://schemas.microsoft.com/office/drawing/2014/main" id="{E95B0DA5-A1D2-45D1-AB7D-CB10A368624C}"/>
                            </a:ext>
                          </a:extLst>
                        </p:cNvPr>
                        <p:cNvSpPr/>
                        <p:nvPr/>
                      </p:nvSpPr>
                      <p:spPr>
                        <a:xfrm>
                          <a:off x="4594920" y="448342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27" name="Graphic 4">
                        <a:extLst>
                          <a:ext uri="{FF2B5EF4-FFF2-40B4-BE49-F238E27FC236}">
                            <a16:creationId xmlns:a16="http://schemas.microsoft.com/office/drawing/2014/main" id="{84FB7ED1-A2DF-40A1-A747-5F7CF3F14040}"/>
                          </a:ext>
                        </a:extLst>
                      </p:cNvPr>
                      <p:cNvGrpSpPr/>
                      <p:nvPr/>
                    </p:nvGrpSpPr>
                    <p:grpSpPr>
                      <a:xfrm>
                        <a:off x="4600998" y="4487069"/>
                        <a:ext cx="10514" cy="7347"/>
                        <a:chOff x="4600998" y="4487069"/>
                        <a:chExt cx="10514" cy="7347"/>
                      </a:xfrm>
                      <a:solidFill>
                        <a:schemeClr val="accent1"/>
                      </a:solidFill>
                    </p:grpSpPr>
                    <p:sp>
                      <p:nvSpPr>
                        <p:cNvPr id="3228" name="Freeform: Shape 3227">
                          <a:extLst>
                            <a:ext uri="{FF2B5EF4-FFF2-40B4-BE49-F238E27FC236}">
                              <a16:creationId xmlns:a16="http://schemas.microsoft.com/office/drawing/2014/main" id="{897DEDEE-0A02-491F-BEB0-C4581B381AC1}"/>
                            </a:ext>
                          </a:extLst>
                        </p:cNvPr>
                        <p:cNvSpPr/>
                        <p:nvPr/>
                      </p:nvSpPr>
                      <p:spPr>
                        <a:xfrm>
                          <a:off x="4600998" y="4488450"/>
                          <a:ext cx="10514" cy="5965"/>
                        </a:xfrm>
                        <a:custGeom>
                          <a:avLst/>
                          <a:gdLst>
                            <a:gd name="connsiteX0" fmla="*/ 10470 w 10514"/>
                            <a:gd name="connsiteY0" fmla="*/ 2794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9" name="Freeform: Shape 3228">
                          <a:extLst>
                            <a:ext uri="{FF2B5EF4-FFF2-40B4-BE49-F238E27FC236}">
                              <a16:creationId xmlns:a16="http://schemas.microsoft.com/office/drawing/2014/main" id="{35110299-2CFA-40EE-B0A2-DACEDEB31205}"/>
                            </a:ext>
                          </a:extLst>
                        </p:cNvPr>
                        <p:cNvSpPr/>
                        <p:nvPr/>
                      </p:nvSpPr>
                      <p:spPr>
                        <a:xfrm>
                          <a:off x="4600998" y="4488450"/>
                          <a:ext cx="10514" cy="5965"/>
                        </a:xfrm>
                        <a:custGeom>
                          <a:avLst/>
                          <a:gdLst>
                            <a:gd name="connsiteX0" fmla="*/ 10470 w 10514"/>
                            <a:gd name="connsiteY0" fmla="*/ 2794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0" name="Freeform: Shape 3229">
                          <a:extLst>
                            <a:ext uri="{FF2B5EF4-FFF2-40B4-BE49-F238E27FC236}">
                              <a16:creationId xmlns:a16="http://schemas.microsoft.com/office/drawing/2014/main" id="{4E25E7D7-8B60-4846-8469-71E89F3C7F80}"/>
                            </a:ext>
                          </a:extLst>
                        </p:cNvPr>
                        <p:cNvSpPr/>
                        <p:nvPr/>
                      </p:nvSpPr>
                      <p:spPr>
                        <a:xfrm>
                          <a:off x="4601200" y="4487069"/>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31" name="Graphic 4">
                        <a:extLst>
                          <a:ext uri="{FF2B5EF4-FFF2-40B4-BE49-F238E27FC236}">
                            <a16:creationId xmlns:a16="http://schemas.microsoft.com/office/drawing/2014/main" id="{84FB7ED1-A2DF-40A1-A747-5F7CF3F14040}"/>
                          </a:ext>
                        </a:extLst>
                      </p:cNvPr>
                      <p:cNvGrpSpPr/>
                      <p:nvPr/>
                    </p:nvGrpSpPr>
                    <p:grpSpPr>
                      <a:xfrm>
                        <a:off x="4607278" y="4490693"/>
                        <a:ext cx="17169" cy="11133"/>
                        <a:chOff x="4607278" y="4490693"/>
                        <a:chExt cx="17169" cy="11133"/>
                      </a:xfrm>
                      <a:solidFill>
                        <a:schemeClr val="accent1"/>
                      </a:solidFill>
                    </p:grpSpPr>
                    <p:sp>
                      <p:nvSpPr>
                        <p:cNvPr id="3232" name="Freeform: Shape 3231">
                          <a:extLst>
                            <a:ext uri="{FF2B5EF4-FFF2-40B4-BE49-F238E27FC236}">
                              <a16:creationId xmlns:a16="http://schemas.microsoft.com/office/drawing/2014/main" id="{53125D66-5A1D-4B27-93B0-E96E99EAF4D9}"/>
                            </a:ext>
                          </a:extLst>
                        </p:cNvPr>
                        <p:cNvSpPr/>
                        <p:nvPr/>
                      </p:nvSpPr>
                      <p:spPr>
                        <a:xfrm>
                          <a:off x="4607278" y="4492093"/>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0 w 17169"/>
                            <a:gd name="connsiteY3" fmla="*/ 283 h 9733"/>
                            <a:gd name="connsiteX4" fmla="*/ 4064 w 17169"/>
                            <a:gd name="connsiteY4" fmla="*/ 283 h 9733"/>
                            <a:gd name="connsiteX5" fmla="*/ 1929 w 17169"/>
                            <a:gd name="connsiteY5" fmla="*/ 1538 h 9733"/>
                            <a:gd name="connsiteX6" fmla="*/ 296 w 17169"/>
                            <a:gd name="connsiteY6" fmla="*/ 1538 h 9733"/>
                            <a:gd name="connsiteX7" fmla="*/ 45 w 17169"/>
                            <a:gd name="connsiteY7" fmla="*/ 2794 h 9733"/>
                            <a:gd name="connsiteX8" fmla="*/ 547 w 17169"/>
                            <a:gd name="connsiteY8" fmla="*/ 3673 h 9733"/>
                            <a:gd name="connsiteX9" fmla="*/ 10595 w 17169"/>
                            <a:gd name="connsiteY9" fmla="*/ 9451 h 9733"/>
                            <a:gd name="connsiteX10" fmla="*/ 12982 w 17169"/>
                            <a:gd name="connsiteY10" fmla="*/ 9451 h 9733"/>
                            <a:gd name="connsiteX11" fmla="*/ 16498 w 17169"/>
                            <a:gd name="connsiteY11" fmla="*/ 7441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0" y="283"/>
                              </a:lnTo>
                              <a:cubicBezTo>
                                <a:pt x="5823" y="-94"/>
                                <a:pt x="4692" y="-94"/>
                                <a:pt x="4064" y="283"/>
                              </a:cubicBezTo>
                              <a:lnTo>
                                <a:pt x="1929" y="1538"/>
                              </a:lnTo>
                              <a:lnTo>
                                <a:pt x="296" y="1538"/>
                              </a:lnTo>
                              <a:lnTo>
                                <a:pt x="45" y="2794"/>
                              </a:lnTo>
                              <a:cubicBezTo>
                                <a:pt x="-80" y="3171"/>
                                <a:pt x="45" y="3422"/>
                                <a:pt x="547" y="3673"/>
                              </a:cubicBezTo>
                              <a:lnTo>
                                <a:pt x="10595" y="9451"/>
                              </a:lnTo>
                              <a:cubicBezTo>
                                <a:pt x="11223" y="9828"/>
                                <a:pt x="12353" y="9828"/>
                                <a:pt x="12982" y="9451"/>
                              </a:cubicBezTo>
                              <a:lnTo>
                                <a:pt x="16498" y="7441"/>
                              </a:lnTo>
                              <a:cubicBezTo>
                                <a:pt x="17126" y="7316"/>
                                <a:pt x="17252" y="6939"/>
                                <a:pt x="17126" y="656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3" name="Freeform: Shape 3232">
                          <a:extLst>
                            <a:ext uri="{FF2B5EF4-FFF2-40B4-BE49-F238E27FC236}">
                              <a16:creationId xmlns:a16="http://schemas.microsoft.com/office/drawing/2014/main" id="{06CF4ABF-3D52-4EC0-A4C4-70DEB7A8ACBF}"/>
                            </a:ext>
                          </a:extLst>
                        </p:cNvPr>
                        <p:cNvSpPr/>
                        <p:nvPr/>
                      </p:nvSpPr>
                      <p:spPr>
                        <a:xfrm>
                          <a:off x="4607278" y="4492093"/>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0 w 17169"/>
                            <a:gd name="connsiteY3" fmla="*/ 283 h 9733"/>
                            <a:gd name="connsiteX4" fmla="*/ 4064 w 17169"/>
                            <a:gd name="connsiteY4" fmla="*/ 283 h 9733"/>
                            <a:gd name="connsiteX5" fmla="*/ 1929 w 17169"/>
                            <a:gd name="connsiteY5" fmla="*/ 1538 h 9733"/>
                            <a:gd name="connsiteX6" fmla="*/ 296 w 17169"/>
                            <a:gd name="connsiteY6" fmla="*/ 1538 h 9733"/>
                            <a:gd name="connsiteX7" fmla="*/ 45 w 17169"/>
                            <a:gd name="connsiteY7" fmla="*/ 2794 h 9733"/>
                            <a:gd name="connsiteX8" fmla="*/ 547 w 17169"/>
                            <a:gd name="connsiteY8" fmla="*/ 3673 h 9733"/>
                            <a:gd name="connsiteX9" fmla="*/ 10595 w 17169"/>
                            <a:gd name="connsiteY9" fmla="*/ 9451 h 9733"/>
                            <a:gd name="connsiteX10" fmla="*/ 12982 w 17169"/>
                            <a:gd name="connsiteY10" fmla="*/ 9451 h 9733"/>
                            <a:gd name="connsiteX11" fmla="*/ 16498 w 17169"/>
                            <a:gd name="connsiteY11" fmla="*/ 7441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0" y="283"/>
                              </a:lnTo>
                              <a:cubicBezTo>
                                <a:pt x="5823" y="-94"/>
                                <a:pt x="4692" y="-94"/>
                                <a:pt x="4064" y="283"/>
                              </a:cubicBezTo>
                              <a:lnTo>
                                <a:pt x="1929" y="1538"/>
                              </a:lnTo>
                              <a:lnTo>
                                <a:pt x="296" y="1538"/>
                              </a:lnTo>
                              <a:lnTo>
                                <a:pt x="45" y="2794"/>
                              </a:lnTo>
                              <a:cubicBezTo>
                                <a:pt x="-80" y="3171"/>
                                <a:pt x="45" y="3422"/>
                                <a:pt x="547" y="3673"/>
                              </a:cubicBezTo>
                              <a:lnTo>
                                <a:pt x="10595" y="9451"/>
                              </a:lnTo>
                              <a:cubicBezTo>
                                <a:pt x="11223" y="9828"/>
                                <a:pt x="12353" y="9828"/>
                                <a:pt x="12982" y="9451"/>
                              </a:cubicBezTo>
                              <a:lnTo>
                                <a:pt x="16498" y="7441"/>
                              </a:lnTo>
                              <a:cubicBezTo>
                                <a:pt x="17126" y="7316"/>
                                <a:pt x="17252" y="6939"/>
                                <a:pt x="17126" y="6562"/>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4" name="Freeform: Shape 3233">
                          <a:extLst>
                            <a:ext uri="{FF2B5EF4-FFF2-40B4-BE49-F238E27FC236}">
                              <a16:creationId xmlns:a16="http://schemas.microsoft.com/office/drawing/2014/main" id="{D429B676-8231-4658-818B-AA43A8998037}"/>
                            </a:ext>
                          </a:extLst>
                        </p:cNvPr>
                        <p:cNvSpPr/>
                        <p:nvPr/>
                      </p:nvSpPr>
                      <p:spPr>
                        <a:xfrm>
                          <a:off x="4607605" y="4490693"/>
                          <a:ext cx="16515" cy="9500"/>
                        </a:xfrm>
                        <a:custGeom>
                          <a:avLst/>
                          <a:gdLst>
                            <a:gd name="connsiteX0" fmla="*/ 3862 w 16515"/>
                            <a:gd name="connsiteY0" fmla="*/ 301 h 9500"/>
                            <a:gd name="connsiteX1" fmla="*/ 471 w 16515"/>
                            <a:gd name="connsiteY1" fmla="*/ 2185 h 9500"/>
                            <a:gd name="connsiteX2" fmla="*/ 471 w 16515"/>
                            <a:gd name="connsiteY2" fmla="*/ 3566 h 9500"/>
                            <a:gd name="connsiteX3" fmla="*/ 10393 w 16515"/>
                            <a:gd name="connsiteY3" fmla="*/ 9218 h 9500"/>
                            <a:gd name="connsiteX4" fmla="*/ 12654 w 16515"/>
                            <a:gd name="connsiteY4" fmla="*/ 9218 h 9500"/>
                            <a:gd name="connsiteX5" fmla="*/ 16045 w 16515"/>
                            <a:gd name="connsiteY5" fmla="*/ 7208 h 9500"/>
                            <a:gd name="connsiteX6" fmla="*/ 16045 w 16515"/>
                            <a:gd name="connsiteY6" fmla="*/ 5827 h 9500"/>
                            <a:gd name="connsiteX7" fmla="*/ 6123 w 16515"/>
                            <a:gd name="connsiteY7" fmla="*/ 175 h 9500"/>
                            <a:gd name="connsiteX8" fmla="*/ 3862 w 16515"/>
                            <a:gd name="connsiteY8" fmla="*/ 301 h 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5" h="9500">
                              <a:moveTo>
                                <a:pt x="3862" y="301"/>
                              </a:moveTo>
                              <a:lnTo>
                                <a:pt x="471" y="2185"/>
                              </a:lnTo>
                              <a:cubicBezTo>
                                <a:pt x="-157" y="2561"/>
                                <a:pt x="-157" y="3189"/>
                                <a:pt x="471" y="3566"/>
                              </a:cubicBezTo>
                              <a:lnTo>
                                <a:pt x="10393" y="9218"/>
                              </a:lnTo>
                              <a:cubicBezTo>
                                <a:pt x="11021" y="9595"/>
                                <a:pt x="12026" y="9595"/>
                                <a:pt x="12654" y="9218"/>
                              </a:cubicBezTo>
                              <a:lnTo>
                                <a:pt x="16045" y="7208"/>
                              </a:lnTo>
                              <a:cubicBezTo>
                                <a:pt x="16673" y="6831"/>
                                <a:pt x="16673" y="6204"/>
                                <a:pt x="16045" y="5827"/>
                              </a:cubicBezTo>
                              <a:lnTo>
                                <a:pt x="6123" y="175"/>
                              </a:lnTo>
                              <a:cubicBezTo>
                                <a:pt x="5495" y="-76"/>
                                <a:pt x="4490" y="-76"/>
                                <a:pt x="3862" y="30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235" name="Graphic 4">
                      <a:extLst>
                        <a:ext uri="{FF2B5EF4-FFF2-40B4-BE49-F238E27FC236}">
                          <a16:creationId xmlns:a16="http://schemas.microsoft.com/office/drawing/2014/main" id="{84FB7ED1-A2DF-40A1-A747-5F7CF3F14040}"/>
                        </a:ext>
                      </a:extLst>
                    </p:cNvPr>
                    <p:cNvGrpSpPr/>
                    <p:nvPr/>
                  </p:nvGrpSpPr>
                  <p:grpSpPr>
                    <a:xfrm>
                      <a:off x="4543978" y="4461448"/>
                      <a:ext cx="74190" cy="44146"/>
                      <a:chOff x="4543978" y="4461448"/>
                      <a:chExt cx="74190" cy="44146"/>
                    </a:xfrm>
                    <a:solidFill>
                      <a:schemeClr val="accent1"/>
                    </a:solidFill>
                  </p:grpSpPr>
                  <p:grpSp>
                    <p:nvGrpSpPr>
                      <p:cNvPr id="3236" name="Graphic 4">
                        <a:extLst>
                          <a:ext uri="{FF2B5EF4-FFF2-40B4-BE49-F238E27FC236}">
                            <a16:creationId xmlns:a16="http://schemas.microsoft.com/office/drawing/2014/main" id="{84FB7ED1-A2DF-40A1-A747-5F7CF3F14040}"/>
                          </a:ext>
                        </a:extLst>
                      </p:cNvPr>
                      <p:cNvGrpSpPr/>
                      <p:nvPr/>
                    </p:nvGrpSpPr>
                    <p:grpSpPr>
                      <a:xfrm>
                        <a:off x="4543978" y="4461448"/>
                        <a:ext cx="10502" cy="7346"/>
                        <a:chOff x="4543978" y="4461448"/>
                        <a:chExt cx="10502" cy="7346"/>
                      </a:xfrm>
                      <a:solidFill>
                        <a:schemeClr val="accent1"/>
                      </a:solidFill>
                    </p:grpSpPr>
                    <p:sp>
                      <p:nvSpPr>
                        <p:cNvPr id="3237" name="Freeform: Shape 3236">
                          <a:extLst>
                            <a:ext uri="{FF2B5EF4-FFF2-40B4-BE49-F238E27FC236}">
                              <a16:creationId xmlns:a16="http://schemas.microsoft.com/office/drawing/2014/main" id="{8D2C79DF-C4B7-4FE4-A038-A4736DE16759}"/>
                            </a:ext>
                          </a:extLst>
                        </p:cNvPr>
                        <p:cNvSpPr/>
                        <p:nvPr/>
                      </p:nvSpPr>
                      <p:spPr>
                        <a:xfrm>
                          <a:off x="4543978" y="446282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8" name="Freeform: Shape 3237">
                          <a:extLst>
                            <a:ext uri="{FF2B5EF4-FFF2-40B4-BE49-F238E27FC236}">
                              <a16:creationId xmlns:a16="http://schemas.microsoft.com/office/drawing/2014/main" id="{130BEBEE-81B0-45DC-8C1C-07F025326F81}"/>
                            </a:ext>
                          </a:extLst>
                        </p:cNvPr>
                        <p:cNvSpPr/>
                        <p:nvPr/>
                      </p:nvSpPr>
                      <p:spPr>
                        <a:xfrm>
                          <a:off x="4543978" y="446282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9" name="Freeform: Shape 3238">
                          <a:extLst>
                            <a:ext uri="{FF2B5EF4-FFF2-40B4-BE49-F238E27FC236}">
                              <a16:creationId xmlns:a16="http://schemas.microsoft.com/office/drawing/2014/main" id="{28C9E030-5A4E-4A6D-9C2A-0FA8ECC69978}"/>
                            </a:ext>
                          </a:extLst>
                        </p:cNvPr>
                        <p:cNvSpPr/>
                        <p:nvPr/>
                      </p:nvSpPr>
                      <p:spPr>
                        <a:xfrm>
                          <a:off x="4544180" y="4461448"/>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40" name="Graphic 4">
                        <a:extLst>
                          <a:ext uri="{FF2B5EF4-FFF2-40B4-BE49-F238E27FC236}">
                            <a16:creationId xmlns:a16="http://schemas.microsoft.com/office/drawing/2014/main" id="{84FB7ED1-A2DF-40A1-A747-5F7CF3F14040}"/>
                          </a:ext>
                        </a:extLst>
                      </p:cNvPr>
                      <p:cNvGrpSpPr/>
                      <p:nvPr/>
                    </p:nvGrpSpPr>
                    <p:grpSpPr>
                      <a:xfrm>
                        <a:off x="4550258" y="4465090"/>
                        <a:ext cx="10514" cy="7347"/>
                        <a:chOff x="4550258" y="4465090"/>
                        <a:chExt cx="10514" cy="7347"/>
                      </a:xfrm>
                      <a:solidFill>
                        <a:schemeClr val="accent1"/>
                      </a:solidFill>
                    </p:grpSpPr>
                    <p:sp>
                      <p:nvSpPr>
                        <p:cNvPr id="3241" name="Freeform: Shape 3240">
                          <a:extLst>
                            <a:ext uri="{FF2B5EF4-FFF2-40B4-BE49-F238E27FC236}">
                              <a16:creationId xmlns:a16="http://schemas.microsoft.com/office/drawing/2014/main" id="{05FB38AE-6906-4AF4-8CBA-5AE38CC9B032}"/>
                            </a:ext>
                          </a:extLst>
                        </p:cNvPr>
                        <p:cNvSpPr/>
                        <p:nvPr/>
                      </p:nvSpPr>
                      <p:spPr>
                        <a:xfrm>
                          <a:off x="4550258" y="4466471"/>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2" name="Freeform: Shape 3241">
                          <a:extLst>
                            <a:ext uri="{FF2B5EF4-FFF2-40B4-BE49-F238E27FC236}">
                              <a16:creationId xmlns:a16="http://schemas.microsoft.com/office/drawing/2014/main" id="{5FBF0AD9-B486-41A8-A5E8-90C3ED1DD220}"/>
                            </a:ext>
                          </a:extLst>
                        </p:cNvPr>
                        <p:cNvSpPr/>
                        <p:nvPr/>
                      </p:nvSpPr>
                      <p:spPr>
                        <a:xfrm>
                          <a:off x="4550258" y="4466471"/>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3" name="Freeform: Shape 3242">
                          <a:extLst>
                            <a:ext uri="{FF2B5EF4-FFF2-40B4-BE49-F238E27FC236}">
                              <a16:creationId xmlns:a16="http://schemas.microsoft.com/office/drawing/2014/main" id="{D63A52B6-327C-4EB9-A7CE-F3CE693936C4}"/>
                            </a:ext>
                          </a:extLst>
                        </p:cNvPr>
                        <p:cNvSpPr/>
                        <p:nvPr/>
                      </p:nvSpPr>
                      <p:spPr>
                        <a:xfrm>
                          <a:off x="4550460" y="4465090"/>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7" y="3171"/>
                                <a:pt x="10267" y="2544"/>
                                <a:pt x="9639" y="2167"/>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44" name="Graphic 4">
                        <a:extLst>
                          <a:ext uri="{FF2B5EF4-FFF2-40B4-BE49-F238E27FC236}">
                            <a16:creationId xmlns:a16="http://schemas.microsoft.com/office/drawing/2014/main" id="{84FB7ED1-A2DF-40A1-A747-5F7CF3F14040}"/>
                          </a:ext>
                        </a:extLst>
                      </p:cNvPr>
                      <p:cNvGrpSpPr/>
                      <p:nvPr/>
                    </p:nvGrpSpPr>
                    <p:grpSpPr>
                      <a:xfrm>
                        <a:off x="4556537" y="4468732"/>
                        <a:ext cx="10514" cy="7347"/>
                        <a:chOff x="4556537" y="4468732"/>
                        <a:chExt cx="10514" cy="7347"/>
                      </a:xfrm>
                      <a:solidFill>
                        <a:schemeClr val="accent1"/>
                      </a:solidFill>
                    </p:grpSpPr>
                    <p:sp>
                      <p:nvSpPr>
                        <p:cNvPr id="3245" name="Freeform: Shape 3244">
                          <a:extLst>
                            <a:ext uri="{FF2B5EF4-FFF2-40B4-BE49-F238E27FC236}">
                              <a16:creationId xmlns:a16="http://schemas.microsoft.com/office/drawing/2014/main" id="{C3B60AFE-80EC-4C32-953E-908194112CD2}"/>
                            </a:ext>
                          </a:extLst>
                        </p:cNvPr>
                        <p:cNvSpPr/>
                        <p:nvPr/>
                      </p:nvSpPr>
                      <p:spPr>
                        <a:xfrm>
                          <a:off x="4556537" y="447011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6" name="Freeform: Shape 3245">
                          <a:extLst>
                            <a:ext uri="{FF2B5EF4-FFF2-40B4-BE49-F238E27FC236}">
                              <a16:creationId xmlns:a16="http://schemas.microsoft.com/office/drawing/2014/main" id="{B2AF040E-DD73-47E4-85A9-E0A96E8F1F1F}"/>
                            </a:ext>
                          </a:extLst>
                        </p:cNvPr>
                        <p:cNvSpPr/>
                        <p:nvPr/>
                      </p:nvSpPr>
                      <p:spPr>
                        <a:xfrm>
                          <a:off x="4556537" y="447011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7" name="Freeform: Shape 3246">
                          <a:extLst>
                            <a:ext uri="{FF2B5EF4-FFF2-40B4-BE49-F238E27FC236}">
                              <a16:creationId xmlns:a16="http://schemas.microsoft.com/office/drawing/2014/main" id="{23FCBCBC-C59A-411F-B71E-FF842E29FE92}"/>
                            </a:ext>
                          </a:extLst>
                        </p:cNvPr>
                        <p:cNvSpPr/>
                        <p:nvPr/>
                      </p:nvSpPr>
                      <p:spPr>
                        <a:xfrm>
                          <a:off x="4556740" y="4468732"/>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48" name="Graphic 4">
                        <a:extLst>
                          <a:ext uri="{FF2B5EF4-FFF2-40B4-BE49-F238E27FC236}">
                            <a16:creationId xmlns:a16="http://schemas.microsoft.com/office/drawing/2014/main" id="{84FB7ED1-A2DF-40A1-A747-5F7CF3F14040}"/>
                          </a:ext>
                        </a:extLst>
                      </p:cNvPr>
                      <p:cNvGrpSpPr/>
                      <p:nvPr/>
                    </p:nvGrpSpPr>
                    <p:grpSpPr>
                      <a:xfrm>
                        <a:off x="4562943" y="4472374"/>
                        <a:ext cx="10502" cy="7347"/>
                        <a:chOff x="4562943" y="4472374"/>
                        <a:chExt cx="10502" cy="7347"/>
                      </a:xfrm>
                      <a:solidFill>
                        <a:schemeClr val="accent1"/>
                      </a:solidFill>
                    </p:grpSpPr>
                    <p:sp>
                      <p:nvSpPr>
                        <p:cNvPr id="3249" name="Freeform: Shape 3248">
                          <a:extLst>
                            <a:ext uri="{FF2B5EF4-FFF2-40B4-BE49-F238E27FC236}">
                              <a16:creationId xmlns:a16="http://schemas.microsoft.com/office/drawing/2014/main" id="{64E0DA26-ABC8-4DCC-A43D-05647A02548D}"/>
                            </a:ext>
                          </a:extLst>
                        </p:cNvPr>
                        <p:cNvSpPr/>
                        <p:nvPr/>
                      </p:nvSpPr>
                      <p:spPr>
                        <a:xfrm>
                          <a:off x="4562943" y="4473756"/>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0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7 w 10502"/>
                            <a:gd name="connsiteY8" fmla="*/ 3674 h 5966"/>
                            <a:gd name="connsiteX9" fmla="*/ 4064 w 10502"/>
                            <a:gd name="connsiteY9" fmla="*/ 5683 h 5966"/>
                            <a:gd name="connsiteX10" fmla="*/ 6450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0" name="Freeform: Shape 3249">
                          <a:extLst>
                            <a:ext uri="{FF2B5EF4-FFF2-40B4-BE49-F238E27FC236}">
                              <a16:creationId xmlns:a16="http://schemas.microsoft.com/office/drawing/2014/main" id="{DB90BEC2-5E04-472E-B4FA-22EF7D3AE4BC}"/>
                            </a:ext>
                          </a:extLst>
                        </p:cNvPr>
                        <p:cNvSpPr/>
                        <p:nvPr/>
                      </p:nvSpPr>
                      <p:spPr>
                        <a:xfrm>
                          <a:off x="4562943" y="4473756"/>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0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7 w 10502"/>
                            <a:gd name="connsiteY8" fmla="*/ 3674 h 5966"/>
                            <a:gd name="connsiteX9" fmla="*/ 4064 w 10502"/>
                            <a:gd name="connsiteY9" fmla="*/ 5683 h 5966"/>
                            <a:gd name="connsiteX10" fmla="*/ 6450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1" name="Freeform: Shape 3250">
                          <a:extLst>
                            <a:ext uri="{FF2B5EF4-FFF2-40B4-BE49-F238E27FC236}">
                              <a16:creationId xmlns:a16="http://schemas.microsoft.com/office/drawing/2014/main" id="{E676D5C3-2F93-483D-83CD-D404697D972D}"/>
                            </a:ext>
                          </a:extLst>
                        </p:cNvPr>
                        <p:cNvSpPr/>
                        <p:nvPr/>
                      </p:nvSpPr>
                      <p:spPr>
                        <a:xfrm>
                          <a:off x="4563145" y="4472374"/>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52" name="Graphic 4">
                        <a:extLst>
                          <a:ext uri="{FF2B5EF4-FFF2-40B4-BE49-F238E27FC236}">
                            <a16:creationId xmlns:a16="http://schemas.microsoft.com/office/drawing/2014/main" id="{84FB7ED1-A2DF-40A1-A747-5F7CF3F14040}"/>
                          </a:ext>
                        </a:extLst>
                      </p:cNvPr>
                      <p:cNvGrpSpPr/>
                      <p:nvPr/>
                    </p:nvGrpSpPr>
                    <p:grpSpPr>
                      <a:xfrm>
                        <a:off x="4569222" y="4476016"/>
                        <a:ext cx="10514" cy="7473"/>
                        <a:chOff x="4569222" y="4476016"/>
                        <a:chExt cx="10514" cy="7473"/>
                      </a:xfrm>
                      <a:solidFill>
                        <a:schemeClr val="accent1"/>
                      </a:solidFill>
                    </p:grpSpPr>
                    <p:sp>
                      <p:nvSpPr>
                        <p:cNvPr id="3253" name="Freeform: Shape 3252">
                          <a:extLst>
                            <a:ext uri="{FF2B5EF4-FFF2-40B4-BE49-F238E27FC236}">
                              <a16:creationId xmlns:a16="http://schemas.microsoft.com/office/drawing/2014/main" id="{169B8204-222A-481B-BBEF-09318C309773}"/>
                            </a:ext>
                          </a:extLst>
                        </p:cNvPr>
                        <p:cNvSpPr/>
                        <p:nvPr/>
                      </p:nvSpPr>
                      <p:spPr>
                        <a:xfrm>
                          <a:off x="4569222" y="4477524"/>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4" name="Freeform: Shape 3253">
                          <a:extLst>
                            <a:ext uri="{FF2B5EF4-FFF2-40B4-BE49-F238E27FC236}">
                              <a16:creationId xmlns:a16="http://schemas.microsoft.com/office/drawing/2014/main" id="{4A18C346-7631-4D97-95B9-387B4BB0C0F8}"/>
                            </a:ext>
                          </a:extLst>
                        </p:cNvPr>
                        <p:cNvSpPr/>
                        <p:nvPr/>
                      </p:nvSpPr>
                      <p:spPr>
                        <a:xfrm>
                          <a:off x="4569222" y="4477524"/>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5" name="Freeform: Shape 3254">
                          <a:extLst>
                            <a:ext uri="{FF2B5EF4-FFF2-40B4-BE49-F238E27FC236}">
                              <a16:creationId xmlns:a16="http://schemas.microsoft.com/office/drawing/2014/main" id="{2AC0C06A-3482-4EC8-A1A8-E434C0C5D625}"/>
                            </a:ext>
                          </a:extLst>
                        </p:cNvPr>
                        <p:cNvSpPr/>
                        <p:nvPr/>
                      </p:nvSpPr>
                      <p:spPr>
                        <a:xfrm>
                          <a:off x="4569425" y="4476016"/>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3"/>
                                <a:pt x="-157" y="3171"/>
                                <a:pt x="471" y="3548"/>
                              </a:cubicBezTo>
                              <a:lnTo>
                                <a:pt x="3862" y="5432"/>
                              </a:lnTo>
                              <a:cubicBezTo>
                                <a:pt x="4490" y="5809"/>
                                <a:pt x="5495" y="5809"/>
                                <a:pt x="6248" y="5432"/>
                              </a:cubicBezTo>
                              <a:lnTo>
                                <a:pt x="9639" y="3548"/>
                              </a:lnTo>
                              <a:cubicBezTo>
                                <a:pt x="10267" y="3171"/>
                                <a:pt x="10267" y="2543"/>
                                <a:pt x="9639" y="2167"/>
                              </a:cubicBezTo>
                              <a:lnTo>
                                <a:pt x="6248" y="283"/>
                              </a:lnTo>
                              <a:cubicBezTo>
                                <a:pt x="5620" y="-94"/>
                                <a:pt x="4615"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56" name="Graphic 4">
                        <a:extLst>
                          <a:ext uri="{FF2B5EF4-FFF2-40B4-BE49-F238E27FC236}">
                            <a16:creationId xmlns:a16="http://schemas.microsoft.com/office/drawing/2014/main" id="{84FB7ED1-A2DF-40A1-A747-5F7CF3F14040}"/>
                          </a:ext>
                        </a:extLst>
                      </p:cNvPr>
                      <p:cNvGrpSpPr/>
                      <p:nvPr/>
                    </p:nvGrpSpPr>
                    <p:grpSpPr>
                      <a:xfrm>
                        <a:off x="4575628" y="4479784"/>
                        <a:ext cx="10514" cy="7347"/>
                        <a:chOff x="4575628" y="4479784"/>
                        <a:chExt cx="10514" cy="7347"/>
                      </a:xfrm>
                      <a:solidFill>
                        <a:schemeClr val="accent1"/>
                      </a:solidFill>
                    </p:grpSpPr>
                    <p:sp>
                      <p:nvSpPr>
                        <p:cNvPr id="3257" name="Freeform: Shape 3256">
                          <a:extLst>
                            <a:ext uri="{FF2B5EF4-FFF2-40B4-BE49-F238E27FC236}">
                              <a16:creationId xmlns:a16="http://schemas.microsoft.com/office/drawing/2014/main" id="{685AB377-4E91-40AA-BF3D-07A5505EDAEF}"/>
                            </a:ext>
                          </a:extLst>
                        </p:cNvPr>
                        <p:cNvSpPr/>
                        <p:nvPr/>
                      </p:nvSpPr>
                      <p:spPr>
                        <a:xfrm>
                          <a:off x="4575628" y="4481166"/>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8" name="Freeform: Shape 3257">
                          <a:extLst>
                            <a:ext uri="{FF2B5EF4-FFF2-40B4-BE49-F238E27FC236}">
                              <a16:creationId xmlns:a16="http://schemas.microsoft.com/office/drawing/2014/main" id="{474F03AB-1A0F-49B6-BB03-118049F3C95B}"/>
                            </a:ext>
                          </a:extLst>
                        </p:cNvPr>
                        <p:cNvSpPr/>
                        <p:nvPr/>
                      </p:nvSpPr>
                      <p:spPr>
                        <a:xfrm>
                          <a:off x="4575628" y="4481166"/>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9" name="Freeform: Shape 3258">
                          <a:extLst>
                            <a:ext uri="{FF2B5EF4-FFF2-40B4-BE49-F238E27FC236}">
                              <a16:creationId xmlns:a16="http://schemas.microsoft.com/office/drawing/2014/main" id="{0829762C-6441-4DD8-A967-C490CDB8BDF7}"/>
                            </a:ext>
                          </a:extLst>
                        </p:cNvPr>
                        <p:cNvSpPr/>
                        <p:nvPr/>
                      </p:nvSpPr>
                      <p:spPr>
                        <a:xfrm>
                          <a:off x="4575830" y="447978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60" name="Graphic 4">
                        <a:extLst>
                          <a:ext uri="{FF2B5EF4-FFF2-40B4-BE49-F238E27FC236}">
                            <a16:creationId xmlns:a16="http://schemas.microsoft.com/office/drawing/2014/main" id="{84FB7ED1-A2DF-40A1-A747-5F7CF3F14040}"/>
                          </a:ext>
                        </a:extLst>
                      </p:cNvPr>
                      <p:cNvGrpSpPr/>
                      <p:nvPr/>
                    </p:nvGrpSpPr>
                    <p:grpSpPr>
                      <a:xfrm>
                        <a:off x="4582033" y="4483427"/>
                        <a:ext cx="10502" cy="7346"/>
                        <a:chOff x="4582033" y="4483427"/>
                        <a:chExt cx="10502" cy="7346"/>
                      </a:xfrm>
                      <a:solidFill>
                        <a:schemeClr val="accent1"/>
                      </a:solidFill>
                    </p:grpSpPr>
                    <p:sp>
                      <p:nvSpPr>
                        <p:cNvPr id="3261" name="Freeform: Shape 3260">
                          <a:extLst>
                            <a:ext uri="{FF2B5EF4-FFF2-40B4-BE49-F238E27FC236}">
                              <a16:creationId xmlns:a16="http://schemas.microsoft.com/office/drawing/2014/main" id="{EEBBAE78-7747-404A-9BA4-40272B24AA57}"/>
                            </a:ext>
                          </a:extLst>
                        </p:cNvPr>
                        <p:cNvSpPr/>
                        <p:nvPr/>
                      </p:nvSpPr>
                      <p:spPr>
                        <a:xfrm>
                          <a:off x="4582033" y="448480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2" name="Freeform: Shape 3261">
                          <a:extLst>
                            <a:ext uri="{FF2B5EF4-FFF2-40B4-BE49-F238E27FC236}">
                              <a16:creationId xmlns:a16="http://schemas.microsoft.com/office/drawing/2014/main" id="{20B3A22C-A669-46D0-A5F4-1BD75A687CDF}"/>
                            </a:ext>
                          </a:extLst>
                        </p:cNvPr>
                        <p:cNvSpPr/>
                        <p:nvPr/>
                      </p:nvSpPr>
                      <p:spPr>
                        <a:xfrm>
                          <a:off x="4582033" y="448480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3" name="Freeform: Shape 3262">
                          <a:extLst>
                            <a:ext uri="{FF2B5EF4-FFF2-40B4-BE49-F238E27FC236}">
                              <a16:creationId xmlns:a16="http://schemas.microsoft.com/office/drawing/2014/main" id="{39B1C6EA-7EC3-4BFB-B386-6844BCC6A83A}"/>
                            </a:ext>
                          </a:extLst>
                        </p:cNvPr>
                        <p:cNvSpPr/>
                        <p:nvPr/>
                      </p:nvSpPr>
                      <p:spPr>
                        <a:xfrm>
                          <a:off x="4582235" y="448342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64" name="Graphic 4">
                        <a:extLst>
                          <a:ext uri="{FF2B5EF4-FFF2-40B4-BE49-F238E27FC236}">
                            <a16:creationId xmlns:a16="http://schemas.microsoft.com/office/drawing/2014/main" id="{84FB7ED1-A2DF-40A1-A747-5F7CF3F14040}"/>
                          </a:ext>
                        </a:extLst>
                      </p:cNvPr>
                      <p:cNvGrpSpPr/>
                      <p:nvPr/>
                    </p:nvGrpSpPr>
                    <p:grpSpPr>
                      <a:xfrm>
                        <a:off x="4588313" y="4487069"/>
                        <a:ext cx="10514" cy="7347"/>
                        <a:chOff x="4588313" y="4487069"/>
                        <a:chExt cx="10514" cy="7347"/>
                      </a:xfrm>
                      <a:solidFill>
                        <a:schemeClr val="accent1"/>
                      </a:solidFill>
                    </p:grpSpPr>
                    <p:sp>
                      <p:nvSpPr>
                        <p:cNvPr id="3265" name="Freeform: Shape 3264">
                          <a:extLst>
                            <a:ext uri="{FF2B5EF4-FFF2-40B4-BE49-F238E27FC236}">
                              <a16:creationId xmlns:a16="http://schemas.microsoft.com/office/drawing/2014/main" id="{9725734F-CC72-4C71-A366-0B8453C2CEB7}"/>
                            </a:ext>
                          </a:extLst>
                        </p:cNvPr>
                        <p:cNvSpPr/>
                        <p:nvPr/>
                      </p:nvSpPr>
                      <p:spPr>
                        <a:xfrm>
                          <a:off x="4588313" y="4488450"/>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6" name="Freeform: Shape 3265">
                          <a:extLst>
                            <a:ext uri="{FF2B5EF4-FFF2-40B4-BE49-F238E27FC236}">
                              <a16:creationId xmlns:a16="http://schemas.microsoft.com/office/drawing/2014/main" id="{2B145502-F106-471C-900C-D2597D396775}"/>
                            </a:ext>
                          </a:extLst>
                        </p:cNvPr>
                        <p:cNvSpPr/>
                        <p:nvPr/>
                      </p:nvSpPr>
                      <p:spPr>
                        <a:xfrm>
                          <a:off x="4588313" y="4488450"/>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7" name="Freeform: Shape 3266">
                          <a:extLst>
                            <a:ext uri="{FF2B5EF4-FFF2-40B4-BE49-F238E27FC236}">
                              <a16:creationId xmlns:a16="http://schemas.microsoft.com/office/drawing/2014/main" id="{C626E978-7DDB-4A34-8015-1224500EF655}"/>
                            </a:ext>
                          </a:extLst>
                        </p:cNvPr>
                        <p:cNvSpPr/>
                        <p:nvPr/>
                      </p:nvSpPr>
                      <p:spPr>
                        <a:xfrm>
                          <a:off x="4588515" y="4487069"/>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68" name="Graphic 4">
                        <a:extLst>
                          <a:ext uri="{FF2B5EF4-FFF2-40B4-BE49-F238E27FC236}">
                            <a16:creationId xmlns:a16="http://schemas.microsoft.com/office/drawing/2014/main" id="{84FB7ED1-A2DF-40A1-A747-5F7CF3F14040}"/>
                          </a:ext>
                        </a:extLst>
                      </p:cNvPr>
                      <p:cNvGrpSpPr/>
                      <p:nvPr/>
                    </p:nvGrpSpPr>
                    <p:grpSpPr>
                      <a:xfrm>
                        <a:off x="4594718" y="4490837"/>
                        <a:ext cx="10514" cy="7347"/>
                        <a:chOff x="4594718" y="4490837"/>
                        <a:chExt cx="10514" cy="7347"/>
                      </a:xfrm>
                      <a:solidFill>
                        <a:schemeClr val="accent1"/>
                      </a:solidFill>
                    </p:grpSpPr>
                    <p:sp>
                      <p:nvSpPr>
                        <p:cNvPr id="3269" name="Freeform: Shape 3268">
                          <a:extLst>
                            <a:ext uri="{FF2B5EF4-FFF2-40B4-BE49-F238E27FC236}">
                              <a16:creationId xmlns:a16="http://schemas.microsoft.com/office/drawing/2014/main" id="{CA3143C3-98CD-4B1E-9C31-7A3764EEB779}"/>
                            </a:ext>
                          </a:extLst>
                        </p:cNvPr>
                        <p:cNvSpPr/>
                        <p:nvPr/>
                      </p:nvSpPr>
                      <p:spPr>
                        <a:xfrm>
                          <a:off x="4594718" y="4492218"/>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046"/>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0" name="Freeform: Shape 3269">
                          <a:extLst>
                            <a:ext uri="{FF2B5EF4-FFF2-40B4-BE49-F238E27FC236}">
                              <a16:creationId xmlns:a16="http://schemas.microsoft.com/office/drawing/2014/main" id="{32F381FF-5CD5-4119-8279-0C1CEC909C9F}"/>
                            </a:ext>
                          </a:extLst>
                        </p:cNvPr>
                        <p:cNvSpPr/>
                        <p:nvPr/>
                      </p:nvSpPr>
                      <p:spPr>
                        <a:xfrm>
                          <a:off x="4594718" y="4492218"/>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046"/>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1" name="Freeform: Shape 3270">
                          <a:extLst>
                            <a:ext uri="{FF2B5EF4-FFF2-40B4-BE49-F238E27FC236}">
                              <a16:creationId xmlns:a16="http://schemas.microsoft.com/office/drawing/2014/main" id="{8EB523C9-56A4-464F-B97D-7C6313845139}"/>
                            </a:ext>
                          </a:extLst>
                        </p:cNvPr>
                        <p:cNvSpPr/>
                        <p:nvPr/>
                      </p:nvSpPr>
                      <p:spPr>
                        <a:xfrm>
                          <a:off x="4594920" y="449083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72" name="Graphic 4">
                        <a:extLst>
                          <a:ext uri="{FF2B5EF4-FFF2-40B4-BE49-F238E27FC236}">
                            <a16:creationId xmlns:a16="http://schemas.microsoft.com/office/drawing/2014/main" id="{84FB7ED1-A2DF-40A1-A747-5F7CF3F14040}"/>
                          </a:ext>
                        </a:extLst>
                      </p:cNvPr>
                      <p:cNvGrpSpPr/>
                      <p:nvPr/>
                    </p:nvGrpSpPr>
                    <p:grpSpPr>
                      <a:xfrm>
                        <a:off x="4600998" y="4494447"/>
                        <a:ext cx="17169" cy="11146"/>
                        <a:chOff x="4600998" y="4494447"/>
                        <a:chExt cx="17169" cy="11146"/>
                      </a:xfrm>
                      <a:solidFill>
                        <a:schemeClr val="accent1"/>
                      </a:solidFill>
                    </p:grpSpPr>
                    <p:sp>
                      <p:nvSpPr>
                        <p:cNvPr id="3273" name="Freeform: Shape 3272">
                          <a:extLst>
                            <a:ext uri="{FF2B5EF4-FFF2-40B4-BE49-F238E27FC236}">
                              <a16:creationId xmlns:a16="http://schemas.microsoft.com/office/drawing/2014/main" id="{A6783E83-09AC-48AF-924A-09BE8F59C1B7}"/>
                            </a:ext>
                          </a:extLst>
                        </p:cNvPr>
                        <p:cNvSpPr/>
                        <p:nvPr/>
                      </p:nvSpPr>
                      <p:spPr>
                        <a:xfrm>
                          <a:off x="4600998" y="4495861"/>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0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7 w 17169"/>
                            <a:gd name="connsiteY8" fmla="*/ 3673 h 9733"/>
                            <a:gd name="connsiteX9" fmla="*/ 10595 w 17169"/>
                            <a:gd name="connsiteY9" fmla="*/ 9451 h 9733"/>
                            <a:gd name="connsiteX10" fmla="*/ 12982 w 17169"/>
                            <a:gd name="connsiteY10" fmla="*/ 9451 h 9733"/>
                            <a:gd name="connsiteX11" fmla="*/ 16498 w 17169"/>
                            <a:gd name="connsiteY11" fmla="*/ 7442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0" y="283"/>
                              </a:lnTo>
                              <a:cubicBezTo>
                                <a:pt x="5823" y="-94"/>
                                <a:pt x="4692" y="-94"/>
                                <a:pt x="4064" y="283"/>
                              </a:cubicBezTo>
                              <a:lnTo>
                                <a:pt x="1929" y="1539"/>
                              </a:lnTo>
                              <a:lnTo>
                                <a:pt x="296" y="1539"/>
                              </a:lnTo>
                              <a:lnTo>
                                <a:pt x="45" y="2795"/>
                              </a:lnTo>
                              <a:cubicBezTo>
                                <a:pt x="-80" y="3171"/>
                                <a:pt x="45" y="3422"/>
                                <a:pt x="547" y="3673"/>
                              </a:cubicBezTo>
                              <a:lnTo>
                                <a:pt x="10595" y="9451"/>
                              </a:lnTo>
                              <a:cubicBezTo>
                                <a:pt x="11223" y="9828"/>
                                <a:pt x="12353" y="9828"/>
                                <a:pt x="12982" y="9451"/>
                              </a:cubicBezTo>
                              <a:lnTo>
                                <a:pt x="16498" y="7442"/>
                              </a:lnTo>
                              <a:cubicBezTo>
                                <a:pt x="17126" y="7190"/>
                                <a:pt x="17252" y="6813"/>
                                <a:pt x="17126" y="656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4" name="Freeform: Shape 3273">
                          <a:extLst>
                            <a:ext uri="{FF2B5EF4-FFF2-40B4-BE49-F238E27FC236}">
                              <a16:creationId xmlns:a16="http://schemas.microsoft.com/office/drawing/2014/main" id="{B6FA4851-0DD0-483A-9F55-CAC320792880}"/>
                            </a:ext>
                          </a:extLst>
                        </p:cNvPr>
                        <p:cNvSpPr/>
                        <p:nvPr/>
                      </p:nvSpPr>
                      <p:spPr>
                        <a:xfrm>
                          <a:off x="4600998" y="4495861"/>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0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7 w 17169"/>
                            <a:gd name="connsiteY8" fmla="*/ 3673 h 9733"/>
                            <a:gd name="connsiteX9" fmla="*/ 10595 w 17169"/>
                            <a:gd name="connsiteY9" fmla="*/ 9451 h 9733"/>
                            <a:gd name="connsiteX10" fmla="*/ 12982 w 17169"/>
                            <a:gd name="connsiteY10" fmla="*/ 9451 h 9733"/>
                            <a:gd name="connsiteX11" fmla="*/ 16498 w 17169"/>
                            <a:gd name="connsiteY11" fmla="*/ 7442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0" y="283"/>
                              </a:lnTo>
                              <a:cubicBezTo>
                                <a:pt x="5823" y="-94"/>
                                <a:pt x="4692" y="-94"/>
                                <a:pt x="4064" y="283"/>
                              </a:cubicBezTo>
                              <a:lnTo>
                                <a:pt x="1929" y="1539"/>
                              </a:lnTo>
                              <a:lnTo>
                                <a:pt x="296" y="1539"/>
                              </a:lnTo>
                              <a:lnTo>
                                <a:pt x="45" y="2795"/>
                              </a:lnTo>
                              <a:cubicBezTo>
                                <a:pt x="-80" y="3171"/>
                                <a:pt x="45" y="3422"/>
                                <a:pt x="547" y="3673"/>
                              </a:cubicBezTo>
                              <a:lnTo>
                                <a:pt x="10595" y="9451"/>
                              </a:lnTo>
                              <a:cubicBezTo>
                                <a:pt x="11223" y="9828"/>
                                <a:pt x="12353" y="9828"/>
                                <a:pt x="12982" y="9451"/>
                              </a:cubicBezTo>
                              <a:lnTo>
                                <a:pt x="16498" y="7442"/>
                              </a:lnTo>
                              <a:cubicBezTo>
                                <a:pt x="17126" y="7190"/>
                                <a:pt x="17252" y="6813"/>
                                <a:pt x="17126" y="6562"/>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5" name="Freeform: Shape 3274">
                          <a:extLst>
                            <a:ext uri="{FF2B5EF4-FFF2-40B4-BE49-F238E27FC236}">
                              <a16:creationId xmlns:a16="http://schemas.microsoft.com/office/drawing/2014/main" id="{19EEFF43-5E8C-44F7-994C-143DCAB6B077}"/>
                            </a:ext>
                          </a:extLst>
                        </p:cNvPr>
                        <p:cNvSpPr/>
                        <p:nvPr/>
                      </p:nvSpPr>
                      <p:spPr>
                        <a:xfrm>
                          <a:off x="4601326" y="4494447"/>
                          <a:ext cx="16641" cy="9388"/>
                        </a:xfrm>
                        <a:custGeom>
                          <a:avLst/>
                          <a:gdLst>
                            <a:gd name="connsiteX0" fmla="*/ 3862 w 16641"/>
                            <a:gd name="connsiteY0" fmla="*/ 189 h 9388"/>
                            <a:gd name="connsiteX1" fmla="*/ 471 w 16641"/>
                            <a:gd name="connsiteY1" fmla="*/ 2072 h 9388"/>
                            <a:gd name="connsiteX2" fmla="*/ 471 w 16641"/>
                            <a:gd name="connsiteY2" fmla="*/ 3454 h 9388"/>
                            <a:gd name="connsiteX3" fmla="*/ 10393 w 16641"/>
                            <a:gd name="connsiteY3" fmla="*/ 9106 h 9388"/>
                            <a:gd name="connsiteX4" fmla="*/ 12779 w 16641"/>
                            <a:gd name="connsiteY4" fmla="*/ 9106 h 9388"/>
                            <a:gd name="connsiteX5" fmla="*/ 16171 w 16641"/>
                            <a:gd name="connsiteY5" fmla="*/ 7222 h 9388"/>
                            <a:gd name="connsiteX6" fmla="*/ 16171 w 16641"/>
                            <a:gd name="connsiteY6" fmla="*/ 5840 h 9388"/>
                            <a:gd name="connsiteX7" fmla="*/ 6248 w 16641"/>
                            <a:gd name="connsiteY7" fmla="*/ 189 h 9388"/>
                            <a:gd name="connsiteX8" fmla="*/ 3862 w 16641"/>
                            <a:gd name="connsiteY8" fmla="*/ 189 h 9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41" h="9388">
                              <a:moveTo>
                                <a:pt x="3862" y="189"/>
                              </a:moveTo>
                              <a:lnTo>
                                <a:pt x="471" y="2072"/>
                              </a:lnTo>
                              <a:cubicBezTo>
                                <a:pt x="-157" y="2449"/>
                                <a:pt x="-157" y="3077"/>
                                <a:pt x="471" y="3454"/>
                              </a:cubicBezTo>
                              <a:lnTo>
                                <a:pt x="10393" y="9106"/>
                              </a:lnTo>
                              <a:cubicBezTo>
                                <a:pt x="11021" y="9482"/>
                                <a:pt x="12026" y="9482"/>
                                <a:pt x="12779" y="9106"/>
                              </a:cubicBezTo>
                              <a:lnTo>
                                <a:pt x="16171" y="7222"/>
                              </a:lnTo>
                              <a:cubicBezTo>
                                <a:pt x="16798" y="6845"/>
                                <a:pt x="16798" y="6217"/>
                                <a:pt x="16171" y="5840"/>
                              </a:cubicBezTo>
                              <a:lnTo>
                                <a:pt x="6248" y="189"/>
                              </a:lnTo>
                              <a:cubicBezTo>
                                <a:pt x="5495" y="-63"/>
                                <a:pt x="4490" y="-63"/>
                                <a:pt x="3862" y="18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276" name="Graphic 4">
                      <a:extLst>
                        <a:ext uri="{FF2B5EF4-FFF2-40B4-BE49-F238E27FC236}">
                          <a16:creationId xmlns:a16="http://schemas.microsoft.com/office/drawing/2014/main" id="{84FB7ED1-A2DF-40A1-A747-5F7CF3F14040}"/>
                        </a:ext>
                      </a:extLst>
                    </p:cNvPr>
                    <p:cNvGrpSpPr/>
                    <p:nvPr/>
                  </p:nvGrpSpPr>
                  <p:grpSpPr>
                    <a:xfrm>
                      <a:off x="4537698" y="4465104"/>
                      <a:ext cx="74555" cy="47900"/>
                      <a:chOff x="4537698" y="4465104"/>
                      <a:chExt cx="74555" cy="47900"/>
                    </a:xfrm>
                    <a:solidFill>
                      <a:schemeClr val="accent1"/>
                    </a:solidFill>
                  </p:grpSpPr>
                  <p:grpSp>
                    <p:nvGrpSpPr>
                      <p:cNvPr id="3277" name="Graphic 4">
                        <a:extLst>
                          <a:ext uri="{FF2B5EF4-FFF2-40B4-BE49-F238E27FC236}">
                            <a16:creationId xmlns:a16="http://schemas.microsoft.com/office/drawing/2014/main" id="{84FB7ED1-A2DF-40A1-A747-5F7CF3F14040}"/>
                          </a:ext>
                        </a:extLst>
                      </p:cNvPr>
                      <p:cNvGrpSpPr/>
                      <p:nvPr/>
                    </p:nvGrpSpPr>
                    <p:grpSpPr>
                      <a:xfrm>
                        <a:off x="4537698" y="4465104"/>
                        <a:ext cx="61838" cy="37099"/>
                        <a:chOff x="4537698" y="4465104"/>
                        <a:chExt cx="61838" cy="37099"/>
                      </a:xfrm>
                      <a:solidFill>
                        <a:schemeClr val="accent1"/>
                      </a:solidFill>
                    </p:grpSpPr>
                    <p:grpSp>
                      <p:nvGrpSpPr>
                        <p:cNvPr id="3278" name="Graphic 4">
                          <a:extLst>
                            <a:ext uri="{FF2B5EF4-FFF2-40B4-BE49-F238E27FC236}">
                              <a16:creationId xmlns:a16="http://schemas.microsoft.com/office/drawing/2014/main" id="{84FB7ED1-A2DF-40A1-A747-5F7CF3F14040}"/>
                            </a:ext>
                          </a:extLst>
                        </p:cNvPr>
                        <p:cNvGrpSpPr/>
                        <p:nvPr/>
                      </p:nvGrpSpPr>
                      <p:grpSpPr>
                        <a:xfrm>
                          <a:off x="4537698" y="4465104"/>
                          <a:ext cx="11142" cy="7710"/>
                          <a:chOff x="4537698" y="4465104"/>
                          <a:chExt cx="11142" cy="7710"/>
                        </a:xfrm>
                        <a:solidFill>
                          <a:schemeClr val="accent1"/>
                        </a:solidFill>
                      </p:grpSpPr>
                      <p:sp>
                        <p:nvSpPr>
                          <p:cNvPr id="3279" name="Freeform: Shape 3278">
                            <a:extLst>
                              <a:ext uri="{FF2B5EF4-FFF2-40B4-BE49-F238E27FC236}">
                                <a16:creationId xmlns:a16="http://schemas.microsoft.com/office/drawing/2014/main" id="{6478C301-290C-4513-BEBA-DBE72338502D}"/>
                              </a:ext>
                            </a:extLst>
                          </p:cNvPr>
                          <p:cNvSpPr/>
                          <p:nvPr/>
                        </p:nvSpPr>
                        <p:spPr>
                          <a:xfrm>
                            <a:off x="4537698" y="4466598"/>
                            <a:ext cx="11142" cy="6215"/>
                          </a:xfrm>
                          <a:custGeom>
                            <a:avLst/>
                            <a:gdLst>
                              <a:gd name="connsiteX0" fmla="*/ 11098 w 11142"/>
                              <a:gd name="connsiteY0" fmla="*/ 3044 h 6215"/>
                              <a:gd name="connsiteX1" fmla="*/ 10846 w 11142"/>
                              <a:gd name="connsiteY1" fmla="*/ 1789 h 6215"/>
                              <a:gd name="connsiteX2" fmla="*/ 9214 w 11142"/>
                              <a:gd name="connsiteY2" fmla="*/ 1789 h 6215"/>
                              <a:gd name="connsiteX3" fmla="*/ 7079 w 11142"/>
                              <a:gd name="connsiteY3" fmla="*/ 533 h 6215"/>
                              <a:gd name="connsiteX4" fmla="*/ 4064 w 11142"/>
                              <a:gd name="connsiteY4" fmla="*/ 156 h 6215"/>
                              <a:gd name="connsiteX5" fmla="*/ 1929 w 11142"/>
                              <a:gd name="connsiteY5" fmla="*/ 1412 h 6215"/>
                              <a:gd name="connsiteX6" fmla="*/ 296 w 11142"/>
                              <a:gd name="connsiteY6" fmla="*/ 1412 h 6215"/>
                              <a:gd name="connsiteX7" fmla="*/ 45 w 11142"/>
                              <a:gd name="connsiteY7" fmla="*/ 2668 h 6215"/>
                              <a:gd name="connsiteX8" fmla="*/ 548 w 11142"/>
                              <a:gd name="connsiteY8" fmla="*/ 3547 h 6215"/>
                              <a:gd name="connsiteX9" fmla="*/ 4692 w 11142"/>
                              <a:gd name="connsiteY9" fmla="*/ 5933 h 6215"/>
                              <a:gd name="connsiteX10" fmla="*/ 7079 w 11142"/>
                              <a:gd name="connsiteY10" fmla="*/ 5933 h 6215"/>
                              <a:gd name="connsiteX11" fmla="*/ 10595 w 11142"/>
                              <a:gd name="connsiteY11" fmla="*/ 3924 h 6215"/>
                              <a:gd name="connsiteX12" fmla="*/ 11098 w 11142"/>
                              <a:gd name="connsiteY12" fmla="*/ 3044 h 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42" h="6215">
                                <a:moveTo>
                                  <a:pt x="11098" y="3044"/>
                                </a:moveTo>
                                <a:lnTo>
                                  <a:pt x="10846" y="1789"/>
                                </a:lnTo>
                                <a:lnTo>
                                  <a:pt x="9214" y="1789"/>
                                </a:lnTo>
                                <a:lnTo>
                                  <a:pt x="7079" y="533"/>
                                </a:lnTo>
                                <a:cubicBezTo>
                                  <a:pt x="6451" y="156"/>
                                  <a:pt x="4692" y="-221"/>
                                  <a:pt x="4064" y="156"/>
                                </a:cubicBezTo>
                                <a:lnTo>
                                  <a:pt x="1929" y="1412"/>
                                </a:lnTo>
                                <a:lnTo>
                                  <a:pt x="296" y="1412"/>
                                </a:lnTo>
                                <a:lnTo>
                                  <a:pt x="45" y="2668"/>
                                </a:lnTo>
                                <a:cubicBezTo>
                                  <a:pt x="-80" y="3044"/>
                                  <a:pt x="45" y="3296"/>
                                  <a:pt x="548" y="3547"/>
                                </a:cubicBezTo>
                                <a:lnTo>
                                  <a:pt x="4692" y="5933"/>
                                </a:lnTo>
                                <a:cubicBezTo>
                                  <a:pt x="5320" y="6310"/>
                                  <a:pt x="6451" y="6310"/>
                                  <a:pt x="7079" y="5933"/>
                                </a:cubicBezTo>
                                <a:lnTo>
                                  <a:pt x="10595" y="3924"/>
                                </a:lnTo>
                                <a:cubicBezTo>
                                  <a:pt x="11098" y="3673"/>
                                  <a:pt x="11223" y="3296"/>
                                  <a:pt x="11098" y="304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0" name="Freeform: Shape 3279">
                            <a:extLst>
                              <a:ext uri="{FF2B5EF4-FFF2-40B4-BE49-F238E27FC236}">
                                <a16:creationId xmlns:a16="http://schemas.microsoft.com/office/drawing/2014/main" id="{A4BBAE90-9284-4E0A-B7D9-6A66D6E3B5C3}"/>
                              </a:ext>
                            </a:extLst>
                          </p:cNvPr>
                          <p:cNvSpPr/>
                          <p:nvPr/>
                        </p:nvSpPr>
                        <p:spPr>
                          <a:xfrm>
                            <a:off x="4537698" y="4466471"/>
                            <a:ext cx="11142" cy="6342"/>
                          </a:xfrm>
                          <a:custGeom>
                            <a:avLst/>
                            <a:gdLst>
                              <a:gd name="connsiteX0" fmla="*/ 11098 w 11142"/>
                              <a:gd name="connsiteY0" fmla="*/ 3171 h 6342"/>
                              <a:gd name="connsiteX1" fmla="*/ 10846 w 11142"/>
                              <a:gd name="connsiteY1" fmla="*/ 1915 h 6342"/>
                              <a:gd name="connsiteX2" fmla="*/ 9214 w 11142"/>
                              <a:gd name="connsiteY2" fmla="*/ 1915 h 6342"/>
                              <a:gd name="connsiteX3" fmla="*/ 6451 w 11142"/>
                              <a:gd name="connsiteY3" fmla="*/ 283 h 6342"/>
                              <a:gd name="connsiteX4" fmla="*/ 4064 w 11142"/>
                              <a:gd name="connsiteY4" fmla="*/ 283 h 6342"/>
                              <a:gd name="connsiteX5" fmla="*/ 1929 w 11142"/>
                              <a:gd name="connsiteY5" fmla="*/ 1539 h 6342"/>
                              <a:gd name="connsiteX6" fmla="*/ 296 w 11142"/>
                              <a:gd name="connsiteY6" fmla="*/ 1539 h 6342"/>
                              <a:gd name="connsiteX7" fmla="*/ 45 w 11142"/>
                              <a:gd name="connsiteY7" fmla="*/ 2794 h 6342"/>
                              <a:gd name="connsiteX8" fmla="*/ 548 w 11142"/>
                              <a:gd name="connsiteY8" fmla="*/ 3673 h 6342"/>
                              <a:gd name="connsiteX9" fmla="*/ 4692 w 11142"/>
                              <a:gd name="connsiteY9" fmla="*/ 6060 h 6342"/>
                              <a:gd name="connsiteX10" fmla="*/ 7079 w 11142"/>
                              <a:gd name="connsiteY10" fmla="*/ 6060 h 6342"/>
                              <a:gd name="connsiteX11" fmla="*/ 10595 w 11142"/>
                              <a:gd name="connsiteY11" fmla="*/ 4050 h 6342"/>
                              <a:gd name="connsiteX12" fmla="*/ 11098 w 11142"/>
                              <a:gd name="connsiteY12" fmla="*/ 3171 h 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42" h="6342">
                                <a:moveTo>
                                  <a:pt x="11098" y="3171"/>
                                </a:moveTo>
                                <a:lnTo>
                                  <a:pt x="10846" y="1915"/>
                                </a:lnTo>
                                <a:lnTo>
                                  <a:pt x="9214" y="1915"/>
                                </a:lnTo>
                                <a:lnTo>
                                  <a:pt x="6451" y="283"/>
                                </a:lnTo>
                                <a:cubicBezTo>
                                  <a:pt x="5823" y="-94"/>
                                  <a:pt x="4692" y="-94"/>
                                  <a:pt x="4064" y="283"/>
                                </a:cubicBezTo>
                                <a:lnTo>
                                  <a:pt x="1929" y="1539"/>
                                </a:lnTo>
                                <a:lnTo>
                                  <a:pt x="296" y="1539"/>
                                </a:lnTo>
                                <a:lnTo>
                                  <a:pt x="45" y="2794"/>
                                </a:lnTo>
                                <a:cubicBezTo>
                                  <a:pt x="-80" y="3171"/>
                                  <a:pt x="45" y="3422"/>
                                  <a:pt x="548" y="3673"/>
                                </a:cubicBezTo>
                                <a:lnTo>
                                  <a:pt x="4692" y="6060"/>
                                </a:lnTo>
                                <a:cubicBezTo>
                                  <a:pt x="5320" y="6437"/>
                                  <a:pt x="6451" y="6437"/>
                                  <a:pt x="7079" y="6060"/>
                                </a:cubicBezTo>
                                <a:lnTo>
                                  <a:pt x="10595" y="4050"/>
                                </a:lnTo>
                                <a:cubicBezTo>
                                  <a:pt x="11098" y="3799"/>
                                  <a:pt x="11223" y="3422"/>
                                  <a:pt x="11098" y="317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1" name="Freeform: Shape 3280">
                            <a:extLst>
                              <a:ext uri="{FF2B5EF4-FFF2-40B4-BE49-F238E27FC236}">
                                <a16:creationId xmlns:a16="http://schemas.microsoft.com/office/drawing/2014/main" id="{8282E0B4-460C-4D62-8BD2-4B0A9EB27D6F}"/>
                              </a:ext>
                            </a:extLst>
                          </p:cNvPr>
                          <p:cNvSpPr/>
                          <p:nvPr/>
                        </p:nvSpPr>
                        <p:spPr>
                          <a:xfrm>
                            <a:off x="4538026" y="4465104"/>
                            <a:ext cx="10738" cy="6203"/>
                          </a:xfrm>
                          <a:custGeom>
                            <a:avLst/>
                            <a:gdLst>
                              <a:gd name="connsiteX0" fmla="*/ 3862 w 10738"/>
                              <a:gd name="connsiteY0" fmla="*/ 269 h 6203"/>
                              <a:gd name="connsiteX1" fmla="*/ 471 w 10738"/>
                              <a:gd name="connsiteY1" fmla="*/ 2278 h 6203"/>
                              <a:gd name="connsiteX2" fmla="*/ 471 w 10738"/>
                              <a:gd name="connsiteY2" fmla="*/ 3660 h 6203"/>
                              <a:gd name="connsiteX3" fmla="*/ 4490 w 10738"/>
                              <a:gd name="connsiteY3" fmla="*/ 5920 h 6203"/>
                              <a:gd name="connsiteX4" fmla="*/ 6876 w 10738"/>
                              <a:gd name="connsiteY4" fmla="*/ 5920 h 6203"/>
                              <a:gd name="connsiteX5" fmla="*/ 10267 w 10738"/>
                              <a:gd name="connsiteY5" fmla="*/ 4037 h 6203"/>
                              <a:gd name="connsiteX6" fmla="*/ 10267 w 10738"/>
                              <a:gd name="connsiteY6" fmla="*/ 2655 h 6203"/>
                              <a:gd name="connsiteX7" fmla="*/ 6248 w 10738"/>
                              <a:gd name="connsiteY7" fmla="*/ 394 h 6203"/>
                              <a:gd name="connsiteX8" fmla="*/ 3862 w 10738"/>
                              <a:gd name="connsiteY8" fmla="*/ 269 h 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38" h="6203">
                                <a:moveTo>
                                  <a:pt x="3862" y="269"/>
                                </a:moveTo>
                                <a:lnTo>
                                  <a:pt x="471" y="2278"/>
                                </a:lnTo>
                                <a:cubicBezTo>
                                  <a:pt x="-157" y="2655"/>
                                  <a:pt x="-157" y="3283"/>
                                  <a:pt x="471" y="3660"/>
                                </a:cubicBezTo>
                                <a:lnTo>
                                  <a:pt x="4490" y="5920"/>
                                </a:lnTo>
                                <a:cubicBezTo>
                                  <a:pt x="5118" y="6297"/>
                                  <a:pt x="6123" y="6297"/>
                                  <a:pt x="6876" y="5920"/>
                                </a:cubicBezTo>
                                <a:lnTo>
                                  <a:pt x="10267" y="4037"/>
                                </a:lnTo>
                                <a:cubicBezTo>
                                  <a:pt x="10895" y="3660"/>
                                  <a:pt x="10895" y="3032"/>
                                  <a:pt x="10267" y="2655"/>
                                </a:cubicBezTo>
                                <a:lnTo>
                                  <a:pt x="6248" y="394"/>
                                </a:lnTo>
                                <a:cubicBezTo>
                                  <a:pt x="5495"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82" name="Graphic 4">
                          <a:extLst>
                            <a:ext uri="{FF2B5EF4-FFF2-40B4-BE49-F238E27FC236}">
                              <a16:creationId xmlns:a16="http://schemas.microsoft.com/office/drawing/2014/main" id="{84FB7ED1-A2DF-40A1-A747-5F7CF3F14040}"/>
                            </a:ext>
                          </a:extLst>
                        </p:cNvPr>
                        <p:cNvGrpSpPr/>
                        <p:nvPr/>
                      </p:nvGrpSpPr>
                      <p:grpSpPr>
                        <a:xfrm>
                          <a:off x="4544480" y="4469203"/>
                          <a:ext cx="10514" cy="7378"/>
                          <a:chOff x="4544480" y="4469203"/>
                          <a:chExt cx="10514" cy="7378"/>
                        </a:xfrm>
                        <a:solidFill>
                          <a:schemeClr val="accent1"/>
                        </a:solidFill>
                      </p:grpSpPr>
                      <p:sp>
                        <p:nvSpPr>
                          <p:cNvPr id="3283" name="Freeform: Shape 3282">
                            <a:extLst>
                              <a:ext uri="{FF2B5EF4-FFF2-40B4-BE49-F238E27FC236}">
                                <a16:creationId xmlns:a16="http://schemas.microsoft.com/office/drawing/2014/main" id="{C0F81227-6A7E-4BC8-AF34-A461399D8361}"/>
                              </a:ext>
                            </a:extLst>
                          </p:cNvPr>
                          <p:cNvSpPr/>
                          <p:nvPr/>
                        </p:nvSpPr>
                        <p:spPr>
                          <a:xfrm>
                            <a:off x="4544480" y="4470616"/>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4" name="Freeform: Shape 3283">
                            <a:extLst>
                              <a:ext uri="{FF2B5EF4-FFF2-40B4-BE49-F238E27FC236}">
                                <a16:creationId xmlns:a16="http://schemas.microsoft.com/office/drawing/2014/main" id="{43DCA5DC-D9AC-4259-8A6B-7C854B6EE272}"/>
                              </a:ext>
                            </a:extLst>
                          </p:cNvPr>
                          <p:cNvSpPr/>
                          <p:nvPr/>
                        </p:nvSpPr>
                        <p:spPr>
                          <a:xfrm>
                            <a:off x="4544480" y="4470616"/>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5" name="Freeform: Shape 3284">
                            <a:extLst>
                              <a:ext uri="{FF2B5EF4-FFF2-40B4-BE49-F238E27FC236}">
                                <a16:creationId xmlns:a16="http://schemas.microsoft.com/office/drawing/2014/main" id="{79A90582-B81E-4076-971E-8CE26FA842CC}"/>
                              </a:ext>
                            </a:extLst>
                          </p:cNvPr>
                          <p:cNvSpPr/>
                          <p:nvPr/>
                        </p:nvSpPr>
                        <p:spPr>
                          <a:xfrm>
                            <a:off x="4544683" y="4469203"/>
                            <a:ext cx="9984" cy="5620"/>
                          </a:xfrm>
                          <a:custGeom>
                            <a:avLst/>
                            <a:gdLst>
                              <a:gd name="connsiteX0" fmla="*/ 3862 w 9984"/>
                              <a:gd name="connsiteY0" fmla="*/ 188 h 5620"/>
                              <a:gd name="connsiteX1" fmla="*/ 471 w 9984"/>
                              <a:gd name="connsiteY1" fmla="*/ 2072 h 5620"/>
                              <a:gd name="connsiteX2" fmla="*/ 471 w 9984"/>
                              <a:gd name="connsiteY2" fmla="*/ 3454 h 5620"/>
                              <a:gd name="connsiteX3" fmla="*/ 3862 w 9984"/>
                              <a:gd name="connsiteY3" fmla="*/ 5338 h 5620"/>
                              <a:gd name="connsiteX4" fmla="*/ 6123 w 9984"/>
                              <a:gd name="connsiteY4" fmla="*/ 5338 h 5620"/>
                              <a:gd name="connsiteX5" fmla="*/ 9514 w 9984"/>
                              <a:gd name="connsiteY5" fmla="*/ 3454 h 5620"/>
                              <a:gd name="connsiteX6" fmla="*/ 9514 w 9984"/>
                              <a:gd name="connsiteY6" fmla="*/ 2072 h 5620"/>
                              <a:gd name="connsiteX7" fmla="*/ 6123 w 9984"/>
                              <a:gd name="connsiteY7" fmla="*/ 188 h 5620"/>
                              <a:gd name="connsiteX8" fmla="*/ 3862 w 9984"/>
                              <a:gd name="connsiteY8" fmla="*/ 188 h 5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620">
                                <a:moveTo>
                                  <a:pt x="3862" y="188"/>
                                </a:moveTo>
                                <a:lnTo>
                                  <a:pt x="471" y="2072"/>
                                </a:lnTo>
                                <a:cubicBezTo>
                                  <a:pt x="-157" y="2449"/>
                                  <a:pt x="-157" y="3077"/>
                                  <a:pt x="471" y="3454"/>
                                </a:cubicBezTo>
                                <a:lnTo>
                                  <a:pt x="3862" y="5338"/>
                                </a:lnTo>
                                <a:cubicBezTo>
                                  <a:pt x="4490" y="5714"/>
                                  <a:pt x="5495" y="5714"/>
                                  <a:pt x="6123" y="5338"/>
                                </a:cubicBezTo>
                                <a:lnTo>
                                  <a:pt x="9514" y="3454"/>
                                </a:lnTo>
                                <a:cubicBezTo>
                                  <a:pt x="10142" y="3077"/>
                                  <a:pt x="10142" y="2449"/>
                                  <a:pt x="9514" y="2072"/>
                                </a:cubicBezTo>
                                <a:lnTo>
                                  <a:pt x="6123" y="188"/>
                                </a:lnTo>
                                <a:cubicBezTo>
                                  <a:pt x="5620" y="-63"/>
                                  <a:pt x="4490" y="-63"/>
                                  <a:pt x="3862" y="18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86" name="Graphic 4">
                          <a:extLst>
                            <a:ext uri="{FF2B5EF4-FFF2-40B4-BE49-F238E27FC236}">
                              <a16:creationId xmlns:a16="http://schemas.microsoft.com/office/drawing/2014/main" id="{84FB7ED1-A2DF-40A1-A747-5F7CF3F14040}"/>
                            </a:ext>
                          </a:extLst>
                        </p:cNvPr>
                        <p:cNvGrpSpPr/>
                        <p:nvPr/>
                      </p:nvGrpSpPr>
                      <p:grpSpPr>
                        <a:xfrm>
                          <a:off x="4550885" y="4472877"/>
                          <a:ext cx="10502" cy="7347"/>
                          <a:chOff x="4550885" y="4472877"/>
                          <a:chExt cx="10502" cy="7347"/>
                        </a:xfrm>
                        <a:solidFill>
                          <a:schemeClr val="accent1"/>
                        </a:solidFill>
                      </p:grpSpPr>
                      <p:sp>
                        <p:nvSpPr>
                          <p:cNvPr id="3287" name="Freeform: Shape 3286">
                            <a:extLst>
                              <a:ext uri="{FF2B5EF4-FFF2-40B4-BE49-F238E27FC236}">
                                <a16:creationId xmlns:a16="http://schemas.microsoft.com/office/drawing/2014/main" id="{EC2AD265-EC7F-4744-B3A9-360B44607DE7}"/>
                              </a:ext>
                            </a:extLst>
                          </p:cNvPr>
                          <p:cNvSpPr/>
                          <p:nvPr/>
                        </p:nvSpPr>
                        <p:spPr>
                          <a:xfrm>
                            <a:off x="4550885" y="447425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8" name="Freeform: Shape 3287">
                            <a:extLst>
                              <a:ext uri="{FF2B5EF4-FFF2-40B4-BE49-F238E27FC236}">
                                <a16:creationId xmlns:a16="http://schemas.microsoft.com/office/drawing/2014/main" id="{D7F5F1F0-4EBF-4D7D-8D8B-126BD1C0520F}"/>
                              </a:ext>
                            </a:extLst>
                          </p:cNvPr>
                          <p:cNvSpPr/>
                          <p:nvPr/>
                        </p:nvSpPr>
                        <p:spPr>
                          <a:xfrm>
                            <a:off x="4550885" y="447425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9" name="Freeform: Shape 3288">
                            <a:extLst>
                              <a:ext uri="{FF2B5EF4-FFF2-40B4-BE49-F238E27FC236}">
                                <a16:creationId xmlns:a16="http://schemas.microsoft.com/office/drawing/2014/main" id="{7507DB79-E134-4A16-9B3F-2FCEAF167DA3}"/>
                              </a:ext>
                            </a:extLst>
                          </p:cNvPr>
                          <p:cNvSpPr/>
                          <p:nvPr/>
                        </p:nvSpPr>
                        <p:spPr>
                          <a:xfrm>
                            <a:off x="4551088" y="4472877"/>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3"/>
                                  <a:pt x="-157" y="3171"/>
                                  <a:pt x="471" y="3548"/>
                                </a:cubicBezTo>
                                <a:lnTo>
                                  <a:pt x="3862" y="5432"/>
                                </a:lnTo>
                                <a:cubicBezTo>
                                  <a:pt x="4490" y="5809"/>
                                  <a:pt x="5495" y="5809"/>
                                  <a:pt x="6123" y="5432"/>
                                </a:cubicBezTo>
                                <a:lnTo>
                                  <a:pt x="9514" y="3548"/>
                                </a:lnTo>
                                <a:cubicBezTo>
                                  <a:pt x="10142" y="3171"/>
                                  <a:pt x="10142" y="2543"/>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90" name="Graphic 4">
                          <a:extLst>
                            <a:ext uri="{FF2B5EF4-FFF2-40B4-BE49-F238E27FC236}">
                              <a16:creationId xmlns:a16="http://schemas.microsoft.com/office/drawing/2014/main" id="{84FB7ED1-A2DF-40A1-A747-5F7CF3F14040}"/>
                            </a:ext>
                          </a:extLst>
                        </p:cNvPr>
                        <p:cNvGrpSpPr/>
                        <p:nvPr/>
                      </p:nvGrpSpPr>
                      <p:grpSpPr>
                        <a:xfrm>
                          <a:off x="4557291" y="4476519"/>
                          <a:ext cx="10502" cy="7347"/>
                          <a:chOff x="4557291" y="4476519"/>
                          <a:chExt cx="10502" cy="7347"/>
                        </a:xfrm>
                        <a:solidFill>
                          <a:schemeClr val="accent1"/>
                        </a:solidFill>
                      </p:grpSpPr>
                      <p:sp>
                        <p:nvSpPr>
                          <p:cNvPr id="3291" name="Freeform: Shape 3290">
                            <a:extLst>
                              <a:ext uri="{FF2B5EF4-FFF2-40B4-BE49-F238E27FC236}">
                                <a16:creationId xmlns:a16="http://schemas.microsoft.com/office/drawing/2014/main" id="{25B1044A-F053-441B-A572-979DF294F537}"/>
                              </a:ext>
                            </a:extLst>
                          </p:cNvPr>
                          <p:cNvSpPr/>
                          <p:nvPr/>
                        </p:nvSpPr>
                        <p:spPr>
                          <a:xfrm>
                            <a:off x="4557291" y="4477901"/>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046"/>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2" name="Freeform: Shape 3291">
                            <a:extLst>
                              <a:ext uri="{FF2B5EF4-FFF2-40B4-BE49-F238E27FC236}">
                                <a16:creationId xmlns:a16="http://schemas.microsoft.com/office/drawing/2014/main" id="{8E6EAF8A-C3D3-400B-93FF-8DA4AD2AE992}"/>
                              </a:ext>
                            </a:extLst>
                          </p:cNvPr>
                          <p:cNvSpPr/>
                          <p:nvPr/>
                        </p:nvSpPr>
                        <p:spPr>
                          <a:xfrm>
                            <a:off x="4557291" y="4477901"/>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046"/>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3" name="Freeform: Shape 3292">
                            <a:extLst>
                              <a:ext uri="{FF2B5EF4-FFF2-40B4-BE49-F238E27FC236}">
                                <a16:creationId xmlns:a16="http://schemas.microsoft.com/office/drawing/2014/main" id="{C6EE3717-8B6E-43CE-A68F-64B547C8C824}"/>
                              </a:ext>
                            </a:extLst>
                          </p:cNvPr>
                          <p:cNvSpPr/>
                          <p:nvPr/>
                        </p:nvSpPr>
                        <p:spPr>
                          <a:xfrm>
                            <a:off x="4557493" y="4476519"/>
                            <a:ext cx="9984" cy="5965"/>
                          </a:xfrm>
                          <a:custGeom>
                            <a:avLst/>
                            <a:gdLst>
                              <a:gd name="connsiteX0" fmla="*/ 3862 w 9984"/>
                              <a:gd name="connsiteY0" fmla="*/ 283 h 5965"/>
                              <a:gd name="connsiteX1" fmla="*/ 471 w 9984"/>
                              <a:gd name="connsiteY1" fmla="*/ 2292 h 5965"/>
                              <a:gd name="connsiteX2" fmla="*/ 471 w 9984"/>
                              <a:gd name="connsiteY2" fmla="*/ 3674 h 5965"/>
                              <a:gd name="connsiteX3" fmla="*/ 3862 w 9984"/>
                              <a:gd name="connsiteY3" fmla="*/ 5683 h 5965"/>
                              <a:gd name="connsiteX4" fmla="*/ 6123 w 9984"/>
                              <a:gd name="connsiteY4" fmla="*/ 5683 h 5965"/>
                              <a:gd name="connsiteX5" fmla="*/ 9514 w 9984"/>
                              <a:gd name="connsiteY5" fmla="*/ 3674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4"/>
                                </a:cubicBezTo>
                                <a:lnTo>
                                  <a:pt x="3862" y="5683"/>
                                </a:lnTo>
                                <a:cubicBezTo>
                                  <a:pt x="4490" y="6060"/>
                                  <a:pt x="5495" y="6060"/>
                                  <a:pt x="6123" y="5683"/>
                                </a:cubicBezTo>
                                <a:lnTo>
                                  <a:pt x="9514" y="3674"/>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94" name="Graphic 4">
                          <a:extLst>
                            <a:ext uri="{FF2B5EF4-FFF2-40B4-BE49-F238E27FC236}">
                              <a16:creationId xmlns:a16="http://schemas.microsoft.com/office/drawing/2014/main" id="{84FB7ED1-A2DF-40A1-A747-5F7CF3F14040}"/>
                            </a:ext>
                          </a:extLst>
                        </p:cNvPr>
                        <p:cNvGrpSpPr/>
                        <p:nvPr/>
                      </p:nvGrpSpPr>
                      <p:grpSpPr>
                        <a:xfrm>
                          <a:off x="4563571" y="4480161"/>
                          <a:ext cx="10514" cy="7347"/>
                          <a:chOff x="4563571" y="4480161"/>
                          <a:chExt cx="10514" cy="7347"/>
                        </a:xfrm>
                        <a:solidFill>
                          <a:schemeClr val="accent1"/>
                        </a:solidFill>
                      </p:grpSpPr>
                      <p:sp>
                        <p:nvSpPr>
                          <p:cNvPr id="3295" name="Freeform: Shape 3294">
                            <a:extLst>
                              <a:ext uri="{FF2B5EF4-FFF2-40B4-BE49-F238E27FC236}">
                                <a16:creationId xmlns:a16="http://schemas.microsoft.com/office/drawing/2014/main" id="{DA40A64D-06A9-4B07-B4C4-DE85EBE3F6F1}"/>
                              </a:ext>
                            </a:extLst>
                          </p:cNvPr>
                          <p:cNvSpPr/>
                          <p:nvPr/>
                        </p:nvSpPr>
                        <p:spPr>
                          <a:xfrm>
                            <a:off x="4563571" y="4481543"/>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6" name="Freeform: Shape 3295">
                            <a:extLst>
                              <a:ext uri="{FF2B5EF4-FFF2-40B4-BE49-F238E27FC236}">
                                <a16:creationId xmlns:a16="http://schemas.microsoft.com/office/drawing/2014/main" id="{DC0D476C-86A4-40CA-A0AC-1762629614E8}"/>
                              </a:ext>
                            </a:extLst>
                          </p:cNvPr>
                          <p:cNvSpPr/>
                          <p:nvPr/>
                        </p:nvSpPr>
                        <p:spPr>
                          <a:xfrm>
                            <a:off x="4563571" y="4481543"/>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7" name="Freeform: Shape 3296">
                            <a:extLst>
                              <a:ext uri="{FF2B5EF4-FFF2-40B4-BE49-F238E27FC236}">
                                <a16:creationId xmlns:a16="http://schemas.microsoft.com/office/drawing/2014/main" id="{93C0A7ED-FC49-4950-A76C-B0D5C187BF98}"/>
                              </a:ext>
                            </a:extLst>
                          </p:cNvPr>
                          <p:cNvSpPr/>
                          <p:nvPr/>
                        </p:nvSpPr>
                        <p:spPr>
                          <a:xfrm>
                            <a:off x="4563773" y="4480161"/>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98" name="Graphic 4">
                          <a:extLst>
                            <a:ext uri="{FF2B5EF4-FFF2-40B4-BE49-F238E27FC236}">
                              <a16:creationId xmlns:a16="http://schemas.microsoft.com/office/drawing/2014/main" id="{84FB7ED1-A2DF-40A1-A747-5F7CF3F14040}"/>
                            </a:ext>
                          </a:extLst>
                        </p:cNvPr>
                        <p:cNvGrpSpPr/>
                        <p:nvPr/>
                      </p:nvGrpSpPr>
                      <p:grpSpPr>
                        <a:xfrm>
                          <a:off x="4569976" y="4483804"/>
                          <a:ext cx="10502" cy="7346"/>
                          <a:chOff x="4569976" y="4483804"/>
                          <a:chExt cx="10502" cy="7346"/>
                        </a:xfrm>
                        <a:solidFill>
                          <a:schemeClr val="accent1"/>
                        </a:solidFill>
                      </p:grpSpPr>
                      <p:sp>
                        <p:nvSpPr>
                          <p:cNvPr id="3299" name="Freeform: Shape 3298">
                            <a:extLst>
                              <a:ext uri="{FF2B5EF4-FFF2-40B4-BE49-F238E27FC236}">
                                <a16:creationId xmlns:a16="http://schemas.microsoft.com/office/drawing/2014/main" id="{0DCDCF89-E1D1-4BFF-B3B4-B26BE0CC1817}"/>
                              </a:ext>
                            </a:extLst>
                          </p:cNvPr>
                          <p:cNvSpPr/>
                          <p:nvPr/>
                        </p:nvSpPr>
                        <p:spPr>
                          <a:xfrm>
                            <a:off x="4569976" y="4485185"/>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0" name="Freeform: Shape 3299">
                            <a:extLst>
                              <a:ext uri="{FF2B5EF4-FFF2-40B4-BE49-F238E27FC236}">
                                <a16:creationId xmlns:a16="http://schemas.microsoft.com/office/drawing/2014/main" id="{D02D386C-1C4B-4FBD-964C-B75498D51554}"/>
                              </a:ext>
                            </a:extLst>
                          </p:cNvPr>
                          <p:cNvSpPr/>
                          <p:nvPr/>
                        </p:nvSpPr>
                        <p:spPr>
                          <a:xfrm>
                            <a:off x="4569976" y="4485185"/>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1" name="Freeform: Shape 3300">
                            <a:extLst>
                              <a:ext uri="{FF2B5EF4-FFF2-40B4-BE49-F238E27FC236}">
                                <a16:creationId xmlns:a16="http://schemas.microsoft.com/office/drawing/2014/main" id="{AD769A18-702B-426D-AE5B-1ECFE7342EC1}"/>
                              </a:ext>
                            </a:extLst>
                          </p:cNvPr>
                          <p:cNvSpPr/>
                          <p:nvPr/>
                        </p:nvSpPr>
                        <p:spPr>
                          <a:xfrm>
                            <a:off x="4570178" y="448380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02" name="Graphic 4">
                          <a:extLst>
                            <a:ext uri="{FF2B5EF4-FFF2-40B4-BE49-F238E27FC236}">
                              <a16:creationId xmlns:a16="http://schemas.microsoft.com/office/drawing/2014/main" id="{84FB7ED1-A2DF-40A1-A747-5F7CF3F14040}"/>
                            </a:ext>
                          </a:extLst>
                        </p:cNvPr>
                        <p:cNvGrpSpPr/>
                        <p:nvPr/>
                      </p:nvGrpSpPr>
                      <p:grpSpPr>
                        <a:xfrm>
                          <a:off x="4576381" y="4487571"/>
                          <a:ext cx="10469" cy="7347"/>
                          <a:chOff x="4576381" y="4487571"/>
                          <a:chExt cx="10469" cy="7347"/>
                        </a:xfrm>
                        <a:solidFill>
                          <a:schemeClr val="accent1"/>
                        </a:solidFill>
                      </p:grpSpPr>
                      <p:sp>
                        <p:nvSpPr>
                          <p:cNvPr id="3303" name="Freeform: Shape 3302">
                            <a:extLst>
                              <a:ext uri="{FF2B5EF4-FFF2-40B4-BE49-F238E27FC236}">
                                <a16:creationId xmlns:a16="http://schemas.microsoft.com/office/drawing/2014/main" id="{1F4BE833-9A68-4DF5-9C54-F79FA13996FE}"/>
                              </a:ext>
                            </a:extLst>
                          </p:cNvPr>
                          <p:cNvSpPr/>
                          <p:nvPr/>
                        </p:nvSpPr>
                        <p:spPr>
                          <a:xfrm>
                            <a:off x="4576381" y="4488953"/>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7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3" y="-94"/>
                                  <a:pt x="4064" y="283"/>
                                </a:cubicBezTo>
                                <a:lnTo>
                                  <a:pt x="1929" y="1538"/>
                                </a:lnTo>
                                <a:lnTo>
                                  <a:pt x="297" y="1538"/>
                                </a:lnTo>
                                <a:lnTo>
                                  <a:pt x="45" y="2794"/>
                                </a:lnTo>
                                <a:cubicBezTo>
                                  <a:pt x="-80" y="3171"/>
                                  <a:pt x="45" y="3422"/>
                                  <a:pt x="548" y="3673"/>
                                </a:cubicBezTo>
                                <a:lnTo>
                                  <a:pt x="4064" y="5683"/>
                                </a:lnTo>
                                <a:cubicBezTo>
                                  <a:pt x="4693" y="6060"/>
                                  <a:pt x="5823" y="6060"/>
                                  <a:pt x="6451"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4" name="Freeform: Shape 3303">
                            <a:extLst>
                              <a:ext uri="{FF2B5EF4-FFF2-40B4-BE49-F238E27FC236}">
                                <a16:creationId xmlns:a16="http://schemas.microsoft.com/office/drawing/2014/main" id="{98FE0E57-F9AB-43DA-AE44-0CEFB26449E7}"/>
                              </a:ext>
                            </a:extLst>
                          </p:cNvPr>
                          <p:cNvSpPr/>
                          <p:nvPr/>
                        </p:nvSpPr>
                        <p:spPr>
                          <a:xfrm>
                            <a:off x="4576381" y="4488953"/>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7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3" y="-94"/>
                                  <a:pt x="4064" y="283"/>
                                </a:cubicBezTo>
                                <a:lnTo>
                                  <a:pt x="1929" y="1538"/>
                                </a:lnTo>
                                <a:lnTo>
                                  <a:pt x="297" y="1538"/>
                                </a:lnTo>
                                <a:lnTo>
                                  <a:pt x="45" y="2794"/>
                                </a:lnTo>
                                <a:cubicBezTo>
                                  <a:pt x="-80" y="3171"/>
                                  <a:pt x="45" y="3422"/>
                                  <a:pt x="548" y="3673"/>
                                </a:cubicBezTo>
                                <a:lnTo>
                                  <a:pt x="4064" y="5683"/>
                                </a:lnTo>
                                <a:cubicBezTo>
                                  <a:pt x="4693" y="6060"/>
                                  <a:pt x="5823" y="6060"/>
                                  <a:pt x="6451"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5" name="Freeform: Shape 3304">
                            <a:extLst>
                              <a:ext uri="{FF2B5EF4-FFF2-40B4-BE49-F238E27FC236}">
                                <a16:creationId xmlns:a16="http://schemas.microsoft.com/office/drawing/2014/main" id="{6D710E66-44D1-4F0C-A684-0052E9F9BAB0}"/>
                              </a:ext>
                            </a:extLst>
                          </p:cNvPr>
                          <p:cNvSpPr/>
                          <p:nvPr/>
                        </p:nvSpPr>
                        <p:spPr>
                          <a:xfrm>
                            <a:off x="4576583" y="4487571"/>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06" name="Graphic 4">
                          <a:extLst>
                            <a:ext uri="{FF2B5EF4-FFF2-40B4-BE49-F238E27FC236}">
                              <a16:creationId xmlns:a16="http://schemas.microsoft.com/office/drawing/2014/main" id="{84FB7ED1-A2DF-40A1-A747-5F7CF3F14040}"/>
                            </a:ext>
                          </a:extLst>
                        </p:cNvPr>
                        <p:cNvGrpSpPr/>
                        <p:nvPr/>
                      </p:nvGrpSpPr>
                      <p:grpSpPr>
                        <a:xfrm>
                          <a:off x="4582661" y="4491214"/>
                          <a:ext cx="10502" cy="7347"/>
                          <a:chOff x="4582661" y="4491214"/>
                          <a:chExt cx="10502" cy="7347"/>
                        </a:xfrm>
                        <a:solidFill>
                          <a:schemeClr val="accent1"/>
                        </a:solidFill>
                      </p:grpSpPr>
                      <p:sp>
                        <p:nvSpPr>
                          <p:cNvPr id="3307" name="Freeform: Shape 3306">
                            <a:extLst>
                              <a:ext uri="{FF2B5EF4-FFF2-40B4-BE49-F238E27FC236}">
                                <a16:creationId xmlns:a16="http://schemas.microsoft.com/office/drawing/2014/main" id="{F738C876-F61B-4E01-8B7A-43BCE57AE282}"/>
                              </a:ext>
                            </a:extLst>
                          </p:cNvPr>
                          <p:cNvSpPr/>
                          <p:nvPr/>
                        </p:nvSpPr>
                        <p:spPr>
                          <a:xfrm>
                            <a:off x="4582661" y="4492595"/>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8" name="Freeform: Shape 3307">
                            <a:extLst>
                              <a:ext uri="{FF2B5EF4-FFF2-40B4-BE49-F238E27FC236}">
                                <a16:creationId xmlns:a16="http://schemas.microsoft.com/office/drawing/2014/main" id="{DA845007-5865-41F5-856C-1540FE1D96A3}"/>
                              </a:ext>
                            </a:extLst>
                          </p:cNvPr>
                          <p:cNvSpPr/>
                          <p:nvPr/>
                        </p:nvSpPr>
                        <p:spPr>
                          <a:xfrm>
                            <a:off x="4582661" y="4492595"/>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9" name="Freeform: Shape 3308">
                            <a:extLst>
                              <a:ext uri="{FF2B5EF4-FFF2-40B4-BE49-F238E27FC236}">
                                <a16:creationId xmlns:a16="http://schemas.microsoft.com/office/drawing/2014/main" id="{AF782558-8327-4ADC-BE11-1D453E21D933}"/>
                              </a:ext>
                            </a:extLst>
                          </p:cNvPr>
                          <p:cNvSpPr/>
                          <p:nvPr/>
                        </p:nvSpPr>
                        <p:spPr>
                          <a:xfrm>
                            <a:off x="4582863" y="449121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10" name="Graphic 4">
                          <a:extLst>
                            <a:ext uri="{FF2B5EF4-FFF2-40B4-BE49-F238E27FC236}">
                              <a16:creationId xmlns:a16="http://schemas.microsoft.com/office/drawing/2014/main" id="{84FB7ED1-A2DF-40A1-A747-5F7CF3F14040}"/>
                            </a:ext>
                          </a:extLst>
                        </p:cNvPr>
                        <p:cNvGrpSpPr/>
                        <p:nvPr/>
                      </p:nvGrpSpPr>
                      <p:grpSpPr>
                        <a:xfrm>
                          <a:off x="4589066" y="4494856"/>
                          <a:ext cx="10469" cy="7347"/>
                          <a:chOff x="4589066" y="4494856"/>
                          <a:chExt cx="10469" cy="7347"/>
                        </a:xfrm>
                        <a:solidFill>
                          <a:schemeClr val="accent1"/>
                        </a:solidFill>
                      </p:grpSpPr>
                      <p:sp>
                        <p:nvSpPr>
                          <p:cNvPr id="3311" name="Freeform: Shape 3310">
                            <a:extLst>
                              <a:ext uri="{FF2B5EF4-FFF2-40B4-BE49-F238E27FC236}">
                                <a16:creationId xmlns:a16="http://schemas.microsoft.com/office/drawing/2014/main" id="{C01284FE-A7DE-453C-B340-436B887C770A}"/>
                              </a:ext>
                            </a:extLst>
                          </p:cNvPr>
                          <p:cNvSpPr/>
                          <p:nvPr/>
                        </p:nvSpPr>
                        <p:spPr>
                          <a:xfrm>
                            <a:off x="4589066" y="4496237"/>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2" name="Freeform: Shape 3311">
                            <a:extLst>
                              <a:ext uri="{FF2B5EF4-FFF2-40B4-BE49-F238E27FC236}">
                                <a16:creationId xmlns:a16="http://schemas.microsoft.com/office/drawing/2014/main" id="{1B0AED50-D8FE-4F5C-AA4F-9E656DAFE72B}"/>
                              </a:ext>
                            </a:extLst>
                          </p:cNvPr>
                          <p:cNvSpPr/>
                          <p:nvPr/>
                        </p:nvSpPr>
                        <p:spPr>
                          <a:xfrm>
                            <a:off x="4589066" y="4496237"/>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3" name="Freeform: Shape 3312">
                            <a:extLst>
                              <a:ext uri="{FF2B5EF4-FFF2-40B4-BE49-F238E27FC236}">
                                <a16:creationId xmlns:a16="http://schemas.microsoft.com/office/drawing/2014/main" id="{892B49ED-EF54-4916-AF96-35B8803AA480}"/>
                              </a:ext>
                            </a:extLst>
                          </p:cNvPr>
                          <p:cNvSpPr/>
                          <p:nvPr/>
                        </p:nvSpPr>
                        <p:spPr>
                          <a:xfrm>
                            <a:off x="4589269" y="4494856"/>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3"/>
                                  <a:pt x="-157" y="3171"/>
                                  <a:pt x="471" y="3548"/>
                                </a:cubicBezTo>
                                <a:lnTo>
                                  <a:pt x="3862" y="5432"/>
                                </a:lnTo>
                                <a:cubicBezTo>
                                  <a:pt x="4490" y="5809"/>
                                  <a:pt x="5495" y="5809"/>
                                  <a:pt x="6249" y="5432"/>
                                </a:cubicBezTo>
                                <a:lnTo>
                                  <a:pt x="9639" y="3548"/>
                                </a:lnTo>
                                <a:cubicBezTo>
                                  <a:pt x="10268" y="3171"/>
                                  <a:pt x="10268" y="2543"/>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314" name="Graphic 4">
                        <a:extLst>
                          <a:ext uri="{FF2B5EF4-FFF2-40B4-BE49-F238E27FC236}">
                            <a16:creationId xmlns:a16="http://schemas.microsoft.com/office/drawing/2014/main" id="{84FB7ED1-A2DF-40A1-A747-5F7CF3F14040}"/>
                          </a:ext>
                        </a:extLst>
                      </p:cNvPr>
                      <p:cNvGrpSpPr/>
                      <p:nvPr/>
                    </p:nvGrpSpPr>
                    <p:grpSpPr>
                      <a:xfrm>
                        <a:off x="4594842" y="4498624"/>
                        <a:ext cx="17411" cy="14380"/>
                        <a:chOff x="4594842" y="4498624"/>
                        <a:chExt cx="17411" cy="14380"/>
                      </a:xfrm>
                      <a:solidFill>
                        <a:schemeClr val="accent1"/>
                      </a:solidFill>
                    </p:grpSpPr>
                    <p:sp>
                      <p:nvSpPr>
                        <p:cNvPr id="3315" name="Freeform: Shape 3314">
                          <a:extLst>
                            <a:ext uri="{FF2B5EF4-FFF2-40B4-BE49-F238E27FC236}">
                              <a16:creationId xmlns:a16="http://schemas.microsoft.com/office/drawing/2014/main" id="{E10FB4D6-F4B4-4CAC-AF63-C0BB2DEAF02E}"/>
                            </a:ext>
                          </a:extLst>
                        </p:cNvPr>
                        <p:cNvSpPr/>
                        <p:nvPr/>
                      </p:nvSpPr>
                      <p:spPr>
                        <a:xfrm>
                          <a:off x="4594842" y="4499503"/>
                          <a:ext cx="17411" cy="13501"/>
                        </a:xfrm>
                        <a:custGeom>
                          <a:avLst/>
                          <a:gdLst>
                            <a:gd name="connsiteX0" fmla="*/ 17379 w 17411"/>
                            <a:gd name="connsiteY0" fmla="*/ 6311 h 13501"/>
                            <a:gd name="connsiteX1" fmla="*/ 17379 w 17411"/>
                            <a:gd name="connsiteY1" fmla="*/ 6311 h 13501"/>
                            <a:gd name="connsiteX2" fmla="*/ 17379 w 17411"/>
                            <a:gd name="connsiteY2" fmla="*/ 6311 h 13501"/>
                            <a:gd name="connsiteX3" fmla="*/ 17254 w 17411"/>
                            <a:gd name="connsiteY3" fmla="*/ 6060 h 13501"/>
                            <a:gd name="connsiteX4" fmla="*/ 16751 w 17411"/>
                            <a:gd name="connsiteY4" fmla="*/ 5055 h 13501"/>
                            <a:gd name="connsiteX5" fmla="*/ 15621 w 17411"/>
                            <a:gd name="connsiteY5" fmla="*/ 5055 h 13501"/>
                            <a:gd name="connsiteX6" fmla="*/ 7332 w 17411"/>
                            <a:gd name="connsiteY6" fmla="*/ 283 h 13501"/>
                            <a:gd name="connsiteX7" fmla="*/ 4945 w 17411"/>
                            <a:gd name="connsiteY7" fmla="*/ 283 h 13501"/>
                            <a:gd name="connsiteX8" fmla="*/ 1931 w 17411"/>
                            <a:gd name="connsiteY8" fmla="*/ 2041 h 13501"/>
                            <a:gd name="connsiteX9" fmla="*/ 1177 w 17411"/>
                            <a:gd name="connsiteY9" fmla="*/ 2041 h 13501"/>
                            <a:gd name="connsiteX10" fmla="*/ 801 w 17411"/>
                            <a:gd name="connsiteY10" fmla="*/ 2794 h 13501"/>
                            <a:gd name="connsiteX11" fmla="*/ 675 w 17411"/>
                            <a:gd name="connsiteY11" fmla="*/ 3046 h 13501"/>
                            <a:gd name="connsiteX12" fmla="*/ 675 w 17411"/>
                            <a:gd name="connsiteY12" fmla="*/ 3046 h 13501"/>
                            <a:gd name="connsiteX13" fmla="*/ 675 w 17411"/>
                            <a:gd name="connsiteY13" fmla="*/ 3046 h 13501"/>
                            <a:gd name="connsiteX14" fmla="*/ 1177 w 17411"/>
                            <a:gd name="connsiteY14" fmla="*/ 3925 h 13501"/>
                            <a:gd name="connsiteX15" fmla="*/ 4694 w 17411"/>
                            <a:gd name="connsiteY15" fmla="*/ 5934 h 13501"/>
                            <a:gd name="connsiteX16" fmla="*/ 5196 w 17411"/>
                            <a:gd name="connsiteY16" fmla="*/ 6813 h 13501"/>
                            <a:gd name="connsiteX17" fmla="*/ 549 w 17411"/>
                            <a:gd name="connsiteY17" fmla="*/ 8949 h 13501"/>
                            <a:gd name="connsiteX18" fmla="*/ 47 w 17411"/>
                            <a:gd name="connsiteY18" fmla="*/ 10204 h 13501"/>
                            <a:gd name="connsiteX19" fmla="*/ 47 w 17411"/>
                            <a:gd name="connsiteY19" fmla="*/ 10204 h 13501"/>
                            <a:gd name="connsiteX20" fmla="*/ 424 w 17411"/>
                            <a:gd name="connsiteY20" fmla="*/ 11209 h 13501"/>
                            <a:gd name="connsiteX21" fmla="*/ 3940 w 17411"/>
                            <a:gd name="connsiteY21" fmla="*/ 13219 h 13501"/>
                            <a:gd name="connsiteX22" fmla="*/ 6327 w 17411"/>
                            <a:gd name="connsiteY22" fmla="*/ 13219 h 13501"/>
                            <a:gd name="connsiteX23" fmla="*/ 16877 w 17411"/>
                            <a:gd name="connsiteY23" fmla="*/ 7190 h 13501"/>
                            <a:gd name="connsiteX24" fmla="*/ 17379 w 17411"/>
                            <a:gd name="connsiteY24" fmla="*/ 6311 h 1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11" h="13501">
                              <a:moveTo>
                                <a:pt x="17379" y="6311"/>
                              </a:moveTo>
                              <a:lnTo>
                                <a:pt x="17379" y="6311"/>
                              </a:lnTo>
                              <a:lnTo>
                                <a:pt x="17379" y="6311"/>
                              </a:lnTo>
                              <a:cubicBezTo>
                                <a:pt x="17379" y="6186"/>
                                <a:pt x="17379" y="6186"/>
                                <a:pt x="17254" y="6060"/>
                              </a:cubicBezTo>
                              <a:lnTo>
                                <a:pt x="16751" y="5055"/>
                              </a:lnTo>
                              <a:lnTo>
                                <a:pt x="15621" y="5055"/>
                              </a:lnTo>
                              <a:lnTo>
                                <a:pt x="7332" y="283"/>
                              </a:lnTo>
                              <a:cubicBezTo>
                                <a:pt x="6703" y="-94"/>
                                <a:pt x="5573" y="-94"/>
                                <a:pt x="4945" y="283"/>
                              </a:cubicBezTo>
                              <a:lnTo>
                                <a:pt x="1931" y="2041"/>
                              </a:lnTo>
                              <a:lnTo>
                                <a:pt x="1177" y="2041"/>
                              </a:lnTo>
                              <a:lnTo>
                                <a:pt x="801" y="2794"/>
                              </a:lnTo>
                              <a:cubicBezTo>
                                <a:pt x="675" y="2920"/>
                                <a:pt x="675" y="3046"/>
                                <a:pt x="675" y="3046"/>
                              </a:cubicBezTo>
                              <a:lnTo>
                                <a:pt x="675" y="3046"/>
                              </a:lnTo>
                              <a:lnTo>
                                <a:pt x="675" y="3046"/>
                              </a:lnTo>
                              <a:cubicBezTo>
                                <a:pt x="549" y="3297"/>
                                <a:pt x="801" y="3673"/>
                                <a:pt x="1177" y="3925"/>
                              </a:cubicBezTo>
                              <a:lnTo>
                                <a:pt x="4694" y="5934"/>
                              </a:lnTo>
                              <a:cubicBezTo>
                                <a:pt x="5196" y="6186"/>
                                <a:pt x="5322" y="6562"/>
                                <a:pt x="5196" y="6813"/>
                              </a:cubicBezTo>
                              <a:lnTo>
                                <a:pt x="549" y="8949"/>
                              </a:lnTo>
                              <a:lnTo>
                                <a:pt x="47" y="10204"/>
                              </a:lnTo>
                              <a:lnTo>
                                <a:pt x="47" y="10204"/>
                              </a:lnTo>
                              <a:cubicBezTo>
                                <a:pt x="-78" y="10581"/>
                                <a:pt x="47" y="10958"/>
                                <a:pt x="424" y="11209"/>
                              </a:cubicBezTo>
                              <a:lnTo>
                                <a:pt x="3940" y="13219"/>
                              </a:lnTo>
                              <a:cubicBezTo>
                                <a:pt x="4569" y="13596"/>
                                <a:pt x="5699" y="13596"/>
                                <a:pt x="6327" y="13219"/>
                              </a:cubicBezTo>
                              <a:lnTo>
                                <a:pt x="16877" y="7190"/>
                              </a:lnTo>
                              <a:cubicBezTo>
                                <a:pt x="17254" y="6939"/>
                                <a:pt x="17505" y="6562"/>
                                <a:pt x="17379" y="631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6" name="Freeform: Shape 3315">
                          <a:extLst>
                            <a:ext uri="{FF2B5EF4-FFF2-40B4-BE49-F238E27FC236}">
                              <a16:creationId xmlns:a16="http://schemas.microsoft.com/office/drawing/2014/main" id="{8023875C-D7E0-4CA3-AD49-43061D4B1A4C}"/>
                            </a:ext>
                          </a:extLst>
                        </p:cNvPr>
                        <p:cNvSpPr/>
                        <p:nvPr/>
                      </p:nvSpPr>
                      <p:spPr>
                        <a:xfrm>
                          <a:off x="4594842" y="4499503"/>
                          <a:ext cx="17411" cy="13501"/>
                        </a:xfrm>
                        <a:custGeom>
                          <a:avLst/>
                          <a:gdLst>
                            <a:gd name="connsiteX0" fmla="*/ 17379 w 17411"/>
                            <a:gd name="connsiteY0" fmla="*/ 6311 h 13501"/>
                            <a:gd name="connsiteX1" fmla="*/ 17379 w 17411"/>
                            <a:gd name="connsiteY1" fmla="*/ 6311 h 13501"/>
                            <a:gd name="connsiteX2" fmla="*/ 17379 w 17411"/>
                            <a:gd name="connsiteY2" fmla="*/ 6311 h 13501"/>
                            <a:gd name="connsiteX3" fmla="*/ 17254 w 17411"/>
                            <a:gd name="connsiteY3" fmla="*/ 6060 h 13501"/>
                            <a:gd name="connsiteX4" fmla="*/ 16751 w 17411"/>
                            <a:gd name="connsiteY4" fmla="*/ 5055 h 13501"/>
                            <a:gd name="connsiteX5" fmla="*/ 15621 w 17411"/>
                            <a:gd name="connsiteY5" fmla="*/ 5055 h 13501"/>
                            <a:gd name="connsiteX6" fmla="*/ 7332 w 17411"/>
                            <a:gd name="connsiteY6" fmla="*/ 283 h 13501"/>
                            <a:gd name="connsiteX7" fmla="*/ 4945 w 17411"/>
                            <a:gd name="connsiteY7" fmla="*/ 283 h 13501"/>
                            <a:gd name="connsiteX8" fmla="*/ 1931 w 17411"/>
                            <a:gd name="connsiteY8" fmla="*/ 2041 h 13501"/>
                            <a:gd name="connsiteX9" fmla="*/ 1177 w 17411"/>
                            <a:gd name="connsiteY9" fmla="*/ 2041 h 13501"/>
                            <a:gd name="connsiteX10" fmla="*/ 801 w 17411"/>
                            <a:gd name="connsiteY10" fmla="*/ 2794 h 13501"/>
                            <a:gd name="connsiteX11" fmla="*/ 675 w 17411"/>
                            <a:gd name="connsiteY11" fmla="*/ 3046 h 13501"/>
                            <a:gd name="connsiteX12" fmla="*/ 675 w 17411"/>
                            <a:gd name="connsiteY12" fmla="*/ 3046 h 13501"/>
                            <a:gd name="connsiteX13" fmla="*/ 675 w 17411"/>
                            <a:gd name="connsiteY13" fmla="*/ 3046 h 13501"/>
                            <a:gd name="connsiteX14" fmla="*/ 1177 w 17411"/>
                            <a:gd name="connsiteY14" fmla="*/ 3925 h 13501"/>
                            <a:gd name="connsiteX15" fmla="*/ 4694 w 17411"/>
                            <a:gd name="connsiteY15" fmla="*/ 5934 h 13501"/>
                            <a:gd name="connsiteX16" fmla="*/ 5196 w 17411"/>
                            <a:gd name="connsiteY16" fmla="*/ 6813 h 13501"/>
                            <a:gd name="connsiteX17" fmla="*/ 549 w 17411"/>
                            <a:gd name="connsiteY17" fmla="*/ 8949 h 13501"/>
                            <a:gd name="connsiteX18" fmla="*/ 47 w 17411"/>
                            <a:gd name="connsiteY18" fmla="*/ 10204 h 13501"/>
                            <a:gd name="connsiteX19" fmla="*/ 47 w 17411"/>
                            <a:gd name="connsiteY19" fmla="*/ 10204 h 13501"/>
                            <a:gd name="connsiteX20" fmla="*/ 424 w 17411"/>
                            <a:gd name="connsiteY20" fmla="*/ 11209 h 13501"/>
                            <a:gd name="connsiteX21" fmla="*/ 3940 w 17411"/>
                            <a:gd name="connsiteY21" fmla="*/ 13219 h 13501"/>
                            <a:gd name="connsiteX22" fmla="*/ 6327 w 17411"/>
                            <a:gd name="connsiteY22" fmla="*/ 13219 h 13501"/>
                            <a:gd name="connsiteX23" fmla="*/ 16877 w 17411"/>
                            <a:gd name="connsiteY23" fmla="*/ 7190 h 13501"/>
                            <a:gd name="connsiteX24" fmla="*/ 17379 w 17411"/>
                            <a:gd name="connsiteY24" fmla="*/ 6311 h 1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11" h="13501">
                              <a:moveTo>
                                <a:pt x="17379" y="6311"/>
                              </a:moveTo>
                              <a:lnTo>
                                <a:pt x="17379" y="6311"/>
                              </a:lnTo>
                              <a:lnTo>
                                <a:pt x="17379" y="6311"/>
                              </a:lnTo>
                              <a:cubicBezTo>
                                <a:pt x="17379" y="6186"/>
                                <a:pt x="17379" y="6186"/>
                                <a:pt x="17254" y="6060"/>
                              </a:cubicBezTo>
                              <a:lnTo>
                                <a:pt x="16751" y="5055"/>
                              </a:lnTo>
                              <a:lnTo>
                                <a:pt x="15621" y="5055"/>
                              </a:lnTo>
                              <a:lnTo>
                                <a:pt x="7332" y="283"/>
                              </a:lnTo>
                              <a:cubicBezTo>
                                <a:pt x="6703" y="-94"/>
                                <a:pt x="5573" y="-94"/>
                                <a:pt x="4945" y="283"/>
                              </a:cubicBezTo>
                              <a:lnTo>
                                <a:pt x="1931" y="2041"/>
                              </a:lnTo>
                              <a:lnTo>
                                <a:pt x="1177" y="2041"/>
                              </a:lnTo>
                              <a:lnTo>
                                <a:pt x="801" y="2794"/>
                              </a:lnTo>
                              <a:cubicBezTo>
                                <a:pt x="675" y="2920"/>
                                <a:pt x="675" y="3046"/>
                                <a:pt x="675" y="3046"/>
                              </a:cubicBezTo>
                              <a:lnTo>
                                <a:pt x="675" y="3046"/>
                              </a:lnTo>
                              <a:lnTo>
                                <a:pt x="675" y="3046"/>
                              </a:lnTo>
                              <a:cubicBezTo>
                                <a:pt x="549" y="3297"/>
                                <a:pt x="801" y="3673"/>
                                <a:pt x="1177" y="3925"/>
                              </a:cubicBezTo>
                              <a:lnTo>
                                <a:pt x="4694" y="5934"/>
                              </a:lnTo>
                              <a:cubicBezTo>
                                <a:pt x="5196" y="6186"/>
                                <a:pt x="5322" y="6562"/>
                                <a:pt x="5196" y="6813"/>
                              </a:cubicBezTo>
                              <a:lnTo>
                                <a:pt x="549" y="8949"/>
                              </a:lnTo>
                              <a:lnTo>
                                <a:pt x="47" y="10204"/>
                              </a:lnTo>
                              <a:lnTo>
                                <a:pt x="47" y="10204"/>
                              </a:lnTo>
                              <a:cubicBezTo>
                                <a:pt x="-78" y="10581"/>
                                <a:pt x="47" y="10958"/>
                                <a:pt x="424" y="11209"/>
                              </a:cubicBezTo>
                              <a:lnTo>
                                <a:pt x="3940" y="13219"/>
                              </a:lnTo>
                              <a:cubicBezTo>
                                <a:pt x="4569" y="13596"/>
                                <a:pt x="5699" y="13596"/>
                                <a:pt x="6327" y="13219"/>
                              </a:cubicBezTo>
                              <a:lnTo>
                                <a:pt x="16877" y="7190"/>
                              </a:lnTo>
                              <a:cubicBezTo>
                                <a:pt x="17254" y="6939"/>
                                <a:pt x="17505" y="6562"/>
                                <a:pt x="17379" y="631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7" name="Freeform: Shape 3316">
                          <a:extLst>
                            <a:ext uri="{FF2B5EF4-FFF2-40B4-BE49-F238E27FC236}">
                              <a16:creationId xmlns:a16="http://schemas.microsoft.com/office/drawing/2014/main" id="{84668A6B-7C39-4E83-B2F2-2F19C1D46E11}"/>
                            </a:ext>
                          </a:extLst>
                        </p:cNvPr>
                        <p:cNvSpPr/>
                        <p:nvPr/>
                      </p:nvSpPr>
                      <p:spPr>
                        <a:xfrm>
                          <a:off x="4595140" y="4498624"/>
                          <a:ext cx="16532" cy="12747"/>
                        </a:xfrm>
                        <a:custGeom>
                          <a:avLst/>
                          <a:gdLst>
                            <a:gd name="connsiteX0" fmla="*/ 16076 w 16532"/>
                            <a:gd name="connsiteY0" fmla="*/ 6813 h 12747"/>
                            <a:gd name="connsiteX1" fmla="*/ 6280 w 16532"/>
                            <a:gd name="connsiteY1" fmla="*/ 12465 h 12747"/>
                            <a:gd name="connsiteX2" fmla="*/ 3894 w 16532"/>
                            <a:gd name="connsiteY2" fmla="*/ 12465 h 12747"/>
                            <a:gd name="connsiteX3" fmla="*/ 502 w 16532"/>
                            <a:gd name="connsiteY3" fmla="*/ 10581 h 12747"/>
                            <a:gd name="connsiteX4" fmla="*/ 125 w 16532"/>
                            <a:gd name="connsiteY4" fmla="*/ 10330 h 12747"/>
                            <a:gd name="connsiteX5" fmla="*/ 502 w 16532"/>
                            <a:gd name="connsiteY5" fmla="*/ 9200 h 12747"/>
                            <a:gd name="connsiteX6" fmla="*/ 3894 w 16532"/>
                            <a:gd name="connsiteY6" fmla="*/ 7190 h 12747"/>
                            <a:gd name="connsiteX7" fmla="*/ 4521 w 16532"/>
                            <a:gd name="connsiteY7" fmla="*/ 6813 h 12747"/>
                            <a:gd name="connsiteX8" fmla="*/ 4521 w 16532"/>
                            <a:gd name="connsiteY8" fmla="*/ 5432 h 12747"/>
                            <a:gd name="connsiteX9" fmla="*/ 1130 w 16532"/>
                            <a:gd name="connsiteY9" fmla="*/ 3548 h 12747"/>
                            <a:gd name="connsiteX10" fmla="*/ 1130 w 16532"/>
                            <a:gd name="connsiteY10" fmla="*/ 2166 h 12747"/>
                            <a:gd name="connsiteX11" fmla="*/ 4521 w 16532"/>
                            <a:gd name="connsiteY11" fmla="*/ 283 h 12747"/>
                            <a:gd name="connsiteX12" fmla="*/ 6908 w 16532"/>
                            <a:gd name="connsiteY12" fmla="*/ 283 h 12747"/>
                            <a:gd name="connsiteX13" fmla="*/ 15951 w 16532"/>
                            <a:gd name="connsiteY13" fmla="*/ 5557 h 12747"/>
                            <a:gd name="connsiteX14" fmla="*/ 16076 w 16532"/>
                            <a:gd name="connsiteY14" fmla="*/ 6813 h 12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532" h="12747">
                              <a:moveTo>
                                <a:pt x="16076" y="6813"/>
                              </a:moveTo>
                              <a:lnTo>
                                <a:pt x="6280" y="12465"/>
                              </a:lnTo>
                              <a:cubicBezTo>
                                <a:pt x="5652" y="12842"/>
                                <a:pt x="4647" y="12842"/>
                                <a:pt x="3894" y="12465"/>
                              </a:cubicBezTo>
                              <a:lnTo>
                                <a:pt x="502" y="10581"/>
                              </a:lnTo>
                              <a:cubicBezTo>
                                <a:pt x="377" y="10456"/>
                                <a:pt x="251" y="10456"/>
                                <a:pt x="125" y="10330"/>
                              </a:cubicBezTo>
                              <a:cubicBezTo>
                                <a:pt x="-126" y="9953"/>
                                <a:pt x="0" y="9576"/>
                                <a:pt x="502" y="9200"/>
                              </a:cubicBezTo>
                              <a:lnTo>
                                <a:pt x="3894" y="7190"/>
                              </a:lnTo>
                              <a:lnTo>
                                <a:pt x="4521" y="6813"/>
                              </a:lnTo>
                              <a:cubicBezTo>
                                <a:pt x="5150" y="6437"/>
                                <a:pt x="5150" y="5809"/>
                                <a:pt x="4521" y="5432"/>
                              </a:cubicBezTo>
                              <a:lnTo>
                                <a:pt x="1130" y="3548"/>
                              </a:lnTo>
                              <a:cubicBezTo>
                                <a:pt x="502" y="3171"/>
                                <a:pt x="502" y="2543"/>
                                <a:pt x="1130" y="2166"/>
                              </a:cubicBezTo>
                              <a:lnTo>
                                <a:pt x="4521" y="283"/>
                              </a:lnTo>
                              <a:cubicBezTo>
                                <a:pt x="5150" y="-94"/>
                                <a:pt x="6154" y="-94"/>
                                <a:pt x="6908" y="283"/>
                              </a:cubicBezTo>
                              <a:lnTo>
                                <a:pt x="15951" y="5557"/>
                              </a:lnTo>
                              <a:cubicBezTo>
                                <a:pt x="16704" y="5809"/>
                                <a:pt x="16704" y="6437"/>
                                <a:pt x="16076" y="681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318" name="Graphic 4">
                      <a:extLst>
                        <a:ext uri="{FF2B5EF4-FFF2-40B4-BE49-F238E27FC236}">
                          <a16:creationId xmlns:a16="http://schemas.microsoft.com/office/drawing/2014/main" id="{84FB7ED1-A2DF-40A1-A747-5F7CF3F14040}"/>
                        </a:ext>
                      </a:extLst>
                    </p:cNvPr>
                    <p:cNvGrpSpPr/>
                    <p:nvPr/>
                  </p:nvGrpSpPr>
                  <p:grpSpPr>
                    <a:xfrm>
                      <a:off x="4531293" y="4468732"/>
                      <a:ext cx="67866" cy="40629"/>
                      <a:chOff x="4531293" y="4468732"/>
                      <a:chExt cx="67866" cy="40629"/>
                    </a:xfrm>
                    <a:solidFill>
                      <a:schemeClr val="accent1"/>
                    </a:solidFill>
                  </p:grpSpPr>
                  <p:grpSp>
                    <p:nvGrpSpPr>
                      <p:cNvPr id="3319" name="Graphic 4">
                        <a:extLst>
                          <a:ext uri="{FF2B5EF4-FFF2-40B4-BE49-F238E27FC236}">
                            <a16:creationId xmlns:a16="http://schemas.microsoft.com/office/drawing/2014/main" id="{84FB7ED1-A2DF-40A1-A747-5F7CF3F14040}"/>
                          </a:ext>
                        </a:extLst>
                      </p:cNvPr>
                      <p:cNvGrpSpPr/>
                      <p:nvPr/>
                    </p:nvGrpSpPr>
                    <p:grpSpPr>
                      <a:xfrm>
                        <a:off x="4531293" y="4468732"/>
                        <a:ext cx="17126" cy="11240"/>
                        <a:chOff x="4531293" y="4468732"/>
                        <a:chExt cx="17126" cy="11240"/>
                      </a:xfrm>
                      <a:solidFill>
                        <a:schemeClr val="accent1"/>
                      </a:solidFill>
                    </p:grpSpPr>
                    <p:sp>
                      <p:nvSpPr>
                        <p:cNvPr id="3320" name="Freeform: Shape 3319">
                          <a:extLst>
                            <a:ext uri="{FF2B5EF4-FFF2-40B4-BE49-F238E27FC236}">
                              <a16:creationId xmlns:a16="http://schemas.microsoft.com/office/drawing/2014/main" id="{2AEF8E6A-D6C1-4465-82AA-1BACA8A9BE51}"/>
                            </a:ext>
                          </a:extLst>
                        </p:cNvPr>
                        <p:cNvSpPr/>
                        <p:nvPr/>
                      </p:nvSpPr>
                      <p:spPr>
                        <a:xfrm>
                          <a:off x="4531293" y="4470114"/>
                          <a:ext cx="17126" cy="9859"/>
                        </a:xfrm>
                        <a:custGeom>
                          <a:avLst/>
                          <a:gdLst>
                            <a:gd name="connsiteX0" fmla="*/ 17126 w 17126"/>
                            <a:gd name="connsiteY0" fmla="*/ 6562 h 9859"/>
                            <a:gd name="connsiteX1" fmla="*/ 16875 w 17126"/>
                            <a:gd name="connsiteY1" fmla="*/ 5306 h 9859"/>
                            <a:gd name="connsiteX2" fmla="*/ 15242 w 17126"/>
                            <a:gd name="connsiteY2" fmla="*/ 5306 h 9859"/>
                            <a:gd name="connsiteX3" fmla="*/ 13107 w 17126"/>
                            <a:gd name="connsiteY3" fmla="*/ 4050 h 9859"/>
                            <a:gd name="connsiteX4" fmla="*/ 12605 w 17126"/>
                            <a:gd name="connsiteY4" fmla="*/ 3925 h 9859"/>
                            <a:gd name="connsiteX5" fmla="*/ 12354 w 17126"/>
                            <a:gd name="connsiteY5" fmla="*/ 2669 h 9859"/>
                            <a:gd name="connsiteX6" fmla="*/ 10721 w 17126"/>
                            <a:gd name="connsiteY6" fmla="*/ 2669 h 9859"/>
                            <a:gd name="connsiteX7" fmla="*/ 6451 w 17126"/>
                            <a:gd name="connsiteY7" fmla="*/ 283 h 9859"/>
                            <a:gd name="connsiteX8" fmla="*/ 4064 w 17126"/>
                            <a:gd name="connsiteY8" fmla="*/ 283 h 9859"/>
                            <a:gd name="connsiteX9" fmla="*/ 1929 w 17126"/>
                            <a:gd name="connsiteY9" fmla="*/ 1538 h 9859"/>
                            <a:gd name="connsiteX10" fmla="*/ 297 w 17126"/>
                            <a:gd name="connsiteY10" fmla="*/ 1538 h 9859"/>
                            <a:gd name="connsiteX11" fmla="*/ 45 w 17126"/>
                            <a:gd name="connsiteY11" fmla="*/ 2794 h 9859"/>
                            <a:gd name="connsiteX12" fmla="*/ 548 w 17126"/>
                            <a:gd name="connsiteY12" fmla="*/ 3673 h 9859"/>
                            <a:gd name="connsiteX13" fmla="*/ 5823 w 17126"/>
                            <a:gd name="connsiteY13" fmla="*/ 6688 h 9859"/>
                            <a:gd name="connsiteX14" fmla="*/ 10595 w 17126"/>
                            <a:gd name="connsiteY14" fmla="*/ 9576 h 9859"/>
                            <a:gd name="connsiteX15" fmla="*/ 12981 w 17126"/>
                            <a:gd name="connsiteY15" fmla="*/ 9576 h 9859"/>
                            <a:gd name="connsiteX16" fmla="*/ 16498 w 17126"/>
                            <a:gd name="connsiteY16" fmla="*/ 7567 h 9859"/>
                            <a:gd name="connsiteX17" fmla="*/ 17126 w 17126"/>
                            <a:gd name="connsiteY17" fmla="*/ 6562 h 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126" h="9859">
                              <a:moveTo>
                                <a:pt x="17126" y="6562"/>
                              </a:moveTo>
                              <a:lnTo>
                                <a:pt x="16875" y="5306"/>
                              </a:lnTo>
                              <a:lnTo>
                                <a:pt x="15242" y="5306"/>
                              </a:lnTo>
                              <a:lnTo>
                                <a:pt x="13107" y="4050"/>
                              </a:lnTo>
                              <a:cubicBezTo>
                                <a:pt x="12981" y="3925"/>
                                <a:pt x="12856" y="3925"/>
                                <a:pt x="12605" y="3925"/>
                              </a:cubicBezTo>
                              <a:lnTo>
                                <a:pt x="12354" y="2669"/>
                              </a:lnTo>
                              <a:lnTo>
                                <a:pt x="10721" y="2669"/>
                              </a:lnTo>
                              <a:lnTo>
                                <a:pt x="6451" y="283"/>
                              </a:lnTo>
                              <a:cubicBezTo>
                                <a:pt x="5823" y="-94"/>
                                <a:pt x="4692" y="-94"/>
                                <a:pt x="4064" y="283"/>
                              </a:cubicBezTo>
                              <a:lnTo>
                                <a:pt x="1929" y="1538"/>
                              </a:lnTo>
                              <a:lnTo>
                                <a:pt x="297" y="1538"/>
                              </a:lnTo>
                              <a:lnTo>
                                <a:pt x="45" y="2794"/>
                              </a:lnTo>
                              <a:cubicBezTo>
                                <a:pt x="-80" y="3171"/>
                                <a:pt x="45" y="3422"/>
                                <a:pt x="548" y="3673"/>
                              </a:cubicBezTo>
                              <a:lnTo>
                                <a:pt x="5823" y="6688"/>
                              </a:lnTo>
                              <a:lnTo>
                                <a:pt x="10595" y="9576"/>
                              </a:lnTo>
                              <a:cubicBezTo>
                                <a:pt x="11223" y="9953"/>
                                <a:pt x="12354" y="9953"/>
                                <a:pt x="12981" y="9576"/>
                              </a:cubicBezTo>
                              <a:lnTo>
                                <a:pt x="16498" y="7567"/>
                              </a:lnTo>
                              <a:cubicBezTo>
                                <a:pt x="17001" y="7190"/>
                                <a:pt x="17126" y="6939"/>
                                <a:pt x="17126" y="656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1" name="Freeform: Shape 3320">
                          <a:extLst>
                            <a:ext uri="{FF2B5EF4-FFF2-40B4-BE49-F238E27FC236}">
                              <a16:creationId xmlns:a16="http://schemas.microsoft.com/office/drawing/2014/main" id="{2298D6DA-FD79-457A-AA65-E5A6E2CDD742}"/>
                            </a:ext>
                          </a:extLst>
                        </p:cNvPr>
                        <p:cNvSpPr/>
                        <p:nvPr/>
                      </p:nvSpPr>
                      <p:spPr>
                        <a:xfrm>
                          <a:off x="4531418" y="4470114"/>
                          <a:ext cx="17000" cy="9859"/>
                        </a:xfrm>
                        <a:custGeom>
                          <a:avLst/>
                          <a:gdLst>
                            <a:gd name="connsiteX0" fmla="*/ 17001 w 17000"/>
                            <a:gd name="connsiteY0" fmla="*/ 6562 h 9859"/>
                            <a:gd name="connsiteX1" fmla="*/ 16749 w 17000"/>
                            <a:gd name="connsiteY1" fmla="*/ 5306 h 9859"/>
                            <a:gd name="connsiteX2" fmla="*/ 15117 w 17000"/>
                            <a:gd name="connsiteY2" fmla="*/ 5306 h 9859"/>
                            <a:gd name="connsiteX3" fmla="*/ 12982 w 17000"/>
                            <a:gd name="connsiteY3" fmla="*/ 4050 h 9859"/>
                            <a:gd name="connsiteX4" fmla="*/ 12479 w 17000"/>
                            <a:gd name="connsiteY4" fmla="*/ 3925 h 9859"/>
                            <a:gd name="connsiteX5" fmla="*/ 10721 w 17000"/>
                            <a:gd name="connsiteY5" fmla="*/ 2669 h 9859"/>
                            <a:gd name="connsiteX6" fmla="*/ 6451 w 17000"/>
                            <a:gd name="connsiteY6" fmla="*/ 283 h 9859"/>
                            <a:gd name="connsiteX7" fmla="*/ 4064 w 17000"/>
                            <a:gd name="connsiteY7" fmla="*/ 283 h 9859"/>
                            <a:gd name="connsiteX8" fmla="*/ 1929 w 17000"/>
                            <a:gd name="connsiteY8" fmla="*/ 1538 h 9859"/>
                            <a:gd name="connsiteX9" fmla="*/ 296 w 17000"/>
                            <a:gd name="connsiteY9" fmla="*/ 1538 h 9859"/>
                            <a:gd name="connsiteX10" fmla="*/ 45 w 17000"/>
                            <a:gd name="connsiteY10" fmla="*/ 2794 h 9859"/>
                            <a:gd name="connsiteX11" fmla="*/ 548 w 17000"/>
                            <a:gd name="connsiteY11" fmla="*/ 3673 h 9859"/>
                            <a:gd name="connsiteX12" fmla="*/ 5823 w 17000"/>
                            <a:gd name="connsiteY12" fmla="*/ 6688 h 9859"/>
                            <a:gd name="connsiteX13" fmla="*/ 10595 w 17000"/>
                            <a:gd name="connsiteY13" fmla="*/ 9576 h 9859"/>
                            <a:gd name="connsiteX14" fmla="*/ 12982 w 17000"/>
                            <a:gd name="connsiteY14" fmla="*/ 9576 h 9859"/>
                            <a:gd name="connsiteX15" fmla="*/ 16498 w 17000"/>
                            <a:gd name="connsiteY15" fmla="*/ 7567 h 9859"/>
                            <a:gd name="connsiteX16" fmla="*/ 17001 w 17000"/>
                            <a:gd name="connsiteY16" fmla="*/ 6562 h 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000" h="9859">
                              <a:moveTo>
                                <a:pt x="17001" y="6562"/>
                              </a:moveTo>
                              <a:lnTo>
                                <a:pt x="16749" y="5306"/>
                              </a:lnTo>
                              <a:lnTo>
                                <a:pt x="15117" y="5306"/>
                              </a:lnTo>
                              <a:lnTo>
                                <a:pt x="12982" y="4050"/>
                              </a:lnTo>
                              <a:cubicBezTo>
                                <a:pt x="12856" y="3925"/>
                                <a:pt x="12731" y="3925"/>
                                <a:pt x="12479" y="3925"/>
                              </a:cubicBezTo>
                              <a:lnTo>
                                <a:pt x="10721" y="2669"/>
                              </a:lnTo>
                              <a:lnTo>
                                <a:pt x="6451" y="283"/>
                              </a:lnTo>
                              <a:cubicBezTo>
                                <a:pt x="5823" y="-94"/>
                                <a:pt x="4692" y="-94"/>
                                <a:pt x="4064" y="283"/>
                              </a:cubicBezTo>
                              <a:lnTo>
                                <a:pt x="1929" y="1538"/>
                              </a:lnTo>
                              <a:lnTo>
                                <a:pt x="296" y="1538"/>
                              </a:lnTo>
                              <a:lnTo>
                                <a:pt x="45" y="2794"/>
                              </a:lnTo>
                              <a:cubicBezTo>
                                <a:pt x="-80" y="3171"/>
                                <a:pt x="45" y="3422"/>
                                <a:pt x="548" y="3673"/>
                              </a:cubicBezTo>
                              <a:lnTo>
                                <a:pt x="5823" y="6688"/>
                              </a:lnTo>
                              <a:lnTo>
                                <a:pt x="10595" y="9576"/>
                              </a:lnTo>
                              <a:cubicBezTo>
                                <a:pt x="11223" y="9953"/>
                                <a:pt x="12354" y="9953"/>
                                <a:pt x="12982" y="9576"/>
                              </a:cubicBezTo>
                              <a:lnTo>
                                <a:pt x="16498" y="7567"/>
                              </a:lnTo>
                              <a:cubicBezTo>
                                <a:pt x="16875" y="7190"/>
                                <a:pt x="17001" y="6939"/>
                                <a:pt x="17001" y="6562"/>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2" name="Freeform: Shape 3321">
                          <a:extLst>
                            <a:ext uri="{FF2B5EF4-FFF2-40B4-BE49-F238E27FC236}">
                              <a16:creationId xmlns:a16="http://schemas.microsoft.com/office/drawing/2014/main" id="{64401B83-EC26-49E5-835D-53A451F49464}"/>
                            </a:ext>
                          </a:extLst>
                        </p:cNvPr>
                        <p:cNvSpPr/>
                        <p:nvPr/>
                      </p:nvSpPr>
                      <p:spPr>
                        <a:xfrm>
                          <a:off x="4531621" y="4468732"/>
                          <a:ext cx="16515" cy="9607"/>
                        </a:xfrm>
                        <a:custGeom>
                          <a:avLst/>
                          <a:gdLst>
                            <a:gd name="connsiteX0" fmla="*/ 16045 w 16515"/>
                            <a:gd name="connsiteY0" fmla="*/ 6060 h 9607"/>
                            <a:gd name="connsiteX1" fmla="*/ 11649 w 16515"/>
                            <a:gd name="connsiteY1" fmla="*/ 3422 h 9607"/>
                            <a:gd name="connsiteX2" fmla="*/ 11523 w 16515"/>
                            <a:gd name="connsiteY2" fmla="*/ 3297 h 9607"/>
                            <a:gd name="connsiteX3" fmla="*/ 10644 w 16515"/>
                            <a:gd name="connsiteY3" fmla="*/ 2795 h 9607"/>
                            <a:gd name="connsiteX4" fmla="*/ 10644 w 16515"/>
                            <a:gd name="connsiteY4" fmla="*/ 2795 h 9607"/>
                            <a:gd name="connsiteX5" fmla="*/ 10644 w 16515"/>
                            <a:gd name="connsiteY5" fmla="*/ 2795 h 9607"/>
                            <a:gd name="connsiteX6" fmla="*/ 6123 w 16515"/>
                            <a:gd name="connsiteY6" fmla="*/ 283 h 9607"/>
                            <a:gd name="connsiteX7" fmla="*/ 3862 w 16515"/>
                            <a:gd name="connsiteY7" fmla="*/ 283 h 9607"/>
                            <a:gd name="connsiteX8" fmla="*/ 471 w 16515"/>
                            <a:gd name="connsiteY8" fmla="*/ 2166 h 9607"/>
                            <a:gd name="connsiteX9" fmla="*/ 471 w 16515"/>
                            <a:gd name="connsiteY9" fmla="*/ 3548 h 9607"/>
                            <a:gd name="connsiteX10" fmla="*/ 4867 w 16515"/>
                            <a:gd name="connsiteY10" fmla="*/ 6060 h 9607"/>
                            <a:gd name="connsiteX11" fmla="*/ 4867 w 16515"/>
                            <a:gd name="connsiteY11" fmla="*/ 6060 h 9607"/>
                            <a:gd name="connsiteX12" fmla="*/ 10267 w 16515"/>
                            <a:gd name="connsiteY12" fmla="*/ 9325 h 9607"/>
                            <a:gd name="connsiteX13" fmla="*/ 12654 w 16515"/>
                            <a:gd name="connsiteY13" fmla="*/ 9325 h 9607"/>
                            <a:gd name="connsiteX14" fmla="*/ 16045 w 16515"/>
                            <a:gd name="connsiteY14" fmla="*/ 7442 h 9607"/>
                            <a:gd name="connsiteX15" fmla="*/ 16045 w 16515"/>
                            <a:gd name="connsiteY15" fmla="*/ 6060 h 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15" h="9607">
                              <a:moveTo>
                                <a:pt x="16045" y="6060"/>
                              </a:moveTo>
                              <a:lnTo>
                                <a:pt x="11649" y="3422"/>
                              </a:lnTo>
                              <a:cubicBezTo>
                                <a:pt x="11649" y="3422"/>
                                <a:pt x="11649" y="3422"/>
                                <a:pt x="11523" y="3297"/>
                              </a:cubicBezTo>
                              <a:lnTo>
                                <a:pt x="10644" y="2795"/>
                              </a:lnTo>
                              <a:lnTo>
                                <a:pt x="10644" y="2795"/>
                              </a:lnTo>
                              <a:lnTo>
                                <a:pt x="10644" y="2795"/>
                              </a:lnTo>
                              <a:lnTo>
                                <a:pt x="6123" y="283"/>
                              </a:lnTo>
                              <a:cubicBezTo>
                                <a:pt x="5495" y="-94"/>
                                <a:pt x="4490" y="-94"/>
                                <a:pt x="3862" y="283"/>
                              </a:cubicBezTo>
                              <a:lnTo>
                                <a:pt x="471" y="2166"/>
                              </a:lnTo>
                              <a:cubicBezTo>
                                <a:pt x="-157" y="2543"/>
                                <a:pt x="-157" y="3171"/>
                                <a:pt x="471" y="3548"/>
                              </a:cubicBezTo>
                              <a:lnTo>
                                <a:pt x="4867" y="6060"/>
                              </a:lnTo>
                              <a:lnTo>
                                <a:pt x="4867" y="6060"/>
                              </a:lnTo>
                              <a:lnTo>
                                <a:pt x="10267" y="9325"/>
                              </a:lnTo>
                              <a:cubicBezTo>
                                <a:pt x="10895" y="9702"/>
                                <a:pt x="11900" y="9702"/>
                                <a:pt x="12654" y="9325"/>
                              </a:cubicBezTo>
                              <a:lnTo>
                                <a:pt x="16045" y="7442"/>
                              </a:lnTo>
                              <a:cubicBezTo>
                                <a:pt x="16673" y="6939"/>
                                <a:pt x="16673" y="6311"/>
                                <a:pt x="16045" y="6060"/>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23" name="Graphic 4">
                        <a:extLst>
                          <a:ext uri="{FF2B5EF4-FFF2-40B4-BE49-F238E27FC236}">
                            <a16:creationId xmlns:a16="http://schemas.microsoft.com/office/drawing/2014/main" id="{84FB7ED1-A2DF-40A1-A747-5F7CF3F14040}"/>
                          </a:ext>
                        </a:extLst>
                      </p:cNvPr>
                      <p:cNvGrpSpPr/>
                      <p:nvPr/>
                    </p:nvGrpSpPr>
                    <p:grpSpPr>
                      <a:xfrm>
                        <a:off x="4544229" y="4476142"/>
                        <a:ext cx="10514" cy="7347"/>
                        <a:chOff x="4544229" y="4476142"/>
                        <a:chExt cx="10514" cy="7347"/>
                      </a:xfrm>
                      <a:solidFill>
                        <a:schemeClr val="accent1"/>
                      </a:solidFill>
                    </p:grpSpPr>
                    <p:sp>
                      <p:nvSpPr>
                        <p:cNvPr id="3324" name="Freeform: Shape 3323">
                          <a:extLst>
                            <a:ext uri="{FF2B5EF4-FFF2-40B4-BE49-F238E27FC236}">
                              <a16:creationId xmlns:a16="http://schemas.microsoft.com/office/drawing/2014/main" id="{5CC5BC29-1532-4BB3-A473-D829F1179C96}"/>
                            </a:ext>
                          </a:extLst>
                        </p:cNvPr>
                        <p:cNvSpPr/>
                        <p:nvPr/>
                      </p:nvSpPr>
                      <p:spPr>
                        <a:xfrm>
                          <a:off x="4544229" y="447752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5" name="Freeform: Shape 3324">
                          <a:extLst>
                            <a:ext uri="{FF2B5EF4-FFF2-40B4-BE49-F238E27FC236}">
                              <a16:creationId xmlns:a16="http://schemas.microsoft.com/office/drawing/2014/main" id="{EAAB8722-34A9-454C-8795-5D70813DD9AE}"/>
                            </a:ext>
                          </a:extLst>
                        </p:cNvPr>
                        <p:cNvSpPr/>
                        <p:nvPr/>
                      </p:nvSpPr>
                      <p:spPr>
                        <a:xfrm>
                          <a:off x="4544229" y="447752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6" name="Freeform: Shape 3325">
                          <a:extLst>
                            <a:ext uri="{FF2B5EF4-FFF2-40B4-BE49-F238E27FC236}">
                              <a16:creationId xmlns:a16="http://schemas.microsoft.com/office/drawing/2014/main" id="{29FDFDA0-2E52-4F08-8A91-9F84A5C87DFC}"/>
                            </a:ext>
                          </a:extLst>
                        </p:cNvPr>
                        <p:cNvSpPr/>
                        <p:nvPr/>
                      </p:nvSpPr>
                      <p:spPr>
                        <a:xfrm>
                          <a:off x="4544431" y="4476142"/>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27" name="Graphic 4">
                        <a:extLst>
                          <a:ext uri="{FF2B5EF4-FFF2-40B4-BE49-F238E27FC236}">
                            <a16:creationId xmlns:a16="http://schemas.microsoft.com/office/drawing/2014/main" id="{84FB7ED1-A2DF-40A1-A747-5F7CF3F14040}"/>
                          </a:ext>
                        </a:extLst>
                      </p:cNvPr>
                      <p:cNvGrpSpPr/>
                      <p:nvPr/>
                    </p:nvGrpSpPr>
                    <p:grpSpPr>
                      <a:xfrm>
                        <a:off x="4550634" y="4479784"/>
                        <a:ext cx="10502" cy="7347"/>
                        <a:chOff x="4550634" y="4479784"/>
                        <a:chExt cx="10502" cy="7347"/>
                      </a:xfrm>
                      <a:solidFill>
                        <a:schemeClr val="accent1"/>
                      </a:solidFill>
                    </p:grpSpPr>
                    <p:sp>
                      <p:nvSpPr>
                        <p:cNvPr id="3328" name="Freeform: Shape 3327">
                          <a:extLst>
                            <a:ext uri="{FF2B5EF4-FFF2-40B4-BE49-F238E27FC236}">
                              <a16:creationId xmlns:a16="http://schemas.microsoft.com/office/drawing/2014/main" id="{EB83678E-D74B-4D45-84B7-E6446482F0B0}"/>
                            </a:ext>
                          </a:extLst>
                        </p:cNvPr>
                        <p:cNvSpPr/>
                        <p:nvPr/>
                      </p:nvSpPr>
                      <p:spPr>
                        <a:xfrm>
                          <a:off x="4550634" y="4481166"/>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9" name="Freeform: Shape 3328">
                          <a:extLst>
                            <a:ext uri="{FF2B5EF4-FFF2-40B4-BE49-F238E27FC236}">
                              <a16:creationId xmlns:a16="http://schemas.microsoft.com/office/drawing/2014/main" id="{D6BADF02-8496-4363-8935-9311B615996C}"/>
                            </a:ext>
                          </a:extLst>
                        </p:cNvPr>
                        <p:cNvSpPr/>
                        <p:nvPr/>
                      </p:nvSpPr>
                      <p:spPr>
                        <a:xfrm>
                          <a:off x="4550634" y="4481166"/>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0" name="Freeform: Shape 3329">
                          <a:extLst>
                            <a:ext uri="{FF2B5EF4-FFF2-40B4-BE49-F238E27FC236}">
                              <a16:creationId xmlns:a16="http://schemas.microsoft.com/office/drawing/2014/main" id="{783436D7-6E83-4998-A143-9D105A1EA7F5}"/>
                            </a:ext>
                          </a:extLst>
                        </p:cNvPr>
                        <p:cNvSpPr/>
                        <p:nvPr/>
                      </p:nvSpPr>
                      <p:spPr>
                        <a:xfrm>
                          <a:off x="4550837" y="447978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31" name="Graphic 4">
                        <a:extLst>
                          <a:ext uri="{FF2B5EF4-FFF2-40B4-BE49-F238E27FC236}">
                            <a16:creationId xmlns:a16="http://schemas.microsoft.com/office/drawing/2014/main" id="{84FB7ED1-A2DF-40A1-A747-5F7CF3F14040}"/>
                          </a:ext>
                        </a:extLst>
                      </p:cNvPr>
                      <p:cNvGrpSpPr/>
                      <p:nvPr/>
                    </p:nvGrpSpPr>
                    <p:grpSpPr>
                      <a:xfrm>
                        <a:off x="4557040" y="4483552"/>
                        <a:ext cx="10469" cy="7347"/>
                        <a:chOff x="4557040" y="4483552"/>
                        <a:chExt cx="10469" cy="7347"/>
                      </a:xfrm>
                      <a:solidFill>
                        <a:schemeClr val="accent1"/>
                      </a:solidFill>
                    </p:grpSpPr>
                    <p:sp>
                      <p:nvSpPr>
                        <p:cNvPr id="3332" name="Freeform: Shape 3331">
                          <a:extLst>
                            <a:ext uri="{FF2B5EF4-FFF2-40B4-BE49-F238E27FC236}">
                              <a16:creationId xmlns:a16="http://schemas.microsoft.com/office/drawing/2014/main" id="{D5A1ABE7-55C8-48F0-863C-55187B7CE0AE}"/>
                            </a:ext>
                          </a:extLst>
                        </p:cNvPr>
                        <p:cNvSpPr/>
                        <p:nvPr/>
                      </p:nvSpPr>
                      <p:spPr>
                        <a:xfrm>
                          <a:off x="4557040" y="4484934"/>
                          <a:ext cx="10469" cy="5965"/>
                        </a:xfrm>
                        <a:custGeom>
                          <a:avLst/>
                          <a:gdLst>
                            <a:gd name="connsiteX0" fmla="*/ 10470 w 10469"/>
                            <a:gd name="connsiteY0" fmla="*/ 2794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3" name="Freeform: Shape 3332">
                          <a:extLst>
                            <a:ext uri="{FF2B5EF4-FFF2-40B4-BE49-F238E27FC236}">
                              <a16:creationId xmlns:a16="http://schemas.microsoft.com/office/drawing/2014/main" id="{44323ECD-9E9B-4812-AC9A-6616E0B13EDE}"/>
                            </a:ext>
                          </a:extLst>
                        </p:cNvPr>
                        <p:cNvSpPr/>
                        <p:nvPr/>
                      </p:nvSpPr>
                      <p:spPr>
                        <a:xfrm>
                          <a:off x="4557040" y="4484934"/>
                          <a:ext cx="10469" cy="5965"/>
                        </a:xfrm>
                        <a:custGeom>
                          <a:avLst/>
                          <a:gdLst>
                            <a:gd name="connsiteX0" fmla="*/ 10470 w 10469"/>
                            <a:gd name="connsiteY0" fmla="*/ 2794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4" name="Freeform: Shape 3333">
                          <a:extLst>
                            <a:ext uri="{FF2B5EF4-FFF2-40B4-BE49-F238E27FC236}">
                              <a16:creationId xmlns:a16="http://schemas.microsoft.com/office/drawing/2014/main" id="{BFE9713A-E66B-430D-89F6-4C785F98BE5A}"/>
                            </a:ext>
                          </a:extLst>
                        </p:cNvPr>
                        <p:cNvSpPr/>
                        <p:nvPr/>
                      </p:nvSpPr>
                      <p:spPr>
                        <a:xfrm>
                          <a:off x="4557242" y="4483552"/>
                          <a:ext cx="9984" cy="5966"/>
                        </a:xfrm>
                        <a:custGeom>
                          <a:avLst/>
                          <a:gdLst>
                            <a:gd name="connsiteX0" fmla="*/ 3862 w 9984"/>
                            <a:gd name="connsiteY0" fmla="*/ 283 h 5966"/>
                            <a:gd name="connsiteX1" fmla="*/ 471 w 9984"/>
                            <a:gd name="connsiteY1" fmla="*/ 2292 h 5966"/>
                            <a:gd name="connsiteX2" fmla="*/ 471 w 9984"/>
                            <a:gd name="connsiteY2" fmla="*/ 3674 h 5966"/>
                            <a:gd name="connsiteX3" fmla="*/ 3862 w 9984"/>
                            <a:gd name="connsiteY3" fmla="*/ 5683 h 5966"/>
                            <a:gd name="connsiteX4" fmla="*/ 6123 w 9984"/>
                            <a:gd name="connsiteY4" fmla="*/ 5683 h 5966"/>
                            <a:gd name="connsiteX5" fmla="*/ 9514 w 9984"/>
                            <a:gd name="connsiteY5" fmla="*/ 3674 h 5966"/>
                            <a:gd name="connsiteX6" fmla="*/ 9514 w 9984"/>
                            <a:gd name="connsiteY6" fmla="*/ 2292 h 5966"/>
                            <a:gd name="connsiteX7" fmla="*/ 6123 w 9984"/>
                            <a:gd name="connsiteY7" fmla="*/ 283 h 5966"/>
                            <a:gd name="connsiteX8" fmla="*/ 3862 w 9984"/>
                            <a:gd name="connsiteY8" fmla="*/ 283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6">
                              <a:moveTo>
                                <a:pt x="3862" y="283"/>
                              </a:moveTo>
                              <a:lnTo>
                                <a:pt x="471" y="2292"/>
                              </a:lnTo>
                              <a:cubicBezTo>
                                <a:pt x="-157" y="2669"/>
                                <a:pt x="-157" y="3297"/>
                                <a:pt x="471" y="3674"/>
                              </a:cubicBezTo>
                              <a:lnTo>
                                <a:pt x="3862" y="5683"/>
                              </a:lnTo>
                              <a:cubicBezTo>
                                <a:pt x="4490" y="6060"/>
                                <a:pt x="5495" y="6060"/>
                                <a:pt x="6123" y="5683"/>
                              </a:cubicBezTo>
                              <a:lnTo>
                                <a:pt x="9514" y="3674"/>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35" name="Graphic 4">
                        <a:extLst>
                          <a:ext uri="{FF2B5EF4-FFF2-40B4-BE49-F238E27FC236}">
                            <a16:creationId xmlns:a16="http://schemas.microsoft.com/office/drawing/2014/main" id="{84FB7ED1-A2DF-40A1-A747-5F7CF3F14040}"/>
                          </a:ext>
                        </a:extLst>
                      </p:cNvPr>
                      <p:cNvGrpSpPr/>
                      <p:nvPr/>
                    </p:nvGrpSpPr>
                    <p:grpSpPr>
                      <a:xfrm>
                        <a:off x="4563319" y="4487194"/>
                        <a:ext cx="10514" cy="7347"/>
                        <a:chOff x="4563319" y="4487194"/>
                        <a:chExt cx="10514" cy="7347"/>
                      </a:xfrm>
                      <a:solidFill>
                        <a:schemeClr val="accent1"/>
                      </a:solidFill>
                    </p:grpSpPr>
                    <p:sp>
                      <p:nvSpPr>
                        <p:cNvPr id="3336" name="Freeform: Shape 3335">
                          <a:extLst>
                            <a:ext uri="{FF2B5EF4-FFF2-40B4-BE49-F238E27FC236}">
                              <a16:creationId xmlns:a16="http://schemas.microsoft.com/office/drawing/2014/main" id="{DE37AAA7-DB41-4BC4-935D-57E6E4E86DEF}"/>
                            </a:ext>
                          </a:extLst>
                        </p:cNvPr>
                        <p:cNvSpPr/>
                        <p:nvPr/>
                      </p:nvSpPr>
                      <p:spPr>
                        <a:xfrm>
                          <a:off x="4563319" y="4488576"/>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3"/>
                                <a:pt x="547" y="3674"/>
                              </a:cubicBezTo>
                              <a:lnTo>
                                <a:pt x="4064" y="5683"/>
                              </a:lnTo>
                              <a:cubicBezTo>
                                <a:pt x="4692" y="6060"/>
                                <a:pt x="5823" y="6060"/>
                                <a:pt x="6450" y="5683"/>
                              </a:cubicBezTo>
                              <a:lnTo>
                                <a:pt x="9967" y="3674"/>
                              </a:lnTo>
                              <a:cubicBezTo>
                                <a:pt x="10470" y="3423"/>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7" name="Freeform: Shape 3336">
                          <a:extLst>
                            <a:ext uri="{FF2B5EF4-FFF2-40B4-BE49-F238E27FC236}">
                              <a16:creationId xmlns:a16="http://schemas.microsoft.com/office/drawing/2014/main" id="{F246960D-DA33-4520-9BA2-E45AE7EAFD35}"/>
                            </a:ext>
                          </a:extLst>
                        </p:cNvPr>
                        <p:cNvSpPr/>
                        <p:nvPr/>
                      </p:nvSpPr>
                      <p:spPr>
                        <a:xfrm>
                          <a:off x="4563319" y="4488576"/>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3"/>
                                <a:pt x="547" y="3674"/>
                              </a:cubicBezTo>
                              <a:lnTo>
                                <a:pt x="4064" y="5683"/>
                              </a:lnTo>
                              <a:cubicBezTo>
                                <a:pt x="4692" y="6060"/>
                                <a:pt x="5823" y="6060"/>
                                <a:pt x="6450" y="5683"/>
                              </a:cubicBezTo>
                              <a:lnTo>
                                <a:pt x="9967" y="3674"/>
                              </a:lnTo>
                              <a:cubicBezTo>
                                <a:pt x="10470" y="3423"/>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8" name="Freeform: Shape 3337">
                          <a:extLst>
                            <a:ext uri="{FF2B5EF4-FFF2-40B4-BE49-F238E27FC236}">
                              <a16:creationId xmlns:a16="http://schemas.microsoft.com/office/drawing/2014/main" id="{AB14075D-EED5-4F6D-8F44-22294D4F9012}"/>
                            </a:ext>
                          </a:extLst>
                        </p:cNvPr>
                        <p:cNvSpPr/>
                        <p:nvPr/>
                      </p:nvSpPr>
                      <p:spPr>
                        <a:xfrm>
                          <a:off x="4563522" y="448719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39" name="Graphic 4">
                        <a:extLst>
                          <a:ext uri="{FF2B5EF4-FFF2-40B4-BE49-F238E27FC236}">
                            <a16:creationId xmlns:a16="http://schemas.microsoft.com/office/drawing/2014/main" id="{84FB7ED1-A2DF-40A1-A747-5F7CF3F14040}"/>
                          </a:ext>
                        </a:extLst>
                      </p:cNvPr>
                      <p:cNvGrpSpPr/>
                      <p:nvPr/>
                    </p:nvGrpSpPr>
                    <p:grpSpPr>
                      <a:xfrm>
                        <a:off x="4569725" y="4490837"/>
                        <a:ext cx="10502" cy="7347"/>
                        <a:chOff x="4569725" y="4490837"/>
                        <a:chExt cx="10502" cy="7347"/>
                      </a:xfrm>
                      <a:solidFill>
                        <a:schemeClr val="accent1"/>
                      </a:solidFill>
                    </p:grpSpPr>
                    <p:sp>
                      <p:nvSpPr>
                        <p:cNvPr id="3340" name="Freeform: Shape 3339">
                          <a:extLst>
                            <a:ext uri="{FF2B5EF4-FFF2-40B4-BE49-F238E27FC236}">
                              <a16:creationId xmlns:a16="http://schemas.microsoft.com/office/drawing/2014/main" id="{28CE6390-3E6A-45CA-A267-D6C16AB034EA}"/>
                            </a:ext>
                          </a:extLst>
                        </p:cNvPr>
                        <p:cNvSpPr/>
                        <p:nvPr/>
                      </p:nvSpPr>
                      <p:spPr>
                        <a:xfrm>
                          <a:off x="4569725" y="449221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4 h 5965"/>
                            <a:gd name="connsiteX9" fmla="*/ 4064 w 10502"/>
                            <a:gd name="connsiteY9" fmla="*/ 5683 h 5965"/>
                            <a:gd name="connsiteX10" fmla="*/ 6451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1" name="Freeform: Shape 3340">
                          <a:extLst>
                            <a:ext uri="{FF2B5EF4-FFF2-40B4-BE49-F238E27FC236}">
                              <a16:creationId xmlns:a16="http://schemas.microsoft.com/office/drawing/2014/main" id="{5B112FEE-52AB-4842-8E6C-13B9A24B18F7}"/>
                            </a:ext>
                          </a:extLst>
                        </p:cNvPr>
                        <p:cNvSpPr/>
                        <p:nvPr/>
                      </p:nvSpPr>
                      <p:spPr>
                        <a:xfrm>
                          <a:off x="4569725" y="449221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4 h 5965"/>
                            <a:gd name="connsiteX9" fmla="*/ 4064 w 10502"/>
                            <a:gd name="connsiteY9" fmla="*/ 5683 h 5965"/>
                            <a:gd name="connsiteX10" fmla="*/ 6451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2" name="Freeform: Shape 3341">
                          <a:extLst>
                            <a:ext uri="{FF2B5EF4-FFF2-40B4-BE49-F238E27FC236}">
                              <a16:creationId xmlns:a16="http://schemas.microsoft.com/office/drawing/2014/main" id="{8383D028-157A-48A7-9192-26A0385F03C8}"/>
                            </a:ext>
                          </a:extLst>
                        </p:cNvPr>
                        <p:cNvSpPr/>
                        <p:nvPr/>
                      </p:nvSpPr>
                      <p:spPr>
                        <a:xfrm>
                          <a:off x="4569927" y="4490837"/>
                          <a:ext cx="10110" cy="5839"/>
                        </a:xfrm>
                        <a:custGeom>
                          <a:avLst/>
                          <a:gdLst>
                            <a:gd name="connsiteX0" fmla="*/ 3862 w 10110"/>
                            <a:gd name="connsiteY0" fmla="*/ 283 h 5839"/>
                            <a:gd name="connsiteX1" fmla="*/ 471 w 10110"/>
                            <a:gd name="connsiteY1" fmla="*/ 2166 h 5839"/>
                            <a:gd name="connsiteX2" fmla="*/ 471 w 10110"/>
                            <a:gd name="connsiteY2" fmla="*/ 3548 h 5839"/>
                            <a:gd name="connsiteX3" fmla="*/ 3862 w 10110"/>
                            <a:gd name="connsiteY3" fmla="*/ 5557 h 5839"/>
                            <a:gd name="connsiteX4" fmla="*/ 6248 w 10110"/>
                            <a:gd name="connsiteY4" fmla="*/ 5557 h 5839"/>
                            <a:gd name="connsiteX5" fmla="*/ 9639 w 10110"/>
                            <a:gd name="connsiteY5" fmla="*/ 3548 h 5839"/>
                            <a:gd name="connsiteX6" fmla="*/ 9639 w 10110"/>
                            <a:gd name="connsiteY6" fmla="*/ 2166 h 5839"/>
                            <a:gd name="connsiteX7" fmla="*/ 6248 w 10110"/>
                            <a:gd name="connsiteY7" fmla="*/ 283 h 5839"/>
                            <a:gd name="connsiteX8" fmla="*/ 3862 w 10110"/>
                            <a:gd name="connsiteY8" fmla="*/ 283 h 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39">
                              <a:moveTo>
                                <a:pt x="3862" y="283"/>
                              </a:moveTo>
                              <a:lnTo>
                                <a:pt x="471" y="2166"/>
                              </a:lnTo>
                              <a:cubicBezTo>
                                <a:pt x="-157" y="2543"/>
                                <a:pt x="-157" y="3171"/>
                                <a:pt x="471" y="3548"/>
                              </a:cubicBezTo>
                              <a:lnTo>
                                <a:pt x="3862" y="5557"/>
                              </a:lnTo>
                              <a:cubicBezTo>
                                <a:pt x="4490" y="5934"/>
                                <a:pt x="5495" y="5934"/>
                                <a:pt x="6248" y="5557"/>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43" name="Graphic 4">
                        <a:extLst>
                          <a:ext uri="{FF2B5EF4-FFF2-40B4-BE49-F238E27FC236}">
                            <a16:creationId xmlns:a16="http://schemas.microsoft.com/office/drawing/2014/main" id="{84FB7ED1-A2DF-40A1-A747-5F7CF3F14040}"/>
                          </a:ext>
                        </a:extLst>
                      </p:cNvPr>
                      <p:cNvGrpSpPr/>
                      <p:nvPr/>
                    </p:nvGrpSpPr>
                    <p:grpSpPr>
                      <a:xfrm>
                        <a:off x="4576130" y="4494605"/>
                        <a:ext cx="10469" cy="7347"/>
                        <a:chOff x="4576130" y="4494605"/>
                        <a:chExt cx="10469" cy="7347"/>
                      </a:xfrm>
                      <a:solidFill>
                        <a:schemeClr val="accent1"/>
                      </a:solidFill>
                    </p:grpSpPr>
                    <p:sp>
                      <p:nvSpPr>
                        <p:cNvPr id="3344" name="Freeform: Shape 3343">
                          <a:extLst>
                            <a:ext uri="{FF2B5EF4-FFF2-40B4-BE49-F238E27FC236}">
                              <a16:creationId xmlns:a16="http://schemas.microsoft.com/office/drawing/2014/main" id="{41661E45-707C-4B39-A503-DDE9DFF41320}"/>
                            </a:ext>
                          </a:extLst>
                        </p:cNvPr>
                        <p:cNvSpPr/>
                        <p:nvPr/>
                      </p:nvSpPr>
                      <p:spPr>
                        <a:xfrm>
                          <a:off x="4576130" y="4495986"/>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6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5" name="Freeform: Shape 3344">
                          <a:extLst>
                            <a:ext uri="{FF2B5EF4-FFF2-40B4-BE49-F238E27FC236}">
                              <a16:creationId xmlns:a16="http://schemas.microsoft.com/office/drawing/2014/main" id="{D7444EAD-D8E3-4EAA-9EDF-5E2DC4A84C8B}"/>
                            </a:ext>
                          </a:extLst>
                        </p:cNvPr>
                        <p:cNvSpPr/>
                        <p:nvPr/>
                      </p:nvSpPr>
                      <p:spPr>
                        <a:xfrm>
                          <a:off x="4576130" y="4495986"/>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6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6" name="Freeform: Shape 3345">
                          <a:extLst>
                            <a:ext uri="{FF2B5EF4-FFF2-40B4-BE49-F238E27FC236}">
                              <a16:creationId xmlns:a16="http://schemas.microsoft.com/office/drawing/2014/main" id="{62E1C118-B761-4630-B46C-8E5161EB1EA0}"/>
                            </a:ext>
                          </a:extLst>
                        </p:cNvPr>
                        <p:cNvSpPr/>
                        <p:nvPr/>
                      </p:nvSpPr>
                      <p:spPr>
                        <a:xfrm>
                          <a:off x="4576332" y="4494605"/>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47" name="Graphic 4">
                        <a:extLst>
                          <a:ext uri="{FF2B5EF4-FFF2-40B4-BE49-F238E27FC236}">
                            <a16:creationId xmlns:a16="http://schemas.microsoft.com/office/drawing/2014/main" id="{84FB7ED1-A2DF-40A1-A747-5F7CF3F14040}"/>
                          </a:ext>
                        </a:extLst>
                      </p:cNvPr>
                      <p:cNvGrpSpPr/>
                      <p:nvPr/>
                    </p:nvGrpSpPr>
                    <p:grpSpPr>
                      <a:xfrm>
                        <a:off x="4582410" y="4498121"/>
                        <a:ext cx="10502" cy="7473"/>
                        <a:chOff x="4582410" y="4498121"/>
                        <a:chExt cx="10502" cy="7473"/>
                      </a:xfrm>
                      <a:solidFill>
                        <a:schemeClr val="accent1"/>
                      </a:solidFill>
                    </p:grpSpPr>
                    <p:sp>
                      <p:nvSpPr>
                        <p:cNvPr id="3348" name="Freeform: Shape 3347">
                          <a:extLst>
                            <a:ext uri="{FF2B5EF4-FFF2-40B4-BE49-F238E27FC236}">
                              <a16:creationId xmlns:a16="http://schemas.microsoft.com/office/drawing/2014/main" id="{FCA20254-6B8C-40D6-BDB7-A1BCAB2433E9}"/>
                            </a:ext>
                          </a:extLst>
                        </p:cNvPr>
                        <p:cNvSpPr/>
                        <p:nvPr/>
                      </p:nvSpPr>
                      <p:spPr>
                        <a:xfrm>
                          <a:off x="4582410" y="4499628"/>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9" name="Freeform: Shape 3348">
                          <a:extLst>
                            <a:ext uri="{FF2B5EF4-FFF2-40B4-BE49-F238E27FC236}">
                              <a16:creationId xmlns:a16="http://schemas.microsoft.com/office/drawing/2014/main" id="{250998F3-8892-4F2E-B573-B5D78F8A4954}"/>
                            </a:ext>
                          </a:extLst>
                        </p:cNvPr>
                        <p:cNvSpPr/>
                        <p:nvPr/>
                      </p:nvSpPr>
                      <p:spPr>
                        <a:xfrm>
                          <a:off x="4582410" y="4499628"/>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0" name="Freeform: Shape 3349">
                          <a:extLst>
                            <a:ext uri="{FF2B5EF4-FFF2-40B4-BE49-F238E27FC236}">
                              <a16:creationId xmlns:a16="http://schemas.microsoft.com/office/drawing/2014/main" id="{36D0C936-00BC-4060-A0C7-25F6CD8D6B7D}"/>
                            </a:ext>
                          </a:extLst>
                        </p:cNvPr>
                        <p:cNvSpPr/>
                        <p:nvPr/>
                      </p:nvSpPr>
                      <p:spPr>
                        <a:xfrm>
                          <a:off x="4582612" y="4498121"/>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51" name="Graphic 4">
                        <a:extLst>
                          <a:ext uri="{FF2B5EF4-FFF2-40B4-BE49-F238E27FC236}">
                            <a16:creationId xmlns:a16="http://schemas.microsoft.com/office/drawing/2014/main" id="{84FB7ED1-A2DF-40A1-A747-5F7CF3F14040}"/>
                          </a:ext>
                        </a:extLst>
                      </p:cNvPr>
                      <p:cNvGrpSpPr/>
                      <p:nvPr/>
                    </p:nvGrpSpPr>
                    <p:grpSpPr>
                      <a:xfrm>
                        <a:off x="4588702" y="4501889"/>
                        <a:ext cx="10456" cy="7472"/>
                        <a:chOff x="4588702" y="4501889"/>
                        <a:chExt cx="10456" cy="7472"/>
                      </a:xfrm>
                      <a:solidFill>
                        <a:schemeClr val="accent1"/>
                      </a:solidFill>
                    </p:grpSpPr>
                    <p:sp>
                      <p:nvSpPr>
                        <p:cNvPr id="3352" name="Freeform: Shape 3351">
                          <a:extLst>
                            <a:ext uri="{FF2B5EF4-FFF2-40B4-BE49-F238E27FC236}">
                              <a16:creationId xmlns:a16="http://schemas.microsoft.com/office/drawing/2014/main" id="{AFCDDBDF-72B1-4C74-9C51-BD066F752ECB}"/>
                            </a:ext>
                          </a:extLst>
                        </p:cNvPr>
                        <p:cNvSpPr/>
                        <p:nvPr/>
                      </p:nvSpPr>
                      <p:spPr>
                        <a:xfrm>
                          <a:off x="4588702" y="4503396"/>
                          <a:ext cx="10456" cy="5965"/>
                        </a:xfrm>
                        <a:custGeom>
                          <a:avLst/>
                          <a:gdLst>
                            <a:gd name="connsiteX0" fmla="*/ 10457 w 10456"/>
                            <a:gd name="connsiteY0" fmla="*/ 2417 h 5965"/>
                            <a:gd name="connsiteX1" fmla="*/ 7066 w 10456"/>
                            <a:gd name="connsiteY1" fmla="*/ 4427 h 5965"/>
                            <a:gd name="connsiteX2" fmla="*/ 6689 w 10456"/>
                            <a:gd name="connsiteY2" fmla="*/ 5557 h 5965"/>
                            <a:gd name="connsiteX3" fmla="*/ 6438 w 10456"/>
                            <a:gd name="connsiteY3" fmla="*/ 5683 h 5965"/>
                            <a:gd name="connsiteX4" fmla="*/ 4052 w 10456"/>
                            <a:gd name="connsiteY4" fmla="*/ 5683 h 5965"/>
                            <a:gd name="connsiteX5" fmla="*/ 535 w 10456"/>
                            <a:gd name="connsiteY5" fmla="*/ 3673 h 5965"/>
                            <a:gd name="connsiteX6" fmla="*/ 33 w 10456"/>
                            <a:gd name="connsiteY6" fmla="*/ 2794 h 5965"/>
                            <a:gd name="connsiteX7" fmla="*/ 284 w 10456"/>
                            <a:gd name="connsiteY7" fmla="*/ 1539 h 5965"/>
                            <a:gd name="connsiteX8" fmla="*/ 1917 w 10456"/>
                            <a:gd name="connsiteY8" fmla="*/ 1539 h 5965"/>
                            <a:gd name="connsiteX9" fmla="*/ 4052 w 10456"/>
                            <a:gd name="connsiteY9" fmla="*/ 283 h 5965"/>
                            <a:gd name="connsiteX10" fmla="*/ 6438 w 10456"/>
                            <a:gd name="connsiteY10" fmla="*/ 283 h 5965"/>
                            <a:gd name="connsiteX11" fmla="*/ 8699 w 10456"/>
                            <a:gd name="connsiteY11" fmla="*/ 1539 h 5965"/>
                            <a:gd name="connsiteX12" fmla="*/ 10332 w 10456"/>
                            <a:gd name="connsiteY12" fmla="*/ 1539 h 5965"/>
                            <a:gd name="connsiteX13" fmla="*/ 10457 w 10456"/>
                            <a:gd name="connsiteY13" fmla="*/ 2417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56" h="5965">
                              <a:moveTo>
                                <a:pt x="10457" y="2417"/>
                              </a:moveTo>
                              <a:lnTo>
                                <a:pt x="7066" y="4427"/>
                              </a:lnTo>
                              <a:cubicBezTo>
                                <a:pt x="6563" y="4678"/>
                                <a:pt x="6438" y="5181"/>
                                <a:pt x="6689" y="5557"/>
                              </a:cubicBezTo>
                              <a:lnTo>
                                <a:pt x="6438" y="5683"/>
                              </a:lnTo>
                              <a:cubicBezTo>
                                <a:pt x="5810" y="6060"/>
                                <a:pt x="4680" y="6060"/>
                                <a:pt x="4052" y="5683"/>
                              </a:cubicBezTo>
                              <a:lnTo>
                                <a:pt x="535" y="3673"/>
                              </a:lnTo>
                              <a:cubicBezTo>
                                <a:pt x="158" y="3422"/>
                                <a:pt x="-93" y="3046"/>
                                <a:pt x="33" y="2794"/>
                              </a:cubicBezTo>
                              <a:lnTo>
                                <a:pt x="284" y="1539"/>
                              </a:lnTo>
                              <a:lnTo>
                                <a:pt x="1917" y="1539"/>
                              </a:lnTo>
                              <a:lnTo>
                                <a:pt x="4052" y="283"/>
                              </a:lnTo>
                              <a:cubicBezTo>
                                <a:pt x="4680" y="-94"/>
                                <a:pt x="5810" y="-94"/>
                                <a:pt x="6438" y="283"/>
                              </a:cubicBezTo>
                              <a:lnTo>
                                <a:pt x="8699" y="1539"/>
                              </a:lnTo>
                              <a:lnTo>
                                <a:pt x="10332" y="1539"/>
                              </a:lnTo>
                              <a:lnTo>
                                <a:pt x="10457" y="2417"/>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3" name="Freeform: Shape 3352">
                          <a:extLst>
                            <a:ext uri="{FF2B5EF4-FFF2-40B4-BE49-F238E27FC236}">
                              <a16:creationId xmlns:a16="http://schemas.microsoft.com/office/drawing/2014/main" id="{D8165803-B400-4726-AC5B-E645D4E9E83B}"/>
                            </a:ext>
                          </a:extLst>
                        </p:cNvPr>
                        <p:cNvSpPr/>
                        <p:nvPr/>
                      </p:nvSpPr>
                      <p:spPr>
                        <a:xfrm>
                          <a:off x="4588702" y="4503396"/>
                          <a:ext cx="10456" cy="5965"/>
                        </a:xfrm>
                        <a:custGeom>
                          <a:avLst/>
                          <a:gdLst>
                            <a:gd name="connsiteX0" fmla="*/ 10457 w 10456"/>
                            <a:gd name="connsiteY0" fmla="*/ 2417 h 5965"/>
                            <a:gd name="connsiteX1" fmla="*/ 7066 w 10456"/>
                            <a:gd name="connsiteY1" fmla="*/ 4427 h 5965"/>
                            <a:gd name="connsiteX2" fmla="*/ 6689 w 10456"/>
                            <a:gd name="connsiteY2" fmla="*/ 5557 h 5965"/>
                            <a:gd name="connsiteX3" fmla="*/ 6438 w 10456"/>
                            <a:gd name="connsiteY3" fmla="*/ 5683 h 5965"/>
                            <a:gd name="connsiteX4" fmla="*/ 4052 w 10456"/>
                            <a:gd name="connsiteY4" fmla="*/ 5683 h 5965"/>
                            <a:gd name="connsiteX5" fmla="*/ 535 w 10456"/>
                            <a:gd name="connsiteY5" fmla="*/ 3673 h 5965"/>
                            <a:gd name="connsiteX6" fmla="*/ 33 w 10456"/>
                            <a:gd name="connsiteY6" fmla="*/ 2794 h 5965"/>
                            <a:gd name="connsiteX7" fmla="*/ 284 w 10456"/>
                            <a:gd name="connsiteY7" fmla="*/ 1539 h 5965"/>
                            <a:gd name="connsiteX8" fmla="*/ 1917 w 10456"/>
                            <a:gd name="connsiteY8" fmla="*/ 1539 h 5965"/>
                            <a:gd name="connsiteX9" fmla="*/ 4052 w 10456"/>
                            <a:gd name="connsiteY9" fmla="*/ 283 h 5965"/>
                            <a:gd name="connsiteX10" fmla="*/ 6438 w 10456"/>
                            <a:gd name="connsiteY10" fmla="*/ 283 h 5965"/>
                            <a:gd name="connsiteX11" fmla="*/ 8699 w 10456"/>
                            <a:gd name="connsiteY11" fmla="*/ 1539 h 5965"/>
                            <a:gd name="connsiteX12" fmla="*/ 10332 w 10456"/>
                            <a:gd name="connsiteY12" fmla="*/ 1539 h 5965"/>
                            <a:gd name="connsiteX13" fmla="*/ 10457 w 10456"/>
                            <a:gd name="connsiteY13" fmla="*/ 2417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56" h="5965">
                              <a:moveTo>
                                <a:pt x="10457" y="2417"/>
                              </a:moveTo>
                              <a:lnTo>
                                <a:pt x="7066" y="4427"/>
                              </a:lnTo>
                              <a:cubicBezTo>
                                <a:pt x="6563" y="4678"/>
                                <a:pt x="6438" y="5181"/>
                                <a:pt x="6689" y="5557"/>
                              </a:cubicBezTo>
                              <a:lnTo>
                                <a:pt x="6438" y="5683"/>
                              </a:lnTo>
                              <a:cubicBezTo>
                                <a:pt x="5810" y="6060"/>
                                <a:pt x="4680" y="6060"/>
                                <a:pt x="4052" y="5683"/>
                              </a:cubicBezTo>
                              <a:lnTo>
                                <a:pt x="535" y="3673"/>
                              </a:lnTo>
                              <a:cubicBezTo>
                                <a:pt x="158" y="3422"/>
                                <a:pt x="-93" y="3046"/>
                                <a:pt x="33" y="2794"/>
                              </a:cubicBezTo>
                              <a:lnTo>
                                <a:pt x="284" y="1539"/>
                              </a:lnTo>
                              <a:lnTo>
                                <a:pt x="1917" y="1539"/>
                              </a:lnTo>
                              <a:lnTo>
                                <a:pt x="4052" y="283"/>
                              </a:lnTo>
                              <a:cubicBezTo>
                                <a:pt x="4680" y="-94"/>
                                <a:pt x="5810" y="-94"/>
                                <a:pt x="6438" y="283"/>
                              </a:cubicBezTo>
                              <a:lnTo>
                                <a:pt x="8699" y="1539"/>
                              </a:lnTo>
                              <a:lnTo>
                                <a:pt x="10332" y="1539"/>
                              </a:lnTo>
                              <a:lnTo>
                                <a:pt x="10457" y="2417"/>
                              </a:ln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4" name="Freeform: Shape 3353">
                          <a:extLst>
                            <a:ext uri="{FF2B5EF4-FFF2-40B4-BE49-F238E27FC236}">
                              <a16:creationId xmlns:a16="http://schemas.microsoft.com/office/drawing/2014/main" id="{8A1B3637-18D6-46BA-9B95-3A83DF214FA4}"/>
                            </a:ext>
                          </a:extLst>
                        </p:cNvPr>
                        <p:cNvSpPr/>
                        <p:nvPr/>
                      </p:nvSpPr>
                      <p:spPr>
                        <a:xfrm>
                          <a:off x="4589018" y="4501889"/>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355" name="Graphic 4">
                      <a:extLst>
                        <a:ext uri="{FF2B5EF4-FFF2-40B4-BE49-F238E27FC236}">
                          <a16:creationId xmlns:a16="http://schemas.microsoft.com/office/drawing/2014/main" id="{84FB7ED1-A2DF-40A1-A747-5F7CF3F14040}"/>
                        </a:ext>
                      </a:extLst>
                    </p:cNvPr>
                    <p:cNvGrpSpPr/>
                    <p:nvPr/>
                  </p:nvGrpSpPr>
                  <p:grpSpPr>
                    <a:xfrm>
                      <a:off x="4524762" y="4472514"/>
                      <a:ext cx="74178" cy="44007"/>
                      <a:chOff x="4524762" y="4472514"/>
                      <a:chExt cx="74178" cy="44007"/>
                    </a:xfrm>
                    <a:solidFill>
                      <a:schemeClr val="accent1"/>
                    </a:solidFill>
                  </p:grpSpPr>
                  <p:grpSp>
                    <p:nvGrpSpPr>
                      <p:cNvPr id="3356" name="Graphic 4">
                        <a:extLst>
                          <a:ext uri="{FF2B5EF4-FFF2-40B4-BE49-F238E27FC236}">
                            <a16:creationId xmlns:a16="http://schemas.microsoft.com/office/drawing/2014/main" id="{84FB7ED1-A2DF-40A1-A747-5F7CF3F14040}"/>
                          </a:ext>
                        </a:extLst>
                      </p:cNvPr>
                      <p:cNvGrpSpPr/>
                      <p:nvPr/>
                    </p:nvGrpSpPr>
                    <p:grpSpPr>
                      <a:xfrm>
                        <a:off x="4524762" y="4472514"/>
                        <a:ext cx="12648" cy="8463"/>
                        <a:chOff x="4524762" y="4472514"/>
                        <a:chExt cx="12648" cy="8463"/>
                      </a:xfrm>
                      <a:solidFill>
                        <a:schemeClr val="accent1"/>
                      </a:solidFill>
                    </p:grpSpPr>
                    <p:sp>
                      <p:nvSpPr>
                        <p:cNvPr id="3357" name="Freeform: Shape 3356">
                          <a:extLst>
                            <a:ext uri="{FF2B5EF4-FFF2-40B4-BE49-F238E27FC236}">
                              <a16:creationId xmlns:a16="http://schemas.microsoft.com/office/drawing/2014/main" id="{A66FD3ED-E9DF-4985-B93E-9623636B0956}"/>
                            </a:ext>
                          </a:extLst>
                        </p:cNvPr>
                        <p:cNvSpPr/>
                        <p:nvPr/>
                      </p:nvSpPr>
                      <p:spPr>
                        <a:xfrm>
                          <a:off x="4524762" y="4473881"/>
                          <a:ext cx="12648" cy="7095"/>
                        </a:xfrm>
                        <a:custGeom>
                          <a:avLst/>
                          <a:gdLst>
                            <a:gd name="connsiteX0" fmla="*/ 12605 w 12648"/>
                            <a:gd name="connsiteY0" fmla="*/ 3925 h 7095"/>
                            <a:gd name="connsiteX1" fmla="*/ 12354 w 12648"/>
                            <a:gd name="connsiteY1" fmla="*/ 2669 h 7095"/>
                            <a:gd name="connsiteX2" fmla="*/ 10721 w 12648"/>
                            <a:gd name="connsiteY2" fmla="*/ 2669 h 7095"/>
                            <a:gd name="connsiteX3" fmla="*/ 6451 w 12648"/>
                            <a:gd name="connsiteY3" fmla="*/ 283 h 7095"/>
                            <a:gd name="connsiteX4" fmla="*/ 4064 w 12648"/>
                            <a:gd name="connsiteY4" fmla="*/ 283 h 7095"/>
                            <a:gd name="connsiteX5" fmla="*/ 1929 w 12648"/>
                            <a:gd name="connsiteY5" fmla="*/ 1539 h 7095"/>
                            <a:gd name="connsiteX6" fmla="*/ 296 w 12648"/>
                            <a:gd name="connsiteY6" fmla="*/ 1539 h 7095"/>
                            <a:gd name="connsiteX7" fmla="*/ 45 w 12648"/>
                            <a:gd name="connsiteY7" fmla="*/ 2795 h 7095"/>
                            <a:gd name="connsiteX8" fmla="*/ 548 w 12648"/>
                            <a:gd name="connsiteY8" fmla="*/ 3673 h 7095"/>
                            <a:gd name="connsiteX9" fmla="*/ 6074 w 12648"/>
                            <a:gd name="connsiteY9" fmla="*/ 6813 h 7095"/>
                            <a:gd name="connsiteX10" fmla="*/ 8460 w 12648"/>
                            <a:gd name="connsiteY10" fmla="*/ 6813 h 7095"/>
                            <a:gd name="connsiteX11" fmla="*/ 11977 w 12648"/>
                            <a:gd name="connsiteY11" fmla="*/ 4804 h 7095"/>
                            <a:gd name="connsiteX12" fmla="*/ 12605 w 12648"/>
                            <a:gd name="connsiteY12" fmla="*/ 3925 h 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8" h="7095">
                              <a:moveTo>
                                <a:pt x="12605" y="3925"/>
                              </a:moveTo>
                              <a:lnTo>
                                <a:pt x="12354" y="2669"/>
                              </a:lnTo>
                              <a:lnTo>
                                <a:pt x="10721" y="2669"/>
                              </a:lnTo>
                              <a:lnTo>
                                <a:pt x="6451" y="283"/>
                              </a:lnTo>
                              <a:cubicBezTo>
                                <a:pt x="5823" y="-94"/>
                                <a:pt x="4692" y="-94"/>
                                <a:pt x="4064" y="283"/>
                              </a:cubicBezTo>
                              <a:lnTo>
                                <a:pt x="1929" y="1539"/>
                              </a:lnTo>
                              <a:lnTo>
                                <a:pt x="296" y="1539"/>
                              </a:lnTo>
                              <a:lnTo>
                                <a:pt x="45" y="2795"/>
                              </a:lnTo>
                              <a:cubicBezTo>
                                <a:pt x="-80" y="3171"/>
                                <a:pt x="45" y="3422"/>
                                <a:pt x="548" y="3673"/>
                              </a:cubicBezTo>
                              <a:lnTo>
                                <a:pt x="6074" y="6813"/>
                              </a:lnTo>
                              <a:cubicBezTo>
                                <a:pt x="6702" y="7190"/>
                                <a:pt x="7832" y="7190"/>
                                <a:pt x="8460" y="6813"/>
                              </a:cubicBezTo>
                              <a:lnTo>
                                <a:pt x="11977" y="4804"/>
                              </a:lnTo>
                              <a:cubicBezTo>
                                <a:pt x="12605" y="4553"/>
                                <a:pt x="12731" y="4176"/>
                                <a:pt x="12605" y="392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8" name="Freeform: Shape 3357">
                          <a:extLst>
                            <a:ext uri="{FF2B5EF4-FFF2-40B4-BE49-F238E27FC236}">
                              <a16:creationId xmlns:a16="http://schemas.microsoft.com/office/drawing/2014/main" id="{FB85614F-E14F-4527-BA3E-A44ED4C8C139}"/>
                            </a:ext>
                          </a:extLst>
                        </p:cNvPr>
                        <p:cNvSpPr/>
                        <p:nvPr/>
                      </p:nvSpPr>
                      <p:spPr>
                        <a:xfrm>
                          <a:off x="4524762" y="4473881"/>
                          <a:ext cx="12648" cy="7095"/>
                        </a:xfrm>
                        <a:custGeom>
                          <a:avLst/>
                          <a:gdLst>
                            <a:gd name="connsiteX0" fmla="*/ 12605 w 12648"/>
                            <a:gd name="connsiteY0" fmla="*/ 3925 h 7095"/>
                            <a:gd name="connsiteX1" fmla="*/ 12354 w 12648"/>
                            <a:gd name="connsiteY1" fmla="*/ 2669 h 7095"/>
                            <a:gd name="connsiteX2" fmla="*/ 10721 w 12648"/>
                            <a:gd name="connsiteY2" fmla="*/ 2669 h 7095"/>
                            <a:gd name="connsiteX3" fmla="*/ 6451 w 12648"/>
                            <a:gd name="connsiteY3" fmla="*/ 283 h 7095"/>
                            <a:gd name="connsiteX4" fmla="*/ 4064 w 12648"/>
                            <a:gd name="connsiteY4" fmla="*/ 283 h 7095"/>
                            <a:gd name="connsiteX5" fmla="*/ 1929 w 12648"/>
                            <a:gd name="connsiteY5" fmla="*/ 1539 h 7095"/>
                            <a:gd name="connsiteX6" fmla="*/ 296 w 12648"/>
                            <a:gd name="connsiteY6" fmla="*/ 1539 h 7095"/>
                            <a:gd name="connsiteX7" fmla="*/ 45 w 12648"/>
                            <a:gd name="connsiteY7" fmla="*/ 2795 h 7095"/>
                            <a:gd name="connsiteX8" fmla="*/ 548 w 12648"/>
                            <a:gd name="connsiteY8" fmla="*/ 3673 h 7095"/>
                            <a:gd name="connsiteX9" fmla="*/ 6074 w 12648"/>
                            <a:gd name="connsiteY9" fmla="*/ 6813 h 7095"/>
                            <a:gd name="connsiteX10" fmla="*/ 8460 w 12648"/>
                            <a:gd name="connsiteY10" fmla="*/ 6813 h 7095"/>
                            <a:gd name="connsiteX11" fmla="*/ 11977 w 12648"/>
                            <a:gd name="connsiteY11" fmla="*/ 4804 h 7095"/>
                            <a:gd name="connsiteX12" fmla="*/ 12605 w 12648"/>
                            <a:gd name="connsiteY12" fmla="*/ 3925 h 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8" h="7095">
                              <a:moveTo>
                                <a:pt x="12605" y="3925"/>
                              </a:moveTo>
                              <a:lnTo>
                                <a:pt x="12354" y="2669"/>
                              </a:lnTo>
                              <a:lnTo>
                                <a:pt x="10721" y="2669"/>
                              </a:lnTo>
                              <a:lnTo>
                                <a:pt x="6451" y="283"/>
                              </a:lnTo>
                              <a:cubicBezTo>
                                <a:pt x="5823" y="-94"/>
                                <a:pt x="4692" y="-94"/>
                                <a:pt x="4064" y="283"/>
                              </a:cubicBezTo>
                              <a:lnTo>
                                <a:pt x="1929" y="1539"/>
                              </a:lnTo>
                              <a:lnTo>
                                <a:pt x="296" y="1539"/>
                              </a:lnTo>
                              <a:lnTo>
                                <a:pt x="45" y="2795"/>
                              </a:lnTo>
                              <a:cubicBezTo>
                                <a:pt x="-80" y="3171"/>
                                <a:pt x="45" y="3422"/>
                                <a:pt x="548" y="3673"/>
                              </a:cubicBezTo>
                              <a:lnTo>
                                <a:pt x="6074" y="6813"/>
                              </a:lnTo>
                              <a:cubicBezTo>
                                <a:pt x="6702" y="7190"/>
                                <a:pt x="7832" y="7190"/>
                                <a:pt x="8460" y="6813"/>
                              </a:cubicBezTo>
                              <a:lnTo>
                                <a:pt x="11977" y="4804"/>
                              </a:lnTo>
                              <a:cubicBezTo>
                                <a:pt x="12605" y="4553"/>
                                <a:pt x="12731" y="4176"/>
                                <a:pt x="12605" y="392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9" name="Freeform: Shape 3358">
                          <a:extLst>
                            <a:ext uri="{FF2B5EF4-FFF2-40B4-BE49-F238E27FC236}">
                              <a16:creationId xmlns:a16="http://schemas.microsoft.com/office/drawing/2014/main" id="{93DD6385-5C4E-4AC4-8A9B-D240DBB185CE}"/>
                            </a:ext>
                          </a:extLst>
                        </p:cNvPr>
                        <p:cNvSpPr/>
                        <p:nvPr/>
                      </p:nvSpPr>
                      <p:spPr>
                        <a:xfrm>
                          <a:off x="4525090" y="4472514"/>
                          <a:ext cx="11994" cy="6956"/>
                        </a:xfrm>
                        <a:custGeom>
                          <a:avLst/>
                          <a:gdLst>
                            <a:gd name="connsiteX0" fmla="*/ 3862 w 11994"/>
                            <a:gd name="connsiteY0" fmla="*/ 269 h 6956"/>
                            <a:gd name="connsiteX1" fmla="*/ 471 w 11994"/>
                            <a:gd name="connsiteY1" fmla="*/ 2278 h 6956"/>
                            <a:gd name="connsiteX2" fmla="*/ 471 w 11994"/>
                            <a:gd name="connsiteY2" fmla="*/ 3660 h 6956"/>
                            <a:gd name="connsiteX3" fmla="*/ 5871 w 11994"/>
                            <a:gd name="connsiteY3" fmla="*/ 6674 h 6956"/>
                            <a:gd name="connsiteX4" fmla="*/ 8132 w 11994"/>
                            <a:gd name="connsiteY4" fmla="*/ 6674 h 6956"/>
                            <a:gd name="connsiteX5" fmla="*/ 11523 w 11994"/>
                            <a:gd name="connsiteY5" fmla="*/ 4790 h 6956"/>
                            <a:gd name="connsiteX6" fmla="*/ 11523 w 11994"/>
                            <a:gd name="connsiteY6" fmla="*/ 3408 h 6956"/>
                            <a:gd name="connsiteX7" fmla="*/ 6123 w 11994"/>
                            <a:gd name="connsiteY7" fmla="*/ 394 h 6956"/>
                            <a:gd name="connsiteX8" fmla="*/ 3862 w 11994"/>
                            <a:gd name="connsiteY8" fmla="*/ 269 h 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94" h="6956">
                              <a:moveTo>
                                <a:pt x="3862" y="269"/>
                              </a:moveTo>
                              <a:lnTo>
                                <a:pt x="471" y="2278"/>
                              </a:lnTo>
                              <a:cubicBezTo>
                                <a:pt x="-157" y="2655"/>
                                <a:pt x="-157" y="3283"/>
                                <a:pt x="471" y="3660"/>
                              </a:cubicBezTo>
                              <a:lnTo>
                                <a:pt x="5871" y="6674"/>
                              </a:lnTo>
                              <a:cubicBezTo>
                                <a:pt x="6500" y="7051"/>
                                <a:pt x="7504" y="7051"/>
                                <a:pt x="8132" y="6674"/>
                              </a:cubicBezTo>
                              <a:lnTo>
                                <a:pt x="11523" y="4790"/>
                              </a:lnTo>
                              <a:cubicBezTo>
                                <a:pt x="12151" y="4413"/>
                                <a:pt x="12151" y="3786"/>
                                <a:pt x="11523" y="3408"/>
                              </a:cubicBezTo>
                              <a:lnTo>
                                <a:pt x="6123" y="394"/>
                              </a:lnTo>
                              <a:cubicBezTo>
                                <a:pt x="5620"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60" name="Graphic 4">
                        <a:extLst>
                          <a:ext uri="{FF2B5EF4-FFF2-40B4-BE49-F238E27FC236}">
                            <a16:creationId xmlns:a16="http://schemas.microsoft.com/office/drawing/2014/main" id="{84FB7ED1-A2DF-40A1-A747-5F7CF3F14040}"/>
                          </a:ext>
                        </a:extLst>
                      </p:cNvPr>
                      <p:cNvGrpSpPr/>
                      <p:nvPr/>
                    </p:nvGrpSpPr>
                    <p:grpSpPr>
                      <a:xfrm>
                        <a:off x="4533302" y="4477272"/>
                        <a:ext cx="10469" cy="7473"/>
                        <a:chOff x="4533302" y="4477272"/>
                        <a:chExt cx="10469" cy="7473"/>
                      </a:xfrm>
                      <a:solidFill>
                        <a:schemeClr val="accent1"/>
                      </a:solidFill>
                    </p:grpSpPr>
                    <p:sp>
                      <p:nvSpPr>
                        <p:cNvPr id="3361" name="Freeform: Shape 3360">
                          <a:extLst>
                            <a:ext uri="{FF2B5EF4-FFF2-40B4-BE49-F238E27FC236}">
                              <a16:creationId xmlns:a16="http://schemas.microsoft.com/office/drawing/2014/main" id="{809D0139-956F-4972-9329-8C55894FE4BC}"/>
                            </a:ext>
                          </a:extLst>
                        </p:cNvPr>
                        <p:cNvSpPr/>
                        <p:nvPr/>
                      </p:nvSpPr>
                      <p:spPr>
                        <a:xfrm>
                          <a:off x="4533302" y="4478779"/>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2" name="Freeform: Shape 3361">
                          <a:extLst>
                            <a:ext uri="{FF2B5EF4-FFF2-40B4-BE49-F238E27FC236}">
                              <a16:creationId xmlns:a16="http://schemas.microsoft.com/office/drawing/2014/main" id="{D6585183-B843-423F-8817-B512C0C546FD}"/>
                            </a:ext>
                          </a:extLst>
                        </p:cNvPr>
                        <p:cNvSpPr/>
                        <p:nvPr/>
                      </p:nvSpPr>
                      <p:spPr>
                        <a:xfrm>
                          <a:off x="4533302" y="4478779"/>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3" name="Freeform: Shape 3362">
                          <a:extLst>
                            <a:ext uri="{FF2B5EF4-FFF2-40B4-BE49-F238E27FC236}">
                              <a16:creationId xmlns:a16="http://schemas.microsoft.com/office/drawing/2014/main" id="{C5C40C63-994A-4604-98D7-46E68F209225}"/>
                            </a:ext>
                          </a:extLst>
                        </p:cNvPr>
                        <p:cNvSpPr/>
                        <p:nvPr/>
                      </p:nvSpPr>
                      <p:spPr>
                        <a:xfrm>
                          <a:off x="4533505" y="4477272"/>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8" y="3171"/>
                                <a:pt x="10268"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64" name="Graphic 4">
                        <a:extLst>
                          <a:ext uri="{FF2B5EF4-FFF2-40B4-BE49-F238E27FC236}">
                            <a16:creationId xmlns:a16="http://schemas.microsoft.com/office/drawing/2014/main" id="{84FB7ED1-A2DF-40A1-A747-5F7CF3F14040}"/>
                          </a:ext>
                        </a:extLst>
                      </p:cNvPr>
                      <p:cNvGrpSpPr/>
                      <p:nvPr/>
                    </p:nvGrpSpPr>
                    <p:grpSpPr>
                      <a:xfrm>
                        <a:off x="4539582" y="4481040"/>
                        <a:ext cx="10515" cy="7346"/>
                        <a:chOff x="4539582" y="4481040"/>
                        <a:chExt cx="10515" cy="7346"/>
                      </a:xfrm>
                      <a:solidFill>
                        <a:schemeClr val="accent1"/>
                      </a:solidFill>
                    </p:grpSpPr>
                    <p:sp>
                      <p:nvSpPr>
                        <p:cNvPr id="3365" name="Freeform: Shape 3364">
                          <a:extLst>
                            <a:ext uri="{FF2B5EF4-FFF2-40B4-BE49-F238E27FC236}">
                              <a16:creationId xmlns:a16="http://schemas.microsoft.com/office/drawing/2014/main" id="{5259BEB0-6E4A-4526-95BC-4BBC8C620E36}"/>
                            </a:ext>
                          </a:extLst>
                        </p:cNvPr>
                        <p:cNvSpPr/>
                        <p:nvPr/>
                      </p:nvSpPr>
                      <p:spPr>
                        <a:xfrm>
                          <a:off x="4539582" y="4482422"/>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6" name="Freeform: Shape 3365">
                          <a:extLst>
                            <a:ext uri="{FF2B5EF4-FFF2-40B4-BE49-F238E27FC236}">
                              <a16:creationId xmlns:a16="http://schemas.microsoft.com/office/drawing/2014/main" id="{1634A9AE-A831-4EFB-8736-6BCFCCF69A4F}"/>
                            </a:ext>
                          </a:extLst>
                        </p:cNvPr>
                        <p:cNvSpPr/>
                        <p:nvPr/>
                      </p:nvSpPr>
                      <p:spPr>
                        <a:xfrm>
                          <a:off x="4539582" y="4482422"/>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7" name="Freeform: Shape 3366">
                          <a:extLst>
                            <a:ext uri="{FF2B5EF4-FFF2-40B4-BE49-F238E27FC236}">
                              <a16:creationId xmlns:a16="http://schemas.microsoft.com/office/drawing/2014/main" id="{3313AC37-943F-43E2-A9F4-0A5148CFE8E3}"/>
                            </a:ext>
                          </a:extLst>
                        </p:cNvPr>
                        <p:cNvSpPr/>
                        <p:nvPr/>
                      </p:nvSpPr>
                      <p:spPr>
                        <a:xfrm>
                          <a:off x="4539784" y="448104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68" name="Graphic 4">
                        <a:extLst>
                          <a:ext uri="{FF2B5EF4-FFF2-40B4-BE49-F238E27FC236}">
                            <a16:creationId xmlns:a16="http://schemas.microsoft.com/office/drawing/2014/main" id="{84FB7ED1-A2DF-40A1-A747-5F7CF3F14040}"/>
                          </a:ext>
                        </a:extLst>
                      </p:cNvPr>
                      <p:cNvGrpSpPr/>
                      <p:nvPr/>
                    </p:nvGrpSpPr>
                    <p:grpSpPr>
                      <a:xfrm>
                        <a:off x="4545987" y="4484682"/>
                        <a:ext cx="10502" cy="7347"/>
                        <a:chOff x="4545987" y="4484682"/>
                        <a:chExt cx="10502" cy="7347"/>
                      </a:xfrm>
                      <a:solidFill>
                        <a:schemeClr val="accent1"/>
                      </a:solidFill>
                    </p:grpSpPr>
                    <p:sp>
                      <p:nvSpPr>
                        <p:cNvPr id="3369" name="Freeform: Shape 3368">
                          <a:extLst>
                            <a:ext uri="{FF2B5EF4-FFF2-40B4-BE49-F238E27FC236}">
                              <a16:creationId xmlns:a16="http://schemas.microsoft.com/office/drawing/2014/main" id="{FE5228BB-70A1-489F-A966-1686F0E46306}"/>
                            </a:ext>
                          </a:extLst>
                        </p:cNvPr>
                        <p:cNvSpPr/>
                        <p:nvPr/>
                      </p:nvSpPr>
                      <p:spPr>
                        <a:xfrm>
                          <a:off x="4545987" y="4486064"/>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0" name="Freeform: Shape 3369">
                          <a:extLst>
                            <a:ext uri="{FF2B5EF4-FFF2-40B4-BE49-F238E27FC236}">
                              <a16:creationId xmlns:a16="http://schemas.microsoft.com/office/drawing/2014/main" id="{BC19DF56-CBA9-48F8-B829-6F1BB9F37928}"/>
                            </a:ext>
                          </a:extLst>
                        </p:cNvPr>
                        <p:cNvSpPr/>
                        <p:nvPr/>
                      </p:nvSpPr>
                      <p:spPr>
                        <a:xfrm>
                          <a:off x="4545987" y="4486064"/>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1" name="Freeform: Shape 3370">
                          <a:extLst>
                            <a:ext uri="{FF2B5EF4-FFF2-40B4-BE49-F238E27FC236}">
                              <a16:creationId xmlns:a16="http://schemas.microsoft.com/office/drawing/2014/main" id="{643C734A-B9F7-4B0D-856F-A807C4222C17}"/>
                            </a:ext>
                          </a:extLst>
                        </p:cNvPr>
                        <p:cNvSpPr/>
                        <p:nvPr/>
                      </p:nvSpPr>
                      <p:spPr>
                        <a:xfrm>
                          <a:off x="4546190" y="4484682"/>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72" name="Graphic 4">
                        <a:extLst>
                          <a:ext uri="{FF2B5EF4-FFF2-40B4-BE49-F238E27FC236}">
                            <a16:creationId xmlns:a16="http://schemas.microsoft.com/office/drawing/2014/main" id="{84FB7ED1-A2DF-40A1-A747-5F7CF3F14040}"/>
                          </a:ext>
                        </a:extLst>
                      </p:cNvPr>
                      <p:cNvGrpSpPr/>
                      <p:nvPr/>
                    </p:nvGrpSpPr>
                    <p:grpSpPr>
                      <a:xfrm>
                        <a:off x="4552393" y="4488325"/>
                        <a:ext cx="10502" cy="7347"/>
                        <a:chOff x="4552393" y="4488325"/>
                        <a:chExt cx="10502" cy="7347"/>
                      </a:xfrm>
                      <a:solidFill>
                        <a:schemeClr val="accent1"/>
                      </a:solidFill>
                    </p:grpSpPr>
                    <p:sp>
                      <p:nvSpPr>
                        <p:cNvPr id="3373" name="Freeform: Shape 3372">
                          <a:extLst>
                            <a:ext uri="{FF2B5EF4-FFF2-40B4-BE49-F238E27FC236}">
                              <a16:creationId xmlns:a16="http://schemas.microsoft.com/office/drawing/2014/main" id="{E37F6B89-226A-4BB3-B05F-5831130783A0}"/>
                            </a:ext>
                          </a:extLst>
                        </p:cNvPr>
                        <p:cNvSpPr/>
                        <p:nvPr/>
                      </p:nvSpPr>
                      <p:spPr>
                        <a:xfrm>
                          <a:off x="4552393" y="4489707"/>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0 w 10502"/>
                            <a:gd name="connsiteY3" fmla="*/ 283 h 5965"/>
                            <a:gd name="connsiteX4" fmla="*/ 4064 w 10502"/>
                            <a:gd name="connsiteY4" fmla="*/ 283 h 5965"/>
                            <a:gd name="connsiteX5" fmla="*/ 1929 w 10502"/>
                            <a:gd name="connsiteY5" fmla="*/ 1538 h 5965"/>
                            <a:gd name="connsiteX6" fmla="*/ 296 w 10502"/>
                            <a:gd name="connsiteY6" fmla="*/ 1538 h 5965"/>
                            <a:gd name="connsiteX7" fmla="*/ 45 w 10502"/>
                            <a:gd name="connsiteY7" fmla="*/ 2794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344"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4" name="Freeform: Shape 3373">
                          <a:extLst>
                            <a:ext uri="{FF2B5EF4-FFF2-40B4-BE49-F238E27FC236}">
                              <a16:creationId xmlns:a16="http://schemas.microsoft.com/office/drawing/2014/main" id="{1BC45E2B-7CC3-46B5-9472-5FC0C1DB18C1}"/>
                            </a:ext>
                          </a:extLst>
                        </p:cNvPr>
                        <p:cNvSpPr/>
                        <p:nvPr/>
                      </p:nvSpPr>
                      <p:spPr>
                        <a:xfrm>
                          <a:off x="4552393" y="4489707"/>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0 w 10502"/>
                            <a:gd name="connsiteY3" fmla="*/ 283 h 5965"/>
                            <a:gd name="connsiteX4" fmla="*/ 4064 w 10502"/>
                            <a:gd name="connsiteY4" fmla="*/ 283 h 5965"/>
                            <a:gd name="connsiteX5" fmla="*/ 1929 w 10502"/>
                            <a:gd name="connsiteY5" fmla="*/ 1538 h 5965"/>
                            <a:gd name="connsiteX6" fmla="*/ 296 w 10502"/>
                            <a:gd name="connsiteY6" fmla="*/ 1538 h 5965"/>
                            <a:gd name="connsiteX7" fmla="*/ 45 w 10502"/>
                            <a:gd name="connsiteY7" fmla="*/ 2794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344"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5" name="Freeform: Shape 3374">
                          <a:extLst>
                            <a:ext uri="{FF2B5EF4-FFF2-40B4-BE49-F238E27FC236}">
                              <a16:creationId xmlns:a16="http://schemas.microsoft.com/office/drawing/2014/main" id="{C0D1ED1A-D2FF-4AC8-981D-F7F42615D9B5}"/>
                            </a:ext>
                          </a:extLst>
                        </p:cNvPr>
                        <p:cNvSpPr/>
                        <p:nvPr/>
                      </p:nvSpPr>
                      <p:spPr>
                        <a:xfrm>
                          <a:off x="4552595" y="4488325"/>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76" name="Graphic 4">
                        <a:extLst>
                          <a:ext uri="{FF2B5EF4-FFF2-40B4-BE49-F238E27FC236}">
                            <a16:creationId xmlns:a16="http://schemas.microsoft.com/office/drawing/2014/main" id="{84FB7ED1-A2DF-40A1-A747-5F7CF3F14040}"/>
                          </a:ext>
                        </a:extLst>
                      </p:cNvPr>
                      <p:cNvGrpSpPr/>
                      <p:nvPr/>
                    </p:nvGrpSpPr>
                    <p:grpSpPr>
                      <a:xfrm>
                        <a:off x="4558673" y="4491967"/>
                        <a:ext cx="10514" cy="7347"/>
                        <a:chOff x="4558673" y="4491967"/>
                        <a:chExt cx="10514" cy="7347"/>
                      </a:xfrm>
                      <a:solidFill>
                        <a:schemeClr val="accent1"/>
                      </a:solidFill>
                    </p:grpSpPr>
                    <p:sp>
                      <p:nvSpPr>
                        <p:cNvPr id="3377" name="Freeform: Shape 3376">
                          <a:extLst>
                            <a:ext uri="{FF2B5EF4-FFF2-40B4-BE49-F238E27FC236}">
                              <a16:creationId xmlns:a16="http://schemas.microsoft.com/office/drawing/2014/main" id="{DCF76F00-3DB2-47C9-A917-7E839B346333}"/>
                            </a:ext>
                          </a:extLst>
                        </p:cNvPr>
                        <p:cNvSpPr/>
                        <p:nvPr/>
                      </p:nvSpPr>
                      <p:spPr>
                        <a:xfrm>
                          <a:off x="4558673" y="4493348"/>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8" name="Freeform: Shape 3377">
                          <a:extLst>
                            <a:ext uri="{FF2B5EF4-FFF2-40B4-BE49-F238E27FC236}">
                              <a16:creationId xmlns:a16="http://schemas.microsoft.com/office/drawing/2014/main" id="{2EE1FC05-CFB3-40BD-8134-7334F4E3D812}"/>
                            </a:ext>
                          </a:extLst>
                        </p:cNvPr>
                        <p:cNvSpPr/>
                        <p:nvPr/>
                      </p:nvSpPr>
                      <p:spPr>
                        <a:xfrm>
                          <a:off x="4558673" y="4493348"/>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9" name="Freeform: Shape 3378">
                          <a:extLst>
                            <a:ext uri="{FF2B5EF4-FFF2-40B4-BE49-F238E27FC236}">
                              <a16:creationId xmlns:a16="http://schemas.microsoft.com/office/drawing/2014/main" id="{90E5DA15-27EE-4E98-B28F-B9CED288AEC1}"/>
                            </a:ext>
                          </a:extLst>
                        </p:cNvPr>
                        <p:cNvSpPr/>
                        <p:nvPr/>
                      </p:nvSpPr>
                      <p:spPr>
                        <a:xfrm>
                          <a:off x="4558875" y="4491967"/>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80" name="Graphic 4">
                        <a:extLst>
                          <a:ext uri="{FF2B5EF4-FFF2-40B4-BE49-F238E27FC236}">
                            <a16:creationId xmlns:a16="http://schemas.microsoft.com/office/drawing/2014/main" id="{84FB7ED1-A2DF-40A1-A747-5F7CF3F14040}"/>
                          </a:ext>
                        </a:extLst>
                      </p:cNvPr>
                      <p:cNvGrpSpPr/>
                      <p:nvPr/>
                    </p:nvGrpSpPr>
                    <p:grpSpPr>
                      <a:xfrm>
                        <a:off x="4565078" y="4495735"/>
                        <a:ext cx="10502" cy="7347"/>
                        <a:chOff x="4565078" y="4495735"/>
                        <a:chExt cx="10502" cy="7347"/>
                      </a:xfrm>
                      <a:solidFill>
                        <a:schemeClr val="accent1"/>
                      </a:solidFill>
                    </p:grpSpPr>
                    <p:sp>
                      <p:nvSpPr>
                        <p:cNvPr id="3381" name="Freeform: Shape 3380">
                          <a:extLst>
                            <a:ext uri="{FF2B5EF4-FFF2-40B4-BE49-F238E27FC236}">
                              <a16:creationId xmlns:a16="http://schemas.microsoft.com/office/drawing/2014/main" id="{F82868F3-F7A1-4D6B-BE66-F7998C56AD17}"/>
                            </a:ext>
                          </a:extLst>
                        </p:cNvPr>
                        <p:cNvSpPr/>
                        <p:nvPr/>
                      </p:nvSpPr>
                      <p:spPr>
                        <a:xfrm>
                          <a:off x="4565078" y="4497117"/>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2" name="Freeform: Shape 3381">
                          <a:extLst>
                            <a:ext uri="{FF2B5EF4-FFF2-40B4-BE49-F238E27FC236}">
                              <a16:creationId xmlns:a16="http://schemas.microsoft.com/office/drawing/2014/main" id="{E2732663-87CF-4C0E-898A-69E9ED334F05}"/>
                            </a:ext>
                          </a:extLst>
                        </p:cNvPr>
                        <p:cNvSpPr/>
                        <p:nvPr/>
                      </p:nvSpPr>
                      <p:spPr>
                        <a:xfrm>
                          <a:off x="4565078" y="4497117"/>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3" name="Freeform: Shape 3382">
                          <a:extLst>
                            <a:ext uri="{FF2B5EF4-FFF2-40B4-BE49-F238E27FC236}">
                              <a16:creationId xmlns:a16="http://schemas.microsoft.com/office/drawing/2014/main" id="{D1A9A8B1-4AE0-4FDC-81F0-471A460E0781}"/>
                            </a:ext>
                          </a:extLst>
                        </p:cNvPr>
                        <p:cNvSpPr/>
                        <p:nvPr/>
                      </p:nvSpPr>
                      <p:spPr>
                        <a:xfrm>
                          <a:off x="4565280" y="4495735"/>
                          <a:ext cx="10110" cy="5966"/>
                        </a:xfrm>
                        <a:custGeom>
                          <a:avLst/>
                          <a:gdLst>
                            <a:gd name="connsiteX0" fmla="*/ 3862 w 10110"/>
                            <a:gd name="connsiteY0" fmla="*/ 283 h 5966"/>
                            <a:gd name="connsiteX1" fmla="*/ 471 w 10110"/>
                            <a:gd name="connsiteY1" fmla="*/ 2292 h 5966"/>
                            <a:gd name="connsiteX2" fmla="*/ 471 w 10110"/>
                            <a:gd name="connsiteY2" fmla="*/ 3674 h 5966"/>
                            <a:gd name="connsiteX3" fmla="*/ 3862 w 10110"/>
                            <a:gd name="connsiteY3" fmla="*/ 5683 h 5966"/>
                            <a:gd name="connsiteX4" fmla="*/ 6248 w 10110"/>
                            <a:gd name="connsiteY4" fmla="*/ 5683 h 5966"/>
                            <a:gd name="connsiteX5" fmla="*/ 9639 w 10110"/>
                            <a:gd name="connsiteY5" fmla="*/ 3674 h 5966"/>
                            <a:gd name="connsiteX6" fmla="*/ 9639 w 10110"/>
                            <a:gd name="connsiteY6" fmla="*/ 2292 h 5966"/>
                            <a:gd name="connsiteX7" fmla="*/ 6248 w 10110"/>
                            <a:gd name="connsiteY7" fmla="*/ 283 h 5966"/>
                            <a:gd name="connsiteX8" fmla="*/ 3862 w 10110"/>
                            <a:gd name="connsiteY8" fmla="*/ 283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6">
                              <a:moveTo>
                                <a:pt x="3862" y="283"/>
                              </a:moveTo>
                              <a:lnTo>
                                <a:pt x="471" y="2292"/>
                              </a:lnTo>
                              <a:cubicBezTo>
                                <a:pt x="-157" y="2669"/>
                                <a:pt x="-157" y="3297"/>
                                <a:pt x="471" y="3674"/>
                              </a:cubicBezTo>
                              <a:lnTo>
                                <a:pt x="3862" y="5683"/>
                              </a:lnTo>
                              <a:cubicBezTo>
                                <a:pt x="4490" y="6060"/>
                                <a:pt x="5495" y="6060"/>
                                <a:pt x="6248" y="5683"/>
                              </a:cubicBezTo>
                              <a:lnTo>
                                <a:pt x="9639" y="3674"/>
                              </a:lnTo>
                              <a:cubicBezTo>
                                <a:pt x="10268" y="3297"/>
                                <a:pt x="10268"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84" name="Graphic 4">
                        <a:extLst>
                          <a:ext uri="{FF2B5EF4-FFF2-40B4-BE49-F238E27FC236}">
                            <a16:creationId xmlns:a16="http://schemas.microsoft.com/office/drawing/2014/main" id="{84FB7ED1-A2DF-40A1-A747-5F7CF3F14040}"/>
                          </a:ext>
                        </a:extLst>
                      </p:cNvPr>
                      <p:cNvGrpSpPr/>
                      <p:nvPr/>
                    </p:nvGrpSpPr>
                    <p:grpSpPr>
                      <a:xfrm>
                        <a:off x="4571483" y="4499377"/>
                        <a:ext cx="10469" cy="7347"/>
                        <a:chOff x="4571483" y="4499377"/>
                        <a:chExt cx="10469" cy="7347"/>
                      </a:xfrm>
                      <a:solidFill>
                        <a:schemeClr val="accent1"/>
                      </a:solidFill>
                    </p:grpSpPr>
                    <p:sp>
                      <p:nvSpPr>
                        <p:cNvPr id="3385" name="Freeform: Shape 3384">
                          <a:extLst>
                            <a:ext uri="{FF2B5EF4-FFF2-40B4-BE49-F238E27FC236}">
                              <a16:creationId xmlns:a16="http://schemas.microsoft.com/office/drawing/2014/main" id="{5C76FF81-9A7E-4F51-8A90-1F351E243D68}"/>
                            </a:ext>
                          </a:extLst>
                        </p:cNvPr>
                        <p:cNvSpPr/>
                        <p:nvPr/>
                      </p:nvSpPr>
                      <p:spPr>
                        <a:xfrm>
                          <a:off x="4571483" y="4500759"/>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6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6" name="Freeform: Shape 3385">
                          <a:extLst>
                            <a:ext uri="{FF2B5EF4-FFF2-40B4-BE49-F238E27FC236}">
                              <a16:creationId xmlns:a16="http://schemas.microsoft.com/office/drawing/2014/main" id="{E4CEC51B-55A3-44AF-816F-3DEC1DE6D51A}"/>
                            </a:ext>
                          </a:extLst>
                        </p:cNvPr>
                        <p:cNvSpPr/>
                        <p:nvPr/>
                      </p:nvSpPr>
                      <p:spPr>
                        <a:xfrm>
                          <a:off x="4571483" y="4500759"/>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6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7" name="Freeform: Shape 3386">
                          <a:extLst>
                            <a:ext uri="{FF2B5EF4-FFF2-40B4-BE49-F238E27FC236}">
                              <a16:creationId xmlns:a16="http://schemas.microsoft.com/office/drawing/2014/main" id="{72E2609B-E25D-4E48-95EC-218936DF567C}"/>
                            </a:ext>
                          </a:extLst>
                        </p:cNvPr>
                        <p:cNvSpPr/>
                        <p:nvPr/>
                      </p:nvSpPr>
                      <p:spPr>
                        <a:xfrm>
                          <a:off x="4571685" y="4499377"/>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88" name="Graphic 4">
                        <a:extLst>
                          <a:ext uri="{FF2B5EF4-FFF2-40B4-BE49-F238E27FC236}">
                            <a16:creationId xmlns:a16="http://schemas.microsoft.com/office/drawing/2014/main" id="{84FB7ED1-A2DF-40A1-A747-5F7CF3F14040}"/>
                          </a:ext>
                        </a:extLst>
                      </p:cNvPr>
                      <p:cNvGrpSpPr/>
                      <p:nvPr/>
                    </p:nvGrpSpPr>
                    <p:grpSpPr>
                      <a:xfrm>
                        <a:off x="4577635" y="4503020"/>
                        <a:ext cx="21305" cy="13501"/>
                        <a:chOff x="4577635" y="4503020"/>
                        <a:chExt cx="21305" cy="13501"/>
                      </a:xfrm>
                      <a:solidFill>
                        <a:schemeClr val="accent1"/>
                      </a:solidFill>
                    </p:grpSpPr>
                    <p:sp>
                      <p:nvSpPr>
                        <p:cNvPr id="3389" name="Freeform: Shape 3388">
                          <a:extLst>
                            <a:ext uri="{FF2B5EF4-FFF2-40B4-BE49-F238E27FC236}">
                              <a16:creationId xmlns:a16="http://schemas.microsoft.com/office/drawing/2014/main" id="{2B5B7EC9-B619-46B2-B0FD-D9671A437803}"/>
                            </a:ext>
                          </a:extLst>
                        </p:cNvPr>
                        <p:cNvSpPr/>
                        <p:nvPr/>
                      </p:nvSpPr>
                      <p:spPr>
                        <a:xfrm>
                          <a:off x="4577635" y="4504150"/>
                          <a:ext cx="21305" cy="12371"/>
                        </a:xfrm>
                        <a:custGeom>
                          <a:avLst/>
                          <a:gdLst>
                            <a:gd name="connsiteX0" fmla="*/ 21273 w 21305"/>
                            <a:gd name="connsiteY0" fmla="*/ 9325 h 12371"/>
                            <a:gd name="connsiteX1" fmla="*/ 21147 w 21305"/>
                            <a:gd name="connsiteY1" fmla="*/ 7944 h 12371"/>
                            <a:gd name="connsiteX2" fmla="*/ 16375 w 21305"/>
                            <a:gd name="connsiteY2" fmla="*/ 6186 h 12371"/>
                            <a:gd name="connsiteX3" fmla="*/ 6201 w 21305"/>
                            <a:gd name="connsiteY3" fmla="*/ 283 h 12371"/>
                            <a:gd name="connsiteX4" fmla="*/ 3815 w 21305"/>
                            <a:gd name="connsiteY4" fmla="*/ 283 h 12371"/>
                            <a:gd name="connsiteX5" fmla="*/ 1177 w 21305"/>
                            <a:gd name="connsiteY5" fmla="*/ 1790 h 12371"/>
                            <a:gd name="connsiteX6" fmla="*/ 549 w 21305"/>
                            <a:gd name="connsiteY6" fmla="*/ 1539 h 12371"/>
                            <a:gd name="connsiteX7" fmla="*/ 47 w 21305"/>
                            <a:gd name="connsiteY7" fmla="*/ 2794 h 12371"/>
                            <a:gd name="connsiteX8" fmla="*/ 47 w 21305"/>
                            <a:gd name="connsiteY8" fmla="*/ 2794 h 12371"/>
                            <a:gd name="connsiteX9" fmla="*/ 47 w 21305"/>
                            <a:gd name="connsiteY9" fmla="*/ 2794 h 12371"/>
                            <a:gd name="connsiteX10" fmla="*/ 424 w 21305"/>
                            <a:gd name="connsiteY10" fmla="*/ 3799 h 12371"/>
                            <a:gd name="connsiteX11" fmla="*/ 14867 w 21305"/>
                            <a:gd name="connsiteY11" fmla="*/ 12089 h 12371"/>
                            <a:gd name="connsiteX12" fmla="*/ 17253 w 21305"/>
                            <a:gd name="connsiteY12" fmla="*/ 12089 h 12371"/>
                            <a:gd name="connsiteX13" fmla="*/ 20770 w 21305"/>
                            <a:gd name="connsiteY13" fmla="*/ 10079 h 12371"/>
                            <a:gd name="connsiteX14" fmla="*/ 21273 w 21305"/>
                            <a:gd name="connsiteY14" fmla="*/ 9325 h 1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305" h="12371">
                              <a:moveTo>
                                <a:pt x="21273" y="9325"/>
                              </a:moveTo>
                              <a:lnTo>
                                <a:pt x="21147" y="7944"/>
                              </a:lnTo>
                              <a:lnTo>
                                <a:pt x="16375" y="6186"/>
                              </a:lnTo>
                              <a:lnTo>
                                <a:pt x="6201" y="283"/>
                              </a:lnTo>
                              <a:cubicBezTo>
                                <a:pt x="5573" y="-94"/>
                                <a:pt x="4443" y="-94"/>
                                <a:pt x="3815" y="283"/>
                              </a:cubicBezTo>
                              <a:lnTo>
                                <a:pt x="1177" y="1790"/>
                              </a:lnTo>
                              <a:lnTo>
                                <a:pt x="549" y="1539"/>
                              </a:lnTo>
                              <a:cubicBezTo>
                                <a:pt x="549" y="1539"/>
                                <a:pt x="173" y="2669"/>
                                <a:pt x="47" y="2794"/>
                              </a:cubicBezTo>
                              <a:lnTo>
                                <a:pt x="47" y="2794"/>
                              </a:lnTo>
                              <a:lnTo>
                                <a:pt x="47" y="2794"/>
                              </a:lnTo>
                              <a:cubicBezTo>
                                <a:pt x="-78" y="3171"/>
                                <a:pt x="47" y="3548"/>
                                <a:pt x="424" y="3799"/>
                              </a:cubicBezTo>
                              <a:lnTo>
                                <a:pt x="14867" y="12089"/>
                              </a:lnTo>
                              <a:cubicBezTo>
                                <a:pt x="15495" y="12465"/>
                                <a:pt x="16626" y="12465"/>
                                <a:pt x="17253" y="12089"/>
                              </a:cubicBezTo>
                              <a:lnTo>
                                <a:pt x="20770" y="10079"/>
                              </a:lnTo>
                              <a:cubicBezTo>
                                <a:pt x="21147" y="9828"/>
                                <a:pt x="21398" y="9576"/>
                                <a:pt x="21273" y="932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390" name="Graphic 4">
                          <a:extLst>
                            <a:ext uri="{FF2B5EF4-FFF2-40B4-BE49-F238E27FC236}">
                              <a16:creationId xmlns:a16="http://schemas.microsoft.com/office/drawing/2014/main" id="{84FB7ED1-A2DF-40A1-A747-5F7CF3F14040}"/>
                            </a:ext>
                          </a:extLst>
                        </p:cNvPr>
                        <p:cNvGrpSpPr/>
                        <p:nvPr/>
                      </p:nvGrpSpPr>
                      <p:grpSpPr>
                        <a:xfrm>
                          <a:off x="4577635" y="4503020"/>
                          <a:ext cx="21305" cy="13501"/>
                          <a:chOff x="4577635" y="4503020"/>
                          <a:chExt cx="21305" cy="13501"/>
                        </a:xfrm>
                        <a:solidFill>
                          <a:schemeClr val="accent1"/>
                        </a:solidFill>
                      </p:grpSpPr>
                      <p:sp>
                        <p:nvSpPr>
                          <p:cNvPr id="3391" name="Freeform: Shape 3390">
                            <a:extLst>
                              <a:ext uri="{FF2B5EF4-FFF2-40B4-BE49-F238E27FC236}">
                                <a16:creationId xmlns:a16="http://schemas.microsoft.com/office/drawing/2014/main" id="{95AE30C9-EA57-449E-B0E0-8A9DEF71110E}"/>
                              </a:ext>
                            </a:extLst>
                          </p:cNvPr>
                          <p:cNvSpPr/>
                          <p:nvPr/>
                        </p:nvSpPr>
                        <p:spPr>
                          <a:xfrm>
                            <a:off x="4577635" y="4504150"/>
                            <a:ext cx="21305" cy="12371"/>
                          </a:xfrm>
                          <a:custGeom>
                            <a:avLst/>
                            <a:gdLst>
                              <a:gd name="connsiteX0" fmla="*/ 21273 w 21305"/>
                              <a:gd name="connsiteY0" fmla="*/ 9325 h 12371"/>
                              <a:gd name="connsiteX1" fmla="*/ 21147 w 21305"/>
                              <a:gd name="connsiteY1" fmla="*/ 7944 h 12371"/>
                              <a:gd name="connsiteX2" fmla="*/ 16375 w 21305"/>
                              <a:gd name="connsiteY2" fmla="*/ 6186 h 12371"/>
                              <a:gd name="connsiteX3" fmla="*/ 6201 w 21305"/>
                              <a:gd name="connsiteY3" fmla="*/ 283 h 12371"/>
                              <a:gd name="connsiteX4" fmla="*/ 3815 w 21305"/>
                              <a:gd name="connsiteY4" fmla="*/ 283 h 12371"/>
                              <a:gd name="connsiteX5" fmla="*/ 1177 w 21305"/>
                              <a:gd name="connsiteY5" fmla="*/ 1790 h 12371"/>
                              <a:gd name="connsiteX6" fmla="*/ 549 w 21305"/>
                              <a:gd name="connsiteY6" fmla="*/ 1539 h 12371"/>
                              <a:gd name="connsiteX7" fmla="*/ 47 w 21305"/>
                              <a:gd name="connsiteY7" fmla="*/ 2794 h 12371"/>
                              <a:gd name="connsiteX8" fmla="*/ 47 w 21305"/>
                              <a:gd name="connsiteY8" fmla="*/ 2794 h 12371"/>
                              <a:gd name="connsiteX9" fmla="*/ 47 w 21305"/>
                              <a:gd name="connsiteY9" fmla="*/ 2794 h 12371"/>
                              <a:gd name="connsiteX10" fmla="*/ 424 w 21305"/>
                              <a:gd name="connsiteY10" fmla="*/ 3799 h 12371"/>
                              <a:gd name="connsiteX11" fmla="*/ 14867 w 21305"/>
                              <a:gd name="connsiteY11" fmla="*/ 12089 h 12371"/>
                              <a:gd name="connsiteX12" fmla="*/ 17253 w 21305"/>
                              <a:gd name="connsiteY12" fmla="*/ 12089 h 12371"/>
                              <a:gd name="connsiteX13" fmla="*/ 20770 w 21305"/>
                              <a:gd name="connsiteY13" fmla="*/ 10079 h 12371"/>
                              <a:gd name="connsiteX14" fmla="*/ 21273 w 21305"/>
                              <a:gd name="connsiteY14" fmla="*/ 9325 h 1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305" h="12371">
                                <a:moveTo>
                                  <a:pt x="21273" y="9325"/>
                                </a:moveTo>
                                <a:lnTo>
                                  <a:pt x="21147" y="7944"/>
                                </a:lnTo>
                                <a:lnTo>
                                  <a:pt x="16375" y="6186"/>
                                </a:lnTo>
                                <a:lnTo>
                                  <a:pt x="6201" y="283"/>
                                </a:lnTo>
                                <a:cubicBezTo>
                                  <a:pt x="5573" y="-94"/>
                                  <a:pt x="4443" y="-94"/>
                                  <a:pt x="3815" y="283"/>
                                </a:cubicBezTo>
                                <a:lnTo>
                                  <a:pt x="1177" y="1790"/>
                                </a:lnTo>
                                <a:lnTo>
                                  <a:pt x="549" y="1539"/>
                                </a:lnTo>
                                <a:cubicBezTo>
                                  <a:pt x="549" y="1539"/>
                                  <a:pt x="173" y="2669"/>
                                  <a:pt x="47" y="2794"/>
                                </a:cubicBezTo>
                                <a:lnTo>
                                  <a:pt x="47" y="2794"/>
                                </a:lnTo>
                                <a:lnTo>
                                  <a:pt x="47" y="2794"/>
                                </a:lnTo>
                                <a:cubicBezTo>
                                  <a:pt x="-78" y="3171"/>
                                  <a:pt x="47" y="3548"/>
                                  <a:pt x="424" y="3799"/>
                                </a:cubicBezTo>
                                <a:lnTo>
                                  <a:pt x="14867" y="12089"/>
                                </a:lnTo>
                                <a:cubicBezTo>
                                  <a:pt x="15495" y="12465"/>
                                  <a:pt x="16626" y="12465"/>
                                  <a:pt x="17253" y="12089"/>
                                </a:cubicBezTo>
                                <a:lnTo>
                                  <a:pt x="20770" y="10079"/>
                                </a:lnTo>
                                <a:cubicBezTo>
                                  <a:pt x="21147" y="9828"/>
                                  <a:pt x="21398" y="9576"/>
                                  <a:pt x="21273" y="932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2" name="Freeform: Shape 3391">
                            <a:extLst>
                              <a:ext uri="{FF2B5EF4-FFF2-40B4-BE49-F238E27FC236}">
                                <a16:creationId xmlns:a16="http://schemas.microsoft.com/office/drawing/2014/main" id="{95C59AD1-9A64-432E-8339-E288E433B32E}"/>
                              </a:ext>
                            </a:extLst>
                          </p:cNvPr>
                          <p:cNvSpPr/>
                          <p:nvPr/>
                        </p:nvSpPr>
                        <p:spPr>
                          <a:xfrm>
                            <a:off x="4578091" y="4503020"/>
                            <a:ext cx="20677" cy="11994"/>
                          </a:xfrm>
                          <a:custGeom>
                            <a:avLst/>
                            <a:gdLst>
                              <a:gd name="connsiteX0" fmla="*/ 20189 w 20677"/>
                              <a:gd name="connsiteY0" fmla="*/ 8446 h 11994"/>
                              <a:gd name="connsiteX1" fmla="*/ 6123 w 20677"/>
                              <a:gd name="connsiteY1" fmla="*/ 283 h 11994"/>
                              <a:gd name="connsiteX2" fmla="*/ 3862 w 20677"/>
                              <a:gd name="connsiteY2" fmla="*/ 283 h 11994"/>
                              <a:gd name="connsiteX3" fmla="*/ 471 w 20677"/>
                              <a:gd name="connsiteY3" fmla="*/ 2166 h 11994"/>
                              <a:gd name="connsiteX4" fmla="*/ 471 w 20677"/>
                              <a:gd name="connsiteY4" fmla="*/ 3548 h 11994"/>
                              <a:gd name="connsiteX5" fmla="*/ 14537 w 20677"/>
                              <a:gd name="connsiteY5" fmla="*/ 11712 h 11994"/>
                              <a:gd name="connsiteX6" fmla="*/ 16924 w 20677"/>
                              <a:gd name="connsiteY6" fmla="*/ 11712 h 11994"/>
                              <a:gd name="connsiteX7" fmla="*/ 20315 w 20677"/>
                              <a:gd name="connsiteY7" fmla="*/ 9828 h 11994"/>
                              <a:gd name="connsiteX8" fmla="*/ 20189 w 20677"/>
                              <a:gd name="connsiteY8" fmla="*/ 8446 h 1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77" h="11994">
                                <a:moveTo>
                                  <a:pt x="20189" y="8446"/>
                                </a:moveTo>
                                <a:lnTo>
                                  <a:pt x="6123" y="283"/>
                                </a:lnTo>
                                <a:cubicBezTo>
                                  <a:pt x="5495" y="-94"/>
                                  <a:pt x="4490" y="-94"/>
                                  <a:pt x="3862" y="283"/>
                                </a:cubicBezTo>
                                <a:lnTo>
                                  <a:pt x="471" y="2166"/>
                                </a:lnTo>
                                <a:cubicBezTo>
                                  <a:pt x="-157" y="2543"/>
                                  <a:pt x="-157" y="3171"/>
                                  <a:pt x="471" y="3548"/>
                                </a:cubicBezTo>
                                <a:lnTo>
                                  <a:pt x="14537" y="11712"/>
                                </a:lnTo>
                                <a:cubicBezTo>
                                  <a:pt x="15166" y="12089"/>
                                  <a:pt x="16170" y="12089"/>
                                  <a:pt x="16924" y="11712"/>
                                </a:cubicBezTo>
                                <a:lnTo>
                                  <a:pt x="20315" y="9828"/>
                                </a:lnTo>
                                <a:cubicBezTo>
                                  <a:pt x="20817" y="9451"/>
                                  <a:pt x="20817" y="8823"/>
                                  <a:pt x="20189" y="8446"/>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3393" name="Graphic 4">
                      <a:extLst>
                        <a:ext uri="{FF2B5EF4-FFF2-40B4-BE49-F238E27FC236}">
                          <a16:creationId xmlns:a16="http://schemas.microsoft.com/office/drawing/2014/main" id="{84FB7ED1-A2DF-40A1-A747-5F7CF3F14040}"/>
                        </a:ext>
                      </a:extLst>
                    </p:cNvPr>
                    <p:cNvGrpSpPr/>
                    <p:nvPr/>
                  </p:nvGrpSpPr>
                  <p:grpSpPr>
                    <a:xfrm>
                      <a:off x="4625112" y="4500507"/>
                      <a:ext cx="23199" cy="14757"/>
                      <a:chOff x="4625112" y="4500507"/>
                      <a:chExt cx="23199" cy="14757"/>
                    </a:xfrm>
                    <a:solidFill>
                      <a:schemeClr val="accent1"/>
                    </a:solidFill>
                  </p:grpSpPr>
                  <p:grpSp>
                    <p:nvGrpSpPr>
                      <p:cNvPr id="3394" name="Graphic 4">
                        <a:extLst>
                          <a:ext uri="{FF2B5EF4-FFF2-40B4-BE49-F238E27FC236}">
                            <a16:creationId xmlns:a16="http://schemas.microsoft.com/office/drawing/2014/main" id="{84FB7ED1-A2DF-40A1-A747-5F7CF3F14040}"/>
                          </a:ext>
                        </a:extLst>
                      </p:cNvPr>
                      <p:cNvGrpSpPr/>
                      <p:nvPr/>
                    </p:nvGrpSpPr>
                    <p:grpSpPr>
                      <a:xfrm>
                        <a:off x="4625112" y="4500507"/>
                        <a:ext cx="10469" cy="7347"/>
                        <a:chOff x="4625112" y="4500507"/>
                        <a:chExt cx="10469" cy="7347"/>
                      </a:xfrm>
                      <a:solidFill>
                        <a:schemeClr val="accent1"/>
                      </a:solidFill>
                    </p:grpSpPr>
                    <p:sp>
                      <p:nvSpPr>
                        <p:cNvPr id="3395" name="Freeform: Shape 3394">
                          <a:extLst>
                            <a:ext uri="{FF2B5EF4-FFF2-40B4-BE49-F238E27FC236}">
                              <a16:creationId xmlns:a16="http://schemas.microsoft.com/office/drawing/2014/main" id="{9D91A165-9516-4B0E-9F9F-75DA72703CD7}"/>
                            </a:ext>
                          </a:extLst>
                        </p:cNvPr>
                        <p:cNvSpPr/>
                        <p:nvPr/>
                      </p:nvSpPr>
                      <p:spPr>
                        <a:xfrm>
                          <a:off x="4625112" y="4501889"/>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7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6" name="Freeform: Shape 3395">
                          <a:extLst>
                            <a:ext uri="{FF2B5EF4-FFF2-40B4-BE49-F238E27FC236}">
                              <a16:creationId xmlns:a16="http://schemas.microsoft.com/office/drawing/2014/main" id="{9F76BA9C-8AE5-46AC-8137-516436BFB1D8}"/>
                            </a:ext>
                          </a:extLst>
                        </p:cNvPr>
                        <p:cNvSpPr/>
                        <p:nvPr/>
                      </p:nvSpPr>
                      <p:spPr>
                        <a:xfrm>
                          <a:off x="4625112" y="4501889"/>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7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7" name="Freeform: Shape 3396">
                          <a:extLst>
                            <a:ext uri="{FF2B5EF4-FFF2-40B4-BE49-F238E27FC236}">
                              <a16:creationId xmlns:a16="http://schemas.microsoft.com/office/drawing/2014/main" id="{32654F96-823E-4EDF-88CE-4AD01F73D17F}"/>
                            </a:ext>
                          </a:extLst>
                        </p:cNvPr>
                        <p:cNvSpPr/>
                        <p:nvPr/>
                      </p:nvSpPr>
                      <p:spPr>
                        <a:xfrm>
                          <a:off x="4625314" y="450050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8" y="3297"/>
                                <a:pt x="10268"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98" name="Graphic 4">
                        <a:extLst>
                          <a:ext uri="{FF2B5EF4-FFF2-40B4-BE49-F238E27FC236}">
                            <a16:creationId xmlns:a16="http://schemas.microsoft.com/office/drawing/2014/main" id="{84FB7ED1-A2DF-40A1-A747-5F7CF3F14040}"/>
                          </a:ext>
                        </a:extLst>
                      </p:cNvPr>
                      <p:cNvGrpSpPr/>
                      <p:nvPr/>
                    </p:nvGrpSpPr>
                    <p:grpSpPr>
                      <a:xfrm>
                        <a:off x="4631392" y="4504150"/>
                        <a:ext cx="10514" cy="7347"/>
                        <a:chOff x="4631392" y="4504150"/>
                        <a:chExt cx="10514" cy="7347"/>
                      </a:xfrm>
                      <a:solidFill>
                        <a:schemeClr val="accent1"/>
                      </a:solidFill>
                    </p:grpSpPr>
                    <p:sp>
                      <p:nvSpPr>
                        <p:cNvPr id="3399" name="Freeform: Shape 3398">
                          <a:extLst>
                            <a:ext uri="{FF2B5EF4-FFF2-40B4-BE49-F238E27FC236}">
                              <a16:creationId xmlns:a16="http://schemas.microsoft.com/office/drawing/2014/main" id="{6D080538-5B95-43C3-A765-7A3B9DDB1D09}"/>
                            </a:ext>
                          </a:extLst>
                        </p:cNvPr>
                        <p:cNvSpPr/>
                        <p:nvPr/>
                      </p:nvSpPr>
                      <p:spPr>
                        <a:xfrm>
                          <a:off x="4631392" y="450553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0" name="Freeform: Shape 3399">
                          <a:extLst>
                            <a:ext uri="{FF2B5EF4-FFF2-40B4-BE49-F238E27FC236}">
                              <a16:creationId xmlns:a16="http://schemas.microsoft.com/office/drawing/2014/main" id="{C94DB806-F276-4DB6-BD1D-7B50B0176361}"/>
                            </a:ext>
                          </a:extLst>
                        </p:cNvPr>
                        <p:cNvSpPr/>
                        <p:nvPr/>
                      </p:nvSpPr>
                      <p:spPr>
                        <a:xfrm>
                          <a:off x="4631392" y="450553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1" name="Freeform: Shape 3400">
                          <a:extLst>
                            <a:ext uri="{FF2B5EF4-FFF2-40B4-BE49-F238E27FC236}">
                              <a16:creationId xmlns:a16="http://schemas.microsoft.com/office/drawing/2014/main" id="{26C45682-D317-49B9-A97B-03A43254DE03}"/>
                            </a:ext>
                          </a:extLst>
                        </p:cNvPr>
                        <p:cNvSpPr/>
                        <p:nvPr/>
                      </p:nvSpPr>
                      <p:spPr>
                        <a:xfrm>
                          <a:off x="4631594" y="450415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02" name="Graphic 4">
                        <a:extLst>
                          <a:ext uri="{FF2B5EF4-FFF2-40B4-BE49-F238E27FC236}">
                            <a16:creationId xmlns:a16="http://schemas.microsoft.com/office/drawing/2014/main" id="{84FB7ED1-A2DF-40A1-A747-5F7CF3F14040}"/>
                          </a:ext>
                        </a:extLst>
                      </p:cNvPr>
                      <p:cNvGrpSpPr/>
                      <p:nvPr/>
                    </p:nvGrpSpPr>
                    <p:grpSpPr>
                      <a:xfrm>
                        <a:off x="4637797" y="4507886"/>
                        <a:ext cx="10514" cy="7378"/>
                        <a:chOff x="4637797" y="4507886"/>
                        <a:chExt cx="10514" cy="7378"/>
                      </a:xfrm>
                      <a:solidFill>
                        <a:schemeClr val="accent1"/>
                      </a:solidFill>
                    </p:grpSpPr>
                    <p:sp>
                      <p:nvSpPr>
                        <p:cNvPr id="3403" name="Freeform: Shape 3402">
                          <a:extLst>
                            <a:ext uri="{FF2B5EF4-FFF2-40B4-BE49-F238E27FC236}">
                              <a16:creationId xmlns:a16="http://schemas.microsoft.com/office/drawing/2014/main" id="{417AE35D-0583-465D-B67E-60C4C9341DB9}"/>
                            </a:ext>
                          </a:extLst>
                        </p:cNvPr>
                        <p:cNvSpPr/>
                        <p:nvPr/>
                      </p:nvSpPr>
                      <p:spPr>
                        <a:xfrm>
                          <a:off x="4637797" y="450929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4" name="Freeform: Shape 3403">
                          <a:extLst>
                            <a:ext uri="{FF2B5EF4-FFF2-40B4-BE49-F238E27FC236}">
                              <a16:creationId xmlns:a16="http://schemas.microsoft.com/office/drawing/2014/main" id="{07F9B847-C6D6-4AFF-8981-5845BD370BAE}"/>
                            </a:ext>
                          </a:extLst>
                        </p:cNvPr>
                        <p:cNvSpPr/>
                        <p:nvPr/>
                      </p:nvSpPr>
                      <p:spPr>
                        <a:xfrm>
                          <a:off x="4637797" y="450929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5" name="Freeform: Shape 3404">
                          <a:extLst>
                            <a:ext uri="{FF2B5EF4-FFF2-40B4-BE49-F238E27FC236}">
                              <a16:creationId xmlns:a16="http://schemas.microsoft.com/office/drawing/2014/main" id="{9E8024B4-FA55-478B-84B5-004F8CE8C997}"/>
                            </a:ext>
                          </a:extLst>
                        </p:cNvPr>
                        <p:cNvSpPr/>
                        <p:nvPr/>
                      </p:nvSpPr>
                      <p:spPr>
                        <a:xfrm>
                          <a:off x="4637999" y="4507886"/>
                          <a:ext cx="10110" cy="5871"/>
                        </a:xfrm>
                        <a:custGeom>
                          <a:avLst/>
                          <a:gdLst>
                            <a:gd name="connsiteX0" fmla="*/ 3862 w 10110"/>
                            <a:gd name="connsiteY0" fmla="*/ 189 h 5871"/>
                            <a:gd name="connsiteX1" fmla="*/ 471 w 10110"/>
                            <a:gd name="connsiteY1" fmla="*/ 2198 h 5871"/>
                            <a:gd name="connsiteX2" fmla="*/ 471 w 10110"/>
                            <a:gd name="connsiteY2" fmla="*/ 3579 h 5871"/>
                            <a:gd name="connsiteX3" fmla="*/ 3862 w 10110"/>
                            <a:gd name="connsiteY3" fmla="*/ 5589 h 5871"/>
                            <a:gd name="connsiteX4" fmla="*/ 6249 w 10110"/>
                            <a:gd name="connsiteY4" fmla="*/ 5589 h 5871"/>
                            <a:gd name="connsiteX5" fmla="*/ 9639 w 10110"/>
                            <a:gd name="connsiteY5" fmla="*/ 3579 h 5871"/>
                            <a:gd name="connsiteX6" fmla="*/ 9639 w 10110"/>
                            <a:gd name="connsiteY6" fmla="*/ 2198 h 5871"/>
                            <a:gd name="connsiteX7" fmla="*/ 6249 w 10110"/>
                            <a:gd name="connsiteY7" fmla="*/ 189 h 5871"/>
                            <a:gd name="connsiteX8" fmla="*/ 3862 w 10110"/>
                            <a:gd name="connsiteY8" fmla="*/ 189 h 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71">
                              <a:moveTo>
                                <a:pt x="3862" y="189"/>
                              </a:moveTo>
                              <a:lnTo>
                                <a:pt x="471" y="2198"/>
                              </a:lnTo>
                              <a:cubicBezTo>
                                <a:pt x="-157" y="2575"/>
                                <a:pt x="-157" y="3203"/>
                                <a:pt x="471" y="3579"/>
                              </a:cubicBezTo>
                              <a:lnTo>
                                <a:pt x="3862" y="5589"/>
                              </a:lnTo>
                              <a:cubicBezTo>
                                <a:pt x="4490" y="5966"/>
                                <a:pt x="5495" y="5966"/>
                                <a:pt x="6249" y="5589"/>
                              </a:cubicBezTo>
                              <a:lnTo>
                                <a:pt x="9639" y="3579"/>
                              </a:lnTo>
                              <a:cubicBezTo>
                                <a:pt x="10267" y="3203"/>
                                <a:pt x="10267" y="2575"/>
                                <a:pt x="9639" y="2198"/>
                              </a:cubicBezTo>
                              <a:lnTo>
                                <a:pt x="6249" y="189"/>
                              </a:lnTo>
                              <a:cubicBezTo>
                                <a:pt x="5620" y="-63"/>
                                <a:pt x="4490" y="-63"/>
                                <a:pt x="3862" y="18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06" name="Graphic 4">
                      <a:extLst>
                        <a:ext uri="{FF2B5EF4-FFF2-40B4-BE49-F238E27FC236}">
                          <a16:creationId xmlns:a16="http://schemas.microsoft.com/office/drawing/2014/main" id="{84FB7ED1-A2DF-40A1-A747-5F7CF3F14040}"/>
                        </a:ext>
                      </a:extLst>
                    </p:cNvPr>
                    <p:cNvGrpSpPr/>
                    <p:nvPr/>
                  </p:nvGrpSpPr>
                  <p:grpSpPr>
                    <a:xfrm>
                      <a:off x="4618581" y="4504150"/>
                      <a:ext cx="23280" cy="14757"/>
                      <a:chOff x="4618581" y="4504150"/>
                      <a:chExt cx="23280" cy="14757"/>
                    </a:xfrm>
                    <a:solidFill>
                      <a:schemeClr val="accent1"/>
                    </a:solidFill>
                  </p:grpSpPr>
                  <p:grpSp>
                    <p:nvGrpSpPr>
                      <p:cNvPr id="3407" name="Graphic 4">
                        <a:extLst>
                          <a:ext uri="{FF2B5EF4-FFF2-40B4-BE49-F238E27FC236}">
                            <a16:creationId xmlns:a16="http://schemas.microsoft.com/office/drawing/2014/main" id="{84FB7ED1-A2DF-40A1-A747-5F7CF3F14040}"/>
                          </a:ext>
                        </a:extLst>
                      </p:cNvPr>
                      <p:cNvGrpSpPr/>
                      <p:nvPr/>
                    </p:nvGrpSpPr>
                    <p:grpSpPr>
                      <a:xfrm>
                        <a:off x="4618581" y="4504150"/>
                        <a:ext cx="10514" cy="7347"/>
                        <a:chOff x="4618581" y="4504150"/>
                        <a:chExt cx="10514" cy="7347"/>
                      </a:xfrm>
                      <a:solidFill>
                        <a:schemeClr val="accent1"/>
                      </a:solidFill>
                    </p:grpSpPr>
                    <p:sp>
                      <p:nvSpPr>
                        <p:cNvPr id="3408" name="Freeform: Shape 3407">
                          <a:extLst>
                            <a:ext uri="{FF2B5EF4-FFF2-40B4-BE49-F238E27FC236}">
                              <a16:creationId xmlns:a16="http://schemas.microsoft.com/office/drawing/2014/main" id="{28E71C99-387C-442A-810D-28E296DDFD3C}"/>
                            </a:ext>
                          </a:extLst>
                        </p:cNvPr>
                        <p:cNvSpPr/>
                        <p:nvPr/>
                      </p:nvSpPr>
                      <p:spPr>
                        <a:xfrm>
                          <a:off x="4618581" y="450553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9" name="Freeform: Shape 3408">
                          <a:extLst>
                            <a:ext uri="{FF2B5EF4-FFF2-40B4-BE49-F238E27FC236}">
                              <a16:creationId xmlns:a16="http://schemas.microsoft.com/office/drawing/2014/main" id="{224BA20F-B197-49F1-BAD8-711B7D0DC054}"/>
                            </a:ext>
                          </a:extLst>
                        </p:cNvPr>
                        <p:cNvSpPr/>
                        <p:nvPr/>
                      </p:nvSpPr>
                      <p:spPr>
                        <a:xfrm>
                          <a:off x="4618581" y="450553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0" name="Freeform: Shape 3409">
                          <a:extLst>
                            <a:ext uri="{FF2B5EF4-FFF2-40B4-BE49-F238E27FC236}">
                              <a16:creationId xmlns:a16="http://schemas.microsoft.com/office/drawing/2014/main" id="{05BCF3EC-FD17-4292-A662-36C33BED2B6A}"/>
                            </a:ext>
                          </a:extLst>
                        </p:cNvPr>
                        <p:cNvSpPr/>
                        <p:nvPr/>
                      </p:nvSpPr>
                      <p:spPr>
                        <a:xfrm>
                          <a:off x="4618783" y="450415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11" name="Graphic 4">
                        <a:extLst>
                          <a:ext uri="{FF2B5EF4-FFF2-40B4-BE49-F238E27FC236}">
                            <a16:creationId xmlns:a16="http://schemas.microsoft.com/office/drawing/2014/main" id="{84FB7ED1-A2DF-40A1-A747-5F7CF3F14040}"/>
                          </a:ext>
                        </a:extLst>
                      </p:cNvPr>
                      <p:cNvGrpSpPr/>
                      <p:nvPr/>
                    </p:nvGrpSpPr>
                    <p:grpSpPr>
                      <a:xfrm>
                        <a:off x="4624987" y="4507792"/>
                        <a:ext cx="10469" cy="7346"/>
                        <a:chOff x="4624987" y="4507792"/>
                        <a:chExt cx="10469" cy="7346"/>
                      </a:xfrm>
                      <a:solidFill>
                        <a:schemeClr val="accent1"/>
                      </a:solidFill>
                    </p:grpSpPr>
                    <p:sp>
                      <p:nvSpPr>
                        <p:cNvPr id="3412" name="Freeform: Shape 3411">
                          <a:extLst>
                            <a:ext uri="{FF2B5EF4-FFF2-40B4-BE49-F238E27FC236}">
                              <a16:creationId xmlns:a16="http://schemas.microsoft.com/office/drawing/2014/main" id="{50979D10-8991-4D45-8B1A-2687AB3BC696}"/>
                            </a:ext>
                          </a:extLst>
                        </p:cNvPr>
                        <p:cNvSpPr/>
                        <p:nvPr/>
                      </p:nvSpPr>
                      <p:spPr>
                        <a:xfrm>
                          <a:off x="4624987" y="450917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548"/>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3" name="Freeform: Shape 3412">
                          <a:extLst>
                            <a:ext uri="{FF2B5EF4-FFF2-40B4-BE49-F238E27FC236}">
                              <a16:creationId xmlns:a16="http://schemas.microsoft.com/office/drawing/2014/main" id="{091D8598-6FE5-45E4-98F2-6FC66876C0C7}"/>
                            </a:ext>
                          </a:extLst>
                        </p:cNvPr>
                        <p:cNvSpPr/>
                        <p:nvPr/>
                      </p:nvSpPr>
                      <p:spPr>
                        <a:xfrm>
                          <a:off x="4624987" y="450917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548"/>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4" name="Freeform: Shape 3413">
                          <a:extLst>
                            <a:ext uri="{FF2B5EF4-FFF2-40B4-BE49-F238E27FC236}">
                              <a16:creationId xmlns:a16="http://schemas.microsoft.com/office/drawing/2014/main" id="{8824779D-902B-4ADF-8EB3-6E069033A9B1}"/>
                            </a:ext>
                          </a:extLst>
                        </p:cNvPr>
                        <p:cNvSpPr/>
                        <p:nvPr/>
                      </p:nvSpPr>
                      <p:spPr>
                        <a:xfrm>
                          <a:off x="4625189" y="4507792"/>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8"/>
                                <a:pt x="5495" y="5808"/>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15" name="Graphic 4">
                        <a:extLst>
                          <a:ext uri="{FF2B5EF4-FFF2-40B4-BE49-F238E27FC236}">
                            <a16:creationId xmlns:a16="http://schemas.microsoft.com/office/drawing/2014/main" id="{84FB7ED1-A2DF-40A1-A747-5F7CF3F14040}"/>
                          </a:ext>
                        </a:extLst>
                      </p:cNvPr>
                      <p:cNvGrpSpPr/>
                      <p:nvPr/>
                    </p:nvGrpSpPr>
                    <p:grpSpPr>
                      <a:xfrm>
                        <a:off x="4631392" y="4511560"/>
                        <a:ext cx="10469" cy="7347"/>
                        <a:chOff x="4631392" y="4511560"/>
                        <a:chExt cx="10469" cy="7347"/>
                      </a:xfrm>
                      <a:solidFill>
                        <a:schemeClr val="accent1"/>
                      </a:solidFill>
                    </p:grpSpPr>
                    <p:sp>
                      <p:nvSpPr>
                        <p:cNvPr id="3416" name="Freeform: Shape 3415">
                          <a:extLst>
                            <a:ext uri="{FF2B5EF4-FFF2-40B4-BE49-F238E27FC236}">
                              <a16:creationId xmlns:a16="http://schemas.microsoft.com/office/drawing/2014/main" id="{79D0D476-9ACA-4B9C-B52C-809496E8BB42}"/>
                            </a:ext>
                          </a:extLst>
                        </p:cNvPr>
                        <p:cNvSpPr/>
                        <p:nvPr/>
                      </p:nvSpPr>
                      <p:spPr>
                        <a:xfrm>
                          <a:off x="4631392" y="4512941"/>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7" name="Freeform: Shape 3416">
                          <a:extLst>
                            <a:ext uri="{FF2B5EF4-FFF2-40B4-BE49-F238E27FC236}">
                              <a16:creationId xmlns:a16="http://schemas.microsoft.com/office/drawing/2014/main" id="{55441C9D-3387-4B0A-813D-9DC7D0522526}"/>
                            </a:ext>
                          </a:extLst>
                        </p:cNvPr>
                        <p:cNvSpPr/>
                        <p:nvPr/>
                      </p:nvSpPr>
                      <p:spPr>
                        <a:xfrm>
                          <a:off x="4631392" y="4512941"/>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8" name="Freeform: Shape 3417">
                          <a:extLst>
                            <a:ext uri="{FF2B5EF4-FFF2-40B4-BE49-F238E27FC236}">
                              <a16:creationId xmlns:a16="http://schemas.microsoft.com/office/drawing/2014/main" id="{FF303F17-69B5-4065-9921-18616ED1A0B2}"/>
                            </a:ext>
                          </a:extLst>
                        </p:cNvPr>
                        <p:cNvSpPr/>
                        <p:nvPr/>
                      </p:nvSpPr>
                      <p:spPr>
                        <a:xfrm>
                          <a:off x="4631594" y="451156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19" name="Graphic 4">
                      <a:extLst>
                        <a:ext uri="{FF2B5EF4-FFF2-40B4-BE49-F238E27FC236}">
                          <a16:creationId xmlns:a16="http://schemas.microsoft.com/office/drawing/2014/main" id="{84FB7ED1-A2DF-40A1-A747-5F7CF3F14040}"/>
                        </a:ext>
                      </a:extLst>
                    </p:cNvPr>
                    <p:cNvGrpSpPr/>
                    <p:nvPr/>
                  </p:nvGrpSpPr>
                  <p:grpSpPr>
                    <a:xfrm>
                      <a:off x="4612176" y="4507918"/>
                      <a:ext cx="23280" cy="14631"/>
                      <a:chOff x="4612176" y="4507918"/>
                      <a:chExt cx="23280" cy="14631"/>
                    </a:xfrm>
                    <a:solidFill>
                      <a:schemeClr val="accent1"/>
                    </a:solidFill>
                  </p:grpSpPr>
                  <p:grpSp>
                    <p:nvGrpSpPr>
                      <p:cNvPr id="3420" name="Graphic 4">
                        <a:extLst>
                          <a:ext uri="{FF2B5EF4-FFF2-40B4-BE49-F238E27FC236}">
                            <a16:creationId xmlns:a16="http://schemas.microsoft.com/office/drawing/2014/main" id="{84FB7ED1-A2DF-40A1-A747-5F7CF3F14040}"/>
                          </a:ext>
                        </a:extLst>
                      </p:cNvPr>
                      <p:cNvGrpSpPr/>
                      <p:nvPr/>
                    </p:nvGrpSpPr>
                    <p:grpSpPr>
                      <a:xfrm>
                        <a:off x="4612176" y="4507918"/>
                        <a:ext cx="10514" cy="7347"/>
                        <a:chOff x="4612176" y="4507918"/>
                        <a:chExt cx="10514" cy="7347"/>
                      </a:xfrm>
                      <a:solidFill>
                        <a:schemeClr val="accent1"/>
                      </a:solidFill>
                    </p:grpSpPr>
                    <p:sp>
                      <p:nvSpPr>
                        <p:cNvPr id="3421" name="Freeform: Shape 3420">
                          <a:extLst>
                            <a:ext uri="{FF2B5EF4-FFF2-40B4-BE49-F238E27FC236}">
                              <a16:creationId xmlns:a16="http://schemas.microsoft.com/office/drawing/2014/main" id="{7A8099F7-B0D9-4246-A7A1-042A4107D3BE}"/>
                            </a:ext>
                          </a:extLst>
                        </p:cNvPr>
                        <p:cNvSpPr/>
                        <p:nvPr/>
                      </p:nvSpPr>
                      <p:spPr>
                        <a:xfrm>
                          <a:off x="4612176" y="450929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2" name="Freeform: Shape 3421">
                          <a:extLst>
                            <a:ext uri="{FF2B5EF4-FFF2-40B4-BE49-F238E27FC236}">
                              <a16:creationId xmlns:a16="http://schemas.microsoft.com/office/drawing/2014/main" id="{4D4853E5-B7F3-4882-A780-E35874DE396F}"/>
                            </a:ext>
                          </a:extLst>
                        </p:cNvPr>
                        <p:cNvSpPr/>
                        <p:nvPr/>
                      </p:nvSpPr>
                      <p:spPr>
                        <a:xfrm>
                          <a:off x="4612176" y="450929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3" name="Freeform: Shape 3422">
                          <a:extLst>
                            <a:ext uri="{FF2B5EF4-FFF2-40B4-BE49-F238E27FC236}">
                              <a16:creationId xmlns:a16="http://schemas.microsoft.com/office/drawing/2014/main" id="{BD34D121-8B7E-4440-9B53-F67891C37DDC}"/>
                            </a:ext>
                          </a:extLst>
                        </p:cNvPr>
                        <p:cNvSpPr/>
                        <p:nvPr/>
                      </p:nvSpPr>
                      <p:spPr>
                        <a:xfrm>
                          <a:off x="4612378" y="4507918"/>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24" name="Graphic 4">
                        <a:extLst>
                          <a:ext uri="{FF2B5EF4-FFF2-40B4-BE49-F238E27FC236}">
                            <a16:creationId xmlns:a16="http://schemas.microsoft.com/office/drawing/2014/main" id="{84FB7ED1-A2DF-40A1-A747-5F7CF3F14040}"/>
                          </a:ext>
                        </a:extLst>
                      </p:cNvPr>
                      <p:cNvGrpSpPr/>
                      <p:nvPr/>
                    </p:nvGrpSpPr>
                    <p:grpSpPr>
                      <a:xfrm>
                        <a:off x="4618581" y="4511560"/>
                        <a:ext cx="10469" cy="7347"/>
                        <a:chOff x="4618581" y="4511560"/>
                        <a:chExt cx="10469" cy="7347"/>
                      </a:xfrm>
                      <a:solidFill>
                        <a:schemeClr val="accent1"/>
                      </a:solidFill>
                    </p:grpSpPr>
                    <p:sp>
                      <p:nvSpPr>
                        <p:cNvPr id="3425" name="Freeform: Shape 3424">
                          <a:extLst>
                            <a:ext uri="{FF2B5EF4-FFF2-40B4-BE49-F238E27FC236}">
                              <a16:creationId xmlns:a16="http://schemas.microsoft.com/office/drawing/2014/main" id="{27436C5B-93D7-4AAF-A712-B18C5C849B1F}"/>
                            </a:ext>
                          </a:extLst>
                        </p:cNvPr>
                        <p:cNvSpPr/>
                        <p:nvPr/>
                      </p:nvSpPr>
                      <p:spPr>
                        <a:xfrm>
                          <a:off x="4618581" y="4512941"/>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6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6" name="Freeform: Shape 3425">
                          <a:extLst>
                            <a:ext uri="{FF2B5EF4-FFF2-40B4-BE49-F238E27FC236}">
                              <a16:creationId xmlns:a16="http://schemas.microsoft.com/office/drawing/2014/main" id="{E8A9BD2B-D212-4D7D-A55C-94807E2BA11A}"/>
                            </a:ext>
                          </a:extLst>
                        </p:cNvPr>
                        <p:cNvSpPr/>
                        <p:nvPr/>
                      </p:nvSpPr>
                      <p:spPr>
                        <a:xfrm>
                          <a:off x="4618581" y="4512941"/>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6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7" name="Freeform: Shape 3426">
                          <a:extLst>
                            <a:ext uri="{FF2B5EF4-FFF2-40B4-BE49-F238E27FC236}">
                              <a16:creationId xmlns:a16="http://schemas.microsoft.com/office/drawing/2014/main" id="{B215B6EC-BE00-47ED-95AC-58D6D2ECF4ED}"/>
                            </a:ext>
                          </a:extLst>
                        </p:cNvPr>
                        <p:cNvSpPr/>
                        <p:nvPr/>
                      </p:nvSpPr>
                      <p:spPr>
                        <a:xfrm>
                          <a:off x="4618783" y="451156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28" name="Graphic 4">
                        <a:extLst>
                          <a:ext uri="{FF2B5EF4-FFF2-40B4-BE49-F238E27FC236}">
                            <a16:creationId xmlns:a16="http://schemas.microsoft.com/office/drawing/2014/main" id="{84FB7ED1-A2DF-40A1-A747-5F7CF3F14040}"/>
                          </a:ext>
                        </a:extLst>
                      </p:cNvPr>
                      <p:cNvGrpSpPr/>
                      <p:nvPr/>
                    </p:nvGrpSpPr>
                    <p:grpSpPr>
                      <a:xfrm>
                        <a:off x="4624987" y="4515202"/>
                        <a:ext cx="10469" cy="7346"/>
                        <a:chOff x="4624987" y="4515202"/>
                        <a:chExt cx="10469" cy="7346"/>
                      </a:xfrm>
                      <a:solidFill>
                        <a:schemeClr val="accent1"/>
                      </a:solidFill>
                    </p:grpSpPr>
                    <p:sp>
                      <p:nvSpPr>
                        <p:cNvPr id="3429" name="Freeform: Shape 3428">
                          <a:extLst>
                            <a:ext uri="{FF2B5EF4-FFF2-40B4-BE49-F238E27FC236}">
                              <a16:creationId xmlns:a16="http://schemas.microsoft.com/office/drawing/2014/main" id="{9FE0A754-B1CA-43DB-900B-080CC08F4A08}"/>
                            </a:ext>
                          </a:extLst>
                        </p:cNvPr>
                        <p:cNvSpPr/>
                        <p:nvPr/>
                      </p:nvSpPr>
                      <p:spPr>
                        <a:xfrm>
                          <a:off x="4624987" y="451658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4 h 5965"/>
                            <a:gd name="connsiteX9" fmla="*/ 4064 w 10469"/>
                            <a:gd name="connsiteY9" fmla="*/ 5683 h 5965"/>
                            <a:gd name="connsiteX10" fmla="*/ 6450 w 10469"/>
                            <a:gd name="connsiteY10" fmla="*/ 5683 h 5965"/>
                            <a:gd name="connsiteX11" fmla="*/ 9967 w 10469"/>
                            <a:gd name="connsiteY11" fmla="*/ 3674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0" name="Freeform: Shape 3429">
                          <a:extLst>
                            <a:ext uri="{FF2B5EF4-FFF2-40B4-BE49-F238E27FC236}">
                              <a16:creationId xmlns:a16="http://schemas.microsoft.com/office/drawing/2014/main" id="{EF0F2DA4-6D11-43FA-A383-23B01548784B}"/>
                            </a:ext>
                          </a:extLst>
                        </p:cNvPr>
                        <p:cNvSpPr/>
                        <p:nvPr/>
                      </p:nvSpPr>
                      <p:spPr>
                        <a:xfrm>
                          <a:off x="4624987" y="451658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4 h 5965"/>
                            <a:gd name="connsiteX9" fmla="*/ 4064 w 10469"/>
                            <a:gd name="connsiteY9" fmla="*/ 5683 h 5965"/>
                            <a:gd name="connsiteX10" fmla="*/ 6450 w 10469"/>
                            <a:gd name="connsiteY10" fmla="*/ 5683 h 5965"/>
                            <a:gd name="connsiteX11" fmla="*/ 9967 w 10469"/>
                            <a:gd name="connsiteY11" fmla="*/ 3674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1" name="Freeform: Shape 3430">
                          <a:extLst>
                            <a:ext uri="{FF2B5EF4-FFF2-40B4-BE49-F238E27FC236}">
                              <a16:creationId xmlns:a16="http://schemas.microsoft.com/office/drawing/2014/main" id="{D1815FA6-0986-453A-94A1-61FF1B83E465}"/>
                            </a:ext>
                          </a:extLst>
                        </p:cNvPr>
                        <p:cNvSpPr/>
                        <p:nvPr/>
                      </p:nvSpPr>
                      <p:spPr>
                        <a:xfrm>
                          <a:off x="4625189" y="4515202"/>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32" name="Graphic 4">
                      <a:extLst>
                        <a:ext uri="{FF2B5EF4-FFF2-40B4-BE49-F238E27FC236}">
                          <a16:creationId xmlns:a16="http://schemas.microsoft.com/office/drawing/2014/main" id="{84FB7ED1-A2DF-40A1-A747-5F7CF3F14040}"/>
                        </a:ext>
                      </a:extLst>
                    </p:cNvPr>
                    <p:cNvGrpSpPr/>
                    <p:nvPr/>
                  </p:nvGrpSpPr>
                  <p:grpSpPr>
                    <a:xfrm>
                      <a:off x="4518356" y="4476268"/>
                      <a:ext cx="74430" cy="44272"/>
                      <a:chOff x="4518356" y="4476268"/>
                      <a:chExt cx="74430" cy="44272"/>
                    </a:xfrm>
                    <a:solidFill>
                      <a:schemeClr val="accent1"/>
                    </a:solidFill>
                  </p:grpSpPr>
                  <p:grpSp>
                    <p:nvGrpSpPr>
                      <p:cNvPr id="3433" name="Graphic 4">
                        <a:extLst>
                          <a:ext uri="{FF2B5EF4-FFF2-40B4-BE49-F238E27FC236}">
                            <a16:creationId xmlns:a16="http://schemas.microsoft.com/office/drawing/2014/main" id="{84FB7ED1-A2DF-40A1-A747-5F7CF3F14040}"/>
                          </a:ext>
                        </a:extLst>
                      </p:cNvPr>
                      <p:cNvGrpSpPr/>
                      <p:nvPr/>
                    </p:nvGrpSpPr>
                    <p:grpSpPr>
                      <a:xfrm>
                        <a:off x="4518356" y="4476268"/>
                        <a:ext cx="12637" cy="8603"/>
                        <a:chOff x="4518356" y="4476268"/>
                        <a:chExt cx="12637" cy="8603"/>
                      </a:xfrm>
                      <a:solidFill>
                        <a:schemeClr val="accent1"/>
                      </a:solidFill>
                    </p:grpSpPr>
                    <p:sp>
                      <p:nvSpPr>
                        <p:cNvPr id="3434" name="Freeform: Shape 3433">
                          <a:extLst>
                            <a:ext uri="{FF2B5EF4-FFF2-40B4-BE49-F238E27FC236}">
                              <a16:creationId xmlns:a16="http://schemas.microsoft.com/office/drawing/2014/main" id="{5832B1FA-32B7-4D25-9B4D-22AC9A1EB5F7}"/>
                            </a:ext>
                          </a:extLst>
                        </p:cNvPr>
                        <p:cNvSpPr/>
                        <p:nvPr/>
                      </p:nvSpPr>
                      <p:spPr>
                        <a:xfrm>
                          <a:off x="4518356" y="4477649"/>
                          <a:ext cx="12637" cy="7221"/>
                        </a:xfrm>
                        <a:custGeom>
                          <a:avLst/>
                          <a:gdLst>
                            <a:gd name="connsiteX0" fmla="*/ 12605 w 12637"/>
                            <a:gd name="connsiteY0" fmla="*/ 4051 h 7221"/>
                            <a:gd name="connsiteX1" fmla="*/ 12354 w 12637"/>
                            <a:gd name="connsiteY1" fmla="*/ 2795 h 7221"/>
                            <a:gd name="connsiteX2" fmla="*/ 10721 w 12637"/>
                            <a:gd name="connsiteY2" fmla="*/ 2795 h 7221"/>
                            <a:gd name="connsiteX3" fmla="*/ 6451 w 12637"/>
                            <a:gd name="connsiteY3" fmla="*/ 283 h 7221"/>
                            <a:gd name="connsiteX4" fmla="*/ 4064 w 12637"/>
                            <a:gd name="connsiteY4" fmla="*/ 283 h 7221"/>
                            <a:gd name="connsiteX5" fmla="*/ 1929 w 12637"/>
                            <a:gd name="connsiteY5" fmla="*/ 1539 h 7221"/>
                            <a:gd name="connsiteX6" fmla="*/ 297 w 12637"/>
                            <a:gd name="connsiteY6" fmla="*/ 1539 h 7221"/>
                            <a:gd name="connsiteX7" fmla="*/ 45 w 12637"/>
                            <a:gd name="connsiteY7" fmla="*/ 2795 h 7221"/>
                            <a:gd name="connsiteX8" fmla="*/ 548 w 12637"/>
                            <a:gd name="connsiteY8" fmla="*/ 3674 h 7221"/>
                            <a:gd name="connsiteX9" fmla="*/ 6200 w 12637"/>
                            <a:gd name="connsiteY9" fmla="*/ 6939 h 7221"/>
                            <a:gd name="connsiteX10" fmla="*/ 8586 w 12637"/>
                            <a:gd name="connsiteY10" fmla="*/ 6939 h 7221"/>
                            <a:gd name="connsiteX11" fmla="*/ 12103 w 12637"/>
                            <a:gd name="connsiteY11" fmla="*/ 4930 h 7221"/>
                            <a:gd name="connsiteX12" fmla="*/ 12605 w 12637"/>
                            <a:gd name="connsiteY12" fmla="*/ 4051 h 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7" h="7221">
                              <a:moveTo>
                                <a:pt x="12605" y="4051"/>
                              </a:moveTo>
                              <a:lnTo>
                                <a:pt x="12354" y="2795"/>
                              </a:lnTo>
                              <a:lnTo>
                                <a:pt x="10721" y="2795"/>
                              </a:lnTo>
                              <a:lnTo>
                                <a:pt x="6451" y="283"/>
                              </a:lnTo>
                              <a:cubicBezTo>
                                <a:pt x="5823" y="-94"/>
                                <a:pt x="4692" y="-94"/>
                                <a:pt x="4064" y="283"/>
                              </a:cubicBezTo>
                              <a:lnTo>
                                <a:pt x="1929" y="1539"/>
                              </a:lnTo>
                              <a:lnTo>
                                <a:pt x="297" y="1539"/>
                              </a:lnTo>
                              <a:lnTo>
                                <a:pt x="45" y="2795"/>
                              </a:lnTo>
                              <a:cubicBezTo>
                                <a:pt x="-80" y="3171"/>
                                <a:pt x="45" y="3422"/>
                                <a:pt x="548" y="3674"/>
                              </a:cubicBezTo>
                              <a:lnTo>
                                <a:pt x="6200" y="6939"/>
                              </a:lnTo>
                              <a:cubicBezTo>
                                <a:pt x="6827" y="7316"/>
                                <a:pt x="7958" y="7316"/>
                                <a:pt x="8586" y="6939"/>
                              </a:cubicBezTo>
                              <a:lnTo>
                                <a:pt x="12103" y="4930"/>
                              </a:lnTo>
                              <a:cubicBezTo>
                                <a:pt x="12479" y="4678"/>
                                <a:pt x="12730" y="4302"/>
                                <a:pt x="12605" y="405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5" name="Freeform: Shape 3434">
                          <a:extLst>
                            <a:ext uri="{FF2B5EF4-FFF2-40B4-BE49-F238E27FC236}">
                              <a16:creationId xmlns:a16="http://schemas.microsoft.com/office/drawing/2014/main" id="{9C49E16A-E16D-4324-85CE-DBD9987FB653}"/>
                            </a:ext>
                          </a:extLst>
                        </p:cNvPr>
                        <p:cNvSpPr/>
                        <p:nvPr/>
                      </p:nvSpPr>
                      <p:spPr>
                        <a:xfrm>
                          <a:off x="4518356" y="4477649"/>
                          <a:ext cx="12637" cy="7221"/>
                        </a:xfrm>
                        <a:custGeom>
                          <a:avLst/>
                          <a:gdLst>
                            <a:gd name="connsiteX0" fmla="*/ 12605 w 12637"/>
                            <a:gd name="connsiteY0" fmla="*/ 4051 h 7221"/>
                            <a:gd name="connsiteX1" fmla="*/ 12354 w 12637"/>
                            <a:gd name="connsiteY1" fmla="*/ 2795 h 7221"/>
                            <a:gd name="connsiteX2" fmla="*/ 10721 w 12637"/>
                            <a:gd name="connsiteY2" fmla="*/ 2795 h 7221"/>
                            <a:gd name="connsiteX3" fmla="*/ 6451 w 12637"/>
                            <a:gd name="connsiteY3" fmla="*/ 283 h 7221"/>
                            <a:gd name="connsiteX4" fmla="*/ 4064 w 12637"/>
                            <a:gd name="connsiteY4" fmla="*/ 283 h 7221"/>
                            <a:gd name="connsiteX5" fmla="*/ 1929 w 12637"/>
                            <a:gd name="connsiteY5" fmla="*/ 1539 h 7221"/>
                            <a:gd name="connsiteX6" fmla="*/ 297 w 12637"/>
                            <a:gd name="connsiteY6" fmla="*/ 1539 h 7221"/>
                            <a:gd name="connsiteX7" fmla="*/ 45 w 12637"/>
                            <a:gd name="connsiteY7" fmla="*/ 2795 h 7221"/>
                            <a:gd name="connsiteX8" fmla="*/ 548 w 12637"/>
                            <a:gd name="connsiteY8" fmla="*/ 3674 h 7221"/>
                            <a:gd name="connsiteX9" fmla="*/ 6200 w 12637"/>
                            <a:gd name="connsiteY9" fmla="*/ 6939 h 7221"/>
                            <a:gd name="connsiteX10" fmla="*/ 8586 w 12637"/>
                            <a:gd name="connsiteY10" fmla="*/ 6939 h 7221"/>
                            <a:gd name="connsiteX11" fmla="*/ 12103 w 12637"/>
                            <a:gd name="connsiteY11" fmla="*/ 4930 h 7221"/>
                            <a:gd name="connsiteX12" fmla="*/ 12605 w 12637"/>
                            <a:gd name="connsiteY12" fmla="*/ 4051 h 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7" h="7221">
                              <a:moveTo>
                                <a:pt x="12605" y="4051"/>
                              </a:moveTo>
                              <a:lnTo>
                                <a:pt x="12354" y="2795"/>
                              </a:lnTo>
                              <a:lnTo>
                                <a:pt x="10721" y="2795"/>
                              </a:lnTo>
                              <a:lnTo>
                                <a:pt x="6451" y="283"/>
                              </a:lnTo>
                              <a:cubicBezTo>
                                <a:pt x="5823" y="-94"/>
                                <a:pt x="4692" y="-94"/>
                                <a:pt x="4064" y="283"/>
                              </a:cubicBezTo>
                              <a:lnTo>
                                <a:pt x="1929" y="1539"/>
                              </a:lnTo>
                              <a:lnTo>
                                <a:pt x="297" y="1539"/>
                              </a:lnTo>
                              <a:lnTo>
                                <a:pt x="45" y="2795"/>
                              </a:lnTo>
                              <a:cubicBezTo>
                                <a:pt x="-80" y="3171"/>
                                <a:pt x="45" y="3422"/>
                                <a:pt x="548" y="3674"/>
                              </a:cubicBezTo>
                              <a:lnTo>
                                <a:pt x="6200" y="6939"/>
                              </a:lnTo>
                              <a:cubicBezTo>
                                <a:pt x="6827" y="7316"/>
                                <a:pt x="7958" y="7316"/>
                                <a:pt x="8586" y="6939"/>
                              </a:cubicBezTo>
                              <a:lnTo>
                                <a:pt x="12103" y="4930"/>
                              </a:lnTo>
                              <a:cubicBezTo>
                                <a:pt x="12479" y="4678"/>
                                <a:pt x="12730" y="4302"/>
                                <a:pt x="12605" y="405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6" name="Freeform: Shape 3435">
                          <a:extLst>
                            <a:ext uri="{FF2B5EF4-FFF2-40B4-BE49-F238E27FC236}">
                              <a16:creationId xmlns:a16="http://schemas.microsoft.com/office/drawing/2014/main" id="{6E974E14-FEA4-459E-93BA-0E78FEA3292C}"/>
                            </a:ext>
                          </a:extLst>
                        </p:cNvPr>
                        <p:cNvSpPr/>
                        <p:nvPr/>
                      </p:nvSpPr>
                      <p:spPr>
                        <a:xfrm>
                          <a:off x="4518559" y="4476268"/>
                          <a:ext cx="12120" cy="6970"/>
                        </a:xfrm>
                        <a:custGeom>
                          <a:avLst/>
                          <a:gdLst>
                            <a:gd name="connsiteX0" fmla="*/ 3862 w 12120"/>
                            <a:gd name="connsiteY0" fmla="*/ 283 h 6970"/>
                            <a:gd name="connsiteX1" fmla="*/ 471 w 12120"/>
                            <a:gd name="connsiteY1" fmla="*/ 2166 h 6970"/>
                            <a:gd name="connsiteX2" fmla="*/ 471 w 12120"/>
                            <a:gd name="connsiteY2" fmla="*/ 3548 h 6970"/>
                            <a:gd name="connsiteX3" fmla="*/ 5997 w 12120"/>
                            <a:gd name="connsiteY3" fmla="*/ 6688 h 6970"/>
                            <a:gd name="connsiteX4" fmla="*/ 8258 w 12120"/>
                            <a:gd name="connsiteY4" fmla="*/ 6688 h 6970"/>
                            <a:gd name="connsiteX5" fmla="*/ 11649 w 12120"/>
                            <a:gd name="connsiteY5" fmla="*/ 4804 h 6970"/>
                            <a:gd name="connsiteX6" fmla="*/ 11649 w 12120"/>
                            <a:gd name="connsiteY6" fmla="*/ 3422 h 6970"/>
                            <a:gd name="connsiteX7" fmla="*/ 6123 w 12120"/>
                            <a:gd name="connsiteY7" fmla="*/ 283 h 6970"/>
                            <a:gd name="connsiteX8" fmla="*/ 3862 w 12120"/>
                            <a:gd name="connsiteY8" fmla="*/ 283 h 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20" h="6970">
                              <a:moveTo>
                                <a:pt x="3862" y="283"/>
                              </a:moveTo>
                              <a:lnTo>
                                <a:pt x="471" y="2166"/>
                              </a:lnTo>
                              <a:cubicBezTo>
                                <a:pt x="-157" y="2543"/>
                                <a:pt x="-157" y="3171"/>
                                <a:pt x="471" y="3548"/>
                              </a:cubicBezTo>
                              <a:lnTo>
                                <a:pt x="5997" y="6688"/>
                              </a:lnTo>
                              <a:cubicBezTo>
                                <a:pt x="6625" y="7065"/>
                                <a:pt x="7630" y="7065"/>
                                <a:pt x="8258" y="6688"/>
                              </a:cubicBezTo>
                              <a:lnTo>
                                <a:pt x="11649" y="4804"/>
                              </a:lnTo>
                              <a:cubicBezTo>
                                <a:pt x="12277" y="4427"/>
                                <a:pt x="12277" y="3799"/>
                                <a:pt x="11649" y="342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37" name="Graphic 4">
                        <a:extLst>
                          <a:ext uri="{FF2B5EF4-FFF2-40B4-BE49-F238E27FC236}">
                            <a16:creationId xmlns:a16="http://schemas.microsoft.com/office/drawing/2014/main" id="{84FB7ED1-A2DF-40A1-A747-5F7CF3F14040}"/>
                          </a:ext>
                        </a:extLst>
                      </p:cNvPr>
                      <p:cNvGrpSpPr/>
                      <p:nvPr/>
                    </p:nvGrpSpPr>
                    <p:grpSpPr>
                      <a:xfrm>
                        <a:off x="4527022" y="4481191"/>
                        <a:ext cx="10469" cy="7321"/>
                        <a:chOff x="4527022" y="4481191"/>
                        <a:chExt cx="10469" cy="7321"/>
                      </a:xfrm>
                      <a:solidFill>
                        <a:schemeClr val="accent1"/>
                      </a:solidFill>
                    </p:grpSpPr>
                    <p:sp>
                      <p:nvSpPr>
                        <p:cNvPr id="3438" name="Freeform: Shape 3437">
                          <a:extLst>
                            <a:ext uri="{FF2B5EF4-FFF2-40B4-BE49-F238E27FC236}">
                              <a16:creationId xmlns:a16="http://schemas.microsoft.com/office/drawing/2014/main" id="{B6202ECC-AFDD-4FFA-8976-AB3C361F1323}"/>
                            </a:ext>
                          </a:extLst>
                        </p:cNvPr>
                        <p:cNvSpPr/>
                        <p:nvPr/>
                      </p:nvSpPr>
                      <p:spPr>
                        <a:xfrm>
                          <a:off x="4527022" y="4482548"/>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7" y="1539"/>
                              </a:lnTo>
                              <a:lnTo>
                                <a:pt x="45" y="2794"/>
                              </a:lnTo>
                              <a:cubicBezTo>
                                <a:pt x="-80" y="3171"/>
                                <a:pt x="45" y="3422"/>
                                <a:pt x="548" y="3673"/>
                              </a:cubicBezTo>
                              <a:lnTo>
                                <a:pt x="4064" y="5683"/>
                              </a:lnTo>
                              <a:cubicBezTo>
                                <a:pt x="4692" y="6060"/>
                                <a:pt x="5823" y="6060"/>
                                <a:pt x="6451" y="5683"/>
                              </a:cubicBezTo>
                              <a:lnTo>
                                <a:pt x="9967" y="3673"/>
                              </a:lnTo>
                              <a:cubicBezTo>
                                <a:pt x="10344" y="3422"/>
                                <a:pt x="10470"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9" name="Freeform: Shape 3438">
                          <a:extLst>
                            <a:ext uri="{FF2B5EF4-FFF2-40B4-BE49-F238E27FC236}">
                              <a16:creationId xmlns:a16="http://schemas.microsoft.com/office/drawing/2014/main" id="{3A6CBC8F-15D4-42BB-81BD-F87EB582E45E}"/>
                            </a:ext>
                          </a:extLst>
                        </p:cNvPr>
                        <p:cNvSpPr/>
                        <p:nvPr/>
                      </p:nvSpPr>
                      <p:spPr>
                        <a:xfrm>
                          <a:off x="4527022" y="4482548"/>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7" y="1539"/>
                              </a:lnTo>
                              <a:lnTo>
                                <a:pt x="45" y="2794"/>
                              </a:lnTo>
                              <a:cubicBezTo>
                                <a:pt x="-80" y="3171"/>
                                <a:pt x="45" y="3422"/>
                                <a:pt x="548" y="3673"/>
                              </a:cubicBezTo>
                              <a:lnTo>
                                <a:pt x="4064" y="5683"/>
                              </a:lnTo>
                              <a:cubicBezTo>
                                <a:pt x="4692" y="6060"/>
                                <a:pt x="5823" y="6060"/>
                                <a:pt x="6451" y="5683"/>
                              </a:cubicBezTo>
                              <a:lnTo>
                                <a:pt x="9967" y="3673"/>
                              </a:lnTo>
                              <a:cubicBezTo>
                                <a:pt x="10344" y="3422"/>
                                <a:pt x="10470"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0" name="Freeform: Shape 3439">
                          <a:extLst>
                            <a:ext uri="{FF2B5EF4-FFF2-40B4-BE49-F238E27FC236}">
                              <a16:creationId xmlns:a16="http://schemas.microsoft.com/office/drawing/2014/main" id="{60759E99-EAAB-4070-B959-B509A0EC8CA6}"/>
                            </a:ext>
                          </a:extLst>
                        </p:cNvPr>
                        <p:cNvSpPr/>
                        <p:nvPr/>
                      </p:nvSpPr>
                      <p:spPr>
                        <a:xfrm>
                          <a:off x="4527225" y="4481191"/>
                          <a:ext cx="10110" cy="5940"/>
                        </a:xfrm>
                        <a:custGeom>
                          <a:avLst/>
                          <a:gdLst>
                            <a:gd name="connsiteX0" fmla="*/ 3862 w 10110"/>
                            <a:gd name="connsiteY0" fmla="*/ 257 h 5940"/>
                            <a:gd name="connsiteX1" fmla="*/ 471 w 10110"/>
                            <a:gd name="connsiteY1" fmla="*/ 2267 h 5940"/>
                            <a:gd name="connsiteX2" fmla="*/ 471 w 10110"/>
                            <a:gd name="connsiteY2" fmla="*/ 3648 h 5940"/>
                            <a:gd name="connsiteX3" fmla="*/ 3862 w 10110"/>
                            <a:gd name="connsiteY3" fmla="*/ 5658 h 5940"/>
                            <a:gd name="connsiteX4" fmla="*/ 6248 w 10110"/>
                            <a:gd name="connsiteY4" fmla="*/ 5658 h 5940"/>
                            <a:gd name="connsiteX5" fmla="*/ 9639 w 10110"/>
                            <a:gd name="connsiteY5" fmla="*/ 3774 h 5940"/>
                            <a:gd name="connsiteX6" fmla="*/ 9639 w 10110"/>
                            <a:gd name="connsiteY6" fmla="*/ 2392 h 5940"/>
                            <a:gd name="connsiteX7" fmla="*/ 6248 w 10110"/>
                            <a:gd name="connsiteY7" fmla="*/ 509 h 5940"/>
                            <a:gd name="connsiteX8" fmla="*/ 3862 w 10110"/>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40">
                              <a:moveTo>
                                <a:pt x="3862" y="257"/>
                              </a:moveTo>
                              <a:lnTo>
                                <a:pt x="471" y="2267"/>
                              </a:lnTo>
                              <a:cubicBezTo>
                                <a:pt x="-157" y="2643"/>
                                <a:pt x="-157" y="3272"/>
                                <a:pt x="471" y="3648"/>
                              </a:cubicBezTo>
                              <a:lnTo>
                                <a:pt x="3862" y="5658"/>
                              </a:lnTo>
                              <a:cubicBezTo>
                                <a:pt x="4490" y="6035"/>
                                <a:pt x="5495" y="6035"/>
                                <a:pt x="6248" y="5658"/>
                              </a:cubicBezTo>
                              <a:lnTo>
                                <a:pt x="9639" y="3774"/>
                              </a:lnTo>
                              <a:cubicBezTo>
                                <a:pt x="10268" y="3397"/>
                                <a:pt x="10268" y="2769"/>
                                <a:pt x="9639" y="2392"/>
                              </a:cubicBezTo>
                              <a:lnTo>
                                <a:pt x="6248" y="509"/>
                              </a:lnTo>
                              <a:cubicBezTo>
                                <a:pt x="5495" y="-120"/>
                                <a:pt x="4490"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41" name="Graphic 4">
                        <a:extLst>
                          <a:ext uri="{FF2B5EF4-FFF2-40B4-BE49-F238E27FC236}">
                            <a16:creationId xmlns:a16="http://schemas.microsoft.com/office/drawing/2014/main" id="{84FB7ED1-A2DF-40A1-A747-5F7CF3F14040}"/>
                          </a:ext>
                        </a:extLst>
                      </p:cNvPr>
                      <p:cNvGrpSpPr/>
                      <p:nvPr/>
                    </p:nvGrpSpPr>
                    <p:grpSpPr>
                      <a:xfrm>
                        <a:off x="4533302" y="4484934"/>
                        <a:ext cx="10515" cy="7347"/>
                        <a:chOff x="4533302" y="4484934"/>
                        <a:chExt cx="10515" cy="7347"/>
                      </a:xfrm>
                      <a:solidFill>
                        <a:schemeClr val="accent1"/>
                      </a:solidFill>
                    </p:grpSpPr>
                    <p:sp>
                      <p:nvSpPr>
                        <p:cNvPr id="3442" name="Freeform: Shape 3441">
                          <a:extLst>
                            <a:ext uri="{FF2B5EF4-FFF2-40B4-BE49-F238E27FC236}">
                              <a16:creationId xmlns:a16="http://schemas.microsoft.com/office/drawing/2014/main" id="{AD99A36F-ED34-476A-8F00-F866FCABB665}"/>
                            </a:ext>
                          </a:extLst>
                        </p:cNvPr>
                        <p:cNvSpPr/>
                        <p:nvPr/>
                      </p:nvSpPr>
                      <p:spPr>
                        <a:xfrm>
                          <a:off x="4533302" y="4486315"/>
                          <a:ext cx="10515" cy="5966"/>
                        </a:xfrm>
                        <a:custGeom>
                          <a:avLst/>
                          <a:gdLst>
                            <a:gd name="connsiteX0" fmla="*/ 10470 w 10515"/>
                            <a:gd name="connsiteY0" fmla="*/ 2795 h 5966"/>
                            <a:gd name="connsiteX1" fmla="*/ 10218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7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3" name="Freeform: Shape 3442">
                          <a:extLst>
                            <a:ext uri="{FF2B5EF4-FFF2-40B4-BE49-F238E27FC236}">
                              <a16:creationId xmlns:a16="http://schemas.microsoft.com/office/drawing/2014/main" id="{6F3C98A1-5E42-492D-8CB5-BC741916271E}"/>
                            </a:ext>
                          </a:extLst>
                        </p:cNvPr>
                        <p:cNvSpPr/>
                        <p:nvPr/>
                      </p:nvSpPr>
                      <p:spPr>
                        <a:xfrm>
                          <a:off x="4533302" y="4486315"/>
                          <a:ext cx="10515" cy="5966"/>
                        </a:xfrm>
                        <a:custGeom>
                          <a:avLst/>
                          <a:gdLst>
                            <a:gd name="connsiteX0" fmla="*/ 10470 w 10515"/>
                            <a:gd name="connsiteY0" fmla="*/ 2795 h 5966"/>
                            <a:gd name="connsiteX1" fmla="*/ 10218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7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4" name="Freeform: Shape 3443">
                          <a:extLst>
                            <a:ext uri="{FF2B5EF4-FFF2-40B4-BE49-F238E27FC236}">
                              <a16:creationId xmlns:a16="http://schemas.microsoft.com/office/drawing/2014/main" id="{49FC5B2A-D535-46F9-90B5-43B7C46FB4EA}"/>
                            </a:ext>
                          </a:extLst>
                        </p:cNvPr>
                        <p:cNvSpPr/>
                        <p:nvPr/>
                      </p:nvSpPr>
                      <p:spPr>
                        <a:xfrm>
                          <a:off x="4533505" y="448493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45" name="Graphic 4">
                        <a:extLst>
                          <a:ext uri="{FF2B5EF4-FFF2-40B4-BE49-F238E27FC236}">
                            <a16:creationId xmlns:a16="http://schemas.microsoft.com/office/drawing/2014/main" id="{84FB7ED1-A2DF-40A1-A747-5F7CF3F14040}"/>
                          </a:ext>
                        </a:extLst>
                      </p:cNvPr>
                      <p:cNvGrpSpPr/>
                      <p:nvPr/>
                    </p:nvGrpSpPr>
                    <p:grpSpPr>
                      <a:xfrm>
                        <a:off x="4539708" y="4488601"/>
                        <a:ext cx="10469" cy="7321"/>
                        <a:chOff x="4539708" y="4488601"/>
                        <a:chExt cx="10469" cy="7321"/>
                      </a:xfrm>
                      <a:solidFill>
                        <a:schemeClr val="accent1"/>
                      </a:solidFill>
                    </p:grpSpPr>
                    <p:sp>
                      <p:nvSpPr>
                        <p:cNvPr id="3446" name="Freeform: Shape 3445">
                          <a:extLst>
                            <a:ext uri="{FF2B5EF4-FFF2-40B4-BE49-F238E27FC236}">
                              <a16:creationId xmlns:a16="http://schemas.microsoft.com/office/drawing/2014/main" id="{06259D30-19C3-46BA-9012-73B78199D619}"/>
                            </a:ext>
                          </a:extLst>
                        </p:cNvPr>
                        <p:cNvSpPr/>
                        <p:nvPr/>
                      </p:nvSpPr>
                      <p:spPr>
                        <a:xfrm>
                          <a:off x="4539708" y="4489958"/>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7" name="Freeform: Shape 3446">
                          <a:extLst>
                            <a:ext uri="{FF2B5EF4-FFF2-40B4-BE49-F238E27FC236}">
                              <a16:creationId xmlns:a16="http://schemas.microsoft.com/office/drawing/2014/main" id="{A4FCC003-637D-4498-A258-FEA5A0C8D980}"/>
                            </a:ext>
                          </a:extLst>
                        </p:cNvPr>
                        <p:cNvSpPr/>
                        <p:nvPr/>
                      </p:nvSpPr>
                      <p:spPr>
                        <a:xfrm>
                          <a:off x="4539708" y="4489958"/>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8" name="Freeform: Shape 3447">
                          <a:extLst>
                            <a:ext uri="{FF2B5EF4-FFF2-40B4-BE49-F238E27FC236}">
                              <a16:creationId xmlns:a16="http://schemas.microsoft.com/office/drawing/2014/main" id="{4DB14833-25AD-4782-B07E-5F689A5B1248}"/>
                            </a:ext>
                          </a:extLst>
                        </p:cNvPr>
                        <p:cNvSpPr/>
                        <p:nvPr/>
                      </p:nvSpPr>
                      <p:spPr>
                        <a:xfrm>
                          <a:off x="4539910" y="4488601"/>
                          <a:ext cx="10110" cy="5940"/>
                        </a:xfrm>
                        <a:custGeom>
                          <a:avLst/>
                          <a:gdLst>
                            <a:gd name="connsiteX0" fmla="*/ 3862 w 10110"/>
                            <a:gd name="connsiteY0" fmla="*/ 257 h 5940"/>
                            <a:gd name="connsiteX1" fmla="*/ 471 w 10110"/>
                            <a:gd name="connsiteY1" fmla="*/ 2267 h 5940"/>
                            <a:gd name="connsiteX2" fmla="*/ 471 w 10110"/>
                            <a:gd name="connsiteY2" fmla="*/ 3648 h 5940"/>
                            <a:gd name="connsiteX3" fmla="*/ 3862 w 10110"/>
                            <a:gd name="connsiteY3" fmla="*/ 5658 h 5940"/>
                            <a:gd name="connsiteX4" fmla="*/ 6249 w 10110"/>
                            <a:gd name="connsiteY4" fmla="*/ 5658 h 5940"/>
                            <a:gd name="connsiteX5" fmla="*/ 9639 w 10110"/>
                            <a:gd name="connsiteY5" fmla="*/ 3774 h 5940"/>
                            <a:gd name="connsiteX6" fmla="*/ 9639 w 10110"/>
                            <a:gd name="connsiteY6" fmla="*/ 2392 h 5940"/>
                            <a:gd name="connsiteX7" fmla="*/ 6249 w 10110"/>
                            <a:gd name="connsiteY7" fmla="*/ 508 h 5940"/>
                            <a:gd name="connsiteX8" fmla="*/ 3862 w 10110"/>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40">
                              <a:moveTo>
                                <a:pt x="3862" y="257"/>
                              </a:moveTo>
                              <a:lnTo>
                                <a:pt x="471" y="2267"/>
                              </a:lnTo>
                              <a:cubicBezTo>
                                <a:pt x="-157" y="2643"/>
                                <a:pt x="-157" y="3272"/>
                                <a:pt x="471" y="3648"/>
                              </a:cubicBezTo>
                              <a:lnTo>
                                <a:pt x="3862" y="5658"/>
                              </a:lnTo>
                              <a:cubicBezTo>
                                <a:pt x="4490" y="6035"/>
                                <a:pt x="5495" y="6035"/>
                                <a:pt x="6249" y="5658"/>
                              </a:cubicBezTo>
                              <a:lnTo>
                                <a:pt x="9639" y="3774"/>
                              </a:lnTo>
                              <a:cubicBezTo>
                                <a:pt x="10267" y="3397"/>
                                <a:pt x="10267" y="2769"/>
                                <a:pt x="9639" y="2392"/>
                              </a:cubicBezTo>
                              <a:lnTo>
                                <a:pt x="6249" y="508"/>
                              </a:lnTo>
                              <a:cubicBezTo>
                                <a:pt x="5495" y="-120"/>
                                <a:pt x="4490"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49" name="Graphic 4">
                        <a:extLst>
                          <a:ext uri="{FF2B5EF4-FFF2-40B4-BE49-F238E27FC236}">
                            <a16:creationId xmlns:a16="http://schemas.microsoft.com/office/drawing/2014/main" id="{84FB7ED1-A2DF-40A1-A747-5F7CF3F14040}"/>
                          </a:ext>
                        </a:extLst>
                      </p:cNvPr>
                      <p:cNvGrpSpPr/>
                      <p:nvPr/>
                    </p:nvGrpSpPr>
                    <p:grpSpPr>
                      <a:xfrm>
                        <a:off x="4545986" y="4492218"/>
                        <a:ext cx="27585" cy="17143"/>
                        <a:chOff x="4545986" y="4492218"/>
                        <a:chExt cx="27585" cy="17143"/>
                      </a:xfrm>
                      <a:solidFill>
                        <a:schemeClr val="accent1"/>
                      </a:solidFill>
                    </p:grpSpPr>
                    <p:sp>
                      <p:nvSpPr>
                        <p:cNvPr id="3450" name="Freeform: Shape 3449">
                          <a:extLst>
                            <a:ext uri="{FF2B5EF4-FFF2-40B4-BE49-F238E27FC236}">
                              <a16:creationId xmlns:a16="http://schemas.microsoft.com/office/drawing/2014/main" id="{44241F5A-3380-4B3A-8BF4-5B699B45C20A}"/>
                            </a:ext>
                          </a:extLst>
                        </p:cNvPr>
                        <p:cNvSpPr/>
                        <p:nvPr/>
                      </p:nvSpPr>
                      <p:spPr>
                        <a:xfrm>
                          <a:off x="4545986" y="4493348"/>
                          <a:ext cx="27585" cy="16013"/>
                        </a:xfrm>
                        <a:custGeom>
                          <a:avLst/>
                          <a:gdLst>
                            <a:gd name="connsiteX0" fmla="*/ 27552 w 27585"/>
                            <a:gd name="connsiteY0" fmla="*/ 12968 h 16013"/>
                            <a:gd name="connsiteX1" fmla="*/ 27427 w 27585"/>
                            <a:gd name="connsiteY1" fmla="*/ 11586 h 16013"/>
                            <a:gd name="connsiteX2" fmla="*/ 22654 w 27585"/>
                            <a:gd name="connsiteY2" fmla="*/ 9828 h 16013"/>
                            <a:gd name="connsiteX3" fmla="*/ 6201 w 27585"/>
                            <a:gd name="connsiteY3" fmla="*/ 283 h 16013"/>
                            <a:gd name="connsiteX4" fmla="*/ 3815 w 27585"/>
                            <a:gd name="connsiteY4" fmla="*/ 283 h 16013"/>
                            <a:gd name="connsiteX5" fmla="*/ 1177 w 27585"/>
                            <a:gd name="connsiteY5" fmla="*/ 1790 h 16013"/>
                            <a:gd name="connsiteX6" fmla="*/ 550 w 27585"/>
                            <a:gd name="connsiteY6" fmla="*/ 1539 h 16013"/>
                            <a:gd name="connsiteX7" fmla="*/ 47 w 27585"/>
                            <a:gd name="connsiteY7" fmla="*/ 2795 h 16013"/>
                            <a:gd name="connsiteX8" fmla="*/ 47 w 27585"/>
                            <a:gd name="connsiteY8" fmla="*/ 2795 h 16013"/>
                            <a:gd name="connsiteX9" fmla="*/ 47 w 27585"/>
                            <a:gd name="connsiteY9" fmla="*/ 2795 h 16013"/>
                            <a:gd name="connsiteX10" fmla="*/ 424 w 27585"/>
                            <a:gd name="connsiteY10" fmla="*/ 3799 h 16013"/>
                            <a:gd name="connsiteX11" fmla="*/ 21147 w 27585"/>
                            <a:gd name="connsiteY11" fmla="*/ 15731 h 16013"/>
                            <a:gd name="connsiteX12" fmla="*/ 23533 w 27585"/>
                            <a:gd name="connsiteY12" fmla="*/ 15731 h 16013"/>
                            <a:gd name="connsiteX13" fmla="*/ 27050 w 27585"/>
                            <a:gd name="connsiteY13" fmla="*/ 13721 h 16013"/>
                            <a:gd name="connsiteX14" fmla="*/ 27552 w 27585"/>
                            <a:gd name="connsiteY14" fmla="*/ 12968 h 1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585" h="16013">
                              <a:moveTo>
                                <a:pt x="27552" y="12968"/>
                              </a:moveTo>
                              <a:lnTo>
                                <a:pt x="27427" y="11586"/>
                              </a:lnTo>
                              <a:lnTo>
                                <a:pt x="22654" y="9828"/>
                              </a:lnTo>
                              <a:lnTo>
                                <a:pt x="6201" y="283"/>
                              </a:lnTo>
                              <a:cubicBezTo>
                                <a:pt x="5573" y="-94"/>
                                <a:pt x="4443" y="-94"/>
                                <a:pt x="3815" y="283"/>
                              </a:cubicBezTo>
                              <a:lnTo>
                                <a:pt x="1177" y="1790"/>
                              </a:lnTo>
                              <a:lnTo>
                                <a:pt x="550" y="1539"/>
                              </a:lnTo>
                              <a:cubicBezTo>
                                <a:pt x="550" y="1539"/>
                                <a:pt x="173" y="2669"/>
                                <a:pt x="47" y="2795"/>
                              </a:cubicBezTo>
                              <a:lnTo>
                                <a:pt x="47" y="2795"/>
                              </a:lnTo>
                              <a:lnTo>
                                <a:pt x="47" y="2795"/>
                              </a:lnTo>
                              <a:cubicBezTo>
                                <a:pt x="-79" y="3171"/>
                                <a:pt x="47" y="3548"/>
                                <a:pt x="424" y="3799"/>
                              </a:cubicBezTo>
                              <a:lnTo>
                                <a:pt x="21147" y="15731"/>
                              </a:lnTo>
                              <a:cubicBezTo>
                                <a:pt x="21775" y="16108"/>
                                <a:pt x="22905" y="16108"/>
                                <a:pt x="23533" y="15731"/>
                              </a:cubicBezTo>
                              <a:lnTo>
                                <a:pt x="27050" y="13721"/>
                              </a:lnTo>
                              <a:cubicBezTo>
                                <a:pt x="27427" y="13596"/>
                                <a:pt x="27678" y="13219"/>
                                <a:pt x="27552" y="1296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451" name="Graphic 4">
                          <a:extLst>
                            <a:ext uri="{FF2B5EF4-FFF2-40B4-BE49-F238E27FC236}">
                              <a16:creationId xmlns:a16="http://schemas.microsoft.com/office/drawing/2014/main" id="{84FB7ED1-A2DF-40A1-A747-5F7CF3F14040}"/>
                            </a:ext>
                          </a:extLst>
                        </p:cNvPr>
                        <p:cNvGrpSpPr/>
                        <p:nvPr/>
                      </p:nvGrpSpPr>
                      <p:grpSpPr>
                        <a:xfrm>
                          <a:off x="4545986" y="4492218"/>
                          <a:ext cx="27585" cy="17143"/>
                          <a:chOff x="4545986" y="4492218"/>
                          <a:chExt cx="27585" cy="17143"/>
                        </a:xfrm>
                        <a:solidFill>
                          <a:schemeClr val="accent1"/>
                        </a:solidFill>
                      </p:grpSpPr>
                      <p:sp>
                        <p:nvSpPr>
                          <p:cNvPr id="3452" name="Freeform: Shape 3451">
                            <a:extLst>
                              <a:ext uri="{FF2B5EF4-FFF2-40B4-BE49-F238E27FC236}">
                                <a16:creationId xmlns:a16="http://schemas.microsoft.com/office/drawing/2014/main" id="{10EDF3EC-10C9-4314-A9E6-0B2E26EFB719}"/>
                              </a:ext>
                            </a:extLst>
                          </p:cNvPr>
                          <p:cNvSpPr/>
                          <p:nvPr/>
                        </p:nvSpPr>
                        <p:spPr>
                          <a:xfrm>
                            <a:off x="4545986" y="4493348"/>
                            <a:ext cx="27585" cy="16013"/>
                          </a:xfrm>
                          <a:custGeom>
                            <a:avLst/>
                            <a:gdLst>
                              <a:gd name="connsiteX0" fmla="*/ 27552 w 27585"/>
                              <a:gd name="connsiteY0" fmla="*/ 12968 h 16013"/>
                              <a:gd name="connsiteX1" fmla="*/ 27427 w 27585"/>
                              <a:gd name="connsiteY1" fmla="*/ 11586 h 16013"/>
                              <a:gd name="connsiteX2" fmla="*/ 22654 w 27585"/>
                              <a:gd name="connsiteY2" fmla="*/ 9828 h 16013"/>
                              <a:gd name="connsiteX3" fmla="*/ 6201 w 27585"/>
                              <a:gd name="connsiteY3" fmla="*/ 283 h 16013"/>
                              <a:gd name="connsiteX4" fmla="*/ 3815 w 27585"/>
                              <a:gd name="connsiteY4" fmla="*/ 283 h 16013"/>
                              <a:gd name="connsiteX5" fmla="*/ 1177 w 27585"/>
                              <a:gd name="connsiteY5" fmla="*/ 1790 h 16013"/>
                              <a:gd name="connsiteX6" fmla="*/ 550 w 27585"/>
                              <a:gd name="connsiteY6" fmla="*/ 1539 h 16013"/>
                              <a:gd name="connsiteX7" fmla="*/ 47 w 27585"/>
                              <a:gd name="connsiteY7" fmla="*/ 2795 h 16013"/>
                              <a:gd name="connsiteX8" fmla="*/ 47 w 27585"/>
                              <a:gd name="connsiteY8" fmla="*/ 2795 h 16013"/>
                              <a:gd name="connsiteX9" fmla="*/ 47 w 27585"/>
                              <a:gd name="connsiteY9" fmla="*/ 2795 h 16013"/>
                              <a:gd name="connsiteX10" fmla="*/ 424 w 27585"/>
                              <a:gd name="connsiteY10" fmla="*/ 3799 h 16013"/>
                              <a:gd name="connsiteX11" fmla="*/ 21147 w 27585"/>
                              <a:gd name="connsiteY11" fmla="*/ 15731 h 16013"/>
                              <a:gd name="connsiteX12" fmla="*/ 23533 w 27585"/>
                              <a:gd name="connsiteY12" fmla="*/ 15731 h 16013"/>
                              <a:gd name="connsiteX13" fmla="*/ 27050 w 27585"/>
                              <a:gd name="connsiteY13" fmla="*/ 13721 h 16013"/>
                              <a:gd name="connsiteX14" fmla="*/ 27552 w 27585"/>
                              <a:gd name="connsiteY14" fmla="*/ 12968 h 1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585" h="16013">
                                <a:moveTo>
                                  <a:pt x="27552" y="12968"/>
                                </a:moveTo>
                                <a:lnTo>
                                  <a:pt x="27427" y="11586"/>
                                </a:lnTo>
                                <a:lnTo>
                                  <a:pt x="22654" y="9828"/>
                                </a:lnTo>
                                <a:lnTo>
                                  <a:pt x="6201" y="283"/>
                                </a:lnTo>
                                <a:cubicBezTo>
                                  <a:pt x="5573" y="-94"/>
                                  <a:pt x="4443" y="-94"/>
                                  <a:pt x="3815" y="283"/>
                                </a:cubicBezTo>
                                <a:lnTo>
                                  <a:pt x="1177" y="1790"/>
                                </a:lnTo>
                                <a:lnTo>
                                  <a:pt x="550" y="1539"/>
                                </a:lnTo>
                                <a:cubicBezTo>
                                  <a:pt x="550" y="1539"/>
                                  <a:pt x="173" y="2669"/>
                                  <a:pt x="47" y="2795"/>
                                </a:cubicBezTo>
                                <a:lnTo>
                                  <a:pt x="47" y="2795"/>
                                </a:lnTo>
                                <a:lnTo>
                                  <a:pt x="47" y="2795"/>
                                </a:lnTo>
                                <a:cubicBezTo>
                                  <a:pt x="-79" y="3171"/>
                                  <a:pt x="47" y="3548"/>
                                  <a:pt x="424" y="3799"/>
                                </a:cubicBezTo>
                                <a:lnTo>
                                  <a:pt x="21147" y="15731"/>
                                </a:lnTo>
                                <a:cubicBezTo>
                                  <a:pt x="21775" y="16108"/>
                                  <a:pt x="22905" y="16108"/>
                                  <a:pt x="23533" y="15731"/>
                                </a:cubicBezTo>
                                <a:lnTo>
                                  <a:pt x="27050" y="13721"/>
                                </a:lnTo>
                                <a:cubicBezTo>
                                  <a:pt x="27427" y="13596"/>
                                  <a:pt x="27678" y="13219"/>
                                  <a:pt x="27552" y="12968"/>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53" name="Freeform: Shape 3452">
                            <a:extLst>
                              <a:ext uri="{FF2B5EF4-FFF2-40B4-BE49-F238E27FC236}">
                                <a16:creationId xmlns:a16="http://schemas.microsoft.com/office/drawing/2014/main" id="{E3EAE910-4460-4044-BAEF-DE866CC1934C}"/>
                              </a:ext>
                            </a:extLst>
                          </p:cNvPr>
                          <p:cNvSpPr/>
                          <p:nvPr/>
                        </p:nvSpPr>
                        <p:spPr>
                          <a:xfrm>
                            <a:off x="4546190" y="4492218"/>
                            <a:ext cx="27176" cy="15636"/>
                          </a:xfrm>
                          <a:custGeom>
                            <a:avLst/>
                            <a:gdLst>
                              <a:gd name="connsiteX0" fmla="*/ 26720 w 27176"/>
                              <a:gd name="connsiteY0" fmla="*/ 12089 h 15636"/>
                              <a:gd name="connsiteX1" fmla="*/ 6249 w 27176"/>
                              <a:gd name="connsiteY1" fmla="*/ 283 h 15636"/>
                              <a:gd name="connsiteX2" fmla="*/ 3862 w 27176"/>
                              <a:gd name="connsiteY2" fmla="*/ 283 h 15636"/>
                              <a:gd name="connsiteX3" fmla="*/ 471 w 27176"/>
                              <a:gd name="connsiteY3" fmla="*/ 2166 h 15636"/>
                              <a:gd name="connsiteX4" fmla="*/ 471 w 27176"/>
                              <a:gd name="connsiteY4" fmla="*/ 3548 h 15636"/>
                              <a:gd name="connsiteX5" fmla="*/ 20943 w 27176"/>
                              <a:gd name="connsiteY5" fmla="*/ 15354 h 15636"/>
                              <a:gd name="connsiteX6" fmla="*/ 23203 w 27176"/>
                              <a:gd name="connsiteY6" fmla="*/ 15354 h 15636"/>
                              <a:gd name="connsiteX7" fmla="*/ 26595 w 27176"/>
                              <a:gd name="connsiteY7" fmla="*/ 13470 h 15636"/>
                              <a:gd name="connsiteX8" fmla="*/ 26720 w 27176"/>
                              <a:gd name="connsiteY8" fmla="*/ 12089 h 1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6" h="15636">
                                <a:moveTo>
                                  <a:pt x="26720" y="12089"/>
                                </a:moveTo>
                                <a:lnTo>
                                  <a:pt x="6249" y="283"/>
                                </a:lnTo>
                                <a:cubicBezTo>
                                  <a:pt x="5620" y="-94"/>
                                  <a:pt x="4616" y="-94"/>
                                  <a:pt x="3862" y="283"/>
                                </a:cubicBezTo>
                                <a:lnTo>
                                  <a:pt x="471" y="2166"/>
                                </a:lnTo>
                                <a:cubicBezTo>
                                  <a:pt x="-157" y="2543"/>
                                  <a:pt x="-157" y="3171"/>
                                  <a:pt x="471" y="3548"/>
                                </a:cubicBezTo>
                                <a:lnTo>
                                  <a:pt x="20943" y="15354"/>
                                </a:lnTo>
                                <a:cubicBezTo>
                                  <a:pt x="21571" y="15731"/>
                                  <a:pt x="22576" y="15731"/>
                                  <a:pt x="23203" y="15354"/>
                                </a:cubicBezTo>
                                <a:lnTo>
                                  <a:pt x="26595" y="13470"/>
                                </a:lnTo>
                                <a:cubicBezTo>
                                  <a:pt x="27348" y="13093"/>
                                  <a:pt x="27348" y="12465"/>
                                  <a:pt x="26720" y="1208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54" name="Graphic 4">
                        <a:extLst>
                          <a:ext uri="{FF2B5EF4-FFF2-40B4-BE49-F238E27FC236}">
                            <a16:creationId xmlns:a16="http://schemas.microsoft.com/office/drawing/2014/main" id="{84FB7ED1-A2DF-40A1-A747-5F7CF3F14040}"/>
                          </a:ext>
                        </a:extLst>
                      </p:cNvPr>
                      <p:cNvGrpSpPr/>
                      <p:nvPr/>
                    </p:nvGrpSpPr>
                    <p:grpSpPr>
                      <a:xfrm>
                        <a:off x="4569599" y="4505783"/>
                        <a:ext cx="10502" cy="7346"/>
                        <a:chOff x="4569599" y="4505783"/>
                        <a:chExt cx="10502" cy="7346"/>
                      </a:xfrm>
                      <a:solidFill>
                        <a:schemeClr val="accent1"/>
                      </a:solidFill>
                    </p:grpSpPr>
                    <p:sp>
                      <p:nvSpPr>
                        <p:cNvPr id="3455" name="Freeform: Shape 3454">
                          <a:extLst>
                            <a:ext uri="{FF2B5EF4-FFF2-40B4-BE49-F238E27FC236}">
                              <a16:creationId xmlns:a16="http://schemas.microsoft.com/office/drawing/2014/main" id="{07A2E2C4-C104-4000-9F04-35662E4B7FDD}"/>
                            </a:ext>
                          </a:extLst>
                        </p:cNvPr>
                        <p:cNvSpPr/>
                        <p:nvPr/>
                      </p:nvSpPr>
                      <p:spPr>
                        <a:xfrm>
                          <a:off x="4569599" y="4507164"/>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56" name="Freeform: Shape 3455">
                          <a:extLst>
                            <a:ext uri="{FF2B5EF4-FFF2-40B4-BE49-F238E27FC236}">
                              <a16:creationId xmlns:a16="http://schemas.microsoft.com/office/drawing/2014/main" id="{88D7CE07-C2BE-47E1-8168-B89192E7A3FF}"/>
                            </a:ext>
                          </a:extLst>
                        </p:cNvPr>
                        <p:cNvSpPr/>
                        <p:nvPr/>
                      </p:nvSpPr>
                      <p:spPr>
                        <a:xfrm>
                          <a:off x="4569599" y="4507164"/>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57" name="Freeform: Shape 3456">
                          <a:extLst>
                            <a:ext uri="{FF2B5EF4-FFF2-40B4-BE49-F238E27FC236}">
                              <a16:creationId xmlns:a16="http://schemas.microsoft.com/office/drawing/2014/main" id="{FED8443F-8E56-455A-9F84-0132E52E9596}"/>
                            </a:ext>
                          </a:extLst>
                        </p:cNvPr>
                        <p:cNvSpPr/>
                        <p:nvPr/>
                      </p:nvSpPr>
                      <p:spPr>
                        <a:xfrm>
                          <a:off x="4569802" y="4505783"/>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58" name="Graphic 4">
                        <a:extLst>
                          <a:ext uri="{FF2B5EF4-FFF2-40B4-BE49-F238E27FC236}">
                            <a16:creationId xmlns:a16="http://schemas.microsoft.com/office/drawing/2014/main" id="{84FB7ED1-A2DF-40A1-A747-5F7CF3F14040}"/>
                          </a:ext>
                        </a:extLst>
                      </p:cNvPr>
                      <p:cNvGrpSpPr/>
                      <p:nvPr/>
                    </p:nvGrpSpPr>
                    <p:grpSpPr>
                      <a:xfrm>
                        <a:off x="4575879" y="4509450"/>
                        <a:ext cx="10514" cy="7321"/>
                        <a:chOff x="4575879" y="4509450"/>
                        <a:chExt cx="10514" cy="7321"/>
                      </a:xfrm>
                      <a:solidFill>
                        <a:schemeClr val="accent1"/>
                      </a:solidFill>
                    </p:grpSpPr>
                    <p:sp>
                      <p:nvSpPr>
                        <p:cNvPr id="3459" name="Freeform: Shape 3458">
                          <a:extLst>
                            <a:ext uri="{FF2B5EF4-FFF2-40B4-BE49-F238E27FC236}">
                              <a16:creationId xmlns:a16="http://schemas.microsoft.com/office/drawing/2014/main" id="{A2EAFC63-BB10-49EA-8B70-FB9D3084BEA9}"/>
                            </a:ext>
                          </a:extLst>
                        </p:cNvPr>
                        <p:cNvSpPr/>
                        <p:nvPr/>
                      </p:nvSpPr>
                      <p:spPr>
                        <a:xfrm>
                          <a:off x="4575879" y="4510806"/>
                          <a:ext cx="10514" cy="5965"/>
                        </a:xfrm>
                        <a:custGeom>
                          <a:avLst/>
                          <a:gdLst>
                            <a:gd name="connsiteX0" fmla="*/ 10470 w 10514"/>
                            <a:gd name="connsiteY0" fmla="*/ 2794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0" name="Freeform: Shape 3459">
                          <a:extLst>
                            <a:ext uri="{FF2B5EF4-FFF2-40B4-BE49-F238E27FC236}">
                              <a16:creationId xmlns:a16="http://schemas.microsoft.com/office/drawing/2014/main" id="{B655A7DC-C8E0-4911-9428-A513D7DD61B1}"/>
                            </a:ext>
                          </a:extLst>
                        </p:cNvPr>
                        <p:cNvSpPr/>
                        <p:nvPr/>
                      </p:nvSpPr>
                      <p:spPr>
                        <a:xfrm>
                          <a:off x="4575879" y="4510806"/>
                          <a:ext cx="10514" cy="5965"/>
                        </a:xfrm>
                        <a:custGeom>
                          <a:avLst/>
                          <a:gdLst>
                            <a:gd name="connsiteX0" fmla="*/ 10470 w 10514"/>
                            <a:gd name="connsiteY0" fmla="*/ 2794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1" name="Freeform: Shape 3460">
                          <a:extLst>
                            <a:ext uri="{FF2B5EF4-FFF2-40B4-BE49-F238E27FC236}">
                              <a16:creationId xmlns:a16="http://schemas.microsoft.com/office/drawing/2014/main" id="{AEB70DFC-F11C-415A-B526-9C3084CC31B7}"/>
                            </a:ext>
                          </a:extLst>
                        </p:cNvPr>
                        <p:cNvSpPr/>
                        <p:nvPr/>
                      </p:nvSpPr>
                      <p:spPr>
                        <a:xfrm>
                          <a:off x="4576081" y="4509450"/>
                          <a:ext cx="10110" cy="5940"/>
                        </a:xfrm>
                        <a:custGeom>
                          <a:avLst/>
                          <a:gdLst>
                            <a:gd name="connsiteX0" fmla="*/ 3862 w 10110"/>
                            <a:gd name="connsiteY0" fmla="*/ 257 h 5940"/>
                            <a:gd name="connsiteX1" fmla="*/ 471 w 10110"/>
                            <a:gd name="connsiteY1" fmla="*/ 2267 h 5940"/>
                            <a:gd name="connsiteX2" fmla="*/ 471 w 10110"/>
                            <a:gd name="connsiteY2" fmla="*/ 3648 h 5940"/>
                            <a:gd name="connsiteX3" fmla="*/ 3862 w 10110"/>
                            <a:gd name="connsiteY3" fmla="*/ 5658 h 5940"/>
                            <a:gd name="connsiteX4" fmla="*/ 6248 w 10110"/>
                            <a:gd name="connsiteY4" fmla="*/ 5658 h 5940"/>
                            <a:gd name="connsiteX5" fmla="*/ 9639 w 10110"/>
                            <a:gd name="connsiteY5" fmla="*/ 3774 h 5940"/>
                            <a:gd name="connsiteX6" fmla="*/ 9639 w 10110"/>
                            <a:gd name="connsiteY6" fmla="*/ 2392 h 5940"/>
                            <a:gd name="connsiteX7" fmla="*/ 6248 w 10110"/>
                            <a:gd name="connsiteY7" fmla="*/ 509 h 5940"/>
                            <a:gd name="connsiteX8" fmla="*/ 3862 w 10110"/>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40">
                              <a:moveTo>
                                <a:pt x="3862" y="257"/>
                              </a:moveTo>
                              <a:lnTo>
                                <a:pt x="471" y="2267"/>
                              </a:lnTo>
                              <a:cubicBezTo>
                                <a:pt x="-157" y="2643"/>
                                <a:pt x="-157" y="3272"/>
                                <a:pt x="471" y="3648"/>
                              </a:cubicBezTo>
                              <a:lnTo>
                                <a:pt x="3862" y="5658"/>
                              </a:lnTo>
                              <a:cubicBezTo>
                                <a:pt x="4490" y="6035"/>
                                <a:pt x="5495" y="6035"/>
                                <a:pt x="6248" y="5658"/>
                              </a:cubicBezTo>
                              <a:lnTo>
                                <a:pt x="9639" y="3774"/>
                              </a:lnTo>
                              <a:cubicBezTo>
                                <a:pt x="10267" y="3397"/>
                                <a:pt x="10267" y="2769"/>
                                <a:pt x="9639" y="2392"/>
                              </a:cubicBezTo>
                              <a:lnTo>
                                <a:pt x="6248" y="509"/>
                              </a:lnTo>
                              <a:cubicBezTo>
                                <a:pt x="5620" y="-120"/>
                                <a:pt x="4490"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62" name="Graphic 4">
                        <a:extLst>
                          <a:ext uri="{FF2B5EF4-FFF2-40B4-BE49-F238E27FC236}">
                            <a16:creationId xmlns:a16="http://schemas.microsoft.com/office/drawing/2014/main" id="{84FB7ED1-A2DF-40A1-A747-5F7CF3F14040}"/>
                          </a:ext>
                        </a:extLst>
                      </p:cNvPr>
                      <p:cNvGrpSpPr/>
                      <p:nvPr/>
                    </p:nvGrpSpPr>
                    <p:grpSpPr>
                      <a:xfrm>
                        <a:off x="4582284" y="4513193"/>
                        <a:ext cx="10502" cy="7347"/>
                        <a:chOff x="4582284" y="4513193"/>
                        <a:chExt cx="10502" cy="7347"/>
                      </a:xfrm>
                      <a:solidFill>
                        <a:schemeClr val="accent1"/>
                      </a:solidFill>
                    </p:grpSpPr>
                    <p:sp>
                      <p:nvSpPr>
                        <p:cNvPr id="3463" name="Freeform: Shape 3462">
                          <a:extLst>
                            <a:ext uri="{FF2B5EF4-FFF2-40B4-BE49-F238E27FC236}">
                              <a16:creationId xmlns:a16="http://schemas.microsoft.com/office/drawing/2014/main" id="{5A079DB6-999C-4224-BF84-34968481438F}"/>
                            </a:ext>
                          </a:extLst>
                        </p:cNvPr>
                        <p:cNvSpPr/>
                        <p:nvPr/>
                      </p:nvSpPr>
                      <p:spPr>
                        <a:xfrm>
                          <a:off x="4582284" y="4514574"/>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4" name="Freeform: Shape 3463">
                          <a:extLst>
                            <a:ext uri="{FF2B5EF4-FFF2-40B4-BE49-F238E27FC236}">
                              <a16:creationId xmlns:a16="http://schemas.microsoft.com/office/drawing/2014/main" id="{26B934F6-50F6-4519-9C45-6F5FFB748EE2}"/>
                            </a:ext>
                          </a:extLst>
                        </p:cNvPr>
                        <p:cNvSpPr/>
                        <p:nvPr/>
                      </p:nvSpPr>
                      <p:spPr>
                        <a:xfrm>
                          <a:off x="4582284" y="4514574"/>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5" name="Freeform: Shape 3464">
                          <a:extLst>
                            <a:ext uri="{FF2B5EF4-FFF2-40B4-BE49-F238E27FC236}">
                              <a16:creationId xmlns:a16="http://schemas.microsoft.com/office/drawing/2014/main" id="{E98D4320-FF6A-4747-8F63-FECA0B7138D5}"/>
                            </a:ext>
                          </a:extLst>
                        </p:cNvPr>
                        <p:cNvSpPr/>
                        <p:nvPr/>
                      </p:nvSpPr>
                      <p:spPr>
                        <a:xfrm>
                          <a:off x="4582486" y="4513193"/>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66" name="Graphic 4">
                      <a:extLst>
                        <a:ext uri="{FF2B5EF4-FFF2-40B4-BE49-F238E27FC236}">
                          <a16:creationId xmlns:a16="http://schemas.microsoft.com/office/drawing/2014/main" id="{84FB7ED1-A2DF-40A1-A747-5F7CF3F14040}"/>
                        </a:ext>
                      </a:extLst>
                    </p:cNvPr>
                    <p:cNvGrpSpPr/>
                    <p:nvPr/>
                  </p:nvGrpSpPr>
                  <p:grpSpPr>
                    <a:xfrm>
                      <a:off x="4605645" y="4511686"/>
                      <a:ext cx="23200" cy="14757"/>
                      <a:chOff x="4605645" y="4511686"/>
                      <a:chExt cx="23200" cy="14757"/>
                    </a:xfrm>
                    <a:solidFill>
                      <a:schemeClr val="accent1"/>
                    </a:solidFill>
                  </p:grpSpPr>
                  <p:grpSp>
                    <p:nvGrpSpPr>
                      <p:cNvPr id="3467" name="Graphic 4">
                        <a:extLst>
                          <a:ext uri="{FF2B5EF4-FFF2-40B4-BE49-F238E27FC236}">
                            <a16:creationId xmlns:a16="http://schemas.microsoft.com/office/drawing/2014/main" id="{84FB7ED1-A2DF-40A1-A747-5F7CF3F14040}"/>
                          </a:ext>
                        </a:extLst>
                      </p:cNvPr>
                      <p:cNvGrpSpPr/>
                      <p:nvPr/>
                    </p:nvGrpSpPr>
                    <p:grpSpPr>
                      <a:xfrm>
                        <a:off x="4605645" y="4511686"/>
                        <a:ext cx="10502" cy="7346"/>
                        <a:chOff x="4605645" y="4511686"/>
                        <a:chExt cx="10502" cy="7346"/>
                      </a:xfrm>
                      <a:solidFill>
                        <a:schemeClr val="accent1"/>
                      </a:solidFill>
                    </p:grpSpPr>
                    <p:sp>
                      <p:nvSpPr>
                        <p:cNvPr id="3468" name="Freeform: Shape 3467">
                          <a:extLst>
                            <a:ext uri="{FF2B5EF4-FFF2-40B4-BE49-F238E27FC236}">
                              <a16:creationId xmlns:a16="http://schemas.microsoft.com/office/drawing/2014/main" id="{F8B3E1DC-6E7A-4177-A57A-83AAA000204B}"/>
                            </a:ext>
                          </a:extLst>
                        </p:cNvPr>
                        <p:cNvSpPr/>
                        <p:nvPr/>
                      </p:nvSpPr>
                      <p:spPr>
                        <a:xfrm>
                          <a:off x="4605645" y="4513067"/>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9" name="Freeform: Shape 3468">
                          <a:extLst>
                            <a:ext uri="{FF2B5EF4-FFF2-40B4-BE49-F238E27FC236}">
                              <a16:creationId xmlns:a16="http://schemas.microsoft.com/office/drawing/2014/main" id="{E4A37971-667F-4607-A680-C58108DBC818}"/>
                            </a:ext>
                          </a:extLst>
                        </p:cNvPr>
                        <p:cNvSpPr/>
                        <p:nvPr/>
                      </p:nvSpPr>
                      <p:spPr>
                        <a:xfrm>
                          <a:off x="4605645" y="4513067"/>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0" name="Freeform: Shape 3469">
                          <a:extLst>
                            <a:ext uri="{FF2B5EF4-FFF2-40B4-BE49-F238E27FC236}">
                              <a16:creationId xmlns:a16="http://schemas.microsoft.com/office/drawing/2014/main" id="{BDB9CC6F-BDAD-452A-A6D7-0C7EB371F1A9}"/>
                            </a:ext>
                          </a:extLst>
                        </p:cNvPr>
                        <p:cNvSpPr/>
                        <p:nvPr/>
                      </p:nvSpPr>
                      <p:spPr>
                        <a:xfrm>
                          <a:off x="4605847" y="4511686"/>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71" name="Graphic 4">
                        <a:extLst>
                          <a:ext uri="{FF2B5EF4-FFF2-40B4-BE49-F238E27FC236}">
                            <a16:creationId xmlns:a16="http://schemas.microsoft.com/office/drawing/2014/main" id="{84FB7ED1-A2DF-40A1-A747-5F7CF3F14040}"/>
                          </a:ext>
                        </a:extLst>
                      </p:cNvPr>
                      <p:cNvGrpSpPr/>
                      <p:nvPr/>
                    </p:nvGrpSpPr>
                    <p:grpSpPr>
                      <a:xfrm>
                        <a:off x="4611925" y="4515328"/>
                        <a:ext cx="10514" cy="7347"/>
                        <a:chOff x="4611925" y="4515328"/>
                        <a:chExt cx="10514" cy="7347"/>
                      </a:xfrm>
                      <a:solidFill>
                        <a:schemeClr val="accent1"/>
                      </a:solidFill>
                    </p:grpSpPr>
                    <p:sp>
                      <p:nvSpPr>
                        <p:cNvPr id="3472" name="Freeform: Shape 3471">
                          <a:extLst>
                            <a:ext uri="{FF2B5EF4-FFF2-40B4-BE49-F238E27FC236}">
                              <a16:creationId xmlns:a16="http://schemas.microsoft.com/office/drawing/2014/main" id="{73CD1AF5-D94C-4457-8E0A-CEBFCF6102AE}"/>
                            </a:ext>
                          </a:extLst>
                        </p:cNvPr>
                        <p:cNvSpPr/>
                        <p:nvPr/>
                      </p:nvSpPr>
                      <p:spPr>
                        <a:xfrm>
                          <a:off x="4611925" y="451670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3" name="Freeform: Shape 3472">
                          <a:extLst>
                            <a:ext uri="{FF2B5EF4-FFF2-40B4-BE49-F238E27FC236}">
                              <a16:creationId xmlns:a16="http://schemas.microsoft.com/office/drawing/2014/main" id="{6F563900-A78F-4E48-8D04-30B379493DA4}"/>
                            </a:ext>
                          </a:extLst>
                        </p:cNvPr>
                        <p:cNvSpPr/>
                        <p:nvPr/>
                      </p:nvSpPr>
                      <p:spPr>
                        <a:xfrm>
                          <a:off x="4611925" y="451670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4" name="Freeform: Shape 3473">
                          <a:extLst>
                            <a:ext uri="{FF2B5EF4-FFF2-40B4-BE49-F238E27FC236}">
                              <a16:creationId xmlns:a16="http://schemas.microsoft.com/office/drawing/2014/main" id="{56B90BFA-8152-4A01-B2F6-46250517FECD}"/>
                            </a:ext>
                          </a:extLst>
                        </p:cNvPr>
                        <p:cNvSpPr/>
                        <p:nvPr/>
                      </p:nvSpPr>
                      <p:spPr>
                        <a:xfrm>
                          <a:off x="4612127" y="4515328"/>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75" name="Graphic 4">
                        <a:extLst>
                          <a:ext uri="{FF2B5EF4-FFF2-40B4-BE49-F238E27FC236}">
                            <a16:creationId xmlns:a16="http://schemas.microsoft.com/office/drawing/2014/main" id="{84FB7ED1-A2DF-40A1-A747-5F7CF3F14040}"/>
                          </a:ext>
                        </a:extLst>
                      </p:cNvPr>
                      <p:cNvGrpSpPr/>
                      <p:nvPr/>
                    </p:nvGrpSpPr>
                    <p:grpSpPr>
                      <a:xfrm>
                        <a:off x="4618330" y="4519096"/>
                        <a:ext cx="10514" cy="7347"/>
                        <a:chOff x="4618330" y="4519096"/>
                        <a:chExt cx="10514" cy="7347"/>
                      </a:xfrm>
                      <a:solidFill>
                        <a:schemeClr val="accent1"/>
                      </a:solidFill>
                    </p:grpSpPr>
                    <p:sp>
                      <p:nvSpPr>
                        <p:cNvPr id="3476" name="Freeform: Shape 3475">
                          <a:extLst>
                            <a:ext uri="{FF2B5EF4-FFF2-40B4-BE49-F238E27FC236}">
                              <a16:creationId xmlns:a16="http://schemas.microsoft.com/office/drawing/2014/main" id="{8D4C7A49-B87E-4442-9CA1-A22D89AACDBD}"/>
                            </a:ext>
                          </a:extLst>
                        </p:cNvPr>
                        <p:cNvSpPr/>
                        <p:nvPr/>
                      </p:nvSpPr>
                      <p:spPr>
                        <a:xfrm>
                          <a:off x="4618330" y="4520477"/>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7" name="Freeform: Shape 3476">
                          <a:extLst>
                            <a:ext uri="{FF2B5EF4-FFF2-40B4-BE49-F238E27FC236}">
                              <a16:creationId xmlns:a16="http://schemas.microsoft.com/office/drawing/2014/main" id="{65A65C8B-4420-44DE-9D32-F498203BEBF4}"/>
                            </a:ext>
                          </a:extLst>
                        </p:cNvPr>
                        <p:cNvSpPr/>
                        <p:nvPr/>
                      </p:nvSpPr>
                      <p:spPr>
                        <a:xfrm>
                          <a:off x="4618330" y="4520477"/>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8" name="Freeform: Shape 3477">
                          <a:extLst>
                            <a:ext uri="{FF2B5EF4-FFF2-40B4-BE49-F238E27FC236}">
                              <a16:creationId xmlns:a16="http://schemas.microsoft.com/office/drawing/2014/main" id="{7390C624-F86B-4021-9A85-8036C3F9AF36}"/>
                            </a:ext>
                          </a:extLst>
                        </p:cNvPr>
                        <p:cNvSpPr/>
                        <p:nvPr/>
                      </p:nvSpPr>
                      <p:spPr>
                        <a:xfrm>
                          <a:off x="4618532" y="4519096"/>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79" name="Graphic 4">
                      <a:extLst>
                        <a:ext uri="{FF2B5EF4-FFF2-40B4-BE49-F238E27FC236}">
                          <a16:creationId xmlns:a16="http://schemas.microsoft.com/office/drawing/2014/main" id="{84FB7ED1-A2DF-40A1-A747-5F7CF3F14040}"/>
                        </a:ext>
                      </a:extLst>
                    </p:cNvPr>
                    <p:cNvGrpSpPr/>
                    <p:nvPr/>
                  </p:nvGrpSpPr>
                  <p:grpSpPr>
                    <a:xfrm>
                      <a:off x="4592709" y="4518970"/>
                      <a:ext cx="23325" cy="14883"/>
                      <a:chOff x="4592709" y="4518970"/>
                      <a:chExt cx="23325" cy="14883"/>
                    </a:xfrm>
                    <a:solidFill>
                      <a:schemeClr val="accent1"/>
                    </a:solidFill>
                  </p:grpSpPr>
                  <p:grpSp>
                    <p:nvGrpSpPr>
                      <p:cNvPr id="3480" name="Graphic 4">
                        <a:extLst>
                          <a:ext uri="{FF2B5EF4-FFF2-40B4-BE49-F238E27FC236}">
                            <a16:creationId xmlns:a16="http://schemas.microsoft.com/office/drawing/2014/main" id="{84FB7ED1-A2DF-40A1-A747-5F7CF3F14040}"/>
                          </a:ext>
                        </a:extLst>
                      </p:cNvPr>
                      <p:cNvGrpSpPr/>
                      <p:nvPr/>
                    </p:nvGrpSpPr>
                    <p:grpSpPr>
                      <a:xfrm>
                        <a:off x="4592709" y="4519096"/>
                        <a:ext cx="10514" cy="7347"/>
                        <a:chOff x="4592709" y="4519096"/>
                        <a:chExt cx="10514" cy="7347"/>
                      </a:xfrm>
                      <a:solidFill>
                        <a:schemeClr val="accent1"/>
                      </a:solidFill>
                    </p:grpSpPr>
                    <p:sp>
                      <p:nvSpPr>
                        <p:cNvPr id="3481" name="Freeform: Shape 3480">
                          <a:extLst>
                            <a:ext uri="{FF2B5EF4-FFF2-40B4-BE49-F238E27FC236}">
                              <a16:creationId xmlns:a16="http://schemas.microsoft.com/office/drawing/2014/main" id="{8C0FDF27-9C20-4AD1-95D5-7F75AAD46755}"/>
                            </a:ext>
                          </a:extLst>
                        </p:cNvPr>
                        <p:cNvSpPr/>
                        <p:nvPr/>
                      </p:nvSpPr>
                      <p:spPr>
                        <a:xfrm>
                          <a:off x="4592709" y="4520477"/>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0"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2" name="Freeform: Shape 3481">
                          <a:extLst>
                            <a:ext uri="{FF2B5EF4-FFF2-40B4-BE49-F238E27FC236}">
                              <a16:creationId xmlns:a16="http://schemas.microsoft.com/office/drawing/2014/main" id="{FAF10958-2C61-4D5A-A417-890532412545}"/>
                            </a:ext>
                          </a:extLst>
                        </p:cNvPr>
                        <p:cNvSpPr/>
                        <p:nvPr/>
                      </p:nvSpPr>
                      <p:spPr>
                        <a:xfrm>
                          <a:off x="4592709" y="4520477"/>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0"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3" name="Freeform: Shape 3482">
                          <a:extLst>
                            <a:ext uri="{FF2B5EF4-FFF2-40B4-BE49-F238E27FC236}">
                              <a16:creationId xmlns:a16="http://schemas.microsoft.com/office/drawing/2014/main" id="{F55C9C42-8648-4A2C-A4CB-ADAD900122EE}"/>
                            </a:ext>
                          </a:extLst>
                        </p:cNvPr>
                        <p:cNvSpPr/>
                        <p:nvPr/>
                      </p:nvSpPr>
                      <p:spPr>
                        <a:xfrm>
                          <a:off x="4592911" y="4519096"/>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84" name="Graphic 4">
                        <a:extLst>
                          <a:ext uri="{FF2B5EF4-FFF2-40B4-BE49-F238E27FC236}">
                            <a16:creationId xmlns:a16="http://schemas.microsoft.com/office/drawing/2014/main" id="{84FB7ED1-A2DF-40A1-A747-5F7CF3F14040}"/>
                          </a:ext>
                        </a:extLst>
                      </p:cNvPr>
                      <p:cNvGrpSpPr/>
                      <p:nvPr/>
                    </p:nvGrpSpPr>
                    <p:grpSpPr>
                      <a:xfrm>
                        <a:off x="4605519" y="4518970"/>
                        <a:ext cx="10515" cy="7347"/>
                        <a:chOff x="4605519" y="4518970"/>
                        <a:chExt cx="10515" cy="7347"/>
                      </a:xfrm>
                      <a:solidFill>
                        <a:schemeClr val="accent1"/>
                      </a:solidFill>
                    </p:grpSpPr>
                    <p:sp>
                      <p:nvSpPr>
                        <p:cNvPr id="3485" name="Freeform: Shape 3484">
                          <a:extLst>
                            <a:ext uri="{FF2B5EF4-FFF2-40B4-BE49-F238E27FC236}">
                              <a16:creationId xmlns:a16="http://schemas.microsoft.com/office/drawing/2014/main" id="{F8863D7C-FB53-49EC-8044-B8D589A3388E}"/>
                            </a:ext>
                          </a:extLst>
                        </p:cNvPr>
                        <p:cNvSpPr/>
                        <p:nvPr/>
                      </p:nvSpPr>
                      <p:spPr>
                        <a:xfrm>
                          <a:off x="4605519" y="4520352"/>
                          <a:ext cx="10515" cy="5965"/>
                        </a:xfrm>
                        <a:custGeom>
                          <a:avLst/>
                          <a:gdLst>
                            <a:gd name="connsiteX0" fmla="*/ 10470 w 10515"/>
                            <a:gd name="connsiteY0" fmla="*/ 2794 h 5965"/>
                            <a:gd name="connsiteX1" fmla="*/ 10218 w 10515"/>
                            <a:gd name="connsiteY1" fmla="*/ 1538 h 5965"/>
                            <a:gd name="connsiteX2" fmla="*/ 8586 w 10515"/>
                            <a:gd name="connsiteY2" fmla="*/ 1538 h 5965"/>
                            <a:gd name="connsiteX3" fmla="*/ 6451 w 10515"/>
                            <a:gd name="connsiteY3" fmla="*/ 283 h 5965"/>
                            <a:gd name="connsiteX4" fmla="*/ 4064 w 10515"/>
                            <a:gd name="connsiteY4" fmla="*/ 283 h 5965"/>
                            <a:gd name="connsiteX5" fmla="*/ 1929 w 10515"/>
                            <a:gd name="connsiteY5" fmla="*/ 1538 h 5965"/>
                            <a:gd name="connsiteX6" fmla="*/ 297 w 10515"/>
                            <a:gd name="connsiteY6" fmla="*/ 1538 h 5965"/>
                            <a:gd name="connsiteX7" fmla="*/ 45 w 10515"/>
                            <a:gd name="connsiteY7" fmla="*/ 2794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046"/>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6" name="Freeform: Shape 3485">
                          <a:extLst>
                            <a:ext uri="{FF2B5EF4-FFF2-40B4-BE49-F238E27FC236}">
                              <a16:creationId xmlns:a16="http://schemas.microsoft.com/office/drawing/2014/main" id="{E19F0CA1-8918-4A8E-97D1-4230DD37A9DE}"/>
                            </a:ext>
                          </a:extLst>
                        </p:cNvPr>
                        <p:cNvSpPr/>
                        <p:nvPr/>
                      </p:nvSpPr>
                      <p:spPr>
                        <a:xfrm>
                          <a:off x="4605519" y="4520352"/>
                          <a:ext cx="10515" cy="5965"/>
                        </a:xfrm>
                        <a:custGeom>
                          <a:avLst/>
                          <a:gdLst>
                            <a:gd name="connsiteX0" fmla="*/ 10470 w 10515"/>
                            <a:gd name="connsiteY0" fmla="*/ 2794 h 5965"/>
                            <a:gd name="connsiteX1" fmla="*/ 10218 w 10515"/>
                            <a:gd name="connsiteY1" fmla="*/ 1538 h 5965"/>
                            <a:gd name="connsiteX2" fmla="*/ 8586 w 10515"/>
                            <a:gd name="connsiteY2" fmla="*/ 1538 h 5965"/>
                            <a:gd name="connsiteX3" fmla="*/ 6451 w 10515"/>
                            <a:gd name="connsiteY3" fmla="*/ 283 h 5965"/>
                            <a:gd name="connsiteX4" fmla="*/ 4064 w 10515"/>
                            <a:gd name="connsiteY4" fmla="*/ 283 h 5965"/>
                            <a:gd name="connsiteX5" fmla="*/ 1929 w 10515"/>
                            <a:gd name="connsiteY5" fmla="*/ 1538 h 5965"/>
                            <a:gd name="connsiteX6" fmla="*/ 297 w 10515"/>
                            <a:gd name="connsiteY6" fmla="*/ 1538 h 5965"/>
                            <a:gd name="connsiteX7" fmla="*/ 45 w 10515"/>
                            <a:gd name="connsiteY7" fmla="*/ 2794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046"/>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7" name="Freeform: Shape 3486">
                          <a:extLst>
                            <a:ext uri="{FF2B5EF4-FFF2-40B4-BE49-F238E27FC236}">
                              <a16:creationId xmlns:a16="http://schemas.microsoft.com/office/drawing/2014/main" id="{25ADED3B-836E-4169-B06D-70CED27CCFED}"/>
                            </a:ext>
                          </a:extLst>
                        </p:cNvPr>
                        <p:cNvSpPr/>
                        <p:nvPr/>
                      </p:nvSpPr>
                      <p:spPr>
                        <a:xfrm>
                          <a:off x="4605722" y="451897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88" name="Graphic 4">
                        <a:extLst>
                          <a:ext uri="{FF2B5EF4-FFF2-40B4-BE49-F238E27FC236}">
                            <a16:creationId xmlns:a16="http://schemas.microsoft.com/office/drawing/2014/main" id="{84FB7ED1-A2DF-40A1-A747-5F7CF3F14040}"/>
                          </a:ext>
                        </a:extLst>
                      </p:cNvPr>
                      <p:cNvGrpSpPr/>
                      <p:nvPr/>
                    </p:nvGrpSpPr>
                    <p:grpSpPr>
                      <a:xfrm>
                        <a:off x="4599114" y="4522738"/>
                        <a:ext cx="10469" cy="7347"/>
                        <a:chOff x="4599114" y="4522738"/>
                        <a:chExt cx="10469" cy="7347"/>
                      </a:xfrm>
                      <a:solidFill>
                        <a:schemeClr val="accent1"/>
                      </a:solidFill>
                    </p:grpSpPr>
                    <p:sp>
                      <p:nvSpPr>
                        <p:cNvPr id="3489" name="Freeform: Shape 3488">
                          <a:extLst>
                            <a:ext uri="{FF2B5EF4-FFF2-40B4-BE49-F238E27FC236}">
                              <a16:creationId xmlns:a16="http://schemas.microsoft.com/office/drawing/2014/main" id="{6E47225B-BBD2-4B8E-8BE4-02729E51D097}"/>
                            </a:ext>
                          </a:extLst>
                        </p:cNvPr>
                        <p:cNvSpPr/>
                        <p:nvPr/>
                      </p:nvSpPr>
                      <p:spPr>
                        <a:xfrm>
                          <a:off x="4599114" y="4524119"/>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344" y="3548"/>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0" name="Freeform: Shape 3489">
                          <a:extLst>
                            <a:ext uri="{FF2B5EF4-FFF2-40B4-BE49-F238E27FC236}">
                              <a16:creationId xmlns:a16="http://schemas.microsoft.com/office/drawing/2014/main" id="{B4515EC9-BC7F-497F-84D9-985F075DC545}"/>
                            </a:ext>
                          </a:extLst>
                        </p:cNvPr>
                        <p:cNvSpPr/>
                        <p:nvPr/>
                      </p:nvSpPr>
                      <p:spPr>
                        <a:xfrm>
                          <a:off x="4599114" y="4524119"/>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344" y="3548"/>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1" name="Freeform: Shape 3490">
                          <a:extLst>
                            <a:ext uri="{FF2B5EF4-FFF2-40B4-BE49-F238E27FC236}">
                              <a16:creationId xmlns:a16="http://schemas.microsoft.com/office/drawing/2014/main" id="{648F41EA-1DB5-4C2F-8188-AAB3F7A05754}"/>
                            </a:ext>
                          </a:extLst>
                        </p:cNvPr>
                        <p:cNvSpPr/>
                        <p:nvPr/>
                      </p:nvSpPr>
                      <p:spPr>
                        <a:xfrm>
                          <a:off x="4599316" y="4522738"/>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92" name="Graphic 4">
                        <a:extLst>
                          <a:ext uri="{FF2B5EF4-FFF2-40B4-BE49-F238E27FC236}">
                            <a16:creationId xmlns:a16="http://schemas.microsoft.com/office/drawing/2014/main" id="{84FB7ED1-A2DF-40A1-A747-5F7CF3F14040}"/>
                          </a:ext>
                        </a:extLst>
                      </p:cNvPr>
                      <p:cNvGrpSpPr/>
                      <p:nvPr/>
                    </p:nvGrpSpPr>
                    <p:grpSpPr>
                      <a:xfrm>
                        <a:off x="4605519" y="4526506"/>
                        <a:ext cx="10469" cy="7347"/>
                        <a:chOff x="4605519" y="4526506"/>
                        <a:chExt cx="10469" cy="7347"/>
                      </a:xfrm>
                      <a:solidFill>
                        <a:schemeClr val="accent1"/>
                      </a:solidFill>
                    </p:grpSpPr>
                    <p:sp>
                      <p:nvSpPr>
                        <p:cNvPr id="3493" name="Freeform: Shape 3492">
                          <a:extLst>
                            <a:ext uri="{FF2B5EF4-FFF2-40B4-BE49-F238E27FC236}">
                              <a16:creationId xmlns:a16="http://schemas.microsoft.com/office/drawing/2014/main" id="{2F6904C9-3908-4A98-BFE4-0897E0B235BC}"/>
                            </a:ext>
                          </a:extLst>
                        </p:cNvPr>
                        <p:cNvSpPr/>
                        <p:nvPr/>
                      </p:nvSpPr>
                      <p:spPr>
                        <a:xfrm>
                          <a:off x="4605519" y="4527887"/>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4" name="Freeform: Shape 3493">
                          <a:extLst>
                            <a:ext uri="{FF2B5EF4-FFF2-40B4-BE49-F238E27FC236}">
                              <a16:creationId xmlns:a16="http://schemas.microsoft.com/office/drawing/2014/main" id="{E75A40EB-782D-4E34-B82B-AA65EF29BEDF}"/>
                            </a:ext>
                          </a:extLst>
                        </p:cNvPr>
                        <p:cNvSpPr/>
                        <p:nvPr/>
                      </p:nvSpPr>
                      <p:spPr>
                        <a:xfrm>
                          <a:off x="4605519" y="4527887"/>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5" name="Freeform: Shape 3494">
                          <a:extLst>
                            <a:ext uri="{FF2B5EF4-FFF2-40B4-BE49-F238E27FC236}">
                              <a16:creationId xmlns:a16="http://schemas.microsoft.com/office/drawing/2014/main" id="{08908A4A-6A18-4141-B400-9A037ED663EE}"/>
                            </a:ext>
                          </a:extLst>
                        </p:cNvPr>
                        <p:cNvSpPr/>
                        <p:nvPr/>
                      </p:nvSpPr>
                      <p:spPr>
                        <a:xfrm>
                          <a:off x="4605722" y="4526506"/>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sp>
            <p:nvSpPr>
              <p:cNvPr id="3496" name="Freeform: Shape 3495">
                <a:extLst>
                  <a:ext uri="{FF2B5EF4-FFF2-40B4-BE49-F238E27FC236}">
                    <a16:creationId xmlns:a16="http://schemas.microsoft.com/office/drawing/2014/main" id="{345C8735-E990-412E-9B15-1F69E8ACDC2C}"/>
                  </a:ext>
                </a:extLst>
              </p:cNvPr>
              <p:cNvSpPr/>
              <p:nvPr/>
            </p:nvSpPr>
            <p:spPr>
              <a:xfrm>
                <a:off x="4589813" y="4721085"/>
                <a:ext cx="78717" cy="48064"/>
              </a:xfrm>
              <a:custGeom>
                <a:avLst/>
                <a:gdLst>
                  <a:gd name="connsiteX0" fmla="*/ 304 w 78717"/>
                  <a:gd name="connsiteY0" fmla="*/ 27755 h 48064"/>
                  <a:gd name="connsiteX1" fmla="*/ 178 w 78717"/>
                  <a:gd name="connsiteY1" fmla="*/ 29388 h 48064"/>
                  <a:gd name="connsiteX2" fmla="*/ 52 w 78717"/>
                  <a:gd name="connsiteY2" fmla="*/ 34286 h 48064"/>
                  <a:gd name="connsiteX3" fmla="*/ 1811 w 78717"/>
                  <a:gd name="connsiteY3" fmla="*/ 44961 h 48064"/>
                  <a:gd name="connsiteX4" fmla="*/ 27557 w 78717"/>
                  <a:gd name="connsiteY4" fmla="*/ 44836 h 48064"/>
                  <a:gd name="connsiteX5" fmla="*/ 30320 w 78717"/>
                  <a:gd name="connsiteY5" fmla="*/ 43580 h 48064"/>
                  <a:gd name="connsiteX6" fmla="*/ 33837 w 78717"/>
                  <a:gd name="connsiteY6" fmla="*/ 39184 h 48064"/>
                  <a:gd name="connsiteX7" fmla="*/ 38484 w 78717"/>
                  <a:gd name="connsiteY7" fmla="*/ 37049 h 48064"/>
                  <a:gd name="connsiteX8" fmla="*/ 43006 w 78717"/>
                  <a:gd name="connsiteY8" fmla="*/ 35291 h 48064"/>
                  <a:gd name="connsiteX9" fmla="*/ 46271 w 78717"/>
                  <a:gd name="connsiteY9" fmla="*/ 35165 h 48064"/>
                  <a:gd name="connsiteX10" fmla="*/ 52927 w 78717"/>
                  <a:gd name="connsiteY10" fmla="*/ 34788 h 48064"/>
                  <a:gd name="connsiteX11" fmla="*/ 76288 w 78717"/>
                  <a:gd name="connsiteY11" fmla="*/ 24112 h 48064"/>
                  <a:gd name="connsiteX12" fmla="*/ 78172 w 78717"/>
                  <a:gd name="connsiteY12" fmla="*/ 10799 h 48064"/>
                  <a:gd name="connsiteX13" fmla="*/ 56067 w 78717"/>
                  <a:gd name="connsiteY13" fmla="*/ 3515 h 48064"/>
                  <a:gd name="connsiteX14" fmla="*/ 33460 w 78717"/>
                  <a:gd name="connsiteY14" fmla="*/ 626 h 48064"/>
                  <a:gd name="connsiteX15" fmla="*/ 16380 w 78717"/>
                  <a:gd name="connsiteY15" fmla="*/ 10674 h 48064"/>
                  <a:gd name="connsiteX16" fmla="*/ 6834 w 78717"/>
                  <a:gd name="connsiteY16" fmla="*/ 19214 h 48064"/>
                  <a:gd name="connsiteX17" fmla="*/ 304 w 78717"/>
                  <a:gd name="connsiteY17" fmla="*/ 27755 h 4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8717" h="48064">
                    <a:moveTo>
                      <a:pt x="304" y="27755"/>
                    </a:moveTo>
                    <a:cubicBezTo>
                      <a:pt x="178" y="28257"/>
                      <a:pt x="178" y="28760"/>
                      <a:pt x="178" y="29388"/>
                    </a:cubicBezTo>
                    <a:cubicBezTo>
                      <a:pt x="52" y="31020"/>
                      <a:pt x="-74" y="32653"/>
                      <a:pt x="52" y="34286"/>
                    </a:cubicBezTo>
                    <a:cubicBezTo>
                      <a:pt x="304" y="37551"/>
                      <a:pt x="-701" y="42450"/>
                      <a:pt x="1811" y="44961"/>
                    </a:cubicBezTo>
                    <a:cubicBezTo>
                      <a:pt x="7337" y="50739"/>
                      <a:pt x="21152" y="47097"/>
                      <a:pt x="27557" y="44836"/>
                    </a:cubicBezTo>
                    <a:cubicBezTo>
                      <a:pt x="28562" y="44459"/>
                      <a:pt x="29441" y="44208"/>
                      <a:pt x="30320" y="43580"/>
                    </a:cubicBezTo>
                    <a:cubicBezTo>
                      <a:pt x="31953" y="42324"/>
                      <a:pt x="32204" y="40440"/>
                      <a:pt x="33837" y="39184"/>
                    </a:cubicBezTo>
                    <a:cubicBezTo>
                      <a:pt x="35219" y="38054"/>
                      <a:pt x="36726" y="37425"/>
                      <a:pt x="38484" y="37049"/>
                    </a:cubicBezTo>
                    <a:cubicBezTo>
                      <a:pt x="40117" y="36672"/>
                      <a:pt x="41499" y="35793"/>
                      <a:pt x="43006" y="35291"/>
                    </a:cubicBezTo>
                    <a:cubicBezTo>
                      <a:pt x="44262" y="34914"/>
                      <a:pt x="44890" y="35165"/>
                      <a:pt x="46271" y="35165"/>
                    </a:cubicBezTo>
                    <a:cubicBezTo>
                      <a:pt x="48406" y="35165"/>
                      <a:pt x="50792" y="35040"/>
                      <a:pt x="52927" y="34788"/>
                    </a:cubicBezTo>
                    <a:cubicBezTo>
                      <a:pt x="60086" y="34035"/>
                      <a:pt x="72018" y="30015"/>
                      <a:pt x="76288" y="24112"/>
                    </a:cubicBezTo>
                    <a:cubicBezTo>
                      <a:pt x="78926" y="20470"/>
                      <a:pt x="79177" y="15070"/>
                      <a:pt x="78172" y="10799"/>
                    </a:cubicBezTo>
                    <a:cubicBezTo>
                      <a:pt x="76288" y="2762"/>
                      <a:pt x="62724" y="3389"/>
                      <a:pt x="56067" y="3515"/>
                    </a:cubicBezTo>
                    <a:cubicBezTo>
                      <a:pt x="49285" y="3641"/>
                      <a:pt x="39489" y="4520"/>
                      <a:pt x="33460" y="626"/>
                    </a:cubicBezTo>
                    <a:cubicBezTo>
                      <a:pt x="28437" y="-2639"/>
                      <a:pt x="19268" y="7785"/>
                      <a:pt x="16380" y="10674"/>
                    </a:cubicBezTo>
                    <a:cubicBezTo>
                      <a:pt x="13491" y="13688"/>
                      <a:pt x="10853" y="17833"/>
                      <a:pt x="6834" y="19214"/>
                    </a:cubicBezTo>
                    <a:cubicBezTo>
                      <a:pt x="2564" y="20596"/>
                      <a:pt x="931" y="23485"/>
                      <a:pt x="304" y="27755"/>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7" name="Freeform: Shape 3496">
                <a:extLst>
                  <a:ext uri="{FF2B5EF4-FFF2-40B4-BE49-F238E27FC236}">
                    <a16:creationId xmlns:a16="http://schemas.microsoft.com/office/drawing/2014/main" id="{D4862DF0-729E-457E-8AB8-1260D71C5B30}"/>
                  </a:ext>
                </a:extLst>
              </p:cNvPr>
              <p:cNvSpPr/>
              <p:nvPr/>
            </p:nvSpPr>
            <p:spPr>
              <a:xfrm>
                <a:off x="4623776" y="4721963"/>
                <a:ext cx="44711" cy="20479"/>
              </a:xfrm>
              <a:custGeom>
                <a:avLst/>
                <a:gdLst>
                  <a:gd name="connsiteX0" fmla="*/ 22104 w 44711"/>
                  <a:gd name="connsiteY0" fmla="*/ 2637 h 20479"/>
                  <a:gd name="connsiteX1" fmla="*/ 44209 w 44711"/>
                  <a:gd name="connsiteY1" fmla="*/ 9922 h 20479"/>
                  <a:gd name="connsiteX2" fmla="*/ 44712 w 44711"/>
                  <a:gd name="connsiteY2" fmla="*/ 14318 h 20479"/>
                  <a:gd name="connsiteX3" fmla="*/ 24616 w 44711"/>
                  <a:gd name="connsiteY3" fmla="*/ 20472 h 20479"/>
                  <a:gd name="connsiteX4" fmla="*/ 6657 w 44711"/>
                  <a:gd name="connsiteY4" fmla="*/ 17332 h 20479"/>
                  <a:gd name="connsiteX5" fmla="*/ 1256 w 44711"/>
                  <a:gd name="connsiteY5" fmla="*/ 10927 h 20479"/>
                  <a:gd name="connsiteX6" fmla="*/ 0 w 44711"/>
                  <a:gd name="connsiteY6" fmla="*/ 0 h 20479"/>
                  <a:gd name="connsiteX7" fmla="*/ 22104 w 44711"/>
                  <a:gd name="connsiteY7" fmla="*/ 2637 h 2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11" h="20479">
                    <a:moveTo>
                      <a:pt x="22104" y="2637"/>
                    </a:moveTo>
                    <a:cubicBezTo>
                      <a:pt x="28761" y="2512"/>
                      <a:pt x="42325" y="1884"/>
                      <a:pt x="44209" y="9922"/>
                    </a:cubicBezTo>
                    <a:cubicBezTo>
                      <a:pt x="44586" y="11303"/>
                      <a:pt x="44712" y="12811"/>
                      <a:pt x="44712" y="14318"/>
                    </a:cubicBezTo>
                    <a:cubicBezTo>
                      <a:pt x="44460" y="14694"/>
                      <a:pt x="39186" y="20723"/>
                      <a:pt x="24616" y="20472"/>
                    </a:cubicBezTo>
                    <a:cubicBezTo>
                      <a:pt x="9545" y="20095"/>
                      <a:pt x="6657" y="17332"/>
                      <a:pt x="6657" y="17332"/>
                    </a:cubicBezTo>
                    <a:cubicBezTo>
                      <a:pt x="6657" y="17332"/>
                      <a:pt x="754" y="16830"/>
                      <a:pt x="1256" y="10927"/>
                    </a:cubicBezTo>
                    <a:cubicBezTo>
                      <a:pt x="1507" y="7033"/>
                      <a:pt x="628" y="2512"/>
                      <a:pt x="0" y="0"/>
                    </a:cubicBezTo>
                    <a:cubicBezTo>
                      <a:pt x="5903" y="3517"/>
                      <a:pt x="15574" y="2763"/>
                      <a:pt x="22104" y="2637"/>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8" name="Freeform: Shape 3497">
                <a:extLst>
                  <a:ext uri="{FF2B5EF4-FFF2-40B4-BE49-F238E27FC236}">
                    <a16:creationId xmlns:a16="http://schemas.microsoft.com/office/drawing/2014/main" id="{EFA30EDA-7758-47E2-87E6-ECB696E9E7F4}"/>
                  </a:ext>
                </a:extLst>
              </p:cNvPr>
              <p:cNvSpPr/>
              <p:nvPr/>
            </p:nvSpPr>
            <p:spPr>
              <a:xfrm>
                <a:off x="4526560" y="4677288"/>
                <a:ext cx="47241" cy="50716"/>
              </a:xfrm>
              <a:custGeom>
                <a:avLst/>
                <a:gdLst>
                  <a:gd name="connsiteX0" fmla="*/ 33036 w 47241"/>
                  <a:gd name="connsiteY0" fmla="*/ 590 h 50716"/>
                  <a:gd name="connsiteX1" fmla="*/ 40572 w 47241"/>
                  <a:gd name="connsiteY1" fmla="*/ 465 h 50716"/>
                  <a:gd name="connsiteX2" fmla="*/ 41828 w 47241"/>
                  <a:gd name="connsiteY2" fmla="*/ 22946 h 50716"/>
                  <a:gd name="connsiteX3" fmla="*/ 35297 w 47241"/>
                  <a:gd name="connsiteY3" fmla="*/ 32994 h 50716"/>
                  <a:gd name="connsiteX4" fmla="*/ 32785 w 47241"/>
                  <a:gd name="connsiteY4" fmla="*/ 41911 h 50716"/>
                  <a:gd name="connsiteX5" fmla="*/ 18342 w 47241"/>
                  <a:gd name="connsiteY5" fmla="*/ 50703 h 50716"/>
                  <a:gd name="connsiteX6" fmla="*/ 6410 w 47241"/>
                  <a:gd name="connsiteY6" fmla="*/ 48442 h 50716"/>
                  <a:gd name="connsiteX7" fmla="*/ 507 w 47241"/>
                  <a:gd name="connsiteY7" fmla="*/ 42288 h 50716"/>
                  <a:gd name="connsiteX8" fmla="*/ 131 w 47241"/>
                  <a:gd name="connsiteY8" fmla="*/ 40027 h 50716"/>
                  <a:gd name="connsiteX9" fmla="*/ 382 w 47241"/>
                  <a:gd name="connsiteY9" fmla="*/ 28472 h 50716"/>
                  <a:gd name="connsiteX10" fmla="*/ 10932 w 47241"/>
                  <a:gd name="connsiteY10" fmla="*/ 22193 h 50716"/>
                  <a:gd name="connsiteX11" fmla="*/ 18467 w 47241"/>
                  <a:gd name="connsiteY11" fmla="*/ 14406 h 50716"/>
                  <a:gd name="connsiteX12" fmla="*/ 23994 w 47241"/>
                  <a:gd name="connsiteY12" fmla="*/ 6368 h 50716"/>
                  <a:gd name="connsiteX13" fmla="*/ 32785 w 47241"/>
                  <a:gd name="connsiteY13" fmla="*/ 716 h 50716"/>
                  <a:gd name="connsiteX14" fmla="*/ 33036 w 47241"/>
                  <a:gd name="connsiteY14" fmla="*/ 590 h 50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241" h="50716">
                    <a:moveTo>
                      <a:pt x="33036" y="590"/>
                    </a:moveTo>
                    <a:cubicBezTo>
                      <a:pt x="35423" y="-37"/>
                      <a:pt x="38060" y="-289"/>
                      <a:pt x="40572" y="465"/>
                    </a:cubicBezTo>
                    <a:cubicBezTo>
                      <a:pt x="50620" y="3856"/>
                      <a:pt x="47857" y="17169"/>
                      <a:pt x="41828" y="22946"/>
                    </a:cubicBezTo>
                    <a:cubicBezTo>
                      <a:pt x="38939" y="25835"/>
                      <a:pt x="36930" y="29352"/>
                      <a:pt x="35297" y="32994"/>
                    </a:cubicBezTo>
                    <a:cubicBezTo>
                      <a:pt x="33916" y="35882"/>
                      <a:pt x="34167" y="39022"/>
                      <a:pt x="32785" y="41911"/>
                    </a:cubicBezTo>
                    <a:cubicBezTo>
                      <a:pt x="30273" y="47688"/>
                      <a:pt x="24370" y="50451"/>
                      <a:pt x="18342" y="50703"/>
                    </a:cubicBezTo>
                    <a:cubicBezTo>
                      <a:pt x="14323" y="50828"/>
                      <a:pt x="10053" y="50075"/>
                      <a:pt x="6410" y="48442"/>
                    </a:cubicBezTo>
                    <a:cubicBezTo>
                      <a:pt x="3647" y="47186"/>
                      <a:pt x="1512" y="45428"/>
                      <a:pt x="507" y="42288"/>
                    </a:cubicBezTo>
                    <a:cubicBezTo>
                      <a:pt x="256" y="41534"/>
                      <a:pt x="256" y="40781"/>
                      <a:pt x="131" y="40027"/>
                    </a:cubicBezTo>
                    <a:cubicBezTo>
                      <a:pt x="-120" y="36133"/>
                      <a:pt x="5" y="32240"/>
                      <a:pt x="382" y="28472"/>
                    </a:cubicBezTo>
                    <a:cubicBezTo>
                      <a:pt x="884" y="23323"/>
                      <a:pt x="8043" y="25584"/>
                      <a:pt x="10932" y="22193"/>
                    </a:cubicBezTo>
                    <a:cubicBezTo>
                      <a:pt x="13318" y="19430"/>
                      <a:pt x="15579" y="16666"/>
                      <a:pt x="18467" y="14406"/>
                    </a:cubicBezTo>
                    <a:cubicBezTo>
                      <a:pt x="20979" y="12396"/>
                      <a:pt x="21984" y="8880"/>
                      <a:pt x="23994" y="6368"/>
                    </a:cubicBezTo>
                    <a:cubicBezTo>
                      <a:pt x="26255" y="3604"/>
                      <a:pt x="29269" y="1721"/>
                      <a:pt x="32785" y="716"/>
                    </a:cubicBezTo>
                    <a:cubicBezTo>
                      <a:pt x="32785" y="716"/>
                      <a:pt x="32911" y="716"/>
                      <a:pt x="33036" y="59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9" name="Freeform: Shape 3498">
                <a:extLst>
                  <a:ext uri="{FF2B5EF4-FFF2-40B4-BE49-F238E27FC236}">
                    <a16:creationId xmlns:a16="http://schemas.microsoft.com/office/drawing/2014/main" id="{AE033186-DF0F-4075-9489-7F1BB687C40D}"/>
                  </a:ext>
                </a:extLst>
              </p:cNvPr>
              <p:cNvSpPr/>
              <p:nvPr/>
            </p:nvSpPr>
            <p:spPr>
              <a:xfrm>
                <a:off x="4501804" y="4572419"/>
                <a:ext cx="66178" cy="144299"/>
              </a:xfrm>
              <a:custGeom>
                <a:avLst/>
                <a:gdLst>
                  <a:gd name="connsiteX0" fmla="*/ 28404 w 66178"/>
                  <a:gd name="connsiteY0" fmla="*/ 61627 h 144299"/>
                  <a:gd name="connsiteX1" fmla="*/ 14840 w 66178"/>
                  <a:gd name="connsiteY1" fmla="*/ 54091 h 144299"/>
                  <a:gd name="connsiteX2" fmla="*/ 10444 w 66178"/>
                  <a:gd name="connsiteY2" fmla="*/ 41406 h 144299"/>
                  <a:gd name="connsiteX3" fmla="*/ 19 w 66178"/>
                  <a:gd name="connsiteY3" fmla="*/ 5486 h 144299"/>
                  <a:gd name="connsiteX4" fmla="*/ 29534 w 66178"/>
                  <a:gd name="connsiteY4" fmla="*/ 211 h 144299"/>
                  <a:gd name="connsiteX5" fmla="*/ 36567 w 66178"/>
                  <a:gd name="connsiteY5" fmla="*/ 1467 h 144299"/>
                  <a:gd name="connsiteX6" fmla="*/ 59300 w 66178"/>
                  <a:gd name="connsiteY6" fmla="*/ 13147 h 144299"/>
                  <a:gd name="connsiteX7" fmla="*/ 65455 w 66178"/>
                  <a:gd name="connsiteY7" fmla="*/ 33242 h 144299"/>
                  <a:gd name="connsiteX8" fmla="*/ 66082 w 66178"/>
                  <a:gd name="connsiteY8" fmla="*/ 48439 h 144299"/>
                  <a:gd name="connsiteX9" fmla="*/ 65455 w 66178"/>
                  <a:gd name="connsiteY9" fmla="*/ 83983 h 144299"/>
                  <a:gd name="connsiteX10" fmla="*/ 59552 w 66178"/>
                  <a:gd name="connsiteY10" fmla="*/ 136732 h 144299"/>
                  <a:gd name="connsiteX11" fmla="*/ 57542 w 66178"/>
                  <a:gd name="connsiteY11" fmla="*/ 141882 h 144299"/>
                  <a:gd name="connsiteX12" fmla="*/ 51890 w 66178"/>
                  <a:gd name="connsiteY12" fmla="*/ 143515 h 144299"/>
                  <a:gd name="connsiteX13" fmla="*/ 33051 w 66178"/>
                  <a:gd name="connsiteY13" fmla="*/ 141631 h 144299"/>
                  <a:gd name="connsiteX14" fmla="*/ 22124 w 66178"/>
                  <a:gd name="connsiteY14" fmla="*/ 135728 h 144299"/>
                  <a:gd name="connsiteX15" fmla="*/ 21998 w 66178"/>
                  <a:gd name="connsiteY15" fmla="*/ 126685 h 144299"/>
                  <a:gd name="connsiteX16" fmla="*/ 24259 w 66178"/>
                  <a:gd name="connsiteY16" fmla="*/ 102571 h 144299"/>
                  <a:gd name="connsiteX17" fmla="*/ 28404 w 66178"/>
                  <a:gd name="connsiteY17" fmla="*/ 61627 h 14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178" h="144299">
                    <a:moveTo>
                      <a:pt x="28404" y="61627"/>
                    </a:moveTo>
                    <a:cubicBezTo>
                      <a:pt x="27525" y="56478"/>
                      <a:pt x="14714" y="59366"/>
                      <a:pt x="14840" y="54091"/>
                    </a:cubicBezTo>
                    <a:cubicBezTo>
                      <a:pt x="14965" y="48439"/>
                      <a:pt x="11700" y="46932"/>
                      <a:pt x="10444" y="41406"/>
                    </a:cubicBezTo>
                    <a:cubicBezTo>
                      <a:pt x="8937" y="34624"/>
                      <a:pt x="-483" y="12519"/>
                      <a:pt x="19" y="5486"/>
                    </a:cubicBezTo>
                    <a:cubicBezTo>
                      <a:pt x="397" y="1341"/>
                      <a:pt x="25515" y="1341"/>
                      <a:pt x="29534" y="211"/>
                    </a:cubicBezTo>
                    <a:cubicBezTo>
                      <a:pt x="31921" y="-417"/>
                      <a:pt x="34307" y="462"/>
                      <a:pt x="36567" y="1467"/>
                    </a:cubicBezTo>
                    <a:cubicBezTo>
                      <a:pt x="44355" y="4733"/>
                      <a:pt x="52393" y="7998"/>
                      <a:pt x="59300" y="13147"/>
                    </a:cubicBezTo>
                    <a:cubicBezTo>
                      <a:pt x="65580" y="17920"/>
                      <a:pt x="65078" y="25707"/>
                      <a:pt x="65455" y="33242"/>
                    </a:cubicBezTo>
                    <a:cubicBezTo>
                      <a:pt x="65831" y="38266"/>
                      <a:pt x="65957" y="43416"/>
                      <a:pt x="66082" y="48439"/>
                    </a:cubicBezTo>
                    <a:cubicBezTo>
                      <a:pt x="66334" y="60245"/>
                      <a:pt x="66082" y="72177"/>
                      <a:pt x="65455" y="83983"/>
                    </a:cubicBezTo>
                    <a:cubicBezTo>
                      <a:pt x="64450" y="101692"/>
                      <a:pt x="62566" y="119275"/>
                      <a:pt x="59552" y="136732"/>
                    </a:cubicBezTo>
                    <a:cubicBezTo>
                      <a:pt x="59175" y="138993"/>
                      <a:pt x="59426" y="140752"/>
                      <a:pt x="57542" y="141882"/>
                    </a:cubicBezTo>
                    <a:cubicBezTo>
                      <a:pt x="55909" y="142761"/>
                      <a:pt x="53649" y="143138"/>
                      <a:pt x="51890" y="143515"/>
                    </a:cubicBezTo>
                    <a:cubicBezTo>
                      <a:pt x="45610" y="144771"/>
                      <a:pt x="38828" y="144771"/>
                      <a:pt x="33051" y="141631"/>
                    </a:cubicBezTo>
                    <a:cubicBezTo>
                      <a:pt x="29409" y="139621"/>
                      <a:pt x="25767" y="137361"/>
                      <a:pt x="22124" y="135728"/>
                    </a:cubicBezTo>
                    <a:cubicBezTo>
                      <a:pt x="22250" y="132713"/>
                      <a:pt x="21873" y="129699"/>
                      <a:pt x="21998" y="126685"/>
                    </a:cubicBezTo>
                    <a:cubicBezTo>
                      <a:pt x="22501" y="118772"/>
                      <a:pt x="23129" y="110483"/>
                      <a:pt x="24259" y="102571"/>
                    </a:cubicBezTo>
                    <a:cubicBezTo>
                      <a:pt x="26394" y="89132"/>
                      <a:pt x="30665" y="75317"/>
                      <a:pt x="28404" y="61627"/>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0" name="Freeform: Shape 3499">
                <a:extLst>
                  <a:ext uri="{FF2B5EF4-FFF2-40B4-BE49-F238E27FC236}">
                    <a16:creationId xmlns:a16="http://schemas.microsoft.com/office/drawing/2014/main" id="{57B9C176-E921-41A4-AA30-1DE9AB273553}"/>
                  </a:ext>
                </a:extLst>
              </p:cNvPr>
              <p:cNvSpPr/>
              <p:nvPr/>
            </p:nvSpPr>
            <p:spPr>
              <a:xfrm>
                <a:off x="4497529" y="4581862"/>
                <a:ext cx="66337" cy="134701"/>
              </a:xfrm>
              <a:custGeom>
                <a:avLst/>
                <a:gdLst>
                  <a:gd name="connsiteX0" fmla="*/ 36321 w 66337"/>
                  <a:gd name="connsiteY0" fmla="*/ 188 h 134701"/>
                  <a:gd name="connsiteX1" fmla="*/ 40968 w 66337"/>
                  <a:gd name="connsiteY1" fmla="*/ 188 h 134701"/>
                  <a:gd name="connsiteX2" fmla="*/ 61189 w 66337"/>
                  <a:gd name="connsiteY2" fmla="*/ 4584 h 134701"/>
                  <a:gd name="connsiteX3" fmla="*/ 63072 w 66337"/>
                  <a:gd name="connsiteY3" fmla="*/ 19279 h 134701"/>
                  <a:gd name="connsiteX4" fmla="*/ 63575 w 66337"/>
                  <a:gd name="connsiteY4" fmla="*/ 27066 h 134701"/>
                  <a:gd name="connsiteX5" fmla="*/ 65836 w 66337"/>
                  <a:gd name="connsiteY5" fmla="*/ 37239 h 134701"/>
                  <a:gd name="connsiteX6" fmla="*/ 66087 w 66337"/>
                  <a:gd name="connsiteY6" fmla="*/ 51808 h 134701"/>
                  <a:gd name="connsiteX7" fmla="*/ 65082 w 66337"/>
                  <a:gd name="connsiteY7" fmla="*/ 68512 h 134701"/>
                  <a:gd name="connsiteX8" fmla="*/ 63951 w 66337"/>
                  <a:gd name="connsiteY8" fmla="*/ 81574 h 134701"/>
                  <a:gd name="connsiteX9" fmla="*/ 56290 w 66337"/>
                  <a:gd name="connsiteY9" fmla="*/ 111465 h 134701"/>
                  <a:gd name="connsiteX10" fmla="*/ 52146 w 66337"/>
                  <a:gd name="connsiteY10" fmla="*/ 124402 h 134701"/>
                  <a:gd name="connsiteX11" fmla="*/ 48503 w 66337"/>
                  <a:gd name="connsiteY11" fmla="*/ 134700 h 134701"/>
                  <a:gd name="connsiteX12" fmla="*/ 37828 w 66337"/>
                  <a:gd name="connsiteY12" fmla="*/ 132189 h 134701"/>
                  <a:gd name="connsiteX13" fmla="*/ 26524 w 66337"/>
                  <a:gd name="connsiteY13" fmla="*/ 124653 h 134701"/>
                  <a:gd name="connsiteX14" fmla="*/ 28659 w 66337"/>
                  <a:gd name="connsiteY14" fmla="*/ 120383 h 134701"/>
                  <a:gd name="connsiteX15" fmla="*/ 29915 w 66337"/>
                  <a:gd name="connsiteY15" fmla="*/ 110837 h 134701"/>
                  <a:gd name="connsiteX16" fmla="*/ 31799 w 66337"/>
                  <a:gd name="connsiteY16" fmla="*/ 90491 h 134701"/>
                  <a:gd name="connsiteX17" fmla="*/ 34939 w 66337"/>
                  <a:gd name="connsiteY17" fmla="*/ 73787 h 134701"/>
                  <a:gd name="connsiteX18" fmla="*/ 37953 w 66337"/>
                  <a:gd name="connsiteY18" fmla="*/ 66000 h 134701"/>
                  <a:gd name="connsiteX19" fmla="*/ 37828 w 66337"/>
                  <a:gd name="connsiteY19" fmla="*/ 57585 h 134701"/>
                  <a:gd name="connsiteX20" fmla="*/ 31422 w 66337"/>
                  <a:gd name="connsiteY20" fmla="*/ 20660 h 134701"/>
                  <a:gd name="connsiteX21" fmla="*/ 24 w 66337"/>
                  <a:gd name="connsiteY21" fmla="*/ 7850 h 134701"/>
                  <a:gd name="connsiteX22" fmla="*/ 34311 w 66337"/>
                  <a:gd name="connsiteY22" fmla="*/ 1193 h 134701"/>
                  <a:gd name="connsiteX23" fmla="*/ 36321 w 66337"/>
                  <a:gd name="connsiteY23" fmla="*/ 188 h 13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337" h="134701">
                    <a:moveTo>
                      <a:pt x="36321" y="188"/>
                    </a:moveTo>
                    <a:cubicBezTo>
                      <a:pt x="37828" y="-63"/>
                      <a:pt x="39461" y="-63"/>
                      <a:pt x="40968" y="188"/>
                    </a:cubicBezTo>
                    <a:cubicBezTo>
                      <a:pt x="45991" y="691"/>
                      <a:pt x="57295" y="1068"/>
                      <a:pt x="61189" y="4584"/>
                    </a:cubicBezTo>
                    <a:cubicBezTo>
                      <a:pt x="64328" y="7473"/>
                      <a:pt x="63072" y="14883"/>
                      <a:pt x="63072" y="19279"/>
                    </a:cubicBezTo>
                    <a:cubicBezTo>
                      <a:pt x="63072" y="21916"/>
                      <a:pt x="63198" y="24554"/>
                      <a:pt x="63575" y="27066"/>
                    </a:cubicBezTo>
                    <a:cubicBezTo>
                      <a:pt x="64077" y="30457"/>
                      <a:pt x="65207" y="33848"/>
                      <a:pt x="65836" y="37239"/>
                    </a:cubicBezTo>
                    <a:cubicBezTo>
                      <a:pt x="66589" y="42012"/>
                      <a:pt x="66338" y="46910"/>
                      <a:pt x="66087" y="51808"/>
                    </a:cubicBezTo>
                    <a:cubicBezTo>
                      <a:pt x="65710" y="57334"/>
                      <a:pt x="65459" y="62986"/>
                      <a:pt x="65082" y="68512"/>
                    </a:cubicBezTo>
                    <a:cubicBezTo>
                      <a:pt x="64831" y="72908"/>
                      <a:pt x="64580" y="77304"/>
                      <a:pt x="63951" y="81574"/>
                    </a:cubicBezTo>
                    <a:cubicBezTo>
                      <a:pt x="62570" y="91747"/>
                      <a:pt x="59430" y="101669"/>
                      <a:pt x="56290" y="111465"/>
                    </a:cubicBezTo>
                    <a:cubicBezTo>
                      <a:pt x="54909" y="115736"/>
                      <a:pt x="53527" y="120131"/>
                      <a:pt x="52146" y="124402"/>
                    </a:cubicBezTo>
                    <a:cubicBezTo>
                      <a:pt x="51894" y="125281"/>
                      <a:pt x="49257" y="134826"/>
                      <a:pt x="48503" y="134700"/>
                    </a:cubicBezTo>
                    <a:cubicBezTo>
                      <a:pt x="44987" y="134575"/>
                      <a:pt x="41219" y="133947"/>
                      <a:pt x="37828" y="132189"/>
                    </a:cubicBezTo>
                    <a:cubicBezTo>
                      <a:pt x="34939" y="130556"/>
                      <a:pt x="27027" y="128295"/>
                      <a:pt x="26524" y="124653"/>
                    </a:cubicBezTo>
                    <a:cubicBezTo>
                      <a:pt x="26273" y="122894"/>
                      <a:pt x="28157" y="121890"/>
                      <a:pt x="28659" y="120383"/>
                    </a:cubicBezTo>
                    <a:cubicBezTo>
                      <a:pt x="29664" y="117368"/>
                      <a:pt x="29538" y="113977"/>
                      <a:pt x="29915" y="110837"/>
                    </a:cubicBezTo>
                    <a:cubicBezTo>
                      <a:pt x="30543" y="104055"/>
                      <a:pt x="31171" y="97273"/>
                      <a:pt x="31799" y="90491"/>
                    </a:cubicBezTo>
                    <a:cubicBezTo>
                      <a:pt x="32302" y="84839"/>
                      <a:pt x="32804" y="79062"/>
                      <a:pt x="34939" y="73787"/>
                    </a:cubicBezTo>
                    <a:cubicBezTo>
                      <a:pt x="35944" y="71275"/>
                      <a:pt x="37325" y="68763"/>
                      <a:pt x="37953" y="66000"/>
                    </a:cubicBezTo>
                    <a:cubicBezTo>
                      <a:pt x="38581" y="63237"/>
                      <a:pt x="38205" y="60474"/>
                      <a:pt x="37828" y="57585"/>
                    </a:cubicBezTo>
                    <a:cubicBezTo>
                      <a:pt x="36195" y="45151"/>
                      <a:pt x="34060" y="32843"/>
                      <a:pt x="31422" y="20660"/>
                    </a:cubicBezTo>
                    <a:cubicBezTo>
                      <a:pt x="30418" y="15637"/>
                      <a:pt x="-981" y="12873"/>
                      <a:pt x="24" y="7850"/>
                    </a:cubicBezTo>
                    <a:cubicBezTo>
                      <a:pt x="526" y="5338"/>
                      <a:pt x="32302" y="2700"/>
                      <a:pt x="34311" y="1193"/>
                    </a:cubicBezTo>
                    <a:cubicBezTo>
                      <a:pt x="34562" y="691"/>
                      <a:pt x="35441" y="314"/>
                      <a:pt x="36321" y="188"/>
                    </a:cubicBezTo>
                    <a:close/>
                  </a:path>
                </a:pathLst>
              </a:custGeom>
              <a:solidFill>
                <a:srgbClr val="47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1" name="Freeform: Shape 3500">
                <a:extLst>
                  <a:ext uri="{FF2B5EF4-FFF2-40B4-BE49-F238E27FC236}">
                    <a16:creationId xmlns:a16="http://schemas.microsoft.com/office/drawing/2014/main" id="{1C7984B2-D5B0-41CB-824C-84E8F5CDFEC0}"/>
                  </a:ext>
                </a:extLst>
              </p:cNvPr>
              <p:cNvSpPr/>
              <p:nvPr/>
            </p:nvSpPr>
            <p:spPr>
              <a:xfrm>
                <a:off x="4424206" y="4724223"/>
                <a:ext cx="160133" cy="89925"/>
              </a:xfrm>
              <a:custGeom>
                <a:avLst/>
                <a:gdLst>
                  <a:gd name="connsiteX0" fmla="*/ 0 w 160133"/>
                  <a:gd name="connsiteY0" fmla="*/ 7661 h 89925"/>
                  <a:gd name="connsiteX1" fmla="*/ 142550 w 160133"/>
                  <a:gd name="connsiteY1" fmla="*/ 89926 h 89925"/>
                  <a:gd name="connsiteX2" fmla="*/ 160133 w 160133"/>
                  <a:gd name="connsiteY2" fmla="*/ 79753 h 89925"/>
                  <a:gd name="connsiteX3" fmla="*/ 160133 w 160133"/>
                  <a:gd name="connsiteY3" fmla="*/ 72091 h 89925"/>
                  <a:gd name="connsiteX4" fmla="*/ 0 w 160133"/>
                  <a:gd name="connsiteY4" fmla="*/ 0 h 89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33" h="89925">
                    <a:moveTo>
                      <a:pt x="0" y="7661"/>
                    </a:moveTo>
                    <a:lnTo>
                      <a:pt x="142550" y="89926"/>
                    </a:lnTo>
                    <a:lnTo>
                      <a:pt x="160133" y="79753"/>
                    </a:lnTo>
                    <a:lnTo>
                      <a:pt x="160133" y="72091"/>
                    </a:lnTo>
                    <a:lnTo>
                      <a:pt x="0" y="0"/>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2" name="Freeform: Shape 3501">
                <a:extLst>
                  <a:ext uri="{FF2B5EF4-FFF2-40B4-BE49-F238E27FC236}">
                    <a16:creationId xmlns:a16="http://schemas.microsoft.com/office/drawing/2014/main" id="{5FA0BDAA-C836-4845-9058-BDC7D4BE147A}"/>
                  </a:ext>
                </a:extLst>
              </p:cNvPr>
              <p:cNvSpPr/>
              <p:nvPr/>
            </p:nvSpPr>
            <p:spPr>
              <a:xfrm>
                <a:off x="4424206" y="4724223"/>
                <a:ext cx="160133" cy="89925"/>
              </a:xfrm>
              <a:custGeom>
                <a:avLst/>
                <a:gdLst>
                  <a:gd name="connsiteX0" fmla="*/ 160133 w 160133"/>
                  <a:gd name="connsiteY0" fmla="*/ 7661 h 89925"/>
                  <a:gd name="connsiteX1" fmla="*/ 17583 w 160133"/>
                  <a:gd name="connsiteY1" fmla="*/ 89926 h 89925"/>
                  <a:gd name="connsiteX2" fmla="*/ 0 w 160133"/>
                  <a:gd name="connsiteY2" fmla="*/ 79753 h 89925"/>
                  <a:gd name="connsiteX3" fmla="*/ 0 w 160133"/>
                  <a:gd name="connsiteY3" fmla="*/ 72091 h 89925"/>
                  <a:gd name="connsiteX4" fmla="*/ 160133 w 160133"/>
                  <a:gd name="connsiteY4" fmla="*/ 0 h 89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33" h="89925">
                    <a:moveTo>
                      <a:pt x="160133" y="7661"/>
                    </a:moveTo>
                    <a:lnTo>
                      <a:pt x="17583" y="89926"/>
                    </a:lnTo>
                    <a:lnTo>
                      <a:pt x="0" y="79753"/>
                    </a:lnTo>
                    <a:lnTo>
                      <a:pt x="0" y="72091"/>
                    </a:lnTo>
                    <a:lnTo>
                      <a:pt x="160133" y="0"/>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3" name="Freeform: Shape 3502">
                <a:extLst>
                  <a:ext uri="{FF2B5EF4-FFF2-40B4-BE49-F238E27FC236}">
                    <a16:creationId xmlns:a16="http://schemas.microsoft.com/office/drawing/2014/main" id="{63C464E2-31B9-41C7-9A38-A0CFF236B821}"/>
                  </a:ext>
                </a:extLst>
              </p:cNvPr>
              <p:cNvSpPr/>
              <p:nvPr/>
            </p:nvSpPr>
            <p:spPr>
              <a:xfrm>
                <a:off x="4424206" y="4714050"/>
                <a:ext cx="160133" cy="92437"/>
              </a:xfrm>
              <a:custGeom>
                <a:avLst/>
                <a:gdLst>
                  <a:gd name="connsiteX0" fmla="*/ 0 w 160133"/>
                  <a:gd name="connsiteY0" fmla="*/ 10173 h 92437"/>
                  <a:gd name="connsiteX1" fmla="*/ 142550 w 160133"/>
                  <a:gd name="connsiteY1" fmla="*/ 92438 h 92437"/>
                  <a:gd name="connsiteX2" fmla="*/ 160133 w 160133"/>
                  <a:gd name="connsiteY2" fmla="*/ 82264 h 92437"/>
                  <a:gd name="connsiteX3" fmla="*/ 17583 w 160133"/>
                  <a:gd name="connsiteY3" fmla="*/ 0 h 92437"/>
                </a:gdLst>
                <a:ahLst/>
                <a:cxnLst>
                  <a:cxn ang="0">
                    <a:pos x="connsiteX0" y="connsiteY0"/>
                  </a:cxn>
                  <a:cxn ang="0">
                    <a:pos x="connsiteX1" y="connsiteY1"/>
                  </a:cxn>
                  <a:cxn ang="0">
                    <a:pos x="connsiteX2" y="connsiteY2"/>
                  </a:cxn>
                  <a:cxn ang="0">
                    <a:pos x="connsiteX3" y="connsiteY3"/>
                  </a:cxn>
                </a:cxnLst>
                <a:rect l="l" t="t" r="r" b="b"/>
                <a:pathLst>
                  <a:path w="160133" h="92437">
                    <a:moveTo>
                      <a:pt x="0" y="10173"/>
                    </a:moveTo>
                    <a:lnTo>
                      <a:pt x="142550" y="92438"/>
                    </a:lnTo>
                    <a:lnTo>
                      <a:pt x="160133" y="82264"/>
                    </a:lnTo>
                    <a:lnTo>
                      <a:pt x="17583" y="0"/>
                    </a:lnTo>
                    <a:close/>
                  </a:path>
                </a:pathLst>
              </a:custGeom>
              <a:solidFill>
                <a:srgbClr val="8E8E8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4" name="Freeform: Shape 3503">
                <a:extLst>
                  <a:ext uri="{FF2B5EF4-FFF2-40B4-BE49-F238E27FC236}">
                    <a16:creationId xmlns:a16="http://schemas.microsoft.com/office/drawing/2014/main" id="{FA20FFF4-96F1-4519-B1B3-D2F22F772204}"/>
                  </a:ext>
                </a:extLst>
              </p:cNvPr>
              <p:cNvSpPr/>
              <p:nvPr/>
            </p:nvSpPr>
            <p:spPr>
              <a:xfrm>
                <a:off x="4424206" y="4714050"/>
                <a:ext cx="160133" cy="92437"/>
              </a:xfrm>
              <a:custGeom>
                <a:avLst/>
                <a:gdLst>
                  <a:gd name="connsiteX0" fmla="*/ 160133 w 160133"/>
                  <a:gd name="connsiteY0" fmla="*/ 10173 h 92437"/>
                  <a:gd name="connsiteX1" fmla="*/ 17583 w 160133"/>
                  <a:gd name="connsiteY1" fmla="*/ 92438 h 92437"/>
                  <a:gd name="connsiteX2" fmla="*/ 0 w 160133"/>
                  <a:gd name="connsiteY2" fmla="*/ 82264 h 92437"/>
                  <a:gd name="connsiteX3" fmla="*/ 142550 w 160133"/>
                  <a:gd name="connsiteY3" fmla="*/ 0 h 92437"/>
                </a:gdLst>
                <a:ahLst/>
                <a:cxnLst>
                  <a:cxn ang="0">
                    <a:pos x="connsiteX0" y="connsiteY0"/>
                  </a:cxn>
                  <a:cxn ang="0">
                    <a:pos x="connsiteX1" y="connsiteY1"/>
                  </a:cxn>
                  <a:cxn ang="0">
                    <a:pos x="connsiteX2" y="connsiteY2"/>
                  </a:cxn>
                  <a:cxn ang="0">
                    <a:pos x="connsiteX3" y="connsiteY3"/>
                  </a:cxn>
                </a:cxnLst>
                <a:rect l="l" t="t" r="r" b="b"/>
                <a:pathLst>
                  <a:path w="160133" h="92437">
                    <a:moveTo>
                      <a:pt x="160133" y="10173"/>
                    </a:moveTo>
                    <a:lnTo>
                      <a:pt x="17583" y="92438"/>
                    </a:lnTo>
                    <a:lnTo>
                      <a:pt x="0" y="82264"/>
                    </a:lnTo>
                    <a:lnTo>
                      <a:pt x="142550" y="0"/>
                    </a:lnTo>
                    <a:close/>
                  </a:path>
                </a:pathLst>
              </a:custGeom>
              <a:solidFill>
                <a:srgbClr val="9090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5" name="Freeform: Shape 3504">
                <a:extLst>
                  <a:ext uri="{FF2B5EF4-FFF2-40B4-BE49-F238E27FC236}">
                    <a16:creationId xmlns:a16="http://schemas.microsoft.com/office/drawing/2014/main" id="{D0D650E0-13DE-439C-8726-6ADB5095E7BF}"/>
                  </a:ext>
                </a:extLst>
              </p:cNvPr>
              <p:cNvSpPr/>
              <p:nvPr/>
            </p:nvSpPr>
            <p:spPr>
              <a:xfrm>
                <a:off x="4472309" y="4738810"/>
                <a:ext cx="64053" cy="37391"/>
              </a:xfrm>
              <a:custGeom>
                <a:avLst/>
                <a:gdLst>
                  <a:gd name="connsiteX0" fmla="*/ 0 w 64053"/>
                  <a:gd name="connsiteY0" fmla="*/ 14175 h 37391"/>
                  <a:gd name="connsiteX1" fmla="*/ 1381 w 64053"/>
                  <a:gd name="connsiteY1" fmla="*/ 14175 h 37391"/>
                  <a:gd name="connsiteX2" fmla="*/ 13187 w 64053"/>
                  <a:gd name="connsiteY2" fmla="*/ 3876 h 37391"/>
                  <a:gd name="connsiteX3" fmla="*/ 57899 w 64053"/>
                  <a:gd name="connsiteY3" fmla="*/ 7267 h 37391"/>
                  <a:gd name="connsiteX4" fmla="*/ 63300 w 64053"/>
                  <a:gd name="connsiteY4" fmla="*/ 14175 h 37391"/>
                  <a:gd name="connsiteX5" fmla="*/ 64053 w 64053"/>
                  <a:gd name="connsiteY5" fmla="*/ 14175 h 37391"/>
                  <a:gd name="connsiteX6" fmla="*/ 64053 w 64053"/>
                  <a:gd name="connsiteY6" fmla="*/ 18068 h 37391"/>
                  <a:gd name="connsiteX7" fmla="*/ 63928 w 64053"/>
                  <a:gd name="connsiteY7" fmla="*/ 18068 h 37391"/>
                  <a:gd name="connsiteX8" fmla="*/ 50866 w 64053"/>
                  <a:gd name="connsiteY8" fmla="*/ 33516 h 37391"/>
                  <a:gd name="connsiteX9" fmla="*/ 6154 w 64053"/>
                  <a:gd name="connsiteY9" fmla="*/ 30125 h 37391"/>
                  <a:gd name="connsiteX10" fmla="*/ 125 w 64053"/>
                  <a:gd name="connsiteY10" fmla="*/ 19701 h 37391"/>
                  <a:gd name="connsiteX11" fmla="*/ 0 w 64053"/>
                  <a:gd name="connsiteY11" fmla="*/ 18068 h 37391"/>
                  <a:gd name="connsiteX12" fmla="*/ 0 w 64053"/>
                  <a:gd name="connsiteY12" fmla="*/ 14175 h 37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053" h="37391">
                    <a:moveTo>
                      <a:pt x="0" y="14175"/>
                    </a:moveTo>
                    <a:lnTo>
                      <a:pt x="1381" y="14175"/>
                    </a:lnTo>
                    <a:cubicBezTo>
                      <a:pt x="3265" y="10281"/>
                      <a:pt x="7159" y="6639"/>
                      <a:pt x="13187" y="3876"/>
                    </a:cubicBezTo>
                    <a:cubicBezTo>
                      <a:pt x="27505" y="-2404"/>
                      <a:pt x="47475" y="-897"/>
                      <a:pt x="57899" y="7267"/>
                    </a:cubicBezTo>
                    <a:cubicBezTo>
                      <a:pt x="60536" y="9402"/>
                      <a:pt x="62295" y="11788"/>
                      <a:pt x="63300" y="14175"/>
                    </a:cubicBezTo>
                    <a:lnTo>
                      <a:pt x="64053" y="14175"/>
                    </a:lnTo>
                    <a:lnTo>
                      <a:pt x="64053" y="18068"/>
                    </a:lnTo>
                    <a:lnTo>
                      <a:pt x="63928" y="18068"/>
                    </a:lnTo>
                    <a:cubicBezTo>
                      <a:pt x="63928" y="23845"/>
                      <a:pt x="59532" y="29748"/>
                      <a:pt x="50866" y="33516"/>
                    </a:cubicBezTo>
                    <a:cubicBezTo>
                      <a:pt x="36548" y="39796"/>
                      <a:pt x="16578" y="38289"/>
                      <a:pt x="6154" y="30125"/>
                    </a:cubicBezTo>
                    <a:cubicBezTo>
                      <a:pt x="2135" y="26985"/>
                      <a:pt x="251" y="23343"/>
                      <a:pt x="125" y="19701"/>
                    </a:cubicBezTo>
                    <a:cubicBezTo>
                      <a:pt x="125" y="19198"/>
                      <a:pt x="0" y="18068"/>
                      <a:pt x="0" y="18068"/>
                    </a:cubicBezTo>
                    <a:lnTo>
                      <a:pt x="0" y="14175"/>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6" name="Freeform: Shape 3505">
                <a:extLst>
                  <a:ext uri="{FF2B5EF4-FFF2-40B4-BE49-F238E27FC236}">
                    <a16:creationId xmlns:a16="http://schemas.microsoft.com/office/drawing/2014/main" id="{13AADEFE-616C-4FFC-92F7-AA36E313116A}"/>
                  </a:ext>
                </a:extLst>
              </p:cNvPr>
              <p:cNvSpPr/>
              <p:nvPr/>
            </p:nvSpPr>
            <p:spPr>
              <a:xfrm>
                <a:off x="4472311" y="4733409"/>
                <a:ext cx="64047" cy="37391"/>
              </a:xfrm>
              <a:custGeom>
                <a:avLst/>
                <a:gdLst>
                  <a:gd name="connsiteX0" fmla="*/ 6151 w 64047"/>
                  <a:gd name="connsiteY0" fmla="*/ 30125 h 37391"/>
                  <a:gd name="connsiteX1" fmla="*/ 13184 w 64047"/>
                  <a:gd name="connsiteY1" fmla="*/ 3876 h 37391"/>
                  <a:gd name="connsiteX2" fmla="*/ 57896 w 64047"/>
                  <a:gd name="connsiteY2" fmla="*/ 7267 h 37391"/>
                  <a:gd name="connsiteX3" fmla="*/ 50863 w 64047"/>
                  <a:gd name="connsiteY3" fmla="*/ 33516 h 37391"/>
                  <a:gd name="connsiteX4" fmla="*/ 6151 w 64047"/>
                  <a:gd name="connsiteY4" fmla="*/ 30125 h 3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47" h="37391">
                    <a:moveTo>
                      <a:pt x="6151" y="30125"/>
                    </a:moveTo>
                    <a:cubicBezTo>
                      <a:pt x="-4273" y="21961"/>
                      <a:pt x="-1133" y="10281"/>
                      <a:pt x="13184" y="3876"/>
                    </a:cubicBezTo>
                    <a:cubicBezTo>
                      <a:pt x="27502" y="-2404"/>
                      <a:pt x="47472" y="-897"/>
                      <a:pt x="57896" y="7267"/>
                    </a:cubicBezTo>
                    <a:cubicBezTo>
                      <a:pt x="68321" y="15430"/>
                      <a:pt x="65181" y="27111"/>
                      <a:pt x="50863" y="33516"/>
                    </a:cubicBezTo>
                    <a:cubicBezTo>
                      <a:pt x="36545" y="39796"/>
                      <a:pt x="16575" y="38289"/>
                      <a:pt x="6151" y="30125"/>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7" name="Freeform: Shape 3506">
                <a:extLst>
                  <a:ext uri="{FF2B5EF4-FFF2-40B4-BE49-F238E27FC236}">
                    <a16:creationId xmlns:a16="http://schemas.microsoft.com/office/drawing/2014/main" id="{33FCDCEC-6520-4A4E-A733-E0FB952FFC1B}"/>
                  </a:ext>
                </a:extLst>
              </p:cNvPr>
              <p:cNvSpPr/>
              <p:nvPr/>
            </p:nvSpPr>
            <p:spPr>
              <a:xfrm>
                <a:off x="4491901" y="4678381"/>
                <a:ext cx="24905" cy="81259"/>
              </a:xfrm>
              <a:custGeom>
                <a:avLst/>
                <a:gdLst>
                  <a:gd name="connsiteX0" fmla="*/ 0 w 24905"/>
                  <a:gd name="connsiteY0" fmla="*/ 0 h 81259"/>
                  <a:gd name="connsiteX1" fmla="*/ 0 w 24905"/>
                  <a:gd name="connsiteY1" fmla="*/ 73849 h 81259"/>
                  <a:gd name="connsiteX2" fmla="*/ 125 w 24905"/>
                  <a:gd name="connsiteY2" fmla="*/ 73849 h 81259"/>
                  <a:gd name="connsiteX3" fmla="*/ 2386 w 24905"/>
                  <a:gd name="connsiteY3" fmla="*/ 78371 h 81259"/>
                  <a:gd name="connsiteX4" fmla="*/ 8164 w 24905"/>
                  <a:gd name="connsiteY4" fmla="*/ 80757 h 81259"/>
                  <a:gd name="connsiteX5" fmla="*/ 13941 w 24905"/>
                  <a:gd name="connsiteY5" fmla="*/ 81134 h 81259"/>
                  <a:gd name="connsiteX6" fmla="*/ 19844 w 24905"/>
                  <a:gd name="connsiteY6" fmla="*/ 79752 h 81259"/>
                  <a:gd name="connsiteX7" fmla="*/ 21979 w 24905"/>
                  <a:gd name="connsiteY7" fmla="*/ 78622 h 81259"/>
                  <a:gd name="connsiteX8" fmla="*/ 24868 w 24905"/>
                  <a:gd name="connsiteY8" fmla="*/ 73347 h 81259"/>
                  <a:gd name="connsiteX9" fmla="*/ 24868 w 24905"/>
                  <a:gd name="connsiteY9" fmla="*/ 251 h 81259"/>
                  <a:gd name="connsiteX10" fmla="*/ 0 w 24905"/>
                  <a:gd name="connsiteY10" fmla="*/ 251 h 8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05" h="81259">
                    <a:moveTo>
                      <a:pt x="0" y="0"/>
                    </a:moveTo>
                    <a:lnTo>
                      <a:pt x="0" y="73849"/>
                    </a:lnTo>
                    <a:lnTo>
                      <a:pt x="125" y="73849"/>
                    </a:lnTo>
                    <a:cubicBezTo>
                      <a:pt x="0" y="75357"/>
                      <a:pt x="754" y="76989"/>
                      <a:pt x="2386" y="78371"/>
                    </a:cubicBezTo>
                    <a:cubicBezTo>
                      <a:pt x="3893" y="79501"/>
                      <a:pt x="5903" y="80381"/>
                      <a:pt x="8164" y="80757"/>
                    </a:cubicBezTo>
                    <a:cubicBezTo>
                      <a:pt x="9922" y="81260"/>
                      <a:pt x="11931" y="81385"/>
                      <a:pt x="13941" y="81134"/>
                    </a:cubicBezTo>
                    <a:cubicBezTo>
                      <a:pt x="16076" y="81008"/>
                      <a:pt x="18086" y="80506"/>
                      <a:pt x="19844" y="79752"/>
                    </a:cubicBezTo>
                    <a:cubicBezTo>
                      <a:pt x="20723" y="79376"/>
                      <a:pt x="21351" y="78999"/>
                      <a:pt x="21979" y="78622"/>
                    </a:cubicBezTo>
                    <a:cubicBezTo>
                      <a:pt x="24114" y="77115"/>
                      <a:pt x="25119" y="75231"/>
                      <a:pt x="24868" y="73347"/>
                    </a:cubicBezTo>
                    <a:lnTo>
                      <a:pt x="24868" y="251"/>
                    </a:lnTo>
                    <a:lnTo>
                      <a:pt x="0" y="251"/>
                    </a:ln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8" name="Freeform: Shape 3507">
                <a:extLst>
                  <a:ext uri="{FF2B5EF4-FFF2-40B4-BE49-F238E27FC236}">
                    <a16:creationId xmlns:a16="http://schemas.microsoft.com/office/drawing/2014/main" id="{38FD2E45-8593-48A1-9B58-7C2FCA3B0282}"/>
                  </a:ext>
                </a:extLst>
              </p:cNvPr>
              <p:cNvSpPr/>
              <p:nvPr/>
            </p:nvSpPr>
            <p:spPr>
              <a:xfrm>
                <a:off x="4505717" y="4665194"/>
                <a:ext cx="8037" cy="94070"/>
              </a:xfrm>
              <a:custGeom>
                <a:avLst/>
                <a:gdLst>
                  <a:gd name="connsiteX0" fmla="*/ 0 w 8037"/>
                  <a:gd name="connsiteY0" fmla="*/ 0 h 94070"/>
                  <a:gd name="connsiteX1" fmla="*/ 0 w 8037"/>
                  <a:gd name="connsiteY1" fmla="*/ 94071 h 94070"/>
                  <a:gd name="connsiteX2" fmla="*/ 5903 w 8037"/>
                  <a:gd name="connsiteY2" fmla="*/ 92689 h 94070"/>
                  <a:gd name="connsiteX3" fmla="*/ 8038 w 8037"/>
                  <a:gd name="connsiteY3" fmla="*/ 91559 h 94070"/>
                  <a:gd name="connsiteX4" fmla="*/ 8038 w 8037"/>
                  <a:gd name="connsiteY4" fmla="*/ 0 h 94070"/>
                  <a:gd name="connsiteX5" fmla="*/ 0 w 8037"/>
                  <a:gd name="connsiteY5" fmla="*/ 0 h 9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37" h="94070">
                    <a:moveTo>
                      <a:pt x="0" y="0"/>
                    </a:moveTo>
                    <a:lnTo>
                      <a:pt x="0" y="94071"/>
                    </a:lnTo>
                    <a:cubicBezTo>
                      <a:pt x="2135" y="93945"/>
                      <a:pt x="4144" y="93443"/>
                      <a:pt x="5903" y="92689"/>
                    </a:cubicBezTo>
                    <a:cubicBezTo>
                      <a:pt x="6782" y="92312"/>
                      <a:pt x="7410" y="91935"/>
                      <a:pt x="8038" y="91559"/>
                    </a:cubicBezTo>
                    <a:lnTo>
                      <a:pt x="8038" y="0"/>
                    </a:lnTo>
                    <a:lnTo>
                      <a:pt x="0" y="0"/>
                    </a:ln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9" name="Freeform: Shape 3508">
                <a:extLst>
                  <a:ext uri="{FF2B5EF4-FFF2-40B4-BE49-F238E27FC236}">
                    <a16:creationId xmlns:a16="http://schemas.microsoft.com/office/drawing/2014/main" id="{C416CBCF-E418-478B-AEE6-D2736A5269FA}"/>
                  </a:ext>
                </a:extLst>
              </p:cNvPr>
              <p:cNvSpPr/>
              <p:nvPr/>
            </p:nvSpPr>
            <p:spPr>
              <a:xfrm>
                <a:off x="4491901" y="4662305"/>
                <a:ext cx="8163" cy="96707"/>
              </a:xfrm>
              <a:custGeom>
                <a:avLst/>
                <a:gdLst>
                  <a:gd name="connsiteX0" fmla="*/ 0 w 8163"/>
                  <a:gd name="connsiteY0" fmla="*/ 0 h 96707"/>
                  <a:gd name="connsiteX1" fmla="*/ 0 w 8163"/>
                  <a:gd name="connsiteY1" fmla="*/ 89800 h 96707"/>
                  <a:gd name="connsiteX2" fmla="*/ 125 w 8163"/>
                  <a:gd name="connsiteY2" fmla="*/ 89800 h 96707"/>
                  <a:gd name="connsiteX3" fmla="*/ 2386 w 8163"/>
                  <a:gd name="connsiteY3" fmla="*/ 94321 h 96707"/>
                  <a:gd name="connsiteX4" fmla="*/ 8164 w 8163"/>
                  <a:gd name="connsiteY4" fmla="*/ 96708 h 96707"/>
                  <a:gd name="connsiteX5" fmla="*/ 8164 w 8163"/>
                  <a:gd name="connsiteY5" fmla="*/ 0 h 96707"/>
                  <a:gd name="connsiteX6" fmla="*/ 0 w 8163"/>
                  <a:gd name="connsiteY6" fmla="*/ 0 h 9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63" h="96707">
                    <a:moveTo>
                      <a:pt x="0" y="0"/>
                    </a:moveTo>
                    <a:lnTo>
                      <a:pt x="0" y="89800"/>
                    </a:lnTo>
                    <a:lnTo>
                      <a:pt x="125" y="89800"/>
                    </a:lnTo>
                    <a:cubicBezTo>
                      <a:pt x="0" y="91307"/>
                      <a:pt x="754" y="92940"/>
                      <a:pt x="2386" y="94321"/>
                    </a:cubicBezTo>
                    <a:cubicBezTo>
                      <a:pt x="3893" y="95452"/>
                      <a:pt x="5903" y="96331"/>
                      <a:pt x="8164" y="96708"/>
                    </a:cubicBezTo>
                    <a:lnTo>
                      <a:pt x="8164" y="0"/>
                    </a:lnTo>
                    <a:lnTo>
                      <a:pt x="0" y="0"/>
                    </a:ln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0" name="Freeform: Shape 3509">
                <a:extLst>
                  <a:ext uri="{FF2B5EF4-FFF2-40B4-BE49-F238E27FC236}">
                    <a16:creationId xmlns:a16="http://schemas.microsoft.com/office/drawing/2014/main" id="{2CA49F99-7160-4DE0-8808-DCF04A4B8B5C}"/>
                  </a:ext>
                </a:extLst>
              </p:cNvPr>
              <p:cNvSpPr/>
              <p:nvPr/>
            </p:nvSpPr>
            <p:spPr>
              <a:xfrm>
                <a:off x="4400845" y="4622408"/>
                <a:ext cx="182489" cy="97545"/>
              </a:xfrm>
              <a:custGeom>
                <a:avLst/>
                <a:gdLst>
                  <a:gd name="connsiteX0" fmla="*/ 76990 w 182489"/>
                  <a:gd name="connsiteY0" fmla="*/ 84 h 97545"/>
                  <a:gd name="connsiteX1" fmla="*/ 88042 w 182489"/>
                  <a:gd name="connsiteY1" fmla="*/ 2344 h 97545"/>
                  <a:gd name="connsiteX2" fmla="*/ 164153 w 182489"/>
                  <a:gd name="connsiteY2" fmla="*/ 46428 h 97545"/>
                  <a:gd name="connsiteX3" fmla="*/ 164655 w 182489"/>
                  <a:gd name="connsiteY3" fmla="*/ 46177 h 97545"/>
                  <a:gd name="connsiteX4" fmla="*/ 168046 w 182489"/>
                  <a:gd name="connsiteY4" fmla="*/ 44293 h 97545"/>
                  <a:gd name="connsiteX5" fmla="*/ 178596 w 182489"/>
                  <a:gd name="connsiteY5" fmla="*/ 46177 h 97545"/>
                  <a:gd name="connsiteX6" fmla="*/ 178721 w 182489"/>
                  <a:gd name="connsiteY6" fmla="*/ 46177 h 97545"/>
                  <a:gd name="connsiteX7" fmla="*/ 182489 w 182489"/>
                  <a:gd name="connsiteY7" fmla="*/ 51452 h 97545"/>
                  <a:gd name="connsiteX8" fmla="*/ 177842 w 182489"/>
                  <a:gd name="connsiteY8" fmla="*/ 54215 h 97545"/>
                  <a:gd name="connsiteX9" fmla="*/ 177717 w 182489"/>
                  <a:gd name="connsiteY9" fmla="*/ 54215 h 97545"/>
                  <a:gd name="connsiteX10" fmla="*/ 177466 w 182489"/>
                  <a:gd name="connsiteY10" fmla="*/ 54466 h 97545"/>
                  <a:gd name="connsiteX11" fmla="*/ 176461 w 182489"/>
                  <a:gd name="connsiteY11" fmla="*/ 53587 h 97545"/>
                  <a:gd name="connsiteX12" fmla="*/ 168423 w 182489"/>
                  <a:gd name="connsiteY12" fmla="*/ 52708 h 97545"/>
                  <a:gd name="connsiteX13" fmla="*/ 167794 w 182489"/>
                  <a:gd name="connsiteY13" fmla="*/ 52959 h 97545"/>
                  <a:gd name="connsiteX14" fmla="*/ 164906 w 182489"/>
                  <a:gd name="connsiteY14" fmla="*/ 54592 h 97545"/>
                  <a:gd name="connsiteX15" fmla="*/ 90428 w 182489"/>
                  <a:gd name="connsiteY15" fmla="*/ 97545 h 97545"/>
                  <a:gd name="connsiteX16" fmla="*/ 84902 w 182489"/>
                  <a:gd name="connsiteY16" fmla="*/ 94406 h 97545"/>
                  <a:gd name="connsiteX17" fmla="*/ 0 w 182489"/>
                  <a:gd name="connsiteY17" fmla="*/ 44670 h 97545"/>
                  <a:gd name="connsiteX18" fmla="*/ 0 w 182489"/>
                  <a:gd name="connsiteY18" fmla="*/ 36129 h 97545"/>
                  <a:gd name="connsiteX19" fmla="*/ 76990 w 182489"/>
                  <a:gd name="connsiteY19" fmla="*/ 84 h 9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489" h="97545">
                    <a:moveTo>
                      <a:pt x="76990" y="84"/>
                    </a:moveTo>
                    <a:cubicBezTo>
                      <a:pt x="76990" y="84"/>
                      <a:pt x="83772" y="-670"/>
                      <a:pt x="88042" y="2344"/>
                    </a:cubicBezTo>
                    <a:lnTo>
                      <a:pt x="164153" y="46428"/>
                    </a:lnTo>
                    <a:lnTo>
                      <a:pt x="164655" y="46177"/>
                    </a:lnTo>
                    <a:lnTo>
                      <a:pt x="168046" y="44293"/>
                    </a:lnTo>
                    <a:cubicBezTo>
                      <a:pt x="168046" y="44293"/>
                      <a:pt x="174326" y="43539"/>
                      <a:pt x="178596" y="46177"/>
                    </a:cubicBezTo>
                    <a:lnTo>
                      <a:pt x="178721" y="46177"/>
                    </a:lnTo>
                    <a:cubicBezTo>
                      <a:pt x="180480" y="47307"/>
                      <a:pt x="181861" y="48940"/>
                      <a:pt x="182489" y="51452"/>
                    </a:cubicBezTo>
                    <a:lnTo>
                      <a:pt x="177842" y="54215"/>
                    </a:lnTo>
                    <a:cubicBezTo>
                      <a:pt x="177842" y="54215"/>
                      <a:pt x="178093" y="54341"/>
                      <a:pt x="177717" y="54215"/>
                    </a:cubicBezTo>
                    <a:lnTo>
                      <a:pt x="177466" y="54466"/>
                    </a:lnTo>
                    <a:cubicBezTo>
                      <a:pt x="177466" y="54466"/>
                      <a:pt x="176963" y="54089"/>
                      <a:pt x="176461" y="53587"/>
                    </a:cubicBezTo>
                    <a:cubicBezTo>
                      <a:pt x="172944" y="52457"/>
                      <a:pt x="169302" y="52708"/>
                      <a:pt x="168423" y="52708"/>
                    </a:cubicBezTo>
                    <a:cubicBezTo>
                      <a:pt x="168171" y="52834"/>
                      <a:pt x="167920" y="52959"/>
                      <a:pt x="167794" y="52959"/>
                    </a:cubicBezTo>
                    <a:lnTo>
                      <a:pt x="164906" y="54592"/>
                    </a:lnTo>
                    <a:lnTo>
                      <a:pt x="90428" y="97545"/>
                    </a:lnTo>
                    <a:lnTo>
                      <a:pt x="84902" y="94406"/>
                    </a:lnTo>
                    <a:lnTo>
                      <a:pt x="0" y="44670"/>
                    </a:lnTo>
                    <a:lnTo>
                      <a:pt x="0" y="36129"/>
                    </a:lnTo>
                    <a:lnTo>
                      <a:pt x="76990" y="84"/>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1" name="Freeform: Shape 3510">
                <a:extLst>
                  <a:ext uri="{FF2B5EF4-FFF2-40B4-BE49-F238E27FC236}">
                    <a16:creationId xmlns:a16="http://schemas.microsoft.com/office/drawing/2014/main" id="{EC69592F-A8B5-4579-9F6E-9636F8556B45}"/>
                  </a:ext>
                </a:extLst>
              </p:cNvPr>
              <p:cNvSpPr/>
              <p:nvPr/>
            </p:nvSpPr>
            <p:spPr>
              <a:xfrm>
                <a:off x="4400594" y="4613867"/>
                <a:ext cx="178847" cy="97796"/>
              </a:xfrm>
              <a:custGeom>
                <a:avLst/>
                <a:gdLst>
                  <a:gd name="connsiteX0" fmla="*/ 0 w 178847"/>
                  <a:gd name="connsiteY0" fmla="*/ 44921 h 97796"/>
                  <a:gd name="connsiteX1" fmla="*/ 90428 w 178847"/>
                  <a:gd name="connsiteY1" fmla="*/ 97796 h 97796"/>
                  <a:gd name="connsiteX2" fmla="*/ 164906 w 178847"/>
                  <a:gd name="connsiteY2" fmla="*/ 54843 h 97796"/>
                  <a:gd name="connsiteX3" fmla="*/ 168297 w 178847"/>
                  <a:gd name="connsiteY3" fmla="*/ 52959 h 97796"/>
                  <a:gd name="connsiteX4" fmla="*/ 178847 w 178847"/>
                  <a:gd name="connsiteY4" fmla="*/ 54843 h 97796"/>
                  <a:gd name="connsiteX5" fmla="*/ 88419 w 178847"/>
                  <a:gd name="connsiteY5" fmla="*/ 2344 h 97796"/>
                  <a:gd name="connsiteX6" fmla="*/ 77366 w 178847"/>
                  <a:gd name="connsiteY6" fmla="*/ 84 h 97796"/>
                  <a:gd name="connsiteX7" fmla="*/ 8415 w 178847"/>
                  <a:gd name="connsiteY7" fmla="*/ 40148 h 97796"/>
                  <a:gd name="connsiteX8" fmla="*/ 0 w 178847"/>
                  <a:gd name="connsiteY8" fmla="*/ 44921 h 9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847" h="97796">
                    <a:moveTo>
                      <a:pt x="0" y="44921"/>
                    </a:moveTo>
                    <a:lnTo>
                      <a:pt x="90428" y="97796"/>
                    </a:lnTo>
                    <a:lnTo>
                      <a:pt x="164906" y="54843"/>
                    </a:lnTo>
                    <a:lnTo>
                      <a:pt x="168297" y="52959"/>
                    </a:lnTo>
                    <a:cubicBezTo>
                      <a:pt x="168297" y="52959"/>
                      <a:pt x="174577" y="52205"/>
                      <a:pt x="178847" y="54843"/>
                    </a:cubicBezTo>
                    <a:lnTo>
                      <a:pt x="88419" y="2344"/>
                    </a:lnTo>
                    <a:cubicBezTo>
                      <a:pt x="84149" y="-670"/>
                      <a:pt x="77366" y="84"/>
                      <a:pt x="77366" y="84"/>
                    </a:cubicBezTo>
                    <a:lnTo>
                      <a:pt x="8415" y="40148"/>
                    </a:lnTo>
                    <a:lnTo>
                      <a:pt x="0" y="44921"/>
                    </a:lnTo>
                    <a:close/>
                  </a:path>
                </a:pathLst>
              </a:custGeom>
              <a:solidFill>
                <a:srgbClr val="4B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2" name="Freeform: Shape 3511">
                <a:extLst>
                  <a:ext uri="{FF2B5EF4-FFF2-40B4-BE49-F238E27FC236}">
                    <a16:creationId xmlns:a16="http://schemas.microsoft.com/office/drawing/2014/main" id="{E506DCEF-718C-457F-851D-61FC16AD54CD}"/>
                  </a:ext>
                </a:extLst>
              </p:cNvPr>
              <p:cNvSpPr/>
              <p:nvPr/>
            </p:nvSpPr>
            <p:spPr>
              <a:xfrm>
                <a:off x="4491148" y="4666601"/>
                <a:ext cx="92060" cy="53352"/>
              </a:xfrm>
              <a:custGeom>
                <a:avLst/>
                <a:gdLst>
                  <a:gd name="connsiteX0" fmla="*/ 73598 w 92060"/>
                  <a:gd name="connsiteY0" fmla="*/ 2109 h 53352"/>
                  <a:gd name="connsiteX1" fmla="*/ 77618 w 92060"/>
                  <a:gd name="connsiteY1" fmla="*/ 100 h 53352"/>
                  <a:gd name="connsiteX2" fmla="*/ 88167 w 92060"/>
                  <a:gd name="connsiteY2" fmla="*/ 1984 h 53352"/>
                  <a:gd name="connsiteX3" fmla="*/ 88293 w 92060"/>
                  <a:gd name="connsiteY3" fmla="*/ 1984 h 53352"/>
                  <a:gd name="connsiteX4" fmla="*/ 92061 w 92060"/>
                  <a:gd name="connsiteY4" fmla="*/ 7259 h 53352"/>
                  <a:gd name="connsiteX5" fmla="*/ 87414 w 92060"/>
                  <a:gd name="connsiteY5" fmla="*/ 10022 h 53352"/>
                  <a:gd name="connsiteX6" fmla="*/ 87288 w 92060"/>
                  <a:gd name="connsiteY6" fmla="*/ 10022 h 53352"/>
                  <a:gd name="connsiteX7" fmla="*/ 87037 w 92060"/>
                  <a:gd name="connsiteY7" fmla="*/ 10273 h 53352"/>
                  <a:gd name="connsiteX8" fmla="*/ 86032 w 92060"/>
                  <a:gd name="connsiteY8" fmla="*/ 9394 h 53352"/>
                  <a:gd name="connsiteX9" fmla="*/ 77994 w 92060"/>
                  <a:gd name="connsiteY9" fmla="*/ 8515 h 53352"/>
                  <a:gd name="connsiteX10" fmla="*/ 77366 w 92060"/>
                  <a:gd name="connsiteY10" fmla="*/ 8766 h 53352"/>
                  <a:gd name="connsiteX11" fmla="*/ 74478 w 92060"/>
                  <a:gd name="connsiteY11" fmla="*/ 10398 h 53352"/>
                  <a:gd name="connsiteX12" fmla="*/ 0 w 92060"/>
                  <a:gd name="connsiteY12" fmla="*/ 53352 h 53352"/>
                  <a:gd name="connsiteX13" fmla="*/ 0 w 92060"/>
                  <a:gd name="connsiteY13" fmla="*/ 44811 h 53352"/>
                  <a:gd name="connsiteX14" fmla="*/ 73598 w 92060"/>
                  <a:gd name="connsiteY14" fmla="*/ 2109 h 5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060" h="53352">
                    <a:moveTo>
                      <a:pt x="73598" y="2109"/>
                    </a:moveTo>
                    <a:lnTo>
                      <a:pt x="77618" y="100"/>
                    </a:lnTo>
                    <a:cubicBezTo>
                      <a:pt x="77618" y="100"/>
                      <a:pt x="83897" y="-654"/>
                      <a:pt x="88167" y="1984"/>
                    </a:cubicBezTo>
                    <a:lnTo>
                      <a:pt x="88293" y="1984"/>
                    </a:lnTo>
                    <a:cubicBezTo>
                      <a:pt x="90051" y="3114"/>
                      <a:pt x="91433" y="4747"/>
                      <a:pt x="92061" y="7259"/>
                    </a:cubicBezTo>
                    <a:lnTo>
                      <a:pt x="87414" y="10022"/>
                    </a:lnTo>
                    <a:cubicBezTo>
                      <a:pt x="87414" y="10022"/>
                      <a:pt x="87665" y="10147"/>
                      <a:pt x="87288" y="10022"/>
                    </a:cubicBezTo>
                    <a:lnTo>
                      <a:pt x="87037" y="10273"/>
                    </a:lnTo>
                    <a:cubicBezTo>
                      <a:pt x="87037" y="10273"/>
                      <a:pt x="86535" y="9896"/>
                      <a:pt x="86032" y="9394"/>
                    </a:cubicBezTo>
                    <a:cubicBezTo>
                      <a:pt x="82516" y="8264"/>
                      <a:pt x="78874" y="8515"/>
                      <a:pt x="77994" y="8515"/>
                    </a:cubicBezTo>
                    <a:cubicBezTo>
                      <a:pt x="77743" y="8640"/>
                      <a:pt x="77492" y="8766"/>
                      <a:pt x="77366" y="8766"/>
                    </a:cubicBezTo>
                    <a:lnTo>
                      <a:pt x="74478" y="10398"/>
                    </a:lnTo>
                    <a:lnTo>
                      <a:pt x="0" y="53352"/>
                    </a:lnTo>
                    <a:lnTo>
                      <a:pt x="0" y="44811"/>
                    </a:lnTo>
                    <a:lnTo>
                      <a:pt x="73598" y="2109"/>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3" name="Freeform: Shape 3512">
                <a:extLst>
                  <a:ext uri="{FF2B5EF4-FFF2-40B4-BE49-F238E27FC236}">
                    <a16:creationId xmlns:a16="http://schemas.microsoft.com/office/drawing/2014/main" id="{BDB821A7-021B-40CB-980C-D204AADEF3C9}"/>
                  </a:ext>
                </a:extLst>
              </p:cNvPr>
              <p:cNvSpPr/>
              <p:nvPr/>
            </p:nvSpPr>
            <p:spPr>
              <a:xfrm>
                <a:off x="4428209" y="4611560"/>
                <a:ext cx="200652" cy="140525"/>
              </a:xfrm>
              <a:custGeom>
                <a:avLst/>
                <a:gdLst>
                  <a:gd name="connsiteX0" fmla="*/ 180621 w 200652"/>
                  <a:gd name="connsiteY0" fmla="*/ 2391 h 140525"/>
                  <a:gd name="connsiteX1" fmla="*/ 171829 w 200652"/>
                  <a:gd name="connsiteY1" fmla="*/ 1386 h 140525"/>
                  <a:gd name="connsiteX2" fmla="*/ 137542 w 200652"/>
                  <a:gd name="connsiteY2" fmla="*/ 7038 h 140525"/>
                  <a:gd name="connsiteX3" fmla="*/ 96096 w 200652"/>
                  <a:gd name="connsiteY3" fmla="*/ 13192 h 140525"/>
                  <a:gd name="connsiteX4" fmla="*/ 59422 w 200652"/>
                  <a:gd name="connsiteY4" fmla="*/ 5279 h 140525"/>
                  <a:gd name="connsiteX5" fmla="*/ 31163 w 200652"/>
                  <a:gd name="connsiteY5" fmla="*/ 256 h 140525"/>
                  <a:gd name="connsiteX6" fmla="*/ 11571 w 200652"/>
                  <a:gd name="connsiteY6" fmla="*/ 4526 h 140525"/>
                  <a:gd name="connsiteX7" fmla="*/ 16 w 200652"/>
                  <a:gd name="connsiteY7" fmla="*/ 19723 h 140525"/>
                  <a:gd name="connsiteX8" fmla="*/ 1900 w 200652"/>
                  <a:gd name="connsiteY8" fmla="*/ 37055 h 140525"/>
                  <a:gd name="connsiteX9" fmla="*/ 47616 w 200652"/>
                  <a:gd name="connsiteY9" fmla="*/ 75613 h 140525"/>
                  <a:gd name="connsiteX10" fmla="*/ 73991 w 200652"/>
                  <a:gd name="connsiteY10" fmla="*/ 82395 h 140525"/>
                  <a:gd name="connsiteX11" fmla="*/ 105641 w 200652"/>
                  <a:gd name="connsiteY11" fmla="*/ 70463 h 140525"/>
                  <a:gd name="connsiteX12" fmla="*/ 141938 w 200652"/>
                  <a:gd name="connsiteY12" fmla="*/ 54387 h 140525"/>
                  <a:gd name="connsiteX13" fmla="*/ 157009 w 200652"/>
                  <a:gd name="connsiteY13" fmla="*/ 50870 h 140525"/>
                  <a:gd name="connsiteX14" fmla="*/ 156632 w 200652"/>
                  <a:gd name="connsiteY14" fmla="*/ 68956 h 140525"/>
                  <a:gd name="connsiteX15" fmla="*/ 160149 w 200652"/>
                  <a:gd name="connsiteY15" fmla="*/ 103871 h 140525"/>
                  <a:gd name="connsiteX16" fmla="*/ 162033 w 200652"/>
                  <a:gd name="connsiteY16" fmla="*/ 132130 h 140525"/>
                  <a:gd name="connsiteX17" fmla="*/ 173336 w 200652"/>
                  <a:gd name="connsiteY17" fmla="*/ 139540 h 140525"/>
                  <a:gd name="connsiteX18" fmla="*/ 198832 w 200652"/>
                  <a:gd name="connsiteY18" fmla="*/ 133637 h 140525"/>
                  <a:gd name="connsiteX19" fmla="*/ 199837 w 200652"/>
                  <a:gd name="connsiteY19" fmla="*/ 120450 h 140525"/>
                  <a:gd name="connsiteX20" fmla="*/ 200214 w 200652"/>
                  <a:gd name="connsiteY20" fmla="*/ 99852 h 140525"/>
                  <a:gd name="connsiteX21" fmla="*/ 198707 w 200652"/>
                  <a:gd name="connsiteY21" fmla="*/ 29143 h 140525"/>
                  <a:gd name="connsiteX22" fmla="*/ 180621 w 200652"/>
                  <a:gd name="connsiteY22" fmla="*/ 2391 h 14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0652" h="140525">
                    <a:moveTo>
                      <a:pt x="180621" y="2391"/>
                    </a:moveTo>
                    <a:cubicBezTo>
                      <a:pt x="177481" y="1512"/>
                      <a:pt x="174467" y="1261"/>
                      <a:pt x="171829" y="1386"/>
                    </a:cubicBezTo>
                    <a:cubicBezTo>
                      <a:pt x="160777" y="2391"/>
                      <a:pt x="148343" y="4024"/>
                      <a:pt x="137542" y="7038"/>
                    </a:cubicBezTo>
                    <a:cubicBezTo>
                      <a:pt x="123978" y="10680"/>
                      <a:pt x="109911" y="11308"/>
                      <a:pt x="96096" y="13192"/>
                    </a:cubicBezTo>
                    <a:cubicBezTo>
                      <a:pt x="84164" y="14825"/>
                      <a:pt x="70977" y="8545"/>
                      <a:pt x="59422" y="5279"/>
                    </a:cubicBezTo>
                    <a:cubicBezTo>
                      <a:pt x="49751" y="2642"/>
                      <a:pt x="41085" y="-1000"/>
                      <a:pt x="31163" y="256"/>
                    </a:cubicBezTo>
                    <a:cubicBezTo>
                      <a:pt x="24507" y="1135"/>
                      <a:pt x="17725" y="1637"/>
                      <a:pt x="11571" y="4526"/>
                    </a:cubicBezTo>
                    <a:cubicBezTo>
                      <a:pt x="5542" y="7289"/>
                      <a:pt x="141" y="12941"/>
                      <a:pt x="16" y="19723"/>
                    </a:cubicBezTo>
                    <a:cubicBezTo>
                      <a:pt x="-110" y="24998"/>
                      <a:pt x="518" y="32031"/>
                      <a:pt x="1900" y="37055"/>
                    </a:cubicBezTo>
                    <a:cubicBezTo>
                      <a:pt x="7175" y="55517"/>
                      <a:pt x="31665" y="67951"/>
                      <a:pt x="47616" y="75613"/>
                    </a:cubicBezTo>
                    <a:cubicBezTo>
                      <a:pt x="55906" y="79632"/>
                      <a:pt x="64823" y="83399"/>
                      <a:pt x="73991" y="82395"/>
                    </a:cubicBezTo>
                    <a:cubicBezTo>
                      <a:pt x="85923" y="81139"/>
                      <a:pt x="94965" y="74733"/>
                      <a:pt x="105641" y="70463"/>
                    </a:cubicBezTo>
                    <a:cubicBezTo>
                      <a:pt x="117949" y="65565"/>
                      <a:pt x="130006" y="60290"/>
                      <a:pt x="141938" y="54387"/>
                    </a:cubicBezTo>
                    <a:cubicBezTo>
                      <a:pt x="145078" y="52880"/>
                      <a:pt x="154120" y="47228"/>
                      <a:pt x="157009" y="50870"/>
                    </a:cubicBezTo>
                    <a:cubicBezTo>
                      <a:pt x="158768" y="53131"/>
                      <a:pt x="156381" y="65691"/>
                      <a:pt x="156632" y="68956"/>
                    </a:cubicBezTo>
                    <a:cubicBezTo>
                      <a:pt x="157763" y="80636"/>
                      <a:pt x="158768" y="92191"/>
                      <a:pt x="160149" y="103871"/>
                    </a:cubicBezTo>
                    <a:cubicBezTo>
                      <a:pt x="161154" y="113040"/>
                      <a:pt x="158391" y="123339"/>
                      <a:pt x="162033" y="132130"/>
                    </a:cubicBezTo>
                    <a:cubicBezTo>
                      <a:pt x="163917" y="136652"/>
                      <a:pt x="168941" y="138285"/>
                      <a:pt x="173336" y="139540"/>
                    </a:cubicBezTo>
                    <a:cubicBezTo>
                      <a:pt x="182379" y="142303"/>
                      <a:pt x="191548" y="138912"/>
                      <a:pt x="198832" y="133637"/>
                    </a:cubicBezTo>
                    <a:cubicBezTo>
                      <a:pt x="202474" y="131000"/>
                      <a:pt x="199460" y="124092"/>
                      <a:pt x="199837" y="120450"/>
                    </a:cubicBezTo>
                    <a:cubicBezTo>
                      <a:pt x="200465" y="113668"/>
                      <a:pt x="200340" y="106760"/>
                      <a:pt x="200214" y="99852"/>
                    </a:cubicBezTo>
                    <a:cubicBezTo>
                      <a:pt x="199586" y="76241"/>
                      <a:pt x="198958" y="52629"/>
                      <a:pt x="198707" y="29143"/>
                    </a:cubicBezTo>
                    <a:cubicBezTo>
                      <a:pt x="198581" y="15578"/>
                      <a:pt x="194185" y="6033"/>
                      <a:pt x="180621" y="2391"/>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4" name="Freeform: Shape 3513">
                <a:extLst>
                  <a:ext uri="{FF2B5EF4-FFF2-40B4-BE49-F238E27FC236}">
                    <a16:creationId xmlns:a16="http://schemas.microsoft.com/office/drawing/2014/main" id="{B0025698-9FFF-4CCD-BE71-E66394C8CC86}"/>
                  </a:ext>
                </a:extLst>
              </p:cNvPr>
              <p:cNvSpPr/>
              <p:nvPr/>
            </p:nvSpPr>
            <p:spPr>
              <a:xfrm>
                <a:off x="4428297" y="4612318"/>
                <a:ext cx="169104" cy="137526"/>
              </a:xfrm>
              <a:custGeom>
                <a:avLst/>
                <a:gdLst>
                  <a:gd name="connsiteX0" fmla="*/ 11608 w 169104"/>
                  <a:gd name="connsiteY0" fmla="*/ 3768 h 137526"/>
                  <a:gd name="connsiteX1" fmla="*/ 27308 w 169104"/>
                  <a:gd name="connsiteY1" fmla="*/ 0 h 137526"/>
                  <a:gd name="connsiteX2" fmla="*/ 33462 w 169104"/>
                  <a:gd name="connsiteY2" fmla="*/ 11429 h 137526"/>
                  <a:gd name="connsiteX3" fmla="*/ 35974 w 169104"/>
                  <a:gd name="connsiteY3" fmla="*/ 28510 h 137526"/>
                  <a:gd name="connsiteX4" fmla="*/ 53557 w 169104"/>
                  <a:gd name="connsiteY4" fmla="*/ 57522 h 137526"/>
                  <a:gd name="connsiteX5" fmla="*/ 121253 w 169104"/>
                  <a:gd name="connsiteY5" fmla="*/ 55262 h 137526"/>
                  <a:gd name="connsiteX6" fmla="*/ 141725 w 169104"/>
                  <a:gd name="connsiteY6" fmla="*/ 43581 h 137526"/>
                  <a:gd name="connsiteX7" fmla="*/ 156922 w 169104"/>
                  <a:gd name="connsiteY7" fmla="*/ 42954 h 137526"/>
                  <a:gd name="connsiteX8" fmla="*/ 162448 w 169104"/>
                  <a:gd name="connsiteY8" fmla="*/ 46345 h 137526"/>
                  <a:gd name="connsiteX9" fmla="*/ 163076 w 169104"/>
                  <a:gd name="connsiteY9" fmla="*/ 50364 h 137526"/>
                  <a:gd name="connsiteX10" fmla="*/ 166718 w 169104"/>
                  <a:gd name="connsiteY10" fmla="*/ 116678 h 137526"/>
                  <a:gd name="connsiteX11" fmla="*/ 169104 w 169104"/>
                  <a:gd name="connsiteY11" fmla="*/ 137526 h 137526"/>
                  <a:gd name="connsiteX12" fmla="*/ 162071 w 169104"/>
                  <a:gd name="connsiteY12" fmla="*/ 131623 h 137526"/>
                  <a:gd name="connsiteX13" fmla="*/ 160187 w 169104"/>
                  <a:gd name="connsiteY13" fmla="*/ 103365 h 137526"/>
                  <a:gd name="connsiteX14" fmla="*/ 156671 w 169104"/>
                  <a:gd name="connsiteY14" fmla="*/ 68449 h 137526"/>
                  <a:gd name="connsiteX15" fmla="*/ 157047 w 169104"/>
                  <a:gd name="connsiteY15" fmla="*/ 50364 h 137526"/>
                  <a:gd name="connsiteX16" fmla="*/ 141976 w 169104"/>
                  <a:gd name="connsiteY16" fmla="*/ 53880 h 137526"/>
                  <a:gd name="connsiteX17" fmla="*/ 105679 w 169104"/>
                  <a:gd name="connsiteY17" fmla="*/ 69956 h 137526"/>
                  <a:gd name="connsiteX18" fmla="*/ 74029 w 169104"/>
                  <a:gd name="connsiteY18" fmla="*/ 81888 h 137526"/>
                  <a:gd name="connsiteX19" fmla="*/ 47654 w 169104"/>
                  <a:gd name="connsiteY19" fmla="*/ 75106 h 137526"/>
                  <a:gd name="connsiteX20" fmla="*/ 1938 w 169104"/>
                  <a:gd name="connsiteY20" fmla="*/ 36548 h 137526"/>
                  <a:gd name="connsiteX21" fmla="*/ 54 w 169104"/>
                  <a:gd name="connsiteY21" fmla="*/ 19216 h 137526"/>
                  <a:gd name="connsiteX22" fmla="*/ 11608 w 169104"/>
                  <a:gd name="connsiteY22" fmla="*/ 3768 h 137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9104" h="137526">
                    <a:moveTo>
                      <a:pt x="11608" y="3768"/>
                    </a:moveTo>
                    <a:cubicBezTo>
                      <a:pt x="16507" y="1507"/>
                      <a:pt x="21907" y="628"/>
                      <a:pt x="27308" y="0"/>
                    </a:cubicBezTo>
                    <a:cubicBezTo>
                      <a:pt x="30071" y="3266"/>
                      <a:pt x="32206" y="7159"/>
                      <a:pt x="33462" y="11429"/>
                    </a:cubicBezTo>
                    <a:cubicBezTo>
                      <a:pt x="34969" y="16955"/>
                      <a:pt x="34969" y="22858"/>
                      <a:pt x="35974" y="28510"/>
                    </a:cubicBezTo>
                    <a:cubicBezTo>
                      <a:pt x="37983" y="39939"/>
                      <a:pt x="44389" y="50489"/>
                      <a:pt x="53557" y="57522"/>
                    </a:cubicBezTo>
                    <a:cubicBezTo>
                      <a:pt x="73401" y="72719"/>
                      <a:pt x="101032" y="66942"/>
                      <a:pt x="121253" y="55262"/>
                    </a:cubicBezTo>
                    <a:cubicBezTo>
                      <a:pt x="128035" y="51368"/>
                      <a:pt x="134189" y="45968"/>
                      <a:pt x="141725" y="43581"/>
                    </a:cubicBezTo>
                    <a:cubicBezTo>
                      <a:pt x="146623" y="42074"/>
                      <a:pt x="151898" y="41823"/>
                      <a:pt x="156922" y="42954"/>
                    </a:cubicBezTo>
                    <a:cubicBezTo>
                      <a:pt x="159057" y="43456"/>
                      <a:pt x="161443" y="44335"/>
                      <a:pt x="162448" y="46345"/>
                    </a:cubicBezTo>
                    <a:cubicBezTo>
                      <a:pt x="163076" y="47601"/>
                      <a:pt x="163076" y="48982"/>
                      <a:pt x="163076" y="50364"/>
                    </a:cubicBezTo>
                    <a:cubicBezTo>
                      <a:pt x="163327" y="72468"/>
                      <a:pt x="164583" y="94573"/>
                      <a:pt x="166718" y="116678"/>
                    </a:cubicBezTo>
                    <a:cubicBezTo>
                      <a:pt x="167346" y="123711"/>
                      <a:pt x="168351" y="130619"/>
                      <a:pt x="169104" y="137526"/>
                    </a:cubicBezTo>
                    <a:cubicBezTo>
                      <a:pt x="166090" y="136270"/>
                      <a:pt x="163327" y="134638"/>
                      <a:pt x="162071" y="131623"/>
                    </a:cubicBezTo>
                    <a:cubicBezTo>
                      <a:pt x="158429" y="122832"/>
                      <a:pt x="161192" y="112533"/>
                      <a:pt x="160187" y="103365"/>
                    </a:cubicBezTo>
                    <a:cubicBezTo>
                      <a:pt x="158806" y="91684"/>
                      <a:pt x="157801" y="80130"/>
                      <a:pt x="156671" y="68449"/>
                    </a:cubicBezTo>
                    <a:cubicBezTo>
                      <a:pt x="156294" y="65058"/>
                      <a:pt x="158806" y="52499"/>
                      <a:pt x="157047" y="50364"/>
                    </a:cubicBezTo>
                    <a:cubicBezTo>
                      <a:pt x="154159" y="46721"/>
                      <a:pt x="144990" y="52373"/>
                      <a:pt x="141976" y="53880"/>
                    </a:cubicBezTo>
                    <a:cubicBezTo>
                      <a:pt x="130170" y="59783"/>
                      <a:pt x="117987" y="65058"/>
                      <a:pt x="105679" y="69956"/>
                    </a:cubicBezTo>
                    <a:cubicBezTo>
                      <a:pt x="95004" y="74227"/>
                      <a:pt x="85961" y="80632"/>
                      <a:pt x="74029" y="81888"/>
                    </a:cubicBezTo>
                    <a:cubicBezTo>
                      <a:pt x="64861" y="82893"/>
                      <a:pt x="55943" y="79125"/>
                      <a:pt x="47654" y="75106"/>
                    </a:cubicBezTo>
                    <a:cubicBezTo>
                      <a:pt x="31704" y="67444"/>
                      <a:pt x="7338" y="55011"/>
                      <a:pt x="1938" y="36548"/>
                    </a:cubicBezTo>
                    <a:cubicBezTo>
                      <a:pt x="431" y="31524"/>
                      <a:pt x="-198" y="24365"/>
                      <a:pt x="54" y="19216"/>
                    </a:cubicBezTo>
                    <a:cubicBezTo>
                      <a:pt x="305" y="12183"/>
                      <a:pt x="5580" y="6531"/>
                      <a:pt x="11608" y="3768"/>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5" name="Freeform: Shape 3514">
                <a:extLst>
                  <a:ext uri="{FF2B5EF4-FFF2-40B4-BE49-F238E27FC236}">
                    <a16:creationId xmlns:a16="http://schemas.microsoft.com/office/drawing/2014/main" id="{DA2E0C6C-C1CD-455F-85AA-2EC0CDB1E5F9}"/>
                  </a:ext>
                </a:extLst>
              </p:cNvPr>
              <p:cNvSpPr/>
              <p:nvPr/>
            </p:nvSpPr>
            <p:spPr>
              <a:xfrm>
                <a:off x="4429135" y="4458447"/>
                <a:ext cx="44717" cy="164467"/>
              </a:xfrm>
              <a:custGeom>
                <a:avLst/>
                <a:gdLst>
                  <a:gd name="connsiteX0" fmla="*/ 33502 w 44717"/>
                  <a:gd name="connsiteY0" fmla="*/ 1524 h 164467"/>
                  <a:gd name="connsiteX1" fmla="*/ 15417 w 44717"/>
                  <a:gd name="connsiteY1" fmla="*/ 3534 h 164467"/>
                  <a:gd name="connsiteX2" fmla="*/ 6751 w 44717"/>
                  <a:gd name="connsiteY2" fmla="*/ 18229 h 164467"/>
                  <a:gd name="connsiteX3" fmla="*/ 471 w 44717"/>
                  <a:gd name="connsiteY3" fmla="*/ 42719 h 164467"/>
                  <a:gd name="connsiteX4" fmla="*/ 13282 w 44717"/>
                  <a:gd name="connsiteY4" fmla="*/ 163165 h 164467"/>
                  <a:gd name="connsiteX5" fmla="*/ 44052 w 44717"/>
                  <a:gd name="connsiteY5" fmla="*/ 108029 h 164467"/>
                  <a:gd name="connsiteX6" fmla="*/ 30488 w 44717"/>
                  <a:gd name="connsiteY6" fmla="*/ 45482 h 164467"/>
                  <a:gd name="connsiteX7" fmla="*/ 33502 w 44717"/>
                  <a:gd name="connsiteY7" fmla="*/ 1524 h 16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17" h="164467">
                    <a:moveTo>
                      <a:pt x="33502" y="1524"/>
                    </a:moveTo>
                    <a:cubicBezTo>
                      <a:pt x="33502" y="1524"/>
                      <a:pt x="23078" y="-2997"/>
                      <a:pt x="15417" y="3534"/>
                    </a:cubicBezTo>
                    <a:cubicBezTo>
                      <a:pt x="10519" y="7678"/>
                      <a:pt x="8383" y="12200"/>
                      <a:pt x="6751" y="18229"/>
                    </a:cubicBezTo>
                    <a:cubicBezTo>
                      <a:pt x="4616" y="26392"/>
                      <a:pt x="1853" y="34305"/>
                      <a:pt x="471" y="42719"/>
                    </a:cubicBezTo>
                    <a:cubicBezTo>
                      <a:pt x="-2543" y="60177"/>
                      <a:pt x="9765" y="145833"/>
                      <a:pt x="13282" y="163165"/>
                    </a:cubicBezTo>
                    <a:cubicBezTo>
                      <a:pt x="15542" y="174217"/>
                      <a:pt x="42545" y="111420"/>
                      <a:pt x="44052" y="108029"/>
                    </a:cubicBezTo>
                    <a:cubicBezTo>
                      <a:pt x="48700" y="97604"/>
                      <a:pt x="27348" y="56409"/>
                      <a:pt x="30488" y="45482"/>
                    </a:cubicBezTo>
                    <a:cubicBezTo>
                      <a:pt x="32121" y="39705"/>
                      <a:pt x="43927" y="4538"/>
                      <a:pt x="33502" y="1524"/>
                    </a:cubicBezTo>
                    <a:close/>
                  </a:path>
                </a:pathLst>
              </a:custGeom>
              <a:solidFill>
                <a:srgbClr val="966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6" name="Freeform: Shape 3515">
                <a:extLst>
                  <a:ext uri="{FF2B5EF4-FFF2-40B4-BE49-F238E27FC236}">
                    <a16:creationId xmlns:a16="http://schemas.microsoft.com/office/drawing/2014/main" id="{C4BE652D-881C-4E7C-A7FB-54D4A388DB5F}"/>
                  </a:ext>
                </a:extLst>
              </p:cNvPr>
              <p:cNvSpPr/>
              <p:nvPr/>
            </p:nvSpPr>
            <p:spPr>
              <a:xfrm>
                <a:off x="4436263" y="4458447"/>
                <a:ext cx="29765" cy="16219"/>
              </a:xfrm>
              <a:custGeom>
                <a:avLst/>
                <a:gdLst>
                  <a:gd name="connsiteX0" fmla="*/ 0 w 29765"/>
                  <a:gd name="connsiteY0" fmla="*/ 16219 h 16219"/>
                  <a:gd name="connsiteX1" fmla="*/ 8164 w 29765"/>
                  <a:gd name="connsiteY1" fmla="*/ 3534 h 16219"/>
                  <a:gd name="connsiteX2" fmla="*/ 26249 w 29765"/>
                  <a:gd name="connsiteY2" fmla="*/ 1524 h 16219"/>
                  <a:gd name="connsiteX3" fmla="*/ 29766 w 29765"/>
                  <a:gd name="connsiteY3" fmla="*/ 10567 h 16219"/>
                  <a:gd name="connsiteX4" fmla="*/ 15448 w 29765"/>
                  <a:gd name="connsiteY4" fmla="*/ 9060 h 16219"/>
                  <a:gd name="connsiteX5" fmla="*/ 2009 w 29765"/>
                  <a:gd name="connsiteY5" fmla="*/ 14209 h 16219"/>
                  <a:gd name="connsiteX6" fmla="*/ 0 w 29765"/>
                  <a:gd name="connsiteY6" fmla="*/ 16219 h 1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5" h="16219">
                    <a:moveTo>
                      <a:pt x="0" y="16219"/>
                    </a:moveTo>
                    <a:cubicBezTo>
                      <a:pt x="1256" y="10944"/>
                      <a:pt x="3517" y="7553"/>
                      <a:pt x="8164" y="3534"/>
                    </a:cubicBezTo>
                    <a:cubicBezTo>
                      <a:pt x="15825" y="-2997"/>
                      <a:pt x="26249" y="1524"/>
                      <a:pt x="26249" y="1524"/>
                    </a:cubicBezTo>
                    <a:cubicBezTo>
                      <a:pt x="28636" y="2278"/>
                      <a:pt x="29640" y="5543"/>
                      <a:pt x="29766" y="10567"/>
                    </a:cubicBezTo>
                    <a:cubicBezTo>
                      <a:pt x="25119" y="11195"/>
                      <a:pt x="19718" y="9311"/>
                      <a:pt x="15448" y="9060"/>
                    </a:cubicBezTo>
                    <a:cubicBezTo>
                      <a:pt x="10424" y="8683"/>
                      <a:pt x="6028" y="11195"/>
                      <a:pt x="2009" y="14209"/>
                    </a:cubicBezTo>
                    <a:cubicBezTo>
                      <a:pt x="1381" y="14712"/>
                      <a:pt x="754" y="15466"/>
                      <a:pt x="0" y="16219"/>
                    </a:cubicBezTo>
                    <a:close/>
                  </a:path>
                </a:pathLst>
              </a:custGeom>
              <a:solidFill>
                <a:srgbClr val="966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7" name="Freeform: Shape 3516">
                <a:extLst>
                  <a:ext uri="{FF2B5EF4-FFF2-40B4-BE49-F238E27FC236}">
                    <a16:creationId xmlns:a16="http://schemas.microsoft.com/office/drawing/2014/main" id="{A0ECAED4-BB8C-45B2-8DBB-0F3A1E8F7582}"/>
                  </a:ext>
                </a:extLst>
              </p:cNvPr>
              <p:cNvSpPr/>
              <p:nvPr/>
            </p:nvSpPr>
            <p:spPr>
              <a:xfrm>
                <a:off x="4431718" y="4454822"/>
                <a:ext cx="104178" cy="207908"/>
              </a:xfrm>
              <a:custGeom>
                <a:avLst/>
                <a:gdLst>
                  <a:gd name="connsiteX0" fmla="*/ 53526 w 104178"/>
                  <a:gd name="connsiteY0" fmla="*/ 880 h 207908"/>
                  <a:gd name="connsiteX1" fmla="*/ 41092 w 104178"/>
                  <a:gd name="connsiteY1" fmla="*/ 754 h 207908"/>
                  <a:gd name="connsiteX2" fmla="*/ 14592 w 104178"/>
                  <a:gd name="connsiteY2" fmla="*/ 13063 h 207908"/>
                  <a:gd name="connsiteX3" fmla="*/ 3414 w 104178"/>
                  <a:gd name="connsiteY3" fmla="*/ 85907 h 207908"/>
                  <a:gd name="connsiteX4" fmla="*/ 6303 w 104178"/>
                  <a:gd name="connsiteY4" fmla="*/ 167921 h 207908"/>
                  <a:gd name="connsiteX5" fmla="*/ 5549 w 104178"/>
                  <a:gd name="connsiteY5" fmla="*/ 188393 h 207908"/>
                  <a:gd name="connsiteX6" fmla="*/ 31296 w 104178"/>
                  <a:gd name="connsiteY6" fmla="*/ 202962 h 207908"/>
                  <a:gd name="connsiteX7" fmla="*/ 84172 w 104178"/>
                  <a:gd name="connsiteY7" fmla="*/ 206604 h 207908"/>
                  <a:gd name="connsiteX8" fmla="*/ 86935 w 104178"/>
                  <a:gd name="connsiteY8" fmla="*/ 117306 h 207908"/>
                  <a:gd name="connsiteX9" fmla="*/ 93968 w 104178"/>
                  <a:gd name="connsiteY9" fmla="*/ 91057 h 207908"/>
                  <a:gd name="connsiteX10" fmla="*/ 103136 w 104178"/>
                  <a:gd name="connsiteY10" fmla="*/ 61291 h 207908"/>
                  <a:gd name="connsiteX11" fmla="*/ 99243 w 104178"/>
                  <a:gd name="connsiteY11" fmla="*/ 40568 h 207908"/>
                  <a:gd name="connsiteX12" fmla="*/ 83292 w 104178"/>
                  <a:gd name="connsiteY12" fmla="*/ 29013 h 207908"/>
                  <a:gd name="connsiteX13" fmla="*/ 69477 w 104178"/>
                  <a:gd name="connsiteY13" fmla="*/ 13565 h 207908"/>
                  <a:gd name="connsiteX14" fmla="*/ 53526 w 104178"/>
                  <a:gd name="connsiteY14" fmla="*/ 880 h 20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178" h="207908">
                    <a:moveTo>
                      <a:pt x="53526" y="880"/>
                    </a:moveTo>
                    <a:cubicBezTo>
                      <a:pt x="49633" y="-627"/>
                      <a:pt x="45111" y="126"/>
                      <a:pt x="41092" y="754"/>
                    </a:cubicBezTo>
                    <a:cubicBezTo>
                      <a:pt x="29789" y="2387"/>
                      <a:pt x="18611" y="7787"/>
                      <a:pt x="14592" y="13063"/>
                    </a:cubicBezTo>
                    <a:cubicBezTo>
                      <a:pt x="8061" y="21478"/>
                      <a:pt x="-6634" y="41196"/>
                      <a:pt x="3414" y="85907"/>
                    </a:cubicBezTo>
                    <a:cubicBezTo>
                      <a:pt x="12331" y="125972"/>
                      <a:pt x="6303" y="167921"/>
                      <a:pt x="6303" y="167921"/>
                    </a:cubicBezTo>
                    <a:cubicBezTo>
                      <a:pt x="5549" y="171312"/>
                      <a:pt x="4167" y="185253"/>
                      <a:pt x="5549" y="188393"/>
                    </a:cubicBezTo>
                    <a:cubicBezTo>
                      <a:pt x="9317" y="196808"/>
                      <a:pt x="22881" y="201329"/>
                      <a:pt x="31296" y="202962"/>
                    </a:cubicBezTo>
                    <a:cubicBezTo>
                      <a:pt x="61187" y="209116"/>
                      <a:pt x="80027" y="208488"/>
                      <a:pt x="84172" y="206604"/>
                    </a:cubicBezTo>
                    <a:cubicBezTo>
                      <a:pt x="84172" y="206604"/>
                      <a:pt x="83795" y="133885"/>
                      <a:pt x="86935" y="117306"/>
                    </a:cubicBezTo>
                    <a:cubicBezTo>
                      <a:pt x="88567" y="108389"/>
                      <a:pt x="91330" y="99723"/>
                      <a:pt x="93968" y="91057"/>
                    </a:cubicBezTo>
                    <a:cubicBezTo>
                      <a:pt x="96982" y="81260"/>
                      <a:pt x="101001" y="71213"/>
                      <a:pt x="103136" y="61291"/>
                    </a:cubicBezTo>
                    <a:cubicBezTo>
                      <a:pt x="104769" y="53881"/>
                      <a:pt x="105146" y="46345"/>
                      <a:pt x="99243" y="40568"/>
                    </a:cubicBezTo>
                    <a:cubicBezTo>
                      <a:pt x="94470" y="36046"/>
                      <a:pt x="88316" y="33283"/>
                      <a:pt x="83292" y="29013"/>
                    </a:cubicBezTo>
                    <a:cubicBezTo>
                      <a:pt x="78017" y="24492"/>
                      <a:pt x="74249" y="18463"/>
                      <a:pt x="69477" y="13565"/>
                    </a:cubicBezTo>
                    <a:cubicBezTo>
                      <a:pt x="65709" y="9420"/>
                      <a:pt x="58927" y="3015"/>
                      <a:pt x="53526" y="880"/>
                    </a:cubicBezTo>
                    <a:close/>
                  </a:path>
                </a:pathLst>
              </a:custGeom>
              <a:solidFill>
                <a:srgbClr val="966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8" name="Freeform: Shape 3517">
                <a:extLst>
                  <a:ext uri="{FF2B5EF4-FFF2-40B4-BE49-F238E27FC236}">
                    <a16:creationId xmlns:a16="http://schemas.microsoft.com/office/drawing/2014/main" id="{93586517-C042-41CA-BE73-69E1929FD617}"/>
                  </a:ext>
                </a:extLst>
              </p:cNvPr>
              <p:cNvSpPr/>
              <p:nvPr/>
            </p:nvSpPr>
            <p:spPr>
              <a:xfrm>
                <a:off x="4508229" y="4498906"/>
                <a:ext cx="8289" cy="6405"/>
              </a:xfrm>
              <a:custGeom>
                <a:avLst/>
                <a:gdLst>
                  <a:gd name="connsiteX0" fmla="*/ 7661 w 8289"/>
                  <a:gd name="connsiteY0" fmla="*/ 5275 h 6405"/>
                  <a:gd name="connsiteX1" fmla="*/ 8289 w 8289"/>
                  <a:gd name="connsiteY1" fmla="*/ 6405 h 6405"/>
                  <a:gd name="connsiteX2" fmla="*/ 0 w 8289"/>
                  <a:gd name="connsiteY2" fmla="*/ 0 h 6405"/>
                  <a:gd name="connsiteX3" fmla="*/ 4396 w 8289"/>
                  <a:gd name="connsiteY3" fmla="*/ 1758 h 6405"/>
                  <a:gd name="connsiteX4" fmla="*/ 7661 w 8289"/>
                  <a:gd name="connsiteY4" fmla="*/ 5275 h 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9" h="6405">
                    <a:moveTo>
                      <a:pt x="7661" y="5275"/>
                    </a:moveTo>
                    <a:cubicBezTo>
                      <a:pt x="7913" y="5652"/>
                      <a:pt x="8038" y="6029"/>
                      <a:pt x="8289" y="6405"/>
                    </a:cubicBezTo>
                    <a:lnTo>
                      <a:pt x="0" y="0"/>
                    </a:lnTo>
                    <a:cubicBezTo>
                      <a:pt x="1633" y="251"/>
                      <a:pt x="3140" y="879"/>
                      <a:pt x="4396" y="1758"/>
                    </a:cubicBezTo>
                    <a:cubicBezTo>
                      <a:pt x="5526" y="2889"/>
                      <a:pt x="6531" y="4019"/>
                      <a:pt x="7661" y="5275"/>
                    </a:cubicBez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9" name="Freeform: Shape 3518">
                <a:extLst>
                  <a:ext uri="{FF2B5EF4-FFF2-40B4-BE49-F238E27FC236}">
                    <a16:creationId xmlns:a16="http://schemas.microsoft.com/office/drawing/2014/main" id="{D962EF62-1B55-4149-9C29-35BD8748F563}"/>
                  </a:ext>
                </a:extLst>
              </p:cNvPr>
              <p:cNvSpPr/>
              <p:nvPr/>
            </p:nvSpPr>
            <p:spPr>
              <a:xfrm>
                <a:off x="4447817" y="4454822"/>
                <a:ext cx="88330" cy="207961"/>
              </a:xfrm>
              <a:custGeom>
                <a:avLst/>
                <a:gdLst>
                  <a:gd name="connsiteX0" fmla="*/ 24993 w 88330"/>
                  <a:gd name="connsiteY0" fmla="*/ 754 h 207961"/>
                  <a:gd name="connsiteX1" fmla="*/ 37427 w 88330"/>
                  <a:gd name="connsiteY1" fmla="*/ 880 h 207961"/>
                  <a:gd name="connsiteX2" fmla="*/ 53629 w 88330"/>
                  <a:gd name="connsiteY2" fmla="*/ 13565 h 207961"/>
                  <a:gd name="connsiteX3" fmla="*/ 67444 w 88330"/>
                  <a:gd name="connsiteY3" fmla="*/ 29013 h 207961"/>
                  <a:gd name="connsiteX4" fmla="*/ 83395 w 88330"/>
                  <a:gd name="connsiteY4" fmla="*/ 40568 h 207961"/>
                  <a:gd name="connsiteX5" fmla="*/ 87289 w 88330"/>
                  <a:gd name="connsiteY5" fmla="*/ 61291 h 207961"/>
                  <a:gd name="connsiteX6" fmla="*/ 80632 w 88330"/>
                  <a:gd name="connsiteY6" fmla="*/ 91183 h 207961"/>
                  <a:gd name="connsiteX7" fmla="*/ 78120 w 88330"/>
                  <a:gd name="connsiteY7" fmla="*/ 124339 h 207961"/>
                  <a:gd name="connsiteX8" fmla="*/ 82642 w 88330"/>
                  <a:gd name="connsiteY8" fmla="*/ 199696 h 207961"/>
                  <a:gd name="connsiteX9" fmla="*/ 59406 w 88330"/>
                  <a:gd name="connsiteY9" fmla="*/ 207860 h 207961"/>
                  <a:gd name="connsiteX10" fmla="*/ 61541 w 88330"/>
                  <a:gd name="connsiteY10" fmla="*/ 137778 h 207961"/>
                  <a:gd name="connsiteX11" fmla="*/ 61918 w 88330"/>
                  <a:gd name="connsiteY11" fmla="*/ 92564 h 207961"/>
                  <a:gd name="connsiteX12" fmla="*/ 65435 w 88330"/>
                  <a:gd name="connsiteY12" fmla="*/ 69580 h 207961"/>
                  <a:gd name="connsiteX13" fmla="*/ 69454 w 88330"/>
                  <a:gd name="connsiteY13" fmla="*/ 53378 h 207961"/>
                  <a:gd name="connsiteX14" fmla="*/ 68575 w 88330"/>
                  <a:gd name="connsiteY14" fmla="*/ 50490 h 207961"/>
                  <a:gd name="connsiteX15" fmla="*/ 69831 w 88330"/>
                  <a:gd name="connsiteY15" fmla="*/ 51495 h 207961"/>
                  <a:gd name="connsiteX16" fmla="*/ 67947 w 88330"/>
                  <a:gd name="connsiteY16" fmla="*/ 49359 h 207961"/>
                  <a:gd name="connsiteX17" fmla="*/ 64681 w 88330"/>
                  <a:gd name="connsiteY17" fmla="*/ 45843 h 207961"/>
                  <a:gd name="connsiteX18" fmla="*/ 0 w 88330"/>
                  <a:gd name="connsiteY18" fmla="*/ 11430 h 207961"/>
                  <a:gd name="connsiteX19" fmla="*/ 24993 w 88330"/>
                  <a:gd name="connsiteY19" fmla="*/ 754 h 207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330" h="207961">
                    <a:moveTo>
                      <a:pt x="24993" y="754"/>
                    </a:moveTo>
                    <a:cubicBezTo>
                      <a:pt x="29012" y="126"/>
                      <a:pt x="33534" y="-627"/>
                      <a:pt x="37427" y="880"/>
                    </a:cubicBezTo>
                    <a:cubicBezTo>
                      <a:pt x="42828" y="2889"/>
                      <a:pt x="49610" y="9420"/>
                      <a:pt x="53629" y="13565"/>
                    </a:cubicBezTo>
                    <a:cubicBezTo>
                      <a:pt x="58402" y="18589"/>
                      <a:pt x="62170" y="24492"/>
                      <a:pt x="67444" y="29013"/>
                    </a:cubicBezTo>
                    <a:cubicBezTo>
                      <a:pt x="72468" y="33283"/>
                      <a:pt x="78622" y="35921"/>
                      <a:pt x="83395" y="40568"/>
                    </a:cubicBezTo>
                    <a:cubicBezTo>
                      <a:pt x="89298" y="46219"/>
                      <a:pt x="88921" y="53755"/>
                      <a:pt x="87289" y="61291"/>
                    </a:cubicBezTo>
                    <a:cubicBezTo>
                      <a:pt x="85028" y="71338"/>
                      <a:pt x="83646" y="81386"/>
                      <a:pt x="80632" y="91183"/>
                    </a:cubicBezTo>
                    <a:cubicBezTo>
                      <a:pt x="77994" y="99849"/>
                      <a:pt x="79879" y="115422"/>
                      <a:pt x="78120" y="124339"/>
                    </a:cubicBezTo>
                    <a:cubicBezTo>
                      <a:pt x="74980" y="140793"/>
                      <a:pt x="82767" y="199320"/>
                      <a:pt x="82642" y="199696"/>
                    </a:cubicBezTo>
                    <a:cubicBezTo>
                      <a:pt x="80632" y="203715"/>
                      <a:pt x="72468" y="208739"/>
                      <a:pt x="59406" y="207860"/>
                    </a:cubicBezTo>
                    <a:cubicBezTo>
                      <a:pt x="59658" y="203841"/>
                      <a:pt x="62421" y="145440"/>
                      <a:pt x="61541" y="137778"/>
                    </a:cubicBezTo>
                    <a:cubicBezTo>
                      <a:pt x="59783" y="122707"/>
                      <a:pt x="60285" y="107635"/>
                      <a:pt x="61918" y="92564"/>
                    </a:cubicBezTo>
                    <a:cubicBezTo>
                      <a:pt x="62797" y="85029"/>
                      <a:pt x="63300" y="76865"/>
                      <a:pt x="65435" y="69580"/>
                    </a:cubicBezTo>
                    <a:cubicBezTo>
                      <a:pt x="67068" y="64180"/>
                      <a:pt x="70207" y="59281"/>
                      <a:pt x="69454" y="53378"/>
                    </a:cubicBezTo>
                    <a:cubicBezTo>
                      <a:pt x="69328" y="52374"/>
                      <a:pt x="69077" y="51369"/>
                      <a:pt x="68575" y="50490"/>
                    </a:cubicBezTo>
                    <a:lnTo>
                      <a:pt x="69831" y="51495"/>
                    </a:lnTo>
                    <a:cubicBezTo>
                      <a:pt x="69203" y="50741"/>
                      <a:pt x="68575" y="50113"/>
                      <a:pt x="67947" y="49359"/>
                    </a:cubicBezTo>
                    <a:cubicBezTo>
                      <a:pt x="67068" y="47978"/>
                      <a:pt x="65937" y="46722"/>
                      <a:pt x="64681" y="45843"/>
                    </a:cubicBezTo>
                    <a:cubicBezTo>
                      <a:pt x="47475" y="28511"/>
                      <a:pt x="23738" y="18966"/>
                      <a:pt x="0" y="11430"/>
                    </a:cubicBezTo>
                    <a:cubicBezTo>
                      <a:pt x="5024" y="6783"/>
                      <a:pt x="14946" y="2261"/>
                      <a:pt x="24993" y="754"/>
                    </a:cubicBezTo>
                    <a:close/>
                  </a:path>
                </a:pathLst>
              </a:custGeom>
              <a:solidFill>
                <a:srgbClr val="966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0" name="Freeform: Shape 3519">
                <a:extLst>
                  <a:ext uri="{FF2B5EF4-FFF2-40B4-BE49-F238E27FC236}">
                    <a16:creationId xmlns:a16="http://schemas.microsoft.com/office/drawing/2014/main" id="{9287E717-FB90-4D81-A6F2-AE4BB4255CBF}"/>
                  </a:ext>
                </a:extLst>
              </p:cNvPr>
              <p:cNvSpPr/>
              <p:nvPr/>
            </p:nvSpPr>
            <p:spPr>
              <a:xfrm>
                <a:off x="4462996" y="4454975"/>
                <a:ext cx="42671" cy="29362"/>
              </a:xfrm>
              <a:custGeom>
                <a:avLst/>
                <a:gdLst>
                  <a:gd name="connsiteX0" fmla="*/ 1777 w 42671"/>
                  <a:gd name="connsiteY0" fmla="*/ 21952 h 29362"/>
                  <a:gd name="connsiteX1" fmla="*/ 3409 w 42671"/>
                  <a:gd name="connsiteY1" fmla="*/ 23333 h 29362"/>
                  <a:gd name="connsiteX2" fmla="*/ 9438 w 42671"/>
                  <a:gd name="connsiteY2" fmla="*/ 26850 h 29362"/>
                  <a:gd name="connsiteX3" fmla="*/ 14964 w 42671"/>
                  <a:gd name="connsiteY3" fmla="*/ 27855 h 29362"/>
                  <a:gd name="connsiteX4" fmla="*/ 30663 w 42671"/>
                  <a:gd name="connsiteY4" fmla="*/ 28232 h 29362"/>
                  <a:gd name="connsiteX5" fmla="*/ 40711 w 42671"/>
                  <a:gd name="connsiteY5" fmla="*/ 20194 h 29362"/>
                  <a:gd name="connsiteX6" fmla="*/ 42595 w 42671"/>
                  <a:gd name="connsiteY6" fmla="*/ 18310 h 29362"/>
                  <a:gd name="connsiteX7" fmla="*/ 29030 w 42671"/>
                  <a:gd name="connsiteY7" fmla="*/ 2485 h 29362"/>
                  <a:gd name="connsiteX8" fmla="*/ 9814 w 42671"/>
                  <a:gd name="connsiteY8" fmla="*/ 601 h 29362"/>
                  <a:gd name="connsiteX9" fmla="*/ 4540 w 42671"/>
                  <a:gd name="connsiteY9" fmla="*/ 9644 h 29362"/>
                  <a:gd name="connsiteX10" fmla="*/ 144 w 42671"/>
                  <a:gd name="connsiteY10" fmla="*/ 17682 h 29362"/>
                  <a:gd name="connsiteX11" fmla="*/ 1777 w 42671"/>
                  <a:gd name="connsiteY11" fmla="*/ 21952 h 2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671" h="29362">
                    <a:moveTo>
                      <a:pt x="1777" y="21952"/>
                    </a:moveTo>
                    <a:cubicBezTo>
                      <a:pt x="2279" y="22455"/>
                      <a:pt x="2907" y="22831"/>
                      <a:pt x="3409" y="23333"/>
                    </a:cubicBezTo>
                    <a:cubicBezTo>
                      <a:pt x="5293" y="24715"/>
                      <a:pt x="7177" y="26096"/>
                      <a:pt x="9438" y="26850"/>
                    </a:cubicBezTo>
                    <a:cubicBezTo>
                      <a:pt x="11196" y="27478"/>
                      <a:pt x="13080" y="27729"/>
                      <a:pt x="14964" y="27855"/>
                    </a:cubicBezTo>
                    <a:cubicBezTo>
                      <a:pt x="19360" y="28357"/>
                      <a:pt x="27021" y="30744"/>
                      <a:pt x="30663" y="28232"/>
                    </a:cubicBezTo>
                    <a:cubicBezTo>
                      <a:pt x="34180" y="25720"/>
                      <a:pt x="37571" y="23082"/>
                      <a:pt x="40711" y="20194"/>
                    </a:cubicBezTo>
                    <a:cubicBezTo>
                      <a:pt x="40962" y="19942"/>
                      <a:pt x="43097" y="18686"/>
                      <a:pt x="42595" y="18310"/>
                    </a:cubicBezTo>
                    <a:cubicBezTo>
                      <a:pt x="37069" y="13788"/>
                      <a:pt x="35310" y="5625"/>
                      <a:pt x="29030" y="2485"/>
                    </a:cubicBezTo>
                    <a:cubicBezTo>
                      <a:pt x="23630" y="-153"/>
                      <a:pt x="16722" y="-530"/>
                      <a:pt x="9814" y="601"/>
                    </a:cubicBezTo>
                    <a:cubicBezTo>
                      <a:pt x="7931" y="3615"/>
                      <a:pt x="6172" y="6629"/>
                      <a:pt x="4540" y="9644"/>
                    </a:cubicBezTo>
                    <a:cubicBezTo>
                      <a:pt x="3158" y="12030"/>
                      <a:pt x="1023" y="15044"/>
                      <a:pt x="144" y="17682"/>
                    </a:cubicBezTo>
                    <a:cubicBezTo>
                      <a:pt x="-359" y="19440"/>
                      <a:pt x="521" y="20822"/>
                      <a:pt x="1777" y="21952"/>
                    </a:cubicBezTo>
                    <a:close/>
                  </a:path>
                </a:pathLst>
              </a:custGeom>
              <a:solidFill>
                <a:srgbClr val="D89F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1" name="Freeform: Shape 3520">
                <a:extLst>
                  <a:ext uri="{FF2B5EF4-FFF2-40B4-BE49-F238E27FC236}">
                    <a16:creationId xmlns:a16="http://schemas.microsoft.com/office/drawing/2014/main" id="{4E380925-00E2-44A7-8CFC-907A3AD20DD8}"/>
                  </a:ext>
                </a:extLst>
              </p:cNvPr>
              <p:cNvSpPr/>
              <p:nvPr/>
            </p:nvSpPr>
            <p:spPr>
              <a:xfrm>
                <a:off x="4488809" y="4456581"/>
                <a:ext cx="16840" cy="25584"/>
              </a:xfrm>
              <a:custGeom>
                <a:avLst/>
                <a:gdLst>
                  <a:gd name="connsiteX0" fmla="*/ 832 w 16840"/>
                  <a:gd name="connsiteY0" fmla="*/ 13439 h 25584"/>
                  <a:gd name="connsiteX1" fmla="*/ 455 w 16840"/>
                  <a:gd name="connsiteY1" fmla="*/ 879 h 25584"/>
                  <a:gd name="connsiteX2" fmla="*/ 581 w 16840"/>
                  <a:gd name="connsiteY2" fmla="*/ 0 h 25584"/>
                  <a:gd name="connsiteX3" fmla="*/ 3218 w 16840"/>
                  <a:gd name="connsiteY3" fmla="*/ 879 h 25584"/>
                  <a:gd name="connsiteX4" fmla="*/ 16154 w 16840"/>
                  <a:gd name="connsiteY4" fmla="*/ 18337 h 25584"/>
                  <a:gd name="connsiteX5" fmla="*/ 16783 w 16840"/>
                  <a:gd name="connsiteY5" fmla="*/ 16704 h 25584"/>
                  <a:gd name="connsiteX6" fmla="*/ 10126 w 16840"/>
                  <a:gd name="connsiteY6" fmla="*/ 22481 h 25584"/>
                  <a:gd name="connsiteX7" fmla="*/ 1837 w 16840"/>
                  <a:gd name="connsiteY7" fmla="*/ 25244 h 25584"/>
                  <a:gd name="connsiteX8" fmla="*/ 832 w 16840"/>
                  <a:gd name="connsiteY8" fmla="*/ 13439 h 25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40" h="25584">
                    <a:moveTo>
                      <a:pt x="832" y="13439"/>
                    </a:moveTo>
                    <a:cubicBezTo>
                      <a:pt x="832" y="9294"/>
                      <a:pt x="204" y="5024"/>
                      <a:pt x="455" y="879"/>
                    </a:cubicBezTo>
                    <a:cubicBezTo>
                      <a:pt x="455" y="628"/>
                      <a:pt x="581" y="251"/>
                      <a:pt x="581" y="0"/>
                    </a:cubicBezTo>
                    <a:cubicBezTo>
                      <a:pt x="1460" y="251"/>
                      <a:pt x="2339" y="502"/>
                      <a:pt x="3218" y="879"/>
                    </a:cubicBezTo>
                    <a:cubicBezTo>
                      <a:pt x="9498" y="4019"/>
                      <a:pt x="10629" y="13816"/>
                      <a:pt x="16154" y="18337"/>
                    </a:cubicBezTo>
                    <a:cubicBezTo>
                      <a:pt x="16406" y="18588"/>
                      <a:pt x="17034" y="16453"/>
                      <a:pt x="16783" y="16704"/>
                    </a:cubicBezTo>
                    <a:cubicBezTo>
                      <a:pt x="14647" y="18714"/>
                      <a:pt x="12387" y="20723"/>
                      <a:pt x="10126" y="22481"/>
                    </a:cubicBezTo>
                    <a:cubicBezTo>
                      <a:pt x="8117" y="23989"/>
                      <a:pt x="4474" y="26500"/>
                      <a:pt x="1837" y="25244"/>
                    </a:cubicBezTo>
                    <a:cubicBezTo>
                      <a:pt x="-1680" y="23612"/>
                      <a:pt x="958" y="16453"/>
                      <a:pt x="832" y="13439"/>
                    </a:cubicBezTo>
                    <a:close/>
                  </a:path>
                </a:pathLst>
              </a:custGeom>
              <a:solidFill>
                <a:srgbClr val="D89F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2" name="Freeform: Shape 3521">
                <a:extLst>
                  <a:ext uri="{FF2B5EF4-FFF2-40B4-BE49-F238E27FC236}">
                    <a16:creationId xmlns:a16="http://schemas.microsoft.com/office/drawing/2014/main" id="{95489D08-5E56-498E-BCFC-205C620EB2D3}"/>
                  </a:ext>
                </a:extLst>
              </p:cNvPr>
              <p:cNvSpPr/>
              <p:nvPr/>
            </p:nvSpPr>
            <p:spPr>
              <a:xfrm>
                <a:off x="4460381" y="4444544"/>
                <a:ext cx="44581" cy="38903"/>
              </a:xfrm>
              <a:custGeom>
                <a:avLst/>
                <a:gdLst>
                  <a:gd name="connsiteX0" fmla="*/ 1252 w 44581"/>
                  <a:gd name="connsiteY0" fmla="*/ 14926 h 38903"/>
                  <a:gd name="connsiteX1" fmla="*/ 623 w 44581"/>
                  <a:gd name="connsiteY1" fmla="*/ 3748 h 38903"/>
                  <a:gd name="connsiteX2" fmla="*/ 44582 w 44581"/>
                  <a:gd name="connsiteY2" fmla="*/ 8018 h 38903"/>
                  <a:gd name="connsiteX3" fmla="*/ 44456 w 44581"/>
                  <a:gd name="connsiteY3" fmla="*/ 20703 h 38903"/>
                  <a:gd name="connsiteX4" fmla="*/ 42698 w 44581"/>
                  <a:gd name="connsiteY4" fmla="*/ 22336 h 38903"/>
                  <a:gd name="connsiteX5" fmla="*/ 37423 w 44581"/>
                  <a:gd name="connsiteY5" fmla="*/ 26355 h 38903"/>
                  <a:gd name="connsiteX6" fmla="*/ 33906 w 44581"/>
                  <a:gd name="connsiteY6" fmla="*/ 28616 h 38903"/>
                  <a:gd name="connsiteX7" fmla="*/ 30138 w 44581"/>
                  <a:gd name="connsiteY7" fmla="*/ 30625 h 38903"/>
                  <a:gd name="connsiteX8" fmla="*/ 27878 w 44581"/>
                  <a:gd name="connsiteY8" fmla="*/ 37658 h 38903"/>
                  <a:gd name="connsiteX9" fmla="*/ 16323 w 44581"/>
                  <a:gd name="connsiteY9" fmla="*/ 38161 h 38903"/>
                  <a:gd name="connsiteX10" fmla="*/ 3763 w 44581"/>
                  <a:gd name="connsiteY10" fmla="*/ 33639 h 38903"/>
                  <a:gd name="connsiteX11" fmla="*/ 498 w 44581"/>
                  <a:gd name="connsiteY11" fmla="*/ 27108 h 38903"/>
                  <a:gd name="connsiteX12" fmla="*/ 1252 w 44581"/>
                  <a:gd name="connsiteY12" fmla="*/ 14926 h 3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581" h="38903">
                    <a:moveTo>
                      <a:pt x="1252" y="14926"/>
                    </a:moveTo>
                    <a:cubicBezTo>
                      <a:pt x="1001" y="11158"/>
                      <a:pt x="875" y="7515"/>
                      <a:pt x="623" y="3748"/>
                    </a:cubicBezTo>
                    <a:cubicBezTo>
                      <a:pt x="623" y="3748"/>
                      <a:pt x="41568" y="-7054"/>
                      <a:pt x="44582" y="8018"/>
                    </a:cubicBezTo>
                    <a:cubicBezTo>
                      <a:pt x="44582" y="8018"/>
                      <a:pt x="44456" y="20703"/>
                      <a:pt x="44456" y="20703"/>
                    </a:cubicBezTo>
                    <a:cubicBezTo>
                      <a:pt x="44456" y="21080"/>
                      <a:pt x="42949" y="22084"/>
                      <a:pt x="42698" y="22336"/>
                    </a:cubicBezTo>
                    <a:cubicBezTo>
                      <a:pt x="41065" y="23843"/>
                      <a:pt x="39307" y="25099"/>
                      <a:pt x="37423" y="26355"/>
                    </a:cubicBezTo>
                    <a:cubicBezTo>
                      <a:pt x="36293" y="27108"/>
                      <a:pt x="35037" y="27862"/>
                      <a:pt x="33906" y="28616"/>
                    </a:cubicBezTo>
                    <a:cubicBezTo>
                      <a:pt x="32776" y="29243"/>
                      <a:pt x="31143" y="29746"/>
                      <a:pt x="30138" y="30625"/>
                    </a:cubicBezTo>
                    <a:cubicBezTo>
                      <a:pt x="28129" y="32258"/>
                      <a:pt x="30138" y="36026"/>
                      <a:pt x="27878" y="37658"/>
                    </a:cubicBezTo>
                    <a:cubicBezTo>
                      <a:pt x="25115" y="39668"/>
                      <a:pt x="19463" y="38789"/>
                      <a:pt x="16323" y="38161"/>
                    </a:cubicBezTo>
                    <a:cubicBezTo>
                      <a:pt x="11927" y="37281"/>
                      <a:pt x="7908" y="35398"/>
                      <a:pt x="3763" y="33639"/>
                    </a:cubicBezTo>
                    <a:cubicBezTo>
                      <a:pt x="372" y="32132"/>
                      <a:pt x="-758" y="30751"/>
                      <a:pt x="498" y="27108"/>
                    </a:cubicBezTo>
                    <a:cubicBezTo>
                      <a:pt x="1879" y="23341"/>
                      <a:pt x="1503" y="18945"/>
                      <a:pt x="1252" y="14926"/>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3" name="Freeform: Shape 3522">
                <a:extLst>
                  <a:ext uri="{FF2B5EF4-FFF2-40B4-BE49-F238E27FC236}">
                    <a16:creationId xmlns:a16="http://schemas.microsoft.com/office/drawing/2014/main" id="{F7A62868-7E95-4FFD-96DE-B8358B5BD6BC}"/>
                  </a:ext>
                </a:extLst>
              </p:cNvPr>
              <p:cNvSpPr/>
              <p:nvPr/>
            </p:nvSpPr>
            <p:spPr>
              <a:xfrm>
                <a:off x="4489204" y="4445773"/>
                <a:ext cx="16386" cy="33037"/>
              </a:xfrm>
              <a:custGeom>
                <a:avLst/>
                <a:gdLst>
                  <a:gd name="connsiteX0" fmla="*/ 15759 w 16386"/>
                  <a:gd name="connsiteY0" fmla="*/ 6914 h 33037"/>
                  <a:gd name="connsiteX1" fmla="*/ 16387 w 16386"/>
                  <a:gd name="connsiteY1" fmla="*/ 27637 h 33037"/>
                  <a:gd name="connsiteX2" fmla="*/ 436 w 16386"/>
                  <a:gd name="connsiteY2" fmla="*/ 33038 h 33037"/>
                  <a:gd name="connsiteX3" fmla="*/ 436 w 16386"/>
                  <a:gd name="connsiteY3" fmla="*/ 24372 h 33037"/>
                  <a:gd name="connsiteX4" fmla="*/ 59 w 16386"/>
                  <a:gd name="connsiteY4" fmla="*/ 11812 h 33037"/>
                  <a:gd name="connsiteX5" fmla="*/ 3451 w 16386"/>
                  <a:gd name="connsiteY5" fmla="*/ 6 h 33037"/>
                  <a:gd name="connsiteX6" fmla="*/ 15759 w 16386"/>
                  <a:gd name="connsiteY6" fmla="*/ 6914 h 3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86" h="33037">
                    <a:moveTo>
                      <a:pt x="15759" y="6914"/>
                    </a:moveTo>
                    <a:lnTo>
                      <a:pt x="16387" y="27637"/>
                    </a:lnTo>
                    <a:cubicBezTo>
                      <a:pt x="16387" y="27637"/>
                      <a:pt x="9981" y="28642"/>
                      <a:pt x="436" y="33038"/>
                    </a:cubicBezTo>
                    <a:cubicBezTo>
                      <a:pt x="687" y="31028"/>
                      <a:pt x="436" y="26255"/>
                      <a:pt x="436" y="24372"/>
                    </a:cubicBezTo>
                    <a:cubicBezTo>
                      <a:pt x="436" y="20227"/>
                      <a:pt x="-192" y="15957"/>
                      <a:pt x="59" y="11812"/>
                    </a:cubicBezTo>
                    <a:cubicBezTo>
                      <a:pt x="311" y="7668"/>
                      <a:pt x="2069" y="3900"/>
                      <a:pt x="3451" y="6"/>
                    </a:cubicBezTo>
                    <a:cubicBezTo>
                      <a:pt x="9730" y="-119"/>
                      <a:pt x="14754" y="1639"/>
                      <a:pt x="15759" y="6914"/>
                    </a:cubicBezTo>
                    <a:close/>
                  </a:path>
                </a:pathLst>
              </a:custGeom>
              <a:solidFill>
                <a:srgbClr val="D89F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4" name="Freeform: Shape 3523">
                <a:extLst>
                  <a:ext uri="{FF2B5EF4-FFF2-40B4-BE49-F238E27FC236}">
                    <a16:creationId xmlns:a16="http://schemas.microsoft.com/office/drawing/2014/main" id="{71DC79F3-AB73-4786-9A60-5D5A2A1085E0}"/>
                  </a:ext>
                </a:extLst>
              </p:cNvPr>
              <p:cNvSpPr/>
              <p:nvPr/>
            </p:nvSpPr>
            <p:spPr>
              <a:xfrm>
                <a:off x="4448994" y="4394749"/>
                <a:ext cx="56367" cy="71797"/>
              </a:xfrm>
              <a:custGeom>
                <a:avLst/>
                <a:gdLst>
                  <a:gd name="connsiteX0" fmla="*/ 11257 w 56367"/>
                  <a:gd name="connsiteY0" fmla="*/ 61706 h 71797"/>
                  <a:gd name="connsiteX1" fmla="*/ 21305 w 56367"/>
                  <a:gd name="connsiteY1" fmla="*/ 68991 h 71797"/>
                  <a:gd name="connsiteX2" fmla="*/ 35748 w 56367"/>
                  <a:gd name="connsiteY2" fmla="*/ 71753 h 71797"/>
                  <a:gd name="connsiteX3" fmla="*/ 40395 w 56367"/>
                  <a:gd name="connsiteY3" fmla="*/ 62711 h 71797"/>
                  <a:gd name="connsiteX4" fmla="*/ 55718 w 56367"/>
                  <a:gd name="connsiteY4" fmla="*/ 22269 h 71797"/>
                  <a:gd name="connsiteX5" fmla="*/ 54337 w 56367"/>
                  <a:gd name="connsiteY5" fmla="*/ 19255 h 71797"/>
                  <a:gd name="connsiteX6" fmla="*/ 52829 w 56367"/>
                  <a:gd name="connsiteY6" fmla="*/ 16994 h 71797"/>
                  <a:gd name="connsiteX7" fmla="*/ 19923 w 56367"/>
                  <a:gd name="connsiteY7" fmla="*/ 39 h 71797"/>
                  <a:gd name="connsiteX8" fmla="*/ 5229 w 56367"/>
                  <a:gd name="connsiteY8" fmla="*/ 10087 h 71797"/>
                  <a:gd name="connsiteX9" fmla="*/ 1084 w 56367"/>
                  <a:gd name="connsiteY9" fmla="*/ 18501 h 71797"/>
                  <a:gd name="connsiteX10" fmla="*/ 707 w 56367"/>
                  <a:gd name="connsiteY10" fmla="*/ 19757 h 71797"/>
                  <a:gd name="connsiteX11" fmla="*/ 1210 w 56367"/>
                  <a:gd name="connsiteY11" fmla="*/ 40480 h 71797"/>
                  <a:gd name="connsiteX12" fmla="*/ 7992 w 56367"/>
                  <a:gd name="connsiteY12" fmla="*/ 58943 h 71797"/>
                  <a:gd name="connsiteX13" fmla="*/ 11006 w 56367"/>
                  <a:gd name="connsiteY13" fmla="*/ 61706 h 71797"/>
                  <a:gd name="connsiteX14" fmla="*/ 11257 w 56367"/>
                  <a:gd name="connsiteY14" fmla="*/ 61706 h 7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367" h="71797">
                    <a:moveTo>
                      <a:pt x="11257" y="61706"/>
                    </a:moveTo>
                    <a:cubicBezTo>
                      <a:pt x="14272" y="64469"/>
                      <a:pt x="17412" y="67358"/>
                      <a:pt x="21305" y="68991"/>
                    </a:cubicBezTo>
                    <a:cubicBezTo>
                      <a:pt x="24570" y="70372"/>
                      <a:pt x="32106" y="71377"/>
                      <a:pt x="35748" y="71753"/>
                    </a:cubicBezTo>
                    <a:cubicBezTo>
                      <a:pt x="41149" y="72382"/>
                      <a:pt x="35874" y="66102"/>
                      <a:pt x="40395" y="62711"/>
                    </a:cubicBezTo>
                    <a:cubicBezTo>
                      <a:pt x="40772" y="62460"/>
                      <a:pt x="60114" y="35708"/>
                      <a:pt x="55718" y="22269"/>
                    </a:cubicBezTo>
                    <a:cubicBezTo>
                      <a:pt x="55341" y="21139"/>
                      <a:pt x="54964" y="20260"/>
                      <a:pt x="54337" y="19255"/>
                    </a:cubicBezTo>
                    <a:cubicBezTo>
                      <a:pt x="53960" y="18501"/>
                      <a:pt x="53457" y="17622"/>
                      <a:pt x="52829" y="16994"/>
                    </a:cubicBezTo>
                    <a:cubicBezTo>
                      <a:pt x="45545" y="6444"/>
                      <a:pt x="28464" y="-589"/>
                      <a:pt x="19923" y="39"/>
                    </a:cubicBezTo>
                    <a:cubicBezTo>
                      <a:pt x="13393" y="541"/>
                      <a:pt x="8620" y="4812"/>
                      <a:pt x="5229" y="10087"/>
                    </a:cubicBezTo>
                    <a:cubicBezTo>
                      <a:pt x="3470" y="12724"/>
                      <a:pt x="2089" y="15613"/>
                      <a:pt x="1084" y="18501"/>
                    </a:cubicBezTo>
                    <a:cubicBezTo>
                      <a:pt x="959" y="18878"/>
                      <a:pt x="833" y="19255"/>
                      <a:pt x="707" y="19757"/>
                    </a:cubicBezTo>
                    <a:cubicBezTo>
                      <a:pt x="-800" y="26288"/>
                      <a:pt x="456" y="33824"/>
                      <a:pt x="1210" y="40480"/>
                    </a:cubicBezTo>
                    <a:cubicBezTo>
                      <a:pt x="2089" y="47765"/>
                      <a:pt x="2214" y="53668"/>
                      <a:pt x="7992" y="58943"/>
                    </a:cubicBezTo>
                    <a:cubicBezTo>
                      <a:pt x="8997" y="59822"/>
                      <a:pt x="10002" y="60701"/>
                      <a:pt x="11006" y="61706"/>
                    </a:cubicBezTo>
                    <a:cubicBezTo>
                      <a:pt x="11006" y="61580"/>
                      <a:pt x="11132" y="61580"/>
                      <a:pt x="11257" y="61706"/>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5" name="Freeform: Shape 3524">
                <a:extLst>
                  <a:ext uri="{FF2B5EF4-FFF2-40B4-BE49-F238E27FC236}">
                    <a16:creationId xmlns:a16="http://schemas.microsoft.com/office/drawing/2014/main" id="{623C2EC5-6AF2-42E0-8E60-99C5079636AF}"/>
                  </a:ext>
                </a:extLst>
              </p:cNvPr>
              <p:cNvSpPr/>
              <p:nvPr/>
            </p:nvSpPr>
            <p:spPr>
              <a:xfrm>
                <a:off x="4451208" y="4395268"/>
                <a:ext cx="69497" cy="68094"/>
              </a:xfrm>
              <a:custGeom>
                <a:avLst/>
                <a:gdLst>
                  <a:gd name="connsiteX0" fmla="*/ 0 w 69497"/>
                  <a:gd name="connsiteY0" fmla="*/ 13084 h 68094"/>
                  <a:gd name="connsiteX1" fmla="*/ 251 w 69497"/>
                  <a:gd name="connsiteY1" fmla="*/ 13335 h 68094"/>
                  <a:gd name="connsiteX2" fmla="*/ 5778 w 69497"/>
                  <a:gd name="connsiteY2" fmla="*/ 15094 h 68094"/>
                  <a:gd name="connsiteX3" fmla="*/ 21854 w 69497"/>
                  <a:gd name="connsiteY3" fmla="*/ 16098 h 68094"/>
                  <a:gd name="connsiteX4" fmla="*/ 29515 w 69497"/>
                  <a:gd name="connsiteY4" fmla="*/ 16224 h 68094"/>
                  <a:gd name="connsiteX5" fmla="*/ 33911 w 69497"/>
                  <a:gd name="connsiteY5" fmla="*/ 20745 h 68094"/>
                  <a:gd name="connsiteX6" fmla="*/ 35041 w 69497"/>
                  <a:gd name="connsiteY6" fmla="*/ 23634 h 68094"/>
                  <a:gd name="connsiteX7" fmla="*/ 33157 w 69497"/>
                  <a:gd name="connsiteY7" fmla="*/ 33807 h 68094"/>
                  <a:gd name="connsiteX8" fmla="*/ 37804 w 69497"/>
                  <a:gd name="connsiteY8" fmla="*/ 45362 h 68094"/>
                  <a:gd name="connsiteX9" fmla="*/ 39563 w 69497"/>
                  <a:gd name="connsiteY9" fmla="*/ 53526 h 68094"/>
                  <a:gd name="connsiteX10" fmla="*/ 38683 w 69497"/>
                  <a:gd name="connsiteY10" fmla="*/ 65960 h 68094"/>
                  <a:gd name="connsiteX11" fmla="*/ 48857 w 69497"/>
                  <a:gd name="connsiteY11" fmla="*/ 68094 h 68094"/>
                  <a:gd name="connsiteX12" fmla="*/ 59909 w 69497"/>
                  <a:gd name="connsiteY12" fmla="*/ 64201 h 68094"/>
                  <a:gd name="connsiteX13" fmla="*/ 63928 w 69497"/>
                  <a:gd name="connsiteY13" fmla="*/ 48878 h 68094"/>
                  <a:gd name="connsiteX14" fmla="*/ 68952 w 69497"/>
                  <a:gd name="connsiteY14" fmla="*/ 11828 h 68094"/>
                  <a:gd name="connsiteX15" fmla="*/ 68073 w 69497"/>
                  <a:gd name="connsiteY15" fmla="*/ 8939 h 68094"/>
                  <a:gd name="connsiteX16" fmla="*/ 65184 w 69497"/>
                  <a:gd name="connsiteY16" fmla="*/ 7056 h 68094"/>
                  <a:gd name="connsiteX17" fmla="*/ 49736 w 69497"/>
                  <a:gd name="connsiteY17" fmla="*/ 5800 h 68094"/>
                  <a:gd name="connsiteX18" fmla="*/ 36800 w 69497"/>
                  <a:gd name="connsiteY18" fmla="*/ 1529 h 68094"/>
                  <a:gd name="connsiteX19" fmla="*/ 25621 w 69497"/>
                  <a:gd name="connsiteY19" fmla="*/ 22 h 68094"/>
                  <a:gd name="connsiteX20" fmla="*/ 10801 w 69497"/>
                  <a:gd name="connsiteY20" fmla="*/ 1906 h 68094"/>
                  <a:gd name="connsiteX21" fmla="*/ 4522 w 69497"/>
                  <a:gd name="connsiteY21" fmla="*/ 3539 h 68094"/>
                  <a:gd name="connsiteX22" fmla="*/ 377 w 69497"/>
                  <a:gd name="connsiteY22" fmla="*/ 11954 h 68094"/>
                  <a:gd name="connsiteX23" fmla="*/ 0 w 69497"/>
                  <a:gd name="connsiteY23" fmla="*/ 13084 h 6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497" h="68094">
                    <a:moveTo>
                      <a:pt x="0" y="13084"/>
                    </a:moveTo>
                    <a:cubicBezTo>
                      <a:pt x="126" y="13210"/>
                      <a:pt x="126" y="13210"/>
                      <a:pt x="251" y="13335"/>
                    </a:cubicBezTo>
                    <a:cubicBezTo>
                      <a:pt x="1884" y="14340"/>
                      <a:pt x="3894" y="14717"/>
                      <a:pt x="5778" y="15094"/>
                    </a:cubicBezTo>
                    <a:cubicBezTo>
                      <a:pt x="11178" y="15847"/>
                      <a:pt x="16579" y="16601"/>
                      <a:pt x="21854" y="16098"/>
                    </a:cubicBezTo>
                    <a:cubicBezTo>
                      <a:pt x="24114" y="15973"/>
                      <a:pt x="27380" y="14968"/>
                      <a:pt x="29515" y="16224"/>
                    </a:cubicBezTo>
                    <a:cubicBezTo>
                      <a:pt x="31148" y="17229"/>
                      <a:pt x="33031" y="18987"/>
                      <a:pt x="33911" y="20745"/>
                    </a:cubicBezTo>
                    <a:cubicBezTo>
                      <a:pt x="34413" y="21625"/>
                      <a:pt x="34664" y="22629"/>
                      <a:pt x="35041" y="23634"/>
                    </a:cubicBezTo>
                    <a:cubicBezTo>
                      <a:pt x="36171" y="27151"/>
                      <a:pt x="33283" y="30165"/>
                      <a:pt x="33157" y="33807"/>
                    </a:cubicBezTo>
                    <a:cubicBezTo>
                      <a:pt x="33031" y="37450"/>
                      <a:pt x="37678" y="41720"/>
                      <a:pt x="37804" y="45362"/>
                    </a:cubicBezTo>
                    <a:cubicBezTo>
                      <a:pt x="37930" y="48251"/>
                      <a:pt x="38934" y="50637"/>
                      <a:pt x="39563" y="53526"/>
                    </a:cubicBezTo>
                    <a:cubicBezTo>
                      <a:pt x="40442" y="57545"/>
                      <a:pt x="39814" y="61815"/>
                      <a:pt x="38683" y="65960"/>
                    </a:cubicBezTo>
                    <a:cubicBezTo>
                      <a:pt x="39688" y="62443"/>
                      <a:pt x="46596" y="68094"/>
                      <a:pt x="48857" y="68094"/>
                    </a:cubicBezTo>
                    <a:cubicBezTo>
                      <a:pt x="52876" y="67969"/>
                      <a:pt x="57020" y="67090"/>
                      <a:pt x="59909" y="64201"/>
                    </a:cubicBezTo>
                    <a:cubicBezTo>
                      <a:pt x="61919" y="62192"/>
                      <a:pt x="62923" y="51516"/>
                      <a:pt x="63928" y="48878"/>
                    </a:cubicBezTo>
                    <a:cubicBezTo>
                      <a:pt x="68449" y="35817"/>
                      <a:pt x="70585" y="25518"/>
                      <a:pt x="68952" y="11828"/>
                    </a:cubicBezTo>
                    <a:cubicBezTo>
                      <a:pt x="68826" y="10823"/>
                      <a:pt x="68700" y="9819"/>
                      <a:pt x="68073" y="8939"/>
                    </a:cubicBezTo>
                    <a:cubicBezTo>
                      <a:pt x="67445" y="7935"/>
                      <a:pt x="66314" y="7432"/>
                      <a:pt x="65184" y="7056"/>
                    </a:cubicBezTo>
                    <a:cubicBezTo>
                      <a:pt x="59909" y="5046"/>
                      <a:pt x="55262" y="5423"/>
                      <a:pt x="49736" y="5800"/>
                    </a:cubicBezTo>
                    <a:cubicBezTo>
                      <a:pt x="45340" y="6051"/>
                      <a:pt x="41321" y="2660"/>
                      <a:pt x="36800" y="1529"/>
                    </a:cubicBezTo>
                    <a:cubicBezTo>
                      <a:pt x="33157" y="650"/>
                      <a:pt x="29390" y="148"/>
                      <a:pt x="25621" y="22"/>
                    </a:cubicBezTo>
                    <a:cubicBezTo>
                      <a:pt x="20723" y="-103"/>
                      <a:pt x="15448" y="273"/>
                      <a:pt x="10801" y="1906"/>
                    </a:cubicBezTo>
                    <a:cubicBezTo>
                      <a:pt x="9294" y="2534"/>
                      <a:pt x="6782" y="2911"/>
                      <a:pt x="4522" y="3539"/>
                    </a:cubicBezTo>
                    <a:cubicBezTo>
                      <a:pt x="2763" y="6176"/>
                      <a:pt x="1382" y="9065"/>
                      <a:pt x="377" y="11954"/>
                    </a:cubicBezTo>
                    <a:cubicBezTo>
                      <a:pt x="251" y="12205"/>
                      <a:pt x="126" y="12582"/>
                      <a:pt x="0" y="13084"/>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6" name="Freeform: Shape 3525">
                <a:extLst>
                  <a:ext uri="{FF2B5EF4-FFF2-40B4-BE49-F238E27FC236}">
                    <a16:creationId xmlns:a16="http://schemas.microsoft.com/office/drawing/2014/main" id="{AD33BC97-25D1-44A3-AC97-F585BCED4798}"/>
                  </a:ext>
                </a:extLst>
              </p:cNvPr>
              <p:cNvSpPr/>
              <p:nvPr/>
            </p:nvSpPr>
            <p:spPr>
              <a:xfrm>
                <a:off x="4448466" y="4369550"/>
                <a:ext cx="73835" cy="94073"/>
              </a:xfrm>
              <a:custGeom>
                <a:avLst/>
                <a:gdLst>
                  <a:gd name="connsiteX0" fmla="*/ 17312 w 73835"/>
                  <a:gd name="connsiteY0" fmla="*/ 90548 h 94073"/>
                  <a:gd name="connsiteX1" fmla="*/ 41677 w 73835"/>
                  <a:gd name="connsiteY1" fmla="*/ 92934 h 94073"/>
                  <a:gd name="connsiteX2" fmla="*/ 43184 w 73835"/>
                  <a:gd name="connsiteY2" fmla="*/ 78491 h 94073"/>
                  <a:gd name="connsiteX3" fmla="*/ 39291 w 73835"/>
                  <a:gd name="connsiteY3" fmla="*/ 60530 h 94073"/>
                  <a:gd name="connsiteX4" fmla="*/ 45319 w 73835"/>
                  <a:gd name="connsiteY4" fmla="*/ 52995 h 94073"/>
                  <a:gd name="connsiteX5" fmla="*/ 53860 w 73835"/>
                  <a:gd name="connsiteY5" fmla="*/ 60279 h 94073"/>
                  <a:gd name="connsiteX6" fmla="*/ 52478 w 73835"/>
                  <a:gd name="connsiteY6" fmla="*/ 77486 h 94073"/>
                  <a:gd name="connsiteX7" fmla="*/ 60642 w 73835"/>
                  <a:gd name="connsiteY7" fmla="*/ 74848 h 94073"/>
                  <a:gd name="connsiteX8" fmla="*/ 61144 w 73835"/>
                  <a:gd name="connsiteY8" fmla="*/ 74472 h 94073"/>
                  <a:gd name="connsiteX9" fmla="*/ 61395 w 73835"/>
                  <a:gd name="connsiteY9" fmla="*/ 73718 h 94073"/>
                  <a:gd name="connsiteX10" fmla="*/ 62275 w 73835"/>
                  <a:gd name="connsiteY10" fmla="*/ 62163 h 94073"/>
                  <a:gd name="connsiteX11" fmla="*/ 64661 w 73835"/>
                  <a:gd name="connsiteY11" fmla="*/ 55381 h 94073"/>
                  <a:gd name="connsiteX12" fmla="*/ 72574 w 73835"/>
                  <a:gd name="connsiteY12" fmla="*/ 37295 h 94073"/>
                  <a:gd name="connsiteX13" fmla="*/ 70815 w 73835"/>
                  <a:gd name="connsiteY13" fmla="*/ 13809 h 94073"/>
                  <a:gd name="connsiteX14" fmla="*/ 41049 w 73835"/>
                  <a:gd name="connsiteY14" fmla="*/ 119 h 94073"/>
                  <a:gd name="connsiteX15" fmla="*/ 9274 w 73835"/>
                  <a:gd name="connsiteY15" fmla="*/ 14312 h 94073"/>
                  <a:gd name="connsiteX16" fmla="*/ 105 w 73835"/>
                  <a:gd name="connsiteY16" fmla="*/ 41440 h 94073"/>
                  <a:gd name="connsiteX17" fmla="*/ 2115 w 73835"/>
                  <a:gd name="connsiteY17" fmla="*/ 67438 h 94073"/>
                  <a:gd name="connsiteX18" fmla="*/ 4752 w 73835"/>
                  <a:gd name="connsiteY18" fmla="*/ 76983 h 94073"/>
                  <a:gd name="connsiteX19" fmla="*/ 17312 w 73835"/>
                  <a:gd name="connsiteY19" fmla="*/ 90548 h 94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835" h="94073">
                    <a:moveTo>
                      <a:pt x="17312" y="90548"/>
                    </a:moveTo>
                    <a:cubicBezTo>
                      <a:pt x="24973" y="93688"/>
                      <a:pt x="33639" y="95320"/>
                      <a:pt x="41677" y="92934"/>
                    </a:cubicBezTo>
                    <a:cubicBezTo>
                      <a:pt x="44063" y="87910"/>
                      <a:pt x="44189" y="84017"/>
                      <a:pt x="43184" y="78491"/>
                    </a:cubicBezTo>
                    <a:cubicBezTo>
                      <a:pt x="42179" y="72336"/>
                      <a:pt x="38537" y="66936"/>
                      <a:pt x="39291" y="60530"/>
                    </a:cubicBezTo>
                    <a:cubicBezTo>
                      <a:pt x="39667" y="57265"/>
                      <a:pt x="41552" y="53497"/>
                      <a:pt x="45319" y="52995"/>
                    </a:cubicBezTo>
                    <a:cubicBezTo>
                      <a:pt x="50971" y="52367"/>
                      <a:pt x="53609" y="54251"/>
                      <a:pt x="53860" y="60279"/>
                    </a:cubicBezTo>
                    <a:cubicBezTo>
                      <a:pt x="53985" y="62540"/>
                      <a:pt x="53232" y="77235"/>
                      <a:pt x="52478" y="77486"/>
                    </a:cubicBezTo>
                    <a:cubicBezTo>
                      <a:pt x="55241" y="76481"/>
                      <a:pt x="57879" y="76104"/>
                      <a:pt x="60642" y="74848"/>
                    </a:cubicBezTo>
                    <a:cubicBezTo>
                      <a:pt x="60768" y="74723"/>
                      <a:pt x="61019" y="74723"/>
                      <a:pt x="61144" y="74472"/>
                    </a:cubicBezTo>
                    <a:cubicBezTo>
                      <a:pt x="61270" y="74220"/>
                      <a:pt x="61395" y="73969"/>
                      <a:pt x="61395" y="73718"/>
                    </a:cubicBezTo>
                    <a:cubicBezTo>
                      <a:pt x="61647" y="69825"/>
                      <a:pt x="61772" y="65931"/>
                      <a:pt x="62275" y="62163"/>
                    </a:cubicBezTo>
                    <a:cubicBezTo>
                      <a:pt x="62651" y="59777"/>
                      <a:pt x="63908" y="57642"/>
                      <a:pt x="64661" y="55381"/>
                    </a:cubicBezTo>
                    <a:cubicBezTo>
                      <a:pt x="66671" y="49101"/>
                      <a:pt x="71192" y="43701"/>
                      <a:pt x="72574" y="37295"/>
                    </a:cubicBezTo>
                    <a:cubicBezTo>
                      <a:pt x="74206" y="30011"/>
                      <a:pt x="74834" y="19964"/>
                      <a:pt x="70815" y="13809"/>
                    </a:cubicBezTo>
                    <a:cubicBezTo>
                      <a:pt x="64786" y="4515"/>
                      <a:pt x="52227" y="-885"/>
                      <a:pt x="41049" y="119"/>
                    </a:cubicBezTo>
                    <a:cubicBezTo>
                      <a:pt x="30625" y="999"/>
                      <a:pt x="20326" y="3134"/>
                      <a:pt x="9274" y="14312"/>
                    </a:cubicBezTo>
                    <a:cubicBezTo>
                      <a:pt x="2366" y="21219"/>
                      <a:pt x="733" y="32021"/>
                      <a:pt x="105" y="41440"/>
                    </a:cubicBezTo>
                    <a:cubicBezTo>
                      <a:pt x="-272" y="48976"/>
                      <a:pt x="357" y="60154"/>
                      <a:pt x="2115" y="67438"/>
                    </a:cubicBezTo>
                    <a:cubicBezTo>
                      <a:pt x="2868" y="70829"/>
                      <a:pt x="3747" y="74095"/>
                      <a:pt x="4752" y="76983"/>
                    </a:cubicBezTo>
                    <a:cubicBezTo>
                      <a:pt x="7013" y="83138"/>
                      <a:pt x="10404" y="87785"/>
                      <a:pt x="17312" y="90548"/>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7" name="Freeform: Shape 3526">
                <a:extLst>
                  <a:ext uri="{FF2B5EF4-FFF2-40B4-BE49-F238E27FC236}">
                    <a16:creationId xmlns:a16="http://schemas.microsoft.com/office/drawing/2014/main" id="{A0808B85-5456-4855-A660-9C88E20C0A6F}"/>
                  </a:ext>
                </a:extLst>
              </p:cNvPr>
              <p:cNvSpPr/>
              <p:nvPr/>
            </p:nvSpPr>
            <p:spPr>
              <a:xfrm>
                <a:off x="4600867" y="4548931"/>
                <a:ext cx="40785" cy="27938"/>
              </a:xfrm>
              <a:custGeom>
                <a:avLst/>
                <a:gdLst>
                  <a:gd name="connsiteX0" fmla="*/ 6080 w 40785"/>
                  <a:gd name="connsiteY0" fmla="*/ 25834 h 27938"/>
                  <a:gd name="connsiteX1" fmla="*/ 13113 w 40785"/>
                  <a:gd name="connsiteY1" fmla="*/ 27467 h 27938"/>
                  <a:gd name="connsiteX2" fmla="*/ 27807 w 40785"/>
                  <a:gd name="connsiteY2" fmla="*/ 22318 h 27938"/>
                  <a:gd name="connsiteX3" fmla="*/ 40367 w 40785"/>
                  <a:gd name="connsiteY3" fmla="*/ 14279 h 27938"/>
                  <a:gd name="connsiteX4" fmla="*/ 35971 w 40785"/>
                  <a:gd name="connsiteY4" fmla="*/ 6367 h 27938"/>
                  <a:gd name="connsiteX5" fmla="*/ 30947 w 40785"/>
                  <a:gd name="connsiteY5" fmla="*/ 3604 h 27938"/>
                  <a:gd name="connsiteX6" fmla="*/ 27179 w 40785"/>
                  <a:gd name="connsiteY6" fmla="*/ 4232 h 27938"/>
                  <a:gd name="connsiteX7" fmla="*/ 18764 w 40785"/>
                  <a:gd name="connsiteY7" fmla="*/ 6241 h 27938"/>
                  <a:gd name="connsiteX8" fmla="*/ 19644 w 40785"/>
                  <a:gd name="connsiteY8" fmla="*/ 4357 h 27938"/>
                  <a:gd name="connsiteX9" fmla="*/ 20146 w 40785"/>
                  <a:gd name="connsiteY9" fmla="*/ 2097 h 27938"/>
                  <a:gd name="connsiteX10" fmla="*/ 17132 w 40785"/>
                  <a:gd name="connsiteY10" fmla="*/ 87 h 27938"/>
                  <a:gd name="connsiteX11" fmla="*/ 13741 w 40785"/>
                  <a:gd name="connsiteY11" fmla="*/ 3353 h 27938"/>
                  <a:gd name="connsiteX12" fmla="*/ 11480 w 40785"/>
                  <a:gd name="connsiteY12" fmla="*/ 6744 h 27938"/>
                  <a:gd name="connsiteX13" fmla="*/ 2060 w 40785"/>
                  <a:gd name="connsiteY13" fmla="*/ 13651 h 27938"/>
                  <a:gd name="connsiteX14" fmla="*/ 6080 w 40785"/>
                  <a:gd name="connsiteY14" fmla="*/ 25834 h 2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785" h="27938">
                    <a:moveTo>
                      <a:pt x="6080" y="25834"/>
                    </a:moveTo>
                    <a:cubicBezTo>
                      <a:pt x="7838" y="27844"/>
                      <a:pt x="10601" y="28472"/>
                      <a:pt x="13113" y="27467"/>
                    </a:cubicBezTo>
                    <a:cubicBezTo>
                      <a:pt x="16755" y="25960"/>
                      <a:pt x="22281" y="23825"/>
                      <a:pt x="27807" y="22318"/>
                    </a:cubicBezTo>
                    <a:cubicBezTo>
                      <a:pt x="36976" y="19680"/>
                      <a:pt x="42376" y="19052"/>
                      <a:pt x="40367" y="14279"/>
                    </a:cubicBezTo>
                    <a:cubicBezTo>
                      <a:pt x="39111" y="11265"/>
                      <a:pt x="37102" y="8125"/>
                      <a:pt x="35971" y="6367"/>
                    </a:cubicBezTo>
                    <a:cubicBezTo>
                      <a:pt x="34841" y="4734"/>
                      <a:pt x="32957" y="3604"/>
                      <a:pt x="30947" y="3604"/>
                    </a:cubicBezTo>
                    <a:cubicBezTo>
                      <a:pt x="29943" y="3604"/>
                      <a:pt x="28686" y="3729"/>
                      <a:pt x="27179" y="4232"/>
                    </a:cubicBezTo>
                    <a:cubicBezTo>
                      <a:pt x="21779" y="5865"/>
                      <a:pt x="18764" y="6241"/>
                      <a:pt x="18764" y="6241"/>
                    </a:cubicBezTo>
                    <a:cubicBezTo>
                      <a:pt x="19016" y="6241"/>
                      <a:pt x="19518" y="4483"/>
                      <a:pt x="19644" y="4357"/>
                    </a:cubicBezTo>
                    <a:cubicBezTo>
                      <a:pt x="20020" y="3604"/>
                      <a:pt x="20271" y="2976"/>
                      <a:pt x="20146" y="2097"/>
                    </a:cubicBezTo>
                    <a:cubicBezTo>
                      <a:pt x="20020" y="589"/>
                      <a:pt x="18513" y="-290"/>
                      <a:pt x="17132" y="87"/>
                    </a:cubicBezTo>
                    <a:cubicBezTo>
                      <a:pt x="15499" y="464"/>
                      <a:pt x="14620" y="2097"/>
                      <a:pt x="13741" y="3353"/>
                    </a:cubicBezTo>
                    <a:lnTo>
                      <a:pt x="11480" y="6744"/>
                    </a:lnTo>
                    <a:cubicBezTo>
                      <a:pt x="11480" y="6744"/>
                      <a:pt x="9219" y="12521"/>
                      <a:pt x="2060" y="13651"/>
                    </a:cubicBezTo>
                    <a:cubicBezTo>
                      <a:pt x="-2963" y="14154"/>
                      <a:pt x="2311" y="21438"/>
                      <a:pt x="6080" y="25834"/>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8" name="Freeform: Shape 3527">
                <a:extLst>
                  <a:ext uri="{FF2B5EF4-FFF2-40B4-BE49-F238E27FC236}">
                    <a16:creationId xmlns:a16="http://schemas.microsoft.com/office/drawing/2014/main" id="{95C3FC3A-A467-482F-B943-02C92147A8E2}"/>
                  </a:ext>
                </a:extLst>
              </p:cNvPr>
              <p:cNvSpPr/>
              <p:nvPr/>
            </p:nvSpPr>
            <p:spPr>
              <a:xfrm>
                <a:off x="4509036" y="4499412"/>
                <a:ext cx="108621" cy="92852"/>
              </a:xfrm>
              <a:custGeom>
                <a:avLst/>
                <a:gdLst>
                  <a:gd name="connsiteX0" fmla="*/ 94393 w 108621"/>
                  <a:gd name="connsiteY0" fmla="*/ 58398 h 92852"/>
                  <a:gd name="connsiteX1" fmla="*/ 66762 w 108621"/>
                  <a:gd name="connsiteY1" fmla="*/ 62417 h 92852"/>
                  <a:gd name="connsiteX2" fmla="*/ 56589 w 108621"/>
                  <a:gd name="connsiteY2" fmla="*/ 60156 h 92852"/>
                  <a:gd name="connsiteX3" fmla="*/ 54328 w 108621"/>
                  <a:gd name="connsiteY3" fmla="*/ 59277 h 92852"/>
                  <a:gd name="connsiteX4" fmla="*/ 52193 w 108621"/>
                  <a:gd name="connsiteY4" fmla="*/ 56263 h 92852"/>
                  <a:gd name="connsiteX5" fmla="*/ 49430 w 108621"/>
                  <a:gd name="connsiteY5" fmla="*/ 49983 h 92852"/>
                  <a:gd name="connsiteX6" fmla="*/ 46918 w 108621"/>
                  <a:gd name="connsiteY6" fmla="*/ 42196 h 92852"/>
                  <a:gd name="connsiteX7" fmla="*/ 39131 w 108621"/>
                  <a:gd name="connsiteY7" fmla="*/ 24739 h 92852"/>
                  <a:gd name="connsiteX8" fmla="*/ 30842 w 108621"/>
                  <a:gd name="connsiteY8" fmla="*/ 10170 h 92852"/>
                  <a:gd name="connsiteX9" fmla="*/ 20167 w 108621"/>
                  <a:gd name="connsiteY9" fmla="*/ 247 h 92852"/>
                  <a:gd name="connsiteX10" fmla="*/ 11375 w 108621"/>
                  <a:gd name="connsiteY10" fmla="*/ 624 h 92852"/>
                  <a:gd name="connsiteX11" fmla="*/ 4216 w 108621"/>
                  <a:gd name="connsiteY11" fmla="*/ 5397 h 92852"/>
                  <a:gd name="connsiteX12" fmla="*/ 71 w 108621"/>
                  <a:gd name="connsiteY12" fmla="*/ 20971 h 92852"/>
                  <a:gd name="connsiteX13" fmla="*/ 3462 w 108621"/>
                  <a:gd name="connsiteY13" fmla="*/ 39433 h 92852"/>
                  <a:gd name="connsiteX14" fmla="*/ 6602 w 108621"/>
                  <a:gd name="connsiteY14" fmla="*/ 48727 h 92852"/>
                  <a:gd name="connsiteX15" fmla="*/ 10747 w 108621"/>
                  <a:gd name="connsiteY15" fmla="*/ 55509 h 92852"/>
                  <a:gd name="connsiteX16" fmla="*/ 31596 w 108621"/>
                  <a:gd name="connsiteY16" fmla="*/ 82763 h 92852"/>
                  <a:gd name="connsiteX17" fmla="*/ 46542 w 108621"/>
                  <a:gd name="connsiteY17" fmla="*/ 92811 h 92852"/>
                  <a:gd name="connsiteX18" fmla="*/ 101301 w 108621"/>
                  <a:gd name="connsiteY18" fmla="*/ 85150 h 92852"/>
                  <a:gd name="connsiteX19" fmla="*/ 108083 w 108621"/>
                  <a:gd name="connsiteY19" fmla="*/ 67943 h 92852"/>
                  <a:gd name="connsiteX20" fmla="*/ 94393 w 108621"/>
                  <a:gd name="connsiteY20" fmla="*/ 58398 h 92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8621" h="92852">
                    <a:moveTo>
                      <a:pt x="94393" y="58398"/>
                    </a:moveTo>
                    <a:lnTo>
                      <a:pt x="66762" y="62417"/>
                    </a:lnTo>
                    <a:cubicBezTo>
                      <a:pt x="63873" y="63045"/>
                      <a:pt x="59478" y="60910"/>
                      <a:pt x="56589" y="60156"/>
                    </a:cubicBezTo>
                    <a:cubicBezTo>
                      <a:pt x="55835" y="59905"/>
                      <a:pt x="55082" y="59779"/>
                      <a:pt x="54328" y="59277"/>
                    </a:cubicBezTo>
                    <a:cubicBezTo>
                      <a:pt x="53323" y="58524"/>
                      <a:pt x="52696" y="57393"/>
                      <a:pt x="52193" y="56263"/>
                    </a:cubicBezTo>
                    <a:cubicBezTo>
                      <a:pt x="51189" y="54253"/>
                      <a:pt x="50184" y="52118"/>
                      <a:pt x="49430" y="49983"/>
                    </a:cubicBezTo>
                    <a:cubicBezTo>
                      <a:pt x="48425" y="47471"/>
                      <a:pt x="47797" y="44833"/>
                      <a:pt x="46918" y="42196"/>
                    </a:cubicBezTo>
                    <a:cubicBezTo>
                      <a:pt x="44909" y="36167"/>
                      <a:pt x="42146" y="30390"/>
                      <a:pt x="39131" y="24739"/>
                    </a:cubicBezTo>
                    <a:cubicBezTo>
                      <a:pt x="36494" y="19715"/>
                      <a:pt x="33856" y="14817"/>
                      <a:pt x="30842" y="10170"/>
                    </a:cubicBezTo>
                    <a:cubicBezTo>
                      <a:pt x="27953" y="5648"/>
                      <a:pt x="25944" y="1001"/>
                      <a:pt x="20167" y="247"/>
                    </a:cubicBezTo>
                    <a:cubicBezTo>
                      <a:pt x="17278" y="-129"/>
                      <a:pt x="14264" y="-129"/>
                      <a:pt x="11375" y="624"/>
                    </a:cubicBezTo>
                    <a:cubicBezTo>
                      <a:pt x="8486" y="1378"/>
                      <a:pt x="5849" y="3011"/>
                      <a:pt x="4216" y="5397"/>
                    </a:cubicBezTo>
                    <a:cubicBezTo>
                      <a:pt x="1202" y="9541"/>
                      <a:pt x="448" y="15947"/>
                      <a:pt x="71" y="20971"/>
                    </a:cubicBezTo>
                    <a:cubicBezTo>
                      <a:pt x="-431" y="27250"/>
                      <a:pt x="1829" y="33530"/>
                      <a:pt x="3462" y="39433"/>
                    </a:cubicBezTo>
                    <a:cubicBezTo>
                      <a:pt x="4342" y="42573"/>
                      <a:pt x="5221" y="45838"/>
                      <a:pt x="6602" y="48727"/>
                    </a:cubicBezTo>
                    <a:cubicBezTo>
                      <a:pt x="7732" y="51113"/>
                      <a:pt x="9240" y="53249"/>
                      <a:pt x="10747" y="55509"/>
                    </a:cubicBezTo>
                    <a:cubicBezTo>
                      <a:pt x="17278" y="65180"/>
                      <a:pt x="23557" y="74474"/>
                      <a:pt x="31596" y="82763"/>
                    </a:cubicBezTo>
                    <a:cubicBezTo>
                      <a:pt x="35614" y="86908"/>
                      <a:pt x="40262" y="93439"/>
                      <a:pt x="46542" y="92811"/>
                    </a:cubicBezTo>
                    <a:cubicBezTo>
                      <a:pt x="55961" y="92057"/>
                      <a:pt x="101301" y="85150"/>
                      <a:pt x="101301" y="85150"/>
                    </a:cubicBezTo>
                    <a:cubicBezTo>
                      <a:pt x="101301" y="85150"/>
                      <a:pt x="110971" y="77740"/>
                      <a:pt x="108083" y="67943"/>
                    </a:cubicBezTo>
                    <a:cubicBezTo>
                      <a:pt x="105320" y="58775"/>
                      <a:pt x="94393" y="58398"/>
                      <a:pt x="94393" y="58398"/>
                    </a:cubicBezTo>
                    <a:close/>
                  </a:path>
                </a:pathLst>
              </a:custGeom>
              <a:solidFill>
                <a:srgbClr val="BF822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9" name="Freeform: Shape 3528">
                <a:extLst>
                  <a:ext uri="{FF2B5EF4-FFF2-40B4-BE49-F238E27FC236}">
                    <a16:creationId xmlns:a16="http://schemas.microsoft.com/office/drawing/2014/main" id="{185A0F30-FB6A-459F-95E7-63945FC044B2}"/>
                  </a:ext>
                </a:extLst>
              </p:cNvPr>
              <p:cNvSpPr/>
              <p:nvPr/>
            </p:nvSpPr>
            <p:spPr>
              <a:xfrm>
                <a:off x="4508863" y="4508828"/>
                <a:ext cx="108256" cy="83454"/>
              </a:xfrm>
              <a:custGeom>
                <a:avLst/>
                <a:gdLst>
                  <a:gd name="connsiteX0" fmla="*/ 31643 w 108256"/>
                  <a:gd name="connsiteY0" fmla="*/ 73473 h 83454"/>
                  <a:gd name="connsiteX1" fmla="*/ 10795 w 108256"/>
                  <a:gd name="connsiteY1" fmla="*/ 46219 h 83454"/>
                  <a:gd name="connsiteX2" fmla="*/ 6650 w 108256"/>
                  <a:gd name="connsiteY2" fmla="*/ 39437 h 83454"/>
                  <a:gd name="connsiteX3" fmla="*/ 3510 w 108256"/>
                  <a:gd name="connsiteY3" fmla="*/ 30143 h 83454"/>
                  <a:gd name="connsiteX4" fmla="*/ 2254 w 108256"/>
                  <a:gd name="connsiteY4" fmla="*/ 0 h 83454"/>
                  <a:gd name="connsiteX5" fmla="*/ 21847 w 108256"/>
                  <a:gd name="connsiteY5" fmla="*/ 22858 h 83454"/>
                  <a:gd name="connsiteX6" fmla="*/ 38802 w 108256"/>
                  <a:gd name="connsiteY6" fmla="*/ 58150 h 83454"/>
                  <a:gd name="connsiteX7" fmla="*/ 56260 w 108256"/>
                  <a:gd name="connsiteY7" fmla="*/ 72217 h 83454"/>
                  <a:gd name="connsiteX8" fmla="*/ 108256 w 108256"/>
                  <a:gd name="connsiteY8" fmla="*/ 65058 h 83454"/>
                  <a:gd name="connsiteX9" fmla="*/ 108256 w 108256"/>
                  <a:gd name="connsiteY9" fmla="*/ 65058 h 83454"/>
                  <a:gd name="connsiteX10" fmla="*/ 101474 w 108256"/>
                  <a:gd name="connsiteY10" fmla="*/ 75608 h 83454"/>
                  <a:gd name="connsiteX11" fmla="*/ 101474 w 108256"/>
                  <a:gd name="connsiteY11" fmla="*/ 75608 h 83454"/>
                  <a:gd name="connsiteX12" fmla="*/ 101223 w 108256"/>
                  <a:gd name="connsiteY12" fmla="*/ 75734 h 83454"/>
                  <a:gd name="connsiteX13" fmla="*/ 67940 w 108256"/>
                  <a:gd name="connsiteY13" fmla="*/ 80632 h 83454"/>
                  <a:gd name="connsiteX14" fmla="*/ 46463 w 108256"/>
                  <a:gd name="connsiteY14" fmla="*/ 83395 h 83454"/>
                  <a:gd name="connsiteX15" fmla="*/ 31643 w 108256"/>
                  <a:gd name="connsiteY15" fmla="*/ 73473 h 83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8256" h="83454">
                    <a:moveTo>
                      <a:pt x="31643" y="73473"/>
                    </a:moveTo>
                    <a:cubicBezTo>
                      <a:pt x="23605" y="65058"/>
                      <a:pt x="17325" y="55764"/>
                      <a:pt x="10795" y="46219"/>
                    </a:cubicBezTo>
                    <a:cubicBezTo>
                      <a:pt x="9288" y="44084"/>
                      <a:pt x="7780" y="41823"/>
                      <a:pt x="6650" y="39437"/>
                    </a:cubicBezTo>
                    <a:cubicBezTo>
                      <a:pt x="5268" y="36422"/>
                      <a:pt x="4389" y="33283"/>
                      <a:pt x="3510" y="30143"/>
                    </a:cubicBezTo>
                    <a:cubicBezTo>
                      <a:pt x="998" y="20974"/>
                      <a:pt x="-2267" y="15071"/>
                      <a:pt x="2254" y="0"/>
                    </a:cubicBezTo>
                    <a:cubicBezTo>
                      <a:pt x="3636" y="502"/>
                      <a:pt x="12427" y="3517"/>
                      <a:pt x="21847" y="22858"/>
                    </a:cubicBezTo>
                    <a:cubicBezTo>
                      <a:pt x="25866" y="31147"/>
                      <a:pt x="35411" y="49610"/>
                      <a:pt x="38802" y="58150"/>
                    </a:cubicBezTo>
                    <a:cubicBezTo>
                      <a:pt x="41440" y="64807"/>
                      <a:pt x="48347" y="72845"/>
                      <a:pt x="56260" y="72217"/>
                    </a:cubicBezTo>
                    <a:cubicBezTo>
                      <a:pt x="64047" y="71589"/>
                      <a:pt x="100469" y="66439"/>
                      <a:pt x="108256" y="65058"/>
                    </a:cubicBezTo>
                    <a:lnTo>
                      <a:pt x="108256" y="65058"/>
                    </a:lnTo>
                    <a:cubicBezTo>
                      <a:pt x="107126" y="70710"/>
                      <a:pt x="102604" y="74729"/>
                      <a:pt x="101474" y="75608"/>
                    </a:cubicBezTo>
                    <a:cubicBezTo>
                      <a:pt x="101474" y="75608"/>
                      <a:pt x="101474" y="75608"/>
                      <a:pt x="101474" y="75608"/>
                    </a:cubicBezTo>
                    <a:cubicBezTo>
                      <a:pt x="101348" y="75734"/>
                      <a:pt x="101223" y="75734"/>
                      <a:pt x="101223" y="75734"/>
                    </a:cubicBezTo>
                    <a:cubicBezTo>
                      <a:pt x="101223" y="75734"/>
                      <a:pt x="83514" y="78371"/>
                      <a:pt x="67940" y="80632"/>
                    </a:cubicBezTo>
                    <a:cubicBezTo>
                      <a:pt x="58646" y="82013"/>
                      <a:pt x="49980" y="83144"/>
                      <a:pt x="46463" y="83395"/>
                    </a:cubicBezTo>
                    <a:cubicBezTo>
                      <a:pt x="40435" y="84148"/>
                      <a:pt x="35662" y="77617"/>
                      <a:pt x="31643" y="73473"/>
                    </a:cubicBezTo>
                    <a:close/>
                  </a:path>
                </a:pathLst>
              </a:custGeom>
              <a:solidFill>
                <a:srgbClr val="BF822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0" name="Freeform: Shape 3529">
                <a:extLst>
                  <a:ext uri="{FF2B5EF4-FFF2-40B4-BE49-F238E27FC236}">
                    <a16:creationId xmlns:a16="http://schemas.microsoft.com/office/drawing/2014/main" id="{171341CE-A55F-405E-ADFC-A88215DCDF83}"/>
                  </a:ext>
                </a:extLst>
              </p:cNvPr>
              <p:cNvSpPr/>
              <p:nvPr/>
            </p:nvSpPr>
            <p:spPr>
              <a:xfrm>
                <a:off x="4432736" y="4698476"/>
                <a:ext cx="36306" cy="22454"/>
              </a:xfrm>
              <a:custGeom>
                <a:avLst/>
                <a:gdLst>
                  <a:gd name="connsiteX0" fmla="*/ 1517 w 36306"/>
                  <a:gd name="connsiteY0" fmla="*/ 21100 h 22454"/>
                  <a:gd name="connsiteX1" fmla="*/ 2145 w 36306"/>
                  <a:gd name="connsiteY1" fmla="*/ 21477 h 22454"/>
                  <a:gd name="connsiteX2" fmla="*/ 8801 w 36306"/>
                  <a:gd name="connsiteY2" fmla="*/ 21979 h 22454"/>
                  <a:gd name="connsiteX3" fmla="*/ 36307 w 36306"/>
                  <a:gd name="connsiteY3" fmla="*/ 8918 h 22454"/>
                  <a:gd name="connsiteX4" fmla="*/ 29776 w 36306"/>
                  <a:gd name="connsiteY4" fmla="*/ 5149 h 22454"/>
                  <a:gd name="connsiteX5" fmla="*/ 20858 w 36306"/>
                  <a:gd name="connsiteY5" fmla="*/ 0 h 22454"/>
                  <a:gd name="connsiteX6" fmla="*/ 2647 w 36306"/>
                  <a:gd name="connsiteY6" fmla="*/ 9169 h 22454"/>
                  <a:gd name="connsiteX7" fmla="*/ 2773 w 36306"/>
                  <a:gd name="connsiteY7" fmla="*/ 9294 h 22454"/>
                  <a:gd name="connsiteX8" fmla="*/ 1266 w 36306"/>
                  <a:gd name="connsiteY8" fmla="*/ 11555 h 22454"/>
                  <a:gd name="connsiteX9" fmla="*/ 1517 w 36306"/>
                  <a:gd name="connsiteY9" fmla="*/ 21100 h 2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06" h="22454">
                    <a:moveTo>
                      <a:pt x="1517" y="21100"/>
                    </a:moveTo>
                    <a:cubicBezTo>
                      <a:pt x="1642" y="21226"/>
                      <a:pt x="1894" y="21351"/>
                      <a:pt x="2145" y="21477"/>
                    </a:cubicBezTo>
                    <a:cubicBezTo>
                      <a:pt x="5034" y="22607"/>
                      <a:pt x="7545" y="22733"/>
                      <a:pt x="8801" y="21979"/>
                    </a:cubicBezTo>
                    <a:lnTo>
                      <a:pt x="36307" y="8918"/>
                    </a:lnTo>
                    <a:lnTo>
                      <a:pt x="29776" y="5149"/>
                    </a:lnTo>
                    <a:lnTo>
                      <a:pt x="20858" y="0"/>
                    </a:lnTo>
                    <a:lnTo>
                      <a:pt x="2647" y="9169"/>
                    </a:lnTo>
                    <a:lnTo>
                      <a:pt x="2773" y="9294"/>
                    </a:lnTo>
                    <a:cubicBezTo>
                      <a:pt x="1768" y="9671"/>
                      <a:pt x="1266" y="10425"/>
                      <a:pt x="1266" y="11555"/>
                    </a:cubicBezTo>
                    <a:cubicBezTo>
                      <a:pt x="1768" y="14067"/>
                      <a:pt x="-1999" y="19216"/>
                      <a:pt x="1517" y="21100"/>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1" name="Freeform: Shape 3530">
                <a:extLst>
                  <a:ext uri="{FF2B5EF4-FFF2-40B4-BE49-F238E27FC236}">
                    <a16:creationId xmlns:a16="http://schemas.microsoft.com/office/drawing/2014/main" id="{16ED2EEF-EFC9-4C35-A816-6B04C005CB6B}"/>
                  </a:ext>
                </a:extLst>
              </p:cNvPr>
              <p:cNvSpPr/>
              <p:nvPr/>
            </p:nvSpPr>
            <p:spPr>
              <a:xfrm>
                <a:off x="4434101" y="4703626"/>
                <a:ext cx="34941" cy="17304"/>
              </a:xfrm>
              <a:custGeom>
                <a:avLst/>
                <a:gdLst>
                  <a:gd name="connsiteX0" fmla="*/ 152 w 34941"/>
                  <a:gd name="connsiteY0" fmla="*/ 15951 h 17304"/>
                  <a:gd name="connsiteX1" fmla="*/ 780 w 34941"/>
                  <a:gd name="connsiteY1" fmla="*/ 16328 h 17304"/>
                  <a:gd name="connsiteX2" fmla="*/ 7437 w 34941"/>
                  <a:gd name="connsiteY2" fmla="*/ 16830 h 17304"/>
                  <a:gd name="connsiteX3" fmla="*/ 34942 w 34941"/>
                  <a:gd name="connsiteY3" fmla="*/ 3768 h 17304"/>
                  <a:gd name="connsiteX4" fmla="*/ 28411 w 34941"/>
                  <a:gd name="connsiteY4" fmla="*/ 0 h 17304"/>
                  <a:gd name="connsiteX5" fmla="*/ 3041 w 34941"/>
                  <a:gd name="connsiteY5" fmla="*/ 11806 h 17304"/>
                  <a:gd name="connsiteX6" fmla="*/ 2162 w 34941"/>
                  <a:gd name="connsiteY6" fmla="*/ 11555 h 17304"/>
                  <a:gd name="connsiteX7" fmla="*/ 152 w 34941"/>
                  <a:gd name="connsiteY7" fmla="*/ 15951 h 1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41" h="17304">
                    <a:moveTo>
                      <a:pt x="152" y="15951"/>
                    </a:moveTo>
                    <a:cubicBezTo>
                      <a:pt x="278" y="16076"/>
                      <a:pt x="529" y="16202"/>
                      <a:pt x="780" y="16328"/>
                    </a:cubicBezTo>
                    <a:cubicBezTo>
                      <a:pt x="3669" y="17458"/>
                      <a:pt x="6181" y="17584"/>
                      <a:pt x="7437" y="16830"/>
                    </a:cubicBezTo>
                    <a:lnTo>
                      <a:pt x="34942" y="3768"/>
                    </a:lnTo>
                    <a:lnTo>
                      <a:pt x="28411" y="0"/>
                    </a:lnTo>
                    <a:lnTo>
                      <a:pt x="3041" y="11806"/>
                    </a:lnTo>
                    <a:cubicBezTo>
                      <a:pt x="2790" y="11932"/>
                      <a:pt x="2539" y="11932"/>
                      <a:pt x="2162" y="11555"/>
                    </a:cubicBezTo>
                    <a:cubicBezTo>
                      <a:pt x="1659" y="13062"/>
                      <a:pt x="-601" y="14946"/>
                      <a:pt x="152" y="15951"/>
                    </a:cubicBez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2" name="Freeform: Shape 3531">
                <a:extLst>
                  <a:ext uri="{FF2B5EF4-FFF2-40B4-BE49-F238E27FC236}">
                    <a16:creationId xmlns:a16="http://schemas.microsoft.com/office/drawing/2014/main" id="{BDC0BA5C-E603-4623-A90A-7F3E24624F19}"/>
                  </a:ext>
                </a:extLst>
              </p:cNvPr>
              <p:cNvSpPr/>
              <p:nvPr/>
            </p:nvSpPr>
            <p:spPr>
              <a:xfrm>
                <a:off x="4399338" y="4556804"/>
                <a:ext cx="102610" cy="113162"/>
              </a:xfrm>
              <a:custGeom>
                <a:avLst/>
                <a:gdLst>
                  <a:gd name="connsiteX0" fmla="*/ 0 w 102610"/>
                  <a:gd name="connsiteY0" fmla="*/ 5402 h 113162"/>
                  <a:gd name="connsiteX1" fmla="*/ 6154 w 102610"/>
                  <a:gd name="connsiteY1" fmla="*/ 1760 h 113162"/>
                  <a:gd name="connsiteX2" fmla="*/ 6154 w 102610"/>
                  <a:gd name="connsiteY2" fmla="*/ 1760 h 113162"/>
                  <a:gd name="connsiteX3" fmla="*/ 16955 w 102610"/>
                  <a:gd name="connsiteY3" fmla="*/ 1383 h 113162"/>
                  <a:gd name="connsiteX4" fmla="*/ 86158 w 102610"/>
                  <a:gd name="connsiteY4" fmla="*/ 41573 h 113162"/>
                  <a:gd name="connsiteX5" fmla="*/ 102611 w 102610"/>
                  <a:gd name="connsiteY5" fmla="*/ 70084 h 113162"/>
                  <a:gd name="connsiteX6" fmla="*/ 102611 w 102610"/>
                  <a:gd name="connsiteY6" fmla="*/ 99598 h 113162"/>
                  <a:gd name="connsiteX7" fmla="*/ 98090 w 102610"/>
                  <a:gd name="connsiteY7" fmla="*/ 108139 h 113162"/>
                  <a:gd name="connsiteX8" fmla="*/ 98090 w 102610"/>
                  <a:gd name="connsiteY8" fmla="*/ 108139 h 113162"/>
                  <a:gd name="connsiteX9" fmla="*/ 97713 w 102610"/>
                  <a:gd name="connsiteY9" fmla="*/ 108390 h 113162"/>
                  <a:gd name="connsiteX10" fmla="*/ 97336 w 102610"/>
                  <a:gd name="connsiteY10" fmla="*/ 108641 h 113162"/>
                  <a:gd name="connsiteX11" fmla="*/ 89800 w 102610"/>
                  <a:gd name="connsiteY11" fmla="*/ 113163 h 113162"/>
                  <a:gd name="connsiteX12" fmla="*/ 84776 w 102610"/>
                  <a:gd name="connsiteY12" fmla="*/ 107134 h 113162"/>
                  <a:gd name="connsiteX13" fmla="*/ 18086 w 102610"/>
                  <a:gd name="connsiteY13" fmla="*/ 68702 h 113162"/>
                  <a:gd name="connsiteX14" fmla="*/ 1632 w 102610"/>
                  <a:gd name="connsiteY14" fmla="*/ 40192 h 113162"/>
                  <a:gd name="connsiteX15" fmla="*/ 1632 w 102610"/>
                  <a:gd name="connsiteY15" fmla="*/ 10426 h 113162"/>
                  <a:gd name="connsiteX16" fmla="*/ 2009 w 102610"/>
                  <a:gd name="connsiteY16" fmla="*/ 7789 h 113162"/>
                  <a:gd name="connsiteX17" fmla="*/ 0 w 102610"/>
                  <a:gd name="connsiteY17" fmla="*/ 5402 h 11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610" h="113162">
                    <a:moveTo>
                      <a:pt x="0" y="5402"/>
                    </a:moveTo>
                    <a:lnTo>
                      <a:pt x="6154" y="1760"/>
                    </a:lnTo>
                    <a:lnTo>
                      <a:pt x="6154" y="1760"/>
                    </a:lnTo>
                    <a:cubicBezTo>
                      <a:pt x="9168" y="-250"/>
                      <a:pt x="13313" y="-752"/>
                      <a:pt x="16955" y="1383"/>
                    </a:cubicBezTo>
                    <a:lnTo>
                      <a:pt x="86158" y="41573"/>
                    </a:lnTo>
                    <a:cubicBezTo>
                      <a:pt x="96331" y="47476"/>
                      <a:pt x="102611" y="58278"/>
                      <a:pt x="102611" y="70084"/>
                    </a:cubicBezTo>
                    <a:lnTo>
                      <a:pt x="102611" y="99598"/>
                    </a:lnTo>
                    <a:cubicBezTo>
                      <a:pt x="102611" y="103240"/>
                      <a:pt x="100727" y="106255"/>
                      <a:pt x="98090" y="108139"/>
                    </a:cubicBezTo>
                    <a:lnTo>
                      <a:pt x="98090" y="108139"/>
                    </a:lnTo>
                    <a:lnTo>
                      <a:pt x="97713" y="108390"/>
                    </a:lnTo>
                    <a:cubicBezTo>
                      <a:pt x="97587" y="108516"/>
                      <a:pt x="97461" y="108516"/>
                      <a:pt x="97336" y="108641"/>
                    </a:cubicBezTo>
                    <a:lnTo>
                      <a:pt x="89800" y="113163"/>
                    </a:lnTo>
                    <a:lnTo>
                      <a:pt x="84776" y="107134"/>
                    </a:lnTo>
                    <a:lnTo>
                      <a:pt x="18086" y="68702"/>
                    </a:lnTo>
                    <a:cubicBezTo>
                      <a:pt x="7912" y="62799"/>
                      <a:pt x="1632" y="51998"/>
                      <a:pt x="1632" y="40192"/>
                    </a:cubicBezTo>
                    <a:lnTo>
                      <a:pt x="1632" y="10426"/>
                    </a:lnTo>
                    <a:cubicBezTo>
                      <a:pt x="1632" y="9547"/>
                      <a:pt x="1758" y="8668"/>
                      <a:pt x="2009" y="7789"/>
                    </a:cubicBezTo>
                    <a:lnTo>
                      <a:pt x="0" y="5402"/>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3" name="Freeform: Shape 3532">
                <a:extLst>
                  <a:ext uri="{FF2B5EF4-FFF2-40B4-BE49-F238E27FC236}">
                    <a16:creationId xmlns:a16="http://schemas.microsoft.com/office/drawing/2014/main" id="{A2FBDD16-3190-4D24-9D9D-52E8150593CF}"/>
                  </a:ext>
                </a:extLst>
              </p:cNvPr>
              <p:cNvSpPr/>
              <p:nvPr/>
            </p:nvSpPr>
            <p:spPr>
              <a:xfrm>
                <a:off x="4393686" y="4561041"/>
                <a:ext cx="101103" cy="109912"/>
              </a:xfrm>
              <a:custGeom>
                <a:avLst/>
                <a:gdLst>
                  <a:gd name="connsiteX0" fmla="*/ 15574 w 101103"/>
                  <a:gd name="connsiteY0" fmla="*/ 1416 h 109912"/>
                  <a:gd name="connsiteX1" fmla="*/ 84776 w 101103"/>
                  <a:gd name="connsiteY1" fmla="*/ 41607 h 109912"/>
                  <a:gd name="connsiteX2" fmla="*/ 101104 w 101103"/>
                  <a:gd name="connsiteY2" fmla="*/ 70117 h 109912"/>
                  <a:gd name="connsiteX3" fmla="*/ 101104 w 101103"/>
                  <a:gd name="connsiteY3" fmla="*/ 99632 h 109912"/>
                  <a:gd name="connsiteX4" fmla="*/ 85656 w 101103"/>
                  <a:gd name="connsiteY4" fmla="*/ 108549 h 109912"/>
                  <a:gd name="connsiteX5" fmla="*/ 16453 w 101103"/>
                  <a:gd name="connsiteY5" fmla="*/ 68610 h 109912"/>
                  <a:gd name="connsiteX6" fmla="*/ 0 w 101103"/>
                  <a:gd name="connsiteY6" fmla="*/ 40099 h 109912"/>
                  <a:gd name="connsiteX7" fmla="*/ 0 w 101103"/>
                  <a:gd name="connsiteY7" fmla="*/ 10333 h 109912"/>
                  <a:gd name="connsiteX8" fmla="*/ 15574 w 101103"/>
                  <a:gd name="connsiteY8" fmla="*/ 1416 h 10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3" h="109912">
                    <a:moveTo>
                      <a:pt x="15574" y="1416"/>
                    </a:moveTo>
                    <a:lnTo>
                      <a:pt x="84776" y="41607"/>
                    </a:lnTo>
                    <a:cubicBezTo>
                      <a:pt x="94950" y="47510"/>
                      <a:pt x="101104" y="58311"/>
                      <a:pt x="101104" y="70117"/>
                    </a:cubicBezTo>
                    <a:lnTo>
                      <a:pt x="101104" y="99632"/>
                    </a:lnTo>
                    <a:cubicBezTo>
                      <a:pt x="101104" y="107544"/>
                      <a:pt x="92563" y="112442"/>
                      <a:pt x="85656" y="108549"/>
                    </a:cubicBezTo>
                    <a:lnTo>
                      <a:pt x="16453" y="68610"/>
                    </a:lnTo>
                    <a:cubicBezTo>
                      <a:pt x="6280" y="62707"/>
                      <a:pt x="0" y="51905"/>
                      <a:pt x="0" y="40099"/>
                    </a:cubicBezTo>
                    <a:lnTo>
                      <a:pt x="0" y="10333"/>
                    </a:lnTo>
                    <a:cubicBezTo>
                      <a:pt x="126" y="2421"/>
                      <a:pt x="8666" y="-2603"/>
                      <a:pt x="15574" y="1416"/>
                    </a:cubicBezTo>
                    <a:close/>
                  </a:path>
                </a:pathLst>
              </a:custGeom>
              <a:solidFill>
                <a:srgbClr val="4B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4" name="Freeform: Shape 3533">
                <a:extLst>
                  <a:ext uri="{FF2B5EF4-FFF2-40B4-BE49-F238E27FC236}">
                    <a16:creationId xmlns:a16="http://schemas.microsoft.com/office/drawing/2014/main" id="{01784702-CEE0-4BFB-92F0-A856D9EB4F26}"/>
                  </a:ext>
                </a:extLst>
              </p:cNvPr>
              <p:cNvSpPr/>
              <p:nvPr/>
            </p:nvSpPr>
            <p:spPr>
              <a:xfrm>
                <a:off x="4430109" y="4630573"/>
                <a:ext cx="16704" cy="90183"/>
              </a:xfrm>
              <a:custGeom>
                <a:avLst/>
                <a:gdLst>
                  <a:gd name="connsiteX0" fmla="*/ 0 w 16704"/>
                  <a:gd name="connsiteY0" fmla="*/ 4981 h 90183"/>
                  <a:gd name="connsiteX1" fmla="*/ 0 w 16704"/>
                  <a:gd name="connsiteY1" fmla="*/ 83728 h 90183"/>
                  <a:gd name="connsiteX2" fmla="*/ 126 w 16704"/>
                  <a:gd name="connsiteY2" fmla="*/ 83728 h 90183"/>
                  <a:gd name="connsiteX3" fmla="*/ 251 w 16704"/>
                  <a:gd name="connsiteY3" fmla="*/ 84482 h 90183"/>
                  <a:gd name="connsiteX4" fmla="*/ 1759 w 16704"/>
                  <a:gd name="connsiteY4" fmla="*/ 87622 h 90183"/>
                  <a:gd name="connsiteX5" fmla="*/ 6280 w 16704"/>
                  <a:gd name="connsiteY5" fmla="*/ 90008 h 90183"/>
                  <a:gd name="connsiteX6" fmla="*/ 10550 w 16704"/>
                  <a:gd name="connsiteY6" fmla="*/ 89883 h 90183"/>
                  <a:gd name="connsiteX7" fmla="*/ 13188 w 16704"/>
                  <a:gd name="connsiteY7" fmla="*/ 88752 h 90183"/>
                  <a:gd name="connsiteX8" fmla="*/ 16579 w 16704"/>
                  <a:gd name="connsiteY8" fmla="*/ 83728 h 90183"/>
                  <a:gd name="connsiteX9" fmla="*/ 16704 w 16704"/>
                  <a:gd name="connsiteY9" fmla="*/ 82975 h 90183"/>
                  <a:gd name="connsiteX10" fmla="*/ 16704 w 16704"/>
                  <a:gd name="connsiteY10" fmla="*/ 5734 h 90183"/>
                  <a:gd name="connsiteX11" fmla="*/ 16579 w 16704"/>
                  <a:gd name="connsiteY11" fmla="*/ 5483 h 90183"/>
                  <a:gd name="connsiteX12" fmla="*/ 15072 w 16704"/>
                  <a:gd name="connsiteY12" fmla="*/ 2469 h 90183"/>
                  <a:gd name="connsiteX13" fmla="*/ 10550 w 16704"/>
                  <a:gd name="connsiteY13" fmla="*/ 334 h 90183"/>
                  <a:gd name="connsiteX14" fmla="*/ 8289 w 16704"/>
                  <a:gd name="connsiteY14" fmla="*/ 82 h 90183"/>
                  <a:gd name="connsiteX15" fmla="*/ 6280 w 16704"/>
                  <a:gd name="connsiteY15" fmla="*/ 208 h 90183"/>
                  <a:gd name="connsiteX16" fmla="*/ 3517 w 16704"/>
                  <a:gd name="connsiteY16" fmla="*/ 836 h 90183"/>
                  <a:gd name="connsiteX17" fmla="*/ 251 w 16704"/>
                  <a:gd name="connsiteY17" fmla="*/ 4101 h 90183"/>
                  <a:gd name="connsiteX18" fmla="*/ 0 w 16704"/>
                  <a:gd name="connsiteY18" fmla="*/ 4981 h 90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704" h="90183">
                    <a:moveTo>
                      <a:pt x="0" y="4981"/>
                    </a:moveTo>
                    <a:lnTo>
                      <a:pt x="0" y="83728"/>
                    </a:lnTo>
                    <a:lnTo>
                      <a:pt x="126" y="83728"/>
                    </a:lnTo>
                    <a:cubicBezTo>
                      <a:pt x="126" y="83980"/>
                      <a:pt x="126" y="84231"/>
                      <a:pt x="251" y="84482"/>
                    </a:cubicBezTo>
                    <a:cubicBezTo>
                      <a:pt x="251" y="85612"/>
                      <a:pt x="754" y="86743"/>
                      <a:pt x="1759" y="87622"/>
                    </a:cubicBezTo>
                    <a:cubicBezTo>
                      <a:pt x="2889" y="88752"/>
                      <a:pt x="4522" y="89631"/>
                      <a:pt x="6280" y="90008"/>
                    </a:cubicBezTo>
                    <a:cubicBezTo>
                      <a:pt x="7661" y="90259"/>
                      <a:pt x="9169" y="90259"/>
                      <a:pt x="10550" y="89883"/>
                    </a:cubicBezTo>
                    <a:cubicBezTo>
                      <a:pt x="11429" y="89631"/>
                      <a:pt x="12434" y="89255"/>
                      <a:pt x="13188" y="88752"/>
                    </a:cubicBezTo>
                    <a:cubicBezTo>
                      <a:pt x="15323" y="87497"/>
                      <a:pt x="16453" y="85612"/>
                      <a:pt x="16579" y="83728"/>
                    </a:cubicBezTo>
                    <a:cubicBezTo>
                      <a:pt x="16704" y="83477"/>
                      <a:pt x="16704" y="83226"/>
                      <a:pt x="16704" y="82975"/>
                    </a:cubicBezTo>
                    <a:lnTo>
                      <a:pt x="16704" y="5734"/>
                    </a:lnTo>
                    <a:cubicBezTo>
                      <a:pt x="16704" y="5734"/>
                      <a:pt x="16704" y="5609"/>
                      <a:pt x="16579" y="5483"/>
                    </a:cubicBezTo>
                    <a:cubicBezTo>
                      <a:pt x="16579" y="4478"/>
                      <a:pt x="16076" y="3474"/>
                      <a:pt x="15072" y="2469"/>
                    </a:cubicBezTo>
                    <a:cubicBezTo>
                      <a:pt x="13941" y="1464"/>
                      <a:pt x="12308" y="711"/>
                      <a:pt x="10550" y="334"/>
                    </a:cubicBezTo>
                    <a:cubicBezTo>
                      <a:pt x="9796" y="208"/>
                      <a:pt x="9043" y="82"/>
                      <a:pt x="8289" y="82"/>
                    </a:cubicBezTo>
                    <a:cubicBezTo>
                      <a:pt x="7661" y="-43"/>
                      <a:pt x="6908" y="-43"/>
                      <a:pt x="6280" y="208"/>
                    </a:cubicBezTo>
                    <a:cubicBezTo>
                      <a:pt x="5275" y="334"/>
                      <a:pt x="4396" y="459"/>
                      <a:pt x="3517" y="836"/>
                    </a:cubicBezTo>
                    <a:cubicBezTo>
                      <a:pt x="1633" y="1715"/>
                      <a:pt x="502" y="2720"/>
                      <a:pt x="251" y="4101"/>
                    </a:cubicBezTo>
                    <a:cubicBezTo>
                      <a:pt x="0" y="4478"/>
                      <a:pt x="0" y="4729"/>
                      <a:pt x="0" y="4981"/>
                    </a:cubicBez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5" name="Freeform: Shape 3534">
                <a:extLst>
                  <a:ext uri="{FF2B5EF4-FFF2-40B4-BE49-F238E27FC236}">
                    <a16:creationId xmlns:a16="http://schemas.microsoft.com/office/drawing/2014/main" id="{651E6799-0C0D-44CE-B768-07AE3E346462}"/>
                  </a:ext>
                </a:extLst>
              </p:cNvPr>
              <p:cNvSpPr/>
              <p:nvPr/>
            </p:nvSpPr>
            <p:spPr>
              <a:xfrm>
                <a:off x="4440658" y="4631032"/>
                <a:ext cx="6028" cy="89549"/>
              </a:xfrm>
              <a:custGeom>
                <a:avLst/>
                <a:gdLst>
                  <a:gd name="connsiteX0" fmla="*/ 0 w 6028"/>
                  <a:gd name="connsiteY0" fmla="*/ 0 h 89549"/>
                  <a:gd name="connsiteX1" fmla="*/ 0 w 6028"/>
                  <a:gd name="connsiteY1" fmla="*/ 89549 h 89549"/>
                  <a:gd name="connsiteX2" fmla="*/ 2638 w 6028"/>
                  <a:gd name="connsiteY2" fmla="*/ 88419 h 89549"/>
                  <a:gd name="connsiteX3" fmla="*/ 6029 w 6028"/>
                  <a:gd name="connsiteY3" fmla="*/ 83395 h 89549"/>
                  <a:gd name="connsiteX4" fmla="*/ 6029 w 6028"/>
                  <a:gd name="connsiteY4" fmla="*/ 5275 h 89549"/>
                  <a:gd name="connsiteX5" fmla="*/ 4522 w 6028"/>
                  <a:gd name="connsiteY5" fmla="*/ 2261 h 89549"/>
                  <a:gd name="connsiteX6" fmla="*/ 0 w 6028"/>
                  <a:gd name="connsiteY6" fmla="*/ 0 h 89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89549">
                    <a:moveTo>
                      <a:pt x="0" y="0"/>
                    </a:moveTo>
                    <a:lnTo>
                      <a:pt x="0" y="89549"/>
                    </a:lnTo>
                    <a:cubicBezTo>
                      <a:pt x="879" y="89298"/>
                      <a:pt x="1884" y="88921"/>
                      <a:pt x="2638" y="88419"/>
                    </a:cubicBezTo>
                    <a:cubicBezTo>
                      <a:pt x="4773" y="87163"/>
                      <a:pt x="5903" y="85279"/>
                      <a:pt x="6029" y="83395"/>
                    </a:cubicBezTo>
                    <a:lnTo>
                      <a:pt x="6029" y="5275"/>
                    </a:lnTo>
                    <a:cubicBezTo>
                      <a:pt x="6029" y="4270"/>
                      <a:pt x="5526" y="3266"/>
                      <a:pt x="4522" y="2261"/>
                    </a:cubicBezTo>
                    <a:cubicBezTo>
                      <a:pt x="3391" y="1130"/>
                      <a:pt x="1759" y="377"/>
                      <a:pt x="0" y="0"/>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6" name="Freeform: Shape 3535">
                <a:extLst>
                  <a:ext uri="{FF2B5EF4-FFF2-40B4-BE49-F238E27FC236}">
                    <a16:creationId xmlns:a16="http://schemas.microsoft.com/office/drawing/2014/main" id="{B84A9502-6E30-4E1F-B6EF-83134648275B}"/>
                  </a:ext>
                </a:extLst>
              </p:cNvPr>
              <p:cNvSpPr/>
              <p:nvPr/>
            </p:nvSpPr>
            <p:spPr>
              <a:xfrm>
                <a:off x="4430360" y="4630781"/>
                <a:ext cx="6028" cy="89800"/>
              </a:xfrm>
              <a:custGeom>
                <a:avLst/>
                <a:gdLst>
                  <a:gd name="connsiteX0" fmla="*/ 0 w 6028"/>
                  <a:gd name="connsiteY0" fmla="*/ 4019 h 89800"/>
                  <a:gd name="connsiteX1" fmla="*/ 0 w 6028"/>
                  <a:gd name="connsiteY1" fmla="*/ 84274 h 89800"/>
                  <a:gd name="connsiteX2" fmla="*/ 1507 w 6028"/>
                  <a:gd name="connsiteY2" fmla="*/ 87414 h 89800"/>
                  <a:gd name="connsiteX3" fmla="*/ 6028 w 6028"/>
                  <a:gd name="connsiteY3" fmla="*/ 89800 h 89800"/>
                  <a:gd name="connsiteX4" fmla="*/ 6028 w 6028"/>
                  <a:gd name="connsiteY4" fmla="*/ 0 h 89800"/>
                  <a:gd name="connsiteX5" fmla="*/ 3265 w 6028"/>
                  <a:gd name="connsiteY5" fmla="*/ 628 h 89800"/>
                  <a:gd name="connsiteX6" fmla="*/ 0 w 6028"/>
                  <a:gd name="connsiteY6" fmla="*/ 4019 h 8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89800">
                    <a:moveTo>
                      <a:pt x="0" y="4019"/>
                    </a:moveTo>
                    <a:lnTo>
                      <a:pt x="0" y="84274"/>
                    </a:lnTo>
                    <a:cubicBezTo>
                      <a:pt x="0" y="85404"/>
                      <a:pt x="502" y="86535"/>
                      <a:pt x="1507" y="87414"/>
                    </a:cubicBezTo>
                    <a:cubicBezTo>
                      <a:pt x="2637" y="88544"/>
                      <a:pt x="4270" y="89423"/>
                      <a:pt x="6028" y="89800"/>
                    </a:cubicBezTo>
                    <a:lnTo>
                      <a:pt x="6028" y="0"/>
                    </a:lnTo>
                    <a:cubicBezTo>
                      <a:pt x="5024" y="126"/>
                      <a:pt x="4144" y="251"/>
                      <a:pt x="3265" y="628"/>
                    </a:cubicBezTo>
                    <a:cubicBezTo>
                      <a:pt x="1381" y="1507"/>
                      <a:pt x="251" y="2637"/>
                      <a:pt x="0" y="4019"/>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7" name="Freeform: Shape 3536">
                <a:extLst>
                  <a:ext uri="{FF2B5EF4-FFF2-40B4-BE49-F238E27FC236}">
                    <a16:creationId xmlns:a16="http://schemas.microsoft.com/office/drawing/2014/main" id="{6C9353C4-6A99-4E06-A33C-2795FFF27214}"/>
                  </a:ext>
                </a:extLst>
              </p:cNvPr>
              <p:cNvSpPr/>
              <p:nvPr/>
            </p:nvSpPr>
            <p:spPr>
              <a:xfrm>
                <a:off x="4430109" y="4630698"/>
                <a:ext cx="16578" cy="10556"/>
              </a:xfrm>
              <a:custGeom>
                <a:avLst/>
                <a:gdLst>
                  <a:gd name="connsiteX0" fmla="*/ 0 w 16578"/>
                  <a:gd name="connsiteY0" fmla="*/ 4855 h 10556"/>
                  <a:gd name="connsiteX1" fmla="*/ 126 w 16578"/>
                  <a:gd name="connsiteY1" fmla="*/ 5860 h 10556"/>
                  <a:gd name="connsiteX2" fmla="*/ 1507 w 16578"/>
                  <a:gd name="connsiteY2" fmla="*/ 8120 h 10556"/>
                  <a:gd name="connsiteX3" fmla="*/ 6154 w 16578"/>
                  <a:gd name="connsiteY3" fmla="*/ 10256 h 10556"/>
                  <a:gd name="connsiteX4" fmla="*/ 10425 w 16578"/>
                  <a:gd name="connsiteY4" fmla="*/ 10507 h 10556"/>
                  <a:gd name="connsiteX5" fmla="*/ 13062 w 16578"/>
                  <a:gd name="connsiteY5" fmla="*/ 9879 h 10556"/>
                  <a:gd name="connsiteX6" fmla="*/ 16453 w 16578"/>
                  <a:gd name="connsiteY6" fmla="*/ 6111 h 10556"/>
                  <a:gd name="connsiteX7" fmla="*/ 16579 w 16578"/>
                  <a:gd name="connsiteY7" fmla="*/ 5734 h 10556"/>
                  <a:gd name="connsiteX8" fmla="*/ 16453 w 16578"/>
                  <a:gd name="connsiteY8" fmla="*/ 5483 h 10556"/>
                  <a:gd name="connsiteX9" fmla="*/ 14946 w 16578"/>
                  <a:gd name="connsiteY9" fmla="*/ 2469 h 10556"/>
                  <a:gd name="connsiteX10" fmla="*/ 10425 w 16578"/>
                  <a:gd name="connsiteY10" fmla="*/ 334 h 10556"/>
                  <a:gd name="connsiteX11" fmla="*/ 8164 w 16578"/>
                  <a:gd name="connsiteY11" fmla="*/ 83 h 10556"/>
                  <a:gd name="connsiteX12" fmla="*/ 6154 w 16578"/>
                  <a:gd name="connsiteY12" fmla="*/ 208 h 10556"/>
                  <a:gd name="connsiteX13" fmla="*/ 3391 w 16578"/>
                  <a:gd name="connsiteY13" fmla="*/ 836 h 10556"/>
                  <a:gd name="connsiteX14" fmla="*/ 126 w 16578"/>
                  <a:gd name="connsiteY14" fmla="*/ 4102 h 10556"/>
                  <a:gd name="connsiteX15" fmla="*/ 0 w 16578"/>
                  <a:gd name="connsiteY15" fmla="*/ 4855 h 1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78" h="10556">
                    <a:moveTo>
                      <a:pt x="0" y="4855"/>
                    </a:moveTo>
                    <a:cubicBezTo>
                      <a:pt x="0" y="5232"/>
                      <a:pt x="126" y="5609"/>
                      <a:pt x="126" y="5860"/>
                    </a:cubicBezTo>
                    <a:cubicBezTo>
                      <a:pt x="377" y="6613"/>
                      <a:pt x="754" y="7367"/>
                      <a:pt x="1507" y="8120"/>
                    </a:cubicBezTo>
                    <a:cubicBezTo>
                      <a:pt x="2637" y="9251"/>
                      <a:pt x="4396" y="9879"/>
                      <a:pt x="6154" y="10256"/>
                    </a:cubicBezTo>
                    <a:cubicBezTo>
                      <a:pt x="7536" y="10507"/>
                      <a:pt x="9043" y="10632"/>
                      <a:pt x="10425" y="10507"/>
                    </a:cubicBezTo>
                    <a:cubicBezTo>
                      <a:pt x="11429" y="10381"/>
                      <a:pt x="12308" y="10256"/>
                      <a:pt x="13062" y="9879"/>
                    </a:cubicBezTo>
                    <a:cubicBezTo>
                      <a:pt x="15197" y="9000"/>
                      <a:pt x="16202" y="7618"/>
                      <a:pt x="16453" y="6111"/>
                    </a:cubicBezTo>
                    <a:cubicBezTo>
                      <a:pt x="16579" y="5986"/>
                      <a:pt x="16579" y="5860"/>
                      <a:pt x="16579" y="5734"/>
                    </a:cubicBezTo>
                    <a:cubicBezTo>
                      <a:pt x="16579" y="5734"/>
                      <a:pt x="16579" y="5609"/>
                      <a:pt x="16453" y="5483"/>
                    </a:cubicBezTo>
                    <a:cubicBezTo>
                      <a:pt x="16453" y="4478"/>
                      <a:pt x="15951" y="3473"/>
                      <a:pt x="14946" y="2469"/>
                    </a:cubicBezTo>
                    <a:cubicBezTo>
                      <a:pt x="13816" y="1464"/>
                      <a:pt x="12183" y="710"/>
                      <a:pt x="10425" y="334"/>
                    </a:cubicBezTo>
                    <a:cubicBezTo>
                      <a:pt x="9671" y="208"/>
                      <a:pt x="8917" y="83"/>
                      <a:pt x="8164" y="83"/>
                    </a:cubicBezTo>
                    <a:cubicBezTo>
                      <a:pt x="7536" y="-43"/>
                      <a:pt x="6782" y="-43"/>
                      <a:pt x="6154" y="208"/>
                    </a:cubicBezTo>
                    <a:cubicBezTo>
                      <a:pt x="5149" y="334"/>
                      <a:pt x="4270" y="459"/>
                      <a:pt x="3391" y="836"/>
                    </a:cubicBezTo>
                    <a:cubicBezTo>
                      <a:pt x="1507" y="1715"/>
                      <a:pt x="377" y="2720"/>
                      <a:pt x="126" y="4102"/>
                    </a:cubicBezTo>
                    <a:cubicBezTo>
                      <a:pt x="0" y="4353"/>
                      <a:pt x="0" y="4604"/>
                      <a:pt x="0" y="4855"/>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8" name="Freeform: Shape 3537">
                <a:extLst>
                  <a:ext uri="{FF2B5EF4-FFF2-40B4-BE49-F238E27FC236}">
                    <a16:creationId xmlns:a16="http://schemas.microsoft.com/office/drawing/2014/main" id="{B4DD5F64-BAF7-4957-8BA9-8BE1F02E45A8}"/>
                  </a:ext>
                </a:extLst>
              </p:cNvPr>
              <p:cNvSpPr/>
              <p:nvPr/>
            </p:nvSpPr>
            <p:spPr>
              <a:xfrm>
                <a:off x="4431741" y="4631753"/>
                <a:ext cx="13313" cy="8592"/>
              </a:xfrm>
              <a:custGeom>
                <a:avLst/>
                <a:gdLst>
                  <a:gd name="connsiteX0" fmla="*/ 0 w 13313"/>
                  <a:gd name="connsiteY0" fmla="*/ 3925 h 8592"/>
                  <a:gd name="connsiteX1" fmla="*/ 1256 w 13313"/>
                  <a:gd name="connsiteY1" fmla="*/ 6563 h 8592"/>
                  <a:gd name="connsiteX2" fmla="*/ 10550 w 13313"/>
                  <a:gd name="connsiteY2" fmla="*/ 7944 h 8592"/>
                  <a:gd name="connsiteX3" fmla="*/ 13313 w 13313"/>
                  <a:gd name="connsiteY3" fmla="*/ 4679 h 8592"/>
                  <a:gd name="connsiteX4" fmla="*/ 13313 w 13313"/>
                  <a:gd name="connsiteY4" fmla="*/ 4428 h 8592"/>
                  <a:gd name="connsiteX5" fmla="*/ 12057 w 13313"/>
                  <a:gd name="connsiteY5" fmla="*/ 2041 h 8592"/>
                  <a:gd name="connsiteX6" fmla="*/ 6657 w 13313"/>
                  <a:gd name="connsiteY6" fmla="*/ 32 h 8592"/>
                  <a:gd name="connsiteX7" fmla="*/ 2763 w 13313"/>
                  <a:gd name="connsiteY7" fmla="*/ 660 h 8592"/>
                  <a:gd name="connsiteX8" fmla="*/ 0 w 13313"/>
                  <a:gd name="connsiteY8" fmla="*/ 3925 h 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13" h="8592">
                    <a:moveTo>
                      <a:pt x="0" y="3925"/>
                    </a:moveTo>
                    <a:cubicBezTo>
                      <a:pt x="0" y="4805"/>
                      <a:pt x="377" y="5684"/>
                      <a:pt x="1256" y="6563"/>
                    </a:cubicBezTo>
                    <a:cubicBezTo>
                      <a:pt x="3391" y="8573"/>
                      <a:pt x="7661" y="9200"/>
                      <a:pt x="10550" y="7944"/>
                    </a:cubicBezTo>
                    <a:cubicBezTo>
                      <a:pt x="12308" y="7191"/>
                      <a:pt x="13313" y="5935"/>
                      <a:pt x="13313" y="4679"/>
                    </a:cubicBezTo>
                    <a:cubicBezTo>
                      <a:pt x="13313" y="4679"/>
                      <a:pt x="13313" y="4554"/>
                      <a:pt x="13313" y="4428"/>
                    </a:cubicBezTo>
                    <a:cubicBezTo>
                      <a:pt x="13313" y="3549"/>
                      <a:pt x="12936" y="2795"/>
                      <a:pt x="12057" y="2041"/>
                    </a:cubicBezTo>
                    <a:cubicBezTo>
                      <a:pt x="10801" y="911"/>
                      <a:pt x="8666" y="158"/>
                      <a:pt x="6657" y="32"/>
                    </a:cubicBezTo>
                    <a:cubicBezTo>
                      <a:pt x="5275" y="-93"/>
                      <a:pt x="4019" y="158"/>
                      <a:pt x="2763" y="660"/>
                    </a:cubicBezTo>
                    <a:cubicBezTo>
                      <a:pt x="1005" y="1414"/>
                      <a:pt x="0" y="2670"/>
                      <a:pt x="0" y="3925"/>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539" name="Graphic 4">
              <a:extLst>
                <a:ext uri="{FF2B5EF4-FFF2-40B4-BE49-F238E27FC236}">
                  <a16:creationId xmlns:a16="http://schemas.microsoft.com/office/drawing/2014/main" id="{84FB7ED1-A2DF-40A1-A747-5F7CF3F14040}"/>
                </a:ext>
              </a:extLst>
            </p:cNvPr>
            <p:cNvGrpSpPr/>
            <p:nvPr/>
          </p:nvGrpSpPr>
          <p:grpSpPr>
            <a:xfrm>
              <a:off x="4702398" y="4476767"/>
              <a:ext cx="487935" cy="588069"/>
              <a:chOff x="4702398" y="4476767"/>
              <a:chExt cx="487935" cy="588069"/>
            </a:xfrm>
            <a:solidFill>
              <a:schemeClr val="accent1"/>
            </a:solidFill>
          </p:grpSpPr>
          <p:grpSp>
            <p:nvGrpSpPr>
              <p:cNvPr id="3540" name="Graphic 4">
                <a:extLst>
                  <a:ext uri="{FF2B5EF4-FFF2-40B4-BE49-F238E27FC236}">
                    <a16:creationId xmlns:a16="http://schemas.microsoft.com/office/drawing/2014/main" id="{84FB7ED1-A2DF-40A1-A747-5F7CF3F14040}"/>
                  </a:ext>
                </a:extLst>
              </p:cNvPr>
              <p:cNvGrpSpPr/>
              <p:nvPr/>
            </p:nvGrpSpPr>
            <p:grpSpPr>
              <a:xfrm>
                <a:off x="4706292" y="4552661"/>
                <a:ext cx="166538" cy="329560"/>
                <a:chOff x="4706292" y="4552661"/>
                <a:chExt cx="166538" cy="329560"/>
              </a:xfrm>
              <a:solidFill>
                <a:schemeClr val="accent1"/>
              </a:solidFill>
            </p:grpSpPr>
            <p:sp>
              <p:nvSpPr>
                <p:cNvPr id="3541" name="Freeform: Shape 3540">
                  <a:extLst>
                    <a:ext uri="{FF2B5EF4-FFF2-40B4-BE49-F238E27FC236}">
                      <a16:creationId xmlns:a16="http://schemas.microsoft.com/office/drawing/2014/main" id="{4257196C-4183-400F-AAF9-DBBC6E6AD083}"/>
                    </a:ext>
                  </a:extLst>
                </p:cNvPr>
                <p:cNvSpPr/>
                <p:nvPr/>
              </p:nvSpPr>
              <p:spPr>
                <a:xfrm>
                  <a:off x="4706292" y="4642210"/>
                  <a:ext cx="5777" cy="240011"/>
                </a:xfrm>
                <a:custGeom>
                  <a:avLst/>
                  <a:gdLst>
                    <a:gd name="connsiteX0" fmla="*/ 5777 w 5777"/>
                    <a:gd name="connsiteY0" fmla="*/ 240011 h 240011"/>
                    <a:gd name="connsiteX1" fmla="*/ 0 w 5777"/>
                    <a:gd name="connsiteY1" fmla="*/ 236621 h 240011"/>
                    <a:gd name="connsiteX2" fmla="*/ 0 w 5777"/>
                    <a:gd name="connsiteY2" fmla="*/ 0 h 240011"/>
                    <a:gd name="connsiteX3" fmla="*/ 5777 w 5777"/>
                    <a:gd name="connsiteY3" fmla="*/ 3265 h 240011"/>
                  </a:gdLst>
                  <a:ahLst/>
                  <a:cxnLst>
                    <a:cxn ang="0">
                      <a:pos x="connsiteX0" y="connsiteY0"/>
                    </a:cxn>
                    <a:cxn ang="0">
                      <a:pos x="connsiteX1" y="connsiteY1"/>
                    </a:cxn>
                    <a:cxn ang="0">
                      <a:pos x="connsiteX2" y="connsiteY2"/>
                    </a:cxn>
                    <a:cxn ang="0">
                      <a:pos x="connsiteX3" y="connsiteY3"/>
                    </a:cxn>
                  </a:cxnLst>
                  <a:rect l="l" t="t" r="r" b="b"/>
                  <a:pathLst>
                    <a:path w="5777" h="240011">
                      <a:moveTo>
                        <a:pt x="5777" y="240011"/>
                      </a:moveTo>
                      <a:lnTo>
                        <a:pt x="0" y="236621"/>
                      </a:lnTo>
                      <a:lnTo>
                        <a:pt x="0" y="0"/>
                      </a:lnTo>
                      <a:lnTo>
                        <a:pt x="5777" y="3265"/>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2" name="Freeform: Shape 3541">
                  <a:extLst>
                    <a:ext uri="{FF2B5EF4-FFF2-40B4-BE49-F238E27FC236}">
                      <a16:creationId xmlns:a16="http://schemas.microsoft.com/office/drawing/2014/main" id="{A4FE37FF-DBA2-433C-BC26-D30552234B00}"/>
                    </a:ext>
                  </a:extLst>
                </p:cNvPr>
                <p:cNvSpPr/>
                <p:nvPr/>
              </p:nvSpPr>
              <p:spPr>
                <a:xfrm>
                  <a:off x="4712069" y="4642210"/>
                  <a:ext cx="5777" cy="240011"/>
                </a:xfrm>
                <a:custGeom>
                  <a:avLst/>
                  <a:gdLst>
                    <a:gd name="connsiteX0" fmla="*/ 0 w 5777"/>
                    <a:gd name="connsiteY0" fmla="*/ 240011 h 240011"/>
                    <a:gd name="connsiteX1" fmla="*/ 5777 w 5777"/>
                    <a:gd name="connsiteY1" fmla="*/ 236621 h 240011"/>
                    <a:gd name="connsiteX2" fmla="*/ 5777 w 5777"/>
                    <a:gd name="connsiteY2" fmla="*/ 0 h 240011"/>
                    <a:gd name="connsiteX3" fmla="*/ 0 w 5777"/>
                    <a:gd name="connsiteY3" fmla="*/ 3265 h 240011"/>
                  </a:gdLst>
                  <a:ahLst/>
                  <a:cxnLst>
                    <a:cxn ang="0">
                      <a:pos x="connsiteX0" y="connsiteY0"/>
                    </a:cxn>
                    <a:cxn ang="0">
                      <a:pos x="connsiteX1" y="connsiteY1"/>
                    </a:cxn>
                    <a:cxn ang="0">
                      <a:pos x="connsiteX2" y="connsiteY2"/>
                    </a:cxn>
                    <a:cxn ang="0">
                      <a:pos x="connsiteX3" y="connsiteY3"/>
                    </a:cxn>
                  </a:cxnLst>
                  <a:rect l="l" t="t" r="r" b="b"/>
                  <a:pathLst>
                    <a:path w="5777" h="240011">
                      <a:moveTo>
                        <a:pt x="0" y="240011"/>
                      </a:moveTo>
                      <a:lnTo>
                        <a:pt x="5777" y="236621"/>
                      </a:lnTo>
                      <a:lnTo>
                        <a:pt x="5777" y="0"/>
                      </a:lnTo>
                      <a:lnTo>
                        <a:pt x="0" y="3265"/>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3" name="Freeform: Shape 3542">
                  <a:extLst>
                    <a:ext uri="{FF2B5EF4-FFF2-40B4-BE49-F238E27FC236}">
                      <a16:creationId xmlns:a16="http://schemas.microsoft.com/office/drawing/2014/main" id="{338013D5-3A1D-45CE-A720-82B8F3F799AF}"/>
                    </a:ext>
                  </a:extLst>
                </p:cNvPr>
                <p:cNvSpPr/>
                <p:nvPr/>
              </p:nvSpPr>
              <p:spPr>
                <a:xfrm>
                  <a:off x="4861150" y="4559317"/>
                  <a:ext cx="5777" cy="234108"/>
                </a:xfrm>
                <a:custGeom>
                  <a:avLst/>
                  <a:gdLst>
                    <a:gd name="connsiteX0" fmla="*/ 5777 w 5777"/>
                    <a:gd name="connsiteY0" fmla="*/ 234109 h 234108"/>
                    <a:gd name="connsiteX1" fmla="*/ 0 w 5777"/>
                    <a:gd name="connsiteY1" fmla="*/ 230843 h 234108"/>
                    <a:gd name="connsiteX2" fmla="*/ 0 w 5777"/>
                    <a:gd name="connsiteY2" fmla="*/ 0 h 234108"/>
                    <a:gd name="connsiteX3" fmla="*/ 5777 w 5777"/>
                    <a:gd name="connsiteY3" fmla="*/ 3391 h 234108"/>
                  </a:gdLst>
                  <a:ahLst/>
                  <a:cxnLst>
                    <a:cxn ang="0">
                      <a:pos x="connsiteX0" y="connsiteY0"/>
                    </a:cxn>
                    <a:cxn ang="0">
                      <a:pos x="connsiteX1" y="connsiteY1"/>
                    </a:cxn>
                    <a:cxn ang="0">
                      <a:pos x="connsiteX2" y="connsiteY2"/>
                    </a:cxn>
                    <a:cxn ang="0">
                      <a:pos x="connsiteX3" y="connsiteY3"/>
                    </a:cxn>
                  </a:cxnLst>
                  <a:rect l="l" t="t" r="r" b="b"/>
                  <a:pathLst>
                    <a:path w="5777" h="234108">
                      <a:moveTo>
                        <a:pt x="5777" y="234109"/>
                      </a:moveTo>
                      <a:lnTo>
                        <a:pt x="0" y="230843"/>
                      </a:lnTo>
                      <a:lnTo>
                        <a:pt x="0" y="0"/>
                      </a:lnTo>
                      <a:lnTo>
                        <a:pt x="5777"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4" name="Freeform: Shape 3543">
                  <a:extLst>
                    <a:ext uri="{FF2B5EF4-FFF2-40B4-BE49-F238E27FC236}">
                      <a16:creationId xmlns:a16="http://schemas.microsoft.com/office/drawing/2014/main" id="{C8121098-D682-4323-9EDA-80F9E85C36F6}"/>
                    </a:ext>
                  </a:extLst>
                </p:cNvPr>
                <p:cNvSpPr/>
                <p:nvPr/>
              </p:nvSpPr>
              <p:spPr>
                <a:xfrm>
                  <a:off x="4866927" y="4559192"/>
                  <a:ext cx="5902" cy="234234"/>
                </a:xfrm>
                <a:custGeom>
                  <a:avLst/>
                  <a:gdLst>
                    <a:gd name="connsiteX0" fmla="*/ 0 w 5902"/>
                    <a:gd name="connsiteY0" fmla="*/ 234235 h 234234"/>
                    <a:gd name="connsiteX1" fmla="*/ 5903 w 5902"/>
                    <a:gd name="connsiteY1" fmla="*/ 230843 h 234234"/>
                    <a:gd name="connsiteX2" fmla="*/ 5903 w 5902"/>
                    <a:gd name="connsiteY2" fmla="*/ 0 h 234234"/>
                    <a:gd name="connsiteX3" fmla="*/ 0 w 5902"/>
                    <a:gd name="connsiteY3" fmla="*/ 3517 h 234234"/>
                  </a:gdLst>
                  <a:ahLst/>
                  <a:cxnLst>
                    <a:cxn ang="0">
                      <a:pos x="connsiteX0" y="connsiteY0"/>
                    </a:cxn>
                    <a:cxn ang="0">
                      <a:pos x="connsiteX1" y="connsiteY1"/>
                    </a:cxn>
                    <a:cxn ang="0">
                      <a:pos x="connsiteX2" y="connsiteY2"/>
                    </a:cxn>
                    <a:cxn ang="0">
                      <a:pos x="connsiteX3" y="connsiteY3"/>
                    </a:cxn>
                  </a:cxnLst>
                  <a:rect l="l" t="t" r="r" b="b"/>
                  <a:pathLst>
                    <a:path w="5902" h="234234">
                      <a:moveTo>
                        <a:pt x="0" y="234235"/>
                      </a:moveTo>
                      <a:lnTo>
                        <a:pt x="5903" y="230843"/>
                      </a:lnTo>
                      <a:lnTo>
                        <a:pt x="5903" y="0"/>
                      </a:lnTo>
                      <a:lnTo>
                        <a:pt x="0" y="3517"/>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5" name="Freeform: Shape 3544">
                  <a:extLst>
                    <a:ext uri="{FF2B5EF4-FFF2-40B4-BE49-F238E27FC236}">
                      <a16:creationId xmlns:a16="http://schemas.microsoft.com/office/drawing/2014/main" id="{C73D1BCD-6B95-4CF6-B559-86AE81590D05}"/>
                    </a:ext>
                  </a:extLst>
                </p:cNvPr>
                <p:cNvSpPr/>
                <p:nvPr/>
              </p:nvSpPr>
              <p:spPr>
                <a:xfrm>
                  <a:off x="4712069" y="4552661"/>
                  <a:ext cx="160635" cy="99596"/>
                </a:xfrm>
                <a:custGeom>
                  <a:avLst/>
                  <a:gdLst>
                    <a:gd name="connsiteX0" fmla="*/ 160636 w 160635"/>
                    <a:gd name="connsiteY0" fmla="*/ 6657 h 99596"/>
                    <a:gd name="connsiteX1" fmla="*/ 0 w 160635"/>
                    <a:gd name="connsiteY1" fmla="*/ 99597 h 99596"/>
                    <a:gd name="connsiteX2" fmla="*/ 0 w 160635"/>
                    <a:gd name="connsiteY2" fmla="*/ 92814 h 99596"/>
                    <a:gd name="connsiteX3" fmla="*/ 160636 w 160635"/>
                    <a:gd name="connsiteY3" fmla="*/ 0 h 99596"/>
                  </a:gdLst>
                  <a:ahLst/>
                  <a:cxnLst>
                    <a:cxn ang="0">
                      <a:pos x="connsiteX0" y="connsiteY0"/>
                    </a:cxn>
                    <a:cxn ang="0">
                      <a:pos x="connsiteX1" y="connsiteY1"/>
                    </a:cxn>
                    <a:cxn ang="0">
                      <a:pos x="connsiteX2" y="connsiteY2"/>
                    </a:cxn>
                    <a:cxn ang="0">
                      <a:pos x="connsiteX3" y="connsiteY3"/>
                    </a:cxn>
                  </a:cxnLst>
                  <a:rect l="l" t="t" r="r" b="b"/>
                  <a:pathLst>
                    <a:path w="160635" h="99596">
                      <a:moveTo>
                        <a:pt x="160636" y="6657"/>
                      </a:moveTo>
                      <a:lnTo>
                        <a:pt x="0" y="99597"/>
                      </a:lnTo>
                      <a:lnTo>
                        <a:pt x="0" y="92814"/>
                      </a:lnTo>
                      <a:lnTo>
                        <a:pt x="160636"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6" name="Freeform: Shape 3545">
                  <a:extLst>
                    <a:ext uri="{FF2B5EF4-FFF2-40B4-BE49-F238E27FC236}">
                      <a16:creationId xmlns:a16="http://schemas.microsoft.com/office/drawing/2014/main" id="{31284064-FFBA-4912-AEE1-7B4F23C08BE3}"/>
                    </a:ext>
                  </a:extLst>
                </p:cNvPr>
                <p:cNvSpPr/>
                <p:nvPr/>
              </p:nvSpPr>
              <p:spPr>
                <a:xfrm>
                  <a:off x="4717846" y="4613323"/>
                  <a:ext cx="149080" cy="92563"/>
                </a:xfrm>
                <a:custGeom>
                  <a:avLst/>
                  <a:gdLst>
                    <a:gd name="connsiteX0" fmla="*/ 149081 w 149080"/>
                    <a:gd name="connsiteY0" fmla="*/ 0 h 92563"/>
                    <a:gd name="connsiteX1" fmla="*/ 0 w 149080"/>
                    <a:gd name="connsiteY1" fmla="*/ 85781 h 92563"/>
                    <a:gd name="connsiteX2" fmla="*/ 0 w 149080"/>
                    <a:gd name="connsiteY2" fmla="*/ 92564 h 92563"/>
                    <a:gd name="connsiteX3" fmla="*/ 149081 w 149080"/>
                    <a:gd name="connsiteY3" fmla="*/ 6531 h 92563"/>
                  </a:gdLst>
                  <a:ahLst/>
                  <a:cxnLst>
                    <a:cxn ang="0">
                      <a:pos x="connsiteX0" y="connsiteY0"/>
                    </a:cxn>
                    <a:cxn ang="0">
                      <a:pos x="connsiteX1" y="connsiteY1"/>
                    </a:cxn>
                    <a:cxn ang="0">
                      <a:pos x="connsiteX2" y="connsiteY2"/>
                    </a:cxn>
                    <a:cxn ang="0">
                      <a:pos x="connsiteX3" y="connsiteY3"/>
                    </a:cxn>
                  </a:cxnLst>
                  <a:rect l="l" t="t" r="r" b="b"/>
                  <a:pathLst>
                    <a:path w="149080" h="92563">
                      <a:moveTo>
                        <a:pt x="149081" y="0"/>
                      </a:moveTo>
                      <a:lnTo>
                        <a:pt x="0" y="85781"/>
                      </a:lnTo>
                      <a:lnTo>
                        <a:pt x="0" y="92564"/>
                      </a:lnTo>
                      <a:lnTo>
                        <a:pt x="149081" y="6531"/>
                      </a:lnTo>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7" name="Freeform: Shape 3546">
                  <a:extLst>
                    <a:ext uri="{FF2B5EF4-FFF2-40B4-BE49-F238E27FC236}">
                      <a16:creationId xmlns:a16="http://schemas.microsoft.com/office/drawing/2014/main" id="{F5968FE6-B95B-4E87-9E85-863AF345A758}"/>
                    </a:ext>
                  </a:extLst>
                </p:cNvPr>
                <p:cNvSpPr/>
                <p:nvPr/>
              </p:nvSpPr>
              <p:spPr>
                <a:xfrm>
                  <a:off x="4712069" y="4619603"/>
                  <a:ext cx="155234" cy="96080"/>
                </a:xfrm>
                <a:custGeom>
                  <a:avLst/>
                  <a:gdLst>
                    <a:gd name="connsiteX0" fmla="*/ 155235 w 155234"/>
                    <a:gd name="connsiteY0" fmla="*/ 6531 h 96080"/>
                    <a:gd name="connsiteX1" fmla="*/ 0 w 155234"/>
                    <a:gd name="connsiteY1" fmla="*/ 96080 h 96080"/>
                    <a:gd name="connsiteX2" fmla="*/ 0 w 155234"/>
                    <a:gd name="connsiteY2" fmla="*/ 89549 h 96080"/>
                    <a:gd name="connsiteX3" fmla="*/ 155110 w 155234"/>
                    <a:gd name="connsiteY3" fmla="*/ 0 h 96080"/>
                  </a:gdLst>
                  <a:ahLst/>
                  <a:cxnLst>
                    <a:cxn ang="0">
                      <a:pos x="connsiteX0" y="connsiteY0"/>
                    </a:cxn>
                    <a:cxn ang="0">
                      <a:pos x="connsiteX1" y="connsiteY1"/>
                    </a:cxn>
                    <a:cxn ang="0">
                      <a:pos x="connsiteX2" y="connsiteY2"/>
                    </a:cxn>
                    <a:cxn ang="0">
                      <a:pos x="connsiteX3" y="connsiteY3"/>
                    </a:cxn>
                  </a:cxnLst>
                  <a:rect l="l" t="t" r="r" b="b"/>
                  <a:pathLst>
                    <a:path w="155234" h="96080">
                      <a:moveTo>
                        <a:pt x="155235" y="6531"/>
                      </a:moveTo>
                      <a:lnTo>
                        <a:pt x="0" y="96080"/>
                      </a:lnTo>
                      <a:lnTo>
                        <a:pt x="0" y="89549"/>
                      </a:lnTo>
                      <a:lnTo>
                        <a:pt x="155110"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548" name="Graphic 4">
                <a:extLst>
                  <a:ext uri="{FF2B5EF4-FFF2-40B4-BE49-F238E27FC236}">
                    <a16:creationId xmlns:a16="http://schemas.microsoft.com/office/drawing/2014/main" id="{84FB7ED1-A2DF-40A1-A747-5F7CF3F14040}"/>
                  </a:ext>
                </a:extLst>
              </p:cNvPr>
              <p:cNvGrpSpPr/>
              <p:nvPr/>
            </p:nvGrpSpPr>
            <p:grpSpPr>
              <a:xfrm>
                <a:off x="4712069" y="4639321"/>
                <a:ext cx="322276" cy="195551"/>
                <a:chOff x="4712069" y="4639321"/>
                <a:chExt cx="322276" cy="195551"/>
              </a:xfrm>
              <a:solidFill>
                <a:schemeClr val="accent1"/>
              </a:solidFill>
            </p:grpSpPr>
            <p:sp>
              <p:nvSpPr>
                <p:cNvPr id="3549" name="Freeform: Shape 3548">
                  <a:extLst>
                    <a:ext uri="{FF2B5EF4-FFF2-40B4-BE49-F238E27FC236}">
                      <a16:creationId xmlns:a16="http://schemas.microsoft.com/office/drawing/2014/main" id="{1053E4B3-582D-42D3-B330-EC9750EE2C1C}"/>
                    </a:ext>
                  </a:extLst>
                </p:cNvPr>
                <p:cNvSpPr/>
                <p:nvPr/>
              </p:nvSpPr>
              <p:spPr>
                <a:xfrm>
                  <a:off x="4867807" y="4735276"/>
                  <a:ext cx="160635" cy="99596"/>
                </a:xfrm>
                <a:custGeom>
                  <a:avLst/>
                  <a:gdLst>
                    <a:gd name="connsiteX0" fmla="*/ 0 w 160635"/>
                    <a:gd name="connsiteY0" fmla="*/ 6782 h 99596"/>
                    <a:gd name="connsiteX1" fmla="*/ 160636 w 160635"/>
                    <a:gd name="connsiteY1" fmla="*/ 99597 h 99596"/>
                    <a:gd name="connsiteX2" fmla="*/ 160636 w 160635"/>
                    <a:gd name="connsiteY2" fmla="*/ 92940 h 99596"/>
                    <a:gd name="connsiteX3" fmla="*/ 0 w 160635"/>
                    <a:gd name="connsiteY3" fmla="*/ 0 h 99596"/>
                  </a:gdLst>
                  <a:ahLst/>
                  <a:cxnLst>
                    <a:cxn ang="0">
                      <a:pos x="connsiteX0" y="connsiteY0"/>
                    </a:cxn>
                    <a:cxn ang="0">
                      <a:pos x="connsiteX1" y="connsiteY1"/>
                    </a:cxn>
                    <a:cxn ang="0">
                      <a:pos x="connsiteX2" y="connsiteY2"/>
                    </a:cxn>
                    <a:cxn ang="0">
                      <a:pos x="connsiteX3" y="connsiteY3"/>
                    </a:cxn>
                  </a:cxnLst>
                  <a:rect l="l" t="t" r="r" b="b"/>
                  <a:pathLst>
                    <a:path w="160635" h="99596">
                      <a:moveTo>
                        <a:pt x="0" y="6782"/>
                      </a:moveTo>
                      <a:lnTo>
                        <a:pt x="160636" y="99597"/>
                      </a:lnTo>
                      <a:lnTo>
                        <a:pt x="160636" y="92940"/>
                      </a:lnTo>
                      <a:lnTo>
                        <a:pt x="0" y="0"/>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0" name="Freeform: Shape 3549">
                  <a:extLst>
                    <a:ext uri="{FF2B5EF4-FFF2-40B4-BE49-F238E27FC236}">
                      <a16:creationId xmlns:a16="http://schemas.microsoft.com/office/drawing/2014/main" id="{F3C3B554-8782-4B89-881A-15D626C8A5CE}"/>
                    </a:ext>
                  </a:extLst>
                </p:cNvPr>
                <p:cNvSpPr/>
                <p:nvPr/>
              </p:nvSpPr>
              <p:spPr>
                <a:xfrm>
                  <a:off x="4712069" y="4645475"/>
                  <a:ext cx="161640" cy="100099"/>
                </a:xfrm>
                <a:custGeom>
                  <a:avLst/>
                  <a:gdLst>
                    <a:gd name="connsiteX0" fmla="*/ 0 w 161640"/>
                    <a:gd name="connsiteY0" fmla="*/ 6782 h 100099"/>
                    <a:gd name="connsiteX1" fmla="*/ 161640 w 161640"/>
                    <a:gd name="connsiteY1" fmla="*/ 100099 h 100099"/>
                    <a:gd name="connsiteX2" fmla="*/ 161640 w 161640"/>
                    <a:gd name="connsiteY2" fmla="*/ 93317 h 100099"/>
                    <a:gd name="connsiteX3" fmla="*/ 0 w 161640"/>
                    <a:gd name="connsiteY3" fmla="*/ 0 h 100099"/>
                  </a:gdLst>
                  <a:ahLst/>
                  <a:cxnLst>
                    <a:cxn ang="0">
                      <a:pos x="connsiteX0" y="connsiteY0"/>
                    </a:cxn>
                    <a:cxn ang="0">
                      <a:pos x="connsiteX1" y="connsiteY1"/>
                    </a:cxn>
                    <a:cxn ang="0">
                      <a:pos x="connsiteX2" y="connsiteY2"/>
                    </a:cxn>
                    <a:cxn ang="0">
                      <a:pos x="connsiteX3" y="connsiteY3"/>
                    </a:cxn>
                  </a:cxnLst>
                  <a:rect l="l" t="t" r="r" b="b"/>
                  <a:pathLst>
                    <a:path w="161640" h="100099">
                      <a:moveTo>
                        <a:pt x="0" y="6782"/>
                      </a:moveTo>
                      <a:lnTo>
                        <a:pt x="161640" y="100099"/>
                      </a:lnTo>
                      <a:lnTo>
                        <a:pt x="161640" y="93317"/>
                      </a:lnTo>
                      <a:lnTo>
                        <a:pt x="0" y="0"/>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1" name="Freeform: Shape 3550">
                  <a:extLst>
                    <a:ext uri="{FF2B5EF4-FFF2-40B4-BE49-F238E27FC236}">
                      <a16:creationId xmlns:a16="http://schemas.microsoft.com/office/drawing/2014/main" id="{C15E5CB7-834B-4A97-93AB-7DF3F5304BD6}"/>
                    </a:ext>
                  </a:extLst>
                </p:cNvPr>
                <p:cNvSpPr/>
                <p:nvPr/>
              </p:nvSpPr>
              <p:spPr>
                <a:xfrm>
                  <a:off x="4712069" y="4639321"/>
                  <a:ext cx="322276" cy="188894"/>
                </a:xfrm>
                <a:custGeom>
                  <a:avLst/>
                  <a:gdLst>
                    <a:gd name="connsiteX0" fmla="*/ 155737 w 322276"/>
                    <a:gd name="connsiteY0" fmla="*/ 89423 h 188894"/>
                    <a:gd name="connsiteX1" fmla="*/ 155737 w 322276"/>
                    <a:gd name="connsiteY1" fmla="*/ 89298 h 188894"/>
                    <a:gd name="connsiteX2" fmla="*/ 322276 w 322276"/>
                    <a:gd name="connsiteY2" fmla="*/ 185504 h 188894"/>
                    <a:gd name="connsiteX3" fmla="*/ 316373 w 322276"/>
                    <a:gd name="connsiteY3" fmla="*/ 188895 h 188894"/>
                    <a:gd name="connsiteX4" fmla="*/ 161766 w 322276"/>
                    <a:gd name="connsiteY4" fmla="*/ 99471 h 188894"/>
                    <a:gd name="connsiteX5" fmla="*/ 161640 w 322276"/>
                    <a:gd name="connsiteY5" fmla="*/ 99471 h 188894"/>
                    <a:gd name="connsiteX6" fmla="*/ 0 w 322276"/>
                    <a:gd name="connsiteY6" fmla="*/ 6154 h 188894"/>
                    <a:gd name="connsiteX7" fmla="*/ 879 w 322276"/>
                    <a:gd name="connsiteY7" fmla="*/ 0 h 18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276" h="188894">
                      <a:moveTo>
                        <a:pt x="155737" y="89423"/>
                      </a:moveTo>
                      <a:lnTo>
                        <a:pt x="155737" y="89298"/>
                      </a:lnTo>
                      <a:lnTo>
                        <a:pt x="322276" y="185504"/>
                      </a:lnTo>
                      <a:lnTo>
                        <a:pt x="316373" y="188895"/>
                      </a:lnTo>
                      <a:lnTo>
                        <a:pt x="161766" y="99471"/>
                      </a:lnTo>
                      <a:lnTo>
                        <a:pt x="161640" y="99471"/>
                      </a:lnTo>
                      <a:lnTo>
                        <a:pt x="0" y="6154"/>
                      </a:lnTo>
                      <a:lnTo>
                        <a:pt x="879" y="0"/>
                      </a:lnTo>
                      <a:close/>
                    </a:path>
                  </a:pathLst>
                </a:custGeom>
                <a:solidFill>
                  <a:srgbClr val="CA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552" name="Freeform: Shape 3551">
                <a:extLst>
                  <a:ext uri="{FF2B5EF4-FFF2-40B4-BE49-F238E27FC236}">
                    <a16:creationId xmlns:a16="http://schemas.microsoft.com/office/drawing/2014/main" id="{E166EA32-E8F2-4D33-9C22-EE8FD7D8FD76}"/>
                  </a:ext>
                </a:extLst>
              </p:cNvPr>
              <p:cNvSpPr/>
              <p:nvPr/>
            </p:nvSpPr>
            <p:spPr>
              <a:xfrm>
                <a:off x="5022665" y="4824825"/>
                <a:ext cx="5777" cy="240011"/>
              </a:xfrm>
              <a:custGeom>
                <a:avLst/>
                <a:gdLst>
                  <a:gd name="connsiteX0" fmla="*/ 5778 w 5777"/>
                  <a:gd name="connsiteY0" fmla="*/ 240011 h 240011"/>
                  <a:gd name="connsiteX1" fmla="*/ 0 w 5777"/>
                  <a:gd name="connsiteY1" fmla="*/ 236621 h 240011"/>
                  <a:gd name="connsiteX2" fmla="*/ 0 w 5777"/>
                  <a:gd name="connsiteY2" fmla="*/ 0 h 240011"/>
                  <a:gd name="connsiteX3" fmla="*/ 5778 w 5777"/>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777" h="240011">
                    <a:moveTo>
                      <a:pt x="5778" y="240011"/>
                    </a:moveTo>
                    <a:lnTo>
                      <a:pt x="0" y="236621"/>
                    </a:lnTo>
                    <a:lnTo>
                      <a:pt x="0" y="0"/>
                    </a:lnTo>
                    <a:lnTo>
                      <a:pt x="5778"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3" name="Freeform: Shape 3552">
                <a:extLst>
                  <a:ext uri="{FF2B5EF4-FFF2-40B4-BE49-F238E27FC236}">
                    <a16:creationId xmlns:a16="http://schemas.microsoft.com/office/drawing/2014/main" id="{EB3483B2-6663-44E7-891E-EEB587A07096}"/>
                  </a:ext>
                </a:extLst>
              </p:cNvPr>
              <p:cNvSpPr/>
              <p:nvPr/>
            </p:nvSpPr>
            <p:spPr>
              <a:xfrm>
                <a:off x="5028442" y="4824825"/>
                <a:ext cx="5902" cy="240011"/>
              </a:xfrm>
              <a:custGeom>
                <a:avLst/>
                <a:gdLst>
                  <a:gd name="connsiteX0" fmla="*/ 0 w 5902"/>
                  <a:gd name="connsiteY0" fmla="*/ 240011 h 240011"/>
                  <a:gd name="connsiteX1" fmla="*/ 5903 w 5902"/>
                  <a:gd name="connsiteY1" fmla="*/ 236621 h 240011"/>
                  <a:gd name="connsiteX2" fmla="*/ 5903 w 5902"/>
                  <a:gd name="connsiteY2" fmla="*/ 0 h 240011"/>
                  <a:gd name="connsiteX3" fmla="*/ 0 w 5902"/>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902" h="240011">
                    <a:moveTo>
                      <a:pt x="0" y="240011"/>
                    </a:moveTo>
                    <a:lnTo>
                      <a:pt x="5903" y="236621"/>
                    </a:lnTo>
                    <a:lnTo>
                      <a:pt x="5903"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4" name="Freeform: Shape 3553">
                <a:extLst>
                  <a:ext uri="{FF2B5EF4-FFF2-40B4-BE49-F238E27FC236}">
                    <a16:creationId xmlns:a16="http://schemas.microsoft.com/office/drawing/2014/main" id="{A995E4EB-4A32-4461-85AD-05544D39EE3C}"/>
                  </a:ext>
                </a:extLst>
              </p:cNvPr>
              <p:cNvSpPr/>
              <p:nvPr/>
            </p:nvSpPr>
            <p:spPr>
              <a:xfrm>
                <a:off x="5177523" y="4742058"/>
                <a:ext cx="5902" cy="234108"/>
              </a:xfrm>
              <a:custGeom>
                <a:avLst/>
                <a:gdLst>
                  <a:gd name="connsiteX0" fmla="*/ 5903 w 5902"/>
                  <a:gd name="connsiteY0" fmla="*/ 234109 h 234108"/>
                  <a:gd name="connsiteX1" fmla="*/ 0 w 5902"/>
                  <a:gd name="connsiteY1" fmla="*/ 230718 h 234108"/>
                  <a:gd name="connsiteX2" fmla="*/ 0 w 5902"/>
                  <a:gd name="connsiteY2" fmla="*/ 0 h 234108"/>
                  <a:gd name="connsiteX3" fmla="*/ 5903 w 5902"/>
                  <a:gd name="connsiteY3" fmla="*/ 3266 h 234108"/>
                </a:gdLst>
                <a:ahLst/>
                <a:cxnLst>
                  <a:cxn ang="0">
                    <a:pos x="connsiteX0" y="connsiteY0"/>
                  </a:cxn>
                  <a:cxn ang="0">
                    <a:pos x="connsiteX1" y="connsiteY1"/>
                  </a:cxn>
                  <a:cxn ang="0">
                    <a:pos x="connsiteX2" y="connsiteY2"/>
                  </a:cxn>
                  <a:cxn ang="0">
                    <a:pos x="connsiteX3" y="connsiteY3"/>
                  </a:cxn>
                </a:cxnLst>
                <a:rect l="l" t="t" r="r" b="b"/>
                <a:pathLst>
                  <a:path w="5902" h="234108">
                    <a:moveTo>
                      <a:pt x="5903" y="234109"/>
                    </a:moveTo>
                    <a:lnTo>
                      <a:pt x="0" y="230718"/>
                    </a:lnTo>
                    <a:lnTo>
                      <a:pt x="0" y="0"/>
                    </a:lnTo>
                    <a:lnTo>
                      <a:pt x="5903" y="3266"/>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5" name="Freeform: Shape 3554">
                <a:extLst>
                  <a:ext uri="{FF2B5EF4-FFF2-40B4-BE49-F238E27FC236}">
                    <a16:creationId xmlns:a16="http://schemas.microsoft.com/office/drawing/2014/main" id="{6BBB5A5E-FE90-4BC0-946D-0EEE7FD2F3BC}"/>
                  </a:ext>
                </a:extLst>
              </p:cNvPr>
              <p:cNvSpPr/>
              <p:nvPr/>
            </p:nvSpPr>
            <p:spPr>
              <a:xfrm>
                <a:off x="5183426" y="4741932"/>
                <a:ext cx="5777" cy="234234"/>
              </a:xfrm>
              <a:custGeom>
                <a:avLst/>
                <a:gdLst>
                  <a:gd name="connsiteX0" fmla="*/ 0 w 5777"/>
                  <a:gd name="connsiteY0" fmla="*/ 234234 h 234234"/>
                  <a:gd name="connsiteX1" fmla="*/ 5777 w 5777"/>
                  <a:gd name="connsiteY1" fmla="*/ 230718 h 234234"/>
                  <a:gd name="connsiteX2" fmla="*/ 5777 w 5777"/>
                  <a:gd name="connsiteY2" fmla="*/ 0 h 234234"/>
                  <a:gd name="connsiteX3" fmla="*/ 0 w 5777"/>
                  <a:gd name="connsiteY3" fmla="*/ 3391 h 234234"/>
                </a:gdLst>
                <a:ahLst/>
                <a:cxnLst>
                  <a:cxn ang="0">
                    <a:pos x="connsiteX0" y="connsiteY0"/>
                  </a:cxn>
                  <a:cxn ang="0">
                    <a:pos x="connsiteX1" y="connsiteY1"/>
                  </a:cxn>
                  <a:cxn ang="0">
                    <a:pos x="connsiteX2" y="connsiteY2"/>
                  </a:cxn>
                  <a:cxn ang="0">
                    <a:pos x="connsiteX3" y="connsiteY3"/>
                  </a:cxn>
                </a:cxnLst>
                <a:rect l="l" t="t" r="r" b="b"/>
                <a:pathLst>
                  <a:path w="5777" h="234234">
                    <a:moveTo>
                      <a:pt x="0" y="234234"/>
                    </a:moveTo>
                    <a:lnTo>
                      <a:pt x="5777" y="230718"/>
                    </a:lnTo>
                    <a:lnTo>
                      <a:pt x="5777"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6" name="Freeform: Shape 3555">
                <a:extLst>
                  <a:ext uri="{FF2B5EF4-FFF2-40B4-BE49-F238E27FC236}">
                    <a16:creationId xmlns:a16="http://schemas.microsoft.com/office/drawing/2014/main" id="{50E88CEA-5F44-440A-ABD6-C19E8A997FD3}"/>
                  </a:ext>
                </a:extLst>
              </p:cNvPr>
              <p:cNvSpPr/>
              <p:nvPr/>
            </p:nvSpPr>
            <p:spPr>
              <a:xfrm>
                <a:off x="5028442" y="4735276"/>
                <a:ext cx="160761" cy="99596"/>
              </a:xfrm>
              <a:custGeom>
                <a:avLst/>
                <a:gdLst>
                  <a:gd name="connsiteX0" fmla="*/ 160761 w 160761"/>
                  <a:gd name="connsiteY0" fmla="*/ 6782 h 99596"/>
                  <a:gd name="connsiteX1" fmla="*/ 0 w 160761"/>
                  <a:gd name="connsiteY1" fmla="*/ 99597 h 99596"/>
                  <a:gd name="connsiteX2" fmla="*/ 0 w 160761"/>
                  <a:gd name="connsiteY2" fmla="*/ 92940 h 99596"/>
                  <a:gd name="connsiteX3" fmla="*/ 160761 w 160761"/>
                  <a:gd name="connsiteY3" fmla="*/ 0 h 99596"/>
                </a:gdLst>
                <a:ahLst/>
                <a:cxnLst>
                  <a:cxn ang="0">
                    <a:pos x="connsiteX0" y="connsiteY0"/>
                  </a:cxn>
                  <a:cxn ang="0">
                    <a:pos x="connsiteX1" y="connsiteY1"/>
                  </a:cxn>
                  <a:cxn ang="0">
                    <a:pos x="connsiteX2" y="connsiteY2"/>
                  </a:cxn>
                  <a:cxn ang="0">
                    <a:pos x="connsiteX3" y="connsiteY3"/>
                  </a:cxn>
                </a:cxnLst>
                <a:rect l="l" t="t" r="r" b="b"/>
                <a:pathLst>
                  <a:path w="160761" h="99596">
                    <a:moveTo>
                      <a:pt x="160761" y="6782"/>
                    </a:moveTo>
                    <a:lnTo>
                      <a:pt x="0" y="99597"/>
                    </a:lnTo>
                    <a:lnTo>
                      <a:pt x="0" y="92940"/>
                    </a:lnTo>
                    <a:lnTo>
                      <a:pt x="160761"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7" name="Freeform: Shape 3556">
                <a:extLst>
                  <a:ext uri="{FF2B5EF4-FFF2-40B4-BE49-F238E27FC236}">
                    <a16:creationId xmlns:a16="http://schemas.microsoft.com/office/drawing/2014/main" id="{9AD4E0FA-609B-46D5-8AD8-C6C4037E8F8F}"/>
                  </a:ext>
                </a:extLst>
              </p:cNvPr>
              <p:cNvSpPr/>
              <p:nvPr/>
            </p:nvSpPr>
            <p:spPr>
              <a:xfrm>
                <a:off x="5034345" y="4795938"/>
                <a:ext cx="149080" cy="92563"/>
              </a:xfrm>
              <a:custGeom>
                <a:avLst/>
                <a:gdLst>
                  <a:gd name="connsiteX0" fmla="*/ 149081 w 149080"/>
                  <a:gd name="connsiteY0" fmla="*/ 0 h 92563"/>
                  <a:gd name="connsiteX1" fmla="*/ 0 w 149080"/>
                  <a:gd name="connsiteY1" fmla="*/ 85907 h 92563"/>
                  <a:gd name="connsiteX2" fmla="*/ 0 w 149080"/>
                  <a:gd name="connsiteY2" fmla="*/ 92563 h 92563"/>
                  <a:gd name="connsiteX3" fmla="*/ 149081 w 149080"/>
                  <a:gd name="connsiteY3" fmla="*/ 6531 h 92563"/>
                </a:gdLst>
                <a:ahLst/>
                <a:cxnLst>
                  <a:cxn ang="0">
                    <a:pos x="connsiteX0" y="connsiteY0"/>
                  </a:cxn>
                  <a:cxn ang="0">
                    <a:pos x="connsiteX1" y="connsiteY1"/>
                  </a:cxn>
                  <a:cxn ang="0">
                    <a:pos x="connsiteX2" y="connsiteY2"/>
                  </a:cxn>
                  <a:cxn ang="0">
                    <a:pos x="connsiteX3" y="connsiteY3"/>
                  </a:cxn>
                </a:cxnLst>
                <a:rect l="l" t="t" r="r" b="b"/>
                <a:pathLst>
                  <a:path w="149080" h="92563">
                    <a:moveTo>
                      <a:pt x="149081" y="0"/>
                    </a:moveTo>
                    <a:lnTo>
                      <a:pt x="0" y="85907"/>
                    </a:lnTo>
                    <a:lnTo>
                      <a:pt x="0" y="92563"/>
                    </a:lnTo>
                    <a:lnTo>
                      <a:pt x="149081" y="6531"/>
                    </a:lnTo>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8" name="Freeform: Shape 3557">
                <a:extLst>
                  <a:ext uri="{FF2B5EF4-FFF2-40B4-BE49-F238E27FC236}">
                    <a16:creationId xmlns:a16="http://schemas.microsoft.com/office/drawing/2014/main" id="{7AB5CFB6-83DA-4093-94AC-5D5C06542EBF}"/>
                  </a:ext>
                </a:extLst>
              </p:cNvPr>
              <p:cNvSpPr/>
              <p:nvPr/>
            </p:nvSpPr>
            <p:spPr>
              <a:xfrm>
                <a:off x="5028442" y="4802343"/>
                <a:ext cx="155234" cy="96079"/>
              </a:xfrm>
              <a:custGeom>
                <a:avLst/>
                <a:gdLst>
                  <a:gd name="connsiteX0" fmla="*/ 155235 w 155234"/>
                  <a:gd name="connsiteY0" fmla="*/ 6405 h 96079"/>
                  <a:gd name="connsiteX1" fmla="*/ 0 w 155234"/>
                  <a:gd name="connsiteY1" fmla="*/ 96080 h 96079"/>
                  <a:gd name="connsiteX2" fmla="*/ 0 w 155234"/>
                  <a:gd name="connsiteY2" fmla="*/ 89549 h 96079"/>
                  <a:gd name="connsiteX3" fmla="*/ 155235 w 155234"/>
                  <a:gd name="connsiteY3" fmla="*/ 0 h 96079"/>
                </a:gdLst>
                <a:ahLst/>
                <a:cxnLst>
                  <a:cxn ang="0">
                    <a:pos x="connsiteX0" y="connsiteY0"/>
                  </a:cxn>
                  <a:cxn ang="0">
                    <a:pos x="connsiteX1" y="connsiteY1"/>
                  </a:cxn>
                  <a:cxn ang="0">
                    <a:pos x="connsiteX2" y="connsiteY2"/>
                  </a:cxn>
                  <a:cxn ang="0">
                    <a:pos x="connsiteX3" y="connsiteY3"/>
                  </a:cxn>
                </a:cxnLst>
                <a:rect l="l" t="t" r="r" b="b"/>
                <a:pathLst>
                  <a:path w="155234" h="96079">
                    <a:moveTo>
                      <a:pt x="155235" y="6405"/>
                    </a:moveTo>
                    <a:lnTo>
                      <a:pt x="0" y="96080"/>
                    </a:lnTo>
                    <a:lnTo>
                      <a:pt x="0" y="89549"/>
                    </a:lnTo>
                    <a:lnTo>
                      <a:pt x="155235"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9" name="Freeform: Shape 3558">
                <a:extLst>
                  <a:ext uri="{FF2B5EF4-FFF2-40B4-BE49-F238E27FC236}">
                    <a16:creationId xmlns:a16="http://schemas.microsoft.com/office/drawing/2014/main" id="{369CA46B-96B4-4EB7-BD9E-17E4EF90C442}"/>
                  </a:ext>
                </a:extLst>
              </p:cNvPr>
              <p:cNvSpPr/>
              <p:nvPr/>
            </p:nvSpPr>
            <p:spPr>
              <a:xfrm>
                <a:off x="4702398" y="4551279"/>
                <a:ext cx="487935" cy="276936"/>
              </a:xfrm>
              <a:custGeom>
                <a:avLst/>
                <a:gdLst>
                  <a:gd name="connsiteX0" fmla="*/ 322151 w 487935"/>
                  <a:gd name="connsiteY0" fmla="*/ 276937 h 276936"/>
                  <a:gd name="connsiteX1" fmla="*/ 487936 w 487935"/>
                  <a:gd name="connsiteY1" fmla="*/ 182615 h 276936"/>
                  <a:gd name="connsiteX2" fmla="*/ 169428 w 487935"/>
                  <a:gd name="connsiteY2" fmla="*/ 0 h 276936"/>
                  <a:gd name="connsiteX3" fmla="*/ 0 w 487935"/>
                  <a:gd name="connsiteY3" fmla="*/ 90931 h 276936"/>
                </a:gdLst>
                <a:ahLst/>
                <a:cxnLst>
                  <a:cxn ang="0">
                    <a:pos x="connsiteX0" y="connsiteY0"/>
                  </a:cxn>
                  <a:cxn ang="0">
                    <a:pos x="connsiteX1" y="connsiteY1"/>
                  </a:cxn>
                  <a:cxn ang="0">
                    <a:pos x="connsiteX2" y="connsiteY2"/>
                  </a:cxn>
                  <a:cxn ang="0">
                    <a:pos x="connsiteX3" y="connsiteY3"/>
                  </a:cxn>
                </a:cxnLst>
                <a:rect l="l" t="t" r="r" b="b"/>
                <a:pathLst>
                  <a:path w="487935" h="276936">
                    <a:moveTo>
                      <a:pt x="322151" y="276937"/>
                    </a:moveTo>
                    <a:lnTo>
                      <a:pt x="487936" y="182615"/>
                    </a:lnTo>
                    <a:lnTo>
                      <a:pt x="169428" y="0"/>
                    </a:lnTo>
                    <a:lnTo>
                      <a:pt x="0" y="90931"/>
                    </a:ln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0" name="Freeform: Shape 3559">
                <a:extLst>
                  <a:ext uri="{FF2B5EF4-FFF2-40B4-BE49-F238E27FC236}">
                    <a16:creationId xmlns:a16="http://schemas.microsoft.com/office/drawing/2014/main" id="{932BD241-5B87-40BB-87DE-C8216CD1C93B}"/>
                  </a:ext>
                </a:extLst>
              </p:cNvPr>
              <p:cNvSpPr/>
              <p:nvPr/>
            </p:nvSpPr>
            <p:spPr>
              <a:xfrm>
                <a:off x="4921310" y="4633607"/>
                <a:ext cx="74854" cy="42922"/>
              </a:xfrm>
              <a:custGeom>
                <a:avLst/>
                <a:gdLst>
                  <a:gd name="connsiteX0" fmla="*/ 25998 w 74854"/>
                  <a:gd name="connsiteY0" fmla="*/ 565 h 42922"/>
                  <a:gd name="connsiteX1" fmla="*/ 1130 w 74854"/>
                  <a:gd name="connsiteY1" fmla="*/ 14757 h 42922"/>
                  <a:gd name="connsiteX2" fmla="*/ 1130 w 74854"/>
                  <a:gd name="connsiteY2" fmla="*/ 17772 h 42922"/>
                  <a:gd name="connsiteX3" fmla="*/ 43456 w 74854"/>
                  <a:gd name="connsiteY3" fmla="*/ 42263 h 42922"/>
                  <a:gd name="connsiteX4" fmla="*/ 48731 w 74854"/>
                  <a:gd name="connsiteY4" fmla="*/ 42263 h 42922"/>
                  <a:gd name="connsiteX5" fmla="*/ 73724 w 74854"/>
                  <a:gd name="connsiteY5" fmla="*/ 28196 h 42922"/>
                  <a:gd name="connsiteX6" fmla="*/ 73724 w 74854"/>
                  <a:gd name="connsiteY6" fmla="*/ 25182 h 42922"/>
                  <a:gd name="connsiteX7" fmla="*/ 31273 w 74854"/>
                  <a:gd name="connsiteY7" fmla="*/ 565 h 42922"/>
                  <a:gd name="connsiteX8" fmla="*/ 25998 w 74854"/>
                  <a:gd name="connsiteY8" fmla="*/ 565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854" h="42922">
                    <a:moveTo>
                      <a:pt x="25998" y="565"/>
                    </a:moveTo>
                    <a:lnTo>
                      <a:pt x="1130" y="14757"/>
                    </a:lnTo>
                    <a:cubicBezTo>
                      <a:pt x="-377" y="15637"/>
                      <a:pt x="-377" y="16893"/>
                      <a:pt x="1130" y="17772"/>
                    </a:cubicBezTo>
                    <a:lnTo>
                      <a:pt x="43456" y="42263"/>
                    </a:lnTo>
                    <a:cubicBezTo>
                      <a:pt x="44963" y="43142"/>
                      <a:pt x="47223" y="43142"/>
                      <a:pt x="48731" y="42263"/>
                    </a:cubicBezTo>
                    <a:lnTo>
                      <a:pt x="73724" y="28196"/>
                    </a:lnTo>
                    <a:cubicBezTo>
                      <a:pt x="75231" y="27317"/>
                      <a:pt x="75231" y="26061"/>
                      <a:pt x="73724" y="25182"/>
                    </a:cubicBezTo>
                    <a:lnTo>
                      <a:pt x="31273" y="565"/>
                    </a:lnTo>
                    <a:cubicBezTo>
                      <a:pt x="29892" y="-188"/>
                      <a:pt x="27505" y="-188"/>
                      <a:pt x="25998" y="565"/>
                    </a:cubicBez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1" name="Freeform: Shape 3560">
                <a:extLst>
                  <a:ext uri="{FF2B5EF4-FFF2-40B4-BE49-F238E27FC236}">
                    <a16:creationId xmlns:a16="http://schemas.microsoft.com/office/drawing/2014/main" id="{8A1F243B-874E-4FF6-A487-531A16FF8F9B}"/>
                  </a:ext>
                </a:extLst>
              </p:cNvPr>
              <p:cNvSpPr/>
              <p:nvPr/>
            </p:nvSpPr>
            <p:spPr>
              <a:xfrm>
                <a:off x="4959066" y="4718060"/>
                <a:ext cx="50292" cy="34422"/>
              </a:xfrm>
              <a:custGeom>
                <a:avLst/>
                <a:gdLst>
                  <a:gd name="connsiteX0" fmla="*/ 44509 w 50292"/>
                  <a:gd name="connsiteY0" fmla="*/ 3023 h 34422"/>
                  <a:gd name="connsiteX1" fmla="*/ 43881 w 50292"/>
                  <a:gd name="connsiteY1" fmla="*/ 2647 h 34422"/>
                  <a:gd name="connsiteX2" fmla="*/ 43504 w 50292"/>
                  <a:gd name="connsiteY2" fmla="*/ 2144 h 34422"/>
                  <a:gd name="connsiteX3" fmla="*/ 42248 w 50292"/>
                  <a:gd name="connsiteY3" fmla="*/ 1893 h 34422"/>
                  <a:gd name="connsiteX4" fmla="*/ 19766 w 50292"/>
                  <a:gd name="connsiteY4" fmla="*/ 2647 h 34422"/>
                  <a:gd name="connsiteX5" fmla="*/ 8463 w 50292"/>
                  <a:gd name="connsiteY5" fmla="*/ 13071 h 34422"/>
                  <a:gd name="connsiteX6" fmla="*/ 550 w 50292"/>
                  <a:gd name="connsiteY6" fmla="*/ 18597 h 34422"/>
                  <a:gd name="connsiteX7" fmla="*/ 676 w 50292"/>
                  <a:gd name="connsiteY7" fmla="*/ 20732 h 34422"/>
                  <a:gd name="connsiteX8" fmla="*/ 23534 w 50292"/>
                  <a:gd name="connsiteY8" fmla="*/ 34045 h 34422"/>
                  <a:gd name="connsiteX9" fmla="*/ 26674 w 50292"/>
                  <a:gd name="connsiteY9" fmla="*/ 34045 h 34422"/>
                  <a:gd name="connsiteX10" fmla="*/ 44509 w 50292"/>
                  <a:gd name="connsiteY10" fmla="*/ 23746 h 34422"/>
                  <a:gd name="connsiteX11" fmla="*/ 44509 w 50292"/>
                  <a:gd name="connsiteY11" fmla="*/ 3023 h 3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292" h="34422">
                    <a:moveTo>
                      <a:pt x="44509" y="3023"/>
                    </a:moveTo>
                    <a:cubicBezTo>
                      <a:pt x="44257" y="2898"/>
                      <a:pt x="44006" y="2772"/>
                      <a:pt x="43881" y="2647"/>
                    </a:cubicBezTo>
                    <a:cubicBezTo>
                      <a:pt x="43881" y="2395"/>
                      <a:pt x="43755" y="2270"/>
                      <a:pt x="43504" y="2144"/>
                    </a:cubicBezTo>
                    <a:cubicBezTo>
                      <a:pt x="43253" y="2018"/>
                      <a:pt x="42750" y="1893"/>
                      <a:pt x="42248" y="1893"/>
                    </a:cubicBezTo>
                    <a:cubicBezTo>
                      <a:pt x="35717" y="-745"/>
                      <a:pt x="25544" y="-745"/>
                      <a:pt x="19766" y="2647"/>
                    </a:cubicBezTo>
                    <a:lnTo>
                      <a:pt x="8463" y="13071"/>
                    </a:lnTo>
                    <a:lnTo>
                      <a:pt x="550" y="18597"/>
                    </a:lnTo>
                    <a:cubicBezTo>
                      <a:pt x="-203" y="19099"/>
                      <a:pt x="-203" y="20355"/>
                      <a:pt x="676" y="20732"/>
                    </a:cubicBezTo>
                    <a:lnTo>
                      <a:pt x="23534" y="34045"/>
                    </a:lnTo>
                    <a:cubicBezTo>
                      <a:pt x="24539" y="34548"/>
                      <a:pt x="25669" y="34548"/>
                      <a:pt x="26674" y="34045"/>
                    </a:cubicBezTo>
                    <a:lnTo>
                      <a:pt x="44509" y="23746"/>
                    </a:lnTo>
                    <a:cubicBezTo>
                      <a:pt x="53426" y="18723"/>
                      <a:pt x="50914" y="6791"/>
                      <a:pt x="44509" y="3023"/>
                    </a:cubicBez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2" name="Freeform: Shape 3561">
                <a:extLst>
                  <a:ext uri="{FF2B5EF4-FFF2-40B4-BE49-F238E27FC236}">
                    <a16:creationId xmlns:a16="http://schemas.microsoft.com/office/drawing/2014/main" id="{F712ACD2-BB14-4591-BC23-D67930AD7A71}"/>
                  </a:ext>
                </a:extLst>
              </p:cNvPr>
              <p:cNvSpPr/>
              <p:nvPr/>
            </p:nvSpPr>
            <p:spPr>
              <a:xfrm>
                <a:off x="4982475" y="4651127"/>
                <a:ext cx="72656" cy="82013"/>
              </a:xfrm>
              <a:custGeom>
                <a:avLst/>
                <a:gdLst>
                  <a:gd name="connsiteX0" fmla="*/ 12936 w 72656"/>
                  <a:gd name="connsiteY0" fmla="*/ 82013 h 82013"/>
                  <a:gd name="connsiteX1" fmla="*/ 70207 w 72656"/>
                  <a:gd name="connsiteY1" fmla="*/ 49108 h 82013"/>
                  <a:gd name="connsiteX2" fmla="*/ 70207 w 72656"/>
                  <a:gd name="connsiteY2" fmla="*/ 40442 h 82013"/>
                  <a:gd name="connsiteX3" fmla="*/ 0 w 72656"/>
                  <a:gd name="connsiteY3" fmla="*/ 0 h 82013"/>
                </a:gdLst>
                <a:ahLst/>
                <a:cxnLst>
                  <a:cxn ang="0">
                    <a:pos x="connsiteX0" y="connsiteY0"/>
                  </a:cxn>
                  <a:cxn ang="0">
                    <a:pos x="connsiteX1" y="connsiteY1"/>
                  </a:cxn>
                  <a:cxn ang="0">
                    <a:pos x="connsiteX2" y="connsiteY2"/>
                  </a:cxn>
                  <a:cxn ang="0">
                    <a:pos x="connsiteX3" y="connsiteY3"/>
                  </a:cxn>
                </a:cxnLst>
                <a:rect l="l" t="t" r="r" b="b"/>
                <a:pathLst>
                  <a:path w="72656" h="82013">
                    <a:moveTo>
                      <a:pt x="12936" y="82013"/>
                    </a:moveTo>
                    <a:lnTo>
                      <a:pt x="70207" y="49108"/>
                    </a:lnTo>
                    <a:cubicBezTo>
                      <a:pt x="73473" y="47224"/>
                      <a:pt x="73473" y="42451"/>
                      <a:pt x="70207" y="40442"/>
                    </a:cubicBezTo>
                    <a:lnTo>
                      <a:pt x="0" y="0"/>
                    </a:lnTo>
                  </a:path>
                </a:pathLst>
              </a:custGeom>
              <a:noFill/>
              <a:ln w="4819" cap="flat">
                <a:solidFill>
                  <a:srgbClr val="05252D">
                    <a:alpha val="7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3" name="Freeform: Shape 3562">
                <a:extLst>
                  <a:ext uri="{FF2B5EF4-FFF2-40B4-BE49-F238E27FC236}">
                    <a16:creationId xmlns:a16="http://schemas.microsoft.com/office/drawing/2014/main" id="{29E1349E-3964-419F-9499-3CEBA3ED0B3D}"/>
                  </a:ext>
                </a:extLst>
              </p:cNvPr>
              <p:cNvSpPr/>
              <p:nvPr/>
            </p:nvSpPr>
            <p:spPr>
              <a:xfrm>
                <a:off x="4982475" y="4649117"/>
                <a:ext cx="72656" cy="82013"/>
              </a:xfrm>
              <a:custGeom>
                <a:avLst/>
                <a:gdLst>
                  <a:gd name="connsiteX0" fmla="*/ 12936 w 72656"/>
                  <a:gd name="connsiteY0" fmla="*/ 82013 h 82013"/>
                  <a:gd name="connsiteX1" fmla="*/ 70207 w 72656"/>
                  <a:gd name="connsiteY1" fmla="*/ 49108 h 82013"/>
                  <a:gd name="connsiteX2" fmla="*/ 70207 w 72656"/>
                  <a:gd name="connsiteY2" fmla="*/ 40442 h 82013"/>
                  <a:gd name="connsiteX3" fmla="*/ 0 w 72656"/>
                  <a:gd name="connsiteY3" fmla="*/ 0 h 82013"/>
                </a:gdLst>
                <a:ahLst/>
                <a:cxnLst>
                  <a:cxn ang="0">
                    <a:pos x="connsiteX0" y="connsiteY0"/>
                  </a:cxn>
                  <a:cxn ang="0">
                    <a:pos x="connsiteX1" y="connsiteY1"/>
                  </a:cxn>
                  <a:cxn ang="0">
                    <a:pos x="connsiteX2" y="connsiteY2"/>
                  </a:cxn>
                  <a:cxn ang="0">
                    <a:pos x="connsiteX3" y="connsiteY3"/>
                  </a:cxn>
                </a:cxnLst>
                <a:rect l="l" t="t" r="r" b="b"/>
                <a:pathLst>
                  <a:path w="72656" h="82013">
                    <a:moveTo>
                      <a:pt x="12936" y="82013"/>
                    </a:moveTo>
                    <a:lnTo>
                      <a:pt x="70207" y="49108"/>
                    </a:lnTo>
                    <a:cubicBezTo>
                      <a:pt x="73473" y="47224"/>
                      <a:pt x="73473" y="42451"/>
                      <a:pt x="70207" y="40442"/>
                    </a:cubicBezTo>
                    <a:lnTo>
                      <a:pt x="0" y="0"/>
                    </a:lnTo>
                  </a:path>
                </a:pathLst>
              </a:custGeom>
              <a:noFill/>
              <a:ln w="4338" cap="flat">
                <a:solidFill>
                  <a:srgbClr val="E2E2E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4" name="Freeform: Shape 3563">
                <a:extLst>
                  <a:ext uri="{FF2B5EF4-FFF2-40B4-BE49-F238E27FC236}">
                    <a16:creationId xmlns:a16="http://schemas.microsoft.com/office/drawing/2014/main" id="{73558A18-A4EC-4126-AD27-66D791FF8F42}"/>
                  </a:ext>
                </a:extLst>
              </p:cNvPr>
              <p:cNvSpPr/>
              <p:nvPr/>
            </p:nvSpPr>
            <p:spPr>
              <a:xfrm>
                <a:off x="4961123" y="4716986"/>
                <a:ext cx="47688" cy="33863"/>
              </a:xfrm>
              <a:custGeom>
                <a:avLst/>
                <a:gdLst>
                  <a:gd name="connsiteX0" fmla="*/ 41823 w 47688"/>
                  <a:gd name="connsiteY0" fmla="*/ 22937 h 33863"/>
                  <a:gd name="connsiteX1" fmla="*/ 22984 w 47688"/>
                  <a:gd name="connsiteY1" fmla="*/ 33864 h 33863"/>
                  <a:gd name="connsiteX2" fmla="*/ 0 w 47688"/>
                  <a:gd name="connsiteY2" fmla="*/ 20551 h 33863"/>
                  <a:gd name="connsiteX3" fmla="*/ 6029 w 47688"/>
                  <a:gd name="connsiteY3" fmla="*/ 10252 h 33863"/>
                  <a:gd name="connsiteX4" fmla="*/ 18965 w 47688"/>
                  <a:gd name="connsiteY4" fmla="*/ 2842 h 33863"/>
                  <a:gd name="connsiteX5" fmla="*/ 42200 w 47688"/>
                  <a:gd name="connsiteY5" fmla="*/ 2716 h 33863"/>
                  <a:gd name="connsiteX6" fmla="*/ 41823 w 47688"/>
                  <a:gd name="connsiteY6" fmla="*/ 22937 h 3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88" h="33863">
                    <a:moveTo>
                      <a:pt x="41823" y="22937"/>
                    </a:moveTo>
                    <a:lnTo>
                      <a:pt x="22984" y="33864"/>
                    </a:lnTo>
                    <a:lnTo>
                      <a:pt x="0" y="20551"/>
                    </a:lnTo>
                    <a:cubicBezTo>
                      <a:pt x="0" y="16280"/>
                      <a:pt x="2261" y="12387"/>
                      <a:pt x="6029" y="10252"/>
                    </a:cubicBezTo>
                    <a:lnTo>
                      <a:pt x="18965" y="2842"/>
                    </a:lnTo>
                    <a:cubicBezTo>
                      <a:pt x="25496" y="-926"/>
                      <a:pt x="35795" y="-926"/>
                      <a:pt x="42200" y="2716"/>
                    </a:cubicBezTo>
                    <a:cubicBezTo>
                      <a:pt x="48354" y="6358"/>
                      <a:pt x="50740" y="18039"/>
                      <a:pt x="41823" y="2293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5" name="Freeform: Shape 3564">
                <a:extLst>
                  <a:ext uri="{FF2B5EF4-FFF2-40B4-BE49-F238E27FC236}">
                    <a16:creationId xmlns:a16="http://schemas.microsoft.com/office/drawing/2014/main" id="{219F3562-38ED-406E-95F9-B12C4E921BC6}"/>
                  </a:ext>
                </a:extLst>
              </p:cNvPr>
              <p:cNvSpPr/>
              <p:nvPr/>
            </p:nvSpPr>
            <p:spPr>
              <a:xfrm>
                <a:off x="4984107" y="4719576"/>
                <a:ext cx="24691" cy="31272"/>
              </a:xfrm>
              <a:custGeom>
                <a:avLst/>
                <a:gdLst>
                  <a:gd name="connsiteX0" fmla="*/ 18839 w 24691"/>
                  <a:gd name="connsiteY0" fmla="*/ 20346 h 31272"/>
                  <a:gd name="connsiteX1" fmla="*/ 0 w 24691"/>
                  <a:gd name="connsiteY1" fmla="*/ 31273 h 31272"/>
                  <a:gd name="connsiteX2" fmla="*/ 7661 w 24691"/>
                  <a:gd name="connsiteY2" fmla="*/ 17960 h 31272"/>
                  <a:gd name="connsiteX3" fmla="*/ 19090 w 24691"/>
                  <a:gd name="connsiteY3" fmla="*/ 11303 h 31272"/>
                  <a:gd name="connsiteX4" fmla="*/ 19090 w 24691"/>
                  <a:gd name="connsiteY4" fmla="*/ 0 h 31272"/>
                  <a:gd name="connsiteX5" fmla="*/ 18839 w 24691"/>
                  <a:gd name="connsiteY5" fmla="*/ 20346 h 3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691" h="31272">
                    <a:moveTo>
                      <a:pt x="18839" y="20346"/>
                    </a:moveTo>
                    <a:lnTo>
                      <a:pt x="0" y="31273"/>
                    </a:lnTo>
                    <a:cubicBezTo>
                      <a:pt x="0" y="25747"/>
                      <a:pt x="2888" y="20723"/>
                      <a:pt x="7661" y="17960"/>
                    </a:cubicBezTo>
                    <a:cubicBezTo>
                      <a:pt x="7661" y="17960"/>
                      <a:pt x="17583" y="12183"/>
                      <a:pt x="19090" y="11303"/>
                    </a:cubicBezTo>
                    <a:cubicBezTo>
                      <a:pt x="20597" y="10424"/>
                      <a:pt x="25747" y="5777"/>
                      <a:pt x="19090" y="0"/>
                    </a:cubicBezTo>
                    <a:cubicBezTo>
                      <a:pt x="25370" y="3768"/>
                      <a:pt x="27756" y="15448"/>
                      <a:pt x="18839" y="20346"/>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6" name="Freeform: Shape 3565">
                <a:extLst>
                  <a:ext uri="{FF2B5EF4-FFF2-40B4-BE49-F238E27FC236}">
                    <a16:creationId xmlns:a16="http://schemas.microsoft.com/office/drawing/2014/main" id="{26401B4E-68A9-4DCC-A068-F650F45BE936}"/>
                  </a:ext>
                </a:extLst>
              </p:cNvPr>
              <p:cNvSpPr/>
              <p:nvPr/>
            </p:nvSpPr>
            <p:spPr>
              <a:xfrm>
                <a:off x="4990252" y="4718561"/>
                <a:ext cx="12202" cy="7053"/>
              </a:xfrm>
              <a:custGeom>
                <a:avLst/>
                <a:gdLst>
                  <a:gd name="connsiteX0" fmla="*/ 11816 w 12202"/>
                  <a:gd name="connsiteY0" fmla="*/ 261 h 7053"/>
                  <a:gd name="connsiteX1" fmla="*/ 10937 w 12202"/>
                  <a:gd name="connsiteY1" fmla="*/ 2396 h 7053"/>
                  <a:gd name="connsiteX2" fmla="*/ 4154 w 12202"/>
                  <a:gd name="connsiteY2" fmla="*/ 6290 h 7053"/>
                  <a:gd name="connsiteX3" fmla="*/ 387 w 12202"/>
                  <a:gd name="connsiteY3" fmla="*/ 6792 h 7053"/>
                  <a:gd name="connsiteX4" fmla="*/ 1266 w 12202"/>
                  <a:gd name="connsiteY4" fmla="*/ 4657 h 7053"/>
                  <a:gd name="connsiteX5" fmla="*/ 8048 w 12202"/>
                  <a:gd name="connsiteY5" fmla="*/ 764 h 7053"/>
                  <a:gd name="connsiteX6" fmla="*/ 11816 w 12202"/>
                  <a:gd name="connsiteY6" fmla="*/ 261 h 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02" h="7053">
                    <a:moveTo>
                      <a:pt x="11816" y="261"/>
                    </a:moveTo>
                    <a:cubicBezTo>
                      <a:pt x="12569" y="764"/>
                      <a:pt x="12193" y="1643"/>
                      <a:pt x="10937" y="2396"/>
                    </a:cubicBezTo>
                    <a:lnTo>
                      <a:pt x="4154" y="6290"/>
                    </a:lnTo>
                    <a:cubicBezTo>
                      <a:pt x="2899" y="7043"/>
                      <a:pt x="1140" y="7295"/>
                      <a:pt x="387" y="6792"/>
                    </a:cubicBezTo>
                    <a:cubicBezTo>
                      <a:pt x="-367" y="6290"/>
                      <a:pt x="10" y="5411"/>
                      <a:pt x="1266" y="4657"/>
                    </a:cubicBezTo>
                    <a:lnTo>
                      <a:pt x="8048" y="764"/>
                    </a:lnTo>
                    <a:cubicBezTo>
                      <a:pt x="9304" y="10"/>
                      <a:pt x="11062" y="-241"/>
                      <a:pt x="11816" y="261"/>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7" name="Freeform: Shape 3566">
                <a:extLst>
                  <a:ext uri="{FF2B5EF4-FFF2-40B4-BE49-F238E27FC236}">
                    <a16:creationId xmlns:a16="http://schemas.microsoft.com/office/drawing/2014/main" id="{17ECE4D9-2A2C-411C-8621-DCFB8FD36690}"/>
                  </a:ext>
                </a:extLst>
              </p:cNvPr>
              <p:cNvSpPr/>
              <p:nvPr/>
            </p:nvSpPr>
            <p:spPr>
              <a:xfrm>
                <a:off x="4923194" y="4591721"/>
                <a:ext cx="68951" cy="82233"/>
              </a:xfrm>
              <a:custGeom>
                <a:avLst/>
                <a:gdLst>
                  <a:gd name="connsiteX0" fmla="*/ 23235 w 68951"/>
                  <a:gd name="connsiteY0" fmla="*/ 0 h 82233"/>
                  <a:gd name="connsiteX1" fmla="*/ 20723 w 68951"/>
                  <a:gd name="connsiteY1" fmla="*/ 1382 h 82233"/>
                  <a:gd name="connsiteX2" fmla="*/ 20723 w 68951"/>
                  <a:gd name="connsiteY2" fmla="*/ 43707 h 82233"/>
                  <a:gd name="connsiteX3" fmla="*/ 11931 w 68951"/>
                  <a:gd name="connsiteY3" fmla="*/ 48857 h 82233"/>
                  <a:gd name="connsiteX4" fmla="*/ 3014 w 68951"/>
                  <a:gd name="connsiteY4" fmla="*/ 54006 h 82233"/>
                  <a:gd name="connsiteX5" fmla="*/ 0 w 68951"/>
                  <a:gd name="connsiteY5" fmla="*/ 54006 h 82233"/>
                  <a:gd name="connsiteX6" fmla="*/ 0 w 68951"/>
                  <a:gd name="connsiteY6" fmla="*/ 57020 h 82233"/>
                  <a:gd name="connsiteX7" fmla="*/ 0 w 68951"/>
                  <a:gd name="connsiteY7" fmla="*/ 57020 h 82233"/>
                  <a:gd name="connsiteX8" fmla="*/ 1130 w 68951"/>
                  <a:gd name="connsiteY8" fmla="*/ 58779 h 82233"/>
                  <a:gd name="connsiteX9" fmla="*/ 1507 w 68951"/>
                  <a:gd name="connsiteY9" fmla="*/ 59030 h 82233"/>
                  <a:gd name="connsiteX10" fmla="*/ 9420 w 68951"/>
                  <a:gd name="connsiteY10" fmla="*/ 63677 h 82233"/>
                  <a:gd name="connsiteX11" fmla="*/ 40065 w 68951"/>
                  <a:gd name="connsiteY11" fmla="*/ 81386 h 82233"/>
                  <a:gd name="connsiteX12" fmla="*/ 47098 w 68951"/>
                  <a:gd name="connsiteY12" fmla="*/ 81386 h 82233"/>
                  <a:gd name="connsiteX13" fmla="*/ 65561 w 68951"/>
                  <a:gd name="connsiteY13" fmla="*/ 70710 h 82233"/>
                  <a:gd name="connsiteX14" fmla="*/ 68951 w 68951"/>
                  <a:gd name="connsiteY14" fmla="*/ 64933 h 82233"/>
                  <a:gd name="connsiteX15" fmla="*/ 68951 w 68951"/>
                  <a:gd name="connsiteY15" fmla="*/ 26501 h 82233"/>
                  <a:gd name="connsiteX16" fmla="*/ 23235 w 68951"/>
                  <a:gd name="connsiteY16" fmla="*/ 0 h 82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951" h="82233">
                    <a:moveTo>
                      <a:pt x="23235" y="0"/>
                    </a:moveTo>
                    <a:lnTo>
                      <a:pt x="20723" y="1382"/>
                    </a:lnTo>
                    <a:lnTo>
                      <a:pt x="20723" y="43707"/>
                    </a:lnTo>
                    <a:lnTo>
                      <a:pt x="11931" y="48857"/>
                    </a:lnTo>
                    <a:lnTo>
                      <a:pt x="3014" y="54006"/>
                    </a:lnTo>
                    <a:lnTo>
                      <a:pt x="0" y="54006"/>
                    </a:lnTo>
                    <a:lnTo>
                      <a:pt x="0" y="57020"/>
                    </a:lnTo>
                    <a:lnTo>
                      <a:pt x="0" y="57020"/>
                    </a:lnTo>
                    <a:cubicBezTo>
                      <a:pt x="0" y="57648"/>
                      <a:pt x="377" y="58276"/>
                      <a:pt x="1130" y="58779"/>
                    </a:cubicBezTo>
                    <a:cubicBezTo>
                      <a:pt x="1256" y="58904"/>
                      <a:pt x="1381" y="58904"/>
                      <a:pt x="1507" y="59030"/>
                    </a:cubicBezTo>
                    <a:lnTo>
                      <a:pt x="9420" y="63677"/>
                    </a:lnTo>
                    <a:lnTo>
                      <a:pt x="40065" y="81386"/>
                    </a:lnTo>
                    <a:cubicBezTo>
                      <a:pt x="41949" y="82516"/>
                      <a:pt x="45088" y="82516"/>
                      <a:pt x="47098" y="81386"/>
                    </a:cubicBezTo>
                    <a:lnTo>
                      <a:pt x="65561" y="70710"/>
                    </a:lnTo>
                    <a:cubicBezTo>
                      <a:pt x="67570" y="69454"/>
                      <a:pt x="68951" y="67319"/>
                      <a:pt x="68951" y="64933"/>
                    </a:cubicBezTo>
                    <a:lnTo>
                      <a:pt x="68951" y="26501"/>
                    </a:lnTo>
                    <a:lnTo>
                      <a:pt x="23235" y="0"/>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8" name="Freeform: Shape 3567">
                <a:extLst>
                  <a:ext uri="{FF2B5EF4-FFF2-40B4-BE49-F238E27FC236}">
                    <a16:creationId xmlns:a16="http://schemas.microsoft.com/office/drawing/2014/main" id="{F8FA42F6-68C4-4316-A941-0FBA8E011C63}"/>
                  </a:ext>
                </a:extLst>
              </p:cNvPr>
              <p:cNvSpPr/>
              <p:nvPr/>
            </p:nvSpPr>
            <p:spPr>
              <a:xfrm>
                <a:off x="4922943" y="4591470"/>
                <a:ext cx="68951" cy="82264"/>
              </a:xfrm>
              <a:custGeom>
                <a:avLst/>
                <a:gdLst>
                  <a:gd name="connsiteX0" fmla="*/ 68951 w 68951"/>
                  <a:gd name="connsiteY0" fmla="*/ 26501 h 82264"/>
                  <a:gd name="connsiteX1" fmla="*/ 68951 w 68951"/>
                  <a:gd name="connsiteY1" fmla="*/ 64933 h 82264"/>
                  <a:gd name="connsiteX2" fmla="*/ 65560 w 68951"/>
                  <a:gd name="connsiteY2" fmla="*/ 70710 h 82264"/>
                  <a:gd name="connsiteX3" fmla="*/ 47098 w 68951"/>
                  <a:gd name="connsiteY3" fmla="*/ 81386 h 82264"/>
                  <a:gd name="connsiteX4" fmla="*/ 43581 w 68951"/>
                  <a:gd name="connsiteY4" fmla="*/ 82264 h 82264"/>
                  <a:gd name="connsiteX5" fmla="*/ 40064 w 68951"/>
                  <a:gd name="connsiteY5" fmla="*/ 81386 h 82264"/>
                  <a:gd name="connsiteX6" fmla="*/ 9420 w 68951"/>
                  <a:gd name="connsiteY6" fmla="*/ 63677 h 82264"/>
                  <a:gd name="connsiteX7" fmla="*/ 1507 w 68951"/>
                  <a:gd name="connsiteY7" fmla="*/ 59030 h 82264"/>
                  <a:gd name="connsiteX8" fmla="*/ 1130 w 68951"/>
                  <a:gd name="connsiteY8" fmla="*/ 58778 h 82264"/>
                  <a:gd name="connsiteX9" fmla="*/ 0 w 68951"/>
                  <a:gd name="connsiteY9" fmla="*/ 57020 h 82264"/>
                  <a:gd name="connsiteX10" fmla="*/ 0 w 68951"/>
                  <a:gd name="connsiteY10" fmla="*/ 57020 h 82264"/>
                  <a:gd name="connsiteX11" fmla="*/ 0 w 68951"/>
                  <a:gd name="connsiteY11" fmla="*/ 54006 h 82264"/>
                  <a:gd name="connsiteX12" fmla="*/ 3014 w 68951"/>
                  <a:gd name="connsiteY12" fmla="*/ 54006 h 82264"/>
                  <a:gd name="connsiteX13" fmla="*/ 11931 w 68951"/>
                  <a:gd name="connsiteY13" fmla="*/ 48857 h 82264"/>
                  <a:gd name="connsiteX14" fmla="*/ 20723 w 68951"/>
                  <a:gd name="connsiteY14" fmla="*/ 43707 h 82264"/>
                  <a:gd name="connsiteX15" fmla="*/ 20723 w 68951"/>
                  <a:gd name="connsiteY15" fmla="*/ 1382 h 82264"/>
                  <a:gd name="connsiteX16" fmla="*/ 23235 w 68951"/>
                  <a:gd name="connsiteY16" fmla="*/ 0 h 82264"/>
                  <a:gd name="connsiteX17" fmla="*/ 68951 w 68951"/>
                  <a:gd name="connsiteY17" fmla="*/ 26501 h 82264"/>
                  <a:gd name="connsiteX18" fmla="*/ 68951 w 68951"/>
                  <a:gd name="connsiteY18" fmla="*/ 26501 h 82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951" h="82264">
                    <a:moveTo>
                      <a:pt x="68951" y="26501"/>
                    </a:moveTo>
                    <a:lnTo>
                      <a:pt x="68951" y="64933"/>
                    </a:lnTo>
                    <a:cubicBezTo>
                      <a:pt x="68951" y="67319"/>
                      <a:pt x="67695" y="69580"/>
                      <a:pt x="65560" y="70710"/>
                    </a:cubicBezTo>
                    <a:lnTo>
                      <a:pt x="47098" y="81386"/>
                    </a:lnTo>
                    <a:cubicBezTo>
                      <a:pt x="46093" y="81888"/>
                      <a:pt x="44837" y="82264"/>
                      <a:pt x="43581" y="82264"/>
                    </a:cubicBezTo>
                    <a:cubicBezTo>
                      <a:pt x="42325" y="82264"/>
                      <a:pt x="41069" y="82013"/>
                      <a:pt x="40064" y="81386"/>
                    </a:cubicBezTo>
                    <a:lnTo>
                      <a:pt x="9420" y="63677"/>
                    </a:lnTo>
                    <a:lnTo>
                      <a:pt x="1507" y="59030"/>
                    </a:lnTo>
                    <a:cubicBezTo>
                      <a:pt x="1381" y="58904"/>
                      <a:pt x="1256" y="58904"/>
                      <a:pt x="1130" y="58778"/>
                    </a:cubicBezTo>
                    <a:cubicBezTo>
                      <a:pt x="377" y="58276"/>
                      <a:pt x="125" y="57648"/>
                      <a:pt x="0" y="57020"/>
                    </a:cubicBezTo>
                    <a:lnTo>
                      <a:pt x="0" y="57020"/>
                    </a:lnTo>
                    <a:lnTo>
                      <a:pt x="0" y="54006"/>
                    </a:lnTo>
                    <a:lnTo>
                      <a:pt x="3014" y="54006"/>
                    </a:lnTo>
                    <a:lnTo>
                      <a:pt x="11931" y="48857"/>
                    </a:lnTo>
                    <a:lnTo>
                      <a:pt x="20723" y="43707"/>
                    </a:lnTo>
                    <a:lnTo>
                      <a:pt x="20723" y="1382"/>
                    </a:lnTo>
                    <a:lnTo>
                      <a:pt x="23235" y="0"/>
                    </a:lnTo>
                    <a:lnTo>
                      <a:pt x="68951" y="26501"/>
                    </a:lnTo>
                    <a:lnTo>
                      <a:pt x="68951" y="26501"/>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9" name="Freeform: Shape 3568">
                <a:extLst>
                  <a:ext uri="{FF2B5EF4-FFF2-40B4-BE49-F238E27FC236}">
                    <a16:creationId xmlns:a16="http://schemas.microsoft.com/office/drawing/2014/main" id="{B5A2A4E6-07E2-4FC5-B34E-484BF4B87ED0}"/>
                  </a:ext>
                </a:extLst>
              </p:cNvPr>
              <p:cNvSpPr/>
              <p:nvPr/>
            </p:nvSpPr>
            <p:spPr>
              <a:xfrm>
                <a:off x="4966524" y="4617970"/>
                <a:ext cx="25370" cy="55763"/>
              </a:xfrm>
              <a:custGeom>
                <a:avLst/>
                <a:gdLst>
                  <a:gd name="connsiteX0" fmla="*/ 25370 w 25370"/>
                  <a:gd name="connsiteY0" fmla="*/ 0 h 55763"/>
                  <a:gd name="connsiteX1" fmla="*/ 25370 w 25370"/>
                  <a:gd name="connsiteY1" fmla="*/ 38432 h 55763"/>
                  <a:gd name="connsiteX2" fmla="*/ 21979 w 25370"/>
                  <a:gd name="connsiteY2" fmla="*/ 44209 h 55763"/>
                  <a:gd name="connsiteX3" fmla="*/ 3517 w 25370"/>
                  <a:gd name="connsiteY3" fmla="*/ 54885 h 55763"/>
                  <a:gd name="connsiteX4" fmla="*/ 0 w 25370"/>
                  <a:gd name="connsiteY4" fmla="*/ 55764 h 55763"/>
                  <a:gd name="connsiteX5" fmla="*/ 0 w 25370"/>
                  <a:gd name="connsiteY5" fmla="*/ 51368 h 55763"/>
                  <a:gd name="connsiteX6" fmla="*/ 22733 w 25370"/>
                  <a:gd name="connsiteY6" fmla="*/ 1507 h 55763"/>
                  <a:gd name="connsiteX7" fmla="*/ 25370 w 25370"/>
                  <a:gd name="connsiteY7" fmla="*/ 0 h 55763"/>
                  <a:gd name="connsiteX8" fmla="*/ 25370 w 25370"/>
                  <a:gd name="connsiteY8" fmla="*/ 0 h 55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70" h="55763">
                    <a:moveTo>
                      <a:pt x="25370" y="0"/>
                    </a:moveTo>
                    <a:lnTo>
                      <a:pt x="25370" y="38432"/>
                    </a:lnTo>
                    <a:cubicBezTo>
                      <a:pt x="25370" y="40818"/>
                      <a:pt x="24114" y="43079"/>
                      <a:pt x="21979" y="44209"/>
                    </a:cubicBezTo>
                    <a:lnTo>
                      <a:pt x="3517" y="54885"/>
                    </a:lnTo>
                    <a:cubicBezTo>
                      <a:pt x="2512" y="55387"/>
                      <a:pt x="1256" y="55764"/>
                      <a:pt x="0" y="55764"/>
                    </a:cubicBezTo>
                    <a:lnTo>
                      <a:pt x="0" y="51368"/>
                    </a:lnTo>
                    <a:lnTo>
                      <a:pt x="22733" y="1507"/>
                    </a:lnTo>
                    <a:lnTo>
                      <a:pt x="25370" y="0"/>
                    </a:lnTo>
                    <a:lnTo>
                      <a:pt x="25370" y="0"/>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0" name="Freeform: Shape 3569">
                <a:extLst>
                  <a:ext uri="{FF2B5EF4-FFF2-40B4-BE49-F238E27FC236}">
                    <a16:creationId xmlns:a16="http://schemas.microsoft.com/office/drawing/2014/main" id="{F31E85B9-C3C2-4B10-89D9-6660F8C4167D}"/>
                  </a:ext>
                </a:extLst>
              </p:cNvPr>
              <p:cNvSpPr/>
              <p:nvPr/>
            </p:nvSpPr>
            <p:spPr>
              <a:xfrm>
                <a:off x="4923162" y="4593228"/>
                <a:ext cx="66345" cy="77585"/>
              </a:xfrm>
              <a:custGeom>
                <a:avLst/>
                <a:gdLst>
                  <a:gd name="connsiteX0" fmla="*/ 66346 w 66345"/>
                  <a:gd name="connsiteY0" fmla="*/ 26249 h 77585"/>
                  <a:gd name="connsiteX1" fmla="*/ 66346 w 66345"/>
                  <a:gd name="connsiteY1" fmla="*/ 61792 h 77585"/>
                  <a:gd name="connsiteX2" fmla="*/ 62955 w 66345"/>
                  <a:gd name="connsiteY2" fmla="*/ 67570 h 77585"/>
                  <a:gd name="connsiteX3" fmla="*/ 47004 w 66345"/>
                  <a:gd name="connsiteY3" fmla="*/ 76738 h 77585"/>
                  <a:gd name="connsiteX4" fmla="*/ 39971 w 66345"/>
                  <a:gd name="connsiteY4" fmla="*/ 76738 h 77585"/>
                  <a:gd name="connsiteX5" fmla="*/ 1413 w 66345"/>
                  <a:gd name="connsiteY5" fmla="*/ 54508 h 77585"/>
                  <a:gd name="connsiteX6" fmla="*/ 1413 w 66345"/>
                  <a:gd name="connsiteY6" fmla="*/ 50489 h 77585"/>
                  <a:gd name="connsiteX7" fmla="*/ 17364 w 66345"/>
                  <a:gd name="connsiteY7" fmla="*/ 41320 h 77585"/>
                  <a:gd name="connsiteX8" fmla="*/ 20755 w 66345"/>
                  <a:gd name="connsiteY8" fmla="*/ 35543 h 77585"/>
                  <a:gd name="connsiteX9" fmla="*/ 20755 w 66345"/>
                  <a:gd name="connsiteY9" fmla="*/ 0 h 7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45" h="77585">
                    <a:moveTo>
                      <a:pt x="66346" y="26249"/>
                    </a:moveTo>
                    <a:lnTo>
                      <a:pt x="66346" y="61792"/>
                    </a:lnTo>
                    <a:cubicBezTo>
                      <a:pt x="66346" y="64179"/>
                      <a:pt x="65090" y="66439"/>
                      <a:pt x="62955" y="67570"/>
                    </a:cubicBezTo>
                    <a:lnTo>
                      <a:pt x="47004" y="76738"/>
                    </a:lnTo>
                    <a:cubicBezTo>
                      <a:pt x="45120" y="77869"/>
                      <a:pt x="41980" y="77869"/>
                      <a:pt x="39971" y="76738"/>
                    </a:cubicBezTo>
                    <a:lnTo>
                      <a:pt x="1413" y="54508"/>
                    </a:lnTo>
                    <a:cubicBezTo>
                      <a:pt x="-471" y="53378"/>
                      <a:pt x="-471" y="51619"/>
                      <a:pt x="1413" y="50489"/>
                    </a:cubicBezTo>
                    <a:lnTo>
                      <a:pt x="17364" y="41320"/>
                    </a:lnTo>
                    <a:cubicBezTo>
                      <a:pt x="19499" y="40065"/>
                      <a:pt x="20755" y="37929"/>
                      <a:pt x="20755" y="35543"/>
                    </a:cubicBezTo>
                    <a:lnTo>
                      <a:pt x="20755" y="0"/>
                    </a:lnTo>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1" name="Freeform: Shape 3570">
                <a:extLst>
                  <a:ext uri="{FF2B5EF4-FFF2-40B4-BE49-F238E27FC236}">
                    <a16:creationId xmlns:a16="http://schemas.microsoft.com/office/drawing/2014/main" id="{9F630053-E03B-4A80-8848-8CC0A0242178}"/>
                  </a:ext>
                </a:extLst>
              </p:cNvPr>
              <p:cNvSpPr/>
              <p:nvPr/>
            </p:nvSpPr>
            <p:spPr>
              <a:xfrm>
                <a:off x="4943917" y="4622115"/>
                <a:ext cx="45590" cy="32905"/>
              </a:xfrm>
              <a:custGeom>
                <a:avLst/>
                <a:gdLst>
                  <a:gd name="connsiteX0" fmla="*/ 0 w 45590"/>
                  <a:gd name="connsiteY0" fmla="*/ 6657 h 32905"/>
                  <a:gd name="connsiteX1" fmla="*/ 0 w 45590"/>
                  <a:gd name="connsiteY1" fmla="*/ 0 h 32905"/>
                  <a:gd name="connsiteX2" fmla="*/ 45591 w 45590"/>
                  <a:gd name="connsiteY2" fmla="*/ 26375 h 32905"/>
                  <a:gd name="connsiteX3" fmla="*/ 45591 w 45590"/>
                  <a:gd name="connsiteY3" fmla="*/ 32906 h 32905"/>
                </a:gdLst>
                <a:ahLst/>
                <a:cxnLst>
                  <a:cxn ang="0">
                    <a:pos x="connsiteX0" y="connsiteY0"/>
                  </a:cxn>
                  <a:cxn ang="0">
                    <a:pos x="connsiteX1" y="connsiteY1"/>
                  </a:cxn>
                  <a:cxn ang="0">
                    <a:pos x="connsiteX2" y="connsiteY2"/>
                  </a:cxn>
                  <a:cxn ang="0">
                    <a:pos x="connsiteX3" y="connsiteY3"/>
                  </a:cxn>
                </a:cxnLst>
                <a:rect l="l" t="t" r="r" b="b"/>
                <a:pathLst>
                  <a:path w="45590" h="32905">
                    <a:moveTo>
                      <a:pt x="0" y="6657"/>
                    </a:moveTo>
                    <a:lnTo>
                      <a:pt x="0" y="0"/>
                    </a:lnTo>
                    <a:lnTo>
                      <a:pt x="45591" y="26375"/>
                    </a:lnTo>
                    <a:lnTo>
                      <a:pt x="45591" y="32906"/>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2" name="Freeform: Shape 3571">
                <a:extLst>
                  <a:ext uri="{FF2B5EF4-FFF2-40B4-BE49-F238E27FC236}">
                    <a16:creationId xmlns:a16="http://schemas.microsoft.com/office/drawing/2014/main" id="{E6CD7C0C-A06E-4037-A3C5-6F587B58C3F8}"/>
                  </a:ext>
                </a:extLst>
              </p:cNvPr>
              <p:cNvSpPr/>
              <p:nvPr/>
            </p:nvSpPr>
            <p:spPr>
              <a:xfrm>
                <a:off x="4989508" y="4646983"/>
                <a:ext cx="2386" cy="8037"/>
              </a:xfrm>
              <a:custGeom>
                <a:avLst/>
                <a:gdLst>
                  <a:gd name="connsiteX0" fmla="*/ 0 w 2386"/>
                  <a:gd name="connsiteY0" fmla="*/ 8038 h 8037"/>
                  <a:gd name="connsiteX1" fmla="*/ 2386 w 2386"/>
                  <a:gd name="connsiteY1" fmla="*/ 6657 h 8037"/>
                  <a:gd name="connsiteX2" fmla="*/ 2386 w 2386"/>
                  <a:gd name="connsiteY2" fmla="*/ 0 h 8037"/>
                  <a:gd name="connsiteX3" fmla="*/ 0 w 2386"/>
                  <a:gd name="connsiteY3" fmla="*/ 1507 h 8037"/>
                </a:gdLst>
                <a:ahLst/>
                <a:cxnLst>
                  <a:cxn ang="0">
                    <a:pos x="connsiteX0" y="connsiteY0"/>
                  </a:cxn>
                  <a:cxn ang="0">
                    <a:pos x="connsiteX1" y="connsiteY1"/>
                  </a:cxn>
                  <a:cxn ang="0">
                    <a:pos x="connsiteX2" y="connsiteY2"/>
                  </a:cxn>
                  <a:cxn ang="0">
                    <a:pos x="connsiteX3" y="connsiteY3"/>
                  </a:cxn>
                </a:cxnLst>
                <a:rect l="l" t="t" r="r" b="b"/>
                <a:pathLst>
                  <a:path w="2386" h="8037">
                    <a:moveTo>
                      <a:pt x="0" y="8038"/>
                    </a:moveTo>
                    <a:lnTo>
                      <a:pt x="2386" y="6657"/>
                    </a:lnTo>
                    <a:lnTo>
                      <a:pt x="2386" y="0"/>
                    </a:lnTo>
                    <a:lnTo>
                      <a:pt x="0" y="1507"/>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3" name="Freeform: Shape 3572">
                <a:extLst>
                  <a:ext uri="{FF2B5EF4-FFF2-40B4-BE49-F238E27FC236}">
                    <a16:creationId xmlns:a16="http://schemas.microsoft.com/office/drawing/2014/main" id="{B3CA3DE1-E197-49BB-A992-6F6FB2A0DFD8}"/>
                  </a:ext>
                </a:extLst>
              </p:cNvPr>
              <p:cNvSpPr/>
              <p:nvPr/>
            </p:nvSpPr>
            <p:spPr>
              <a:xfrm>
                <a:off x="4900210" y="4476767"/>
                <a:ext cx="151691" cy="198562"/>
              </a:xfrm>
              <a:custGeom>
                <a:avLst/>
                <a:gdLst>
                  <a:gd name="connsiteX0" fmla="*/ 150212 w 151691"/>
                  <a:gd name="connsiteY0" fmla="*/ 83932 h 198562"/>
                  <a:gd name="connsiteX1" fmla="*/ 146067 w 151691"/>
                  <a:gd name="connsiteY1" fmla="*/ 79536 h 198562"/>
                  <a:gd name="connsiteX2" fmla="*/ 9545 w 151691"/>
                  <a:gd name="connsiteY2" fmla="*/ 788 h 198562"/>
                  <a:gd name="connsiteX3" fmla="*/ 5149 w 151691"/>
                  <a:gd name="connsiteY3" fmla="*/ 537 h 198562"/>
                  <a:gd name="connsiteX4" fmla="*/ 0 w 151691"/>
                  <a:gd name="connsiteY4" fmla="*/ 3551 h 198562"/>
                  <a:gd name="connsiteX5" fmla="*/ 3642 w 151691"/>
                  <a:gd name="connsiteY5" fmla="*/ 5812 h 198562"/>
                  <a:gd name="connsiteX6" fmla="*/ 3642 w 151691"/>
                  <a:gd name="connsiteY6" fmla="*/ 109177 h 198562"/>
                  <a:gd name="connsiteX7" fmla="*/ 9420 w 151691"/>
                  <a:gd name="connsiteY7" fmla="*/ 119099 h 198562"/>
                  <a:gd name="connsiteX8" fmla="*/ 134638 w 151691"/>
                  <a:gd name="connsiteY8" fmla="*/ 191316 h 198562"/>
                  <a:gd name="connsiteX9" fmla="*/ 140290 w 151691"/>
                  <a:gd name="connsiteY9" fmla="*/ 194581 h 198562"/>
                  <a:gd name="connsiteX10" fmla="*/ 145816 w 151691"/>
                  <a:gd name="connsiteY10" fmla="*/ 197846 h 198562"/>
                  <a:gd name="connsiteX11" fmla="*/ 145941 w 151691"/>
                  <a:gd name="connsiteY11" fmla="*/ 197846 h 198562"/>
                  <a:gd name="connsiteX12" fmla="*/ 149960 w 151691"/>
                  <a:gd name="connsiteY12" fmla="*/ 198223 h 198562"/>
                  <a:gd name="connsiteX13" fmla="*/ 151593 w 151691"/>
                  <a:gd name="connsiteY13" fmla="*/ 194456 h 198562"/>
                  <a:gd name="connsiteX14" fmla="*/ 151593 w 151691"/>
                  <a:gd name="connsiteY14" fmla="*/ 89458 h 198562"/>
                  <a:gd name="connsiteX15" fmla="*/ 150212 w 151691"/>
                  <a:gd name="connsiteY15" fmla="*/ 83932 h 198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1691" h="198562">
                    <a:moveTo>
                      <a:pt x="150212" y="83932"/>
                    </a:moveTo>
                    <a:cubicBezTo>
                      <a:pt x="149207" y="82048"/>
                      <a:pt x="147700" y="80541"/>
                      <a:pt x="146067" y="79536"/>
                    </a:cubicBezTo>
                    <a:lnTo>
                      <a:pt x="9545" y="788"/>
                    </a:lnTo>
                    <a:cubicBezTo>
                      <a:pt x="7787" y="-216"/>
                      <a:pt x="6280" y="-216"/>
                      <a:pt x="5149" y="537"/>
                    </a:cubicBezTo>
                    <a:lnTo>
                      <a:pt x="0" y="3551"/>
                    </a:lnTo>
                    <a:lnTo>
                      <a:pt x="3642" y="5812"/>
                    </a:lnTo>
                    <a:lnTo>
                      <a:pt x="3642" y="109177"/>
                    </a:lnTo>
                    <a:cubicBezTo>
                      <a:pt x="3768" y="112819"/>
                      <a:pt x="6280" y="117340"/>
                      <a:pt x="9420" y="119099"/>
                    </a:cubicBezTo>
                    <a:lnTo>
                      <a:pt x="134638" y="191316"/>
                    </a:lnTo>
                    <a:lnTo>
                      <a:pt x="140290" y="194581"/>
                    </a:lnTo>
                    <a:lnTo>
                      <a:pt x="145816" y="197846"/>
                    </a:lnTo>
                    <a:cubicBezTo>
                      <a:pt x="145816" y="197846"/>
                      <a:pt x="145941" y="197846"/>
                      <a:pt x="145941" y="197846"/>
                    </a:cubicBezTo>
                    <a:cubicBezTo>
                      <a:pt x="147574" y="198726"/>
                      <a:pt x="148956" y="198726"/>
                      <a:pt x="149960" y="198223"/>
                    </a:cubicBezTo>
                    <a:cubicBezTo>
                      <a:pt x="150965" y="197595"/>
                      <a:pt x="151593" y="196339"/>
                      <a:pt x="151593" y="194456"/>
                    </a:cubicBezTo>
                    <a:lnTo>
                      <a:pt x="151593" y="89458"/>
                    </a:lnTo>
                    <a:cubicBezTo>
                      <a:pt x="151970" y="87826"/>
                      <a:pt x="151216" y="85690"/>
                      <a:pt x="150212" y="8393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4" name="Freeform: Shape 3573">
                <a:extLst>
                  <a:ext uri="{FF2B5EF4-FFF2-40B4-BE49-F238E27FC236}">
                    <a16:creationId xmlns:a16="http://schemas.microsoft.com/office/drawing/2014/main" id="{7426EF33-974C-46CF-B998-2240F1F4799F}"/>
                  </a:ext>
                </a:extLst>
              </p:cNvPr>
              <p:cNvSpPr/>
              <p:nvPr/>
            </p:nvSpPr>
            <p:spPr>
              <a:xfrm>
                <a:off x="5035099" y="4560699"/>
                <a:ext cx="17206" cy="118200"/>
              </a:xfrm>
              <a:custGeom>
                <a:avLst/>
                <a:gdLst>
                  <a:gd name="connsiteX0" fmla="*/ 15323 w 17206"/>
                  <a:gd name="connsiteY0" fmla="*/ 0 h 118200"/>
                  <a:gd name="connsiteX1" fmla="*/ 9671 w 17206"/>
                  <a:gd name="connsiteY1" fmla="*/ 3266 h 118200"/>
                  <a:gd name="connsiteX2" fmla="*/ 0 w 17206"/>
                  <a:gd name="connsiteY2" fmla="*/ 8918 h 118200"/>
                  <a:gd name="connsiteX3" fmla="*/ 0 w 17206"/>
                  <a:gd name="connsiteY3" fmla="*/ 114166 h 118200"/>
                  <a:gd name="connsiteX4" fmla="*/ 5652 w 17206"/>
                  <a:gd name="connsiteY4" fmla="*/ 117431 h 118200"/>
                  <a:gd name="connsiteX5" fmla="*/ 9796 w 17206"/>
                  <a:gd name="connsiteY5" fmla="*/ 117808 h 118200"/>
                  <a:gd name="connsiteX6" fmla="*/ 9922 w 17206"/>
                  <a:gd name="connsiteY6" fmla="*/ 117808 h 118200"/>
                  <a:gd name="connsiteX7" fmla="*/ 15574 w 17206"/>
                  <a:gd name="connsiteY7" fmla="*/ 114543 h 118200"/>
                  <a:gd name="connsiteX8" fmla="*/ 17206 w 17206"/>
                  <a:gd name="connsiteY8" fmla="*/ 110775 h 118200"/>
                  <a:gd name="connsiteX9" fmla="*/ 17206 w 17206"/>
                  <a:gd name="connsiteY9" fmla="*/ 5778 h 118200"/>
                  <a:gd name="connsiteX10" fmla="*/ 15323 w 17206"/>
                  <a:gd name="connsiteY10" fmla="*/ 0 h 11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06" h="118200">
                    <a:moveTo>
                      <a:pt x="15323" y="0"/>
                    </a:moveTo>
                    <a:lnTo>
                      <a:pt x="9671" y="3266"/>
                    </a:lnTo>
                    <a:lnTo>
                      <a:pt x="0" y="8918"/>
                    </a:lnTo>
                    <a:lnTo>
                      <a:pt x="0" y="114166"/>
                    </a:lnTo>
                    <a:lnTo>
                      <a:pt x="5652" y="117431"/>
                    </a:lnTo>
                    <a:cubicBezTo>
                      <a:pt x="7284" y="118310"/>
                      <a:pt x="8666" y="118436"/>
                      <a:pt x="9796" y="117808"/>
                    </a:cubicBezTo>
                    <a:cubicBezTo>
                      <a:pt x="9796" y="117808"/>
                      <a:pt x="9796" y="117808"/>
                      <a:pt x="9922" y="117808"/>
                    </a:cubicBezTo>
                    <a:lnTo>
                      <a:pt x="15574" y="114543"/>
                    </a:lnTo>
                    <a:cubicBezTo>
                      <a:pt x="16579" y="113915"/>
                      <a:pt x="17206" y="112659"/>
                      <a:pt x="17206" y="110775"/>
                    </a:cubicBezTo>
                    <a:lnTo>
                      <a:pt x="17206" y="5778"/>
                    </a:lnTo>
                    <a:cubicBezTo>
                      <a:pt x="17081" y="3894"/>
                      <a:pt x="16327" y="1759"/>
                      <a:pt x="15323" y="0"/>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5" name="Freeform: Shape 3574">
                <a:extLst>
                  <a:ext uri="{FF2B5EF4-FFF2-40B4-BE49-F238E27FC236}">
                    <a16:creationId xmlns:a16="http://schemas.microsoft.com/office/drawing/2014/main" id="{C9D68980-3491-40C3-A5B4-550FBE6DCD4C}"/>
                  </a:ext>
                </a:extLst>
              </p:cNvPr>
              <p:cNvSpPr/>
              <p:nvPr/>
            </p:nvSpPr>
            <p:spPr>
              <a:xfrm>
                <a:off x="5035099" y="4560699"/>
                <a:ext cx="17206" cy="118200"/>
              </a:xfrm>
              <a:custGeom>
                <a:avLst/>
                <a:gdLst>
                  <a:gd name="connsiteX0" fmla="*/ 15323 w 17206"/>
                  <a:gd name="connsiteY0" fmla="*/ 0 h 118200"/>
                  <a:gd name="connsiteX1" fmla="*/ 9671 w 17206"/>
                  <a:gd name="connsiteY1" fmla="*/ 3266 h 118200"/>
                  <a:gd name="connsiteX2" fmla="*/ 0 w 17206"/>
                  <a:gd name="connsiteY2" fmla="*/ 8918 h 118200"/>
                  <a:gd name="connsiteX3" fmla="*/ 0 w 17206"/>
                  <a:gd name="connsiteY3" fmla="*/ 114166 h 118200"/>
                  <a:gd name="connsiteX4" fmla="*/ 5652 w 17206"/>
                  <a:gd name="connsiteY4" fmla="*/ 117431 h 118200"/>
                  <a:gd name="connsiteX5" fmla="*/ 9796 w 17206"/>
                  <a:gd name="connsiteY5" fmla="*/ 117808 h 118200"/>
                  <a:gd name="connsiteX6" fmla="*/ 9922 w 17206"/>
                  <a:gd name="connsiteY6" fmla="*/ 117808 h 118200"/>
                  <a:gd name="connsiteX7" fmla="*/ 15574 w 17206"/>
                  <a:gd name="connsiteY7" fmla="*/ 114543 h 118200"/>
                  <a:gd name="connsiteX8" fmla="*/ 17206 w 17206"/>
                  <a:gd name="connsiteY8" fmla="*/ 110775 h 118200"/>
                  <a:gd name="connsiteX9" fmla="*/ 17206 w 17206"/>
                  <a:gd name="connsiteY9" fmla="*/ 5778 h 118200"/>
                  <a:gd name="connsiteX10" fmla="*/ 15323 w 17206"/>
                  <a:gd name="connsiteY10" fmla="*/ 0 h 11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06" h="118200">
                    <a:moveTo>
                      <a:pt x="15323" y="0"/>
                    </a:moveTo>
                    <a:lnTo>
                      <a:pt x="9671" y="3266"/>
                    </a:lnTo>
                    <a:lnTo>
                      <a:pt x="0" y="8918"/>
                    </a:lnTo>
                    <a:lnTo>
                      <a:pt x="0" y="114166"/>
                    </a:lnTo>
                    <a:lnTo>
                      <a:pt x="5652" y="117431"/>
                    </a:lnTo>
                    <a:cubicBezTo>
                      <a:pt x="7284" y="118310"/>
                      <a:pt x="8666" y="118436"/>
                      <a:pt x="9796" y="117808"/>
                    </a:cubicBezTo>
                    <a:cubicBezTo>
                      <a:pt x="9796" y="117808"/>
                      <a:pt x="9796" y="117808"/>
                      <a:pt x="9922" y="117808"/>
                    </a:cubicBezTo>
                    <a:lnTo>
                      <a:pt x="15574" y="114543"/>
                    </a:lnTo>
                    <a:cubicBezTo>
                      <a:pt x="16579" y="113915"/>
                      <a:pt x="17206" y="112659"/>
                      <a:pt x="17206" y="110775"/>
                    </a:cubicBezTo>
                    <a:lnTo>
                      <a:pt x="17206" y="5778"/>
                    </a:lnTo>
                    <a:cubicBezTo>
                      <a:pt x="17081" y="3894"/>
                      <a:pt x="16327" y="1759"/>
                      <a:pt x="15323" y="0"/>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6" name="Freeform: Shape 3575">
                <a:extLst>
                  <a:ext uri="{FF2B5EF4-FFF2-40B4-BE49-F238E27FC236}">
                    <a16:creationId xmlns:a16="http://schemas.microsoft.com/office/drawing/2014/main" id="{0FB800BC-6AA8-4075-B0C6-654C9BAA4D96}"/>
                  </a:ext>
                </a:extLst>
              </p:cNvPr>
              <p:cNvSpPr/>
              <p:nvPr/>
            </p:nvSpPr>
            <p:spPr>
              <a:xfrm>
                <a:off x="4898201" y="4480087"/>
                <a:ext cx="148201" cy="198812"/>
              </a:xfrm>
              <a:custGeom>
                <a:avLst/>
                <a:gdLst>
                  <a:gd name="connsiteX0" fmla="*/ 148202 w 148201"/>
                  <a:gd name="connsiteY0" fmla="*/ 89655 h 198812"/>
                  <a:gd name="connsiteX1" fmla="*/ 148202 w 148201"/>
                  <a:gd name="connsiteY1" fmla="*/ 194778 h 198812"/>
                  <a:gd name="connsiteX2" fmla="*/ 146569 w 148201"/>
                  <a:gd name="connsiteY2" fmla="*/ 198420 h 198812"/>
                  <a:gd name="connsiteX3" fmla="*/ 146443 w 148201"/>
                  <a:gd name="connsiteY3" fmla="*/ 198420 h 198812"/>
                  <a:gd name="connsiteX4" fmla="*/ 142299 w 148201"/>
                  <a:gd name="connsiteY4" fmla="*/ 198043 h 198812"/>
                  <a:gd name="connsiteX5" fmla="*/ 136647 w 148201"/>
                  <a:gd name="connsiteY5" fmla="*/ 194778 h 198812"/>
                  <a:gd name="connsiteX6" fmla="*/ 5777 w 148201"/>
                  <a:gd name="connsiteY6" fmla="*/ 119170 h 198812"/>
                  <a:gd name="connsiteX7" fmla="*/ 0 w 148201"/>
                  <a:gd name="connsiteY7" fmla="*/ 109122 h 198812"/>
                  <a:gd name="connsiteX8" fmla="*/ 0 w 148201"/>
                  <a:gd name="connsiteY8" fmla="*/ 4125 h 198812"/>
                  <a:gd name="connsiteX9" fmla="*/ 5652 w 148201"/>
                  <a:gd name="connsiteY9" fmla="*/ 734 h 198812"/>
                  <a:gd name="connsiteX10" fmla="*/ 5777 w 148201"/>
                  <a:gd name="connsiteY10" fmla="*/ 734 h 198812"/>
                  <a:gd name="connsiteX11" fmla="*/ 142299 w 148201"/>
                  <a:gd name="connsiteY11" fmla="*/ 79482 h 198812"/>
                  <a:gd name="connsiteX12" fmla="*/ 146443 w 148201"/>
                  <a:gd name="connsiteY12" fmla="*/ 83878 h 198812"/>
                  <a:gd name="connsiteX13" fmla="*/ 148202 w 148201"/>
                  <a:gd name="connsiteY13" fmla="*/ 89655 h 19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8201" h="198812">
                    <a:moveTo>
                      <a:pt x="148202" y="89655"/>
                    </a:moveTo>
                    <a:lnTo>
                      <a:pt x="148202" y="194778"/>
                    </a:lnTo>
                    <a:cubicBezTo>
                      <a:pt x="148202" y="196536"/>
                      <a:pt x="147574" y="197792"/>
                      <a:pt x="146569" y="198420"/>
                    </a:cubicBezTo>
                    <a:cubicBezTo>
                      <a:pt x="146569" y="198420"/>
                      <a:pt x="146569" y="198420"/>
                      <a:pt x="146443" y="198420"/>
                    </a:cubicBezTo>
                    <a:cubicBezTo>
                      <a:pt x="145439" y="199048"/>
                      <a:pt x="143932" y="198922"/>
                      <a:pt x="142299" y="198043"/>
                    </a:cubicBezTo>
                    <a:lnTo>
                      <a:pt x="136647" y="194778"/>
                    </a:lnTo>
                    <a:lnTo>
                      <a:pt x="5777" y="119170"/>
                    </a:lnTo>
                    <a:cubicBezTo>
                      <a:pt x="2512" y="117286"/>
                      <a:pt x="0" y="112765"/>
                      <a:pt x="0" y="109122"/>
                    </a:cubicBezTo>
                    <a:lnTo>
                      <a:pt x="0" y="4125"/>
                    </a:lnTo>
                    <a:cubicBezTo>
                      <a:pt x="0" y="483"/>
                      <a:pt x="2512" y="-1025"/>
                      <a:pt x="5652" y="734"/>
                    </a:cubicBezTo>
                    <a:cubicBezTo>
                      <a:pt x="5652" y="734"/>
                      <a:pt x="5777" y="734"/>
                      <a:pt x="5777" y="734"/>
                    </a:cubicBezTo>
                    <a:lnTo>
                      <a:pt x="142299" y="79482"/>
                    </a:lnTo>
                    <a:cubicBezTo>
                      <a:pt x="143932" y="80361"/>
                      <a:pt x="145313" y="81994"/>
                      <a:pt x="146443" y="83878"/>
                    </a:cubicBezTo>
                    <a:cubicBezTo>
                      <a:pt x="147574" y="85636"/>
                      <a:pt x="148202" y="87771"/>
                      <a:pt x="148202" y="89655"/>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7" name="Freeform: Shape 3576">
                <a:extLst>
                  <a:ext uri="{FF2B5EF4-FFF2-40B4-BE49-F238E27FC236}">
                    <a16:creationId xmlns:a16="http://schemas.microsoft.com/office/drawing/2014/main" id="{D77C320D-E424-446E-9987-C62E1F9832E2}"/>
                  </a:ext>
                </a:extLst>
              </p:cNvPr>
              <p:cNvSpPr/>
              <p:nvPr/>
            </p:nvSpPr>
            <p:spPr>
              <a:xfrm>
                <a:off x="4902345" y="4487120"/>
                <a:ext cx="140038" cy="178827"/>
              </a:xfrm>
              <a:custGeom>
                <a:avLst/>
                <a:gdLst>
                  <a:gd name="connsiteX0" fmla="*/ 140038 w 140038"/>
                  <a:gd name="connsiteY0" fmla="*/ 82621 h 178827"/>
                  <a:gd name="connsiteX1" fmla="*/ 140038 w 140038"/>
                  <a:gd name="connsiteY1" fmla="*/ 178827 h 178827"/>
                  <a:gd name="connsiteX2" fmla="*/ 0 w 140038"/>
                  <a:gd name="connsiteY2" fmla="*/ 97944 h 178827"/>
                  <a:gd name="connsiteX3" fmla="*/ 0 w 140038"/>
                  <a:gd name="connsiteY3" fmla="*/ 4125 h 178827"/>
                  <a:gd name="connsiteX4" fmla="*/ 5777 w 140038"/>
                  <a:gd name="connsiteY4" fmla="*/ 734 h 178827"/>
                  <a:gd name="connsiteX5" fmla="*/ 6154 w 140038"/>
                  <a:gd name="connsiteY5" fmla="*/ 859 h 178827"/>
                  <a:gd name="connsiteX6" fmla="*/ 136270 w 140038"/>
                  <a:gd name="connsiteY6" fmla="*/ 75965 h 178827"/>
                  <a:gd name="connsiteX7" fmla="*/ 140038 w 140038"/>
                  <a:gd name="connsiteY7" fmla="*/ 82370 h 178827"/>
                  <a:gd name="connsiteX8" fmla="*/ 140038 w 140038"/>
                  <a:gd name="connsiteY8" fmla="*/ 82621 h 178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038" h="178827">
                    <a:moveTo>
                      <a:pt x="140038" y="82621"/>
                    </a:moveTo>
                    <a:lnTo>
                      <a:pt x="140038" y="178827"/>
                    </a:lnTo>
                    <a:lnTo>
                      <a:pt x="0" y="97944"/>
                    </a:lnTo>
                    <a:lnTo>
                      <a:pt x="0" y="4125"/>
                    </a:lnTo>
                    <a:cubicBezTo>
                      <a:pt x="0" y="483"/>
                      <a:pt x="2637" y="-1024"/>
                      <a:pt x="5777" y="734"/>
                    </a:cubicBezTo>
                    <a:lnTo>
                      <a:pt x="6154" y="859"/>
                    </a:lnTo>
                    <a:lnTo>
                      <a:pt x="136270" y="75965"/>
                    </a:lnTo>
                    <a:cubicBezTo>
                      <a:pt x="138154" y="77096"/>
                      <a:pt x="139913" y="80110"/>
                      <a:pt x="140038" y="82370"/>
                    </a:cubicBezTo>
                    <a:cubicBezTo>
                      <a:pt x="140038" y="82496"/>
                      <a:pt x="140038" y="82496"/>
                      <a:pt x="140038" y="82621"/>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8" name="Freeform: Shape 3577">
                <a:extLst>
                  <a:ext uri="{FF2B5EF4-FFF2-40B4-BE49-F238E27FC236}">
                    <a16:creationId xmlns:a16="http://schemas.microsoft.com/office/drawing/2014/main" id="{203FA91D-F4F2-41A6-915A-7092FF0A7758}"/>
                  </a:ext>
                </a:extLst>
              </p:cNvPr>
              <p:cNvSpPr/>
              <p:nvPr/>
            </p:nvSpPr>
            <p:spPr>
              <a:xfrm>
                <a:off x="4902345" y="4487169"/>
                <a:ext cx="140038" cy="178904"/>
              </a:xfrm>
              <a:custGeom>
                <a:avLst/>
                <a:gdLst>
                  <a:gd name="connsiteX0" fmla="*/ 140038 w 140038"/>
                  <a:gd name="connsiteY0" fmla="*/ 82322 h 178904"/>
                  <a:gd name="connsiteX1" fmla="*/ 140038 w 140038"/>
                  <a:gd name="connsiteY1" fmla="*/ 177146 h 178904"/>
                  <a:gd name="connsiteX2" fmla="*/ 1381 w 140038"/>
                  <a:gd name="connsiteY2" fmla="*/ 97142 h 178904"/>
                  <a:gd name="connsiteX3" fmla="*/ 1381 w 140038"/>
                  <a:gd name="connsiteY3" fmla="*/ 3699 h 178904"/>
                  <a:gd name="connsiteX4" fmla="*/ 2763 w 140038"/>
                  <a:gd name="connsiteY4" fmla="*/ 560 h 178904"/>
                  <a:gd name="connsiteX5" fmla="*/ 6154 w 140038"/>
                  <a:gd name="connsiteY5" fmla="*/ 936 h 178904"/>
                  <a:gd name="connsiteX6" fmla="*/ 5777 w 140038"/>
                  <a:gd name="connsiteY6" fmla="*/ 811 h 178904"/>
                  <a:gd name="connsiteX7" fmla="*/ 0 w 140038"/>
                  <a:gd name="connsiteY7" fmla="*/ 4202 h 178904"/>
                  <a:gd name="connsiteX8" fmla="*/ 0 w 140038"/>
                  <a:gd name="connsiteY8" fmla="*/ 98021 h 178904"/>
                  <a:gd name="connsiteX9" fmla="*/ 140038 w 140038"/>
                  <a:gd name="connsiteY9" fmla="*/ 178904 h 178904"/>
                  <a:gd name="connsiteX10" fmla="*/ 140038 w 140038"/>
                  <a:gd name="connsiteY10" fmla="*/ 82699 h 178904"/>
                  <a:gd name="connsiteX11" fmla="*/ 140038 w 140038"/>
                  <a:gd name="connsiteY11" fmla="*/ 82322 h 17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0038" h="178904">
                    <a:moveTo>
                      <a:pt x="140038" y="82322"/>
                    </a:moveTo>
                    <a:lnTo>
                      <a:pt x="140038" y="177146"/>
                    </a:lnTo>
                    <a:lnTo>
                      <a:pt x="1381" y="97142"/>
                    </a:lnTo>
                    <a:lnTo>
                      <a:pt x="1381" y="3699"/>
                    </a:lnTo>
                    <a:cubicBezTo>
                      <a:pt x="1381" y="2192"/>
                      <a:pt x="1884" y="1062"/>
                      <a:pt x="2763" y="560"/>
                    </a:cubicBezTo>
                    <a:cubicBezTo>
                      <a:pt x="3642" y="57"/>
                      <a:pt x="4898" y="183"/>
                      <a:pt x="6154" y="936"/>
                    </a:cubicBezTo>
                    <a:lnTo>
                      <a:pt x="5777" y="811"/>
                    </a:lnTo>
                    <a:cubicBezTo>
                      <a:pt x="2512" y="-1073"/>
                      <a:pt x="0" y="434"/>
                      <a:pt x="0" y="4202"/>
                    </a:cubicBezTo>
                    <a:lnTo>
                      <a:pt x="0" y="98021"/>
                    </a:lnTo>
                    <a:lnTo>
                      <a:pt x="140038" y="178904"/>
                    </a:lnTo>
                    <a:lnTo>
                      <a:pt x="140038" y="82699"/>
                    </a:lnTo>
                    <a:cubicBezTo>
                      <a:pt x="140038" y="82448"/>
                      <a:pt x="140038" y="82448"/>
                      <a:pt x="140038" y="82322"/>
                    </a:cubicBezTo>
                    <a:close/>
                  </a:path>
                </a:pathLst>
              </a:custGeom>
              <a:solidFill>
                <a:srgbClr val="2BB2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9" name="Freeform: Shape 3578">
                <a:extLst>
                  <a:ext uri="{FF2B5EF4-FFF2-40B4-BE49-F238E27FC236}">
                    <a16:creationId xmlns:a16="http://schemas.microsoft.com/office/drawing/2014/main" id="{EC305F66-8E58-4D70-A258-C7DF4E32A92E}"/>
                  </a:ext>
                </a:extLst>
              </p:cNvPr>
              <p:cNvSpPr/>
              <p:nvPr/>
            </p:nvSpPr>
            <p:spPr>
              <a:xfrm>
                <a:off x="4898201" y="4582678"/>
                <a:ext cx="148201" cy="96095"/>
              </a:xfrm>
              <a:custGeom>
                <a:avLst/>
                <a:gdLst>
                  <a:gd name="connsiteX0" fmla="*/ 148202 w 148201"/>
                  <a:gd name="connsiteY0" fmla="*/ 85530 h 96095"/>
                  <a:gd name="connsiteX1" fmla="*/ 148202 w 148201"/>
                  <a:gd name="connsiteY1" fmla="*/ 92061 h 96095"/>
                  <a:gd name="connsiteX2" fmla="*/ 146569 w 148201"/>
                  <a:gd name="connsiteY2" fmla="*/ 95704 h 96095"/>
                  <a:gd name="connsiteX3" fmla="*/ 146443 w 148201"/>
                  <a:gd name="connsiteY3" fmla="*/ 95704 h 96095"/>
                  <a:gd name="connsiteX4" fmla="*/ 142299 w 148201"/>
                  <a:gd name="connsiteY4" fmla="*/ 95327 h 96095"/>
                  <a:gd name="connsiteX5" fmla="*/ 136647 w 148201"/>
                  <a:gd name="connsiteY5" fmla="*/ 92061 h 96095"/>
                  <a:gd name="connsiteX6" fmla="*/ 5777 w 148201"/>
                  <a:gd name="connsiteY6" fmla="*/ 16453 h 96095"/>
                  <a:gd name="connsiteX7" fmla="*/ 0 w 148201"/>
                  <a:gd name="connsiteY7" fmla="*/ 6405 h 96095"/>
                  <a:gd name="connsiteX8" fmla="*/ 0 w 148201"/>
                  <a:gd name="connsiteY8" fmla="*/ 0 h 96095"/>
                  <a:gd name="connsiteX9" fmla="*/ 5652 w 148201"/>
                  <a:gd name="connsiteY9" fmla="*/ 3266 h 96095"/>
                  <a:gd name="connsiteX10" fmla="*/ 136647 w 148201"/>
                  <a:gd name="connsiteY10" fmla="*/ 78874 h 96095"/>
                  <a:gd name="connsiteX11" fmla="*/ 148202 w 148201"/>
                  <a:gd name="connsiteY11" fmla="*/ 85530 h 96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201" h="96095">
                    <a:moveTo>
                      <a:pt x="148202" y="85530"/>
                    </a:moveTo>
                    <a:lnTo>
                      <a:pt x="148202" y="92061"/>
                    </a:lnTo>
                    <a:cubicBezTo>
                      <a:pt x="148202" y="93819"/>
                      <a:pt x="147574" y="95075"/>
                      <a:pt x="146569" y="95704"/>
                    </a:cubicBezTo>
                    <a:cubicBezTo>
                      <a:pt x="146569" y="95704"/>
                      <a:pt x="146569" y="95704"/>
                      <a:pt x="146443" y="95704"/>
                    </a:cubicBezTo>
                    <a:cubicBezTo>
                      <a:pt x="145439" y="96331"/>
                      <a:pt x="143932" y="96206"/>
                      <a:pt x="142299" y="95327"/>
                    </a:cubicBezTo>
                    <a:lnTo>
                      <a:pt x="136647" y="92061"/>
                    </a:lnTo>
                    <a:lnTo>
                      <a:pt x="5777" y="16453"/>
                    </a:lnTo>
                    <a:cubicBezTo>
                      <a:pt x="2512" y="14569"/>
                      <a:pt x="0" y="10048"/>
                      <a:pt x="0" y="6405"/>
                    </a:cubicBezTo>
                    <a:lnTo>
                      <a:pt x="0" y="0"/>
                    </a:lnTo>
                    <a:lnTo>
                      <a:pt x="5652" y="3266"/>
                    </a:lnTo>
                    <a:lnTo>
                      <a:pt x="136647" y="78874"/>
                    </a:lnTo>
                    <a:lnTo>
                      <a:pt x="148202" y="85530"/>
                    </a:ln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80" name="Freeform: Shape 3579">
                <a:extLst>
                  <a:ext uri="{FF2B5EF4-FFF2-40B4-BE49-F238E27FC236}">
                    <a16:creationId xmlns:a16="http://schemas.microsoft.com/office/drawing/2014/main" id="{164BB5CE-12E5-4FFD-8A05-50C395F78001}"/>
                  </a:ext>
                </a:extLst>
              </p:cNvPr>
              <p:cNvSpPr/>
              <p:nvPr/>
            </p:nvSpPr>
            <p:spPr>
              <a:xfrm>
                <a:off x="4952960" y="4620615"/>
                <a:ext cx="22732" cy="14679"/>
              </a:xfrm>
              <a:custGeom>
                <a:avLst/>
                <a:gdLst>
                  <a:gd name="connsiteX0" fmla="*/ 2261 w 22732"/>
                  <a:gd name="connsiteY0" fmla="*/ 495 h 14679"/>
                  <a:gd name="connsiteX1" fmla="*/ 20346 w 22732"/>
                  <a:gd name="connsiteY1" fmla="*/ 10919 h 14679"/>
                  <a:gd name="connsiteX2" fmla="*/ 22733 w 22732"/>
                  <a:gd name="connsiteY2" fmla="*/ 13933 h 14679"/>
                  <a:gd name="connsiteX3" fmla="*/ 20346 w 22732"/>
                  <a:gd name="connsiteY3" fmla="*/ 14185 h 14679"/>
                  <a:gd name="connsiteX4" fmla="*/ 2261 w 22732"/>
                  <a:gd name="connsiteY4" fmla="*/ 3760 h 14679"/>
                  <a:gd name="connsiteX5" fmla="*/ 0 w 22732"/>
                  <a:gd name="connsiteY5" fmla="*/ 746 h 14679"/>
                  <a:gd name="connsiteX6" fmla="*/ 2261 w 22732"/>
                  <a:gd name="connsiteY6" fmla="*/ 495 h 1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2" h="14679">
                    <a:moveTo>
                      <a:pt x="2261" y="495"/>
                    </a:moveTo>
                    <a:lnTo>
                      <a:pt x="20346" y="10919"/>
                    </a:lnTo>
                    <a:cubicBezTo>
                      <a:pt x="21602" y="11673"/>
                      <a:pt x="22733" y="13055"/>
                      <a:pt x="22733" y="13933"/>
                    </a:cubicBezTo>
                    <a:cubicBezTo>
                      <a:pt x="22733" y="14813"/>
                      <a:pt x="21728" y="14938"/>
                      <a:pt x="20346" y="14185"/>
                    </a:cubicBezTo>
                    <a:lnTo>
                      <a:pt x="2261" y="3760"/>
                    </a:lnTo>
                    <a:cubicBezTo>
                      <a:pt x="1005" y="3007"/>
                      <a:pt x="0" y="1625"/>
                      <a:pt x="0" y="746"/>
                    </a:cubicBezTo>
                    <a:cubicBezTo>
                      <a:pt x="0" y="-133"/>
                      <a:pt x="1005" y="-259"/>
                      <a:pt x="2261" y="495"/>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581" name="Graphic 4">
                <a:extLst>
                  <a:ext uri="{FF2B5EF4-FFF2-40B4-BE49-F238E27FC236}">
                    <a16:creationId xmlns:a16="http://schemas.microsoft.com/office/drawing/2014/main" id="{84FB7ED1-A2DF-40A1-A747-5F7CF3F14040}"/>
                  </a:ext>
                </a:extLst>
              </p:cNvPr>
              <p:cNvGrpSpPr/>
              <p:nvPr/>
            </p:nvGrpSpPr>
            <p:grpSpPr>
              <a:xfrm>
                <a:off x="4842688" y="4642649"/>
                <a:ext cx="145438" cy="88732"/>
                <a:chOff x="4842688" y="4642649"/>
                <a:chExt cx="145438" cy="88732"/>
              </a:xfrm>
              <a:solidFill>
                <a:schemeClr val="accent1"/>
              </a:solidFill>
            </p:grpSpPr>
            <p:sp>
              <p:nvSpPr>
                <p:cNvPr id="3582" name="Freeform: Shape 3581">
                  <a:extLst>
                    <a:ext uri="{FF2B5EF4-FFF2-40B4-BE49-F238E27FC236}">
                      <a16:creationId xmlns:a16="http://schemas.microsoft.com/office/drawing/2014/main" id="{65923C79-0582-4270-9F00-A451D140C10D}"/>
                    </a:ext>
                  </a:extLst>
                </p:cNvPr>
                <p:cNvSpPr/>
                <p:nvPr/>
              </p:nvSpPr>
              <p:spPr>
                <a:xfrm>
                  <a:off x="4842688" y="4644156"/>
                  <a:ext cx="145438" cy="87225"/>
                </a:xfrm>
                <a:custGeom>
                  <a:avLst/>
                  <a:gdLst>
                    <a:gd name="connsiteX0" fmla="*/ 145439 w 145438"/>
                    <a:gd name="connsiteY0" fmla="*/ 58465 h 87225"/>
                    <a:gd name="connsiteX1" fmla="*/ 144434 w 145438"/>
                    <a:gd name="connsiteY1" fmla="*/ 57083 h 87225"/>
                    <a:gd name="connsiteX2" fmla="*/ 46596 w 145438"/>
                    <a:gd name="connsiteY2" fmla="*/ 565 h 87225"/>
                    <a:gd name="connsiteX3" fmla="*/ 41949 w 145438"/>
                    <a:gd name="connsiteY3" fmla="*/ 565 h 87225"/>
                    <a:gd name="connsiteX4" fmla="*/ 1005 w 145438"/>
                    <a:gd name="connsiteY4" fmla="*/ 24177 h 87225"/>
                    <a:gd name="connsiteX5" fmla="*/ 0 w 145438"/>
                    <a:gd name="connsiteY5" fmla="*/ 25559 h 87225"/>
                    <a:gd name="connsiteX6" fmla="*/ 0 w 145438"/>
                    <a:gd name="connsiteY6" fmla="*/ 25559 h 87225"/>
                    <a:gd name="connsiteX7" fmla="*/ 0 w 145438"/>
                    <a:gd name="connsiteY7" fmla="*/ 28824 h 87225"/>
                    <a:gd name="connsiteX8" fmla="*/ 628 w 145438"/>
                    <a:gd name="connsiteY8" fmla="*/ 29955 h 87225"/>
                    <a:gd name="connsiteX9" fmla="*/ 1005 w 145438"/>
                    <a:gd name="connsiteY9" fmla="*/ 30206 h 87225"/>
                    <a:gd name="connsiteX10" fmla="*/ 98843 w 145438"/>
                    <a:gd name="connsiteY10" fmla="*/ 86723 h 87225"/>
                    <a:gd name="connsiteX11" fmla="*/ 98843 w 145438"/>
                    <a:gd name="connsiteY11" fmla="*/ 86723 h 87225"/>
                    <a:gd name="connsiteX12" fmla="*/ 99722 w 145438"/>
                    <a:gd name="connsiteY12" fmla="*/ 87100 h 87225"/>
                    <a:gd name="connsiteX13" fmla="*/ 99973 w 145438"/>
                    <a:gd name="connsiteY13" fmla="*/ 87100 h 87225"/>
                    <a:gd name="connsiteX14" fmla="*/ 100853 w 145438"/>
                    <a:gd name="connsiteY14" fmla="*/ 87226 h 87225"/>
                    <a:gd name="connsiteX15" fmla="*/ 101229 w 145438"/>
                    <a:gd name="connsiteY15" fmla="*/ 87226 h 87225"/>
                    <a:gd name="connsiteX16" fmla="*/ 101229 w 145438"/>
                    <a:gd name="connsiteY16" fmla="*/ 87226 h 87225"/>
                    <a:gd name="connsiteX17" fmla="*/ 101480 w 145438"/>
                    <a:gd name="connsiteY17" fmla="*/ 87226 h 87225"/>
                    <a:gd name="connsiteX18" fmla="*/ 102234 w 145438"/>
                    <a:gd name="connsiteY18" fmla="*/ 87100 h 87225"/>
                    <a:gd name="connsiteX19" fmla="*/ 103113 w 145438"/>
                    <a:gd name="connsiteY19" fmla="*/ 86723 h 87225"/>
                    <a:gd name="connsiteX20" fmla="*/ 103239 w 145438"/>
                    <a:gd name="connsiteY20" fmla="*/ 86723 h 87225"/>
                    <a:gd name="connsiteX21" fmla="*/ 144183 w 145438"/>
                    <a:gd name="connsiteY21" fmla="*/ 63111 h 87225"/>
                    <a:gd name="connsiteX22" fmla="*/ 144811 w 145438"/>
                    <a:gd name="connsiteY22" fmla="*/ 62609 h 87225"/>
                    <a:gd name="connsiteX23" fmla="*/ 145188 w 145438"/>
                    <a:gd name="connsiteY23" fmla="*/ 61730 h 87225"/>
                    <a:gd name="connsiteX24" fmla="*/ 145188 w 145438"/>
                    <a:gd name="connsiteY24" fmla="*/ 61730 h 87225"/>
                    <a:gd name="connsiteX25" fmla="*/ 145188 w 145438"/>
                    <a:gd name="connsiteY25" fmla="*/ 61730 h 87225"/>
                    <a:gd name="connsiteX26" fmla="*/ 145439 w 145438"/>
                    <a:gd name="connsiteY26" fmla="*/ 58465 h 87225"/>
                    <a:gd name="connsiteX27" fmla="*/ 145439 w 145438"/>
                    <a:gd name="connsiteY27" fmla="*/ 58465 h 8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5438" h="87225">
                      <a:moveTo>
                        <a:pt x="145439" y="58465"/>
                      </a:moveTo>
                      <a:cubicBezTo>
                        <a:pt x="145439" y="57962"/>
                        <a:pt x="145062" y="57460"/>
                        <a:pt x="144434" y="57083"/>
                      </a:cubicBezTo>
                      <a:lnTo>
                        <a:pt x="46596" y="565"/>
                      </a:lnTo>
                      <a:cubicBezTo>
                        <a:pt x="45340" y="-188"/>
                        <a:pt x="43205" y="-188"/>
                        <a:pt x="41949" y="565"/>
                      </a:cubicBezTo>
                      <a:lnTo>
                        <a:pt x="1005" y="24177"/>
                      </a:lnTo>
                      <a:cubicBezTo>
                        <a:pt x="377" y="24554"/>
                        <a:pt x="0" y="25056"/>
                        <a:pt x="0" y="25559"/>
                      </a:cubicBezTo>
                      <a:lnTo>
                        <a:pt x="0" y="25559"/>
                      </a:lnTo>
                      <a:lnTo>
                        <a:pt x="0" y="28824"/>
                      </a:lnTo>
                      <a:cubicBezTo>
                        <a:pt x="0" y="29201"/>
                        <a:pt x="251" y="29578"/>
                        <a:pt x="628" y="29955"/>
                      </a:cubicBezTo>
                      <a:cubicBezTo>
                        <a:pt x="754" y="30080"/>
                        <a:pt x="879" y="30080"/>
                        <a:pt x="1005" y="30206"/>
                      </a:cubicBezTo>
                      <a:lnTo>
                        <a:pt x="98843" y="86723"/>
                      </a:lnTo>
                      <a:cubicBezTo>
                        <a:pt x="98843" y="86723"/>
                        <a:pt x="98843" y="86723"/>
                        <a:pt x="98843" y="86723"/>
                      </a:cubicBezTo>
                      <a:cubicBezTo>
                        <a:pt x="99094" y="86849"/>
                        <a:pt x="99471" y="86974"/>
                        <a:pt x="99722" y="87100"/>
                      </a:cubicBezTo>
                      <a:cubicBezTo>
                        <a:pt x="99848" y="87100"/>
                        <a:pt x="99848" y="87100"/>
                        <a:pt x="99973" y="87100"/>
                      </a:cubicBezTo>
                      <a:cubicBezTo>
                        <a:pt x="100225" y="87100"/>
                        <a:pt x="100602" y="87226"/>
                        <a:pt x="100853" y="87226"/>
                      </a:cubicBezTo>
                      <a:cubicBezTo>
                        <a:pt x="100978" y="87226"/>
                        <a:pt x="101104" y="87226"/>
                        <a:pt x="101229" y="87226"/>
                      </a:cubicBezTo>
                      <a:cubicBezTo>
                        <a:pt x="101229" y="87226"/>
                        <a:pt x="101229" y="87226"/>
                        <a:pt x="101229" y="87226"/>
                      </a:cubicBezTo>
                      <a:cubicBezTo>
                        <a:pt x="101355" y="87226"/>
                        <a:pt x="101355" y="87226"/>
                        <a:pt x="101480" y="87226"/>
                      </a:cubicBezTo>
                      <a:cubicBezTo>
                        <a:pt x="101732" y="87226"/>
                        <a:pt x="101983" y="87226"/>
                        <a:pt x="102234" y="87100"/>
                      </a:cubicBezTo>
                      <a:cubicBezTo>
                        <a:pt x="102611" y="86974"/>
                        <a:pt x="102862" y="86849"/>
                        <a:pt x="103113" y="86723"/>
                      </a:cubicBezTo>
                      <a:cubicBezTo>
                        <a:pt x="103113" y="86723"/>
                        <a:pt x="103239" y="86723"/>
                        <a:pt x="103239" y="86723"/>
                      </a:cubicBezTo>
                      <a:lnTo>
                        <a:pt x="144183" y="63111"/>
                      </a:lnTo>
                      <a:cubicBezTo>
                        <a:pt x="144434" y="62986"/>
                        <a:pt x="144560" y="62860"/>
                        <a:pt x="144811" y="62609"/>
                      </a:cubicBezTo>
                      <a:cubicBezTo>
                        <a:pt x="145062" y="62358"/>
                        <a:pt x="145188" y="62107"/>
                        <a:pt x="145188" y="61730"/>
                      </a:cubicBezTo>
                      <a:lnTo>
                        <a:pt x="145188" y="61730"/>
                      </a:lnTo>
                      <a:cubicBezTo>
                        <a:pt x="145188" y="61730"/>
                        <a:pt x="145188" y="61730"/>
                        <a:pt x="145188" y="61730"/>
                      </a:cubicBezTo>
                      <a:lnTo>
                        <a:pt x="145439" y="58465"/>
                      </a:lnTo>
                      <a:lnTo>
                        <a:pt x="145439" y="58465"/>
                      </a:ln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583" name="Graphic 4">
                  <a:extLst>
                    <a:ext uri="{FF2B5EF4-FFF2-40B4-BE49-F238E27FC236}">
                      <a16:creationId xmlns:a16="http://schemas.microsoft.com/office/drawing/2014/main" id="{84FB7ED1-A2DF-40A1-A747-5F7CF3F14040}"/>
                    </a:ext>
                  </a:extLst>
                </p:cNvPr>
                <p:cNvGrpSpPr/>
                <p:nvPr/>
              </p:nvGrpSpPr>
              <p:grpSpPr>
                <a:xfrm>
                  <a:off x="4842688" y="4642649"/>
                  <a:ext cx="145438" cy="87162"/>
                  <a:chOff x="4842688" y="4642649"/>
                  <a:chExt cx="145438" cy="87162"/>
                </a:xfrm>
                <a:solidFill>
                  <a:schemeClr val="accent1"/>
                </a:solidFill>
              </p:grpSpPr>
              <p:grpSp>
                <p:nvGrpSpPr>
                  <p:cNvPr id="3584" name="Graphic 4">
                    <a:extLst>
                      <a:ext uri="{FF2B5EF4-FFF2-40B4-BE49-F238E27FC236}">
                        <a16:creationId xmlns:a16="http://schemas.microsoft.com/office/drawing/2014/main" id="{84FB7ED1-A2DF-40A1-A747-5F7CF3F14040}"/>
                      </a:ext>
                    </a:extLst>
                  </p:cNvPr>
                  <p:cNvGrpSpPr/>
                  <p:nvPr/>
                </p:nvGrpSpPr>
                <p:grpSpPr>
                  <a:xfrm>
                    <a:off x="4842688" y="4642649"/>
                    <a:ext cx="145438" cy="87162"/>
                    <a:chOff x="4842688" y="4642649"/>
                    <a:chExt cx="145438" cy="87162"/>
                  </a:xfrm>
                  <a:solidFill>
                    <a:schemeClr val="accent1"/>
                  </a:solidFill>
                </p:grpSpPr>
                <p:sp>
                  <p:nvSpPr>
                    <p:cNvPr id="3585" name="Freeform: Shape 3584">
                      <a:extLst>
                        <a:ext uri="{FF2B5EF4-FFF2-40B4-BE49-F238E27FC236}">
                          <a16:creationId xmlns:a16="http://schemas.microsoft.com/office/drawing/2014/main" id="{14E295E1-0CA2-48D8-91F6-977042C4E17B}"/>
                        </a:ext>
                      </a:extLst>
                    </p:cNvPr>
                    <p:cNvSpPr/>
                    <p:nvPr/>
                  </p:nvSpPr>
                  <p:spPr>
                    <a:xfrm>
                      <a:off x="4842813" y="4645915"/>
                      <a:ext cx="145312" cy="83897"/>
                    </a:xfrm>
                    <a:custGeom>
                      <a:avLst/>
                      <a:gdLst>
                        <a:gd name="connsiteX0" fmla="*/ 145313 w 145312"/>
                        <a:gd name="connsiteY0" fmla="*/ 58464 h 83897"/>
                        <a:gd name="connsiteX1" fmla="*/ 145313 w 145312"/>
                        <a:gd name="connsiteY1" fmla="*/ 58464 h 83897"/>
                        <a:gd name="connsiteX2" fmla="*/ 145313 w 145312"/>
                        <a:gd name="connsiteY2" fmla="*/ 55199 h 83897"/>
                        <a:gd name="connsiteX3" fmla="*/ 141922 w 145312"/>
                        <a:gd name="connsiteY3" fmla="*/ 55199 h 83897"/>
                        <a:gd name="connsiteX4" fmla="*/ 141922 w 145312"/>
                        <a:gd name="connsiteY4" fmla="*/ 55701 h 83897"/>
                        <a:gd name="connsiteX5" fmla="*/ 46470 w 145312"/>
                        <a:gd name="connsiteY5" fmla="*/ 565 h 83897"/>
                        <a:gd name="connsiteX6" fmla="*/ 41823 w 145312"/>
                        <a:gd name="connsiteY6" fmla="*/ 565 h 83897"/>
                        <a:gd name="connsiteX7" fmla="*/ 3768 w 145312"/>
                        <a:gd name="connsiteY7" fmla="*/ 22544 h 83897"/>
                        <a:gd name="connsiteX8" fmla="*/ 3768 w 145312"/>
                        <a:gd name="connsiteY8" fmla="*/ 22167 h 83897"/>
                        <a:gd name="connsiteX9" fmla="*/ 0 w 145312"/>
                        <a:gd name="connsiteY9" fmla="*/ 22167 h 83897"/>
                        <a:gd name="connsiteX10" fmla="*/ 0 w 145312"/>
                        <a:gd name="connsiteY10" fmla="*/ 25433 h 83897"/>
                        <a:gd name="connsiteX11" fmla="*/ 0 w 145312"/>
                        <a:gd name="connsiteY11" fmla="*/ 25433 h 83897"/>
                        <a:gd name="connsiteX12" fmla="*/ 0 w 145312"/>
                        <a:gd name="connsiteY12" fmla="*/ 25433 h 83897"/>
                        <a:gd name="connsiteX13" fmla="*/ 0 w 145312"/>
                        <a:gd name="connsiteY13" fmla="*/ 25433 h 83897"/>
                        <a:gd name="connsiteX14" fmla="*/ 1005 w 145312"/>
                        <a:gd name="connsiteY14" fmla="*/ 26814 h 83897"/>
                        <a:gd name="connsiteX15" fmla="*/ 98843 w 145312"/>
                        <a:gd name="connsiteY15" fmla="*/ 83332 h 83897"/>
                        <a:gd name="connsiteX16" fmla="*/ 103490 w 145312"/>
                        <a:gd name="connsiteY16" fmla="*/ 83332 h 83897"/>
                        <a:gd name="connsiteX17" fmla="*/ 144434 w 145312"/>
                        <a:gd name="connsiteY17" fmla="*/ 59720 h 83897"/>
                        <a:gd name="connsiteX18" fmla="*/ 145313 w 145312"/>
                        <a:gd name="connsiteY18" fmla="*/ 58464 h 83897"/>
                        <a:gd name="connsiteX19" fmla="*/ 145313 w 145312"/>
                        <a:gd name="connsiteY19" fmla="*/ 58464 h 83897"/>
                        <a:gd name="connsiteX20" fmla="*/ 145313 w 145312"/>
                        <a:gd name="connsiteY20" fmla="*/ 58464 h 8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5312" h="83897">
                          <a:moveTo>
                            <a:pt x="145313" y="58464"/>
                          </a:moveTo>
                          <a:cubicBezTo>
                            <a:pt x="145313" y="58464"/>
                            <a:pt x="145313" y="58464"/>
                            <a:pt x="145313" y="58464"/>
                          </a:cubicBezTo>
                          <a:lnTo>
                            <a:pt x="145313" y="55199"/>
                          </a:lnTo>
                          <a:lnTo>
                            <a:pt x="141922" y="55199"/>
                          </a:lnTo>
                          <a:lnTo>
                            <a:pt x="141922" y="55701"/>
                          </a:lnTo>
                          <a:lnTo>
                            <a:pt x="46470" y="565"/>
                          </a:lnTo>
                          <a:cubicBezTo>
                            <a:pt x="45214" y="-188"/>
                            <a:pt x="43079" y="-188"/>
                            <a:pt x="41823" y="565"/>
                          </a:cubicBezTo>
                          <a:lnTo>
                            <a:pt x="3768" y="22544"/>
                          </a:lnTo>
                          <a:lnTo>
                            <a:pt x="3768" y="22167"/>
                          </a:lnTo>
                          <a:lnTo>
                            <a:pt x="0" y="22167"/>
                          </a:lnTo>
                          <a:lnTo>
                            <a:pt x="0" y="25433"/>
                          </a:lnTo>
                          <a:lnTo>
                            <a:pt x="0" y="25433"/>
                          </a:lnTo>
                          <a:lnTo>
                            <a:pt x="0" y="25433"/>
                          </a:lnTo>
                          <a:lnTo>
                            <a:pt x="0" y="25433"/>
                          </a:lnTo>
                          <a:cubicBezTo>
                            <a:pt x="0" y="25935"/>
                            <a:pt x="377" y="26438"/>
                            <a:pt x="1005" y="26814"/>
                          </a:cubicBezTo>
                          <a:lnTo>
                            <a:pt x="98843" y="83332"/>
                          </a:lnTo>
                          <a:cubicBezTo>
                            <a:pt x="100099" y="84086"/>
                            <a:pt x="102234" y="84086"/>
                            <a:pt x="103490" y="83332"/>
                          </a:cubicBezTo>
                          <a:lnTo>
                            <a:pt x="144434" y="59720"/>
                          </a:lnTo>
                          <a:cubicBezTo>
                            <a:pt x="144936" y="59469"/>
                            <a:pt x="145313" y="58967"/>
                            <a:pt x="145313" y="58464"/>
                          </a:cubicBezTo>
                          <a:lnTo>
                            <a:pt x="145313" y="58464"/>
                          </a:lnTo>
                          <a:lnTo>
                            <a:pt x="145313" y="58464"/>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86" name="Freeform: Shape 3585">
                      <a:extLst>
                        <a:ext uri="{FF2B5EF4-FFF2-40B4-BE49-F238E27FC236}">
                          <a16:creationId xmlns:a16="http://schemas.microsoft.com/office/drawing/2014/main" id="{A225C2E6-20CF-419A-9ED5-9793FAE78387}"/>
                        </a:ext>
                      </a:extLst>
                    </p:cNvPr>
                    <p:cNvSpPr/>
                    <p:nvPr/>
                  </p:nvSpPr>
                  <p:spPr>
                    <a:xfrm>
                      <a:off x="4842688" y="4645915"/>
                      <a:ext cx="145438" cy="83834"/>
                    </a:xfrm>
                    <a:custGeom>
                      <a:avLst/>
                      <a:gdLst>
                        <a:gd name="connsiteX0" fmla="*/ 145439 w 145438"/>
                        <a:gd name="connsiteY0" fmla="*/ 55199 h 83834"/>
                        <a:gd name="connsiteX1" fmla="*/ 145439 w 145438"/>
                        <a:gd name="connsiteY1" fmla="*/ 58464 h 83834"/>
                        <a:gd name="connsiteX2" fmla="*/ 145439 w 145438"/>
                        <a:gd name="connsiteY2" fmla="*/ 58464 h 83834"/>
                        <a:gd name="connsiteX3" fmla="*/ 145439 w 145438"/>
                        <a:gd name="connsiteY3" fmla="*/ 58464 h 83834"/>
                        <a:gd name="connsiteX4" fmla="*/ 144434 w 145438"/>
                        <a:gd name="connsiteY4" fmla="*/ 59720 h 83834"/>
                        <a:gd name="connsiteX5" fmla="*/ 103490 w 145438"/>
                        <a:gd name="connsiteY5" fmla="*/ 83332 h 83834"/>
                        <a:gd name="connsiteX6" fmla="*/ 101355 w 145438"/>
                        <a:gd name="connsiteY6" fmla="*/ 83835 h 83834"/>
                        <a:gd name="connsiteX7" fmla="*/ 98843 w 145438"/>
                        <a:gd name="connsiteY7" fmla="*/ 83332 h 83834"/>
                        <a:gd name="connsiteX8" fmla="*/ 1005 w 145438"/>
                        <a:gd name="connsiteY8" fmla="*/ 26814 h 83834"/>
                        <a:gd name="connsiteX9" fmla="*/ 0 w 145438"/>
                        <a:gd name="connsiteY9" fmla="*/ 25433 h 83834"/>
                        <a:gd name="connsiteX10" fmla="*/ 0 w 145438"/>
                        <a:gd name="connsiteY10" fmla="*/ 22167 h 83834"/>
                        <a:gd name="connsiteX11" fmla="*/ 3768 w 145438"/>
                        <a:gd name="connsiteY11" fmla="*/ 22167 h 83834"/>
                        <a:gd name="connsiteX12" fmla="*/ 3768 w 145438"/>
                        <a:gd name="connsiteY12" fmla="*/ 22544 h 83834"/>
                        <a:gd name="connsiteX13" fmla="*/ 41823 w 145438"/>
                        <a:gd name="connsiteY13" fmla="*/ 565 h 83834"/>
                        <a:gd name="connsiteX14" fmla="*/ 46470 w 145438"/>
                        <a:gd name="connsiteY14" fmla="*/ 565 h 83834"/>
                        <a:gd name="connsiteX15" fmla="*/ 133256 w 145438"/>
                        <a:gd name="connsiteY15" fmla="*/ 50677 h 83834"/>
                        <a:gd name="connsiteX16" fmla="*/ 141922 w 145438"/>
                        <a:gd name="connsiteY16" fmla="*/ 55701 h 83834"/>
                        <a:gd name="connsiteX17" fmla="*/ 141922 w 145438"/>
                        <a:gd name="connsiteY17" fmla="*/ 55199 h 83834"/>
                        <a:gd name="connsiteX18" fmla="*/ 145439 w 145438"/>
                        <a:gd name="connsiteY18" fmla="*/ 55199 h 83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5438" h="83834">
                          <a:moveTo>
                            <a:pt x="145439" y="55199"/>
                          </a:moveTo>
                          <a:lnTo>
                            <a:pt x="145439" y="58464"/>
                          </a:lnTo>
                          <a:cubicBezTo>
                            <a:pt x="145439" y="58464"/>
                            <a:pt x="145439" y="58464"/>
                            <a:pt x="145439" y="58464"/>
                          </a:cubicBezTo>
                          <a:lnTo>
                            <a:pt x="145439" y="58464"/>
                          </a:lnTo>
                          <a:cubicBezTo>
                            <a:pt x="145439" y="58967"/>
                            <a:pt x="145062" y="59469"/>
                            <a:pt x="144434" y="59720"/>
                          </a:cubicBezTo>
                          <a:lnTo>
                            <a:pt x="103490" y="83332"/>
                          </a:lnTo>
                          <a:cubicBezTo>
                            <a:pt x="102862" y="83709"/>
                            <a:pt x="102109" y="83835"/>
                            <a:pt x="101355" y="83835"/>
                          </a:cubicBezTo>
                          <a:cubicBezTo>
                            <a:pt x="100476" y="83835"/>
                            <a:pt x="99471" y="83709"/>
                            <a:pt x="98843" y="83332"/>
                          </a:cubicBezTo>
                          <a:lnTo>
                            <a:pt x="1005" y="26814"/>
                          </a:lnTo>
                          <a:cubicBezTo>
                            <a:pt x="377" y="26438"/>
                            <a:pt x="0" y="25935"/>
                            <a:pt x="0" y="25433"/>
                          </a:cubicBezTo>
                          <a:lnTo>
                            <a:pt x="0" y="22167"/>
                          </a:lnTo>
                          <a:lnTo>
                            <a:pt x="3768" y="22167"/>
                          </a:lnTo>
                          <a:lnTo>
                            <a:pt x="3768" y="22544"/>
                          </a:lnTo>
                          <a:lnTo>
                            <a:pt x="41823" y="565"/>
                          </a:lnTo>
                          <a:cubicBezTo>
                            <a:pt x="43079" y="-188"/>
                            <a:pt x="45214" y="-188"/>
                            <a:pt x="46470" y="565"/>
                          </a:cubicBezTo>
                          <a:lnTo>
                            <a:pt x="133256" y="50677"/>
                          </a:lnTo>
                          <a:lnTo>
                            <a:pt x="141922" y="55701"/>
                          </a:lnTo>
                          <a:lnTo>
                            <a:pt x="141922" y="55199"/>
                          </a:lnTo>
                          <a:lnTo>
                            <a:pt x="145439" y="55199"/>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87" name="Freeform: Shape 3586">
                      <a:extLst>
                        <a:ext uri="{FF2B5EF4-FFF2-40B4-BE49-F238E27FC236}">
                          <a16:creationId xmlns:a16="http://schemas.microsoft.com/office/drawing/2014/main" id="{81111DE7-9023-4114-AA38-F4B9655DF532}"/>
                        </a:ext>
                      </a:extLst>
                    </p:cNvPr>
                    <p:cNvSpPr/>
                    <p:nvPr/>
                  </p:nvSpPr>
                  <p:spPr>
                    <a:xfrm>
                      <a:off x="4944043" y="4696592"/>
                      <a:ext cx="44083" cy="33157"/>
                    </a:xfrm>
                    <a:custGeom>
                      <a:avLst/>
                      <a:gdLst>
                        <a:gd name="connsiteX0" fmla="*/ 44084 w 44083"/>
                        <a:gd name="connsiteY0" fmla="*/ 4522 h 33157"/>
                        <a:gd name="connsiteX1" fmla="*/ 44084 w 44083"/>
                        <a:gd name="connsiteY1" fmla="*/ 7787 h 33157"/>
                        <a:gd name="connsiteX2" fmla="*/ 44084 w 44083"/>
                        <a:gd name="connsiteY2" fmla="*/ 7787 h 33157"/>
                        <a:gd name="connsiteX3" fmla="*/ 44084 w 44083"/>
                        <a:gd name="connsiteY3" fmla="*/ 7787 h 33157"/>
                        <a:gd name="connsiteX4" fmla="*/ 43079 w 44083"/>
                        <a:gd name="connsiteY4" fmla="*/ 9043 h 33157"/>
                        <a:gd name="connsiteX5" fmla="*/ 2135 w 44083"/>
                        <a:gd name="connsiteY5" fmla="*/ 32655 h 33157"/>
                        <a:gd name="connsiteX6" fmla="*/ 0 w 44083"/>
                        <a:gd name="connsiteY6" fmla="*/ 33157 h 33157"/>
                        <a:gd name="connsiteX7" fmla="*/ 0 w 44083"/>
                        <a:gd name="connsiteY7" fmla="*/ 0 h 33157"/>
                        <a:gd name="connsiteX8" fmla="*/ 32027 w 44083"/>
                        <a:gd name="connsiteY8" fmla="*/ 0 h 33157"/>
                        <a:gd name="connsiteX9" fmla="*/ 40693 w 44083"/>
                        <a:gd name="connsiteY9" fmla="*/ 5024 h 33157"/>
                        <a:gd name="connsiteX10" fmla="*/ 40693 w 44083"/>
                        <a:gd name="connsiteY10" fmla="*/ 4522 h 33157"/>
                        <a:gd name="connsiteX11" fmla="*/ 44084 w 44083"/>
                        <a:gd name="connsiteY11" fmla="*/ 4522 h 3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083" h="33157">
                          <a:moveTo>
                            <a:pt x="44084" y="4522"/>
                          </a:moveTo>
                          <a:lnTo>
                            <a:pt x="44084" y="7787"/>
                          </a:lnTo>
                          <a:cubicBezTo>
                            <a:pt x="44084" y="7787"/>
                            <a:pt x="44084" y="7787"/>
                            <a:pt x="44084" y="7787"/>
                          </a:cubicBezTo>
                          <a:lnTo>
                            <a:pt x="44084" y="7787"/>
                          </a:lnTo>
                          <a:cubicBezTo>
                            <a:pt x="44084" y="8289"/>
                            <a:pt x="43707" y="8792"/>
                            <a:pt x="43079" y="9043"/>
                          </a:cubicBezTo>
                          <a:lnTo>
                            <a:pt x="2135" y="32655"/>
                          </a:lnTo>
                          <a:cubicBezTo>
                            <a:pt x="1507" y="33031"/>
                            <a:pt x="754" y="33157"/>
                            <a:pt x="0" y="33157"/>
                          </a:cubicBezTo>
                          <a:lnTo>
                            <a:pt x="0" y="0"/>
                          </a:lnTo>
                          <a:lnTo>
                            <a:pt x="32027" y="0"/>
                          </a:lnTo>
                          <a:lnTo>
                            <a:pt x="40693" y="5024"/>
                          </a:lnTo>
                          <a:lnTo>
                            <a:pt x="40693" y="4522"/>
                          </a:lnTo>
                          <a:lnTo>
                            <a:pt x="44084" y="4522"/>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88" name="Freeform: Shape 3587">
                      <a:extLst>
                        <a:ext uri="{FF2B5EF4-FFF2-40B4-BE49-F238E27FC236}">
                          <a16:creationId xmlns:a16="http://schemas.microsoft.com/office/drawing/2014/main" id="{69DD2BEB-B783-43D4-9991-1F0B9BAE3160}"/>
                        </a:ext>
                      </a:extLst>
                    </p:cNvPr>
                    <p:cNvSpPr/>
                    <p:nvPr/>
                  </p:nvSpPr>
                  <p:spPr>
                    <a:xfrm>
                      <a:off x="4842750" y="4642649"/>
                      <a:ext cx="145313" cy="83897"/>
                    </a:xfrm>
                    <a:custGeom>
                      <a:avLst/>
                      <a:gdLst>
                        <a:gd name="connsiteX0" fmla="*/ 41886 w 145313"/>
                        <a:gd name="connsiteY0" fmla="*/ 565 h 83897"/>
                        <a:gd name="connsiteX1" fmla="*/ 942 w 145313"/>
                        <a:gd name="connsiteY1" fmla="*/ 24177 h 83897"/>
                        <a:gd name="connsiteX2" fmla="*/ 942 w 145313"/>
                        <a:gd name="connsiteY2" fmla="*/ 26814 h 83897"/>
                        <a:gd name="connsiteX3" fmla="*/ 98780 w 145313"/>
                        <a:gd name="connsiteY3" fmla="*/ 83332 h 83897"/>
                        <a:gd name="connsiteX4" fmla="*/ 103427 w 145313"/>
                        <a:gd name="connsiteY4" fmla="*/ 83332 h 83897"/>
                        <a:gd name="connsiteX5" fmla="*/ 144371 w 145313"/>
                        <a:gd name="connsiteY5" fmla="*/ 59721 h 83897"/>
                        <a:gd name="connsiteX6" fmla="*/ 144371 w 145313"/>
                        <a:gd name="connsiteY6" fmla="*/ 57083 h 83897"/>
                        <a:gd name="connsiteX7" fmla="*/ 46533 w 145313"/>
                        <a:gd name="connsiteY7" fmla="*/ 565 h 83897"/>
                        <a:gd name="connsiteX8" fmla="*/ 41886 w 145313"/>
                        <a:gd name="connsiteY8" fmla="*/ 565 h 8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313" h="83897">
                          <a:moveTo>
                            <a:pt x="41886" y="565"/>
                          </a:moveTo>
                          <a:lnTo>
                            <a:pt x="942" y="24177"/>
                          </a:lnTo>
                          <a:cubicBezTo>
                            <a:pt x="-314" y="24931"/>
                            <a:pt x="-314" y="26061"/>
                            <a:pt x="942" y="26814"/>
                          </a:cubicBezTo>
                          <a:lnTo>
                            <a:pt x="98780" y="83332"/>
                          </a:lnTo>
                          <a:cubicBezTo>
                            <a:pt x="100036" y="84086"/>
                            <a:pt x="102172" y="84086"/>
                            <a:pt x="103427" y="83332"/>
                          </a:cubicBezTo>
                          <a:lnTo>
                            <a:pt x="144371" y="59721"/>
                          </a:lnTo>
                          <a:cubicBezTo>
                            <a:pt x="145627" y="58967"/>
                            <a:pt x="145627" y="57836"/>
                            <a:pt x="144371" y="57083"/>
                          </a:cubicBezTo>
                          <a:lnTo>
                            <a:pt x="46533" y="565"/>
                          </a:lnTo>
                          <a:cubicBezTo>
                            <a:pt x="45277" y="-188"/>
                            <a:pt x="43142" y="-188"/>
                            <a:pt x="41886" y="565"/>
                          </a:cubicBezTo>
                          <a:close/>
                        </a:path>
                      </a:pathLst>
                    </a:custGeom>
                    <a:solidFill>
                      <a:srgbClr val="E2E2E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589" name="Freeform: Shape 3588">
                    <a:extLst>
                      <a:ext uri="{FF2B5EF4-FFF2-40B4-BE49-F238E27FC236}">
                        <a16:creationId xmlns:a16="http://schemas.microsoft.com/office/drawing/2014/main" id="{AF47FBB2-E74F-4D8B-BBED-92C73C6DDBC4}"/>
                      </a:ext>
                    </a:extLst>
                  </p:cNvPr>
                  <p:cNvSpPr/>
                  <p:nvPr/>
                </p:nvSpPr>
                <p:spPr>
                  <a:xfrm>
                    <a:off x="4849438" y="4646543"/>
                    <a:ext cx="131968" cy="76110"/>
                  </a:xfrm>
                  <a:custGeom>
                    <a:avLst/>
                    <a:gdLst>
                      <a:gd name="connsiteX0" fmla="*/ 1036 w 131968"/>
                      <a:gd name="connsiteY0" fmla="*/ 20284 h 76110"/>
                      <a:gd name="connsiteX1" fmla="*/ 35198 w 131968"/>
                      <a:gd name="connsiteY1" fmla="*/ 565 h 76110"/>
                      <a:gd name="connsiteX2" fmla="*/ 39845 w 131968"/>
                      <a:gd name="connsiteY2" fmla="*/ 565 h 76110"/>
                      <a:gd name="connsiteX3" fmla="*/ 131027 w 131968"/>
                      <a:gd name="connsiteY3" fmla="*/ 53189 h 76110"/>
                      <a:gd name="connsiteX4" fmla="*/ 131027 w 131968"/>
                      <a:gd name="connsiteY4" fmla="*/ 55827 h 76110"/>
                      <a:gd name="connsiteX5" fmla="*/ 96865 w 131968"/>
                      <a:gd name="connsiteY5" fmla="*/ 75545 h 76110"/>
                      <a:gd name="connsiteX6" fmla="*/ 92218 w 131968"/>
                      <a:gd name="connsiteY6" fmla="*/ 75545 h 76110"/>
                      <a:gd name="connsiteX7" fmla="*/ 1036 w 131968"/>
                      <a:gd name="connsiteY7" fmla="*/ 22921 h 76110"/>
                      <a:gd name="connsiteX8" fmla="*/ 1036 w 131968"/>
                      <a:gd name="connsiteY8" fmla="*/ 20284 h 7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968" h="76110">
                        <a:moveTo>
                          <a:pt x="1036" y="20284"/>
                        </a:moveTo>
                        <a:lnTo>
                          <a:pt x="35198" y="565"/>
                        </a:lnTo>
                        <a:cubicBezTo>
                          <a:pt x="36454" y="-188"/>
                          <a:pt x="38589" y="-188"/>
                          <a:pt x="39845" y="565"/>
                        </a:cubicBezTo>
                        <a:lnTo>
                          <a:pt x="131027" y="53189"/>
                        </a:lnTo>
                        <a:cubicBezTo>
                          <a:pt x="132283" y="53943"/>
                          <a:pt x="132283" y="55073"/>
                          <a:pt x="131027" y="55827"/>
                        </a:cubicBezTo>
                        <a:lnTo>
                          <a:pt x="96865" y="75545"/>
                        </a:lnTo>
                        <a:cubicBezTo>
                          <a:pt x="95609" y="76299"/>
                          <a:pt x="93474" y="76299"/>
                          <a:pt x="92218" y="75545"/>
                        </a:cubicBezTo>
                        <a:lnTo>
                          <a:pt x="1036" y="22921"/>
                        </a:lnTo>
                        <a:cubicBezTo>
                          <a:pt x="-345" y="22293"/>
                          <a:pt x="-345" y="21037"/>
                          <a:pt x="1036" y="20284"/>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590" name="Graphic 4">
                    <a:extLst>
                      <a:ext uri="{FF2B5EF4-FFF2-40B4-BE49-F238E27FC236}">
                        <a16:creationId xmlns:a16="http://schemas.microsoft.com/office/drawing/2014/main" id="{84FB7ED1-A2DF-40A1-A747-5F7CF3F14040}"/>
                      </a:ext>
                    </a:extLst>
                  </p:cNvPr>
                  <p:cNvGrpSpPr/>
                  <p:nvPr/>
                </p:nvGrpSpPr>
                <p:grpSpPr>
                  <a:xfrm>
                    <a:off x="4850303" y="4645821"/>
                    <a:ext cx="129955" cy="76047"/>
                    <a:chOff x="4850303" y="4645821"/>
                    <a:chExt cx="129955" cy="76047"/>
                  </a:xfrm>
                  <a:solidFill>
                    <a:schemeClr val="accent1"/>
                  </a:solidFill>
                </p:grpSpPr>
                <p:grpSp>
                  <p:nvGrpSpPr>
                    <p:cNvPr id="3591" name="Graphic 4">
                      <a:extLst>
                        <a:ext uri="{FF2B5EF4-FFF2-40B4-BE49-F238E27FC236}">
                          <a16:creationId xmlns:a16="http://schemas.microsoft.com/office/drawing/2014/main" id="{84FB7ED1-A2DF-40A1-A747-5F7CF3F14040}"/>
                        </a:ext>
                      </a:extLst>
                    </p:cNvPr>
                    <p:cNvGrpSpPr/>
                    <p:nvPr/>
                  </p:nvGrpSpPr>
                  <p:grpSpPr>
                    <a:xfrm>
                      <a:off x="4882205" y="4645821"/>
                      <a:ext cx="74189" cy="44020"/>
                      <a:chOff x="4882205" y="4645821"/>
                      <a:chExt cx="74189" cy="44020"/>
                    </a:xfrm>
                    <a:solidFill>
                      <a:schemeClr val="accent1"/>
                    </a:solidFill>
                  </p:grpSpPr>
                  <p:grpSp>
                    <p:nvGrpSpPr>
                      <p:cNvPr id="3592" name="Graphic 4">
                        <a:extLst>
                          <a:ext uri="{FF2B5EF4-FFF2-40B4-BE49-F238E27FC236}">
                            <a16:creationId xmlns:a16="http://schemas.microsoft.com/office/drawing/2014/main" id="{84FB7ED1-A2DF-40A1-A747-5F7CF3F14040}"/>
                          </a:ext>
                        </a:extLst>
                      </p:cNvPr>
                      <p:cNvGrpSpPr/>
                      <p:nvPr/>
                    </p:nvGrpSpPr>
                    <p:grpSpPr>
                      <a:xfrm>
                        <a:off x="4882205" y="4645821"/>
                        <a:ext cx="10514" cy="7347"/>
                        <a:chOff x="4882205" y="4645821"/>
                        <a:chExt cx="10514" cy="7347"/>
                      </a:xfrm>
                      <a:solidFill>
                        <a:schemeClr val="accent1"/>
                      </a:solidFill>
                    </p:grpSpPr>
                    <p:sp>
                      <p:nvSpPr>
                        <p:cNvPr id="3593" name="Freeform: Shape 3592">
                          <a:extLst>
                            <a:ext uri="{FF2B5EF4-FFF2-40B4-BE49-F238E27FC236}">
                              <a16:creationId xmlns:a16="http://schemas.microsoft.com/office/drawing/2014/main" id="{31E3CFC2-9E4B-4AEA-AE1D-0C448971E71D}"/>
                            </a:ext>
                          </a:extLst>
                        </p:cNvPr>
                        <p:cNvSpPr/>
                        <p:nvPr/>
                      </p:nvSpPr>
                      <p:spPr>
                        <a:xfrm>
                          <a:off x="4882205" y="4647202"/>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2"/>
                                <a:pt x="548" y="3674"/>
                              </a:cubicBezTo>
                              <a:lnTo>
                                <a:pt x="4064" y="5683"/>
                              </a:lnTo>
                              <a:cubicBezTo>
                                <a:pt x="4692" y="6060"/>
                                <a:pt x="5822"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4" name="Freeform: Shape 3593">
                          <a:extLst>
                            <a:ext uri="{FF2B5EF4-FFF2-40B4-BE49-F238E27FC236}">
                              <a16:creationId xmlns:a16="http://schemas.microsoft.com/office/drawing/2014/main" id="{C9C210DA-706D-46D9-B067-C6A8F5D2AD37}"/>
                            </a:ext>
                          </a:extLst>
                        </p:cNvPr>
                        <p:cNvSpPr/>
                        <p:nvPr/>
                      </p:nvSpPr>
                      <p:spPr>
                        <a:xfrm>
                          <a:off x="4882205" y="4647202"/>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2"/>
                                <a:pt x="548" y="3674"/>
                              </a:cubicBezTo>
                              <a:lnTo>
                                <a:pt x="4064" y="5683"/>
                              </a:lnTo>
                              <a:cubicBezTo>
                                <a:pt x="4692" y="6060"/>
                                <a:pt x="5822"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5" name="Freeform: Shape 3594">
                          <a:extLst>
                            <a:ext uri="{FF2B5EF4-FFF2-40B4-BE49-F238E27FC236}">
                              <a16:creationId xmlns:a16="http://schemas.microsoft.com/office/drawing/2014/main" id="{EA4A450F-5FD6-45B6-847C-DCAE119528D5}"/>
                            </a:ext>
                          </a:extLst>
                        </p:cNvPr>
                        <p:cNvSpPr/>
                        <p:nvPr/>
                      </p:nvSpPr>
                      <p:spPr>
                        <a:xfrm>
                          <a:off x="4882407" y="4645821"/>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596" name="Graphic 4">
                        <a:extLst>
                          <a:ext uri="{FF2B5EF4-FFF2-40B4-BE49-F238E27FC236}">
                            <a16:creationId xmlns:a16="http://schemas.microsoft.com/office/drawing/2014/main" id="{84FB7ED1-A2DF-40A1-A747-5F7CF3F14040}"/>
                          </a:ext>
                        </a:extLst>
                      </p:cNvPr>
                      <p:cNvGrpSpPr/>
                      <p:nvPr/>
                    </p:nvGrpSpPr>
                    <p:grpSpPr>
                      <a:xfrm>
                        <a:off x="4888610" y="4649463"/>
                        <a:ext cx="10469" cy="7346"/>
                        <a:chOff x="4888610" y="4649463"/>
                        <a:chExt cx="10469" cy="7346"/>
                      </a:xfrm>
                      <a:solidFill>
                        <a:schemeClr val="accent1"/>
                      </a:solidFill>
                    </p:grpSpPr>
                    <p:sp>
                      <p:nvSpPr>
                        <p:cNvPr id="3597" name="Freeform: Shape 3596">
                          <a:extLst>
                            <a:ext uri="{FF2B5EF4-FFF2-40B4-BE49-F238E27FC236}">
                              <a16:creationId xmlns:a16="http://schemas.microsoft.com/office/drawing/2014/main" id="{1F190806-EA60-4409-8AF9-386155DE4026}"/>
                            </a:ext>
                          </a:extLst>
                        </p:cNvPr>
                        <p:cNvSpPr/>
                        <p:nvPr/>
                      </p:nvSpPr>
                      <p:spPr>
                        <a:xfrm>
                          <a:off x="4888610" y="4650844"/>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2"/>
                                <a:pt x="548" y="3673"/>
                              </a:cubicBezTo>
                              <a:lnTo>
                                <a:pt x="4064" y="5683"/>
                              </a:lnTo>
                              <a:cubicBezTo>
                                <a:pt x="4692" y="6060"/>
                                <a:pt x="5823" y="6060"/>
                                <a:pt x="6451" y="5683"/>
                              </a:cubicBezTo>
                              <a:lnTo>
                                <a:pt x="9967" y="3673"/>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8" name="Freeform: Shape 3597">
                          <a:extLst>
                            <a:ext uri="{FF2B5EF4-FFF2-40B4-BE49-F238E27FC236}">
                              <a16:creationId xmlns:a16="http://schemas.microsoft.com/office/drawing/2014/main" id="{B8FCA62E-E4B7-4471-9F11-834B5AC00F43}"/>
                            </a:ext>
                          </a:extLst>
                        </p:cNvPr>
                        <p:cNvSpPr/>
                        <p:nvPr/>
                      </p:nvSpPr>
                      <p:spPr>
                        <a:xfrm>
                          <a:off x="4888610" y="4650844"/>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2"/>
                                <a:pt x="548" y="3673"/>
                              </a:cubicBezTo>
                              <a:lnTo>
                                <a:pt x="4064" y="5683"/>
                              </a:lnTo>
                              <a:cubicBezTo>
                                <a:pt x="4692" y="6060"/>
                                <a:pt x="5823" y="6060"/>
                                <a:pt x="6451" y="5683"/>
                              </a:cubicBezTo>
                              <a:lnTo>
                                <a:pt x="9967" y="3673"/>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9" name="Freeform: Shape 3598">
                          <a:extLst>
                            <a:ext uri="{FF2B5EF4-FFF2-40B4-BE49-F238E27FC236}">
                              <a16:creationId xmlns:a16="http://schemas.microsoft.com/office/drawing/2014/main" id="{87FC8239-0A42-49DC-8FD1-C88523151774}"/>
                            </a:ext>
                          </a:extLst>
                        </p:cNvPr>
                        <p:cNvSpPr/>
                        <p:nvPr/>
                      </p:nvSpPr>
                      <p:spPr>
                        <a:xfrm>
                          <a:off x="4888812" y="4649463"/>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00" name="Graphic 4">
                        <a:extLst>
                          <a:ext uri="{FF2B5EF4-FFF2-40B4-BE49-F238E27FC236}">
                            <a16:creationId xmlns:a16="http://schemas.microsoft.com/office/drawing/2014/main" id="{84FB7ED1-A2DF-40A1-A747-5F7CF3F14040}"/>
                          </a:ext>
                        </a:extLst>
                      </p:cNvPr>
                      <p:cNvGrpSpPr/>
                      <p:nvPr/>
                    </p:nvGrpSpPr>
                    <p:grpSpPr>
                      <a:xfrm>
                        <a:off x="4894890" y="4653105"/>
                        <a:ext cx="10469" cy="7347"/>
                        <a:chOff x="4894890" y="4653105"/>
                        <a:chExt cx="10469" cy="7347"/>
                      </a:xfrm>
                      <a:solidFill>
                        <a:schemeClr val="accent1"/>
                      </a:solidFill>
                    </p:grpSpPr>
                    <p:sp>
                      <p:nvSpPr>
                        <p:cNvPr id="3601" name="Freeform: Shape 3600">
                          <a:extLst>
                            <a:ext uri="{FF2B5EF4-FFF2-40B4-BE49-F238E27FC236}">
                              <a16:creationId xmlns:a16="http://schemas.microsoft.com/office/drawing/2014/main" id="{71F4D22F-A527-45E0-9FF0-9D9C57FB4995}"/>
                            </a:ext>
                          </a:extLst>
                        </p:cNvPr>
                        <p:cNvSpPr/>
                        <p:nvPr/>
                      </p:nvSpPr>
                      <p:spPr>
                        <a:xfrm>
                          <a:off x="4894890" y="4654487"/>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02" name="Freeform: Shape 3601">
                          <a:extLst>
                            <a:ext uri="{FF2B5EF4-FFF2-40B4-BE49-F238E27FC236}">
                              <a16:creationId xmlns:a16="http://schemas.microsoft.com/office/drawing/2014/main" id="{2CC367EE-2988-445E-8224-31C8897E9365}"/>
                            </a:ext>
                          </a:extLst>
                        </p:cNvPr>
                        <p:cNvSpPr/>
                        <p:nvPr/>
                      </p:nvSpPr>
                      <p:spPr>
                        <a:xfrm>
                          <a:off x="4894890" y="4654487"/>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03" name="Freeform: Shape 3602">
                          <a:extLst>
                            <a:ext uri="{FF2B5EF4-FFF2-40B4-BE49-F238E27FC236}">
                              <a16:creationId xmlns:a16="http://schemas.microsoft.com/office/drawing/2014/main" id="{B01C189E-C825-43FC-84A2-57E338EC01BD}"/>
                            </a:ext>
                          </a:extLst>
                        </p:cNvPr>
                        <p:cNvSpPr/>
                        <p:nvPr/>
                      </p:nvSpPr>
                      <p:spPr>
                        <a:xfrm>
                          <a:off x="4895092" y="4653105"/>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04" name="Graphic 4">
                        <a:extLst>
                          <a:ext uri="{FF2B5EF4-FFF2-40B4-BE49-F238E27FC236}">
                            <a16:creationId xmlns:a16="http://schemas.microsoft.com/office/drawing/2014/main" id="{84FB7ED1-A2DF-40A1-A747-5F7CF3F14040}"/>
                          </a:ext>
                        </a:extLst>
                      </p:cNvPr>
                      <p:cNvGrpSpPr/>
                      <p:nvPr/>
                    </p:nvGrpSpPr>
                    <p:grpSpPr>
                      <a:xfrm>
                        <a:off x="4901169" y="4656747"/>
                        <a:ext cx="10514" cy="7347"/>
                        <a:chOff x="4901169" y="4656747"/>
                        <a:chExt cx="10514" cy="7347"/>
                      </a:xfrm>
                      <a:solidFill>
                        <a:schemeClr val="accent1"/>
                      </a:solidFill>
                    </p:grpSpPr>
                    <p:sp>
                      <p:nvSpPr>
                        <p:cNvPr id="3605" name="Freeform: Shape 3604">
                          <a:extLst>
                            <a:ext uri="{FF2B5EF4-FFF2-40B4-BE49-F238E27FC236}">
                              <a16:creationId xmlns:a16="http://schemas.microsoft.com/office/drawing/2014/main" id="{9E4630E8-41CD-4E8D-A8FD-797E926ACB8C}"/>
                            </a:ext>
                          </a:extLst>
                        </p:cNvPr>
                        <p:cNvSpPr/>
                        <p:nvPr/>
                      </p:nvSpPr>
                      <p:spPr>
                        <a:xfrm>
                          <a:off x="4901169" y="46581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3"/>
                                <a:pt x="548" y="3674"/>
                              </a:cubicBezTo>
                              <a:lnTo>
                                <a:pt x="4064" y="5683"/>
                              </a:lnTo>
                              <a:cubicBezTo>
                                <a:pt x="4692" y="6060"/>
                                <a:pt x="5823" y="6060"/>
                                <a:pt x="6451" y="5683"/>
                              </a:cubicBezTo>
                              <a:lnTo>
                                <a:pt x="9967" y="3674"/>
                              </a:lnTo>
                              <a:cubicBezTo>
                                <a:pt x="10470" y="3423"/>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06" name="Freeform: Shape 3605">
                          <a:extLst>
                            <a:ext uri="{FF2B5EF4-FFF2-40B4-BE49-F238E27FC236}">
                              <a16:creationId xmlns:a16="http://schemas.microsoft.com/office/drawing/2014/main" id="{ED9672C9-3AAE-4DDE-8FD3-C5C7BA831F63}"/>
                            </a:ext>
                          </a:extLst>
                        </p:cNvPr>
                        <p:cNvSpPr/>
                        <p:nvPr/>
                      </p:nvSpPr>
                      <p:spPr>
                        <a:xfrm>
                          <a:off x="4901169" y="46581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3"/>
                                <a:pt x="548" y="3674"/>
                              </a:cubicBezTo>
                              <a:lnTo>
                                <a:pt x="4064" y="5683"/>
                              </a:lnTo>
                              <a:cubicBezTo>
                                <a:pt x="4692" y="6060"/>
                                <a:pt x="5823" y="6060"/>
                                <a:pt x="6451" y="5683"/>
                              </a:cubicBezTo>
                              <a:lnTo>
                                <a:pt x="9967" y="3674"/>
                              </a:lnTo>
                              <a:cubicBezTo>
                                <a:pt x="10470" y="3423"/>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07" name="Freeform: Shape 3606">
                          <a:extLst>
                            <a:ext uri="{FF2B5EF4-FFF2-40B4-BE49-F238E27FC236}">
                              <a16:creationId xmlns:a16="http://schemas.microsoft.com/office/drawing/2014/main" id="{FC6D0D0C-65F4-4A56-AACA-10A7F2DC2AA0}"/>
                            </a:ext>
                          </a:extLst>
                        </p:cNvPr>
                        <p:cNvSpPr/>
                        <p:nvPr/>
                      </p:nvSpPr>
                      <p:spPr>
                        <a:xfrm>
                          <a:off x="4901372" y="465674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08" name="Graphic 4">
                        <a:extLst>
                          <a:ext uri="{FF2B5EF4-FFF2-40B4-BE49-F238E27FC236}">
                            <a16:creationId xmlns:a16="http://schemas.microsoft.com/office/drawing/2014/main" id="{84FB7ED1-A2DF-40A1-A747-5F7CF3F14040}"/>
                          </a:ext>
                        </a:extLst>
                      </p:cNvPr>
                      <p:cNvGrpSpPr/>
                      <p:nvPr/>
                    </p:nvGrpSpPr>
                    <p:grpSpPr>
                      <a:xfrm>
                        <a:off x="4907575" y="4660390"/>
                        <a:ext cx="10502" cy="7347"/>
                        <a:chOff x="4907575" y="4660390"/>
                        <a:chExt cx="10502" cy="7347"/>
                      </a:xfrm>
                      <a:solidFill>
                        <a:schemeClr val="accent1"/>
                      </a:solidFill>
                    </p:grpSpPr>
                    <p:sp>
                      <p:nvSpPr>
                        <p:cNvPr id="3609" name="Freeform: Shape 3608">
                          <a:extLst>
                            <a:ext uri="{FF2B5EF4-FFF2-40B4-BE49-F238E27FC236}">
                              <a16:creationId xmlns:a16="http://schemas.microsoft.com/office/drawing/2014/main" id="{42107400-AF1D-4DCF-BC52-FCA140CBC774}"/>
                            </a:ext>
                          </a:extLst>
                        </p:cNvPr>
                        <p:cNvSpPr/>
                        <p:nvPr/>
                      </p:nvSpPr>
                      <p:spPr>
                        <a:xfrm>
                          <a:off x="4907575" y="4661771"/>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0" name="Freeform: Shape 3609">
                          <a:extLst>
                            <a:ext uri="{FF2B5EF4-FFF2-40B4-BE49-F238E27FC236}">
                              <a16:creationId xmlns:a16="http://schemas.microsoft.com/office/drawing/2014/main" id="{2AF0D49F-0BDC-4ADB-B13C-B2B0EA4C8D6C}"/>
                            </a:ext>
                          </a:extLst>
                        </p:cNvPr>
                        <p:cNvSpPr/>
                        <p:nvPr/>
                      </p:nvSpPr>
                      <p:spPr>
                        <a:xfrm>
                          <a:off x="4907575" y="4661771"/>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1" name="Freeform: Shape 3610">
                          <a:extLst>
                            <a:ext uri="{FF2B5EF4-FFF2-40B4-BE49-F238E27FC236}">
                              <a16:creationId xmlns:a16="http://schemas.microsoft.com/office/drawing/2014/main" id="{3429B01D-B6DA-41E0-AC4E-F3757FAFBBD3}"/>
                            </a:ext>
                          </a:extLst>
                        </p:cNvPr>
                        <p:cNvSpPr/>
                        <p:nvPr/>
                      </p:nvSpPr>
                      <p:spPr>
                        <a:xfrm>
                          <a:off x="4907777" y="466039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12" name="Graphic 4">
                        <a:extLst>
                          <a:ext uri="{FF2B5EF4-FFF2-40B4-BE49-F238E27FC236}">
                            <a16:creationId xmlns:a16="http://schemas.microsoft.com/office/drawing/2014/main" id="{84FB7ED1-A2DF-40A1-A747-5F7CF3F14040}"/>
                          </a:ext>
                        </a:extLst>
                      </p:cNvPr>
                      <p:cNvGrpSpPr/>
                      <p:nvPr/>
                    </p:nvGrpSpPr>
                    <p:grpSpPr>
                      <a:xfrm>
                        <a:off x="4913980" y="4664032"/>
                        <a:ext cx="10469" cy="7347"/>
                        <a:chOff x="4913980" y="4664032"/>
                        <a:chExt cx="10469" cy="7347"/>
                      </a:xfrm>
                      <a:solidFill>
                        <a:schemeClr val="accent1"/>
                      </a:solidFill>
                    </p:grpSpPr>
                    <p:sp>
                      <p:nvSpPr>
                        <p:cNvPr id="3613" name="Freeform: Shape 3612">
                          <a:extLst>
                            <a:ext uri="{FF2B5EF4-FFF2-40B4-BE49-F238E27FC236}">
                              <a16:creationId xmlns:a16="http://schemas.microsoft.com/office/drawing/2014/main" id="{757A69ED-F23A-4E17-A5B7-325D067BAB2C}"/>
                            </a:ext>
                          </a:extLst>
                        </p:cNvPr>
                        <p:cNvSpPr/>
                        <p:nvPr/>
                      </p:nvSpPr>
                      <p:spPr>
                        <a:xfrm>
                          <a:off x="4913980" y="4665414"/>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344" y="3548"/>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4" name="Freeform: Shape 3613">
                          <a:extLst>
                            <a:ext uri="{FF2B5EF4-FFF2-40B4-BE49-F238E27FC236}">
                              <a16:creationId xmlns:a16="http://schemas.microsoft.com/office/drawing/2014/main" id="{5994C3CE-B536-411D-AB4F-4F5A933ADCC1}"/>
                            </a:ext>
                          </a:extLst>
                        </p:cNvPr>
                        <p:cNvSpPr/>
                        <p:nvPr/>
                      </p:nvSpPr>
                      <p:spPr>
                        <a:xfrm>
                          <a:off x="4913980" y="4665414"/>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344" y="3548"/>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5" name="Freeform: Shape 3614">
                          <a:extLst>
                            <a:ext uri="{FF2B5EF4-FFF2-40B4-BE49-F238E27FC236}">
                              <a16:creationId xmlns:a16="http://schemas.microsoft.com/office/drawing/2014/main" id="{44E8E052-2F3C-4197-AC07-6492D6F3B860}"/>
                            </a:ext>
                          </a:extLst>
                        </p:cNvPr>
                        <p:cNvSpPr/>
                        <p:nvPr/>
                      </p:nvSpPr>
                      <p:spPr>
                        <a:xfrm>
                          <a:off x="4914182" y="4664032"/>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8" y="3171"/>
                                <a:pt x="10268"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16" name="Graphic 4">
                        <a:extLst>
                          <a:ext uri="{FF2B5EF4-FFF2-40B4-BE49-F238E27FC236}">
                            <a16:creationId xmlns:a16="http://schemas.microsoft.com/office/drawing/2014/main" id="{84FB7ED1-A2DF-40A1-A747-5F7CF3F14040}"/>
                          </a:ext>
                        </a:extLst>
                      </p:cNvPr>
                      <p:cNvGrpSpPr/>
                      <p:nvPr/>
                    </p:nvGrpSpPr>
                    <p:grpSpPr>
                      <a:xfrm>
                        <a:off x="4920260" y="4667800"/>
                        <a:ext cx="10514" cy="7347"/>
                        <a:chOff x="4920260" y="4667800"/>
                        <a:chExt cx="10514" cy="7347"/>
                      </a:xfrm>
                      <a:solidFill>
                        <a:schemeClr val="accent1"/>
                      </a:solidFill>
                    </p:grpSpPr>
                    <p:sp>
                      <p:nvSpPr>
                        <p:cNvPr id="3617" name="Freeform: Shape 3616">
                          <a:extLst>
                            <a:ext uri="{FF2B5EF4-FFF2-40B4-BE49-F238E27FC236}">
                              <a16:creationId xmlns:a16="http://schemas.microsoft.com/office/drawing/2014/main" id="{B802A575-6B24-4E88-8017-96C37FD5D321}"/>
                            </a:ext>
                          </a:extLst>
                        </p:cNvPr>
                        <p:cNvSpPr/>
                        <p:nvPr/>
                      </p:nvSpPr>
                      <p:spPr>
                        <a:xfrm>
                          <a:off x="4920260" y="466918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8" name="Freeform: Shape 3617">
                          <a:extLst>
                            <a:ext uri="{FF2B5EF4-FFF2-40B4-BE49-F238E27FC236}">
                              <a16:creationId xmlns:a16="http://schemas.microsoft.com/office/drawing/2014/main" id="{771424FE-9D82-4FFC-A72E-04922A58CC7B}"/>
                            </a:ext>
                          </a:extLst>
                        </p:cNvPr>
                        <p:cNvSpPr/>
                        <p:nvPr/>
                      </p:nvSpPr>
                      <p:spPr>
                        <a:xfrm>
                          <a:off x="4920260" y="466918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9" name="Freeform: Shape 3618">
                          <a:extLst>
                            <a:ext uri="{FF2B5EF4-FFF2-40B4-BE49-F238E27FC236}">
                              <a16:creationId xmlns:a16="http://schemas.microsoft.com/office/drawing/2014/main" id="{A2C46B12-A435-4E3A-85C5-9C3A860DDFEF}"/>
                            </a:ext>
                          </a:extLst>
                        </p:cNvPr>
                        <p:cNvSpPr/>
                        <p:nvPr/>
                      </p:nvSpPr>
                      <p:spPr>
                        <a:xfrm>
                          <a:off x="4920462" y="4667800"/>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8" y="3297"/>
                                <a:pt x="10268" y="2669"/>
                                <a:pt x="9639" y="2292"/>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20" name="Graphic 4">
                        <a:extLst>
                          <a:ext uri="{FF2B5EF4-FFF2-40B4-BE49-F238E27FC236}">
                            <a16:creationId xmlns:a16="http://schemas.microsoft.com/office/drawing/2014/main" id="{84FB7ED1-A2DF-40A1-A747-5F7CF3F14040}"/>
                          </a:ext>
                        </a:extLst>
                      </p:cNvPr>
                      <p:cNvGrpSpPr/>
                      <p:nvPr/>
                    </p:nvGrpSpPr>
                    <p:grpSpPr>
                      <a:xfrm>
                        <a:off x="4926665" y="4671442"/>
                        <a:ext cx="10502" cy="7346"/>
                        <a:chOff x="4926665" y="4671442"/>
                        <a:chExt cx="10502" cy="7346"/>
                      </a:xfrm>
                      <a:solidFill>
                        <a:schemeClr val="accent1"/>
                      </a:solidFill>
                    </p:grpSpPr>
                    <p:sp>
                      <p:nvSpPr>
                        <p:cNvPr id="3621" name="Freeform: Shape 3620">
                          <a:extLst>
                            <a:ext uri="{FF2B5EF4-FFF2-40B4-BE49-F238E27FC236}">
                              <a16:creationId xmlns:a16="http://schemas.microsoft.com/office/drawing/2014/main" id="{A2229277-E223-47FC-A15F-A81935B5ADBA}"/>
                            </a:ext>
                          </a:extLst>
                        </p:cNvPr>
                        <p:cNvSpPr/>
                        <p:nvPr/>
                      </p:nvSpPr>
                      <p:spPr>
                        <a:xfrm>
                          <a:off x="4926665" y="4672824"/>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2" name="Freeform: Shape 3621">
                          <a:extLst>
                            <a:ext uri="{FF2B5EF4-FFF2-40B4-BE49-F238E27FC236}">
                              <a16:creationId xmlns:a16="http://schemas.microsoft.com/office/drawing/2014/main" id="{2294AC9E-46B4-46C5-84D0-465A55BC4F15}"/>
                            </a:ext>
                          </a:extLst>
                        </p:cNvPr>
                        <p:cNvSpPr/>
                        <p:nvPr/>
                      </p:nvSpPr>
                      <p:spPr>
                        <a:xfrm>
                          <a:off x="4926665" y="4672824"/>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3" name="Freeform: Shape 3622">
                          <a:extLst>
                            <a:ext uri="{FF2B5EF4-FFF2-40B4-BE49-F238E27FC236}">
                              <a16:creationId xmlns:a16="http://schemas.microsoft.com/office/drawing/2014/main" id="{E04ECDC5-8270-4486-8EC4-1A19DBAA88FB}"/>
                            </a:ext>
                          </a:extLst>
                        </p:cNvPr>
                        <p:cNvSpPr/>
                        <p:nvPr/>
                      </p:nvSpPr>
                      <p:spPr>
                        <a:xfrm>
                          <a:off x="4926867" y="4671442"/>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24" name="Graphic 4">
                        <a:extLst>
                          <a:ext uri="{FF2B5EF4-FFF2-40B4-BE49-F238E27FC236}">
                            <a16:creationId xmlns:a16="http://schemas.microsoft.com/office/drawing/2014/main" id="{84FB7ED1-A2DF-40A1-A747-5F7CF3F14040}"/>
                          </a:ext>
                        </a:extLst>
                      </p:cNvPr>
                      <p:cNvGrpSpPr/>
                      <p:nvPr/>
                    </p:nvGrpSpPr>
                    <p:grpSpPr>
                      <a:xfrm>
                        <a:off x="4933071" y="4675098"/>
                        <a:ext cx="10469" cy="7333"/>
                        <a:chOff x="4933071" y="4675098"/>
                        <a:chExt cx="10469" cy="7333"/>
                      </a:xfrm>
                      <a:solidFill>
                        <a:schemeClr val="accent1"/>
                      </a:solidFill>
                    </p:grpSpPr>
                    <p:sp>
                      <p:nvSpPr>
                        <p:cNvPr id="3625" name="Freeform: Shape 3624">
                          <a:extLst>
                            <a:ext uri="{FF2B5EF4-FFF2-40B4-BE49-F238E27FC236}">
                              <a16:creationId xmlns:a16="http://schemas.microsoft.com/office/drawing/2014/main" id="{ED8848D2-4290-40A0-8D21-A919C8A2066E}"/>
                            </a:ext>
                          </a:extLst>
                        </p:cNvPr>
                        <p:cNvSpPr/>
                        <p:nvPr/>
                      </p:nvSpPr>
                      <p:spPr>
                        <a:xfrm>
                          <a:off x="4933071" y="4676466"/>
                          <a:ext cx="10469" cy="5965"/>
                        </a:xfrm>
                        <a:custGeom>
                          <a:avLst/>
                          <a:gdLst>
                            <a:gd name="connsiteX0" fmla="*/ 10470 w 10469"/>
                            <a:gd name="connsiteY0" fmla="*/ 2794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344" y="3422"/>
                                <a:pt x="10470"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6" name="Freeform: Shape 3625">
                          <a:extLst>
                            <a:ext uri="{FF2B5EF4-FFF2-40B4-BE49-F238E27FC236}">
                              <a16:creationId xmlns:a16="http://schemas.microsoft.com/office/drawing/2014/main" id="{84A3698E-F45B-4A83-9078-2D99802F49D2}"/>
                            </a:ext>
                          </a:extLst>
                        </p:cNvPr>
                        <p:cNvSpPr/>
                        <p:nvPr/>
                      </p:nvSpPr>
                      <p:spPr>
                        <a:xfrm>
                          <a:off x="4933071" y="4676466"/>
                          <a:ext cx="10469" cy="5965"/>
                        </a:xfrm>
                        <a:custGeom>
                          <a:avLst/>
                          <a:gdLst>
                            <a:gd name="connsiteX0" fmla="*/ 10470 w 10469"/>
                            <a:gd name="connsiteY0" fmla="*/ 2794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344" y="3422"/>
                                <a:pt x="10470"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7" name="Freeform: Shape 3626">
                          <a:extLst>
                            <a:ext uri="{FF2B5EF4-FFF2-40B4-BE49-F238E27FC236}">
                              <a16:creationId xmlns:a16="http://schemas.microsoft.com/office/drawing/2014/main" id="{BACD8FC0-4C5E-4354-BA1D-1A970EB5B017}"/>
                            </a:ext>
                          </a:extLst>
                        </p:cNvPr>
                        <p:cNvSpPr/>
                        <p:nvPr/>
                      </p:nvSpPr>
                      <p:spPr>
                        <a:xfrm>
                          <a:off x="4933273" y="4675098"/>
                          <a:ext cx="9984" cy="5826"/>
                        </a:xfrm>
                        <a:custGeom>
                          <a:avLst/>
                          <a:gdLst>
                            <a:gd name="connsiteX0" fmla="*/ 3862 w 9984"/>
                            <a:gd name="connsiteY0" fmla="*/ 269 h 5826"/>
                            <a:gd name="connsiteX1" fmla="*/ 471 w 9984"/>
                            <a:gd name="connsiteY1" fmla="*/ 2278 h 5826"/>
                            <a:gd name="connsiteX2" fmla="*/ 471 w 9984"/>
                            <a:gd name="connsiteY2" fmla="*/ 3660 h 5826"/>
                            <a:gd name="connsiteX3" fmla="*/ 3862 w 9984"/>
                            <a:gd name="connsiteY3" fmla="*/ 5544 h 5826"/>
                            <a:gd name="connsiteX4" fmla="*/ 6123 w 9984"/>
                            <a:gd name="connsiteY4" fmla="*/ 5544 h 5826"/>
                            <a:gd name="connsiteX5" fmla="*/ 9514 w 9984"/>
                            <a:gd name="connsiteY5" fmla="*/ 3660 h 5826"/>
                            <a:gd name="connsiteX6" fmla="*/ 9514 w 9984"/>
                            <a:gd name="connsiteY6" fmla="*/ 2278 h 5826"/>
                            <a:gd name="connsiteX7" fmla="*/ 6123 w 9984"/>
                            <a:gd name="connsiteY7" fmla="*/ 394 h 5826"/>
                            <a:gd name="connsiteX8" fmla="*/ 3862 w 9984"/>
                            <a:gd name="connsiteY8" fmla="*/ 269 h 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826">
                              <a:moveTo>
                                <a:pt x="3862" y="269"/>
                              </a:moveTo>
                              <a:lnTo>
                                <a:pt x="471" y="2278"/>
                              </a:lnTo>
                              <a:cubicBezTo>
                                <a:pt x="-157" y="2655"/>
                                <a:pt x="-157" y="3283"/>
                                <a:pt x="471" y="3660"/>
                              </a:cubicBezTo>
                              <a:lnTo>
                                <a:pt x="3862" y="5544"/>
                              </a:lnTo>
                              <a:cubicBezTo>
                                <a:pt x="4490" y="5920"/>
                                <a:pt x="5495" y="5920"/>
                                <a:pt x="6123" y="5544"/>
                              </a:cubicBezTo>
                              <a:lnTo>
                                <a:pt x="9514" y="3660"/>
                              </a:lnTo>
                              <a:cubicBezTo>
                                <a:pt x="10142" y="3283"/>
                                <a:pt x="10142" y="2655"/>
                                <a:pt x="9514" y="2278"/>
                              </a:cubicBezTo>
                              <a:lnTo>
                                <a:pt x="6123" y="394"/>
                              </a:lnTo>
                              <a:cubicBezTo>
                                <a:pt x="5495"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28" name="Graphic 4">
                        <a:extLst>
                          <a:ext uri="{FF2B5EF4-FFF2-40B4-BE49-F238E27FC236}">
                            <a16:creationId xmlns:a16="http://schemas.microsoft.com/office/drawing/2014/main" id="{84FB7ED1-A2DF-40A1-A747-5F7CF3F14040}"/>
                          </a:ext>
                        </a:extLst>
                      </p:cNvPr>
                      <p:cNvGrpSpPr/>
                      <p:nvPr/>
                    </p:nvGrpSpPr>
                    <p:grpSpPr>
                      <a:xfrm>
                        <a:off x="4939225" y="4678708"/>
                        <a:ext cx="17169" cy="11133"/>
                        <a:chOff x="4939225" y="4678708"/>
                        <a:chExt cx="17169" cy="11133"/>
                      </a:xfrm>
                      <a:solidFill>
                        <a:schemeClr val="accent1"/>
                      </a:solidFill>
                    </p:grpSpPr>
                    <p:sp>
                      <p:nvSpPr>
                        <p:cNvPr id="3629" name="Freeform: Shape 3628">
                          <a:extLst>
                            <a:ext uri="{FF2B5EF4-FFF2-40B4-BE49-F238E27FC236}">
                              <a16:creationId xmlns:a16="http://schemas.microsoft.com/office/drawing/2014/main" id="{71D6C508-0F0D-40C2-8918-9A8B7E509159}"/>
                            </a:ext>
                          </a:extLst>
                        </p:cNvPr>
                        <p:cNvSpPr/>
                        <p:nvPr/>
                      </p:nvSpPr>
                      <p:spPr>
                        <a:xfrm>
                          <a:off x="4939225" y="4680108"/>
                          <a:ext cx="17169" cy="9733"/>
                        </a:xfrm>
                        <a:custGeom>
                          <a:avLst/>
                          <a:gdLst>
                            <a:gd name="connsiteX0" fmla="*/ 17126 w 17169"/>
                            <a:gd name="connsiteY0" fmla="*/ 6563 h 9733"/>
                            <a:gd name="connsiteX1" fmla="*/ 16875 w 17169"/>
                            <a:gd name="connsiteY1" fmla="*/ 5307 h 9733"/>
                            <a:gd name="connsiteX2" fmla="*/ 15242 w 17169"/>
                            <a:gd name="connsiteY2" fmla="*/ 5307 h 9733"/>
                            <a:gd name="connsiteX3" fmla="*/ 6451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8 w 17169"/>
                            <a:gd name="connsiteY8" fmla="*/ 3674 h 9733"/>
                            <a:gd name="connsiteX9" fmla="*/ 10595 w 17169"/>
                            <a:gd name="connsiteY9" fmla="*/ 9451 h 9733"/>
                            <a:gd name="connsiteX10" fmla="*/ 12982 w 17169"/>
                            <a:gd name="connsiteY10" fmla="*/ 9451 h 9733"/>
                            <a:gd name="connsiteX11" fmla="*/ 16498 w 17169"/>
                            <a:gd name="connsiteY11" fmla="*/ 7441 h 9733"/>
                            <a:gd name="connsiteX12" fmla="*/ 17126 w 17169"/>
                            <a:gd name="connsiteY12" fmla="*/ 6563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3"/>
                              </a:moveTo>
                              <a:lnTo>
                                <a:pt x="16875" y="5307"/>
                              </a:lnTo>
                              <a:lnTo>
                                <a:pt x="15242" y="5307"/>
                              </a:lnTo>
                              <a:lnTo>
                                <a:pt x="6451" y="283"/>
                              </a:lnTo>
                              <a:cubicBezTo>
                                <a:pt x="5823" y="-94"/>
                                <a:pt x="4692" y="-94"/>
                                <a:pt x="4064" y="283"/>
                              </a:cubicBezTo>
                              <a:lnTo>
                                <a:pt x="1929" y="1539"/>
                              </a:lnTo>
                              <a:lnTo>
                                <a:pt x="296" y="1539"/>
                              </a:lnTo>
                              <a:lnTo>
                                <a:pt x="45" y="2795"/>
                              </a:lnTo>
                              <a:cubicBezTo>
                                <a:pt x="-80" y="3171"/>
                                <a:pt x="45" y="3423"/>
                                <a:pt x="548" y="3674"/>
                              </a:cubicBezTo>
                              <a:lnTo>
                                <a:pt x="10595" y="9451"/>
                              </a:lnTo>
                              <a:cubicBezTo>
                                <a:pt x="11223" y="9828"/>
                                <a:pt x="12354" y="9828"/>
                                <a:pt x="12982" y="9451"/>
                              </a:cubicBezTo>
                              <a:lnTo>
                                <a:pt x="16498" y="7441"/>
                              </a:lnTo>
                              <a:cubicBezTo>
                                <a:pt x="17126" y="7190"/>
                                <a:pt x="17252" y="6939"/>
                                <a:pt x="17126" y="656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0" name="Freeform: Shape 3629">
                          <a:extLst>
                            <a:ext uri="{FF2B5EF4-FFF2-40B4-BE49-F238E27FC236}">
                              <a16:creationId xmlns:a16="http://schemas.microsoft.com/office/drawing/2014/main" id="{720444DE-5B71-4753-83D2-FF18303A4CC0}"/>
                            </a:ext>
                          </a:extLst>
                        </p:cNvPr>
                        <p:cNvSpPr/>
                        <p:nvPr/>
                      </p:nvSpPr>
                      <p:spPr>
                        <a:xfrm>
                          <a:off x="4939225" y="4680108"/>
                          <a:ext cx="17169" cy="9733"/>
                        </a:xfrm>
                        <a:custGeom>
                          <a:avLst/>
                          <a:gdLst>
                            <a:gd name="connsiteX0" fmla="*/ 17126 w 17169"/>
                            <a:gd name="connsiteY0" fmla="*/ 6563 h 9733"/>
                            <a:gd name="connsiteX1" fmla="*/ 16875 w 17169"/>
                            <a:gd name="connsiteY1" fmla="*/ 5307 h 9733"/>
                            <a:gd name="connsiteX2" fmla="*/ 15242 w 17169"/>
                            <a:gd name="connsiteY2" fmla="*/ 5307 h 9733"/>
                            <a:gd name="connsiteX3" fmla="*/ 6451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8 w 17169"/>
                            <a:gd name="connsiteY8" fmla="*/ 3674 h 9733"/>
                            <a:gd name="connsiteX9" fmla="*/ 10595 w 17169"/>
                            <a:gd name="connsiteY9" fmla="*/ 9451 h 9733"/>
                            <a:gd name="connsiteX10" fmla="*/ 12982 w 17169"/>
                            <a:gd name="connsiteY10" fmla="*/ 9451 h 9733"/>
                            <a:gd name="connsiteX11" fmla="*/ 16498 w 17169"/>
                            <a:gd name="connsiteY11" fmla="*/ 7441 h 9733"/>
                            <a:gd name="connsiteX12" fmla="*/ 17126 w 17169"/>
                            <a:gd name="connsiteY12" fmla="*/ 6563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3"/>
                              </a:moveTo>
                              <a:lnTo>
                                <a:pt x="16875" y="5307"/>
                              </a:lnTo>
                              <a:lnTo>
                                <a:pt x="15242" y="5307"/>
                              </a:lnTo>
                              <a:lnTo>
                                <a:pt x="6451" y="283"/>
                              </a:lnTo>
                              <a:cubicBezTo>
                                <a:pt x="5823" y="-94"/>
                                <a:pt x="4692" y="-94"/>
                                <a:pt x="4064" y="283"/>
                              </a:cubicBezTo>
                              <a:lnTo>
                                <a:pt x="1929" y="1539"/>
                              </a:lnTo>
                              <a:lnTo>
                                <a:pt x="296" y="1539"/>
                              </a:lnTo>
                              <a:lnTo>
                                <a:pt x="45" y="2795"/>
                              </a:lnTo>
                              <a:cubicBezTo>
                                <a:pt x="-80" y="3171"/>
                                <a:pt x="45" y="3423"/>
                                <a:pt x="548" y="3674"/>
                              </a:cubicBezTo>
                              <a:lnTo>
                                <a:pt x="10595" y="9451"/>
                              </a:lnTo>
                              <a:cubicBezTo>
                                <a:pt x="11223" y="9828"/>
                                <a:pt x="12354" y="9828"/>
                                <a:pt x="12982" y="9451"/>
                              </a:cubicBezTo>
                              <a:lnTo>
                                <a:pt x="16498" y="7441"/>
                              </a:lnTo>
                              <a:cubicBezTo>
                                <a:pt x="17126" y="7190"/>
                                <a:pt x="17252" y="6939"/>
                                <a:pt x="17126" y="6563"/>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1" name="Freeform: Shape 3630">
                          <a:extLst>
                            <a:ext uri="{FF2B5EF4-FFF2-40B4-BE49-F238E27FC236}">
                              <a16:creationId xmlns:a16="http://schemas.microsoft.com/office/drawing/2014/main" id="{8D97D858-0BF2-4216-9007-68C8EAC48DB2}"/>
                            </a:ext>
                          </a:extLst>
                        </p:cNvPr>
                        <p:cNvSpPr/>
                        <p:nvPr/>
                      </p:nvSpPr>
                      <p:spPr>
                        <a:xfrm>
                          <a:off x="4939553" y="4678708"/>
                          <a:ext cx="16515" cy="9500"/>
                        </a:xfrm>
                        <a:custGeom>
                          <a:avLst/>
                          <a:gdLst>
                            <a:gd name="connsiteX0" fmla="*/ 3862 w 16515"/>
                            <a:gd name="connsiteY0" fmla="*/ 301 h 9500"/>
                            <a:gd name="connsiteX1" fmla="*/ 471 w 16515"/>
                            <a:gd name="connsiteY1" fmla="*/ 2185 h 9500"/>
                            <a:gd name="connsiteX2" fmla="*/ 471 w 16515"/>
                            <a:gd name="connsiteY2" fmla="*/ 3566 h 9500"/>
                            <a:gd name="connsiteX3" fmla="*/ 10393 w 16515"/>
                            <a:gd name="connsiteY3" fmla="*/ 9218 h 9500"/>
                            <a:gd name="connsiteX4" fmla="*/ 12654 w 16515"/>
                            <a:gd name="connsiteY4" fmla="*/ 9218 h 9500"/>
                            <a:gd name="connsiteX5" fmla="*/ 16044 w 16515"/>
                            <a:gd name="connsiteY5" fmla="*/ 7208 h 9500"/>
                            <a:gd name="connsiteX6" fmla="*/ 16044 w 16515"/>
                            <a:gd name="connsiteY6" fmla="*/ 5827 h 9500"/>
                            <a:gd name="connsiteX7" fmla="*/ 6123 w 16515"/>
                            <a:gd name="connsiteY7" fmla="*/ 175 h 9500"/>
                            <a:gd name="connsiteX8" fmla="*/ 3862 w 16515"/>
                            <a:gd name="connsiteY8" fmla="*/ 301 h 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5" h="9500">
                              <a:moveTo>
                                <a:pt x="3862" y="301"/>
                              </a:moveTo>
                              <a:lnTo>
                                <a:pt x="471" y="2185"/>
                              </a:lnTo>
                              <a:cubicBezTo>
                                <a:pt x="-157" y="2561"/>
                                <a:pt x="-157" y="3189"/>
                                <a:pt x="471" y="3566"/>
                              </a:cubicBezTo>
                              <a:lnTo>
                                <a:pt x="10393" y="9218"/>
                              </a:lnTo>
                              <a:cubicBezTo>
                                <a:pt x="11021" y="9595"/>
                                <a:pt x="12026" y="9595"/>
                                <a:pt x="12654" y="9218"/>
                              </a:cubicBezTo>
                              <a:lnTo>
                                <a:pt x="16044" y="7208"/>
                              </a:lnTo>
                              <a:cubicBezTo>
                                <a:pt x="16673" y="6831"/>
                                <a:pt x="16673" y="6204"/>
                                <a:pt x="16044" y="5827"/>
                              </a:cubicBezTo>
                              <a:lnTo>
                                <a:pt x="6123" y="175"/>
                              </a:lnTo>
                              <a:cubicBezTo>
                                <a:pt x="5620" y="-76"/>
                                <a:pt x="4490" y="-76"/>
                                <a:pt x="3862" y="30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632" name="Graphic 4">
                      <a:extLst>
                        <a:ext uri="{FF2B5EF4-FFF2-40B4-BE49-F238E27FC236}">
                          <a16:creationId xmlns:a16="http://schemas.microsoft.com/office/drawing/2014/main" id="{84FB7ED1-A2DF-40A1-A747-5F7CF3F14040}"/>
                        </a:ext>
                      </a:extLst>
                    </p:cNvPr>
                    <p:cNvGrpSpPr/>
                    <p:nvPr/>
                  </p:nvGrpSpPr>
                  <p:grpSpPr>
                    <a:xfrm>
                      <a:off x="4875925" y="4649463"/>
                      <a:ext cx="74189" cy="44020"/>
                      <a:chOff x="4875925" y="4649463"/>
                      <a:chExt cx="74189" cy="44020"/>
                    </a:xfrm>
                    <a:solidFill>
                      <a:schemeClr val="accent1"/>
                    </a:solidFill>
                  </p:grpSpPr>
                  <p:grpSp>
                    <p:nvGrpSpPr>
                      <p:cNvPr id="3633" name="Graphic 4">
                        <a:extLst>
                          <a:ext uri="{FF2B5EF4-FFF2-40B4-BE49-F238E27FC236}">
                            <a16:creationId xmlns:a16="http://schemas.microsoft.com/office/drawing/2014/main" id="{84FB7ED1-A2DF-40A1-A747-5F7CF3F14040}"/>
                          </a:ext>
                        </a:extLst>
                      </p:cNvPr>
                      <p:cNvGrpSpPr/>
                      <p:nvPr/>
                    </p:nvGrpSpPr>
                    <p:grpSpPr>
                      <a:xfrm>
                        <a:off x="4875925" y="4649463"/>
                        <a:ext cx="10514" cy="7346"/>
                        <a:chOff x="4875925" y="4649463"/>
                        <a:chExt cx="10514" cy="7346"/>
                      </a:xfrm>
                      <a:solidFill>
                        <a:schemeClr val="accent1"/>
                      </a:solidFill>
                    </p:grpSpPr>
                    <p:sp>
                      <p:nvSpPr>
                        <p:cNvPr id="3634" name="Freeform: Shape 3633">
                          <a:extLst>
                            <a:ext uri="{FF2B5EF4-FFF2-40B4-BE49-F238E27FC236}">
                              <a16:creationId xmlns:a16="http://schemas.microsoft.com/office/drawing/2014/main" id="{B6C160EC-D33A-41A3-A5C9-7C57A228D9D9}"/>
                            </a:ext>
                          </a:extLst>
                        </p:cNvPr>
                        <p:cNvSpPr/>
                        <p:nvPr/>
                      </p:nvSpPr>
                      <p:spPr>
                        <a:xfrm>
                          <a:off x="4875925" y="4650844"/>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2"/>
                                <a:pt x="548" y="3673"/>
                              </a:cubicBezTo>
                              <a:lnTo>
                                <a:pt x="4064" y="5683"/>
                              </a:lnTo>
                              <a:cubicBezTo>
                                <a:pt x="4692" y="6060"/>
                                <a:pt x="5822" y="6060"/>
                                <a:pt x="6451" y="5683"/>
                              </a:cubicBezTo>
                              <a:lnTo>
                                <a:pt x="9967" y="3673"/>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5" name="Freeform: Shape 3634">
                          <a:extLst>
                            <a:ext uri="{FF2B5EF4-FFF2-40B4-BE49-F238E27FC236}">
                              <a16:creationId xmlns:a16="http://schemas.microsoft.com/office/drawing/2014/main" id="{5963439D-EFA6-4575-B4BE-5044D1CE8B89}"/>
                            </a:ext>
                          </a:extLst>
                        </p:cNvPr>
                        <p:cNvSpPr/>
                        <p:nvPr/>
                      </p:nvSpPr>
                      <p:spPr>
                        <a:xfrm>
                          <a:off x="4875925" y="4650844"/>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2"/>
                                <a:pt x="548" y="3673"/>
                              </a:cubicBezTo>
                              <a:lnTo>
                                <a:pt x="4064" y="5683"/>
                              </a:lnTo>
                              <a:cubicBezTo>
                                <a:pt x="4692" y="6060"/>
                                <a:pt x="5822" y="6060"/>
                                <a:pt x="6451" y="5683"/>
                              </a:cubicBezTo>
                              <a:lnTo>
                                <a:pt x="9967" y="3673"/>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6" name="Freeform: Shape 3635">
                          <a:extLst>
                            <a:ext uri="{FF2B5EF4-FFF2-40B4-BE49-F238E27FC236}">
                              <a16:creationId xmlns:a16="http://schemas.microsoft.com/office/drawing/2014/main" id="{C8EF3D96-D460-400D-9010-B0218F289A0B}"/>
                            </a:ext>
                          </a:extLst>
                        </p:cNvPr>
                        <p:cNvSpPr/>
                        <p:nvPr/>
                      </p:nvSpPr>
                      <p:spPr>
                        <a:xfrm>
                          <a:off x="4876127" y="4649463"/>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37" name="Graphic 4">
                        <a:extLst>
                          <a:ext uri="{FF2B5EF4-FFF2-40B4-BE49-F238E27FC236}">
                            <a16:creationId xmlns:a16="http://schemas.microsoft.com/office/drawing/2014/main" id="{84FB7ED1-A2DF-40A1-A747-5F7CF3F14040}"/>
                          </a:ext>
                        </a:extLst>
                      </p:cNvPr>
                      <p:cNvGrpSpPr/>
                      <p:nvPr/>
                    </p:nvGrpSpPr>
                    <p:grpSpPr>
                      <a:xfrm>
                        <a:off x="4882205" y="4653105"/>
                        <a:ext cx="10514" cy="7347"/>
                        <a:chOff x="4882205" y="4653105"/>
                        <a:chExt cx="10514" cy="7347"/>
                      </a:xfrm>
                      <a:solidFill>
                        <a:schemeClr val="accent1"/>
                      </a:solidFill>
                    </p:grpSpPr>
                    <p:sp>
                      <p:nvSpPr>
                        <p:cNvPr id="3638" name="Freeform: Shape 3637">
                          <a:extLst>
                            <a:ext uri="{FF2B5EF4-FFF2-40B4-BE49-F238E27FC236}">
                              <a16:creationId xmlns:a16="http://schemas.microsoft.com/office/drawing/2014/main" id="{73ACE854-F7D7-41FF-9AD4-35F6C3FEAB47}"/>
                            </a:ext>
                          </a:extLst>
                        </p:cNvPr>
                        <p:cNvSpPr/>
                        <p:nvPr/>
                      </p:nvSpPr>
                      <p:spPr>
                        <a:xfrm>
                          <a:off x="4882205" y="4654487"/>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9" name="Freeform: Shape 3638">
                          <a:extLst>
                            <a:ext uri="{FF2B5EF4-FFF2-40B4-BE49-F238E27FC236}">
                              <a16:creationId xmlns:a16="http://schemas.microsoft.com/office/drawing/2014/main" id="{F120BCD7-FB0B-4078-9843-CAFB31D604CB}"/>
                            </a:ext>
                          </a:extLst>
                        </p:cNvPr>
                        <p:cNvSpPr/>
                        <p:nvPr/>
                      </p:nvSpPr>
                      <p:spPr>
                        <a:xfrm>
                          <a:off x="4882205" y="4654487"/>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0" name="Freeform: Shape 3639">
                          <a:extLst>
                            <a:ext uri="{FF2B5EF4-FFF2-40B4-BE49-F238E27FC236}">
                              <a16:creationId xmlns:a16="http://schemas.microsoft.com/office/drawing/2014/main" id="{5434EC4E-05F2-483C-8D96-754E96578FF7}"/>
                            </a:ext>
                          </a:extLst>
                        </p:cNvPr>
                        <p:cNvSpPr/>
                        <p:nvPr/>
                      </p:nvSpPr>
                      <p:spPr>
                        <a:xfrm>
                          <a:off x="4882533" y="4653105"/>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7" y="3171"/>
                                <a:pt x="10267" y="2544"/>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41" name="Graphic 4">
                        <a:extLst>
                          <a:ext uri="{FF2B5EF4-FFF2-40B4-BE49-F238E27FC236}">
                            <a16:creationId xmlns:a16="http://schemas.microsoft.com/office/drawing/2014/main" id="{84FB7ED1-A2DF-40A1-A747-5F7CF3F14040}"/>
                          </a:ext>
                        </a:extLst>
                      </p:cNvPr>
                      <p:cNvGrpSpPr/>
                      <p:nvPr/>
                    </p:nvGrpSpPr>
                    <p:grpSpPr>
                      <a:xfrm>
                        <a:off x="4888484" y="4656747"/>
                        <a:ext cx="10514" cy="7347"/>
                        <a:chOff x="4888484" y="4656747"/>
                        <a:chExt cx="10514" cy="7347"/>
                      </a:xfrm>
                      <a:solidFill>
                        <a:schemeClr val="accent1"/>
                      </a:solidFill>
                    </p:grpSpPr>
                    <p:sp>
                      <p:nvSpPr>
                        <p:cNvPr id="3642" name="Freeform: Shape 3641">
                          <a:extLst>
                            <a:ext uri="{FF2B5EF4-FFF2-40B4-BE49-F238E27FC236}">
                              <a16:creationId xmlns:a16="http://schemas.microsoft.com/office/drawing/2014/main" id="{D32373F6-C764-4606-95F5-F9EFA5E6B8D5}"/>
                            </a:ext>
                          </a:extLst>
                        </p:cNvPr>
                        <p:cNvSpPr/>
                        <p:nvPr/>
                      </p:nvSpPr>
                      <p:spPr>
                        <a:xfrm>
                          <a:off x="4888484" y="46581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3"/>
                                <a:pt x="548" y="3674"/>
                              </a:cubicBezTo>
                              <a:lnTo>
                                <a:pt x="4064" y="5683"/>
                              </a:lnTo>
                              <a:cubicBezTo>
                                <a:pt x="4692" y="6060"/>
                                <a:pt x="5822" y="6060"/>
                                <a:pt x="6451" y="5683"/>
                              </a:cubicBezTo>
                              <a:lnTo>
                                <a:pt x="9967" y="3674"/>
                              </a:lnTo>
                              <a:cubicBezTo>
                                <a:pt x="10470" y="3423"/>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3" name="Freeform: Shape 3642">
                          <a:extLst>
                            <a:ext uri="{FF2B5EF4-FFF2-40B4-BE49-F238E27FC236}">
                              <a16:creationId xmlns:a16="http://schemas.microsoft.com/office/drawing/2014/main" id="{93A7C54E-E8D8-4A40-88FF-9DECC569D02B}"/>
                            </a:ext>
                          </a:extLst>
                        </p:cNvPr>
                        <p:cNvSpPr/>
                        <p:nvPr/>
                      </p:nvSpPr>
                      <p:spPr>
                        <a:xfrm>
                          <a:off x="4888484" y="46581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3"/>
                                <a:pt x="548" y="3674"/>
                              </a:cubicBezTo>
                              <a:lnTo>
                                <a:pt x="4064" y="5683"/>
                              </a:lnTo>
                              <a:cubicBezTo>
                                <a:pt x="4692" y="6060"/>
                                <a:pt x="5822" y="6060"/>
                                <a:pt x="6451" y="5683"/>
                              </a:cubicBezTo>
                              <a:lnTo>
                                <a:pt x="9967" y="3674"/>
                              </a:lnTo>
                              <a:cubicBezTo>
                                <a:pt x="10470" y="3423"/>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4" name="Freeform: Shape 3643">
                          <a:extLst>
                            <a:ext uri="{FF2B5EF4-FFF2-40B4-BE49-F238E27FC236}">
                              <a16:creationId xmlns:a16="http://schemas.microsoft.com/office/drawing/2014/main" id="{28AB5A03-C408-4E15-9B94-8FA7D72F43B4}"/>
                            </a:ext>
                          </a:extLst>
                        </p:cNvPr>
                        <p:cNvSpPr/>
                        <p:nvPr/>
                      </p:nvSpPr>
                      <p:spPr>
                        <a:xfrm>
                          <a:off x="4888687" y="4656747"/>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45" name="Graphic 4">
                        <a:extLst>
                          <a:ext uri="{FF2B5EF4-FFF2-40B4-BE49-F238E27FC236}">
                            <a16:creationId xmlns:a16="http://schemas.microsoft.com/office/drawing/2014/main" id="{84FB7ED1-A2DF-40A1-A747-5F7CF3F14040}"/>
                          </a:ext>
                        </a:extLst>
                      </p:cNvPr>
                      <p:cNvGrpSpPr/>
                      <p:nvPr/>
                    </p:nvGrpSpPr>
                    <p:grpSpPr>
                      <a:xfrm>
                        <a:off x="4894890" y="4660390"/>
                        <a:ext cx="10514" cy="7347"/>
                        <a:chOff x="4894890" y="4660390"/>
                        <a:chExt cx="10514" cy="7347"/>
                      </a:xfrm>
                      <a:solidFill>
                        <a:schemeClr val="accent1"/>
                      </a:solidFill>
                    </p:grpSpPr>
                    <p:sp>
                      <p:nvSpPr>
                        <p:cNvPr id="3646" name="Freeform: Shape 3645">
                          <a:extLst>
                            <a:ext uri="{FF2B5EF4-FFF2-40B4-BE49-F238E27FC236}">
                              <a16:creationId xmlns:a16="http://schemas.microsoft.com/office/drawing/2014/main" id="{B51568C6-8C23-448F-BB8B-213048964006}"/>
                            </a:ext>
                          </a:extLst>
                        </p:cNvPr>
                        <p:cNvSpPr/>
                        <p:nvPr/>
                      </p:nvSpPr>
                      <p:spPr>
                        <a:xfrm>
                          <a:off x="4894890" y="4661771"/>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7" name="Freeform: Shape 3646">
                          <a:extLst>
                            <a:ext uri="{FF2B5EF4-FFF2-40B4-BE49-F238E27FC236}">
                              <a16:creationId xmlns:a16="http://schemas.microsoft.com/office/drawing/2014/main" id="{09BAD814-0754-469B-9C7F-435245337397}"/>
                            </a:ext>
                          </a:extLst>
                        </p:cNvPr>
                        <p:cNvSpPr/>
                        <p:nvPr/>
                      </p:nvSpPr>
                      <p:spPr>
                        <a:xfrm>
                          <a:off x="4894890" y="4661771"/>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8" name="Freeform: Shape 3647">
                          <a:extLst>
                            <a:ext uri="{FF2B5EF4-FFF2-40B4-BE49-F238E27FC236}">
                              <a16:creationId xmlns:a16="http://schemas.microsoft.com/office/drawing/2014/main" id="{BFCD19E1-E090-4289-977F-20B81AF72D4A}"/>
                            </a:ext>
                          </a:extLst>
                        </p:cNvPr>
                        <p:cNvSpPr/>
                        <p:nvPr/>
                      </p:nvSpPr>
                      <p:spPr>
                        <a:xfrm>
                          <a:off x="4895092" y="4660390"/>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49" name="Graphic 4">
                        <a:extLst>
                          <a:ext uri="{FF2B5EF4-FFF2-40B4-BE49-F238E27FC236}">
                            <a16:creationId xmlns:a16="http://schemas.microsoft.com/office/drawing/2014/main" id="{84FB7ED1-A2DF-40A1-A747-5F7CF3F14040}"/>
                          </a:ext>
                        </a:extLst>
                      </p:cNvPr>
                      <p:cNvGrpSpPr/>
                      <p:nvPr/>
                    </p:nvGrpSpPr>
                    <p:grpSpPr>
                      <a:xfrm>
                        <a:off x="4901295" y="4664032"/>
                        <a:ext cx="10469" cy="7347"/>
                        <a:chOff x="4901295" y="4664032"/>
                        <a:chExt cx="10469" cy="7347"/>
                      </a:xfrm>
                      <a:solidFill>
                        <a:schemeClr val="accent1"/>
                      </a:solidFill>
                    </p:grpSpPr>
                    <p:sp>
                      <p:nvSpPr>
                        <p:cNvPr id="3650" name="Freeform: Shape 3649">
                          <a:extLst>
                            <a:ext uri="{FF2B5EF4-FFF2-40B4-BE49-F238E27FC236}">
                              <a16:creationId xmlns:a16="http://schemas.microsoft.com/office/drawing/2014/main" id="{18FBDDCE-AB25-4138-944B-4437786DB4FB}"/>
                            </a:ext>
                          </a:extLst>
                        </p:cNvPr>
                        <p:cNvSpPr/>
                        <p:nvPr/>
                      </p:nvSpPr>
                      <p:spPr>
                        <a:xfrm>
                          <a:off x="4901295" y="466541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1" name="Freeform: Shape 3650">
                          <a:extLst>
                            <a:ext uri="{FF2B5EF4-FFF2-40B4-BE49-F238E27FC236}">
                              <a16:creationId xmlns:a16="http://schemas.microsoft.com/office/drawing/2014/main" id="{ABBCDAAA-F2E2-4D62-830C-A73432DB432C}"/>
                            </a:ext>
                          </a:extLst>
                        </p:cNvPr>
                        <p:cNvSpPr/>
                        <p:nvPr/>
                      </p:nvSpPr>
                      <p:spPr>
                        <a:xfrm>
                          <a:off x="4901295" y="466541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2" name="Freeform: Shape 3651">
                          <a:extLst>
                            <a:ext uri="{FF2B5EF4-FFF2-40B4-BE49-F238E27FC236}">
                              <a16:creationId xmlns:a16="http://schemas.microsoft.com/office/drawing/2014/main" id="{E435110A-1083-40CB-9E64-DDAA57F27DA7}"/>
                            </a:ext>
                          </a:extLst>
                        </p:cNvPr>
                        <p:cNvSpPr/>
                        <p:nvPr/>
                      </p:nvSpPr>
                      <p:spPr>
                        <a:xfrm>
                          <a:off x="4901497" y="4664032"/>
                          <a:ext cx="10110" cy="5840"/>
                        </a:xfrm>
                        <a:custGeom>
                          <a:avLst/>
                          <a:gdLst>
                            <a:gd name="connsiteX0" fmla="*/ 3862 w 10110"/>
                            <a:gd name="connsiteY0" fmla="*/ 283 h 5840"/>
                            <a:gd name="connsiteX1" fmla="*/ 471 w 10110"/>
                            <a:gd name="connsiteY1" fmla="*/ 2167 h 5840"/>
                            <a:gd name="connsiteX2" fmla="*/ 471 w 10110"/>
                            <a:gd name="connsiteY2" fmla="*/ 3548 h 5840"/>
                            <a:gd name="connsiteX3" fmla="*/ 3862 w 10110"/>
                            <a:gd name="connsiteY3" fmla="*/ 5558 h 5840"/>
                            <a:gd name="connsiteX4" fmla="*/ 6248 w 10110"/>
                            <a:gd name="connsiteY4" fmla="*/ 5558 h 5840"/>
                            <a:gd name="connsiteX5" fmla="*/ 9639 w 10110"/>
                            <a:gd name="connsiteY5" fmla="*/ 3548 h 5840"/>
                            <a:gd name="connsiteX6" fmla="*/ 9639 w 10110"/>
                            <a:gd name="connsiteY6" fmla="*/ 2167 h 5840"/>
                            <a:gd name="connsiteX7" fmla="*/ 6248 w 10110"/>
                            <a:gd name="connsiteY7" fmla="*/ 283 h 5840"/>
                            <a:gd name="connsiteX8" fmla="*/ 3862 w 10110"/>
                            <a:gd name="connsiteY8" fmla="*/ 283 h 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40">
                              <a:moveTo>
                                <a:pt x="3862" y="283"/>
                              </a:moveTo>
                              <a:lnTo>
                                <a:pt x="471" y="2167"/>
                              </a:lnTo>
                              <a:cubicBezTo>
                                <a:pt x="-157" y="2544"/>
                                <a:pt x="-157" y="3171"/>
                                <a:pt x="471" y="3548"/>
                              </a:cubicBezTo>
                              <a:lnTo>
                                <a:pt x="3862" y="5558"/>
                              </a:lnTo>
                              <a:cubicBezTo>
                                <a:pt x="4490" y="5934"/>
                                <a:pt x="5495" y="5934"/>
                                <a:pt x="6248" y="5558"/>
                              </a:cubicBezTo>
                              <a:lnTo>
                                <a:pt x="9639" y="3548"/>
                              </a:lnTo>
                              <a:cubicBezTo>
                                <a:pt x="10267" y="3171"/>
                                <a:pt x="10267"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53" name="Graphic 4">
                        <a:extLst>
                          <a:ext uri="{FF2B5EF4-FFF2-40B4-BE49-F238E27FC236}">
                            <a16:creationId xmlns:a16="http://schemas.microsoft.com/office/drawing/2014/main" id="{84FB7ED1-A2DF-40A1-A747-5F7CF3F14040}"/>
                          </a:ext>
                        </a:extLst>
                      </p:cNvPr>
                      <p:cNvGrpSpPr/>
                      <p:nvPr/>
                    </p:nvGrpSpPr>
                    <p:grpSpPr>
                      <a:xfrm>
                        <a:off x="4907575" y="4667800"/>
                        <a:ext cx="10514" cy="7347"/>
                        <a:chOff x="4907575" y="4667800"/>
                        <a:chExt cx="10514" cy="7347"/>
                      </a:xfrm>
                      <a:solidFill>
                        <a:schemeClr val="accent1"/>
                      </a:solidFill>
                    </p:grpSpPr>
                    <p:sp>
                      <p:nvSpPr>
                        <p:cNvPr id="3654" name="Freeform: Shape 3653">
                          <a:extLst>
                            <a:ext uri="{FF2B5EF4-FFF2-40B4-BE49-F238E27FC236}">
                              <a16:creationId xmlns:a16="http://schemas.microsoft.com/office/drawing/2014/main" id="{6366B137-716A-4553-B448-AFB910E9E0B1}"/>
                            </a:ext>
                          </a:extLst>
                        </p:cNvPr>
                        <p:cNvSpPr/>
                        <p:nvPr/>
                      </p:nvSpPr>
                      <p:spPr>
                        <a:xfrm>
                          <a:off x="4907575" y="4669181"/>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5" name="Freeform: Shape 3654">
                          <a:extLst>
                            <a:ext uri="{FF2B5EF4-FFF2-40B4-BE49-F238E27FC236}">
                              <a16:creationId xmlns:a16="http://schemas.microsoft.com/office/drawing/2014/main" id="{E69023BF-38A7-48F0-8D94-62E236E608C7}"/>
                            </a:ext>
                          </a:extLst>
                        </p:cNvPr>
                        <p:cNvSpPr/>
                        <p:nvPr/>
                      </p:nvSpPr>
                      <p:spPr>
                        <a:xfrm>
                          <a:off x="4907575" y="4669181"/>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6" name="Freeform: Shape 3655">
                          <a:extLst>
                            <a:ext uri="{FF2B5EF4-FFF2-40B4-BE49-F238E27FC236}">
                              <a16:creationId xmlns:a16="http://schemas.microsoft.com/office/drawing/2014/main" id="{A4FA803B-C197-4F59-AC55-9F50143E749A}"/>
                            </a:ext>
                          </a:extLst>
                        </p:cNvPr>
                        <p:cNvSpPr/>
                        <p:nvPr/>
                      </p:nvSpPr>
                      <p:spPr>
                        <a:xfrm>
                          <a:off x="4907903" y="466780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57" name="Graphic 4">
                        <a:extLst>
                          <a:ext uri="{FF2B5EF4-FFF2-40B4-BE49-F238E27FC236}">
                            <a16:creationId xmlns:a16="http://schemas.microsoft.com/office/drawing/2014/main" id="{84FB7ED1-A2DF-40A1-A747-5F7CF3F14040}"/>
                          </a:ext>
                        </a:extLst>
                      </p:cNvPr>
                      <p:cNvGrpSpPr/>
                      <p:nvPr/>
                    </p:nvGrpSpPr>
                    <p:grpSpPr>
                      <a:xfrm>
                        <a:off x="4913980" y="4671442"/>
                        <a:ext cx="10514" cy="7346"/>
                        <a:chOff x="4913980" y="4671442"/>
                        <a:chExt cx="10514" cy="7346"/>
                      </a:xfrm>
                      <a:solidFill>
                        <a:schemeClr val="accent1"/>
                      </a:solidFill>
                    </p:grpSpPr>
                    <p:sp>
                      <p:nvSpPr>
                        <p:cNvPr id="3658" name="Freeform: Shape 3657">
                          <a:extLst>
                            <a:ext uri="{FF2B5EF4-FFF2-40B4-BE49-F238E27FC236}">
                              <a16:creationId xmlns:a16="http://schemas.microsoft.com/office/drawing/2014/main" id="{E12B77ED-EEA1-4E7D-B458-94627585CFBC}"/>
                            </a:ext>
                          </a:extLst>
                        </p:cNvPr>
                        <p:cNvSpPr/>
                        <p:nvPr/>
                      </p:nvSpPr>
                      <p:spPr>
                        <a:xfrm>
                          <a:off x="4913980" y="4672824"/>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9" name="Freeform: Shape 3658">
                          <a:extLst>
                            <a:ext uri="{FF2B5EF4-FFF2-40B4-BE49-F238E27FC236}">
                              <a16:creationId xmlns:a16="http://schemas.microsoft.com/office/drawing/2014/main" id="{25BD77B0-DB29-40A4-8681-B2F7B40C5A65}"/>
                            </a:ext>
                          </a:extLst>
                        </p:cNvPr>
                        <p:cNvSpPr/>
                        <p:nvPr/>
                      </p:nvSpPr>
                      <p:spPr>
                        <a:xfrm>
                          <a:off x="4913980" y="4672824"/>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0" name="Freeform: Shape 3659">
                          <a:extLst>
                            <a:ext uri="{FF2B5EF4-FFF2-40B4-BE49-F238E27FC236}">
                              <a16:creationId xmlns:a16="http://schemas.microsoft.com/office/drawing/2014/main" id="{BAA8BC3D-15B4-4B86-9F73-78889C084DCA}"/>
                            </a:ext>
                          </a:extLst>
                        </p:cNvPr>
                        <p:cNvSpPr/>
                        <p:nvPr/>
                      </p:nvSpPr>
                      <p:spPr>
                        <a:xfrm>
                          <a:off x="4914182" y="4671442"/>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8" y="3297"/>
                                <a:pt x="10268" y="2669"/>
                                <a:pt x="9639" y="2292"/>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61" name="Graphic 4">
                        <a:extLst>
                          <a:ext uri="{FF2B5EF4-FFF2-40B4-BE49-F238E27FC236}">
                            <a16:creationId xmlns:a16="http://schemas.microsoft.com/office/drawing/2014/main" id="{84FB7ED1-A2DF-40A1-A747-5F7CF3F14040}"/>
                          </a:ext>
                        </a:extLst>
                      </p:cNvPr>
                      <p:cNvGrpSpPr/>
                      <p:nvPr/>
                    </p:nvGrpSpPr>
                    <p:grpSpPr>
                      <a:xfrm>
                        <a:off x="4920385" y="4675084"/>
                        <a:ext cx="10469" cy="7347"/>
                        <a:chOff x="4920385" y="4675084"/>
                        <a:chExt cx="10469" cy="7347"/>
                      </a:xfrm>
                      <a:solidFill>
                        <a:schemeClr val="accent1"/>
                      </a:solidFill>
                    </p:grpSpPr>
                    <p:sp>
                      <p:nvSpPr>
                        <p:cNvPr id="3662" name="Freeform: Shape 3661">
                          <a:extLst>
                            <a:ext uri="{FF2B5EF4-FFF2-40B4-BE49-F238E27FC236}">
                              <a16:creationId xmlns:a16="http://schemas.microsoft.com/office/drawing/2014/main" id="{394D0E76-0023-476B-8771-D74AAC20B1E9}"/>
                            </a:ext>
                          </a:extLst>
                        </p:cNvPr>
                        <p:cNvSpPr/>
                        <p:nvPr/>
                      </p:nvSpPr>
                      <p:spPr>
                        <a:xfrm>
                          <a:off x="4920385" y="4676466"/>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470"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3" name="Freeform: Shape 3662">
                          <a:extLst>
                            <a:ext uri="{FF2B5EF4-FFF2-40B4-BE49-F238E27FC236}">
                              <a16:creationId xmlns:a16="http://schemas.microsoft.com/office/drawing/2014/main" id="{871ECBFB-2596-464D-A2F0-14E6496994EB}"/>
                            </a:ext>
                          </a:extLst>
                        </p:cNvPr>
                        <p:cNvSpPr/>
                        <p:nvPr/>
                      </p:nvSpPr>
                      <p:spPr>
                        <a:xfrm>
                          <a:off x="4920385" y="4676466"/>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470"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4" name="Freeform: Shape 3663">
                          <a:extLst>
                            <a:ext uri="{FF2B5EF4-FFF2-40B4-BE49-F238E27FC236}">
                              <a16:creationId xmlns:a16="http://schemas.microsoft.com/office/drawing/2014/main" id="{A31CB05A-C64B-4D9F-B6FE-4325B330D93B}"/>
                            </a:ext>
                          </a:extLst>
                        </p:cNvPr>
                        <p:cNvSpPr/>
                        <p:nvPr/>
                      </p:nvSpPr>
                      <p:spPr>
                        <a:xfrm>
                          <a:off x="4920588" y="4675084"/>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7" y="3171"/>
                                <a:pt x="10267" y="2544"/>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65" name="Graphic 4">
                        <a:extLst>
                          <a:ext uri="{FF2B5EF4-FFF2-40B4-BE49-F238E27FC236}">
                            <a16:creationId xmlns:a16="http://schemas.microsoft.com/office/drawing/2014/main" id="{84FB7ED1-A2DF-40A1-A747-5F7CF3F14040}"/>
                          </a:ext>
                        </a:extLst>
                      </p:cNvPr>
                      <p:cNvGrpSpPr/>
                      <p:nvPr/>
                    </p:nvGrpSpPr>
                    <p:grpSpPr>
                      <a:xfrm>
                        <a:off x="4926665" y="4678727"/>
                        <a:ext cx="10514" cy="7347"/>
                        <a:chOff x="4926665" y="4678727"/>
                        <a:chExt cx="10514" cy="7347"/>
                      </a:xfrm>
                      <a:solidFill>
                        <a:schemeClr val="accent1"/>
                      </a:solidFill>
                    </p:grpSpPr>
                    <p:sp>
                      <p:nvSpPr>
                        <p:cNvPr id="3666" name="Freeform: Shape 3665">
                          <a:extLst>
                            <a:ext uri="{FF2B5EF4-FFF2-40B4-BE49-F238E27FC236}">
                              <a16:creationId xmlns:a16="http://schemas.microsoft.com/office/drawing/2014/main" id="{EFB402C6-8894-4410-958A-DD69824A9624}"/>
                            </a:ext>
                          </a:extLst>
                        </p:cNvPr>
                        <p:cNvSpPr/>
                        <p:nvPr/>
                      </p:nvSpPr>
                      <p:spPr>
                        <a:xfrm>
                          <a:off x="4926665" y="4680108"/>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3"/>
                                <a:pt x="548" y="3674"/>
                              </a:cubicBezTo>
                              <a:lnTo>
                                <a:pt x="4064" y="5683"/>
                              </a:lnTo>
                              <a:cubicBezTo>
                                <a:pt x="4692" y="6060"/>
                                <a:pt x="5823" y="6060"/>
                                <a:pt x="6451" y="5683"/>
                              </a:cubicBezTo>
                              <a:lnTo>
                                <a:pt x="9967" y="3674"/>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7" name="Freeform: Shape 3666">
                          <a:extLst>
                            <a:ext uri="{FF2B5EF4-FFF2-40B4-BE49-F238E27FC236}">
                              <a16:creationId xmlns:a16="http://schemas.microsoft.com/office/drawing/2014/main" id="{34E42BDB-D124-4DDF-AA70-9386A960CD1E}"/>
                            </a:ext>
                          </a:extLst>
                        </p:cNvPr>
                        <p:cNvSpPr/>
                        <p:nvPr/>
                      </p:nvSpPr>
                      <p:spPr>
                        <a:xfrm>
                          <a:off x="4926665" y="4680108"/>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3"/>
                                <a:pt x="548" y="3674"/>
                              </a:cubicBezTo>
                              <a:lnTo>
                                <a:pt x="4064" y="5683"/>
                              </a:lnTo>
                              <a:cubicBezTo>
                                <a:pt x="4692" y="6060"/>
                                <a:pt x="5823" y="6060"/>
                                <a:pt x="6451" y="5683"/>
                              </a:cubicBezTo>
                              <a:lnTo>
                                <a:pt x="9967" y="3674"/>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8" name="Freeform: Shape 3667">
                          <a:extLst>
                            <a:ext uri="{FF2B5EF4-FFF2-40B4-BE49-F238E27FC236}">
                              <a16:creationId xmlns:a16="http://schemas.microsoft.com/office/drawing/2014/main" id="{52A3716C-27BB-413A-8E75-B4FC840750A5}"/>
                            </a:ext>
                          </a:extLst>
                        </p:cNvPr>
                        <p:cNvSpPr/>
                        <p:nvPr/>
                      </p:nvSpPr>
                      <p:spPr>
                        <a:xfrm>
                          <a:off x="4926993" y="467872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69" name="Graphic 4">
                        <a:extLst>
                          <a:ext uri="{FF2B5EF4-FFF2-40B4-BE49-F238E27FC236}">
                            <a16:creationId xmlns:a16="http://schemas.microsoft.com/office/drawing/2014/main" id="{84FB7ED1-A2DF-40A1-A747-5F7CF3F14040}"/>
                          </a:ext>
                        </a:extLst>
                      </p:cNvPr>
                      <p:cNvGrpSpPr/>
                      <p:nvPr/>
                    </p:nvGrpSpPr>
                    <p:grpSpPr>
                      <a:xfrm>
                        <a:off x="4932945" y="4682369"/>
                        <a:ext cx="17169" cy="11115"/>
                        <a:chOff x="4932945" y="4682369"/>
                        <a:chExt cx="17169" cy="11115"/>
                      </a:xfrm>
                      <a:solidFill>
                        <a:schemeClr val="accent1"/>
                      </a:solidFill>
                    </p:grpSpPr>
                    <p:sp>
                      <p:nvSpPr>
                        <p:cNvPr id="3670" name="Freeform: Shape 3669">
                          <a:extLst>
                            <a:ext uri="{FF2B5EF4-FFF2-40B4-BE49-F238E27FC236}">
                              <a16:creationId xmlns:a16="http://schemas.microsoft.com/office/drawing/2014/main" id="{80EF86F7-61F5-41ED-93F2-9776784F7C7C}"/>
                            </a:ext>
                          </a:extLst>
                        </p:cNvPr>
                        <p:cNvSpPr/>
                        <p:nvPr/>
                      </p:nvSpPr>
                      <p:spPr>
                        <a:xfrm>
                          <a:off x="4932945" y="4683750"/>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1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8 w 17169"/>
                            <a:gd name="connsiteY8" fmla="*/ 3674 h 9733"/>
                            <a:gd name="connsiteX9" fmla="*/ 10595 w 17169"/>
                            <a:gd name="connsiteY9" fmla="*/ 9451 h 9733"/>
                            <a:gd name="connsiteX10" fmla="*/ 12982 w 17169"/>
                            <a:gd name="connsiteY10" fmla="*/ 9451 h 9733"/>
                            <a:gd name="connsiteX11" fmla="*/ 16498 w 17169"/>
                            <a:gd name="connsiteY11" fmla="*/ 7442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1" y="283"/>
                              </a:lnTo>
                              <a:cubicBezTo>
                                <a:pt x="5823" y="-94"/>
                                <a:pt x="4692" y="-94"/>
                                <a:pt x="4064" y="283"/>
                              </a:cubicBezTo>
                              <a:lnTo>
                                <a:pt x="1929" y="1539"/>
                              </a:lnTo>
                              <a:lnTo>
                                <a:pt x="296" y="1539"/>
                              </a:lnTo>
                              <a:lnTo>
                                <a:pt x="45" y="2795"/>
                              </a:lnTo>
                              <a:cubicBezTo>
                                <a:pt x="-80" y="3171"/>
                                <a:pt x="45" y="3422"/>
                                <a:pt x="548" y="3674"/>
                              </a:cubicBezTo>
                              <a:lnTo>
                                <a:pt x="10595" y="9451"/>
                              </a:lnTo>
                              <a:cubicBezTo>
                                <a:pt x="11223" y="9828"/>
                                <a:pt x="12354" y="9828"/>
                                <a:pt x="12982" y="9451"/>
                              </a:cubicBezTo>
                              <a:lnTo>
                                <a:pt x="16498" y="7442"/>
                              </a:lnTo>
                              <a:cubicBezTo>
                                <a:pt x="17126" y="7191"/>
                                <a:pt x="17252" y="6939"/>
                                <a:pt x="17126" y="656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71" name="Freeform: Shape 3670">
                          <a:extLst>
                            <a:ext uri="{FF2B5EF4-FFF2-40B4-BE49-F238E27FC236}">
                              <a16:creationId xmlns:a16="http://schemas.microsoft.com/office/drawing/2014/main" id="{49FA0B8C-6A8D-4458-9B06-4AC949C4D711}"/>
                            </a:ext>
                          </a:extLst>
                        </p:cNvPr>
                        <p:cNvSpPr/>
                        <p:nvPr/>
                      </p:nvSpPr>
                      <p:spPr>
                        <a:xfrm>
                          <a:off x="4932945" y="4683750"/>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1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8 w 17169"/>
                            <a:gd name="connsiteY8" fmla="*/ 3674 h 9733"/>
                            <a:gd name="connsiteX9" fmla="*/ 10595 w 17169"/>
                            <a:gd name="connsiteY9" fmla="*/ 9451 h 9733"/>
                            <a:gd name="connsiteX10" fmla="*/ 12982 w 17169"/>
                            <a:gd name="connsiteY10" fmla="*/ 9451 h 9733"/>
                            <a:gd name="connsiteX11" fmla="*/ 16498 w 17169"/>
                            <a:gd name="connsiteY11" fmla="*/ 7442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1" y="283"/>
                              </a:lnTo>
                              <a:cubicBezTo>
                                <a:pt x="5823" y="-94"/>
                                <a:pt x="4692" y="-94"/>
                                <a:pt x="4064" y="283"/>
                              </a:cubicBezTo>
                              <a:lnTo>
                                <a:pt x="1929" y="1539"/>
                              </a:lnTo>
                              <a:lnTo>
                                <a:pt x="296" y="1539"/>
                              </a:lnTo>
                              <a:lnTo>
                                <a:pt x="45" y="2795"/>
                              </a:lnTo>
                              <a:cubicBezTo>
                                <a:pt x="-80" y="3171"/>
                                <a:pt x="45" y="3422"/>
                                <a:pt x="548" y="3674"/>
                              </a:cubicBezTo>
                              <a:lnTo>
                                <a:pt x="10595" y="9451"/>
                              </a:lnTo>
                              <a:cubicBezTo>
                                <a:pt x="11223" y="9828"/>
                                <a:pt x="12354" y="9828"/>
                                <a:pt x="12982" y="9451"/>
                              </a:cubicBezTo>
                              <a:lnTo>
                                <a:pt x="16498" y="7442"/>
                              </a:lnTo>
                              <a:cubicBezTo>
                                <a:pt x="17126" y="7191"/>
                                <a:pt x="17252" y="6939"/>
                                <a:pt x="17126" y="6562"/>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72" name="Freeform: Shape 3671">
                          <a:extLst>
                            <a:ext uri="{FF2B5EF4-FFF2-40B4-BE49-F238E27FC236}">
                              <a16:creationId xmlns:a16="http://schemas.microsoft.com/office/drawing/2014/main" id="{C5A62AA7-880A-425C-91D4-0FACD71488DD}"/>
                            </a:ext>
                          </a:extLst>
                        </p:cNvPr>
                        <p:cNvSpPr/>
                        <p:nvPr/>
                      </p:nvSpPr>
                      <p:spPr>
                        <a:xfrm>
                          <a:off x="4933273" y="4682369"/>
                          <a:ext cx="16641" cy="9482"/>
                        </a:xfrm>
                        <a:custGeom>
                          <a:avLst/>
                          <a:gdLst>
                            <a:gd name="connsiteX0" fmla="*/ 3862 w 16641"/>
                            <a:gd name="connsiteY0" fmla="*/ 283 h 9482"/>
                            <a:gd name="connsiteX1" fmla="*/ 471 w 16641"/>
                            <a:gd name="connsiteY1" fmla="*/ 2166 h 9482"/>
                            <a:gd name="connsiteX2" fmla="*/ 471 w 16641"/>
                            <a:gd name="connsiteY2" fmla="*/ 3548 h 9482"/>
                            <a:gd name="connsiteX3" fmla="*/ 10393 w 16641"/>
                            <a:gd name="connsiteY3" fmla="*/ 9200 h 9482"/>
                            <a:gd name="connsiteX4" fmla="*/ 12779 w 16641"/>
                            <a:gd name="connsiteY4" fmla="*/ 9200 h 9482"/>
                            <a:gd name="connsiteX5" fmla="*/ 16170 w 16641"/>
                            <a:gd name="connsiteY5" fmla="*/ 7316 h 9482"/>
                            <a:gd name="connsiteX6" fmla="*/ 16170 w 16641"/>
                            <a:gd name="connsiteY6" fmla="*/ 5934 h 9482"/>
                            <a:gd name="connsiteX7" fmla="*/ 6248 w 16641"/>
                            <a:gd name="connsiteY7" fmla="*/ 283 h 9482"/>
                            <a:gd name="connsiteX8" fmla="*/ 3862 w 16641"/>
                            <a:gd name="connsiteY8" fmla="*/ 283 h 9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41" h="9482">
                              <a:moveTo>
                                <a:pt x="3862" y="283"/>
                              </a:moveTo>
                              <a:lnTo>
                                <a:pt x="471" y="2166"/>
                              </a:lnTo>
                              <a:cubicBezTo>
                                <a:pt x="-157" y="2543"/>
                                <a:pt x="-157" y="3171"/>
                                <a:pt x="471" y="3548"/>
                              </a:cubicBezTo>
                              <a:lnTo>
                                <a:pt x="10393" y="9200"/>
                              </a:lnTo>
                              <a:cubicBezTo>
                                <a:pt x="11021" y="9576"/>
                                <a:pt x="12026" y="9576"/>
                                <a:pt x="12779" y="9200"/>
                              </a:cubicBezTo>
                              <a:lnTo>
                                <a:pt x="16170" y="7316"/>
                              </a:lnTo>
                              <a:cubicBezTo>
                                <a:pt x="16798" y="6939"/>
                                <a:pt x="16798" y="6311"/>
                                <a:pt x="16170" y="5934"/>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673" name="Graphic 4">
                      <a:extLst>
                        <a:ext uri="{FF2B5EF4-FFF2-40B4-BE49-F238E27FC236}">
                          <a16:creationId xmlns:a16="http://schemas.microsoft.com/office/drawing/2014/main" id="{84FB7ED1-A2DF-40A1-A747-5F7CF3F14040}"/>
                        </a:ext>
                      </a:extLst>
                    </p:cNvPr>
                    <p:cNvGrpSpPr/>
                    <p:nvPr/>
                  </p:nvGrpSpPr>
                  <p:grpSpPr>
                    <a:xfrm>
                      <a:off x="4869771" y="4652994"/>
                      <a:ext cx="74429" cy="48025"/>
                      <a:chOff x="4869771" y="4652994"/>
                      <a:chExt cx="74429" cy="48025"/>
                    </a:xfrm>
                    <a:solidFill>
                      <a:schemeClr val="accent1"/>
                    </a:solidFill>
                  </p:grpSpPr>
                  <p:grpSp>
                    <p:nvGrpSpPr>
                      <p:cNvPr id="3674" name="Graphic 4">
                        <a:extLst>
                          <a:ext uri="{FF2B5EF4-FFF2-40B4-BE49-F238E27FC236}">
                            <a16:creationId xmlns:a16="http://schemas.microsoft.com/office/drawing/2014/main" id="{84FB7ED1-A2DF-40A1-A747-5F7CF3F14040}"/>
                          </a:ext>
                        </a:extLst>
                      </p:cNvPr>
                      <p:cNvGrpSpPr/>
                      <p:nvPr/>
                    </p:nvGrpSpPr>
                    <p:grpSpPr>
                      <a:xfrm>
                        <a:off x="4869771" y="4652994"/>
                        <a:ext cx="61744" cy="37224"/>
                        <a:chOff x="4869771" y="4652994"/>
                        <a:chExt cx="61744" cy="37224"/>
                      </a:xfrm>
                      <a:solidFill>
                        <a:schemeClr val="accent1"/>
                      </a:solidFill>
                    </p:grpSpPr>
                    <p:grpSp>
                      <p:nvGrpSpPr>
                        <p:cNvPr id="3675" name="Graphic 4">
                          <a:extLst>
                            <a:ext uri="{FF2B5EF4-FFF2-40B4-BE49-F238E27FC236}">
                              <a16:creationId xmlns:a16="http://schemas.microsoft.com/office/drawing/2014/main" id="{84FB7ED1-A2DF-40A1-A747-5F7CF3F14040}"/>
                            </a:ext>
                          </a:extLst>
                        </p:cNvPr>
                        <p:cNvGrpSpPr/>
                        <p:nvPr/>
                      </p:nvGrpSpPr>
                      <p:grpSpPr>
                        <a:xfrm>
                          <a:off x="4869771" y="4652994"/>
                          <a:ext cx="11097" cy="7709"/>
                          <a:chOff x="4869771" y="4652994"/>
                          <a:chExt cx="11097" cy="7709"/>
                        </a:xfrm>
                        <a:solidFill>
                          <a:schemeClr val="accent1"/>
                        </a:solidFill>
                      </p:grpSpPr>
                      <p:sp>
                        <p:nvSpPr>
                          <p:cNvPr id="3676" name="Freeform: Shape 3675">
                            <a:extLst>
                              <a:ext uri="{FF2B5EF4-FFF2-40B4-BE49-F238E27FC236}">
                                <a16:creationId xmlns:a16="http://schemas.microsoft.com/office/drawing/2014/main" id="{D204E910-A26A-4004-82C8-BBA8FEABEDBF}"/>
                              </a:ext>
                            </a:extLst>
                          </p:cNvPr>
                          <p:cNvSpPr/>
                          <p:nvPr/>
                        </p:nvSpPr>
                        <p:spPr>
                          <a:xfrm>
                            <a:off x="4869771" y="4654488"/>
                            <a:ext cx="11097" cy="6215"/>
                          </a:xfrm>
                          <a:custGeom>
                            <a:avLst/>
                            <a:gdLst>
                              <a:gd name="connsiteX0" fmla="*/ 11098 w 11097"/>
                              <a:gd name="connsiteY0" fmla="*/ 3045 h 6215"/>
                              <a:gd name="connsiteX1" fmla="*/ 10846 w 11097"/>
                              <a:gd name="connsiteY1" fmla="*/ 1789 h 6215"/>
                              <a:gd name="connsiteX2" fmla="*/ 9214 w 11097"/>
                              <a:gd name="connsiteY2" fmla="*/ 1789 h 6215"/>
                              <a:gd name="connsiteX3" fmla="*/ 7079 w 11097"/>
                              <a:gd name="connsiteY3" fmla="*/ 533 h 6215"/>
                              <a:gd name="connsiteX4" fmla="*/ 4064 w 11097"/>
                              <a:gd name="connsiteY4" fmla="*/ 156 h 6215"/>
                              <a:gd name="connsiteX5" fmla="*/ 1929 w 11097"/>
                              <a:gd name="connsiteY5" fmla="*/ 1412 h 6215"/>
                              <a:gd name="connsiteX6" fmla="*/ 296 w 11097"/>
                              <a:gd name="connsiteY6" fmla="*/ 1412 h 6215"/>
                              <a:gd name="connsiteX7" fmla="*/ 45 w 11097"/>
                              <a:gd name="connsiteY7" fmla="*/ 2668 h 6215"/>
                              <a:gd name="connsiteX8" fmla="*/ 548 w 11097"/>
                              <a:gd name="connsiteY8" fmla="*/ 3547 h 6215"/>
                              <a:gd name="connsiteX9" fmla="*/ 4692 w 11097"/>
                              <a:gd name="connsiteY9" fmla="*/ 5933 h 6215"/>
                              <a:gd name="connsiteX10" fmla="*/ 7079 w 11097"/>
                              <a:gd name="connsiteY10" fmla="*/ 5933 h 6215"/>
                              <a:gd name="connsiteX11" fmla="*/ 10595 w 11097"/>
                              <a:gd name="connsiteY11" fmla="*/ 3924 h 6215"/>
                              <a:gd name="connsiteX12" fmla="*/ 11098 w 11097"/>
                              <a:gd name="connsiteY12" fmla="*/ 3045 h 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97" h="6215">
                                <a:moveTo>
                                  <a:pt x="11098" y="3045"/>
                                </a:moveTo>
                                <a:lnTo>
                                  <a:pt x="10846" y="1789"/>
                                </a:lnTo>
                                <a:lnTo>
                                  <a:pt x="9214" y="1789"/>
                                </a:lnTo>
                                <a:lnTo>
                                  <a:pt x="7079" y="533"/>
                                </a:lnTo>
                                <a:cubicBezTo>
                                  <a:pt x="6451" y="156"/>
                                  <a:pt x="4692" y="-221"/>
                                  <a:pt x="4064" y="156"/>
                                </a:cubicBezTo>
                                <a:lnTo>
                                  <a:pt x="1929" y="1412"/>
                                </a:lnTo>
                                <a:lnTo>
                                  <a:pt x="296" y="1412"/>
                                </a:lnTo>
                                <a:lnTo>
                                  <a:pt x="45" y="2668"/>
                                </a:lnTo>
                                <a:cubicBezTo>
                                  <a:pt x="-80" y="3045"/>
                                  <a:pt x="45" y="3296"/>
                                  <a:pt x="548" y="3547"/>
                                </a:cubicBezTo>
                                <a:lnTo>
                                  <a:pt x="4692" y="5933"/>
                                </a:lnTo>
                                <a:cubicBezTo>
                                  <a:pt x="5320" y="6310"/>
                                  <a:pt x="6451" y="6310"/>
                                  <a:pt x="7079" y="5933"/>
                                </a:cubicBezTo>
                                <a:lnTo>
                                  <a:pt x="10595" y="3924"/>
                                </a:lnTo>
                                <a:cubicBezTo>
                                  <a:pt x="10972" y="3798"/>
                                  <a:pt x="11098" y="3422"/>
                                  <a:pt x="11098" y="304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77" name="Freeform: Shape 3676">
                            <a:extLst>
                              <a:ext uri="{FF2B5EF4-FFF2-40B4-BE49-F238E27FC236}">
                                <a16:creationId xmlns:a16="http://schemas.microsoft.com/office/drawing/2014/main" id="{177B23B8-43EE-40BE-A97B-BA1B0BB6DAD0}"/>
                              </a:ext>
                            </a:extLst>
                          </p:cNvPr>
                          <p:cNvSpPr/>
                          <p:nvPr/>
                        </p:nvSpPr>
                        <p:spPr>
                          <a:xfrm>
                            <a:off x="4869771" y="4654361"/>
                            <a:ext cx="11097" cy="6342"/>
                          </a:xfrm>
                          <a:custGeom>
                            <a:avLst/>
                            <a:gdLst>
                              <a:gd name="connsiteX0" fmla="*/ 11098 w 11097"/>
                              <a:gd name="connsiteY0" fmla="*/ 3171 h 6342"/>
                              <a:gd name="connsiteX1" fmla="*/ 10846 w 11097"/>
                              <a:gd name="connsiteY1" fmla="*/ 1915 h 6342"/>
                              <a:gd name="connsiteX2" fmla="*/ 9214 w 11097"/>
                              <a:gd name="connsiteY2" fmla="*/ 1915 h 6342"/>
                              <a:gd name="connsiteX3" fmla="*/ 6451 w 11097"/>
                              <a:gd name="connsiteY3" fmla="*/ 283 h 6342"/>
                              <a:gd name="connsiteX4" fmla="*/ 4064 w 11097"/>
                              <a:gd name="connsiteY4" fmla="*/ 283 h 6342"/>
                              <a:gd name="connsiteX5" fmla="*/ 1929 w 11097"/>
                              <a:gd name="connsiteY5" fmla="*/ 1539 h 6342"/>
                              <a:gd name="connsiteX6" fmla="*/ 296 w 11097"/>
                              <a:gd name="connsiteY6" fmla="*/ 1539 h 6342"/>
                              <a:gd name="connsiteX7" fmla="*/ 45 w 11097"/>
                              <a:gd name="connsiteY7" fmla="*/ 2795 h 6342"/>
                              <a:gd name="connsiteX8" fmla="*/ 548 w 11097"/>
                              <a:gd name="connsiteY8" fmla="*/ 3673 h 6342"/>
                              <a:gd name="connsiteX9" fmla="*/ 4692 w 11097"/>
                              <a:gd name="connsiteY9" fmla="*/ 6060 h 6342"/>
                              <a:gd name="connsiteX10" fmla="*/ 7079 w 11097"/>
                              <a:gd name="connsiteY10" fmla="*/ 6060 h 6342"/>
                              <a:gd name="connsiteX11" fmla="*/ 10595 w 11097"/>
                              <a:gd name="connsiteY11" fmla="*/ 4051 h 6342"/>
                              <a:gd name="connsiteX12" fmla="*/ 11098 w 11097"/>
                              <a:gd name="connsiteY12" fmla="*/ 3171 h 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97" h="6342">
                                <a:moveTo>
                                  <a:pt x="11098" y="3171"/>
                                </a:moveTo>
                                <a:lnTo>
                                  <a:pt x="10846" y="1915"/>
                                </a:lnTo>
                                <a:lnTo>
                                  <a:pt x="9214" y="1915"/>
                                </a:lnTo>
                                <a:lnTo>
                                  <a:pt x="6451" y="283"/>
                                </a:lnTo>
                                <a:cubicBezTo>
                                  <a:pt x="5823" y="-94"/>
                                  <a:pt x="4692" y="-94"/>
                                  <a:pt x="4064" y="283"/>
                                </a:cubicBezTo>
                                <a:lnTo>
                                  <a:pt x="1929" y="1539"/>
                                </a:lnTo>
                                <a:lnTo>
                                  <a:pt x="296" y="1539"/>
                                </a:lnTo>
                                <a:lnTo>
                                  <a:pt x="45" y="2795"/>
                                </a:lnTo>
                                <a:cubicBezTo>
                                  <a:pt x="-80" y="3171"/>
                                  <a:pt x="45" y="3422"/>
                                  <a:pt x="548" y="3673"/>
                                </a:cubicBezTo>
                                <a:lnTo>
                                  <a:pt x="4692" y="6060"/>
                                </a:lnTo>
                                <a:cubicBezTo>
                                  <a:pt x="5320" y="6437"/>
                                  <a:pt x="6451" y="6437"/>
                                  <a:pt x="7079" y="6060"/>
                                </a:cubicBezTo>
                                <a:lnTo>
                                  <a:pt x="10595" y="4051"/>
                                </a:lnTo>
                                <a:cubicBezTo>
                                  <a:pt x="10972" y="3925"/>
                                  <a:pt x="11098" y="3548"/>
                                  <a:pt x="11098" y="317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78" name="Freeform: Shape 3677">
                            <a:extLst>
                              <a:ext uri="{FF2B5EF4-FFF2-40B4-BE49-F238E27FC236}">
                                <a16:creationId xmlns:a16="http://schemas.microsoft.com/office/drawing/2014/main" id="{AEE7051D-7F69-4EB7-8190-AB14FD897C07}"/>
                              </a:ext>
                            </a:extLst>
                          </p:cNvPr>
                          <p:cNvSpPr/>
                          <p:nvPr/>
                        </p:nvSpPr>
                        <p:spPr>
                          <a:xfrm>
                            <a:off x="4869973" y="4652994"/>
                            <a:ext cx="10612" cy="6202"/>
                          </a:xfrm>
                          <a:custGeom>
                            <a:avLst/>
                            <a:gdLst>
                              <a:gd name="connsiteX0" fmla="*/ 3862 w 10612"/>
                              <a:gd name="connsiteY0" fmla="*/ 269 h 6202"/>
                              <a:gd name="connsiteX1" fmla="*/ 471 w 10612"/>
                              <a:gd name="connsiteY1" fmla="*/ 2278 h 6202"/>
                              <a:gd name="connsiteX2" fmla="*/ 471 w 10612"/>
                              <a:gd name="connsiteY2" fmla="*/ 3660 h 6202"/>
                              <a:gd name="connsiteX3" fmla="*/ 4490 w 10612"/>
                              <a:gd name="connsiteY3" fmla="*/ 5920 h 6202"/>
                              <a:gd name="connsiteX4" fmla="*/ 6751 w 10612"/>
                              <a:gd name="connsiteY4" fmla="*/ 5920 h 6202"/>
                              <a:gd name="connsiteX5" fmla="*/ 10142 w 10612"/>
                              <a:gd name="connsiteY5" fmla="*/ 4036 h 6202"/>
                              <a:gd name="connsiteX6" fmla="*/ 10142 w 10612"/>
                              <a:gd name="connsiteY6" fmla="*/ 2655 h 6202"/>
                              <a:gd name="connsiteX7" fmla="*/ 6123 w 10612"/>
                              <a:gd name="connsiteY7" fmla="*/ 394 h 6202"/>
                              <a:gd name="connsiteX8" fmla="*/ 3862 w 10612"/>
                              <a:gd name="connsiteY8" fmla="*/ 269 h 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12" h="6202">
                                <a:moveTo>
                                  <a:pt x="3862" y="269"/>
                                </a:moveTo>
                                <a:lnTo>
                                  <a:pt x="471" y="2278"/>
                                </a:lnTo>
                                <a:cubicBezTo>
                                  <a:pt x="-157" y="2655"/>
                                  <a:pt x="-157" y="3283"/>
                                  <a:pt x="471" y="3660"/>
                                </a:cubicBezTo>
                                <a:lnTo>
                                  <a:pt x="4490" y="5920"/>
                                </a:lnTo>
                                <a:cubicBezTo>
                                  <a:pt x="5118" y="6297"/>
                                  <a:pt x="6123" y="6297"/>
                                  <a:pt x="6751" y="5920"/>
                                </a:cubicBezTo>
                                <a:lnTo>
                                  <a:pt x="10142" y="4036"/>
                                </a:lnTo>
                                <a:cubicBezTo>
                                  <a:pt x="10770" y="3660"/>
                                  <a:pt x="10770" y="3032"/>
                                  <a:pt x="10142" y="2655"/>
                                </a:cubicBezTo>
                                <a:lnTo>
                                  <a:pt x="6123" y="394"/>
                                </a:lnTo>
                                <a:cubicBezTo>
                                  <a:pt x="5495"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79" name="Graphic 4">
                          <a:extLst>
                            <a:ext uri="{FF2B5EF4-FFF2-40B4-BE49-F238E27FC236}">
                              <a16:creationId xmlns:a16="http://schemas.microsoft.com/office/drawing/2014/main" id="{84FB7ED1-A2DF-40A1-A747-5F7CF3F14040}"/>
                            </a:ext>
                          </a:extLst>
                        </p:cNvPr>
                        <p:cNvGrpSpPr/>
                        <p:nvPr/>
                      </p:nvGrpSpPr>
                      <p:grpSpPr>
                        <a:xfrm>
                          <a:off x="4876427" y="4657124"/>
                          <a:ext cx="10514" cy="7347"/>
                          <a:chOff x="4876427" y="4657124"/>
                          <a:chExt cx="10514" cy="7347"/>
                        </a:xfrm>
                        <a:solidFill>
                          <a:schemeClr val="accent1"/>
                        </a:solidFill>
                      </p:grpSpPr>
                      <p:sp>
                        <p:nvSpPr>
                          <p:cNvPr id="3680" name="Freeform: Shape 3679">
                            <a:extLst>
                              <a:ext uri="{FF2B5EF4-FFF2-40B4-BE49-F238E27FC236}">
                                <a16:creationId xmlns:a16="http://schemas.microsoft.com/office/drawing/2014/main" id="{4D775FB4-904C-45FF-A614-5FC21448A3AD}"/>
                              </a:ext>
                            </a:extLst>
                          </p:cNvPr>
                          <p:cNvSpPr/>
                          <p:nvPr/>
                        </p:nvSpPr>
                        <p:spPr>
                          <a:xfrm>
                            <a:off x="4876427" y="4658506"/>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1" name="Freeform: Shape 3680">
                            <a:extLst>
                              <a:ext uri="{FF2B5EF4-FFF2-40B4-BE49-F238E27FC236}">
                                <a16:creationId xmlns:a16="http://schemas.microsoft.com/office/drawing/2014/main" id="{47C5663F-C30D-4773-A419-B48AFEA13695}"/>
                              </a:ext>
                            </a:extLst>
                          </p:cNvPr>
                          <p:cNvSpPr/>
                          <p:nvPr/>
                        </p:nvSpPr>
                        <p:spPr>
                          <a:xfrm>
                            <a:off x="4876427" y="4658506"/>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2" name="Freeform: Shape 3681">
                            <a:extLst>
                              <a:ext uri="{FF2B5EF4-FFF2-40B4-BE49-F238E27FC236}">
                                <a16:creationId xmlns:a16="http://schemas.microsoft.com/office/drawing/2014/main" id="{DCB5CCED-2219-4097-AA42-99C02C2124C5}"/>
                              </a:ext>
                            </a:extLst>
                          </p:cNvPr>
                          <p:cNvSpPr/>
                          <p:nvPr/>
                        </p:nvSpPr>
                        <p:spPr>
                          <a:xfrm>
                            <a:off x="4876630" y="465712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83" name="Graphic 4">
                          <a:extLst>
                            <a:ext uri="{FF2B5EF4-FFF2-40B4-BE49-F238E27FC236}">
                              <a16:creationId xmlns:a16="http://schemas.microsoft.com/office/drawing/2014/main" id="{84FB7ED1-A2DF-40A1-A747-5F7CF3F14040}"/>
                            </a:ext>
                          </a:extLst>
                        </p:cNvPr>
                        <p:cNvGrpSpPr/>
                        <p:nvPr/>
                      </p:nvGrpSpPr>
                      <p:grpSpPr>
                        <a:xfrm>
                          <a:off x="4882833" y="4660767"/>
                          <a:ext cx="10502" cy="7347"/>
                          <a:chOff x="4882833" y="4660767"/>
                          <a:chExt cx="10502" cy="7347"/>
                        </a:xfrm>
                        <a:solidFill>
                          <a:schemeClr val="accent1"/>
                        </a:solidFill>
                      </p:grpSpPr>
                      <p:sp>
                        <p:nvSpPr>
                          <p:cNvPr id="3684" name="Freeform: Shape 3683">
                            <a:extLst>
                              <a:ext uri="{FF2B5EF4-FFF2-40B4-BE49-F238E27FC236}">
                                <a16:creationId xmlns:a16="http://schemas.microsoft.com/office/drawing/2014/main" id="{0E7CEE83-E197-475A-AF77-0F9EF2DE4F0F}"/>
                              </a:ext>
                            </a:extLst>
                          </p:cNvPr>
                          <p:cNvSpPr/>
                          <p:nvPr/>
                        </p:nvSpPr>
                        <p:spPr>
                          <a:xfrm>
                            <a:off x="4882833" y="4662148"/>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0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7 w 10502"/>
                              <a:gd name="connsiteY8" fmla="*/ 3674 h 5966"/>
                              <a:gd name="connsiteX9" fmla="*/ 4064 w 10502"/>
                              <a:gd name="connsiteY9" fmla="*/ 5683 h 5966"/>
                              <a:gd name="connsiteX10" fmla="*/ 6450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5" name="Freeform: Shape 3684">
                            <a:extLst>
                              <a:ext uri="{FF2B5EF4-FFF2-40B4-BE49-F238E27FC236}">
                                <a16:creationId xmlns:a16="http://schemas.microsoft.com/office/drawing/2014/main" id="{4D3BFB95-8095-4D87-9DEA-D90DB18ED6DA}"/>
                              </a:ext>
                            </a:extLst>
                          </p:cNvPr>
                          <p:cNvSpPr/>
                          <p:nvPr/>
                        </p:nvSpPr>
                        <p:spPr>
                          <a:xfrm>
                            <a:off x="4882833" y="4662148"/>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0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7 w 10502"/>
                              <a:gd name="connsiteY8" fmla="*/ 3674 h 5966"/>
                              <a:gd name="connsiteX9" fmla="*/ 4064 w 10502"/>
                              <a:gd name="connsiteY9" fmla="*/ 5683 h 5966"/>
                              <a:gd name="connsiteX10" fmla="*/ 6450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6" name="Freeform: Shape 3685">
                            <a:extLst>
                              <a:ext uri="{FF2B5EF4-FFF2-40B4-BE49-F238E27FC236}">
                                <a16:creationId xmlns:a16="http://schemas.microsoft.com/office/drawing/2014/main" id="{C8076492-7591-4BDA-9F3B-DE1496395291}"/>
                              </a:ext>
                            </a:extLst>
                          </p:cNvPr>
                          <p:cNvSpPr/>
                          <p:nvPr/>
                        </p:nvSpPr>
                        <p:spPr>
                          <a:xfrm>
                            <a:off x="4883035" y="4660767"/>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87" name="Graphic 4">
                          <a:extLst>
                            <a:ext uri="{FF2B5EF4-FFF2-40B4-BE49-F238E27FC236}">
                              <a16:creationId xmlns:a16="http://schemas.microsoft.com/office/drawing/2014/main" id="{84FB7ED1-A2DF-40A1-A747-5F7CF3F14040}"/>
                            </a:ext>
                          </a:extLst>
                        </p:cNvPr>
                        <p:cNvGrpSpPr/>
                        <p:nvPr/>
                      </p:nvGrpSpPr>
                      <p:grpSpPr>
                        <a:xfrm>
                          <a:off x="4889238" y="4664534"/>
                          <a:ext cx="10502" cy="7347"/>
                          <a:chOff x="4889238" y="4664534"/>
                          <a:chExt cx="10502" cy="7347"/>
                        </a:xfrm>
                        <a:solidFill>
                          <a:schemeClr val="accent1"/>
                        </a:solidFill>
                      </p:grpSpPr>
                      <p:sp>
                        <p:nvSpPr>
                          <p:cNvPr id="3688" name="Freeform: Shape 3687">
                            <a:extLst>
                              <a:ext uri="{FF2B5EF4-FFF2-40B4-BE49-F238E27FC236}">
                                <a16:creationId xmlns:a16="http://schemas.microsoft.com/office/drawing/2014/main" id="{4C56CC68-4172-4DE0-A464-E6FC6FE2C19A}"/>
                              </a:ext>
                            </a:extLst>
                          </p:cNvPr>
                          <p:cNvSpPr/>
                          <p:nvPr/>
                        </p:nvSpPr>
                        <p:spPr>
                          <a:xfrm>
                            <a:off x="4889238" y="4665916"/>
                            <a:ext cx="10502" cy="5965"/>
                          </a:xfrm>
                          <a:custGeom>
                            <a:avLst/>
                            <a:gdLst>
                              <a:gd name="connsiteX0" fmla="*/ 10470 w 10502"/>
                              <a:gd name="connsiteY0" fmla="*/ 2794 h 5965"/>
                              <a:gd name="connsiteX1" fmla="*/ 10218 w 10502"/>
                              <a:gd name="connsiteY1" fmla="*/ 1538 h 5965"/>
                              <a:gd name="connsiteX2" fmla="*/ 8586 w 10502"/>
                              <a:gd name="connsiteY2" fmla="*/ 1538 h 5965"/>
                              <a:gd name="connsiteX3" fmla="*/ 6451 w 10502"/>
                              <a:gd name="connsiteY3" fmla="*/ 283 h 5965"/>
                              <a:gd name="connsiteX4" fmla="*/ 4064 w 10502"/>
                              <a:gd name="connsiteY4" fmla="*/ 283 h 5965"/>
                              <a:gd name="connsiteX5" fmla="*/ 1929 w 10502"/>
                              <a:gd name="connsiteY5" fmla="*/ 1538 h 5965"/>
                              <a:gd name="connsiteX6" fmla="*/ 297 w 10502"/>
                              <a:gd name="connsiteY6" fmla="*/ 1538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046"/>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9" name="Freeform: Shape 3688">
                            <a:extLst>
                              <a:ext uri="{FF2B5EF4-FFF2-40B4-BE49-F238E27FC236}">
                                <a16:creationId xmlns:a16="http://schemas.microsoft.com/office/drawing/2014/main" id="{64CBF3A7-27DD-4DC7-8455-ADD20997A62B}"/>
                              </a:ext>
                            </a:extLst>
                          </p:cNvPr>
                          <p:cNvSpPr/>
                          <p:nvPr/>
                        </p:nvSpPr>
                        <p:spPr>
                          <a:xfrm>
                            <a:off x="4889238" y="4665916"/>
                            <a:ext cx="10502" cy="5965"/>
                          </a:xfrm>
                          <a:custGeom>
                            <a:avLst/>
                            <a:gdLst>
                              <a:gd name="connsiteX0" fmla="*/ 10470 w 10502"/>
                              <a:gd name="connsiteY0" fmla="*/ 2794 h 5965"/>
                              <a:gd name="connsiteX1" fmla="*/ 10218 w 10502"/>
                              <a:gd name="connsiteY1" fmla="*/ 1538 h 5965"/>
                              <a:gd name="connsiteX2" fmla="*/ 8586 w 10502"/>
                              <a:gd name="connsiteY2" fmla="*/ 1538 h 5965"/>
                              <a:gd name="connsiteX3" fmla="*/ 6451 w 10502"/>
                              <a:gd name="connsiteY3" fmla="*/ 283 h 5965"/>
                              <a:gd name="connsiteX4" fmla="*/ 4064 w 10502"/>
                              <a:gd name="connsiteY4" fmla="*/ 283 h 5965"/>
                              <a:gd name="connsiteX5" fmla="*/ 1929 w 10502"/>
                              <a:gd name="connsiteY5" fmla="*/ 1538 h 5965"/>
                              <a:gd name="connsiteX6" fmla="*/ 297 w 10502"/>
                              <a:gd name="connsiteY6" fmla="*/ 1538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046"/>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0" name="Freeform: Shape 3689">
                            <a:extLst>
                              <a:ext uri="{FF2B5EF4-FFF2-40B4-BE49-F238E27FC236}">
                                <a16:creationId xmlns:a16="http://schemas.microsoft.com/office/drawing/2014/main" id="{99FC968C-0A92-4AB0-9478-0A18149CDEC4}"/>
                              </a:ext>
                            </a:extLst>
                          </p:cNvPr>
                          <p:cNvSpPr/>
                          <p:nvPr/>
                        </p:nvSpPr>
                        <p:spPr>
                          <a:xfrm>
                            <a:off x="4889440" y="4664534"/>
                            <a:ext cx="10110" cy="5965"/>
                          </a:xfrm>
                          <a:custGeom>
                            <a:avLst/>
                            <a:gdLst>
                              <a:gd name="connsiteX0" fmla="*/ 3862 w 10110"/>
                              <a:gd name="connsiteY0" fmla="*/ 283 h 5965"/>
                              <a:gd name="connsiteX1" fmla="*/ 471 w 10110"/>
                              <a:gd name="connsiteY1" fmla="*/ 2292 h 5965"/>
                              <a:gd name="connsiteX2" fmla="*/ 471 w 10110"/>
                              <a:gd name="connsiteY2" fmla="*/ 3674 h 5965"/>
                              <a:gd name="connsiteX3" fmla="*/ 3862 w 10110"/>
                              <a:gd name="connsiteY3" fmla="*/ 5683 h 5965"/>
                              <a:gd name="connsiteX4" fmla="*/ 6248 w 10110"/>
                              <a:gd name="connsiteY4" fmla="*/ 5683 h 5965"/>
                              <a:gd name="connsiteX5" fmla="*/ 9639 w 10110"/>
                              <a:gd name="connsiteY5" fmla="*/ 3674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4"/>
                                </a:cubicBezTo>
                                <a:lnTo>
                                  <a:pt x="3862" y="5683"/>
                                </a:lnTo>
                                <a:cubicBezTo>
                                  <a:pt x="4490" y="6060"/>
                                  <a:pt x="5495" y="6060"/>
                                  <a:pt x="6248" y="5683"/>
                                </a:cubicBezTo>
                                <a:lnTo>
                                  <a:pt x="9639" y="3674"/>
                                </a:lnTo>
                                <a:cubicBezTo>
                                  <a:pt x="10268" y="3297"/>
                                  <a:pt x="10268"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91" name="Graphic 4">
                          <a:extLst>
                            <a:ext uri="{FF2B5EF4-FFF2-40B4-BE49-F238E27FC236}">
                              <a16:creationId xmlns:a16="http://schemas.microsoft.com/office/drawing/2014/main" id="{84FB7ED1-A2DF-40A1-A747-5F7CF3F14040}"/>
                            </a:ext>
                          </a:extLst>
                        </p:cNvPr>
                        <p:cNvGrpSpPr/>
                        <p:nvPr/>
                      </p:nvGrpSpPr>
                      <p:grpSpPr>
                        <a:xfrm>
                          <a:off x="4895518" y="4668177"/>
                          <a:ext cx="10514" cy="7347"/>
                          <a:chOff x="4895518" y="4668177"/>
                          <a:chExt cx="10514" cy="7347"/>
                        </a:xfrm>
                        <a:solidFill>
                          <a:schemeClr val="accent1"/>
                        </a:solidFill>
                      </p:grpSpPr>
                      <p:sp>
                        <p:nvSpPr>
                          <p:cNvPr id="3692" name="Freeform: Shape 3691">
                            <a:extLst>
                              <a:ext uri="{FF2B5EF4-FFF2-40B4-BE49-F238E27FC236}">
                                <a16:creationId xmlns:a16="http://schemas.microsoft.com/office/drawing/2014/main" id="{5D503346-6B3D-4793-8AE1-E78D6EE059E8}"/>
                              </a:ext>
                            </a:extLst>
                          </p:cNvPr>
                          <p:cNvSpPr/>
                          <p:nvPr/>
                        </p:nvSpPr>
                        <p:spPr>
                          <a:xfrm>
                            <a:off x="4895518" y="4669558"/>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3" name="Freeform: Shape 3692">
                            <a:extLst>
                              <a:ext uri="{FF2B5EF4-FFF2-40B4-BE49-F238E27FC236}">
                                <a16:creationId xmlns:a16="http://schemas.microsoft.com/office/drawing/2014/main" id="{8D8E3FEB-E037-46BE-A2B9-33D4BD8B5A8D}"/>
                              </a:ext>
                            </a:extLst>
                          </p:cNvPr>
                          <p:cNvSpPr/>
                          <p:nvPr/>
                        </p:nvSpPr>
                        <p:spPr>
                          <a:xfrm>
                            <a:off x="4895518" y="4669558"/>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4" name="Freeform: Shape 3693">
                            <a:extLst>
                              <a:ext uri="{FF2B5EF4-FFF2-40B4-BE49-F238E27FC236}">
                                <a16:creationId xmlns:a16="http://schemas.microsoft.com/office/drawing/2014/main" id="{97D5C50D-3F48-4288-B43D-3F187BA5B7BE}"/>
                              </a:ext>
                            </a:extLst>
                          </p:cNvPr>
                          <p:cNvSpPr/>
                          <p:nvPr/>
                        </p:nvSpPr>
                        <p:spPr>
                          <a:xfrm>
                            <a:off x="4895846" y="466817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95" name="Graphic 4">
                          <a:extLst>
                            <a:ext uri="{FF2B5EF4-FFF2-40B4-BE49-F238E27FC236}">
                              <a16:creationId xmlns:a16="http://schemas.microsoft.com/office/drawing/2014/main" id="{84FB7ED1-A2DF-40A1-A747-5F7CF3F14040}"/>
                            </a:ext>
                          </a:extLst>
                        </p:cNvPr>
                        <p:cNvGrpSpPr/>
                        <p:nvPr/>
                      </p:nvGrpSpPr>
                      <p:grpSpPr>
                        <a:xfrm>
                          <a:off x="4901923" y="4671819"/>
                          <a:ext cx="10514" cy="7346"/>
                          <a:chOff x="4901923" y="4671819"/>
                          <a:chExt cx="10514" cy="7346"/>
                        </a:xfrm>
                        <a:solidFill>
                          <a:schemeClr val="accent1"/>
                        </a:solidFill>
                      </p:grpSpPr>
                      <p:sp>
                        <p:nvSpPr>
                          <p:cNvPr id="3696" name="Freeform: Shape 3695">
                            <a:extLst>
                              <a:ext uri="{FF2B5EF4-FFF2-40B4-BE49-F238E27FC236}">
                                <a16:creationId xmlns:a16="http://schemas.microsoft.com/office/drawing/2014/main" id="{2ED2E1B5-0A43-42BA-A0EE-96641505A64F}"/>
                              </a:ext>
                            </a:extLst>
                          </p:cNvPr>
                          <p:cNvSpPr/>
                          <p:nvPr/>
                        </p:nvSpPr>
                        <p:spPr>
                          <a:xfrm>
                            <a:off x="4901923" y="4673200"/>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7" name="Freeform: Shape 3696">
                            <a:extLst>
                              <a:ext uri="{FF2B5EF4-FFF2-40B4-BE49-F238E27FC236}">
                                <a16:creationId xmlns:a16="http://schemas.microsoft.com/office/drawing/2014/main" id="{A8A7EDB3-311F-49BB-B654-D40FC8F95B79}"/>
                              </a:ext>
                            </a:extLst>
                          </p:cNvPr>
                          <p:cNvSpPr/>
                          <p:nvPr/>
                        </p:nvSpPr>
                        <p:spPr>
                          <a:xfrm>
                            <a:off x="4901923" y="4673200"/>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8" name="Freeform: Shape 3697">
                            <a:extLst>
                              <a:ext uri="{FF2B5EF4-FFF2-40B4-BE49-F238E27FC236}">
                                <a16:creationId xmlns:a16="http://schemas.microsoft.com/office/drawing/2014/main" id="{C000E113-80EE-4D99-BA15-BEAB4B892CBA}"/>
                              </a:ext>
                            </a:extLst>
                          </p:cNvPr>
                          <p:cNvSpPr/>
                          <p:nvPr/>
                        </p:nvSpPr>
                        <p:spPr>
                          <a:xfrm>
                            <a:off x="4902125" y="4671819"/>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99" name="Graphic 4">
                          <a:extLst>
                            <a:ext uri="{FF2B5EF4-FFF2-40B4-BE49-F238E27FC236}">
                              <a16:creationId xmlns:a16="http://schemas.microsoft.com/office/drawing/2014/main" id="{84FB7ED1-A2DF-40A1-A747-5F7CF3F14040}"/>
                            </a:ext>
                          </a:extLst>
                        </p:cNvPr>
                        <p:cNvGrpSpPr/>
                        <p:nvPr/>
                      </p:nvGrpSpPr>
                      <p:grpSpPr>
                        <a:xfrm>
                          <a:off x="4908328" y="4675461"/>
                          <a:ext cx="10502" cy="7473"/>
                          <a:chOff x="4908328" y="4675461"/>
                          <a:chExt cx="10502" cy="7473"/>
                        </a:xfrm>
                        <a:solidFill>
                          <a:schemeClr val="accent1"/>
                        </a:solidFill>
                      </p:grpSpPr>
                      <p:sp>
                        <p:nvSpPr>
                          <p:cNvPr id="3700" name="Freeform: Shape 3699">
                            <a:extLst>
                              <a:ext uri="{FF2B5EF4-FFF2-40B4-BE49-F238E27FC236}">
                                <a16:creationId xmlns:a16="http://schemas.microsoft.com/office/drawing/2014/main" id="{B5BFED7E-F8AE-461C-A1CE-9F1F8E78E0A1}"/>
                              </a:ext>
                            </a:extLst>
                          </p:cNvPr>
                          <p:cNvSpPr/>
                          <p:nvPr/>
                        </p:nvSpPr>
                        <p:spPr>
                          <a:xfrm>
                            <a:off x="4908328" y="4676968"/>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3"/>
                                  <a:pt x="547" y="3674"/>
                                </a:cubicBezTo>
                                <a:lnTo>
                                  <a:pt x="4064" y="5683"/>
                                </a:lnTo>
                                <a:cubicBezTo>
                                  <a:pt x="4692" y="6060"/>
                                  <a:pt x="5823" y="6060"/>
                                  <a:pt x="6450" y="5683"/>
                                </a:cubicBezTo>
                                <a:lnTo>
                                  <a:pt x="9967" y="3674"/>
                                </a:lnTo>
                                <a:cubicBezTo>
                                  <a:pt x="10344" y="3423"/>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1" name="Freeform: Shape 3700">
                            <a:extLst>
                              <a:ext uri="{FF2B5EF4-FFF2-40B4-BE49-F238E27FC236}">
                                <a16:creationId xmlns:a16="http://schemas.microsoft.com/office/drawing/2014/main" id="{516A8EDE-F776-419F-B96A-F08F3F942092}"/>
                              </a:ext>
                            </a:extLst>
                          </p:cNvPr>
                          <p:cNvSpPr/>
                          <p:nvPr/>
                        </p:nvSpPr>
                        <p:spPr>
                          <a:xfrm>
                            <a:off x="4908328" y="4676968"/>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3"/>
                                  <a:pt x="547" y="3674"/>
                                </a:cubicBezTo>
                                <a:lnTo>
                                  <a:pt x="4064" y="5683"/>
                                </a:lnTo>
                                <a:cubicBezTo>
                                  <a:pt x="4692" y="6060"/>
                                  <a:pt x="5823" y="6060"/>
                                  <a:pt x="6450" y="5683"/>
                                </a:cubicBezTo>
                                <a:lnTo>
                                  <a:pt x="9967" y="3674"/>
                                </a:lnTo>
                                <a:cubicBezTo>
                                  <a:pt x="10344" y="3423"/>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2" name="Freeform: Shape 3701">
                            <a:extLst>
                              <a:ext uri="{FF2B5EF4-FFF2-40B4-BE49-F238E27FC236}">
                                <a16:creationId xmlns:a16="http://schemas.microsoft.com/office/drawing/2014/main" id="{080C70F5-B057-40CF-A6A2-9F28655DD8F3}"/>
                              </a:ext>
                            </a:extLst>
                          </p:cNvPr>
                          <p:cNvSpPr/>
                          <p:nvPr/>
                        </p:nvSpPr>
                        <p:spPr>
                          <a:xfrm>
                            <a:off x="4908531" y="4675461"/>
                            <a:ext cx="9984" cy="5966"/>
                          </a:xfrm>
                          <a:custGeom>
                            <a:avLst/>
                            <a:gdLst>
                              <a:gd name="connsiteX0" fmla="*/ 3862 w 9984"/>
                              <a:gd name="connsiteY0" fmla="*/ 283 h 5966"/>
                              <a:gd name="connsiteX1" fmla="*/ 471 w 9984"/>
                              <a:gd name="connsiteY1" fmla="*/ 2292 h 5966"/>
                              <a:gd name="connsiteX2" fmla="*/ 471 w 9984"/>
                              <a:gd name="connsiteY2" fmla="*/ 3674 h 5966"/>
                              <a:gd name="connsiteX3" fmla="*/ 3862 w 9984"/>
                              <a:gd name="connsiteY3" fmla="*/ 5683 h 5966"/>
                              <a:gd name="connsiteX4" fmla="*/ 6123 w 9984"/>
                              <a:gd name="connsiteY4" fmla="*/ 5683 h 5966"/>
                              <a:gd name="connsiteX5" fmla="*/ 9514 w 9984"/>
                              <a:gd name="connsiteY5" fmla="*/ 3674 h 5966"/>
                              <a:gd name="connsiteX6" fmla="*/ 9514 w 9984"/>
                              <a:gd name="connsiteY6" fmla="*/ 2292 h 5966"/>
                              <a:gd name="connsiteX7" fmla="*/ 6123 w 9984"/>
                              <a:gd name="connsiteY7" fmla="*/ 283 h 5966"/>
                              <a:gd name="connsiteX8" fmla="*/ 3862 w 9984"/>
                              <a:gd name="connsiteY8" fmla="*/ 283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6">
                                <a:moveTo>
                                  <a:pt x="3862" y="283"/>
                                </a:moveTo>
                                <a:lnTo>
                                  <a:pt x="471" y="2292"/>
                                </a:lnTo>
                                <a:cubicBezTo>
                                  <a:pt x="-157" y="2669"/>
                                  <a:pt x="-157" y="3297"/>
                                  <a:pt x="471" y="3674"/>
                                </a:cubicBezTo>
                                <a:lnTo>
                                  <a:pt x="3862" y="5683"/>
                                </a:lnTo>
                                <a:cubicBezTo>
                                  <a:pt x="4490" y="6060"/>
                                  <a:pt x="5495" y="6060"/>
                                  <a:pt x="6123" y="5683"/>
                                </a:cubicBezTo>
                                <a:lnTo>
                                  <a:pt x="9514" y="3674"/>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03" name="Graphic 4">
                          <a:extLst>
                            <a:ext uri="{FF2B5EF4-FFF2-40B4-BE49-F238E27FC236}">
                              <a16:creationId xmlns:a16="http://schemas.microsoft.com/office/drawing/2014/main" id="{84FB7ED1-A2DF-40A1-A747-5F7CF3F14040}"/>
                            </a:ext>
                          </a:extLst>
                        </p:cNvPr>
                        <p:cNvGrpSpPr/>
                        <p:nvPr/>
                      </p:nvGrpSpPr>
                      <p:grpSpPr>
                        <a:xfrm>
                          <a:off x="4914608" y="4679103"/>
                          <a:ext cx="10514" cy="7347"/>
                          <a:chOff x="4914608" y="4679103"/>
                          <a:chExt cx="10514" cy="7347"/>
                        </a:xfrm>
                        <a:solidFill>
                          <a:schemeClr val="accent1"/>
                        </a:solidFill>
                      </p:grpSpPr>
                      <p:sp>
                        <p:nvSpPr>
                          <p:cNvPr id="3704" name="Freeform: Shape 3703">
                            <a:extLst>
                              <a:ext uri="{FF2B5EF4-FFF2-40B4-BE49-F238E27FC236}">
                                <a16:creationId xmlns:a16="http://schemas.microsoft.com/office/drawing/2014/main" id="{4E050E54-A8CE-433F-9DA5-A5B291F4441F}"/>
                              </a:ext>
                            </a:extLst>
                          </p:cNvPr>
                          <p:cNvSpPr/>
                          <p:nvPr/>
                        </p:nvSpPr>
                        <p:spPr>
                          <a:xfrm>
                            <a:off x="4914608" y="4680485"/>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5" name="Freeform: Shape 3704">
                            <a:extLst>
                              <a:ext uri="{FF2B5EF4-FFF2-40B4-BE49-F238E27FC236}">
                                <a16:creationId xmlns:a16="http://schemas.microsoft.com/office/drawing/2014/main" id="{167C16BD-59BF-4ECA-BB6F-AAAC3F090084}"/>
                              </a:ext>
                            </a:extLst>
                          </p:cNvPr>
                          <p:cNvSpPr/>
                          <p:nvPr/>
                        </p:nvSpPr>
                        <p:spPr>
                          <a:xfrm>
                            <a:off x="4914608" y="4680485"/>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6" name="Freeform: Shape 3705">
                            <a:extLst>
                              <a:ext uri="{FF2B5EF4-FFF2-40B4-BE49-F238E27FC236}">
                                <a16:creationId xmlns:a16="http://schemas.microsoft.com/office/drawing/2014/main" id="{6EA50D26-F8B1-4A96-AD5E-E137E66160AF}"/>
                              </a:ext>
                            </a:extLst>
                          </p:cNvPr>
                          <p:cNvSpPr/>
                          <p:nvPr/>
                        </p:nvSpPr>
                        <p:spPr>
                          <a:xfrm>
                            <a:off x="4914810" y="4679103"/>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07" name="Graphic 4">
                          <a:extLst>
                            <a:ext uri="{FF2B5EF4-FFF2-40B4-BE49-F238E27FC236}">
                              <a16:creationId xmlns:a16="http://schemas.microsoft.com/office/drawing/2014/main" id="{84FB7ED1-A2DF-40A1-A747-5F7CF3F14040}"/>
                            </a:ext>
                          </a:extLst>
                        </p:cNvPr>
                        <p:cNvGrpSpPr/>
                        <p:nvPr/>
                      </p:nvGrpSpPr>
                      <p:grpSpPr>
                        <a:xfrm>
                          <a:off x="4920888" y="4682871"/>
                          <a:ext cx="10627" cy="7347"/>
                          <a:chOff x="4920888" y="4682871"/>
                          <a:chExt cx="10627" cy="7347"/>
                        </a:xfrm>
                        <a:solidFill>
                          <a:schemeClr val="accent1"/>
                        </a:solidFill>
                      </p:grpSpPr>
                      <p:sp>
                        <p:nvSpPr>
                          <p:cNvPr id="3708" name="Freeform: Shape 3707">
                            <a:extLst>
                              <a:ext uri="{FF2B5EF4-FFF2-40B4-BE49-F238E27FC236}">
                                <a16:creationId xmlns:a16="http://schemas.microsoft.com/office/drawing/2014/main" id="{2A5ED973-D55D-45D4-ADE2-67032C5BA247}"/>
                              </a:ext>
                            </a:extLst>
                          </p:cNvPr>
                          <p:cNvSpPr/>
                          <p:nvPr/>
                        </p:nvSpPr>
                        <p:spPr>
                          <a:xfrm>
                            <a:off x="4920888" y="4684253"/>
                            <a:ext cx="10627" cy="5965"/>
                          </a:xfrm>
                          <a:custGeom>
                            <a:avLst/>
                            <a:gdLst>
                              <a:gd name="connsiteX0" fmla="*/ 10595 w 10627"/>
                              <a:gd name="connsiteY0" fmla="*/ 2795 h 5965"/>
                              <a:gd name="connsiteX1" fmla="*/ 10344 w 10627"/>
                              <a:gd name="connsiteY1" fmla="*/ 1539 h 5965"/>
                              <a:gd name="connsiteX2" fmla="*/ 8711 w 10627"/>
                              <a:gd name="connsiteY2" fmla="*/ 1539 h 5965"/>
                              <a:gd name="connsiteX3" fmla="*/ 6576 w 10627"/>
                              <a:gd name="connsiteY3" fmla="*/ 283 h 5965"/>
                              <a:gd name="connsiteX4" fmla="*/ 4190 w 10627"/>
                              <a:gd name="connsiteY4" fmla="*/ 283 h 5965"/>
                              <a:gd name="connsiteX5" fmla="*/ 2055 w 10627"/>
                              <a:gd name="connsiteY5" fmla="*/ 1539 h 5965"/>
                              <a:gd name="connsiteX6" fmla="*/ 296 w 10627"/>
                              <a:gd name="connsiteY6" fmla="*/ 1539 h 5965"/>
                              <a:gd name="connsiteX7" fmla="*/ 45 w 10627"/>
                              <a:gd name="connsiteY7" fmla="*/ 2795 h 5965"/>
                              <a:gd name="connsiteX8" fmla="*/ 547 w 10627"/>
                              <a:gd name="connsiteY8" fmla="*/ 3673 h 5965"/>
                              <a:gd name="connsiteX9" fmla="*/ 4064 w 10627"/>
                              <a:gd name="connsiteY9" fmla="*/ 5683 h 5965"/>
                              <a:gd name="connsiteX10" fmla="*/ 6450 w 10627"/>
                              <a:gd name="connsiteY10" fmla="*/ 5683 h 5965"/>
                              <a:gd name="connsiteX11" fmla="*/ 9967 w 10627"/>
                              <a:gd name="connsiteY11" fmla="*/ 3673 h 5965"/>
                              <a:gd name="connsiteX12" fmla="*/ 10595 w 10627"/>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27" h="5965">
                                <a:moveTo>
                                  <a:pt x="10595" y="2795"/>
                                </a:moveTo>
                                <a:lnTo>
                                  <a:pt x="10344" y="1539"/>
                                </a:lnTo>
                                <a:lnTo>
                                  <a:pt x="8711" y="1539"/>
                                </a:lnTo>
                                <a:lnTo>
                                  <a:pt x="6576" y="283"/>
                                </a:lnTo>
                                <a:cubicBezTo>
                                  <a:pt x="5948" y="-94"/>
                                  <a:pt x="4818" y="-94"/>
                                  <a:pt x="4190" y="283"/>
                                </a:cubicBezTo>
                                <a:lnTo>
                                  <a:pt x="2055"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470" y="3422"/>
                                  <a:pt x="10721" y="3046"/>
                                  <a:pt x="10595"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9" name="Freeform: Shape 3708">
                            <a:extLst>
                              <a:ext uri="{FF2B5EF4-FFF2-40B4-BE49-F238E27FC236}">
                                <a16:creationId xmlns:a16="http://schemas.microsoft.com/office/drawing/2014/main" id="{757EC8F2-5260-4452-8635-2D367D2B08BA}"/>
                              </a:ext>
                            </a:extLst>
                          </p:cNvPr>
                          <p:cNvSpPr/>
                          <p:nvPr/>
                        </p:nvSpPr>
                        <p:spPr>
                          <a:xfrm>
                            <a:off x="4920888" y="4684253"/>
                            <a:ext cx="10627" cy="5965"/>
                          </a:xfrm>
                          <a:custGeom>
                            <a:avLst/>
                            <a:gdLst>
                              <a:gd name="connsiteX0" fmla="*/ 10595 w 10627"/>
                              <a:gd name="connsiteY0" fmla="*/ 2795 h 5965"/>
                              <a:gd name="connsiteX1" fmla="*/ 10344 w 10627"/>
                              <a:gd name="connsiteY1" fmla="*/ 1539 h 5965"/>
                              <a:gd name="connsiteX2" fmla="*/ 8711 w 10627"/>
                              <a:gd name="connsiteY2" fmla="*/ 1539 h 5965"/>
                              <a:gd name="connsiteX3" fmla="*/ 6576 w 10627"/>
                              <a:gd name="connsiteY3" fmla="*/ 283 h 5965"/>
                              <a:gd name="connsiteX4" fmla="*/ 4190 w 10627"/>
                              <a:gd name="connsiteY4" fmla="*/ 283 h 5965"/>
                              <a:gd name="connsiteX5" fmla="*/ 2055 w 10627"/>
                              <a:gd name="connsiteY5" fmla="*/ 1539 h 5965"/>
                              <a:gd name="connsiteX6" fmla="*/ 296 w 10627"/>
                              <a:gd name="connsiteY6" fmla="*/ 1539 h 5965"/>
                              <a:gd name="connsiteX7" fmla="*/ 45 w 10627"/>
                              <a:gd name="connsiteY7" fmla="*/ 2795 h 5965"/>
                              <a:gd name="connsiteX8" fmla="*/ 547 w 10627"/>
                              <a:gd name="connsiteY8" fmla="*/ 3673 h 5965"/>
                              <a:gd name="connsiteX9" fmla="*/ 4064 w 10627"/>
                              <a:gd name="connsiteY9" fmla="*/ 5683 h 5965"/>
                              <a:gd name="connsiteX10" fmla="*/ 6450 w 10627"/>
                              <a:gd name="connsiteY10" fmla="*/ 5683 h 5965"/>
                              <a:gd name="connsiteX11" fmla="*/ 9967 w 10627"/>
                              <a:gd name="connsiteY11" fmla="*/ 3673 h 5965"/>
                              <a:gd name="connsiteX12" fmla="*/ 10595 w 10627"/>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27" h="5965">
                                <a:moveTo>
                                  <a:pt x="10595" y="2795"/>
                                </a:moveTo>
                                <a:lnTo>
                                  <a:pt x="10344" y="1539"/>
                                </a:lnTo>
                                <a:lnTo>
                                  <a:pt x="8711" y="1539"/>
                                </a:lnTo>
                                <a:lnTo>
                                  <a:pt x="6576" y="283"/>
                                </a:lnTo>
                                <a:cubicBezTo>
                                  <a:pt x="5948" y="-94"/>
                                  <a:pt x="4818" y="-94"/>
                                  <a:pt x="4190" y="283"/>
                                </a:cubicBezTo>
                                <a:lnTo>
                                  <a:pt x="2055"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470" y="3422"/>
                                  <a:pt x="10721" y="3046"/>
                                  <a:pt x="10595"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0" name="Freeform: Shape 3709">
                            <a:extLst>
                              <a:ext uri="{FF2B5EF4-FFF2-40B4-BE49-F238E27FC236}">
                                <a16:creationId xmlns:a16="http://schemas.microsoft.com/office/drawing/2014/main" id="{53D72AD8-01F5-46EC-976C-1671043AC094}"/>
                              </a:ext>
                            </a:extLst>
                          </p:cNvPr>
                          <p:cNvSpPr/>
                          <p:nvPr/>
                        </p:nvSpPr>
                        <p:spPr>
                          <a:xfrm>
                            <a:off x="4921216" y="4682871"/>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711" name="Graphic 4">
                        <a:extLst>
                          <a:ext uri="{FF2B5EF4-FFF2-40B4-BE49-F238E27FC236}">
                            <a16:creationId xmlns:a16="http://schemas.microsoft.com/office/drawing/2014/main" id="{84FB7ED1-A2DF-40A1-A747-5F7CF3F14040}"/>
                          </a:ext>
                        </a:extLst>
                      </p:cNvPr>
                      <p:cNvGrpSpPr/>
                      <p:nvPr/>
                    </p:nvGrpSpPr>
                    <p:grpSpPr>
                      <a:xfrm>
                        <a:off x="4926789" y="4686639"/>
                        <a:ext cx="17411" cy="14380"/>
                        <a:chOff x="4926789" y="4686639"/>
                        <a:chExt cx="17411" cy="14380"/>
                      </a:xfrm>
                      <a:solidFill>
                        <a:schemeClr val="accent1"/>
                      </a:solidFill>
                    </p:grpSpPr>
                    <p:sp>
                      <p:nvSpPr>
                        <p:cNvPr id="3712" name="Freeform: Shape 3711">
                          <a:extLst>
                            <a:ext uri="{FF2B5EF4-FFF2-40B4-BE49-F238E27FC236}">
                              <a16:creationId xmlns:a16="http://schemas.microsoft.com/office/drawing/2014/main" id="{C47AF036-FB2B-425B-B208-3F96EA4748EA}"/>
                            </a:ext>
                          </a:extLst>
                        </p:cNvPr>
                        <p:cNvSpPr/>
                        <p:nvPr/>
                      </p:nvSpPr>
                      <p:spPr>
                        <a:xfrm>
                          <a:off x="4926789" y="4687518"/>
                          <a:ext cx="17411" cy="13501"/>
                        </a:xfrm>
                        <a:custGeom>
                          <a:avLst/>
                          <a:gdLst>
                            <a:gd name="connsiteX0" fmla="*/ 17379 w 17411"/>
                            <a:gd name="connsiteY0" fmla="*/ 6311 h 13501"/>
                            <a:gd name="connsiteX1" fmla="*/ 17379 w 17411"/>
                            <a:gd name="connsiteY1" fmla="*/ 6311 h 13501"/>
                            <a:gd name="connsiteX2" fmla="*/ 17379 w 17411"/>
                            <a:gd name="connsiteY2" fmla="*/ 6311 h 13501"/>
                            <a:gd name="connsiteX3" fmla="*/ 17254 w 17411"/>
                            <a:gd name="connsiteY3" fmla="*/ 6060 h 13501"/>
                            <a:gd name="connsiteX4" fmla="*/ 16751 w 17411"/>
                            <a:gd name="connsiteY4" fmla="*/ 5055 h 13501"/>
                            <a:gd name="connsiteX5" fmla="*/ 15621 w 17411"/>
                            <a:gd name="connsiteY5" fmla="*/ 5055 h 13501"/>
                            <a:gd name="connsiteX6" fmla="*/ 7331 w 17411"/>
                            <a:gd name="connsiteY6" fmla="*/ 283 h 13501"/>
                            <a:gd name="connsiteX7" fmla="*/ 4945 w 17411"/>
                            <a:gd name="connsiteY7" fmla="*/ 283 h 13501"/>
                            <a:gd name="connsiteX8" fmla="*/ 1931 w 17411"/>
                            <a:gd name="connsiteY8" fmla="*/ 2041 h 13501"/>
                            <a:gd name="connsiteX9" fmla="*/ 1177 w 17411"/>
                            <a:gd name="connsiteY9" fmla="*/ 2041 h 13501"/>
                            <a:gd name="connsiteX10" fmla="*/ 801 w 17411"/>
                            <a:gd name="connsiteY10" fmla="*/ 2794 h 13501"/>
                            <a:gd name="connsiteX11" fmla="*/ 675 w 17411"/>
                            <a:gd name="connsiteY11" fmla="*/ 3046 h 13501"/>
                            <a:gd name="connsiteX12" fmla="*/ 675 w 17411"/>
                            <a:gd name="connsiteY12" fmla="*/ 3046 h 13501"/>
                            <a:gd name="connsiteX13" fmla="*/ 675 w 17411"/>
                            <a:gd name="connsiteY13" fmla="*/ 3046 h 13501"/>
                            <a:gd name="connsiteX14" fmla="*/ 1177 w 17411"/>
                            <a:gd name="connsiteY14" fmla="*/ 3925 h 13501"/>
                            <a:gd name="connsiteX15" fmla="*/ 4694 w 17411"/>
                            <a:gd name="connsiteY15" fmla="*/ 5934 h 13501"/>
                            <a:gd name="connsiteX16" fmla="*/ 5196 w 17411"/>
                            <a:gd name="connsiteY16" fmla="*/ 6813 h 13501"/>
                            <a:gd name="connsiteX17" fmla="*/ 549 w 17411"/>
                            <a:gd name="connsiteY17" fmla="*/ 8949 h 13501"/>
                            <a:gd name="connsiteX18" fmla="*/ 47 w 17411"/>
                            <a:gd name="connsiteY18" fmla="*/ 10204 h 13501"/>
                            <a:gd name="connsiteX19" fmla="*/ 47 w 17411"/>
                            <a:gd name="connsiteY19" fmla="*/ 10204 h 13501"/>
                            <a:gd name="connsiteX20" fmla="*/ 424 w 17411"/>
                            <a:gd name="connsiteY20" fmla="*/ 11209 h 13501"/>
                            <a:gd name="connsiteX21" fmla="*/ 3941 w 17411"/>
                            <a:gd name="connsiteY21" fmla="*/ 13219 h 13501"/>
                            <a:gd name="connsiteX22" fmla="*/ 6327 w 17411"/>
                            <a:gd name="connsiteY22" fmla="*/ 13219 h 13501"/>
                            <a:gd name="connsiteX23" fmla="*/ 16877 w 17411"/>
                            <a:gd name="connsiteY23" fmla="*/ 7190 h 13501"/>
                            <a:gd name="connsiteX24" fmla="*/ 17379 w 17411"/>
                            <a:gd name="connsiteY24" fmla="*/ 6311 h 1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11" h="13501">
                              <a:moveTo>
                                <a:pt x="17379" y="6311"/>
                              </a:moveTo>
                              <a:lnTo>
                                <a:pt x="17379" y="6311"/>
                              </a:lnTo>
                              <a:lnTo>
                                <a:pt x="17379" y="6311"/>
                              </a:lnTo>
                              <a:cubicBezTo>
                                <a:pt x="17379" y="6186"/>
                                <a:pt x="17379" y="6186"/>
                                <a:pt x="17254" y="6060"/>
                              </a:cubicBezTo>
                              <a:lnTo>
                                <a:pt x="16751" y="5055"/>
                              </a:lnTo>
                              <a:lnTo>
                                <a:pt x="15621" y="5055"/>
                              </a:lnTo>
                              <a:lnTo>
                                <a:pt x="7331" y="283"/>
                              </a:lnTo>
                              <a:cubicBezTo>
                                <a:pt x="6704" y="-94"/>
                                <a:pt x="5573" y="-94"/>
                                <a:pt x="4945" y="283"/>
                              </a:cubicBezTo>
                              <a:lnTo>
                                <a:pt x="1931" y="2041"/>
                              </a:lnTo>
                              <a:lnTo>
                                <a:pt x="1177" y="2041"/>
                              </a:lnTo>
                              <a:lnTo>
                                <a:pt x="801" y="2794"/>
                              </a:lnTo>
                              <a:cubicBezTo>
                                <a:pt x="675" y="2920"/>
                                <a:pt x="675" y="3046"/>
                                <a:pt x="675" y="3046"/>
                              </a:cubicBezTo>
                              <a:lnTo>
                                <a:pt x="675" y="3046"/>
                              </a:lnTo>
                              <a:lnTo>
                                <a:pt x="675" y="3046"/>
                              </a:lnTo>
                              <a:cubicBezTo>
                                <a:pt x="549" y="3297"/>
                                <a:pt x="801" y="3673"/>
                                <a:pt x="1177" y="3925"/>
                              </a:cubicBezTo>
                              <a:lnTo>
                                <a:pt x="4694" y="5934"/>
                              </a:lnTo>
                              <a:cubicBezTo>
                                <a:pt x="5196" y="6186"/>
                                <a:pt x="5322" y="6562"/>
                                <a:pt x="5196" y="6813"/>
                              </a:cubicBezTo>
                              <a:lnTo>
                                <a:pt x="549" y="8949"/>
                              </a:lnTo>
                              <a:lnTo>
                                <a:pt x="47" y="10204"/>
                              </a:lnTo>
                              <a:lnTo>
                                <a:pt x="47" y="10204"/>
                              </a:lnTo>
                              <a:cubicBezTo>
                                <a:pt x="-79" y="10581"/>
                                <a:pt x="47" y="10958"/>
                                <a:pt x="424" y="11209"/>
                              </a:cubicBezTo>
                              <a:lnTo>
                                <a:pt x="3941" y="13219"/>
                              </a:lnTo>
                              <a:cubicBezTo>
                                <a:pt x="4568" y="13596"/>
                                <a:pt x="5699" y="13596"/>
                                <a:pt x="6327" y="13219"/>
                              </a:cubicBezTo>
                              <a:lnTo>
                                <a:pt x="16877" y="7190"/>
                              </a:lnTo>
                              <a:cubicBezTo>
                                <a:pt x="17254" y="6939"/>
                                <a:pt x="17505" y="6562"/>
                                <a:pt x="17379" y="631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3" name="Freeform: Shape 3712">
                          <a:extLst>
                            <a:ext uri="{FF2B5EF4-FFF2-40B4-BE49-F238E27FC236}">
                              <a16:creationId xmlns:a16="http://schemas.microsoft.com/office/drawing/2014/main" id="{B8C3B686-3FDD-4CA3-86B8-BBB06BFAAEED}"/>
                            </a:ext>
                          </a:extLst>
                        </p:cNvPr>
                        <p:cNvSpPr/>
                        <p:nvPr/>
                      </p:nvSpPr>
                      <p:spPr>
                        <a:xfrm>
                          <a:off x="4926789" y="4687518"/>
                          <a:ext cx="17411" cy="13501"/>
                        </a:xfrm>
                        <a:custGeom>
                          <a:avLst/>
                          <a:gdLst>
                            <a:gd name="connsiteX0" fmla="*/ 17379 w 17411"/>
                            <a:gd name="connsiteY0" fmla="*/ 6311 h 13501"/>
                            <a:gd name="connsiteX1" fmla="*/ 17379 w 17411"/>
                            <a:gd name="connsiteY1" fmla="*/ 6311 h 13501"/>
                            <a:gd name="connsiteX2" fmla="*/ 17379 w 17411"/>
                            <a:gd name="connsiteY2" fmla="*/ 6311 h 13501"/>
                            <a:gd name="connsiteX3" fmla="*/ 17254 w 17411"/>
                            <a:gd name="connsiteY3" fmla="*/ 6060 h 13501"/>
                            <a:gd name="connsiteX4" fmla="*/ 16751 w 17411"/>
                            <a:gd name="connsiteY4" fmla="*/ 5055 h 13501"/>
                            <a:gd name="connsiteX5" fmla="*/ 15621 w 17411"/>
                            <a:gd name="connsiteY5" fmla="*/ 5055 h 13501"/>
                            <a:gd name="connsiteX6" fmla="*/ 7331 w 17411"/>
                            <a:gd name="connsiteY6" fmla="*/ 283 h 13501"/>
                            <a:gd name="connsiteX7" fmla="*/ 4945 w 17411"/>
                            <a:gd name="connsiteY7" fmla="*/ 283 h 13501"/>
                            <a:gd name="connsiteX8" fmla="*/ 1931 w 17411"/>
                            <a:gd name="connsiteY8" fmla="*/ 2041 h 13501"/>
                            <a:gd name="connsiteX9" fmla="*/ 1177 w 17411"/>
                            <a:gd name="connsiteY9" fmla="*/ 2041 h 13501"/>
                            <a:gd name="connsiteX10" fmla="*/ 801 w 17411"/>
                            <a:gd name="connsiteY10" fmla="*/ 2794 h 13501"/>
                            <a:gd name="connsiteX11" fmla="*/ 675 w 17411"/>
                            <a:gd name="connsiteY11" fmla="*/ 3046 h 13501"/>
                            <a:gd name="connsiteX12" fmla="*/ 675 w 17411"/>
                            <a:gd name="connsiteY12" fmla="*/ 3046 h 13501"/>
                            <a:gd name="connsiteX13" fmla="*/ 675 w 17411"/>
                            <a:gd name="connsiteY13" fmla="*/ 3046 h 13501"/>
                            <a:gd name="connsiteX14" fmla="*/ 1177 w 17411"/>
                            <a:gd name="connsiteY14" fmla="*/ 3925 h 13501"/>
                            <a:gd name="connsiteX15" fmla="*/ 4694 w 17411"/>
                            <a:gd name="connsiteY15" fmla="*/ 5934 h 13501"/>
                            <a:gd name="connsiteX16" fmla="*/ 5196 w 17411"/>
                            <a:gd name="connsiteY16" fmla="*/ 6813 h 13501"/>
                            <a:gd name="connsiteX17" fmla="*/ 549 w 17411"/>
                            <a:gd name="connsiteY17" fmla="*/ 8949 h 13501"/>
                            <a:gd name="connsiteX18" fmla="*/ 47 w 17411"/>
                            <a:gd name="connsiteY18" fmla="*/ 10204 h 13501"/>
                            <a:gd name="connsiteX19" fmla="*/ 47 w 17411"/>
                            <a:gd name="connsiteY19" fmla="*/ 10204 h 13501"/>
                            <a:gd name="connsiteX20" fmla="*/ 424 w 17411"/>
                            <a:gd name="connsiteY20" fmla="*/ 11209 h 13501"/>
                            <a:gd name="connsiteX21" fmla="*/ 3941 w 17411"/>
                            <a:gd name="connsiteY21" fmla="*/ 13219 h 13501"/>
                            <a:gd name="connsiteX22" fmla="*/ 6327 w 17411"/>
                            <a:gd name="connsiteY22" fmla="*/ 13219 h 13501"/>
                            <a:gd name="connsiteX23" fmla="*/ 16877 w 17411"/>
                            <a:gd name="connsiteY23" fmla="*/ 7190 h 13501"/>
                            <a:gd name="connsiteX24" fmla="*/ 17379 w 17411"/>
                            <a:gd name="connsiteY24" fmla="*/ 6311 h 1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11" h="13501">
                              <a:moveTo>
                                <a:pt x="17379" y="6311"/>
                              </a:moveTo>
                              <a:lnTo>
                                <a:pt x="17379" y="6311"/>
                              </a:lnTo>
                              <a:lnTo>
                                <a:pt x="17379" y="6311"/>
                              </a:lnTo>
                              <a:cubicBezTo>
                                <a:pt x="17379" y="6186"/>
                                <a:pt x="17379" y="6186"/>
                                <a:pt x="17254" y="6060"/>
                              </a:cubicBezTo>
                              <a:lnTo>
                                <a:pt x="16751" y="5055"/>
                              </a:lnTo>
                              <a:lnTo>
                                <a:pt x="15621" y="5055"/>
                              </a:lnTo>
                              <a:lnTo>
                                <a:pt x="7331" y="283"/>
                              </a:lnTo>
                              <a:cubicBezTo>
                                <a:pt x="6704" y="-94"/>
                                <a:pt x="5573" y="-94"/>
                                <a:pt x="4945" y="283"/>
                              </a:cubicBezTo>
                              <a:lnTo>
                                <a:pt x="1931" y="2041"/>
                              </a:lnTo>
                              <a:lnTo>
                                <a:pt x="1177" y="2041"/>
                              </a:lnTo>
                              <a:lnTo>
                                <a:pt x="801" y="2794"/>
                              </a:lnTo>
                              <a:cubicBezTo>
                                <a:pt x="675" y="2920"/>
                                <a:pt x="675" y="3046"/>
                                <a:pt x="675" y="3046"/>
                              </a:cubicBezTo>
                              <a:lnTo>
                                <a:pt x="675" y="3046"/>
                              </a:lnTo>
                              <a:lnTo>
                                <a:pt x="675" y="3046"/>
                              </a:lnTo>
                              <a:cubicBezTo>
                                <a:pt x="549" y="3297"/>
                                <a:pt x="801" y="3673"/>
                                <a:pt x="1177" y="3925"/>
                              </a:cubicBezTo>
                              <a:lnTo>
                                <a:pt x="4694" y="5934"/>
                              </a:lnTo>
                              <a:cubicBezTo>
                                <a:pt x="5196" y="6186"/>
                                <a:pt x="5322" y="6562"/>
                                <a:pt x="5196" y="6813"/>
                              </a:cubicBezTo>
                              <a:lnTo>
                                <a:pt x="549" y="8949"/>
                              </a:lnTo>
                              <a:lnTo>
                                <a:pt x="47" y="10204"/>
                              </a:lnTo>
                              <a:lnTo>
                                <a:pt x="47" y="10204"/>
                              </a:lnTo>
                              <a:cubicBezTo>
                                <a:pt x="-79" y="10581"/>
                                <a:pt x="47" y="10958"/>
                                <a:pt x="424" y="11209"/>
                              </a:cubicBezTo>
                              <a:lnTo>
                                <a:pt x="3941" y="13219"/>
                              </a:lnTo>
                              <a:cubicBezTo>
                                <a:pt x="4568" y="13596"/>
                                <a:pt x="5699" y="13596"/>
                                <a:pt x="6327" y="13219"/>
                              </a:cubicBezTo>
                              <a:lnTo>
                                <a:pt x="16877" y="7190"/>
                              </a:lnTo>
                              <a:cubicBezTo>
                                <a:pt x="17254" y="6939"/>
                                <a:pt x="17505" y="6562"/>
                                <a:pt x="17379" y="631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4" name="Freeform: Shape 3713">
                          <a:extLst>
                            <a:ext uri="{FF2B5EF4-FFF2-40B4-BE49-F238E27FC236}">
                              <a16:creationId xmlns:a16="http://schemas.microsoft.com/office/drawing/2014/main" id="{7441E2E6-9BA7-4F72-B6DE-598C9FA0F26A}"/>
                            </a:ext>
                          </a:extLst>
                        </p:cNvPr>
                        <p:cNvSpPr/>
                        <p:nvPr/>
                      </p:nvSpPr>
                      <p:spPr>
                        <a:xfrm>
                          <a:off x="4927087" y="4686639"/>
                          <a:ext cx="16532" cy="12747"/>
                        </a:xfrm>
                        <a:custGeom>
                          <a:avLst/>
                          <a:gdLst>
                            <a:gd name="connsiteX0" fmla="*/ 16076 w 16532"/>
                            <a:gd name="connsiteY0" fmla="*/ 6813 h 12747"/>
                            <a:gd name="connsiteX1" fmla="*/ 6280 w 16532"/>
                            <a:gd name="connsiteY1" fmla="*/ 12465 h 12747"/>
                            <a:gd name="connsiteX2" fmla="*/ 3893 w 16532"/>
                            <a:gd name="connsiteY2" fmla="*/ 12465 h 12747"/>
                            <a:gd name="connsiteX3" fmla="*/ 503 w 16532"/>
                            <a:gd name="connsiteY3" fmla="*/ 10581 h 12747"/>
                            <a:gd name="connsiteX4" fmla="*/ 126 w 16532"/>
                            <a:gd name="connsiteY4" fmla="*/ 10330 h 12747"/>
                            <a:gd name="connsiteX5" fmla="*/ 503 w 16532"/>
                            <a:gd name="connsiteY5" fmla="*/ 9200 h 12747"/>
                            <a:gd name="connsiteX6" fmla="*/ 3893 w 16532"/>
                            <a:gd name="connsiteY6" fmla="*/ 7190 h 12747"/>
                            <a:gd name="connsiteX7" fmla="*/ 4521 w 16532"/>
                            <a:gd name="connsiteY7" fmla="*/ 6813 h 12747"/>
                            <a:gd name="connsiteX8" fmla="*/ 4521 w 16532"/>
                            <a:gd name="connsiteY8" fmla="*/ 5432 h 12747"/>
                            <a:gd name="connsiteX9" fmla="*/ 1130 w 16532"/>
                            <a:gd name="connsiteY9" fmla="*/ 3548 h 12747"/>
                            <a:gd name="connsiteX10" fmla="*/ 1130 w 16532"/>
                            <a:gd name="connsiteY10" fmla="*/ 2166 h 12747"/>
                            <a:gd name="connsiteX11" fmla="*/ 4521 w 16532"/>
                            <a:gd name="connsiteY11" fmla="*/ 283 h 12747"/>
                            <a:gd name="connsiteX12" fmla="*/ 6908 w 16532"/>
                            <a:gd name="connsiteY12" fmla="*/ 283 h 12747"/>
                            <a:gd name="connsiteX13" fmla="*/ 15950 w 16532"/>
                            <a:gd name="connsiteY13" fmla="*/ 5557 h 12747"/>
                            <a:gd name="connsiteX14" fmla="*/ 16076 w 16532"/>
                            <a:gd name="connsiteY14" fmla="*/ 6813 h 12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532" h="12747">
                              <a:moveTo>
                                <a:pt x="16076" y="6813"/>
                              </a:moveTo>
                              <a:lnTo>
                                <a:pt x="6280" y="12465"/>
                              </a:lnTo>
                              <a:cubicBezTo>
                                <a:pt x="5652" y="12842"/>
                                <a:pt x="4647" y="12842"/>
                                <a:pt x="3893" y="12465"/>
                              </a:cubicBezTo>
                              <a:lnTo>
                                <a:pt x="503" y="10581"/>
                              </a:lnTo>
                              <a:cubicBezTo>
                                <a:pt x="377" y="10456"/>
                                <a:pt x="251" y="10456"/>
                                <a:pt x="126" y="10330"/>
                              </a:cubicBezTo>
                              <a:cubicBezTo>
                                <a:pt x="-126" y="9953"/>
                                <a:pt x="0" y="9576"/>
                                <a:pt x="503" y="9200"/>
                              </a:cubicBezTo>
                              <a:lnTo>
                                <a:pt x="3893" y="7190"/>
                              </a:lnTo>
                              <a:lnTo>
                                <a:pt x="4521" y="6813"/>
                              </a:lnTo>
                              <a:cubicBezTo>
                                <a:pt x="5149" y="6437"/>
                                <a:pt x="5149" y="5809"/>
                                <a:pt x="4521" y="5432"/>
                              </a:cubicBezTo>
                              <a:lnTo>
                                <a:pt x="1130" y="3548"/>
                              </a:lnTo>
                              <a:cubicBezTo>
                                <a:pt x="503" y="3171"/>
                                <a:pt x="503" y="2543"/>
                                <a:pt x="1130" y="2166"/>
                              </a:cubicBezTo>
                              <a:lnTo>
                                <a:pt x="4521" y="283"/>
                              </a:lnTo>
                              <a:cubicBezTo>
                                <a:pt x="5149" y="-94"/>
                                <a:pt x="6154" y="-94"/>
                                <a:pt x="6908" y="283"/>
                              </a:cubicBezTo>
                              <a:lnTo>
                                <a:pt x="15950" y="5557"/>
                              </a:lnTo>
                              <a:cubicBezTo>
                                <a:pt x="16704" y="5809"/>
                                <a:pt x="16704" y="6437"/>
                                <a:pt x="16076" y="681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715" name="Graphic 4">
                      <a:extLst>
                        <a:ext uri="{FF2B5EF4-FFF2-40B4-BE49-F238E27FC236}">
                          <a16:creationId xmlns:a16="http://schemas.microsoft.com/office/drawing/2014/main" id="{84FB7ED1-A2DF-40A1-A747-5F7CF3F14040}"/>
                        </a:ext>
                      </a:extLst>
                    </p:cNvPr>
                    <p:cNvGrpSpPr/>
                    <p:nvPr/>
                  </p:nvGrpSpPr>
                  <p:grpSpPr>
                    <a:xfrm>
                      <a:off x="4863240" y="4656622"/>
                      <a:ext cx="67866" cy="40755"/>
                      <a:chOff x="4863240" y="4656622"/>
                      <a:chExt cx="67866" cy="40755"/>
                    </a:xfrm>
                    <a:solidFill>
                      <a:schemeClr val="accent1"/>
                    </a:solidFill>
                  </p:grpSpPr>
                  <p:grpSp>
                    <p:nvGrpSpPr>
                      <p:cNvPr id="3716" name="Graphic 4">
                        <a:extLst>
                          <a:ext uri="{FF2B5EF4-FFF2-40B4-BE49-F238E27FC236}">
                            <a16:creationId xmlns:a16="http://schemas.microsoft.com/office/drawing/2014/main" id="{84FB7ED1-A2DF-40A1-A747-5F7CF3F14040}"/>
                          </a:ext>
                        </a:extLst>
                      </p:cNvPr>
                      <p:cNvGrpSpPr/>
                      <p:nvPr/>
                    </p:nvGrpSpPr>
                    <p:grpSpPr>
                      <a:xfrm>
                        <a:off x="4863240" y="4656622"/>
                        <a:ext cx="17158" cy="11366"/>
                        <a:chOff x="4863240" y="4656622"/>
                        <a:chExt cx="17158" cy="11366"/>
                      </a:xfrm>
                      <a:solidFill>
                        <a:schemeClr val="accent1"/>
                      </a:solidFill>
                    </p:grpSpPr>
                    <p:sp>
                      <p:nvSpPr>
                        <p:cNvPr id="3717" name="Freeform: Shape 3716">
                          <a:extLst>
                            <a:ext uri="{FF2B5EF4-FFF2-40B4-BE49-F238E27FC236}">
                              <a16:creationId xmlns:a16="http://schemas.microsoft.com/office/drawing/2014/main" id="{33D39845-C242-4516-852C-AF1F28F209F7}"/>
                            </a:ext>
                          </a:extLst>
                        </p:cNvPr>
                        <p:cNvSpPr/>
                        <p:nvPr/>
                      </p:nvSpPr>
                      <p:spPr>
                        <a:xfrm>
                          <a:off x="4863240" y="4658129"/>
                          <a:ext cx="17158" cy="9859"/>
                        </a:xfrm>
                        <a:custGeom>
                          <a:avLst/>
                          <a:gdLst>
                            <a:gd name="connsiteX0" fmla="*/ 17126 w 17158"/>
                            <a:gd name="connsiteY0" fmla="*/ 6563 h 9859"/>
                            <a:gd name="connsiteX1" fmla="*/ 16875 w 17158"/>
                            <a:gd name="connsiteY1" fmla="*/ 5307 h 9859"/>
                            <a:gd name="connsiteX2" fmla="*/ 15242 w 17158"/>
                            <a:gd name="connsiteY2" fmla="*/ 5307 h 9859"/>
                            <a:gd name="connsiteX3" fmla="*/ 13107 w 17158"/>
                            <a:gd name="connsiteY3" fmla="*/ 4051 h 9859"/>
                            <a:gd name="connsiteX4" fmla="*/ 12605 w 17158"/>
                            <a:gd name="connsiteY4" fmla="*/ 3925 h 9859"/>
                            <a:gd name="connsiteX5" fmla="*/ 12353 w 17158"/>
                            <a:gd name="connsiteY5" fmla="*/ 2669 h 9859"/>
                            <a:gd name="connsiteX6" fmla="*/ 10721 w 17158"/>
                            <a:gd name="connsiteY6" fmla="*/ 2669 h 9859"/>
                            <a:gd name="connsiteX7" fmla="*/ 6450 w 17158"/>
                            <a:gd name="connsiteY7" fmla="*/ 283 h 9859"/>
                            <a:gd name="connsiteX8" fmla="*/ 4064 w 17158"/>
                            <a:gd name="connsiteY8" fmla="*/ 283 h 9859"/>
                            <a:gd name="connsiteX9" fmla="*/ 1929 w 17158"/>
                            <a:gd name="connsiteY9" fmla="*/ 1539 h 9859"/>
                            <a:gd name="connsiteX10" fmla="*/ 296 w 17158"/>
                            <a:gd name="connsiteY10" fmla="*/ 1539 h 9859"/>
                            <a:gd name="connsiteX11" fmla="*/ 45 w 17158"/>
                            <a:gd name="connsiteY11" fmla="*/ 2795 h 9859"/>
                            <a:gd name="connsiteX12" fmla="*/ 547 w 17158"/>
                            <a:gd name="connsiteY12" fmla="*/ 3674 h 9859"/>
                            <a:gd name="connsiteX13" fmla="*/ 5823 w 17158"/>
                            <a:gd name="connsiteY13" fmla="*/ 6688 h 9859"/>
                            <a:gd name="connsiteX14" fmla="*/ 10595 w 17158"/>
                            <a:gd name="connsiteY14" fmla="*/ 9577 h 9859"/>
                            <a:gd name="connsiteX15" fmla="*/ 12982 w 17158"/>
                            <a:gd name="connsiteY15" fmla="*/ 9577 h 9859"/>
                            <a:gd name="connsiteX16" fmla="*/ 16498 w 17158"/>
                            <a:gd name="connsiteY16" fmla="*/ 7567 h 9859"/>
                            <a:gd name="connsiteX17" fmla="*/ 17126 w 17158"/>
                            <a:gd name="connsiteY17" fmla="*/ 6563 h 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158" h="9859">
                              <a:moveTo>
                                <a:pt x="17126" y="6563"/>
                              </a:moveTo>
                              <a:lnTo>
                                <a:pt x="16875" y="5307"/>
                              </a:lnTo>
                              <a:lnTo>
                                <a:pt x="15242" y="5307"/>
                              </a:lnTo>
                              <a:lnTo>
                                <a:pt x="13107" y="4051"/>
                              </a:lnTo>
                              <a:cubicBezTo>
                                <a:pt x="12982" y="3925"/>
                                <a:pt x="12856" y="3925"/>
                                <a:pt x="12605" y="3925"/>
                              </a:cubicBezTo>
                              <a:lnTo>
                                <a:pt x="12353" y="2669"/>
                              </a:lnTo>
                              <a:lnTo>
                                <a:pt x="10721" y="2669"/>
                              </a:lnTo>
                              <a:lnTo>
                                <a:pt x="6450" y="283"/>
                              </a:lnTo>
                              <a:cubicBezTo>
                                <a:pt x="5823" y="-94"/>
                                <a:pt x="4692" y="-94"/>
                                <a:pt x="4064" y="283"/>
                              </a:cubicBezTo>
                              <a:lnTo>
                                <a:pt x="1929" y="1539"/>
                              </a:lnTo>
                              <a:lnTo>
                                <a:pt x="296" y="1539"/>
                              </a:lnTo>
                              <a:lnTo>
                                <a:pt x="45" y="2795"/>
                              </a:lnTo>
                              <a:cubicBezTo>
                                <a:pt x="-80" y="3171"/>
                                <a:pt x="45" y="3423"/>
                                <a:pt x="547" y="3674"/>
                              </a:cubicBezTo>
                              <a:lnTo>
                                <a:pt x="5823" y="6688"/>
                              </a:lnTo>
                              <a:lnTo>
                                <a:pt x="10595" y="9577"/>
                              </a:lnTo>
                              <a:cubicBezTo>
                                <a:pt x="11223" y="9954"/>
                                <a:pt x="12353" y="9954"/>
                                <a:pt x="12982" y="9577"/>
                              </a:cubicBezTo>
                              <a:lnTo>
                                <a:pt x="16498" y="7567"/>
                              </a:lnTo>
                              <a:cubicBezTo>
                                <a:pt x="17000" y="7190"/>
                                <a:pt x="17252" y="6814"/>
                                <a:pt x="17126" y="656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8" name="Freeform: Shape 3717">
                          <a:extLst>
                            <a:ext uri="{FF2B5EF4-FFF2-40B4-BE49-F238E27FC236}">
                              <a16:creationId xmlns:a16="http://schemas.microsoft.com/office/drawing/2014/main" id="{2E51C683-C819-496B-A334-FA448EF7DE3C}"/>
                            </a:ext>
                          </a:extLst>
                        </p:cNvPr>
                        <p:cNvSpPr/>
                        <p:nvPr/>
                      </p:nvSpPr>
                      <p:spPr>
                        <a:xfrm>
                          <a:off x="4863365" y="4658129"/>
                          <a:ext cx="17033" cy="9859"/>
                        </a:xfrm>
                        <a:custGeom>
                          <a:avLst/>
                          <a:gdLst>
                            <a:gd name="connsiteX0" fmla="*/ 17001 w 17033"/>
                            <a:gd name="connsiteY0" fmla="*/ 6563 h 9859"/>
                            <a:gd name="connsiteX1" fmla="*/ 16750 w 17033"/>
                            <a:gd name="connsiteY1" fmla="*/ 5307 h 9859"/>
                            <a:gd name="connsiteX2" fmla="*/ 15117 w 17033"/>
                            <a:gd name="connsiteY2" fmla="*/ 5307 h 9859"/>
                            <a:gd name="connsiteX3" fmla="*/ 12981 w 17033"/>
                            <a:gd name="connsiteY3" fmla="*/ 4051 h 9859"/>
                            <a:gd name="connsiteX4" fmla="*/ 12479 w 17033"/>
                            <a:gd name="connsiteY4" fmla="*/ 3925 h 9859"/>
                            <a:gd name="connsiteX5" fmla="*/ 10721 w 17033"/>
                            <a:gd name="connsiteY5" fmla="*/ 2669 h 9859"/>
                            <a:gd name="connsiteX6" fmla="*/ 6451 w 17033"/>
                            <a:gd name="connsiteY6" fmla="*/ 283 h 9859"/>
                            <a:gd name="connsiteX7" fmla="*/ 4064 w 17033"/>
                            <a:gd name="connsiteY7" fmla="*/ 283 h 9859"/>
                            <a:gd name="connsiteX8" fmla="*/ 1929 w 17033"/>
                            <a:gd name="connsiteY8" fmla="*/ 1539 h 9859"/>
                            <a:gd name="connsiteX9" fmla="*/ 297 w 17033"/>
                            <a:gd name="connsiteY9" fmla="*/ 1539 h 9859"/>
                            <a:gd name="connsiteX10" fmla="*/ 45 w 17033"/>
                            <a:gd name="connsiteY10" fmla="*/ 2795 h 9859"/>
                            <a:gd name="connsiteX11" fmla="*/ 548 w 17033"/>
                            <a:gd name="connsiteY11" fmla="*/ 3674 h 9859"/>
                            <a:gd name="connsiteX12" fmla="*/ 5822 w 17033"/>
                            <a:gd name="connsiteY12" fmla="*/ 6688 h 9859"/>
                            <a:gd name="connsiteX13" fmla="*/ 10595 w 17033"/>
                            <a:gd name="connsiteY13" fmla="*/ 9577 h 9859"/>
                            <a:gd name="connsiteX14" fmla="*/ 12981 w 17033"/>
                            <a:gd name="connsiteY14" fmla="*/ 9577 h 9859"/>
                            <a:gd name="connsiteX15" fmla="*/ 16498 w 17033"/>
                            <a:gd name="connsiteY15" fmla="*/ 7567 h 9859"/>
                            <a:gd name="connsiteX16" fmla="*/ 17001 w 17033"/>
                            <a:gd name="connsiteY16" fmla="*/ 6563 h 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033" h="9859">
                              <a:moveTo>
                                <a:pt x="17001" y="6563"/>
                              </a:moveTo>
                              <a:lnTo>
                                <a:pt x="16750" y="5307"/>
                              </a:lnTo>
                              <a:lnTo>
                                <a:pt x="15117" y="5307"/>
                              </a:lnTo>
                              <a:lnTo>
                                <a:pt x="12981" y="4051"/>
                              </a:lnTo>
                              <a:cubicBezTo>
                                <a:pt x="12856" y="3925"/>
                                <a:pt x="12730" y="3925"/>
                                <a:pt x="12479" y="3925"/>
                              </a:cubicBezTo>
                              <a:lnTo>
                                <a:pt x="10721" y="2669"/>
                              </a:lnTo>
                              <a:lnTo>
                                <a:pt x="6451" y="283"/>
                              </a:lnTo>
                              <a:cubicBezTo>
                                <a:pt x="5822" y="-94"/>
                                <a:pt x="4692" y="-94"/>
                                <a:pt x="4064" y="283"/>
                              </a:cubicBezTo>
                              <a:lnTo>
                                <a:pt x="1929" y="1539"/>
                              </a:lnTo>
                              <a:lnTo>
                                <a:pt x="297" y="1539"/>
                              </a:lnTo>
                              <a:lnTo>
                                <a:pt x="45" y="2795"/>
                              </a:lnTo>
                              <a:cubicBezTo>
                                <a:pt x="-80" y="3171"/>
                                <a:pt x="45" y="3423"/>
                                <a:pt x="548" y="3674"/>
                              </a:cubicBezTo>
                              <a:lnTo>
                                <a:pt x="5822" y="6688"/>
                              </a:lnTo>
                              <a:lnTo>
                                <a:pt x="10595" y="9577"/>
                              </a:lnTo>
                              <a:cubicBezTo>
                                <a:pt x="11223" y="9954"/>
                                <a:pt x="12354" y="9954"/>
                                <a:pt x="12981" y="9577"/>
                              </a:cubicBezTo>
                              <a:lnTo>
                                <a:pt x="16498" y="7567"/>
                              </a:lnTo>
                              <a:cubicBezTo>
                                <a:pt x="16875" y="7190"/>
                                <a:pt x="17126" y="6814"/>
                                <a:pt x="17001" y="6563"/>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9" name="Freeform: Shape 3718">
                          <a:extLst>
                            <a:ext uri="{FF2B5EF4-FFF2-40B4-BE49-F238E27FC236}">
                              <a16:creationId xmlns:a16="http://schemas.microsoft.com/office/drawing/2014/main" id="{6A5D4171-203C-4833-93EA-C069085636DE}"/>
                            </a:ext>
                          </a:extLst>
                        </p:cNvPr>
                        <p:cNvSpPr/>
                        <p:nvPr/>
                      </p:nvSpPr>
                      <p:spPr>
                        <a:xfrm>
                          <a:off x="4863442" y="4656622"/>
                          <a:ext cx="16613" cy="9607"/>
                        </a:xfrm>
                        <a:custGeom>
                          <a:avLst/>
                          <a:gdLst>
                            <a:gd name="connsiteX0" fmla="*/ 16170 w 16613"/>
                            <a:gd name="connsiteY0" fmla="*/ 6060 h 9607"/>
                            <a:gd name="connsiteX1" fmla="*/ 11774 w 16613"/>
                            <a:gd name="connsiteY1" fmla="*/ 3422 h 9607"/>
                            <a:gd name="connsiteX2" fmla="*/ 11649 w 16613"/>
                            <a:gd name="connsiteY2" fmla="*/ 3297 h 9607"/>
                            <a:gd name="connsiteX3" fmla="*/ 10770 w 16613"/>
                            <a:gd name="connsiteY3" fmla="*/ 2795 h 9607"/>
                            <a:gd name="connsiteX4" fmla="*/ 10770 w 16613"/>
                            <a:gd name="connsiteY4" fmla="*/ 2795 h 9607"/>
                            <a:gd name="connsiteX5" fmla="*/ 10770 w 16613"/>
                            <a:gd name="connsiteY5" fmla="*/ 2795 h 9607"/>
                            <a:gd name="connsiteX6" fmla="*/ 6248 w 16613"/>
                            <a:gd name="connsiteY6" fmla="*/ 283 h 9607"/>
                            <a:gd name="connsiteX7" fmla="*/ 3862 w 16613"/>
                            <a:gd name="connsiteY7" fmla="*/ 283 h 9607"/>
                            <a:gd name="connsiteX8" fmla="*/ 471 w 16613"/>
                            <a:gd name="connsiteY8" fmla="*/ 2167 h 9607"/>
                            <a:gd name="connsiteX9" fmla="*/ 471 w 16613"/>
                            <a:gd name="connsiteY9" fmla="*/ 3548 h 9607"/>
                            <a:gd name="connsiteX10" fmla="*/ 4867 w 16613"/>
                            <a:gd name="connsiteY10" fmla="*/ 6060 h 9607"/>
                            <a:gd name="connsiteX11" fmla="*/ 4867 w 16613"/>
                            <a:gd name="connsiteY11" fmla="*/ 6060 h 9607"/>
                            <a:gd name="connsiteX12" fmla="*/ 10267 w 16613"/>
                            <a:gd name="connsiteY12" fmla="*/ 9325 h 9607"/>
                            <a:gd name="connsiteX13" fmla="*/ 12528 w 16613"/>
                            <a:gd name="connsiteY13" fmla="*/ 9325 h 9607"/>
                            <a:gd name="connsiteX14" fmla="*/ 15919 w 16613"/>
                            <a:gd name="connsiteY14" fmla="*/ 7442 h 9607"/>
                            <a:gd name="connsiteX15" fmla="*/ 16170 w 16613"/>
                            <a:gd name="connsiteY15" fmla="*/ 6060 h 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613" h="9607">
                              <a:moveTo>
                                <a:pt x="16170" y="6060"/>
                              </a:moveTo>
                              <a:lnTo>
                                <a:pt x="11774" y="3422"/>
                              </a:lnTo>
                              <a:cubicBezTo>
                                <a:pt x="11774" y="3422"/>
                                <a:pt x="11774" y="3422"/>
                                <a:pt x="11649" y="3297"/>
                              </a:cubicBezTo>
                              <a:lnTo>
                                <a:pt x="10770" y="2795"/>
                              </a:lnTo>
                              <a:lnTo>
                                <a:pt x="10770" y="2795"/>
                              </a:lnTo>
                              <a:lnTo>
                                <a:pt x="10770" y="2795"/>
                              </a:lnTo>
                              <a:lnTo>
                                <a:pt x="6248" y="283"/>
                              </a:lnTo>
                              <a:cubicBezTo>
                                <a:pt x="5620" y="-94"/>
                                <a:pt x="4615" y="-94"/>
                                <a:pt x="3862" y="283"/>
                              </a:cubicBezTo>
                              <a:lnTo>
                                <a:pt x="471" y="2167"/>
                              </a:lnTo>
                              <a:cubicBezTo>
                                <a:pt x="-157" y="2544"/>
                                <a:pt x="-157" y="3171"/>
                                <a:pt x="471" y="3548"/>
                              </a:cubicBezTo>
                              <a:lnTo>
                                <a:pt x="4867" y="6060"/>
                              </a:lnTo>
                              <a:lnTo>
                                <a:pt x="4867" y="6060"/>
                              </a:lnTo>
                              <a:lnTo>
                                <a:pt x="10267" y="9325"/>
                              </a:lnTo>
                              <a:cubicBezTo>
                                <a:pt x="10895" y="9702"/>
                                <a:pt x="11900" y="9702"/>
                                <a:pt x="12528" y="9325"/>
                              </a:cubicBezTo>
                              <a:lnTo>
                                <a:pt x="15919" y="7442"/>
                              </a:lnTo>
                              <a:cubicBezTo>
                                <a:pt x="16798" y="7065"/>
                                <a:pt x="16798" y="6437"/>
                                <a:pt x="16170" y="6060"/>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20" name="Graphic 4">
                        <a:extLst>
                          <a:ext uri="{FF2B5EF4-FFF2-40B4-BE49-F238E27FC236}">
                            <a16:creationId xmlns:a16="http://schemas.microsoft.com/office/drawing/2014/main" id="{84FB7ED1-A2DF-40A1-A747-5F7CF3F14040}"/>
                          </a:ext>
                        </a:extLst>
                      </p:cNvPr>
                      <p:cNvGrpSpPr/>
                      <p:nvPr/>
                    </p:nvGrpSpPr>
                    <p:grpSpPr>
                      <a:xfrm>
                        <a:off x="4876176" y="4664157"/>
                        <a:ext cx="10514" cy="7347"/>
                        <a:chOff x="4876176" y="4664157"/>
                        <a:chExt cx="10514" cy="7347"/>
                      </a:xfrm>
                      <a:solidFill>
                        <a:schemeClr val="accent1"/>
                      </a:solidFill>
                    </p:grpSpPr>
                    <p:sp>
                      <p:nvSpPr>
                        <p:cNvPr id="3721" name="Freeform: Shape 3720">
                          <a:extLst>
                            <a:ext uri="{FF2B5EF4-FFF2-40B4-BE49-F238E27FC236}">
                              <a16:creationId xmlns:a16="http://schemas.microsoft.com/office/drawing/2014/main" id="{4325049B-17C7-4A4A-8A85-21070F72CBD4}"/>
                            </a:ext>
                          </a:extLst>
                        </p:cNvPr>
                        <p:cNvSpPr/>
                        <p:nvPr/>
                      </p:nvSpPr>
                      <p:spPr>
                        <a:xfrm>
                          <a:off x="4876176" y="4665539"/>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2" name="Freeform: Shape 3721">
                          <a:extLst>
                            <a:ext uri="{FF2B5EF4-FFF2-40B4-BE49-F238E27FC236}">
                              <a16:creationId xmlns:a16="http://schemas.microsoft.com/office/drawing/2014/main" id="{DE07AE1D-B416-4D19-9759-B33F4AAE6252}"/>
                            </a:ext>
                          </a:extLst>
                        </p:cNvPr>
                        <p:cNvSpPr/>
                        <p:nvPr/>
                      </p:nvSpPr>
                      <p:spPr>
                        <a:xfrm>
                          <a:off x="4876176" y="4665539"/>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3" name="Freeform: Shape 3722">
                          <a:extLst>
                            <a:ext uri="{FF2B5EF4-FFF2-40B4-BE49-F238E27FC236}">
                              <a16:creationId xmlns:a16="http://schemas.microsoft.com/office/drawing/2014/main" id="{6DDA7BFF-52D4-45F2-B08E-1D1208CDB9D5}"/>
                            </a:ext>
                          </a:extLst>
                        </p:cNvPr>
                        <p:cNvSpPr/>
                        <p:nvPr/>
                      </p:nvSpPr>
                      <p:spPr>
                        <a:xfrm>
                          <a:off x="4876378" y="4664157"/>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620" y="-94"/>
                                <a:pt x="4615"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24" name="Graphic 4">
                        <a:extLst>
                          <a:ext uri="{FF2B5EF4-FFF2-40B4-BE49-F238E27FC236}">
                            <a16:creationId xmlns:a16="http://schemas.microsoft.com/office/drawing/2014/main" id="{84FB7ED1-A2DF-40A1-A747-5F7CF3F14040}"/>
                          </a:ext>
                        </a:extLst>
                      </p:cNvPr>
                      <p:cNvGrpSpPr/>
                      <p:nvPr/>
                    </p:nvGrpSpPr>
                    <p:grpSpPr>
                      <a:xfrm>
                        <a:off x="4882581" y="4667800"/>
                        <a:ext cx="10502" cy="7347"/>
                        <a:chOff x="4882581" y="4667800"/>
                        <a:chExt cx="10502" cy="7347"/>
                      </a:xfrm>
                      <a:solidFill>
                        <a:schemeClr val="accent1"/>
                      </a:solidFill>
                    </p:grpSpPr>
                    <p:sp>
                      <p:nvSpPr>
                        <p:cNvPr id="3725" name="Freeform: Shape 3724">
                          <a:extLst>
                            <a:ext uri="{FF2B5EF4-FFF2-40B4-BE49-F238E27FC236}">
                              <a16:creationId xmlns:a16="http://schemas.microsoft.com/office/drawing/2014/main" id="{102FE355-197A-4DA8-9CCF-CD9D5928C610}"/>
                            </a:ext>
                          </a:extLst>
                        </p:cNvPr>
                        <p:cNvSpPr/>
                        <p:nvPr/>
                      </p:nvSpPr>
                      <p:spPr>
                        <a:xfrm>
                          <a:off x="4882581" y="4669181"/>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6" name="Freeform: Shape 3725">
                          <a:extLst>
                            <a:ext uri="{FF2B5EF4-FFF2-40B4-BE49-F238E27FC236}">
                              <a16:creationId xmlns:a16="http://schemas.microsoft.com/office/drawing/2014/main" id="{2C5B9F4A-8661-462E-977B-7C3A0A31C6E7}"/>
                            </a:ext>
                          </a:extLst>
                        </p:cNvPr>
                        <p:cNvSpPr/>
                        <p:nvPr/>
                      </p:nvSpPr>
                      <p:spPr>
                        <a:xfrm>
                          <a:off x="4882581" y="4669181"/>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7" name="Freeform: Shape 3726">
                          <a:extLst>
                            <a:ext uri="{FF2B5EF4-FFF2-40B4-BE49-F238E27FC236}">
                              <a16:creationId xmlns:a16="http://schemas.microsoft.com/office/drawing/2014/main" id="{E8C205D3-6E31-4E9C-8AB2-3C0A5C63C471}"/>
                            </a:ext>
                          </a:extLst>
                        </p:cNvPr>
                        <p:cNvSpPr/>
                        <p:nvPr/>
                      </p:nvSpPr>
                      <p:spPr>
                        <a:xfrm>
                          <a:off x="4882784" y="466780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28" name="Graphic 4">
                        <a:extLst>
                          <a:ext uri="{FF2B5EF4-FFF2-40B4-BE49-F238E27FC236}">
                            <a16:creationId xmlns:a16="http://schemas.microsoft.com/office/drawing/2014/main" id="{84FB7ED1-A2DF-40A1-A747-5F7CF3F14040}"/>
                          </a:ext>
                        </a:extLst>
                      </p:cNvPr>
                      <p:cNvGrpSpPr/>
                      <p:nvPr/>
                    </p:nvGrpSpPr>
                    <p:grpSpPr>
                      <a:xfrm>
                        <a:off x="4888987" y="4671568"/>
                        <a:ext cx="10502" cy="7347"/>
                        <a:chOff x="4888987" y="4671568"/>
                        <a:chExt cx="10502" cy="7347"/>
                      </a:xfrm>
                      <a:solidFill>
                        <a:schemeClr val="accent1"/>
                      </a:solidFill>
                    </p:grpSpPr>
                    <p:sp>
                      <p:nvSpPr>
                        <p:cNvPr id="3729" name="Freeform: Shape 3728">
                          <a:extLst>
                            <a:ext uri="{FF2B5EF4-FFF2-40B4-BE49-F238E27FC236}">
                              <a16:creationId xmlns:a16="http://schemas.microsoft.com/office/drawing/2014/main" id="{9E9DE999-9CD1-4068-8D21-7F0D3C2BFEA8}"/>
                            </a:ext>
                          </a:extLst>
                        </p:cNvPr>
                        <p:cNvSpPr/>
                        <p:nvPr/>
                      </p:nvSpPr>
                      <p:spPr>
                        <a:xfrm>
                          <a:off x="4888987" y="4672949"/>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0" name="Freeform: Shape 3729">
                          <a:extLst>
                            <a:ext uri="{FF2B5EF4-FFF2-40B4-BE49-F238E27FC236}">
                              <a16:creationId xmlns:a16="http://schemas.microsoft.com/office/drawing/2014/main" id="{07960448-CB5F-4ADA-9F36-0119985C09C5}"/>
                            </a:ext>
                          </a:extLst>
                        </p:cNvPr>
                        <p:cNvSpPr/>
                        <p:nvPr/>
                      </p:nvSpPr>
                      <p:spPr>
                        <a:xfrm>
                          <a:off x="4888987" y="4672949"/>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1" name="Freeform: Shape 3730">
                          <a:extLst>
                            <a:ext uri="{FF2B5EF4-FFF2-40B4-BE49-F238E27FC236}">
                              <a16:creationId xmlns:a16="http://schemas.microsoft.com/office/drawing/2014/main" id="{0C646D78-7020-438E-AE35-65372A0847A0}"/>
                            </a:ext>
                          </a:extLst>
                        </p:cNvPr>
                        <p:cNvSpPr/>
                        <p:nvPr/>
                      </p:nvSpPr>
                      <p:spPr>
                        <a:xfrm>
                          <a:off x="4889189" y="4671568"/>
                          <a:ext cx="10110" cy="5966"/>
                        </a:xfrm>
                        <a:custGeom>
                          <a:avLst/>
                          <a:gdLst>
                            <a:gd name="connsiteX0" fmla="*/ 3862 w 10110"/>
                            <a:gd name="connsiteY0" fmla="*/ 283 h 5966"/>
                            <a:gd name="connsiteX1" fmla="*/ 471 w 10110"/>
                            <a:gd name="connsiteY1" fmla="*/ 2292 h 5966"/>
                            <a:gd name="connsiteX2" fmla="*/ 471 w 10110"/>
                            <a:gd name="connsiteY2" fmla="*/ 3674 h 5966"/>
                            <a:gd name="connsiteX3" fmla="*/ 3862 w 10110"/>
                            <a:gd name="connsiteY3" fmla="*/ 5683 h 5966"/>
                            <a:gd name="connsiteX4" fmla="*/ 6249 w 10110"/>
                            <a:gd name="connsiteY4" fmla="*/ 5683 h 5966"/>
                            <a:gd name="connsiteX5" fmla="*/ 9639 w 10110"/>
                            <a:gd name="connsiteY5" fmla="*/ 3674 h 5966"/>
                            <a:gd name="connsiteX6" fmla="*/ 9639 w 10110"/>
                            <a:gd name="connsiteY6" fmla="*/ 2292 h 5966"/>
                            <a:gd name="connsiteX7" fmla="*/ 6249 w 10110"/>
                            <a:gd name="connsiteY7" fmla="*/ 283 h 5966"/>
                            <a:gd name="connsiteX8" fmla="*/ 3862 w 10110"/>
                            <a:gd name="connsiteY8" fmla="*/ 283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6">
                              <a:moveTo>
                                <a:pt x="3862" y="283"/>
                              </a:moveTo>
                              <a:lnTo>
                                <a:pt x="471" y="2292"/>
                              </a:lnTo>
                              <a:cubicBezTo>
                                <a:pt x="-157" y="2669"/>
                                <a:pt x="-157" y="3297"/>
                                <a:pt x="471" y="3674"/>
                              </a:cubicBezTo>
                              <a:lnTo>
                                <a:pt x="3862" y="5683"/>
                              </a:lnTo>
                              <a:cubicBezTo>
                                <a:pt x="4490" y="6060"/>
                                <a:pt x="5495" y="6060"/>
                                <a:pt x="6249" y="5683"/>
                              </a:cubicBezTo>
                              <a:lnTo>
                                <a:pt x="9639" y="3674"/>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32" name="Graphic 4">
                        <a:extLst>
                          <a:ext uri="{FF2B5EF4-FFF2-40B4-BE49-F238E27FC236}">
                            <a16:creationId xmlns:a16="http://schemas.microsoft.com/office/drawing/2014/main" id="{84FB7ED1-A2DF-40A1-A747-5F7CF3F14040}"/>
                          </a:ext>
                        </a:extLst>
                      </p:cNvPr>
                      <p:cNvGrpSpPr/>
                      <p:nvPr/>
                    </p:nvGrpSpPr>
                    <p:grpSpPr>
                      <a:xfrm>
                        <a:off x="4895266" y="4675210"/>
                        <a:ext cx="10514" cy="7347"/>
                        <a:chOff x="4895266" y="4675210"/>
                        <a:chExt cx="10514" cy="7347"/>
                      </a:xfrm>
                      <a:solidFill>
                        <a:schemeClr val="accent1"/>
                      </a:solidFill>
                    </p:grpSpPr>
                    <p:sp>
                      <p:nvSpPr>
                        <p:cNvPr id="3733" name="Freeform: Shape 3732">
                          <a:extLst>
                            <a:ext uri="{FF2B5EF4-FFF2-40B4-BE49-F238E27FC236}">
                              <a16:creationId xmlns:a16="http://schemas.microsoft.com/office/drawing/2014/main" id="{5C2C29D3-7333-4A1E-A0A7-00D562ECB818}"/>
                            </a:ext>
                          </a:extLst>
                        </p:cNvPr>
                        <p:cNvSpPr/>
                        <p:nvPr/>
                      </p:nvSpPr>
                      <p:spPr>
                        <a:xfrm>
                          <a:off x="4895266" y="467659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4" name="Freeform: Shape 3733">
                          <a:extLst>
                            <a:ext uri="{FF2B5EF4-FFF2-40B4-BE49-F238E27FC236}">
                              <a16:creationId xmlns:a16="http://schemas.microsoft.com/office/drawing/2014/main" id="{B1220449-A260-47D7-B4B8-11D41188059A}"/>
                            </a:ext>
                          </a:extLst>
                        </p:cNvPr>
                        <p:cNvSpPr/>
                        <p:nvPr/>
                      </p:nvSpPr>
                      <p:spPr>
                        <a:xfrm>
                          <a:off x="4895266" y="467659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5" name="Freeform: Shape 3734">
                          <a:extLst>
                            <a:ext uri="{FF2B5EF4-FFF2-40B4-BE49-F238E27FC236}">
                              <a16:creationId xmlns:a16="http://schemas.microsoft.com/office/drawing/2014/main" id="{69A33A59-71D3-4F41-9251-84AD3969A945}"/>
                            </a:ext>
                          </a:extLst>
                        </p:cNvPr>
                        <p:cNvSpPr/>
                        <p:nvPr/>
                      </p:nvSpPr>
                      <p:spPr>
                        <a:xfrm>
                          <a:off x="4895594" y="467521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36" name="Graphic 4">
                        <a:extLst>
                          <a:ext uri="{FF2B5EF4-FFF2-40B4-BE49-F238E27FC236}">
                            <a16:creationId xmlns:a16="http://schemas.microsoft.com/office/drawing/2014/main" id="{84FB7ED1-A2DF-40A1-A747-5F7CF3F14040}"/>
                          </a:ext>
                        </a:extLst>
                      </p:cNvPr>
                      <p:cNvGrpSpPr/>
                      <p:nvPr/>
                    </p:nvGrpSpPr>
                    <p:grpSpPr>
                      <a:xfrm>
                        <a:off x="4901672" y="4678852"/>
                        <a:ext cx="10514" cy="7346"/>
                        <a:chOff x="4901672" y="4678852"/>
                        <a:chExt cx="10514" cy="7346"/>
                      </a:xfrm>
                      <a:solidFill>
                        <a:schemeClr val="accent1"/>
                      </a:solidFill>
                    </p:grpSpPr>
                    <p:sp>
                      <p:nvSpPr>
                        <p:cNvPr id="3737" name="Freeform: Shape 3736">
                          <a:extLst>
                            <a:ext uri="{FF2B5EF4-FFF2-40B4-BE49-F238E27FC236}">
                              <a16:creationId xmlns:a16="http://schemas.microsoft.com/office/drawing/2014/main" id="{0CEF87E0-7450-45E1-85AB-D7CED3EE5621}"/>
                            </a:ext>
                          </a:extLst>
                        </p:cNvPr>
                        <p:cNvSpPr/>
                        <p:nvPr/>
                      </p:nvSpPr>
                      <p:spPr>
                        <a:xfrm>
                          <a:off x="4901672" y="4680234"/>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8" name="Freeform: Shape 3737">
                          <a:extLst>
                            <a:ext uri="{FF2B5EF4-FFF2-40B4-BE49-F238E27FC236}">
                              <a16:creationId xmlns:a16="http://schemas.microsoft.com/office/drawing/2014/main" id="{24440612-10AF-4EE5-A780-9B4CD1763E20}"/>
                            </a:ext>
                          </a:extLst>
                        </p:cNvPr>
                        <p:cNvSpPr/>
                        <p:nvPr/>
                      </p:nvSpPr>
                      <p:spPr>
                        <a:xfrm>
                          <a:off x="4901672" y="4680234"/>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9" name="Freeform: Shape 3738">
                          <a:extLst>
                            <a:ext uri="{FF2B5EF4-FFF2-40B4-BE49-F238E27FC236}">
                              <a16:creationId xmlns:a16="http://schemas.microsoft.com/office/drawing/2014/main" id="{4E6D3F25-05FC-4A59-BD74-148B7E873226}"/>
                            </a:ext>
                          </a:extLst>
                        </p:cNvPr>
                        <p:cNvSpPr/>
                        <p:nvPr/>
                      </p:nvSpPr>
                      <p:spPr>
                        <a:xfrm>
                          <a:off x="4901874" y="4678852"/>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40" name="Graphic 4">
                        <a:extLst>
                          <a:ext uri="{FF2B5EF4-FFF2-40B4-BE49-F238E27FC236}">
                            <a16:creationId xmlns:a16="http://schemas.microsoft.com/office/drawing/2014/main" id="{84FB7ED1-A2DF-40A1-A747-5F7CF3F14040}"/>
                          </a:ext>
                        </a:extLst>
                      </p:cNvPr>
                      <p:cNvGrpSpPr/>
                      <p:nvPr/>
                    </p:nvGrpSpPr>
                    <p:grpSpPr>
                      <a:xfrm>
                        <a:off x="4908077" y="4682494"/>
                        <a:ext cx="10502" cy="7347"/>
                        <a:chOff x="4908077" y="4682494"/>
                        <a:chExt cx="10502" cy="7347"/>
                      </a:xfrm>
                      <a:solidFill>
                        <a:schemeClr val="accent1"/>
                      </a:solidFill>
                    </p:grpSpPr>
                    <p:sp>
                      <p:nvSpPr>
                        <p:cNvPr id="3741" name="Freeform: Shape 3740">
                          <a:extLst>
                            <a:ext uri="{FF2B5EF4-FFF2-40B4-BE49-F238E27FC236}">
                              <a16:creationId xmlns:a16="http://schemas.microsoft.com/office/drawing/2014/main" id="{FA90C8CE-5760-4C35-9E0D-EEFEFE04CB0C}"/>
                            </a:ext>
                          </a:extLst>
                        </p:cNvPr>
                        <p:cNvSpPr/>
                        <p:nvPr/>
                      </p:nvSpPr>
                      <p:spPr>
                        <a:xfrm>
                          <a:off x="4908077" y="4683876"/>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2" name="Freeform: Shape 3741">
                          <a:extLst>
                            <a:ext uri="{FF2B5EF4-FFF2-40B4-BE49-F238E27FC236}">
                              <a16:creationId xmlns:a16="http://schemas.microsoft.com/office/drawing/2014/main" id="{EE697399-3F6D-4459-8139-3F45328D2187}"/>
                            </a:ext>
                          </a:extLst>
                        </p:cNvPr>
                        <p:cNvSpPr/>
                        <p:nvPr/>
                      </p:nvSpPr>
                      <p:spPr>
                        <a:xfrm>
                          <a:off x="4908077" y="4683876"/>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3" name="Freeform: Shape 3742">
                          <a:extLst>
                            <a:ext uri="{FF2B5EF4-FFF2-40B4-BE49-F238E27FC236}">
                              <a16:creationId xmlns:a16="http://schemas.microsoft.com/office/drawing/2014/main" id="{8FF31A9F-0D0C-4ED0-AA49-8ACCE47B556B}"/>
                            </a:ext>
                          </a:extLst>
                        </p:cNvPr>
                        <p:cNvSpPr/>
                        <p:nvPr/>
                      </p:nvSpPr>
                      <p:spPr>
                        <a:xfrm>
                          <a:off x="4908279" y="4682494"/>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8" y="3171"/>
                                <a:pt x="10268"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44" name="Graphic 4">
                        <a:extLst>
                          <a:ext uri="{FF2B5EF4-FFF2-40B4-BE49-F238E27FC236}">
                            <a16:creationId xmlns:a16="http://schemas.microsoft.com/office/drawing/2014/main" id="{84FB7ED1-A2DF-40A1-A747-5F7CF3F14040}"/>
                          </a:ext>
                        </a:extLst>
                      </p:cNvPr>
                      <p:cNvGrpSpPr/>
                      <p:nvPr/>
                    </p:nvGrpSpPr>
                    <p:grpSpPr>
                      <a:xfrm>
                        <a:off x="4914357" y="4686137"/>
                        <a:ext cx="10514" cy="7347"/>
                        <a:chOff x="4914357" y="4686137"/>
                        <a:chExt cx="10514" cy="7347"/>
                      </a:xfrm>
                      <a:solidFill>
                        <a:schemeClr val="accent1"/>
                      </a:solidFill>
                    </p:grpSpPr>
                    <p:sp>
                      <p:nvSpPr>
                        <p:cNvPr id="3745" name="Freeform: Shape 3744">
                          <a:extLst>
                            <a:ext uri="{FF2B5EF4-FFF2-40B4-BE49-F238E27FC236}">
                              <a16:creationId xmlns:a16="http://schemas.microsoft.com/office/drawing/2014/main" id="{84F6A37C-5E3A-443D-8664-85F6494F638D}"/>
                            </a:ext>
                          </a:extLst>
                        </p:cNvPr>
                        <p:cNvSpPr/>
                        <p:nvPr/>
                      </p:nvSpPr>
                      <p:spPr>
                        <a:xfrm>
                          <a:off x="4914357" y="4687518"/>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6" name="Freeform: Shape 3745">
                          <a:extLst>
                            <a:ext uri="{FF2B5EF4-FFF2-40B4-BE49-F238E27FC236}">
                              <a16:creationId xmlns:a16="http://schemas.microsoft.com/office/drawing/2014/main" id="{5D7420AF-CDDE-4453-B9F6-F65E9CD5C41C}"/>
                            </a:ext>
                          </a:extLst>
                        </p:cNvPr>
                        <p:cNvSpPr/>
                        <p:nvPr/>
                      </p:nvSpPr>
                      <p:spPr>
                        <a:xfrm>
                          <a:off x="4914357" y="4687518"/>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7" name="Freeform: Shape 3746">
                          <a:extLst>
                            <a:ext uri="{FF2B5EF4-FFF2-40B4-BE49-F238E27FC236}">
                              <a16:creationId xmlns:a16="http://schemas.microsoft.com/office/drawing/2014/main" id="{8F731B1E-CF60-445C-A47A-A84FD64DA371}"/>
                            </a:ext>
                          </a:extLst>
                        </p:cNvPr>
                        <p:cNvSpPr/>
                        <p:nvPr/>
                      </p:nvSpPr>
                      <p:spPr>
                        <a:xfrm>
                          <a:off x="4914559" y="4686137"/>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48" name="Graphic 4">
                        <a:extLst>
                          <a:ext uri="{FF2B5EF4-FFF2-40B4-BE49-F238E27FC236}">
                            <a16:creationId xmlns:a16="http://schemas.microsoft.com/office/drawing/2014/main" id="{84FB7ED1-A2DF-40A1-A747-5F7CF3F14040}"/>
                          </a:ext>
                        </a:extLst>
                      </p:cNvPr>
                      <p:cNvGrpSpPr/>
                      <p:nvPr/>
                    </p:nvGrpSpPr>
                    <p:grpSpPr>
                      <a:xfrm>
                        <a:off x="4920649" y="4689873"/>
                        <a:ext cx="10457" cy="7504"/>
                        <a:chOff x="4920649" y="4689873"/>
                        <a:chExt cx="10457" cy="7504"/>
                      </a:xfrm>
                      <a:solidFill>
                        <a:schemeClr val="accent1"/>
                      </a:solidFill>
                    </p:grpSpPr>
                    <p:sp>
                      <p:nvSpPr>
                        <p:cNvPr id="3749" name="Freeform: Shape 3748">
                          <a:extLst>
                            <a:ext uri="{FF2B5EF4-FFF2-40B4-BE49-F238E27FC236}">
                              <a16:creationId xmlns:a16="http://schemas.microsoft.com/office/drawing/2014/main" id="{E0C262ED-0B4D-4E50-9FE4-09AE62292AE9}"/>
                            </a:ext>
                          </a:extLst>
                        </p:cNvPr>
                        <p:cNvSpPr/>
                        <p:nvPr/>
                      </p:nvSpPr>
                      <p:spPr>
                        <a:xfrm>
                          <a:off x="4920649" y="4691286"/>
                          <a:ext cx="10457" cy="6091"/>
                        </a:xfrm>
                        <a:custGeom>
                          <a:avLst/>
                          <a:gdLst>
                            <a:gd name="connsiteX0" fmla="*/ 10457 w 10457"/>
                            <a:gd name="connsiteY0" fmla="*/ 2543 h 6091"/>
                            <a:gd name="connsiteX1" fmla="*/ 7066 w 10457"/>
                            <a:gd name="connsiteY1" fmla="*/ 4553 h 6091"/>
                            <a:gd name="connsiteX2" fmla="*/ 6689 w 10457"/>
                            <a:gd name="connsiteY2" fmla="*/ 5683 h 6091"/>
                            <a:gd name="connsiteX3" fmla="*/ 6438 w 10457"/>
                            <a:gd name="connsiteY3" fmla="*/ 5809 h 6091"/>
                            <a:gd name="connsiteX4" fmla="*/ 4052 w 10457"/>
                            <a:gd name="connsiteY4" fmla="*/ 5809 h 6091"/>
                            <a:gd name="connsiteX5" fmla="*/ 535 w 10457"/>
                            <a:gd name="connsiteY5" fmla="*/ 3673 h 6091"/>
                            <a:gd name="connsiteX6" fmla="*/ 33 w 10457"/>
                            <a:gd name="connsiteY6" fmla="*/ 2795 h 6091"/>
                            <a:gd name="connsiteX7" fmla="*/ 284 w 10457"/>
                            <a:gd name="connsiteY7" fmla="*/ 1539 h 6091"/>
                            <a:gd name="connsiteX8" fmla="*/ 1916 w 10457"/>
                            <a:gd name="connsiteY8" fmla="*/ 1539 h 6091"/>
                            <a:gd name="connsiteX9" fmla="*/ 4052 w 10457"/>
                            <a:gd name="connsiteY9" fmla="*/ 283 h 6091"/>
                            <a:gd name="connsiteX10" fmla="*/ 6438 w 10457"/>
                            <a:gd name="connsiteY10" fmla="*/ 283 h 6091"/>
                            <a:gd name="connsiteX11" fmla="*/ 8699 w 10457"/>
                            <a:gd name="connsiteY11" fmla="*/ 1539 h 6091"/>
                            <a:gd name="connsiteX12" fmla="*/ 10331 w 10457"/>
                            <a:gd name="connsiteY12" fmla="*/ 1539 h 6091"/>
                            <a:gd name="connsiteX13" fmla="*/ 10457 w 10457"/>
                            <a:gd name="connsiteY13" fmla="*/ 2543 h 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57" h="6091">
                              <a:moveTo>
                                <a:pt x="10457" y="2543"/>
                              </a:moveTo>
                              <a:lnTo>
                                <a:pt x="7066" y="4553"/>
                              </a:lnTo>
                              <a:cubicBezTo>
                                <a:pt x="6564" y="4804"/>
                                <a:pt x="6438" y="5306"/>
                                <a:pt x="6689" y="5683"/>
                              </a:cubicBezTo>
                              <a:lnTo>
                                <a:pt x="6438" y="5809"/>
                              </a:lnTo>
                              <a:cubicBezTo>
                                <a:pt x="5810" y="6186"/>
                                <a:pt x="4680" y="6186"/>
                                <a:pt x="4052" y="5809"/>
                              </a:cubicBezTo>
                              <a:lnTo>
                                <a:pt x="535" y="3673"/>
                              </a:lnTo>
                              <a:cubicBezTo>
                                <a:pt x="158" y="3422"/>
                                <a:pt x="-93" y="3046"/>
                                <a:pt x="33" y="2795"/>
                              </a:cubicBezTo>
                              <a:lnTo>
                                <a:pt x="284" y="1539"/>
                              </a:lnTo>
                              <a:lnTo>
                                <a:pt x="1916" y="1539"/>
                              </a:lnTo>
                              <a:lnTo>
                                <a:pt x="4052" y="283"/>
                              </a:lnTo>
                              <a:cubicBezTo>
                                <a:pt x="4680" y="-94"/>
                                <a:pt x="5810" y="-94"/>
                                <a:pt x="6438" y="283"/>
                              </a:cubicBezTo>
                              <a:lnTo>
                                <a:pt x="8699" y="1539"/>
                              </a:lnTo>
                              <a:lnTo>
                                <a:pt x="10331" y="1539"/>
                              </a:lnTo>
                              <a:lnTo>
                                <a:pt x="10457" y="2543"/>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0" name="Freeform: Shape 3749">
                          <a:extLst>
                            <a:ext uri="{FF2B5EF4-FFF2-40B4-BE49-F238E27FC236}">
                              <a16:creationId xmlns:a16="http://schemas.microsoft.com/office/drawing/2014/main" id="{ADCC2C10-6D0A-4DC3-A059-2C9E43BD5306}"/>
                            </a:ext>
                          </a:extLst>
                        </p:cNvPr>
                        <p:cNvSpPr/>
                        <p:nvPr/>
                      </p:nvSpPr>
                      <p:spPr>
                        <a:xfrm>
                          <a:off x="4920649" y="4691286"/>
                          <a:ext cx="10457" cy="6091"/>
                        </a:xfrm>
                        <a:custGeom>
                          <a:avLst/>
                          <a:gdLst>
                            <a:gd name="connsiteX0" fmla="*/ 10457 w 10457"/>
                            <a:gd name="connsiteY0" fmla="*/ 2543 h 6091"/>
                            <a:gd name="connsiteX1" fmla="*/ 7066 w 10457"/>
                            <a:gd name="connsiteY1" fmla="*/ 4553 h 6091"/>
                            <a:gd name="connsiteX2" fmla="*/ 6689 w 10457"/>
                            <a:gd name="connsiteY2" fmla="*/ 5683 h 6091"/>
                            <a:gd name="connsiteX3" fmla="*/ 6438 w 10457"/>
                            <a:gd name="connsiteY3" fmla="*/ 5809 h 6091"/>
                            <a:gd name="connsiteX4" fmla="*/ 4052 w 10457"/>
                            <a:gd name="connsiteY4" fmla="*/ 5809 h 6091"/>
                            <a:gd name="connsiteX5" fmla="*/ 535 w 10457"/>
                            <a:gd name="connsiteY5" fmla="*/ 3673 h 6091"/>
                            <a:gd name="connsiteX6" fmla="*/ 33 w 10457"/>
                            <a:gd name="connsiteY6" fmla="*/ 2795 h 6091"/>
                            <a:gd name="connsiteX7" fmla="*/ 284 w 10457"/>
                            <a:gd name="connsiteY7" fmla="*/ 1539 h 6091"/>
                            <a:gd name="connsiteX8" fmla="*/ 1916 w 10457"/>
                            <a:gd name="connsiteY8" fmla="*/ 1539 h 6091"/>
                            <a:gd name="connsiteX9" fmla="*/ 4052 w 10457"/>
                            <a:gd name="connsiteY9" fmla="*/ 283 h 6091"/>
                            <a:gd name="connsiteX10" fmla="*/ 6438 w 10457"/>
                            <a:gd name="connsiteY10" fmla="*/ 283 h 6091"/>
                            <a:gd name="connsiteX11" fmla="*/ 8699 w 10457"/>
                            <a:gd name="connsiteY11" fmla="*/ 1539 h 6091"/>
                            <a:gd name="connsiteX12" fmla="*/ 10331 w 10457"/>
                            <a:gd name="connsiteY12" fmla="*/ 1539 h 6091"/>
                            <a:gd name="connsiteX13" fmla="*/ 10457 w 10457"/>
                            <a:gd name="connsiteY13" fmla="*/ 2543 h 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57" h="6091">
                              <a:moveTo>
                                <a:pt x="10457" y="2543"/>
                              </a:moveTo>
                              <a:lnTo>
                                <a:pt x="7066" y="4553"/>
                              </a:lnTo>
                              <a:cubicBezTo>
                                <a:pt x="6564" y="4804"/>
                                <a:pt x="6438" y="5306"/>
                                <a:pt x="6689" y="5683"/>
                              </a:cubicBezTo>
                              <a:lnTo>
                                <a:pt x="6438" y="5809"/>
                              </a:lnTo>
                              <a:cubicBezTo>
                                <a:pt x="5810" y="6186"/>
                                <a:pt x="4680" y="6186"/>
                                <a:pt x="4052" y="5809"/>
                              </a:cubicBezTo>
                              <a:lnTo>
                                <a:pt x="535" y="3673"/>
                              </a:lnTo>
                              <a:cubicBezTo>
                                <a:pt x="158" y="3422"/>
                                <a:pt x="-93" y="3046"/>
                                <a:pt x="33" y="2795"/>
                              </a:cubicBezTo>
                              <a:lnTo>
                                <a:pt x="284" y="1539"/>
                              </a:lnTo>
                              <a:lnTo>
                                <a:pt x="1916" y="1539"/>
                              </a:lnTo>
                              <a:lnTo>
                                <a:pt x="4052" y="283"/>
                              </a:lnTo>
                              <a:cubicBezTo>
                                <a:pt x="4680" y="-94"/>
                                <a:pt x="5810" y="-94"/>
                                <a:pt x="6438" y="283"/>
                              </a:cubicBezTo>
                              <a:lnTo>
                                <a:pt x="8699" y="1539"/>
                              </a:lnTo>
                              <a:lnTo>
                                <a:pt x="10331" y="1539"/>
                              </a:lnTo>
                              <a:lnTo>
                                <a:pt x="10457" y="2543"/>
                              </a:ln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1" name="Freeform: Shape 3750">
                          <a:extLst>
                            <a:ext uri="{FF2B5EF4-FFF2-40B4-BE49-F238E27FC236}">
                              <a16:creationId xmlns:a16="http://schemas.microsoft.com/office/drawing/2014/main" id="{95187B2D-8313-42AF-8018-9D435EC589FC}"/>
                            </a:ext>
                          </a:extLst>
                        </p:cNvPr>
                        <p:cNvSpPr/>
                        <p:nvPr/>
                      </p:nvSpPr>
                      <p:spPr>
                        <a:xfrm>
                          <a:off x="4920964" y="4689873"/>
                          <a:ext cx="10110" cy="5871"/>
                        </a:xfrm>
                        <a:custGeom>
                          <a:avLst/>
                          <a:gdLst>
                            <a:gd name="connsiteX0" fmla="*/ 3862 w 10110"/>
                            <a:gd name="connsiteY0" fmla="*/ 188 h 5871"/>
                            <a:gd name="connsiteX1" fmla="*/ 471 w 10110"/>
                            <a:gd name="connsiteY1" fmla="*/ 2198 h 5871"/>
                            <a:gd name="connsiteX2" fmla="*/ 471 w 10110"/>
                            <a:gd name="connsiteY2" fmla="*/ 3579 h 5871"/>
                            <a:gd name="connsiteX3" fmla="*/ 3862 w 10110"/>
                            <a:gd name="connsiteY3" fmla="*/ 5589 h 5871"/>
                            <a:gd name="connsiteX4" fmla="*/ 6249 w 10110"/>
                            <a:gd name="connsiteY4" fmla="*/ 5589 h 5871"/>
                            <a:gd name="connsiteX5" fmla="*/ 9639 w 10110"/>
                            <a:gd name="connsiteY5" fmla="*/ 3579 h 5871"/>
                            <a:gd name="connsiteX6" fmla="*/ 9639 w 10110"/>
                            <a:gd name="connsiteY6" fmla="*/ 2198 h 5871"/>
                            <a:gd name="connsiteX7" fmla="*/ 6249 w 10110"/>
                            <a:gd name="connsiteY7" fmla="*/ 188 h 5871"/>
                            <a:gd name="connsiteX8" fmla="*/ 3862 w 10110"/>
                            <a:gd name="connsiteY8" fmla="*/ 188 h 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71">
                              <a:moveTo>
                                <a:pt x="3862" y="188"/>
                              </a:moveTo>
                              <a:lnTo>
                                <a:pt x="471" y="2198"/>
                              </a:lnTo>
                              <a:cubicBezTo>
                                <a:pt x="-157" y="2575"/>
                                <a:pt x="-157" y="3202"/>
                                <a:pt x="471" y="3579"/>
                              </a:cubicBezTo>
                              <a:lnTo>
                                <a:pt x="3862" y="5589"/>
                              </a:lnTo>
                              <a:cubicBezTo>
                                <a:pt x="4490" y="5966"/>
                                <a:pt x="5495" y="5966"/>
                                <a:pt x="6249" y="5589"/>
                              </a:cubicBezTo>
                              <a:lnTo>
                                <a:pt x="9639" y="3579"/>
                              </a:lnTo>
                              <a:cubicBezTo>
                                <a:pt x="10267" y="3202"/>
                                <a:pt x="10267" y="2575"/>
                                <a:pt x="9639" y="2198"/>
                              </a:cubicBezTo>
                              <a:lnTo>
                                <a:pt x="6249" y="188"/>
                              </a:lnTo>
                              <a:cubicBezTo>
                                <a:pt x="5495" y="-63"/>
                                <a:pt x="4490" y="-63"/>
                                <a:pt x="3862" y="18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752" name="Graphic 4">
                      <a:extLst>
                        <a:ext uri="{FF2B5EF4-FFF2-40B4-BE49-F238E27FC236}">
                          <a16:creationId xmlns:a16="http://schemas.microsoft.com/office/drawing/2014/main" id="{84FB7ED1-A2DF-40A1-A747-5F7CF3F14040}"/>
                        </a:ext>
                      </a:extLst>
                    </p:cNvPr>
                    <p:cNvGrpSpPr/>
                    <p:nvPr/>
                  </p:nvGrpSpPr>
                  <p:grpSpPr>
                    <a:xfrm>
                      <a:off x="4856834" y="4660529"/>
                      <a:ext cx="74065" cy="43881"/>
                      <a:chOff x="4856834" y="4660529"/>
                      <a:chExt cx="74065" cy="43881"/>
                    </a:xfrm>
                    <a:solidFill>
                      <a:schemeClr val="accent1"/>
                    </a:solidFill>
                  </p:grpSpPr>
                  <p:grpSp>
                    <p:nvGrpSpPr>
                      <p:cNvPr id="3753" name="Graphic 4">
                        <a:extLst>
                          <a:ext uri="{FF2B5EF4-FFF2-40B4-BE49-F238E27FC236}">
                            <a16:creationId xmlns:a16="http://schemas.microsoft.com/office/drawing/2014/main" id="{84FB7ED1-A2DF-40A1-A747-5F7CF3F14040}"/>
                          </a:ext>
                        </a:extLst>
                      </p:cNvPr>
                      <p:cNvGrpSpPr/>
                      <p:nvPr/>
                    </p:nvGrpSpPr>
                    <p:grpSpPr>
                      <a:xfrm>
                        <a:off x="4856834" y="4660529"/>
                        <a:ext cx="12604" cy="8463"/>
                        <a:chOff x="4856834" y="4660529"/>
                        <a:chExt cx="12604" cy="8463"/>
                      </a:xfrm>
                      <a:solidFill>
                        <a:schemeClr val="accent1"/>
                      </a:solidFill>
                    </p:grpSpPr>
                    <p:sp>
                      <p:nvSpPr>
                        <p:cNvPr id="3754" name="Freeform: Shape 3753">
                          <a:extLst>
                            <a:ext uri="{FF2B5EF4-FFF2-40B4-BE49-F238E27FC236}">
                              <a16:creationId xmlns:a16="http://schemas.microsoft.com/office/drawing/2014/main" id="{58C05D2B-98B9-474A-97DD-910289AA5EDB}"/>
                            </a:ext>
                          </a:extLst>
                        </p:cNvPr>
                        <p:cNvSpPr/>
                        <p:nvPr/>
                      </p:nvSpPr>
                      <p:spPr>
                        <a:xfrm>
                          <a:off x="4856834" y="4661897"/>
                          <a:ext cx="12604" cy="7095"/>
                        </a:xfrm>
                        <a:custGeom>
                          <a:avLst/>
                          <a:gdLst>
                            <a:gd name="connsiteX0" fmla="*/ 12605 w 12604"/>
                            <a:gd name="connsiteY0" fmla="*/ 3925 h 7095"/>
                            <a:gd name="connsiteX1" fmla="*/ 12353 w 12604"/>
                            <a:gd name="connsiteY1" fmla="*/ 2669 h 7095"/>
                            <a:gd name="connsiteX2" fmla="*/ 10721 w 12604"/>
                            <a:gd name="connsiteY2" fmla="*/ 2669 h 7095"/>
                            <a:gd name="connsiteX3" fmla="*/ 6451 w 12604"/>
                            <a:gd name="connsiteY3" fmla="*/ 283 h 7095"/>
                            <a:gd name="connsiteX4" fmla="*/ 4064 w 12604"/>
                            <a:gd name="connsiteY4" fmla="*/ 283 h 7095"/>
                            <a:gd name="connsiteX5" fmla="*/ 1929 w 12604"/>
                            <a:gd name="connsiteY5" fmla="*/ 1539 h 7095"/>
                            <a:gd name="connsiteX6" fmla="*/ 296 w 12604"/>
                            <a:gd name="connsiteY6" fmla="*/ 1539 h 7095"/>
                            <a:gd name="connsiteX7" fmla="*/ 45 w 12604"/>
                            <a:gd name="connsiteY7" fmla="*/ 2795 h 7095"/>
                            <a:gd name="connsiteX8" fmla="*/ 548 w 12604"/>
                            <a:gd name="connsiteY8" fmla="*/ 3673 h 7095"/>
                            <a:gd name="connsiteX9" fmla="*/ 6074 w 12604"/>
                            <a:gd name="connsiteY9" fmla="*/ 6813 h 7095"/>
                            <a:gd name="connsiteX10" fmla="*/ 8460 w 12604"/>
                            <a:gd name="connsiteY10" fmla="*/ 6813 h 7095"/>
                            <a:gd name="connsiteX11" fmla="*/ 11977 w 12604"/>
                            <a:gd name="connsiteY11" fmla="*/ 4804 h 7095"/>
                            <a:gd name="connsiteX12" fmla="*/ 12605 w 12604"/>
                            <a:gd name="connsiteY12" fmla="*/ 3925 h 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04" h="7095">
                              <a:moveTo>
                                <a:pt x="12605" y="3925"/>
                              </a:moveTo>
                              <a:lnTo>
                                <a:pt x="12353" y="2669"/>
                              </a:lnTo>
                              <a:lnTo>
                                <a:pt x="10721" y="2669"/>
                              </a:lnTo>
                              <a:lnTo>
                                <a:pt x="6451" y="283"/>
                              </a:lnTo>
                              <a:cubicBezTo>
                                <a:pt x="5823" y="-94"/>
                                <a:pt x="4692" y="-94"/>
                                <a:pt x="4064" y="283"/>
                              </a:cubicBezTo>
                              <a:lnTo>
                                <a:pt x="1929" y="1539"/>
                              </a:lnTo>
                              <a:lnTo>
                                <a:pt x="296" y="1539"/>
                              </a:lnTo>
                              <a:lnTo>
                                <a:pt x="45" y="2795"/>
                              </a:lnTo>
                              <a:cubicBezTo>
                                <a:pt x="-80" y="3171"/>
                                <a:pt x="45" y="3422"/>
                                <a:pt x="548" y="3673"/>
                              </a:cubicBezTo>
                              <a:lnTo>
                                <a:pt x="6074" y="6813"/>
                              </a:lnTo>
                              <a:cubicBezTo>
                                <a:pt x="6702" y="7190"/>
                                <a:pt x="7832" y="7190"/>
                                <a:pt x="8460" y="6813"/>
                              </a:cubicBezTo>
                              <a:lnTo>
                                <a:pt x="11977" y="4804"/>
                              </a:lnTo>
                              <a:cubicBezTo>
                                <a:pt x="12479" y="4553"/>
                                <a:pt x="12605" y="4176"/>
                                <a:pt x="12605" y="392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5" name="Freeform: Shape 3754">
                          <a:extLst>
                            <a:ext uri="{FF2B5EF4-FFF2-40B4-BE49-F238E27FC236}">
                              <a16:creationId xmlns:a16="http://schemas.microsoft.com/office/drawing/2014/main" id="{AEF19D13-E49C-4839-BBDF-3B63D69D3F82}"/>
                            </a:ext>
                          </a:extLst>
                        </p:cNvPr>
                        <p:cNvSpPr/>
                        <p:nvPr/>
                      </p:nvSpPr>
                      <p:spPr>
                        <a:xfrm>
                          <a:off x="4856834" y="4661897"/>
                          <a:ext cx="12604" cy="7095"/>
                        </a:xfrm>
                        <a:custGeom>
                          <a:avLst/>
                          <a:gdLst>
                            <a:gd name="connsiteX0" fmla="*/ 12605 w 12604"/>
                            <a:gd name="connsiteY0" fmla="*/ 3925 h 7095"/>
                            <a:gd name="connsiteX1" fmla="*/ 12353 w 12604"/>
                            <a:gd name="connsiteY1" fmla="*/ 2669 h 7095"/>
                            <a:gd name="connsiteX2" fmla="*/ 10721 w 12604"/>
                            <a:gd name="connsiteY2" fmla="*/ 2669 h 7095"/>
                            <a:gd name="connsiteX3" fmla="*/ 6451 w 12604"/>
                            <a:gd name="connsiteY3" fmla="*/ 283 h 7095"/>
                            <a:gd name="connsiteX4" fmla="*/ 4064 w 12604"/>
                            <a:gd name="connsiteY4" fmla="*/ 283 h 7095"/>
                            <a:gd name="connsiteX5" fmla="*/ 1929 w 12604"/>
                            <a:gd name="connsiteY5" fmla="*/ 1539 h 7095"/>
                            <a:gd name="connsiteX6" fmla="*/ 296 w 12604"/>
                            <a:gd name="connsiteY6" fmla="*/ 1539 h 7095"/>
                            <a:gd name="connsiteX7" fmla="*/ 45 w 12604"/>
                            <a:gd name="connsiteY7" fmla="*/ 2795 h 7095"/>
                            <a:gd name="connsiteX8" fmla="*/ 548 w 12604"/>
                            <a:gd name="connsiteY8" fmla="*/ 3673 h 7095"/>
                            <a:gd name="connsiteX9" fmla="*/ 6074 w 12604"/>
                            <a:gd name="connsiteY9" fmla="*/ 6813 h 7095"/>
                            <a:gd name="connsiteX10" fmla="*/ 8460 w 12604"/>
                            <a:gd name="connsiteY10" fmla="*/ 6813 h 7095"/>
                            <a:gd name="connsiteX11" fmla="*/ 11977 w 12604"/>
                            <a:gd name="connsiteY11" fmla="*/ 4804 h 7095"/>
                            <a:gd name="connsiteX12" fmla="*/ 12605 w 12604"/>
                            <a:gd name="connsiteY12" fmla="*/ 3925 h 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04" h="7095">
                              <a:moveTo>
                                <a:pt x="12605" y="3925"/>
                              </a:moveTo>
                              <a:lnTo>
                                <a:pt x="12353" y="2669"/>
                              </a:lnTo>
                              <a:lnTo>
                                <a:pt x="10721" y="2669"/>
                              </a:lnTo>
                              <a:lnTo>
                                <a:pt x="6451" y="283"/>
                              </a:lnTo>
                              <a:cubicBezTo>
                                <a:pt x="5823" y="-94"/>
                                <a:pt x="4692" y="-94"/>
                                <a:pt x="4064" y="283"/>
                              </a:cubicBezTo>
                              <a:lnTo>
                                <a:pt x="1929" y="1539"/>
                              </a:lnTo>
                              <a:lnTo>
                                <a:pt x="296" y="1539"/>
                              </a:lnTo>
                              <a:lnTo>
                                <a:pt x="45" y="2795"/>
                              </a:lnTo>
                              <a:cubicBezTo>
                                <a:pt x="-80" y="3171"/>
                                <a:pt x="45" y="3422"/>
                                <a:pt x="548" y="3673"/>
                              </a:cubicBezTo>
                              <a:lnTo>
                                <a:pt x="6074" y="6813"/>
                              </a:lnTo>
                              <a:cubicBezTo>
                                <a:pt x="6702" y="7190"/>
                                <a:pt x="7832" y="7190"/>
                                <a:pt x="8460" y="6813"/>
                              </a:cubicBezTo>
                              <a:lnTo>
                                <a:pt x="11977" y="4804"/>
                              </a:lnTo>
                              <a:cubicBezTo>
                                <a:pt x="12479" y="4553"/>
                                <a:pt x="12605" y="4176"/>
                                <a:pt x="12605" y="392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6" name="Freeform: Shape 3755">
                          <a:extLst>
                            <a:ext uri="{FF2B5EF4-FFF2-40B4-BE49-F238E27FC236}">
                              <a16:creationId xmlns:a16="http://schemas.microsoft.com/office/drawing/2014/main" id="{A48AF336-C283-48D1-9DCA-185194FEDAC7}"/>
                            </a:ext>
                          </a:extLst>
                        </p:cNvPr>
                        <p:cNvSpPr/>
                        <p:nvPr/>
                      </p:nvSpPr>
                      <p:spPr>
                        <a:xfrm>
                          <a:off x="4857163" y="4660529"/>
                          <a:ext cx="12119" cy="6956"/>
                        </a:xfrm>
                        <a:custGeom>
                          <a:avLst/>
                          <a:gdLst>
                            <a:gd name="connsiteX0" fmla="*/ 3862 w 12119"/>
                            <a:gd name="connsiteY0" fmla="*/ 269 h 6956"/>
                            <a:gd name="connsiteX1" fmla="*/ 471 w 12119"/>
                            <a:gd name="connsiteY1" fmla="*/ 2278 h 6956"/>
                            <a:gd name="connsiteX2" fmla="*/ 471 w 12119"/>
                            <a:gd name="connsiteY2" fmla="*/ 3660 h 6956"/>
                            <a:gd name="connsiteX3" fmla="*/ 5871 w 12119"/>
                            <a:gd name="connsiteY3" fmla="*/ 6674 h 6956"/>
                            <a:gd name="connsiteX4" fmla="*/ 8258 w 12119"/>
                            <a:gd name="connsiteY4" fmla="*/ 6674 h 6956"/>
                            <a:gd name="connsiteX5" fmla="*/ 11649 w 12119"/>
                            <a:gd name="connsiteY5" fmla="*/ 4790 h 6956"/>
                            <a:gd name="connsiteX6" fmla="*/ 11649 w 12119"/>
                            <a:gd name="connsiteY6" fmla="*/ 3408 h 6956"/>
                            <a:gd name="connsiteX7" fmla="*/ 6248 w 12119"/>
                            <a:gd name="connsiteY7" fmla="*/ 394 h 6956"/>
                            <a:gd name="connsiteX8" fmla="*/ 3862 w 12119"/>
                            <a:gd name="connsiteY8" fmla="*/ 269 h 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19" h="6956">
                              <a:moveTo>
                                <a:pt x="3862" y="269"/>
                              </a:moveTo>
                              <a:lnTo>
                                <a:pt x="471" y="2278"/>
                              </a:lnTo>
                              <a:cubicBezTo>
                                <a:pt x="-157" y="2655"/>
                                <a:pt x="-157" y="3283"/>
                                <a:pt x="471" y="3660"/>
                              </a:cubicBezTo>
                              <a:lnTo>
                                <a:pt x="5871" y="6674"/>
                              </a:lnTo>
                              <a:cubicBezTo>
                                <a:pt x="6500" y="7051"/>
                                <a:pt x="7504" y="7051"/>
                                <a:pt x="8258" y="6674"/>
                              </a:cubicBezTo>
                              <a:lnTo>
                                <a:pt x="11649" y="4790"/>
                              </a:lnTo>
                              <a:cubicBezTo>
                                <a:pt x="12277" y="4413"/>
                                <a:pt x="12277" y="3785"/>
                                <a:pt x="11649" y="3408"/>
                              </a:cubicBezTo>
                              <a:lnTo>
                                <a:pt x="6248" y="394"/>
                              </a:lnTo>
                              <a:cubicBezTo>
                                <a:pt x="5495"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57" name="Graphic 4">
                        <a:extLst>
                          <a:ext uri="{FF2B5EF4-FFF2-40B4-BE49-F238E27FC236}">
                            <a16:creationId xmlns:a16="http://schemas.microsoft.com/office/drawing/2014/main" id="{84FB7ED1-A2DF-40A1-A747-5F7CF3F14040}"/>
                          </a:ext>
                        </a:extLst>
                      </p:cNvPr>
                      <p:cNvGrpSpPr/>
                      <p:nvPr/>
                    </p:nvGrpSpPr>
                    <p:grpSpPr>
                      <a:xfrm>
                        <a:off x="4865249" y="4665288"/>
                        <a:ext cx="10502" cy="7347"/>
                        <a:chOff x="4865249" y="4665288"/>
                        <a:chExt cx="10502" cy="7347"/>
                      </a:xfrm>
                      <a:solidFill>
                        <a:schemeClr val="accent1"/>
                      </a:solidFill>
                    </p:grpSpPr>
                    <p:sp>
                      <p:nvSpPr>
                        <p:cNvPr id="3758" name="Freeform: Shape 3757">
                          <a:extLst>
                            <a:ext uri="{FF2B5EF4-FFF2-40B4-BE49-F238E27FC236}">
                              <a16:creationId xmlns:a16="http://schemas.microsoft.com/office/drawing/2014/main" id="{6DAEBC5B-3490-4E1B-B4C8-F99B4C392208}"/>
                            </a:ext>
                          </a:extLst>
                        </p:cNvPr>
                        <p:cNvSpPr/>
                        <p:nvPr/>
                      </p:nvSpPr>
                      <p:spPr>
                        <a:xfrm>
                          <a:off x="4865249" y="4666670"/>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3" y="-94"/>
                                <a:pt x="4064" y="283"/>
                              </a:cubicBezTo>
                              <a:lnTo>
                                <a:pt x="1929" y="1539"/>
                              </a:lnTo>
                              <a:lnTo>
                                <a:pt x="297" y="1539"/>
                              </a:lnTo>
                              <a:lnTo>
                                <a:pt x="45" y="2794"/>
                              </a:lnTo>
                              <a:cubicBezTo>
                                <a:pt x="-80" y="3171"/>
                                <a:pt x="45" y="3422"/>
                                <a:pt x="548" y="3673"/>
                              </a:cubicBezTo>
                              <a:lnTo>
                                <a:pt x="4064" y="5683"/>
                              </a:lnTo>
                              <a:cubicBezTo>
                                <a:pt x="4693" y="6060"/>
                                <a:pt x="5823" y="6060"/>
                                <a:pt x="6451" y="5683"/>
                              </a:cubicBezTo>
                              <a:lnTo>
                                <a:pt x="9967" y="3673"/>
                              </a:lnTo>
                              <a:cubicBezTo>
                                <a:pt x="10344"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9" name="Freeform: Shape 3758">
                          <a:extLst>
                            <a:ext uri="{FF2B5EF4-FFF2-40B4-BE49-F238E27FC236}">
                              <a16:creationId xmlns:a16="http://schemas.microsoft.com/office/drawing/2014/main" id="{10629C02-4C76-4D72-9D32-DA79DE30438F}"/>
                            </a:ext>
                          </a:extLst>
                        </p:cNvPr>
                        <p:cNvSpPr/>
                        <p:nvPr/>
                      </p:nvSpPr>
                      <p:spPr>
                        <a:xfrm>
                          <a:off x="4865249" y="4666670"/>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3" y="-94"/>
                                <a:pt x="4064" y="283"/>
                              </a:cubicBezTo>
                              <a:lnTo>
                                <a:pt x="1929" y="1539"/>
                              </a:lnTo>
                              <a:lnTo>
                                <a:pt x="297" y="1539"/>
                              </a:lnTo>
                              <a:lnTo>
                                <a:pt x="45" y="2794"/>
                              </a:lnTo>
                              <a:cubicBezTo>
                                <a:pt x="-80" y="3171"/>
                                <a:pt x="45" y="3422"/>
                                <a:pt x="548" y="3673"/>
                              </a:cubicBezTo>
                              <a:lnTo>
                                <a:pt x="4064" y="5683"/>
                              </a:lnTo>
                              <a:cubicBezTo>
                                <a:pt x="4693" y="6060"/>
                                <a:pt x="5823" y="6060"/>
                                <a:pt x="6451" y="5683"/>
                              </a:cubicBezTo>
                              <a:lnTo>
                                <a:pt x="9967" y="3673"/>
                              </a:lnTo>
                              <a:cubicBezTo>
                                <a:pt x="10344"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0" name="Freeform: Shape 3759">
                          <a:extLst>
                            <a:ext uri="{FF2B5EF4-FFF2-40B4-BE49-F238E27FC236}">
                              <a16:creationId xmlns:a16="http://schemas.microsoft.com/office/drawing/2014/main" id="{C9C832BA-185C-4A9C-AE02-CA9B6891F9CD}"/>
                            </a:ext>
                          </a:extLst>
                        </p:cNvPr>
                        <p:cNvSpPr/>
                        <p:nvPr/>
                      </p:nvSpPr>
                      <p:spPr>
                        <a:xfrm>
                          <a:off x="4865452" y="4665288"/>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4"/>
                                <a:pt x="-157" y="3171"/>
                                <a:pt x="471" y="3548"/>
                              </a:cubicBezTo>
                              <a:lnTo>
                                <a:pt x="3862" y="5432"/>
                              </a:lnTo>
                              <a:cubicBezTo>
                                <a:pt x="4490" y="5809"/>
                                <a:pt x="5495" y="5809"/>
                                <a:pt x="6248" y="5432"/>
                              </a:cubicBezTo>
                              <a:lnTo>
                                <a:pt x="9639" y="3548"/>
                              </a:lnTo>
                              <a:cubicBezTo>
                                <a:pt x="10268" y="3171"/>
                                <a:pt x="10268" y="2544"/>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61" name="Graphic 4">
                        <a:extLst>
                          <a:ext uri="{FF2B5EF4-FFF2-40B4-BE49-F238E27FC236}">
                            <a16:creationId xmlns:a16="http://schemas.microsoft.com/office/drawing/2014/main" id="{84FB7ED1-A2DF-40A1-A747-5F7CF3F14040}"/>
                          </a:ext>
                        </a:extLst>
                      </p:cNvPr>
                      <p:cNvGrpSpPr/>
                      <p:nvPr/>
                    </p:nvGrpSpPr>
                    <p:grpSpPr>
                      <a:xfrm>
                        <a:off x="4871529" y="4669024"/>
                        <a:ext cx="10515" cy="7378"/>
                        <a:chOff x="4871529" y="4669024"/>
                        <a:chExt cx="10515" cy="7378"/>
                      </a:xfrm>
                      <a:solidFill>
                        <a:schemeClr val="accent1"/>
                      </a:solidFill>
                    </p:grpSpPr>
                    <p:sp>
                      <p:nvSpPr>
                        <p:cNvPr id="3762" name="Freeform: Shape 3761">
                          <a:extLst>
                            <a:ext uri="{FF2B5EF4-FFF2-40B4-BE49-F238E27FC236}">
                              <a16:creationId xmlns:a16="http://schemas.microsoft.com/office/drawing/2014/main" id="{9D10314E-19A3-4F9E-BC67-6BE7094C87B8}"/>
                            </a:ext>
                          </a:extLst>
                        </p:cNvPr>
                        <p:cNvSpPr/>
                        <p:nvPr/>
                      </p:nvSpPr>
                      <p:spPr>
                        <a:xfrm>
                          <a:off x="4871529" y="4670437"/>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3" name="Freeform: Shape 3762">
                          <a:extLst>
                            <a:ext uri="{FF2B5EF4-FFF2-40B4-BE49-F238E27FC236}">
                              <a16:creationId xmlns:a16="http://schemas.microsoft.com/office/drawing/2014/main" id="{EAD4CF36-2489-4FC9-93A0-8AEFB88B0A4D}"/>
                            </a:ext>
                          </a:extLst>
                        </p:cNvPr>
                        <p:cNvSpPr/>
                        <p:nvPr/>
                      </p:nvSpPr>
                      <p:spPr>
                        <a:xfrm>
                          <a:off x="4871529" y="4670437"/>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4" name="Freeform: Shape 3763">
                          <a:extLst>
                            <a:ext uri="{FF2B5EF4-FFF2-40B4-BE49-F238E27FC236}">
                              <a16:creationId xmlns:a16="http://schemas.microsoft.com/office/drawing/2014/main" id="{9E86062B-4953-4CF9-8805-9CC89CB7A178}"/>
                            </a:ext>
                          </a:extLst>
                        </p:cNvPr>
                        <p:cNvSpPr/>
                        <p:nvPr/>
                      </p:nvSpPr>
                      <p:spPr>
                        <a:xfrm>
                          <a:off x="4871731" y="4669024"/>
                          <a:ext cx="10110" cy="5620"/>
                        </a:xfrm>
                        <a:custGeom>
                          <a:avLst/>
                          <a:gdLst>
                            <a:gd name="connsiteX0" fmla="*/ 3862 w 10110"/>
                            <a:gd name="connsiteY0" fmla="*/ 188 h 5620"/>
                            <a:gd name="connsiteX1" fmla="*/ 471 w 10110"/>
                            <a:gd name="connsiteY1" fmla="*/ 2072 h 5620"/>
                            <a:gd name="connsiteX2" fmla="*/ 471 w 10110"/>
                            <a:gd name="connsiteY2" fmla="*/ 3454 h 5620"/>
                            <a:gd name="connsiteX3" fmla="*/ 3862 w 10110"/>
                            <a:gd name="connsiteY3" fmla="*/ 5338 h 5620"/>
                            <a:gd name="connsiteX4" fmla="*/ 6248 w 10110"/>
                            <a:gd name="connsiteY4" fmla="*/ 5338 h 5620"/>
                            <a:gd name="connsiteX5" fmla="*/ 9639 w 10110"/>
                            <a:gd name="connsiteY5" fmla="*/ 3454 h 5620"/>
                            <a:gd name="connsiteX6" fmla="*/ 9639 w 10110"/>
                            <a:gd name="connsiteY6" fmla="*/ 2072 h 5620"/>
                            <a:gd name="connsiteX7" fmla="*/ 6248 w 10110"/>
                            <a:gd name="connsiteY7" fmla="*/ 188 h 5620"/>
                            <a:gd name="connsiteX8" fmla="*/ 3862 w 10110"/>
                            <a:gd name="connsiteY8" fmla="*/ 188 h 5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620">
                              <a:moveTo>
                                <a:pt x="3862" y="188"/>
                              </a:moveTo>
                              <a:lnTo>
                                <a:pt x="471" y="2072"/>
                              </a:lnTo>
                              <a:cubicBezTo>
                                <a:pt x="-157" y="2449"/>
                                <a:pt x="-157" y="3077"/>
                                <a:pt x="471" y="3454"/>
                              </a:cubicBezTo>
                              <a:lnTo>
                                <a:pt x="3862" y="5338"/>
                              </a:lnTo>
                              <a:cubicBezTo>
                                <a:pt x="4490" y="5714"/>
                                <a:pt x="5495" y="5714"/>
                                <a:pt x="6248" y="5338"/>
                              </a:cubicBezTo>
                              <a:lnTo>
                                <a:pt x="9639" y="3454"/>
                              </a:lnTo>
                              <a:cubicBezTo>
                                <a:pt x="10268" y="3077"/>
                                <a:pt x="10268" y="2449"/>
                                <a:pt x="9639" y="2072"/>
                              </a:cubicBezTo>
                              <a:lnTo>
                                <a:pt x="6248" y="188"/>
                              </a:lnTo>
                              <a:cubicBezTo>
                                <a:pt x="5621" y="-63"/>
                                <a:pt x="4616" y="-63"/>
                                <a:pt x="3862" y="18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65" name="Graphic 4">
                        <a:extLst>
                          <a:ext uri="{FF2B5EF4-FFF2-40B4-BE49-F238E27FC236}">
                            <a16:creationId xmlns:a16="http://schemas.microsoft.com/office/drawing/2014/main" id="{84FB7ED1-A2DF-40A1-A747-5F7CF3F14040}"/>
                          </a:ext>
                        </a:extLst>
                      </p:cNvPr>
                      <p:cNvGrpSpPr/>
                      <p:nvPr/>
                    </p:nvGrpSpPr>
                    <p:grpSpPr>
                      <a:xfrm>
                        <a:off x="4877934" y="4672698"/>
                        <a:ext cx="10502" cy="7347"/>
                        <a:chOff x="4877934" y="4672698"/>
                        <a:chExt cx="10502" cy="7347"/>
                      </a:xfrm>
                      <a:solidFill>
                        <a:schemeClr val="accent1"/>
                      </a:solidFill>
                    </p:grpSpPr>
                    <p:sp>
                      <p:nvSpPr>
                        <p:cNvPr id="3766" name="Freeform: Shape 3765">
                          <a:extLst>
                            <a:ext uri="{FF2B5EF4-FFF2-40B4-BE49-F238E27FC236}">
                              <a16:creationId xmlns:a16="http://schemas.microsoft.com/office/drawing/2014/main" id="{64BF7395-1C7A-43F2-8B87-794D0D7008FB}"/>
                            </a:ext>
                          </a:extLst>
                        </p:cNvPr>
                        <p:cNvSpPr/>
                        <p:nvPr/>
                      </p:nvSpPr>
                      <p:spPr>
                        <a:xfrm>
                          <a:off x="4877934" y="4674080"/>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7" name="Freeform: Shape 3766">
                          <a:extLst>
                            <a:ext uri="{FF2B5EF4-FFF2-40B4-BE49-F238E27FC236}">
                              <a16:creationId xmlns:a16="http://schemas.microsoft.com/office/drawing/2014/main" id="{9A435267-6B79-40D7-9409-11F57C00F9B9}"/>
                            </a:ext>
                          </a:extLst>
                        </p:cNvPr>
                        <p:cNvSpPr/>
                        <p:nvPr/>
                      </p:nvSpPr>
                      <p:spPr>
                        <a:xfrm>
                          <a:off x="4877934" y="4674080"/>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8" name="Freeform: Shape 3767">
                          <a:extLst>
                            <a:ext uri="{FF2B5EF4-FFF2-40B4-BE49-F238E27FC236}">
                              <a16:creationId xmlns:a16="http://schemas.microsoft.com/office/drawing/2014/main" id="{619CC094-1022-455E-BB78-2710DB02850F}"/>
                            </a:ext>
                          </a:extLst>
                        </p:cNvPr>
                        <p:cNvSpPr/>
                        <p:nvPr/>
                      </p:nvSpPr>
                      <p:spPr>
                        <a:xfrm>
                          <a:off x="4878137" y="4672698"/>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8" y="3171"/>
                                <a:pt x="10268" y="2544"/>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69" name="Graphic 4">
                        <a:extLst>
                          <a:ext uri="{FF2B5EF4-FFF2-40B4-BE49-F238E27FC236}">
                            <a16:creationId xmlns:a16="http://schemas.microsoft.com/office/drawing/2014/main" id="{84FB7ED1-A2DF-40A1-A747-5F7CF3F14040}"/>
                          </a:ext>
                        </a:extLst>
                      </p:cNvPr>
                      <p:cNvGrpSpPr/>
                      <p:nvPr/>
                    </p:nvGrpSpPr>
                    <p:grpSpPr>
                      <a:xfrm>
                        <a:off x="4884340" y="4676340"/>
                        <a:ext cx="10502" cy="7347"/>
                        <a:chOff x="4884340" y="4676340"/>
                        <a:chExt cx="10502" cy="7347"/>
                      </a:xfrm>
                      <a:solidFill>
                        <a:schemeClr val="accent1"/>
                      </a:solidFill>
                    </p:grpSpPr>
                    <p:sp>
                      <p:nvSpPr>
                        <p:cNvPr id="3770" name="Freeform: Shape 3769">
                          <a:extLst>
                            <a:ext uri="{FF2B5EF4-FFF2-40B4-BE49-F238E27FC236}">
                              <a16:creationId xmlns:a16="http://schemas.microsoft.com/office/drawing/2014/main" id="{851790C6-1BCC-4417-9D92-9B2489707BD4}"/>
                            </a:ext>
                          </a:extLst>
                        </p:cNvPr>
                        <p:cNvSpPr/>
                        <p:nvPr/>
                      </p:nvSpPr>
                      <p:spPr>
                        <a:xfrm>
                          <a:off x="4884340" y="4677722"/>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0 w 10502"/>
                            <a:gd name="connsiteY3" fmla="*/ 283 h 5965"/>
                            <a:gd name="connsiteX4" fmla="*/ 4064 w 10502"/>
                            <a:gd name="connsiteY4" fmla="*/ 283 h 5965"/>
                            <a:gd name="connsiteX5" fmla="*/ 1929 w 10502"/>
                            <a:gd name="connsiteY5" fmla="*/ 1538 h 5965"/>
                            <a:gd name="connsiteX6" fmla="*/ 296 w 10502"/>
                            <a:gd name="connsiteY6" fmla="*/ 1538 h 5965"/>
                            <a:gd name="connsiteX7" fmla="*/ 45 w 10502"/>
                            <a:gd name="connsiteY7" fmla="*/ 2794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1" name="Freeform: Shape 3770">
                          <a:extLst>
                            <a:ext uri="{FF2B5EF4-FFF2-40B4-BE49-F238E27FC236}">
                              <a16:creationId xmlns:a16="http://schemas.microsoft.com/office/drawing/2014/main" id="{7C954369-936F-4C81-9ABA-C2C05F927C62}"/>
                            </a:ext>
                          </a:extLst>
                        </p:cNvPr>
                        <p:cNvSpPr/>
                        <p:nvPr/>
                      </p:nvSpPr>
                      <p:spPr>
                        <a:xfrm>
                          <a:off x="4884340" y="4677722"/>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0 w 10502"/>
                            <a:gd name="connsiteY3" fmla="*/ 283 h 5965"/>
                            <a:gd name="connsiteX4" fmla="*/ 4064 w 10502"/>
                            <a:gd name="connsiteY4" fmla="*/ 283 h 5965"/>
                            <a:gd name="connsiteX5" fmla="*/ 1929 w 10502"/>
                            <a:gd name="connsiteY5" fmla="*/ 1538 h 5965"/>
                            <a:gd name="connsiteX6" fmla="*/ 296 w 10502"/>
                            <a:gd name="connsiteY6" fmla="*/ 1538 h 5965"/>
                            <a:gd name="connsiteX7" fmla="*/ 45 w 10502"/>
                            <a:gd name="connsiteY7" fmla="*/ 2794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2" name="Freeform: Shape 3771">
                          <a:extLst>
                            <a:ext uri="{FF2B5EF4-FFF2-40B4-BE49-F238E27FC236}">
                              <a16:creationId xmlns:a16="http://schemas.microsoft.com/office/drawing/2014/main" id="{38C94FD8-45E7-4010-9A91-56798C6A6994}"/>
                            </a:ext>
                          </a:extLst>
                        </p:cNvPr>
                        <p:cNvSpPr/>
                        <p:nvPr/>
                      </p:nvSpPr>
                      <p:spPr>
                        <a:xfrm>
                          <a:off x="4884542" y="467634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73" name="Graphic 4">
                        <a:extLst>
                          <a:ext uri="{FF2B5EF4-FFF2-40B4-BE49-F238E27FC236}">
                            <a16:creationId xmlns:a16="http://schemas.microsoft.com/office/drawing/2014/main" id="{84FB7ED1-A2DF-40A1-A747-5F7CF3F14040}"/>
                          </a:ext>
                        </a:extLst>
                      </p:cNvPr>
                      <p:cNvGrpSpPr/>
                      <p:nvPr/>
                    </p:nvGrpSpPr>
                    <p:grpSpPr>
                      <a:xfrm>
                        <a:off x="4890620" y="4679983"/>
                        <a:ext cx="10514" cy="7347"/>
                        <a:chOff x="4890620" y="4679983"/>
                        <a:chExt cx="10514" cy="7347"/>
                      </a:xfrm>
                      <a:solidFill>
                        <a:schemeClr val="accent1"/>
                      </a:solidFill>
                    </p:grpSpPr>
                    <p:sp>
                      <p:nvSpPr>
                        <p:cNvPr id="3774" name="Freeform: Shape 3773">
                          <a:extLst>
                            <a:ext uri="{FF2B5EF4-FFF2-40B4-BE49-F238E27FC236}">
                              <a16:creationId xmlns:a16="http://schemas.microsoft.com/office/drawing/2014/main" id="{C7507A91-2234-492A-85B6-BB5E9DACC677}"/>
                            </a:ext>
                          </a:extLst>
                        </p:cNvPr>
                        <p:cNvSpPr/>
                        <p:nvPr/>
                      </p:nvSpPr>
                      <p:spPr>
                        <a:xfrm>
                          <a:off x="4890620" y="4681364"/>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5" name="Freeform: Shape 3774">
                          <a:extLst>
                            <a:ext uri="{FF2B5EF4-FFF2-40B4-BE49-F238E27FC236}">
                              <a16:creationId xmlns:a16="http://schemas.microsoft.com/office/drawing/2014/main" id="{AA22343D-0121-4B1B-89A6-7B82B818B875}"/>
                            </a:ext>
                          </a:extLst>
                        </p:cNvPr>
                        <p:cNvSpPr/>
                        <p:nvPr/>
                      </p:nvSpPr>
                      <p:spPr>
                        <a:xfrm>
                          <a:off x="4890620" y="4681364"/>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6" name="Freeform: Shape 3775">
                          <a:extLst>
                            <a:ext uri="{FF2B5EF4-FFF2-40B4-BE49-F238E27FC236}">
                              <a16:creationId xmlns:a16="http://schemas.microsoft.com/office/drawing/2014/main" id="{47C4EC0E-F344-45FF-8B0E-F6A8DEFE5E3F}"/>
                            </a:ext>
                          </a:extLst>
                        </p:cNvPr>
                        <p:cNvSpPr/>
                        <p:nvPr/>
                      </p:nvSpPr>
                      <p:spPr>
                        <a:xfrm>
                          <a:off x="4890947" y="4679983"/>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77" name="Graphic 4">
                        <a:extLst>
                          <a:ext uri="{FF2B5EF4-FFF2-40B4-BE49-F238E27FC236}">
                            <a16:creationId xmlns:a16="http://schemas.microsoft.com/office/drawing/2014/main" id="{84FB7ED1-A2DF-40A1-A747-5F7CF3F14040}"/>
                          </a:ext>
                        </a:extLst>
                      </p:cNvPr>
                      <p:cNvGrpSpPr/>
                      <p:nvPr/>
                    </p:nvGrpSpPr>
                    <p:grpSpPr>
                      <a:xfrm>
                        <a:off x="4897025" y="4683625"/>
                        <a:ext cx="10515" cy="7346"/>
                        <a:chOff x="4897025" y="4683625"/>
                        <a:chExt cx="10515" cy="7346"/>
                      </a:xfrm>
                      <a:solidFill>
                        <a:schemeClr val="accent1"/>
                      </a:solidFill>
                    </p:grpSpPr>
                    <p:sp>
                      <p:nvSpPr>
                        <p:cNvPr id="3778" name="Freeform: Shape 3777">
                          <a:extLst>
                            <a:ext uri="{FF2B5EF4-FFF2-40B4-BE49-F238E27FC236}">
                              <a16:creationId xmlns:a16="http://schemas.microsoft.com/office/drawing/2014/main" id="{43911B3E-1133-4DAA-B000-EDB0ADF09297}"/>
                            </a:ext>
                          </a:extLst>
                        </p:cNvPr>
                        <p:cNvSpPr/>
                        <p:nvPr/>
                      </p:nvSpPr>
                      <p:spPr>
                        <a:xfrm>
                          <a:off x="4897025" y="4685006"/>
                          <a:ext cx="10515" cy="5965"/>
                        </a:xfrm>
                        <a:custGeom>
                          <a:avLst/>
                          <a:gdLst>
                            <a:gd name="connsiteX0" fmla="*/ 10470 w 10515"/>
                            <a:gd name="connsiteY0" fmla="*/ 2795 h 5965"/>
                            <a:gd name="connsiteX1" fmla="*/ 10219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9" name="Freeform: Shape 3778">
                          <a:extLst>
                            <a:ext uri="{FF2B5EF4-FFF2-40B4-BE49-F238E27FC236}">
                              <a16:creationId xmlns:a16="http://schemas.microsoft.com/office/drawing/2014/main" id="{E2C8AA5E-89FB-4BFB-A284-FF667B7D3EC8}"/>
                            </a:ext>
                          </a:extLst>
                        </p:cNvPr>
                        <p:cNvSpPr/>
                        <p:nvPr/>
                      </p:nvSpPr>
                      <p:spPr>
                        <a:xfrm>
                          <a:off x="4897025" y="4685006"/>
                          <a:ext cx="10515" cy="5965"/>
                        </a:xfrm>
                        <a:custGeom>
                          <a:avLst/>
                          <a:gdLst>
                            <a:gd name="connsiteX0" fmla="*/ 10470 w 10515"/>
                            <a:gd name="connsiteY0" fmla="*/ 2795 h 5965"/>
                            <a:gd name="connsiteX1" fmla="*/ 10219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0" name="Freeform: Shape 3779">
                          <a:extLst>
                            <a:ext uri="{FF2B5EF4-FFF2-40B4-BE49-F238E27FC236}">
                              <a16:creationId xmlns:a16="http://schemas.microsoft.com/office/drawing/2014/main" id="{4B906220-8D51-4398-BEA1-BE09EBC66F1B}"/>
                            </a:ext>
                          </a:extLst>
                        </p:cNvPr>
                        <p:cNvSpPr/>
                        <p:nvPr/>
                      </p:nvSpPr>
                      <p:spPr>
                        <a:xfrm>
                          <a:off x="4897227" y="4683625"/>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8" y="3297"/>
                                <a:pt x="10268"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81" name="Graphic 4">
                        <a:extLst>
                          <a:ext uri="{FF2B5EF4-FFF2-40B4-BE49-F238E27FC236}">
                            <a16:creationId xmlns:a16="http://schemas.microsoft.com/office/drawing/2014/main" id="{84FB7ED1-A2DF-40A1-A747-5F7CF3F14040}"/>
                          </a:ext>
                        </a:extLst>
                      </p:cNvPr>
                      <p:cNvGrpSpPr/>
                      <p:nvPr/>
                    </p:nvGrpSpPr>
                    <p:grpSpPr>
                      <a:xfrm>
                        <a:off x="4903430" y="4687393"/>
                        <a:ext cx="10502" cy="7347"/>
                        <a:chOff x="4903430" y="4687393"/>
                        <a:chExt cx="10502" cy="7347"/>
                      </a:xfrm>
                      <a:solidFill>
                        <a:schemeClr val="accent1"/>
                      </a:solidFill>
                    </p:grpSpPr>
                    <p:sp>
                      <p:nvSpPr>
                        <p:cNvPr id="3782" name="Freeform: Shape 3781">
                          <a:extLst>
                            <a:ext uri="{FF2B5EF4-FFF2-40B4-BE49-F238E27FC236}">
                              <a16:creationId xmlns:a16="http://schemas.microsoft.com/office/drawing/2014/main" id="{9AA98DBB-E545-4B72-AF4D-CD319661FEAD}"/>
                            </a:ext>
                          </a:extLst>
                        </p:cNvPr>
                        <p:cNvSpPr/>
                        <p:nvPr/>
                      </p:nvSpPr>
                      <p:spPr>
                        <a:xfrm>
                          <a:off x="4903430" y="4688774"/>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3" name="Freeform: Shape 3782">
                          <a:extLst>
                            <a:ext uri="{FF2B5EF4-FFF2-40B4-BE49-F238E27FC236}">
                              <a16:creationId xmlns:a16="http://schemas.microsoft.com/office/drawing/2014/main" id="{8333106B-69BE-4CA8-A6A4-1FEB98B1328F}"/>
                            </a:ext>
                          </a:extLst>
                        </p:cNvPr>
                        <p:cNvSpPr/>
                        <p:nvPr/>
                      </p:nvSpPr>
                      <p:spPr>
                        <a:xfrm>
                          <a:off x="4903430" y="4688774"/>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4" name="Freeform: Shape 3783">
                          <a:extLst>
                            <a:ext uri="{FF2B5EF4-FFF2-40B4-BE49-F238E27FC236}">
                              <a16:creationId xmlns:a16="http://schemas.microsoft.com/office/drawing/2014/main" id="{350CD7CE-A137-4E84-B0F5-FF5AB0C60365}"/>
                            </a:ext>
                          </a:extLst>
                        </p:cNvPr>
                        <p:cNvSpPr/>
                        <p:nvPr/>
                      </p:nvSpPr>
                      <p:spPr>
                        <a:xfrm>
                          <a:off x="4903632" y="4687393"/>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85" name="Graphic 4">
                        <a:extLst>
                          <a:ext uri="{FF2B5EF4-FFF2-40B4-BE49-F238E27FC236}">
                            <a16:creationId xmlns:a16="http://schemas.microsoft.com/office/drawing/2014/main" id="{84FB7ED1-A2DF-40A1-A747-5F7CF3F14040}"/>
                          </a:ext>
                        </a:extLst>
                      </p:cNvPr>
                      <p:cNvGrpSpPr/>
                      <p:nvPr/>
                    </p:nvGrpSpPr>
                    <p:grpSpPr>
                      <a:xfrm>
                        <a:off x="4909582" y="4691035"/>
                        <a:ext cx="21317" cy="13375"/>
                        <a:chOff x="4909582" y="4691035"/>
                        <a:chExt cx="21317" cy="13375"/>
                      </a:xfrm>
                      <a:solidFill>
                        <a:schemeClr val="accent1"/>
                      </a:solidFill>
                    </p:grpSpPr>
                    <p:sp>
                      <p:nvSpPr>
                        <p:cNvPr id="3786" name="Freeform: Shape 3785">
                          <a:extLst>
                            <a:ext uri="{FF2B5EF4-FFF2-40B4-BE49-F238E27FC236}">
                              <a16:creationId xmlns:a16="http://schemas.microsoft.com/office/drawing/2014/main" id="{50E4254A-0454-4443-AE2C-109D12926827}"/>
                            </a:ext>
                          </a:extLst>
                        </p:cNvPr>
                        <p:cNvSpPr/>
                        <p:nvPr/>
                      </p:nvSpPr>
                      <p:spPr>
                        <a:xfrm>
                          <a:off x="4909582" y="4692040"/>
                          <a:ext cx="21317" cy="12371"/>
                        </a:xfrm>
                        <a:custGeom>
                          <a:avLst/>
                          <a:gdLst>
                            <a:gd name="connsiteX0" fmla="*/ 21273 w 21317"/>
                            <a:gd name="connsiteY0" fmla="*/ 9325 h 12371"/>
                            <a:gd name="connsiteX1" fmla="*/ 21147 w 21317"/>
                            <a:gd name="connsiteY1" fmla="*/ 7944 h 12371"/>
                            <a:gd name="connsiteX2" fmla="*/ 16375 w 21317"/>
                            <a:gd name="connsiteY2" fmla="*/ 6186 h 12371"/>
                            <a:gd name="connsiteX3" fmla="*/ 6201 w 21317"/>
                            <a:gd name="connsiteY3" fmla="*/ 283 h 12371"/>
                            <a:gd name="connsiteX4" fmla="*/ 3815 w 21317"/>
                            <a:gd name="connsiteY4" fmla="*/ 283 h 12371"/>
                            <a:gd name="connsiteX5" fmla="*/ 1178 w 21317"/>
                            <a:gd name="connsiteY5" fmla="*/ 1790 h 12371"/>
                            <a:gd name="connsiteX6" fmla="*/ 549 w 21317"/>
                            <a:gd name="connsiteY6" fmla="*/ 1539 h 12371"/>
                            <a:gd name="connsiteX7" fmla="*/ 47 w 21317"/>
                            <a:gd name="connsiteY7" fmla="*/ 2795 h 12371"/>
                            <a:gd name="connsiteX8" fmla="*/ 47 w 21317"/>
                            <a:gd name="connsiteY8" fmla="*/ 2795 h 12371"/>
                            <a:gd name="connsiteX9" fmla="*/ 47 w 21317"/>
                            <a:gd name="connsiteY9" fmla="*/ 2795 h 12371"/>
                            <a:gd name="connsiteX10" fmla="*/ 424 w 21317"/>
                            <a:gd name="connsiteY10" fmla="*/ 3799 h 12371"/>
                            <a:gd name="connsiteX11" fmla="*/ 14867 w 21317"/>
                            <a:gd name="connsiteY11" fmla="*/ 12089 h 12371"/>
                            <a:gd name="connsiteX12" fmla="*/ 17254 w 21317"/>
                            <a:gd name="connsiteY12" fmla="*/ 12089 h 12371"/>
                            <a:gd name="connsiteX13" fmla="*/ 20770 w 21317"/>
                            <a:gd name="connsiteY13" fmla="*/ 10079 h 12371"/>
                            <a:gd name="connsiteX14" fmla="*/ 21273 w 21317"/>
                            <a:gd name="connsiteY14" fmla="*/ 9325 h 1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317" h="12371">
                              <a:moveTo>
                                <a:pt x="21273" y="9325"/>
                              </a:moveTo>
                              <a:lnTo>
                                <a:pt x="21147" y="7944"/>
                              </a:lnTo>
                              <a:lnTo>
                                <a:pt x="16375" y="6186"/>
                              </a:lnTo>
                              <a:lnTo>
                                <a:pt x="6201" y="283"/>
                              </a:lnTo>
                              <a:cubicBezTo>
                                <a:pt x="5573" y="-94"/>
                                <a:pt x="4443" y="-94"/>
                                <a:pt x="3815" y="283"/>
                              </a:cubicBezTo>
                              <a:lnTo>
                                <a:pt x="1178" y="1790"/>
                              </a:lnTo>
                              <a:lnTo>
                                <a:pt x="549" y="1539"/>
                              </a:lnTo>
                              <a:cubicBezTo>
                                <a:pt x="549" y="1539"/>
                                <a:pt x="173" y="2669"/>
                                <a:pt x="47" y="2795"/>
                              </a:cubicBezTo>
                              <a:lnTo>
                                <a:pt x="47" y="2795"/>
                              </a:lnTo>
                              <a:lnTo>
                                <a:pt x="47" y="2795"/>
                              </a:lnTo>
                              <a:cubicBezTo>
                                <a:pt x="-78" y="3171"/>
                                <a:pt x="47" y="3548"/>
                                <a:pt x="424" y="3799"/>
                              </a:cubicBezTo>
                              <a:lnTo>
                                <a:pt x="14867" y="12089"/>
                              </a:lnTo>
                              <a:cubicBezTo>
                                <a:pt x="15495" y="12465"/>
                                <a:pt x="16626" y="12465"/>
                                <a:pt x="17254" y="12089"/>
                              </a:cubicBezTo>
                              <a:lnTo>
                                <a:pt x="20770" y="10079"/>
                              </a:lnTo>
                              <a:cubicBezTo>
                                <a:pt x="21273" y="9953"/>
                                <a:pt x="21398" y="9702"/>
                                <a:pt x="21273" y="932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787" name="Graphic 4">
                          <a:extLst>
                            <a:ext uri="{FF2B5EF4-FFF2-40B4-BE49-F238E27FC236}">
                              <a16:creationId xmlns:a16="http://schemas.microsoft.com/office/drawing/2014/main" id="{84FB7ED1-A2DF-40A1-A747-5F7CF3F14040}"/>
                            </a:ext>
                          </a:extLst>
                        </p:cNvPr>
                        <p:cNvGrpSpPr/>
                        <p:nvPr/>
                      </p:nvGrpSpPr>
                      <p:grpSpPr>
                        <a:xfrm>
                          <a:off x="4909582" y="4691035"/>
                          <a:ext cx="21317" cy="13375"/>
                          <a:chOff x="4909582" y="4691035"/>
                          <a:chExt cx="21317" cy="13375"/>
                        </a:xfrm>
                        <a:solidFill>
                          <a:schemeClr val="accent1"/>
                        </a:solidFill>
                      </p:grpSpPr>
                      <p:sp>
                        <p:nvSpPr>
                          <p:cNvPr id="3788" name="Freeform: Shape 3787">
                            <a:extLst>
                              <a:ext uri="{FF2B5EF4-FFF2-40B4-BE49-F238E27FC236}">
                                <a16:creationId xmlns:a16="http://schemas.microsoft.com/office/drawing/2014/main" id="{C2EC200D-F0C5-4361-AC3B-072FDD3BB1C1}"/>
                              </a:ext>
                            </a:extLst>
                          </p:cNvPr>
                          <p:cNvSpPr/>
                          <p:nvPr/>
                        </p:nvSpPr>
                        <p:spPr>
                          <a:xfrm>
                            <a:off x="4909582" y="4692040"/>
                            <a:ext cx="21317" cy="12371"/>
                          </a:xfrm>
                          <a:custGeom>
                            <a:avLst/>
                            <a:gdLst>
                              <a:gd name="connsiteX0" fmla="*/ 21273 w 21317"/>
                              <a:gd name="connsiteY0" fmla="*/ 9325 h 12371"/>
                              <a:gd name="connsiteX1" fmla="*/ 21147 w 21317"/>
                              <a:gd name="connsiteY1" fmla="*/ 7944 h 12371"/>
                              <a:gd name="connsiteX2" fmla="*/ 16375 w 21317"/>
                              <a:gd name="connsiteY2" fmla="*/ 6186 h 12371"/>
                              <a:gd name="connsiteX3" fmla="*/ 6201 w 21317"/>
                              <a:gd name="connsiteY3" fmla="*/ 283 h 12371"/>
                              <a:gd name="connsiteX4" fmla="*/ 3815 w 21317"/>
                              <a:gd name="connsiteY4" fmla="*/ 283 h 12371"/>
                              <a:gd name="connsiteX5" fmla="*/ 1178 w 21317"/>
                              <a:gd name="connsiteY5" fmla="*/ 1790 h 12371"/>
                              <a:gd name="connsiteX6" fmla="*/ 549 w 21317"/>
                              <a:gd name="connsiteY6" fmla="*/ 1539 h 12371"/>
                              <a:gd name="connsiteX7" fmla="*/ 47 w 21317"/>
                              <a:gd name="connsiteY7" fmla="*/ 2795 h 12371"/>
                              <a:gd name="connsiteX8" fmla="*/ 47 w 21317"/>
                              <a:gd name="connsiteY8" fmla="*/ 2795 h 12371"/>
                              <a:gd name="connsiteX9" fmla="*/ 47 w 21317"/>
                              <a:gd name="connsiteY9" fmla="*/ 2795 h 12371"/>
                              <a:gd name="connsiteX10" fmla="*/ 424 w 21317"/>
                              <a:gd name="connsiteY10" fmla="*/ 3799 h 12371"/>
                              <a:gd name="connsiteX11" fmla="*/ 14867 w 21317"/>
                              <a:gd name="connsiteY11" fmla="*/ 12089 h 12371"/>
                              <a:gd name="connsiteX12" fmla="*/ 17254 w 21317"/>
                              <a:gd name="connsiteY12" fmla="*/ 12089 h 12371"/>
                              <a:gd name="connsiteX13" fmla="*/ 20770 w 21317"/>
                              <a:gd name="connsiteY13" fmla="*/ 10079 h 12371"/>
                              <a:gd name="connsiteX14" fmla="*/ 21273 w 21317"/>
                              <a:gd name="connsiteY14" fmla="*/ 9325 h 1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317" h="12371">
                                <a:moveTo>
                                  <a:pt x="21273" y="9325"/>
                                </a:moveTo>
                                <a:lnTo>
                                  <a:pt x="21147" y="7944"/>
                                </a:lnTo>
                                <a:lnTo>
                                  <a:pt x="16375" y="6186"/>
                                </a:lnTo>
                                <a:lnTo>
                                  <a:pt x="6201" y="283"/>
                                </a:lnTo>
                                <a:cubicBezTo>
                                  <a:pt x="5573" y="-94"/>
                                  <a:pt x="4443" y="-94"/>
                                  <a:pt x="3815" y="283"/>
                                </a:cubicBezTo>
                                <a:lnTo>
                                  <a:pt x="1178" y="1790"/>
                                </a:lnTo>
                                <a:lnTo>
                                  <a:pt x="549" y="1539"/>
                                </a:lnTo>
                                <a:cubicBezTo>
                                  <a:pt x="549" y="1539"/>
                                  <a:pt x="173" y="2669"/>
                                  <a:pt x="47" y="2795"/>
                                </a:cubicBezTo>
                                <a:lnTo>
                                  <a:pt x="47" y="2795"/>
                                </a:lnTo>
                                <a:lnTo>
                                  <a:pt x="47" y="2795"/>
                                </a:lnTo>
                                <a:cubicBezTo>
                                  <a:pt x="-78" y="3171"/>
                                  <a:pt x="47" y="3548"/>
                                  <a:pt x="424" y="3799"/>
                                </a:cubicBezTo>
                                <a:lnTo>
                                  <a:pt x="14867" y="12089"/>
                                </a:lnTo>
                                <a:cubicBezTo>
                                  <a:pt x="15495" y="12465"/>
                                  <a:pt x="16626" y="12465"/>
                                  <a:pt x="17254" y="12089"/>
                                </a:cubicBezTo>
                                <a:lnTo>
                                  <a:pt x="20770" y="10079"/>
                                </a:lnTo>
                                <a:cubicBezTo>
                                  <a:pt x="21273" y="9953"/>
                                  <a:pt x="21398" y="9702"/>
                                  <a:pt x="21273" y="932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9" name="Freeform: Shape 3788">
                            <a:extLst>
                              <a:ext uri="{FF2B5EF4-FFF2-40B4-BE49-F238E27FC236}">
                                <a16:creationId xmlns:a16="http://schemas.microsoft.com/office/drawing/2014/main" id="{8E8D6F5C-6FBB-40BA-98FF-B38EF6D45D06}"/>
                              </a:ext>
                            </a:extLst>
                          </p:cNvPr>
                          <p:cNvSpPr/>
                          <p:nvPr/>
                        </p:nvSpPr>
                        <p:spPr>
                          <a:xfrm>
                            <a:off x="4910038" y="4691035"/>
                            <a:ext cx="20754" cy="11994"/>
                          </a:xfrm>
                          <a:custGeom>
                            <a:avLst/>
                            <a:gdLst>
                              <a:gd name="connsiteX0" fmla="*/ 20189 w 20754"/>
                              <a:gd name="connsiteY0" fmla="*/ 8446 h 11994"/>
                              <a:gd name="connsiteX1" fmla="*/ 6123 w 20754"/>
                              <a:gd name="connsiteY1" fmla="*/ 283 h 11994"/>
                              <a:gd name="connsiteX2" fmla="*/ 3862 w 20754"/>
                              <a:gd name="connsiteY2" fmla="*/ 283 h 11994"/>
                              <a:gd name="connsiteX3" fmla="*/ 471 w 20754"/>
                              <a:gd name="connsiteY3" fmla="*/ 2166 h 11994"/>
                              <a:gd name="connsiteX4" fmla="*/ 471 w 20754"/>
                              <a:gd name="connsiteY4" fmla="*/ 3548 h 11994"/>
                              <a:gd name="connsiteX5" fmla="*/ 14537 w 20754"/>
                              <a:gd name="connsiteY5" fmla="*/ 11712 h 11994"/>
                              <a:gd name="connsiteX6" fmla="*/ 16798 w 20754"/>
                              <a:gd name="connsiteY6" fmla="*/ 11712 h 11994"/>
                              <a:gd name="connsiteX7" fmla="*/ 20189 w 20754"/>
                              <a:gd name="connsiteY7" fmla="*/ 9828 h 11994"/>
                              <a:gd name="connsiteX8" fmla="*/ 20189 w 20754"/>
                              <a:gd name="connsiteY8" fmla="*/ 8446 h 1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4" h="11994">
                                <a:moveTo>
                                  <a:pt x="20189" y="8446"/>
                                </a:moveTo>
                                <a:lnTo>
                                  <a:pt x="6123" y="283"/>
                                </a:lnTo>
                                <a:cubicBezTo>
                                  <a:pt x="5495" y="-94"/>
                                  <a:pt x="4490" y="-94"/>
                                  <a:pt x="3862" y="283"/>
                                </a:cubicBezTo>
                                <a:lnTo>
                                  <a:pt x="471" y="2166"/>
                                </a:lnTo>
                                <a:cubicBezTo>
                                  <a:pt x="-157" y="2543"/>
                                  <a:pt x="-157" y="3171"/>
                                  <a:pt x="471" y="3548"/>
                                </a:cubicBezTo>
                                <a:lnTo>
                                  <a:pt x="14537" y="11712"/>
                                </a:lnTo>
                                <a:cubicBezTo>
                                  <a:pt x="15166" y="12089"/>
                                  <a:pt x="16170" y="12089"/>
                                  <a:pt x="16798" y="11712"/>
                                </a:cubicBezTo>
                                <a:lnTo>
                                  <a:pt x="20189" y="9828"/>
                                </a:lnTo>
                                <a:cubicBezTo>
                                  <a:pt x="20943" y="9451"/>
                                  <a:pt x="20943" y="8823"/>
                                  <a:pt x="20189" y="8446"/>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3790" name="Graphic 4">
                      <a:extLst>
                        <a:ext uri="{FF2B5EF4-FFF2-40B4-BE49-F238E27FC236}">
                          <a16:creationId xmlns:a16="http://schemas.microsoft.com/office/drawing/2014/main" id="{84FB7ED1-A2DF-40A1-A747-5F7CF3F14040}"/>
                        </a:ext>
                      </a:extLst>
                    </p:cNvPr>
                    <p:cNvGrpSpPr/>
                    <p:nvPr/>
                  </p:nvGrpSpPr>
                  <p:grpSpPr>
                    <a:xfrm>
                      <a:off x="4957059" y="4688491"/>
                      <a:ext cx="23200" cy="14663"/>
                      <a:chOff x="4957059" y="4688491"/>
                      <a:chExt cx="23200" cy="14663"/>
                    </a:xfrm>
                    <a:solidFill>
                      <a:schemeClr val="accent1"/>
                    </a:solidFill>
                  </p:grpSpPr>
                  <p:grpSp>
                    <p:nvGrpSpPr>
                      <p:cNvPr id="3791" name="Graphic 4">
                        <a:extLst>
                          <a:ext uri="{FF2B5EF4-FFF2-40B4-BE49-F238E27FC236}">
                            <a16:creationId xmlns:a16="http://schemas.microsoft.com/office/drawing/2014/main" id="{84FB7ED1-A2DF-40A1-A747-5F7CF3F14040}"/>
                          </a:ext>
                        </a:extLst>
                      </p:cNvPr>
                      <p:cNvGrpSpPr/>
                      <p:nvPr/>
                    </p:nvGrpSpPr>
                    <p:grpSpPr>
                      <a:xfrm>
                        <a:off x="4957059" y="4688491"/>
                        <a:ext cx="10502" cy="7378"/>
                        <a:chOff x="4957059" y="4688491"/>
                        <a:chExt cx="10502" cy="7378"/>
                      </a:xfrm>
                      <a:solidFill>
                        <a:schemeClr val="accent1"/>
                      </a:solidFill>
                    </p:grpSpPr>
                    <p:sp>
                      <p:nvSpPr>
                        <p:cNvPr id="3792" name="Freeform: Shape 3791">
                          <a:extLst>
                            <a:ext uri="{FF2B5EF4-FFF2-40B4-BE49-F238E27FC236}">
                              <a16:creationId xmlns:a16="http://schemas.microsoft.com/office/drawing/2014/main" id="{19AB6FEA-625B-4140-A0A6-EAE0C2F75ADE}"/>
                            </a:ext>
                          </a:extLst>
                        </p:cNvPr>
                        <p:cNvSpPr/>
                        <p:nvPr/>
                      </p:nvSpPr>
                      <p:spPr>
                        <a:xfrm>
                          <a:off x="4957059" y="4689905"/>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1 w 10502"/>
                            <a:gd name="connsiteY3" fmla="*/ 283 h 5965"/>
                            <a:gd name="connsiteX4" fmla="*/ 4064 w 10502"/>
                            <a:gd name="connsiteY4" fmla="*/ 283 h 5965"/>
                            <a:gd name="connsiteX5" fmla="*/ 1929 w 10502"/>
                            <a:gd name="connsiteY5" fmla="*/ 1538 h 5965"/>
                            <a:gd name="connsiteX6" fmla="*/ 297 w 10502"/>
                            <a:gd name="connsiteY6" fmla="*/ 1538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1" y="283"/>
                              </a:lnTo>
                              <a:cubicBezTo>
                                <a:pt x="5823" y="-94"/>
                                <a:pt x="4693" y="-94"/>
                                <a:pt x="4064" y="283"/>
                              </a:cubicBezTo>
                              <a:lnTo>
                                <a:pt x="1929" y="1538"/>
                              </a:lnTo>
                              <a:lnTo>
                                <a:pt x="297" y="1538"/>
                              </a:lnTo>
                              <a:lnTo>
                                <a:pt x="45" y="2794"/>
                              </a:lnTo>
                              <a:cubicBezTo>
                                <a:pt x="-80" y="3171"/>
                                <a:pt x="45" y="3422"/>
                                <a:pt x="548" y="3673"/>
                              </a:cubicBezTo>
                              <a:lnTo>
                                <a:pt x="4064" y="5683"/>
                              </a:lnTo>
                              <a:cubicBezTo>
                                <a:pt x="4693"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93" name="Freeform: Shape 3792">
                          <a:extLst>
                            <a:ext uri="{FF2B5EF4-FFF2-40B4-BE49-F238E27FC236}">
                              <a16:creationId xmlns:a16="http://schemas.microsoft.com/office/drawing/2014/main" id="{16A086D1-0497-4CA9-A9ED-EFF555543348}"/>
                            </a:ext>
                          </a:extLst>
                        </p:cNvPr>
                        <p:cNvSpPr/>
                        <p:nvPr/>
                      </p:nvSpPr>
                      <p:spPr>
                        <a:xfrm>
                          <a:off x="4957059" y="4689905"/>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1 w 10502"/>
                            <a:gd name="connsiteY3" fmla="*/ 283 h 5965"/>
                            <a:gd name="connsiteX4" fmla="*/ 4064 w 10502"/>
                            <a:gd name="connsiteY4" fmla="*/ 283 h 5965"/>
                            <a:gd name="connsiteX5" fmla="*/ 1929 w 10502"/>
                            <a:gd name="connsiteY5" fmla="*/ 1538 h 5965"/>
                            <a:gd name="connsiteX6" fmla="*/ 297 w 10502"/>
                            <a:gd name="connsiteY6" fmla="*/ 1538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1" y="283"/>
                              </a:lnTo>
                              <a:cubicBezTo>
                                <a:pt x="5823" y="-94"/>
                                <a:pt x="4693" y="-94"/>
                                <a:pt x="4064" y="283"/>
                              </a:cubicBezTo>
                              <a:lnTo>
                                <a:pt x="1929" y="1538"/>
                              </a:lnTo>
                              <a:lnTo>
                                <a:pt x="297" y="1538"/>
                              </a:lnTo>
                              <a:lnTo>
                                <a:pt x="45" y="2794"/>
                              </a:lnTo>
                              <a:cubicBezTo>
                                <a:pt x="-80" y="3171"/>
                                <a:pt x="45" y="3422"/>
                                <a:pt x="548" y="3673"/>
                              </a:cubicBezTo>
                              <a:lnTo>
                                <a:pt x="4064" y="5683"/>
                              </a:lnTo>
                              <a:cubicBezTo>
                                <a:pt x="4693"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94" name="Freeform: Shape 3793">
                          <a:extLst>
                            <a:ext uri="{FF2B5EF4-FFF2-40B4-BE49-F238E27FC236}">
                              <a16:creationId xmlns:a16="http://schemas.microsoft.com/office/drawing/2014/main" id="{CB7A1472-F233-493D-A86B-973FD602FBA7}"/>
                            </a:ext>
                          </a:extLst>
                        </p:cNvPr>
                        <p:cNvSpPr/>
                        <p:nvPr/>
                      </p:nvSpPr>
                      <p:spPr>
                        <a:xfrm>
                          <a:off x="4957261" y="4688491"/>
                          <a:ext cx="10110" cy="5871"/>
                        </a:xfrm>
                        <a:custGeom>
                          <a:avLst/>
                          <a:gdLst>
                            <a:gd name="connsiteX0" fmla="*/ 3862 w 10110"/>
                            <a:gd name="connsiteY0" fmla="*/ 188 h 5871"/>
                            <a:gd name="connsiteX1" fmla="*/ 471 w 10110"/>
                            <a:gd name="connsiteY1" fmla="*/ 2198 h 5871"/>
                            <a:gd name="connsiteX2" fmla="*/ 471 w 10110"/>
                            <a:gd name="connsiteY2" fmla="*/ 3580 h 5871"/>
                            <a:gd name="connsiteX3" fmla="*/ 3862 w 10110"/>
                            <a:gd name="connsiteY3" fmla="*/ 5589 h 5871"/>
                            <a:gd name="connsiteX4" fmla="*/ 6248 w 10110"/>
                            <a:gd name="connsiteY4" fmla="*/ 5589 h 5871"/>
                            <a:gd name="connsiteX5" fmla="*/ 9640 w 10110"/>
                            <a:gd name="connsiteY5" fmla="*/ 3580 h 5871"/>
                            <a:gd name="connsiteX6" fmla="*/ 9640 w 10110"/>
                            <a:gd name="connsiteY6" fmla="*/ 2198 h 5871"/>
                            <a:gd name="connsiteX7" fmla="*/ 6248 w 10110"/>
                            <a:gd name="connsiteY7" fmla="*/ 188 h 5871"/>
                            <a:gd name="connsiteX8" fmla="*/ 3862 w 10110"/>
                            <a:gd name="connsiteY8" fmla="*/ 188 h 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71">
                              <a:moveTo>
                                <a:pt x="3862" y="188"/>
                              </a:moveTo>
                              <a:lnTo>
                                <a:pt x="471" y="2198"/>
                              </a:lnTo>
                              <a:cubicBezTo>
                                <a:pt x="-157" y="2575"/>
                                <a:pt x="-157" y="3203"/>
                                <a:pt x="471" y="3580"/>
                              </a:cubicBezTo>
                              <a:lnTo>
                                <a:pt x="3862" y="5589"/>
                              </a:lnTo>
                              <a:cubicBezTo>
                                <a:pt x="4490" y="5966"/>
                                <a:pt x="5495" y="5966"/>
                                <a:pt x="6248" y="5589"/>
                              </a:cubicBezTo>
                              <a:lnTo>
                                <a:pt x="9640" y="3580"/>
                              </a:lnTo>
                              <a:cubicBezTo>
                                <a:pt x="10268" y="3203"/>
                                <a:pt x="10268" y="2575"/>
                                <a:pt x="9640" y="2198"/>
                              </a:cubicBezTo>
                              <a:lnTo>
                                <a:pt x="6248" y="188"/>
                              </a:lnTo>
                              <a:cubicBezTo>
                                <a:pt x="5495" y="-63"/>
                                <a:pt x="4490" y="-63"/>
                                <a:pt x="3862" y="18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95" name="Graphic 4">
                        <a:extLst>
                          <a:ext uri="{FF2B5EF4-FFF2-40B4-BE49-F238E27FC236}">
                            <a16:creationId xmlns:a16="http://schemas.microsoft.com/office/drawing/2014/main" id="{84FB7ED1-A2DF-40A1-A747-5F7CF3F14040}"/>
                          </a:ext>
                        </a:extLst>
                      </p:cNvPr>
                      <p:cNvGrpSpPr/>
                      <p:nvPr/>
                    </p:nvGrpSpPr>
                    <p:grpSpPr>
                      <a:xfrm>
                        <a:off x="4963339" y="4692165"/>
                        <a:ext cx="10515" cy="7347"/>
                        <a:chOff x="4963339" y="4692165"/>
                        <a:chExt cx="10515" cy="7347"/>
                      </a:xfrm>
                      <a:solidFill>
                        <a:schemeClr val="accent1"/>
                      </a:solidFill>
                    </p:grpSpPr>
                    <p:sp>
                      <p:nvSpPr>
                        <p:cNvPr id="3796" name="Freeform: Shape 3795">
                          <a:extLst>
                            <a:ext uri="{FF2B5EF4-FFF2-40B4-BE49-F238E27FC236}">
                              <a16:creationId xmlns:a16="http://schemas.microsoft.com/office/drawing/2014/main" id="{B0AC80AC-0A8A-446C-A111-7AF62365E397}"/>
                            </a:ext>
                          </a:extLst>
                        </p:cNvPr>
                        <p:cNvSpPr/>
                        <p:nvPr/>
                      </p:nvSpPr>
                      <p:spPr>
                        <a:xfrm>
                          <a:off x="4963339" y="4693547"/>
                          <a:ext cx="10515" cy="5966"/>
                        </a:xfrm>
                        <a:custGeom>
                          <a:avLst/>
                          <a:gdLst>
                            <a:gd name="connsiteX0" fmla="*/ 10470 w 10515"/>
                            <a:gd name="connsiteY0" fmla="*/ 2795 h 5966"/>
                            <a:gd name="connsiteX1" fmla="*/ 10219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7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97" name="Freeform: Shape 3796">
                          <a:extLst>
                            <a:ext uri="{FF2B5EF4-FFF2-40B4-BE49-F238E27FC236}">
                              <a16:creationId xmlns:a16="http://schemas.microsoft.com/office/drawing/2014/main" id="{5AEA89B3-C91A-43C7-81D4-8518B3E88CFE}"/>
                            </a:ext>
                          </a:extLst>
                        </p:cNvPr>
                        <p:cNvSpPr/>
                        <p:nvPr/>
                      </p:nvSpPr>
                      <p:spPr>
                        <a:xfrm>
                          <a:off x="4963339" y="4693547"/>
                          <a:ext cx="10515" cy="5966"/>
                        </a:xfrm>
                        <a:custGeom>
                          <a:avLst/>
                          <a:gdLst>
                            <a:gd name="connsiteX0" fmla="*/ 10470 w 10515"/>
                            <a:gd name="connsiteY0" fmla="*/ 2795 h 5966"/>
                            <a:gd name="connsiteX1" fmla="*/ 10219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7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98" name="Freeform: Shape 3797">
                          <a:extLst>
                            <a:ext uri="{FF2B5EF4-FFF2-40B4-BE49-F238E27FC236}">
                              <a16:creationId xmlns:a16="http://schemas.microsoft.com/office/drawing/2014/main" id="{6ECE016F-EC95-415F-ABA9-8437D5CCC32A}"/>
                            </a:ext>
                          </a:extLst>
                        </p:cNvPr>
                        <p:cNvSpPr/>
                        <p:nvPr/>
                      </p:nvSpPr>
                      <p:spPr>
                        <a:xfrm>
                          <a:off x="4963541" y="469216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40 w 10110"/>
                            <a:gd name="connsiteY5" fmla="*/ 3548 h 5714"/>
                            <a:gd name="connsiteX6" fmla="*/ 9640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40" y="3548"/>
                              </a:lnTo>
                              <a:cubicBezTo>
                                <a:pt x="10268" y="3171"/>
                                <a:pt x="10268" y="2543"/>
                                <a:pt x="9640"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99" name="Graphic 4">
                        <a:extLst>
                          <a:ext uri="{FF2B5EF4-FFF2-40B4-BE49-F238E27FC236}">
                            <a16:creationId xmlns:a16="http://schemas.microsoft.com/office/drawing/2014/main" id="{84FB7ED1-A2DF-40A1-A747-5F7CF3F14040}"/>
                          </a:ext>
                        </a:extLst>
                      </p:cNvPr>
                      <p:cNvGrpSpPr/>
                      <p:nvPr/>
                    </p:nvGrpSpPr>
                    <p:grpSpPr>
                      <a:xfrm>
                        <a:off x="4969744" y="4695807"/>
                        <a:ext cx="10515" cy="7347"/>
                        <a:chOff x="4969744" y="4695807"/>
                        <a:chExt cx="10515" cy="7347"/>
                      </a:xfrm>
                      <a:solidFill>
                        <a:schemeClr val="accent1"/>
                      </a:solidFill>
                    </p:grpSpPr>
                    <p:sp>
                      <p:nvSpPr>
                        <p:cNvPr id="3800" name="Freeform: Shape 3799">
                          <a:extLst>
                            <a:ext uri="{FF2B5EF4-FFF2-40B4-BE49-F238E27FC236}">
                              <a16:creationId xmlns:a16="http://schemas.microsoft.com/office/drawing/2014/main" id="{CE287BF1-A021-4274-AC24-C7AC2731B3DA}"/>
                            </a:ext>
                          </a:extLst>
                        </p:cNvPr>
                        <p:cNvSpPr/>
                        <p:nvPr/>
                      </p:nvSpPr>
                      <p:spPr>
                        <a:xfrm>
                          <a:off x="4969744" y="4697189"/>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1" name="Freeform: Shape 3800">
                          <a:extLst>
                            <a:ext uri="{FF2B5EF4-FFF2-40B4-BE49-F238E27FC236}">
                              <a16:creationId xmlns:a16="http://schemas.microsoft.com/office/drawing/2014/main" id="{82F3795E-70A1-41BD-8FE1-0819B2DACB39}"/>
                            </a:ext>
                          </a:extLst>
                        </p:cNvPr>
                        <p:cNvSpPr/>
                        <p:nvPr/>
                      </p:nvSpPr>
                      <p:spPr>
                        <a:xfrm>
                          <a:off x="4969744" y="4697189"/>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2" name="Freeform: Shape 3801">
                          <a:extLst>
                            <a:ext uri="{FF2B5EF4-FFF2-40B4-BE49-F238E27FC236}">
                              <a16:creationId xmlns:a16="http://schemas.microsoft.com/office/drawing/2014/main" id="{C774269A-1E2F-43F7-B7EE-1643CE581271}"/>
                            </a:ext>
                          </a:extLst>
                        </p:cNvPr>
                        <p:cNvSpPr/>
                        <p:nvPr/>
                      </p:nvSpPr>
                      <p:spPr>
                        <a:xfrm>
                          <a:off x="4969946" y="4695807"/>
                          <a:ext cx="10110" cy="5965"/>
                        </a:xfrm>
                        <a:custGeom>
                          <a:avLst/>
                          <a:gdLst>
                            <a:gd name="connsiteX0" fmla="*/ 3862 w 10110"/>
                            <a:gd name="connsiteY0" fmla="*/ 283 h 5965"/>
                            <a:gd name="connsiteX1" fmla="*/ 471 w 10110"/>
                            <a:gd name="connsiteY1" fmla="*/ 2292 h 5965"/>
                            <a:gd name="connsiteX2" fmla="*/ 471 w 10110"/>
                            <a:gd name="connsiteY2" fmla="*/ 3674 h 5965"/>
                            <a:gd name="connsiteX3" fmla="*/ 3862 w 10110"/>
                            <a:gd name="connsiteY3" fmla="*/ 5683 h 5965"/>
                            <a:gd name="connsiteX4" fmla="*/ 6248 w 10110"/>
                            <a:gd name="connsiteY4" fmla="*/ 5683 h 5965"/>
                            <a:gd name="connsiteX5" fmla="*/ 9639 w 10110"/>
                            <a:gd name="connsiteY5" fmla="*/ 3674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4"/>
                              </a:cubicBezTo>
                              <a:lnTo>
                                <a:pt x="3862" y="5683"/>
                              </a:lnTo>
                              <a:cubicBezTo>
                                <a:pt x="4490" y="6060"/>
                                <a:pt x="5495" y="6060"/>
                                <a:pt x="6248" y="5683"/>
                              </a:cubicBezTo>
                              <a:lnTo>
                                <a:pt x="9639" y="3674"/>
                              </a:lnTo>
                              <a:cubicBezTo>
                                <a:pt x="10268" y="3297"/>
                                <a:pt x="10268" y="2669"/>
                                <a:pt x="9639" y="2292"/>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03" name="Graphic 4">
                      <a:extLst>
                        <a:ext uri="{FF2B5EF4-FFF2-40B4-BE49-F238E27FC236}">
                          <a16:creationId xmlns:a16="http://schemas.microsoft.com/office/drawing/2014/main" id="{84FB7ED1-A2DF-40A1-A747-5F7CF3F14040}"/>
                        </a:ext>
                      </a:extLst>
                    </p:cNvPr>
                    <p:cNvGrpSpPr/>
                    <p:nvPr/>
                  </p:nvGrpSpPr>
                  <p:grpSpPr>
                    <a:xfrm>
                      <a:off x="4950528" y="4692165"/>
                      <a:ext cx="23313" cy="14757"/>
                      <a:chOff x="4950528" y="4692165"/>
                      <a:chExt cx="23313" cy="14757"/>
                    </a:xfrm>
                    <a:solidFill>
                      <a:schemeClr val="accent1"/>
                    </a:solidFill>
                  </p:grpSpPr>
                  <p:grpSp>
                    <p:nvGrpSpPr>
                      <p:cNvPr id="3804" name="Graphic 4">
                        <a:extLst>
                          <a:ext uri="{FF2B5EF4-FFF2-40B4-BE49-F238E27FC236}">
                            <a16:creationId xmlns:a16="http://schemas.microsoft.com/office/drawing/2014/main" id="{84FB7ED1-A2DF-40A1-A747-5F7CF3F14040}"/>
                          </a:ext>
                        </a:extLst>
                      </p:cNvPr>
                      <p:cNvGrpSpPr/>
                      <p:nvPr/>
                    </p:nvGrpSpPr>
                    <p:grpSpPr>
                      <a:xfrm>
                        <a:off x="4950528" y="4692165"/>
                        <a:ext cx="10515" cy="7347"/>
                        <a:chOff x="4950528" y="4692165"/>
                        <a:chExt cx="10515" cy="7347"/>
                      </a:xfrm>
                      <a:solidFill>
                        <a:schemeClr val="accent1"/>
                      </a:solidFill>
                    </p:grpSpPr>
                    <p:sp>
                      <p:nvSpPr>
                        <p:cNvPr id="3805" name="Freeform: Shape 3804">
                          <a:extLst>
                            <a:ext uri="{FF2B5EF4-FFF2-40B4-BE49-F238E27FC236}">
                              <a16:creationId xmlns:a16="http://schemas.microsoft.com/office/drawing/2014/main" id="{7F712E62-198F-4218-A6F3-1BB2C5721437}"/>
                            </a:ext>
                          </a:extLst>
                        </p:cNvPr>
                        <p:cNvSpPr/>
                        <p:nvPr/>
                      </p:nvSpPr>
                      <p:spPr>
                        <a:xfrm>
                          <a:off x="4950528" y="4693547"/>
                          <a:ext cx="10515" cy="5966"/>
                        </a:xfrm>
                        <a:custGeom>
                          <a:avLst/>
                          <a:gdLst>
                            <a:gd name="connsiteX0" fmla="*/ 10470 w 10515"/>
                            <a:gd name="connsiteY0" fmla="*/ 2795 h 5966"/>
                            <a:gd name="connsiteX1" fmla="*/ 10218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6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6" name="Freeform: Shape 3805">
                          <a:extLst>
                            <a:ext uri="{FF2B5EF4-FFF2-40B4-BE49-F238E27FC236}">
                              <a16:creationId xmlns:a16="http://schemas.microsoft.com/office/drawing/2014/main" id="{E964EEB5-F7C0-4A34-8DC3-07EF01FE225A}"/>
                            </a:ext>
                          </a:extLst>
                        </p:cNvPr>
                        <p:cNvSpPr/>
                        <p:nvPr/>
                      </p:nvSpPr>
                      <p:spPr>
                        <a:xfrm>
                          <a:off x="4950528" y="4693547"/>
                          <a:ext cx="10515" cy="5966"/>
                        </a:xfrm>
                        <a:custGeom>
                          <a:avLst/>
                          <a:gdLst>
                            <a:gd name="connsiteX0" fmla="*/ 10470 w 10515"/>
                            <a:gd name="connsiteY0" fmla="*/ 2795 h 5966"/>
                            <a:gd name="connsiteX1" fmla="*/ 10218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6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7" name="Freeform: Shape 3806">
                          <a:extLst>
                            <a:ext uri="{FF2B5EF4-FFF2-40B4-BE49-F238E27FC236}">
                              <a16:creationId xmlns:a16="http://schemas.microsoft.com/office/drawing/2014/main" id="{4AEAE235-733E-4526-9187-50CB7881E821}"/>
                            </a:ext>
                          </a:extLst>
                        </p:cNvPr>
                        <p:cNvSpPr/>
                        <p:nvPr/>
                      </p:nvSpPr>
                      <p:spPr>
                        <a:xfrm>
                          <a:off x="4950731" y="4692165"/>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08" name="Graphic 4">
                        <a:extLst>
                          <a:ext uri="{FF2B5EF4-FFF2-40B4-BE49-F238E27FC236}">
                            <a16:creationId xmlns:a16="http://schemas.microsoft.com/office/drawing/2014/main" id="{84FB7ED1-A2DF-40A1-A747-5F7CF3F14040}"/>
                          </a:ext>
                        </a:extLst>
                      </p:cNvPr>
                      <p:cNvGrpSpPr/>
                      <p:nvPr/>
                    </p:nvGrpSpPr>
                    <p:grpSpPr>
                      <a:xfrm>
                        <a:off x="4956934" y="4695807"/>
                        <a:ext cx="10502" cy="7347"/>
                        <a:chOff x="4956934" y="4695807"/>
                        <a:chExt cx="10502" cy="7347"/>
                      </a:xfrm>
                      <a:solidFill>
                        <a:schemeClr val="accent1"/>
                      </a:solidFill>
                    </p:grpSpPr>
                    <p:sp>
                      <p:nvSpPr>
                        <p:cNvPr id="3809" name="Freeform: Shape 3808">
                          <a:extLst>
                            <a:ext uri="{FF2B5EF4-FFF2-40B4-BE49-F238E27FC236}">
                              <a16:creationId xmlns:a16="http://schemas.microsoft.com/office/drawing/2014/main" id="{25E0F58E-24F1-4AF8-950D-3690F15339E5}"/>
                            </a:ext>
                          </a:extLst>
                        </p:cNvPr>
                        <p:cNvSpPr/>
                        <p:nvPr/>
                      </p:nvSpPr>
                      <p:spPr>
                        <a:xfrm>
                          <a:off x="4956934" y="469718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0"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0" name="Freeform: Shape 3809">
                          <a:extLst>
                            <a:ext uri="{FF2B5EF4-FFF2-40B4-BE49-F238E27FC236}">
                              <a16:creationId xmlns:a16="http://schemas.microsoft.com/office/drawing/2014/main" id="{BB923081-4BF1-4BDE-9D49-A16D392392B3}"/>
                            </a:ext>
                          </a:extLst>
                        </p:cNvPr>
                        <p:cNvSpPr/>
                        <p:nvPr/>
                      </p:nvSpPr>
                      <p:spPr>
                        <a:xfrm>
                          <a:off x="4956934" y="469718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0"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1" name="Freeform: Shape 3810">
                          <a:extLst>
                            <a:ext uri="{FF2B5EF4-FFF2-40B4-BE49-F238E27FC236}">
                              <a16:creationId xmlns:a16="http://schemas.microsoft.com/office/drawing/2014/main" id="{7A8827C0-9639-4D1F-925A-E330A78CBBD1}"/>
                            </a:ext>
                          </a:extLst>
                        </p:cNvPr>
                        <p:cNvSpPr/>
                        <p:nvPr/>
                      </p:nvSpPr>
                      <p:spPr>
                        <a:xfrm>
                          <a:off x="4957136" y="4695807"/>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3"/>
                                <a:pt x="-157" y="3171"/>
                                <a:pt x="471" y="3548"/>
                              </a:cubicBezTo>
                              <a:lnTo>
                                <a:pt x="3862" y="5432"/>
                              </a:lnTo>
                              <a:cubicBezTo>
                                <a:pt x="4490" y="5809"/>
                                <a:pt x="5495" y="5809"/>
                                <a:pt x="6248" y="5432"/>
                              </a:cubicBezTo>
                              <a:lnTo>
                                <a:pt x="9639" y="3548"/>
                              </a:lnTo>
                              <a:cubicBezTo>
                                <a:pt x="10267" y="3171"/>
                                <a:pt x="10267" y="2543"/>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12" name="Graphic 4">
                        <a:extLst>
                          <a:ext uri="{FF2B5EF4-FFF2-40B4-BE49-F238E27FC236}">
                            <a16:creationId xmlns:a16="http://schemas.microsoft.com/office/drawing/2014/main" id="{84FB7ED1-A2DF-40A1-A747-5F7CF3F14040}"/>
                          </a:ext>
                        </a:extLst>
                      </p:cNvPr>
                      <p:cNvGrpSpPr/>
                      <p:nvPr/>
                    </p:nvGrpSpPr>
                    <p:grpSpPr>
                      <a:xfrm>
                        <a:off x="4963339" y="4699575"/>
                        <a:ext cx="10502" cy="7347"/>
                        <a:chOff x="4963339" y="4699575"/>
                        <a:chExt cx="10502" cy="7347"/>
                      </a:xfrm>
                      <a:solidFill>
                        <a:schemeClr val="accent1"/>
                      </a:solidFill>
                    </p:grpSpPr>
                    <p:sp>
                      <p:nvSpPr>
                        <p:cNvPr id="3813" name="Freeform: Shape 3812">
                          <a:extLst>
                            <a:ext uri="{FF2B5EF4-FFF2-40B4-BE49-F238E27FC236}">
                              <a16:creationId xmlns:a16="http://schemas.microsoft.com/office/drawing/2014/main" id="{BAD714DE-2AB2-42A0-A659-22957FBD7720}"/>
                            </a:ext>
                          </a:extLst>
                        </p:cNvPr>
                        <p:cNvSpPr/>
                        <p:nvPr/>
                      </p:nvSpPr>
                      <p:spPr>
                        <a:xfrm>
                          <a:off x="4963339" y="4700957"/>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4" name="Freeform: Shape 3813">
                          <a:extLst>
                            <a:ext uri="{FF2B5EF4-FFF2-40B4-BE49-F238E27FC236}">
                              <a16:creationId xmlns:a16="http://schemas.microsoft.com/office/drawing/2014/main" id="{5C1DE2E9-98C2-480E-85B9-07140846ED09}"/>
                            </a:ext>
                          </a:extLst>
                        </p:cNvPr>
                        <p:cNvSpPr/>
                        <p:nvPr/>
                      </p:nvSpPr>
                      <p:spPr>
                        <a:xfrm>
                          <a:off x="4963339" y="4700957"/>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5" name="Freeform: Shape 3814">
                          <a:extLst>
                            <a:ext uri="{FF2B5EF4-FFF2-40B4-BE49-F238E27FC236}">
                              <a16:creationId xmlns:a16="http://schemas.microsoft.com/office/drawing/2014/main" id="{1741CB44-5431-46FC-9D86-9DC523A19B84}"/>
                            </a:ext>
                          </a:extLst>
                        </p:cNvPr>
                        <p:cNvSpPr/>
                        <p:nvPr/>
                      </p:nvSpPr>
                      <p:spPr>
                        <a:xfrm>
                          <a:off x="4963541" y="469957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40 w 10110"/>
                            <a:gd name="connsiteY5" fmla="*/ 3548 h 5714"/>
                            <a:gd name="connsiteX6" fmla="*/ 9640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40" y="3548"/>
                              </a:lnTo>
                              <a:cubicBezTo>
                                <a:pt x="10268" y="3171"/>
                                <a:pt x="10268" y="2543"/>
                                <a:pt x="9640"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16" name="Graphic 4">
                      <a:extLst>
                        <a:ext uri="{FF2B5EF4-FFF2-40B4-BE49-F238E27FC236}">
                          <a16:creationId xmlns:a16="http://schemas.microsoft.com/office/drawing/2014/main" id="{84FB7ED1-A2DF-40A1-A747-5F7CF3F14040}"/>
                        </a:ext>
                      </a:extLst>
                    </p:cNvPr>
                    <p:cNvGrpSpPr/>
                    <p:nvPr/>
                  </p:nvGrpSpPr>
                  <p:grpSpPr>
                    <a:xfrm>
                      <a:off x="4944123" y="4695807"/>
                      <a:ext cx="23313" cy="14757"/>
                      <a:chOff x="4944123" y="4695807"/>
                      <a:chExt cx="23313" cy="14757"/>
                    </a:xfrm>
                    <a:solidFill>
                      <a:schemeClr val="accent1"/>
                    </a:solidFill>
                  </p:grpSpPr>
                  <p:grpSp>
                    <p:nvGrpSpPr>
                      <p:cNvPr id="3817" name="Graphic 4">
                        <a:extLst>
                          <a:ext uri="{FF2B5EF4-FFF2-40B4-BE49-F238E27FC236}">
                            <a16:creationId xmlns:a16="http://schemas.microsoft.com/office/drawing/2014/main" id="{84FB7ED1-A2DF-40A1-A747-5F7CF3F14040}"/>
                          </a:ext>
                        </a:extLst>
                      </p:cNvPr>
                      <p:cNvGrpSpPr/>
                      <p:nvPr/>
                    </p:nvGrpSpPr>
                    <p:grpSpPr>
                      <a:xfrm>
                        <a:off x="4944123" y="4695807"/>
                        <a:ext cx="10515" cy="7347"/>
                        <a:chOff x="4944123" y="4695807"/>
                        <a:chExt cx="10515" cy="7347"/>
                      </a:xfrm>
                      <a:solidFill>
                        <a:schemeClr val="accent1"/>
                      </a:solidFill>
                    </p:grpSpPr>
                    <p:sp>
                      <p:nvSpPr>
                        <p:cNvPr id="3818" name="Freeform: Shape 3817">
                          <a:extLst>
                            <a:ext uri="{FF2B5EF4-FFF2-40B4-BE49-F238E27FC236}">
                              <a16:creationId xmlns:a16="http://schemas.microsoft.com/office/drawing/2014/main" id="{7F101602-C6B5-424D-899F-70775C79E43C}"/>
                            </a:ext>
                          </a:extLst>
                        </p:cNvPr>
                        <p:cNvSpPr/>
                        <p:nvPr/>
                      </p:nvSpPr>
                      <p:spPr>
                        <a:xfrm>
                          <a:off x="4944123" y="4697189"/>
                          <a:ext cx="10515" cy="5965"/>
                        </a:xfrm>
                        <a:custGeom>
                          <a:avLst/>
                          <a:gdLst>
                            <a:gd name="connsiteX0" fmla="*/ 10470 w 10515"/>
                            <a:gd name="connsiteY0" fmla="*/ 2795 h 5965"/>
                            <a:gd name="connsiteX1" fmla="*/ 10219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9" name="Freeform: Shape 3818">
                          <a:extLst>
                            <a:ext uri="{FF2B5EF4-FFF2-40B4-BE49-F238E27FC236}">
                              <a16:creationId xmlns:a16="http://schemas.microsoft.com/office/drawing/2014/main" id="{D7C7C703-9666-4A32-B95F-C05E7A10805A}"/>
                            </a:ext>
                          </a:extLst>
                        </p:cNvPr>
                        <p:cNvSpPr/>
                        <p:nvPr/>
                      </p:nvSpPr>
                      <p:spPr>
                        <a:xfrm>
                          <a:off x="4944123" y="4697189"/>
                          <a:ext cx="10515" cy="5965"/>
                        </a:xfrm>
                        <a:custGeom>
                          <a:avLst/>
                          <a:gdLst>
                            <a:gd name="connsiteX0" fmla="*/ 10470 w 10515"/>
                            <a:gd name="connsiteY0" fmla="*/ 2795 h 5965"/>
                            <a:gd name="connsiteX1" fmla="*/ 10219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0" name="Freeform: Shape 3819">
                          <a:extLst>
                            <a:ext uri="{FF2B5EF4-FFF2-40B4-BE49-F238E27FC236}">
                              <a16:creationId xmlns:a16="http://schemas.microsoft.com/office/drawing/2014/main" id="{3BD9A5CC-3395-47E3-9AF9-650B8704B9FB}"/>
                            </a:ext>
                          </a:extLst>
                        </p:cNvPr>
                        <p:cNvSpPr/>
                        <p:nvPr/>
                      </p:nvSpPr>
                      <p:spPr>
                        <a:xfrm>
                          <a:off x="4944325" y="4695807"/>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3"/>
                                <a:pt x="-157" y="3171"/>
                                <a:pt x="471" y="3548"/>
                              </a:cubicBezTo>
                              <a:lnTo>
                                <a:pt x="3862" y="5432"/>
                              </a:lnTo>
                              <a:cubicBezTo>
                                <a:pt x="4490" y="5809"/>
                                <a:pt x="5495" y="5809"/>
                                <a:pt x="6123" y="5432"/>
                              </a:cubicBezTo>
                              <a:lnTo>
                                <a:pt x="9514" y="3548"/>
                              </a:lnTo>
                              <a:cubicBezTo>
                                <a:pt x="10142" y="3171"/>
                                <a:pt x="10142" y="2543"/>
                                <a:pt x="9514" y="2167"/>
                              </a:cubicBezTo>
                              <a:lnTo>
                                <a:pt x="6123"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21" name="Graphic 4">
                        <a:extLst>
                          <a:ext uri="{FF2B5EF4-FFF2-40B4-BE49-F238E27FC236}">
                            <a16:creationId xmlns:a16="http://schemas.microsoft.com/office/drawing/2014/main" id="{84FB7ED1-A2DF-40A1-A747-5F7CF3F14040}"/>
                          </a:ext>
                        </a:extLst>
                      </p:cNvPr>
                      <p:cNvGrpSpPr/>
                      <p:nvPr/>
                    </p:nvGrpSpPr>
                    <p:grpSpPr>
                      <a:xfrm>
                        <a:off x="4950528" y="4699575"/>
                        <a:ext cx="10502" cy="7347"/>
                        <a:chOff x="4950528" y="4699575"/>
                        <a:chExt cx="10502" cy="7347"/>
                      </a:xfrm>
                      <a:solidFill>
                        <a:schemeClr val="accent1"/>
                      </a:solidFill>
                    </p:grpSpPr>
                    <p:sp>
                      <p:nvSpPr>
                        <p:cNvPr id="3822" name="Freeform: Shape 3821">
                          <a:extLst>
                            <a:ext uri="{FF2B5EF4-FFF2-40B4-BE49-F238E27FC236}">
                              <a16:creationId xmlns:a16="http://schemas.microsoft.com/office/drawing/2014/main" id="{4DEE7E9D-ADF0-4788-BB91-DE58BED24C68}"/>
                            </a:ext>
                          </a:extLst>
                        </p:cNvPr>
                        <p:cNvSpPr/>
                        <p:nvPr/>
                      </p:nvSpPr>
                      <p:spPr>
                        <a:xfrm>
                          <a:off x="4950528" y="4700957"/>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3" name="Freeform: Shape 3822">
                          <a:extLst>
                            <a:ext uri="{FF2B5EF4-FFF2-40B4-BE49-F238E27FC236}">
                              <a16:creationId xmlns:a16="http://schemas.microsoft.com/office/drawing/2014/main" id="{7744E696-687B-4FA9-BAAF-B34491979016}"/>
                            </a:ext>
                          </a:extLst>
                        </p:cNvPr>
                        <p:cNvSpPr/>
                        <p:nvPr/>
                      </p:nvSpPr>
                      <p:spPr>
                        <a:xfrm>
                          <a:off x="4950528" y="4700957"/>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4" name="Freeform: Shape 3823">
                          <a:extLst>
                            <a:ext uri="{FF2B5EF4-FFF2-40B4-BE49-F238E27FC236}">
                              <a16:creationId xmlns:a16="http://schemas.microsoft.com/office/drawing/2014/main" id="{1088443E-8076-4C78-AF59-7C7696851A4C}"/>
                            </a:ext>
                          </a:extLst>
                        </p:cNvPr>
                        <p:cNvSpPr/>
                        <p:nvPr/>
                      </p:nvSpPr>
                      <p:spPr>
                        <a:xfrm>
                          <a:off x="4950731" y="469957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25" name="Graphic 4">
                        <a:extLst>
                          <a:ext uri="{FF2B5EF4-FFF2-40B4-BE49-F238E27FC236}">
                            <a16:creationId xmlns:a16="http://schemas.microsoft.com/office/drawing/2014/main" id="{84FB7ED1-A2DF-40A1-A747-5F7CF3F14040}"/>
                          </a:ext>
                        </a:extLst>
                      </p:cNvPr>
                      <p:cNvGrpSpPr/>
                      <p:nvPr/>
                    </p:nvGrpSpPr>
                    <p:grpSpPr>
                      <a:xfrm>
                        <a:off x="4956934" y="4703218"/>
                        <a:ext cx="10502" cy="7346"/>
                        <a:chOff x="4956934" y="4703218"/>
                        <a:chExt cx="10502" cy="7346"/>
                      </a:xfrm>
                      <a:solidFill>
                        <a:schemeClr val="accent1"/>
                      </a:solidFill>
                    </p:grpSpPr>
                    <p:sp>
                      <p:nvSpPr>
                        <p:cNvPr id="3826" name="Freeform: Shape 3825">
                          <a:extLst>
                            <a:ext uri="{FF2B5EF4-FFF2-40B4-BE49-F238E27FC236}">
                              <a16:creationId xmlns:a16="http://schemas.microsoft.com/office/drawing/2014/main" id="{4C2DDE8E-3E7E-4A16-983A-E453B04DAE1C}"/>
                            </a:ext>
                          </a:extLst>
                        </p:cNvPr>
                        <p:cNvSpPr/>
                        <p:nvPr/>
                      </p:nvSpPr>
                      <p:spPr>
                        <a:xfrm>
                          <a:off x="4956934" y="470459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0"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7" name="Freeform: Shape 3826">
                          <a:extLst>
                            <a:ext uri="{FF2B5EF4-FFF2-40B4-BE49-F238E27FC236}">
                              <a16:creationId xmlns:a16="http://schemas.microsoft.com/office/drawing/2014/main" id="{7E18E103-B0C2-413A-8569-FF89E0E69A0E}"/>
                            </a:ext>
                          </a:extLst>
                        </p:cNvPr>
                        <p:cNvSpPr/>
                        <p:nvPr/>
                      </p:nvSpPr>
                      <p:spPr>
                        <a:xfrm>
                          <a:off x="4956934" y="470459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0"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8" name="Freeform: Shape 3827">
                          <a:extLst>
                            <a:ext uri="{FF2B5EF4-FFF2-40B4-BE49-F238E27FC236}">
                              <a16:creationId xmlns:a16="http://schemas.microsoft.com/office/drawing/2014/main" id="{C2B6A845-0235-4665-8040-B347A9C1C4C1}"/>
                            </a:ext>
                          </a:extLst>
                        </p:cNvPr>
                        <p:cNvSpPr/>
                        <p:nvPr/>
                      </p:nvSpPr>
                      <p:spPr>
                        <a:xfrm>
                          <a:off x="4957136" y="4703218"/>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29" name="Graphic 4">
                      <a:extLst>
                        <a:ext uri="{FF2B5EF4-FFF2-40B4-BE49-F238E27FC236}">
                          <a16:creationId xmlns:a16="http://schemas.microsoft.com/office/drawing/2014/main" id="{84FB7ED1-A2DF-40A1-A747-5F7CF3F14040}"/>
                        </a:ext>
                      </a:extLst>
                    </p:cNvPr>
                    <p:cNvGrpSpPr/>
                    <p:nvPr/>
                  </p:nvGrpSpPr>
                  <p:grpSpPr>
                    <a:xfrm>
                      <a:off x="4850303" y="4664283"/>
                      <a:ext cx="74442" cy="44272"/>
                      <a:chOff x="4850303" y="4664283"/>
                      <a:chExt cx="74442" cy="44272"/>
                    </a:xfrm>
                    <a:solidFill>
                      <a:schemeClr val="accent1"/>
                    </a:solidFill>
                  </p:grpSpPr>
                  <p:grpSp>
                    <p:nvGrpSpPr>
                      <p:cNvPr id="3830" name="Graphic 4">
                        <a:extLst>
                          <a:ext uri="{FF2B5EF4-FFF2-40B4-BE49-F238E27FC236}">
                            <a16:creationId xmlns:a16="http://schemas.microsoft.com/office/drawing/2014/main" id="{84FB7ED1-A2DF-40A1-A747-5F7CF3F14040}"/>
                          </a:ext>
                        </a:extLst>
                      </p:cNvPr>
                      <p:cNvGrpSpPr/>
                      <p:nvPr/>
                    </p:nvGrpSpPr>
                    <p:grpSpPr>
                      <a:xfrm>
                        <a:off x="4850303" y="4664283"/>
                        <a:ext cx="12650" cy="8477"/>
                        <a:chOff x="4850303" y="4664283"/>
                        <a:chExt cx="12650" cy="8477"/>
                      </a:xfrm>
                      <a:solidFill>
                        <a:schemeClr val="accent1"/>
                      </a:solidFill>
                    </p:grpSpPr>
                    <p:sp>
                      <p:nvSpPr>
                        <p:cNvPr id="3831" name="Freeform: Shape 3830">
                          <a:extLst>
                            <a:ext uri="{FF2B5EF4-FFF2-40B4-BE49-F238E27FC236}">
                              <a16:creationId xmlns:a16="http://schemas.microsoft.com/office/drawing/2014/main" id="{28B49E46-3461-4F20-AE74-FB8D32469620}"/>
                            </a:ext>
                          </a:extLst>
                        </p:cNvPr>
                        <p:cNvSpPr/>
                        <p:nvPr/>
                      </p:nvSpPr>
                      <p:spPr>
                        <a:xfrm>
                          <a:off x="4850303" y="4665539"/>
                          <a:ext cx="12650" cy="7221"/>
                        </a:xfrm>
                        <a:custGeom>
                          <a:avLst/>
                          <a:gdLst>
                            <a:gd name="connsiteX0" fmla="*/ 12605 w 12650"/>
                            <a:gd name="connsiteY0" fmla="*/ 4050 h 7221"/>
                            <a:gd name="connsiteX1" fmla="*/ 12354 w 12650"/>
                            <a:gd name="connsiteY1" fmla="*/ 2794 h 7221"/>
                            <a:gd name="connsiteX2" fmla="*/ 10721 w 12650"/>
                            <a:gd name="connsiteY2" fmla="*/ 2794 h 7221"/>
                            <a:gd name="connsiteX3" fmla="*/ 6451 w 12650"/>
                            <a:gd name="connsiteY3" fmla="*/ 283 h 7221"/>
                            <a:gd name="connsiteX4" fmla="*/ 4064 w 12650"/>
                            <a:gd name="connsiteY4" fmla="*/ 283 h 7221"/>
                            <a:gd name="connsiteX5" fmla="*/ 1929 w 12650"/>
                            <a:gd name="connsiteY5" fmla="*/ 1538 h 7221"/>
                            <a:gd name="connsiteX6" fmla="*/ 297 w 12650"/>
                            <a:gd name="connsiteY6" fmla="*/ 1538 h 7221"/>
                            <a:gd name="connsiteX7" fmla="*/ 45 w 12650"/>
                            <a:gd name="connsiteY7" fmla="*/ 2794 h 7221"/>
                            <a:gd name="connsiteX8" fmla="*/ 548 w 12650"/>
                            <a:gd name="connsiteY8" fmla="*/ 3673 h 7221"/>
                            <a:gd name="connsiteX9" fmla="*/ 6200 w 12650"/>
                            <a:gd name="connsiteY9" fmla="*/ 6939 h 7221"/>
                            <a:gd name="connsiteX10" fmla="*/ 8586 w 12650"/>
                            <a:gd name="connsiteY10" fmla="*/ 6939 h 7221"/>
                            <a:gd name="connsiteX11" fmla="*/ 12103 w 12650"/>
                            <a:gd name="connsiteY11" fmla="*/ 4930 h 7221"/>
                            <a:gd name="connsiteX12" fmla="*/ 12605 w 12650"/>
                            <a:gd name="connsiteY12" fmla="*/ 4050 h 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0" h="7221">
                              <a:moveTo>
                                <a:pt x="12605" y="4050"/>
                              </a:moveTo>
                              <a:lnTo>
                                <a:pt x="12354" y="2794"/>
                              </a:lnTo>
                              <a:lnTo>
                                <a:pt x="10721" y="2794"/>
                              </a:lnTo>
                              <a:lnTo>
                                <a:pt x="6451" y="283"/>
                              </a:lnTo>
                              <a:cubicBezTo>
                                <a:pt x="5823" y="-94"/>
                                <a:pt x="4693" y="-94"/>
                                <a:pt x="4064" y="283"/>
                              </a:cubicBezTo>
                              <a:lnTo>
                                <a:pt x="1929" y="1538"/>
                              </a:lnTo>
                              <a:lnTo>
                                <a:pt x="297" y="1538"/>
                              </a:lnTo>
                              <a:lnTo>
                                <a:pt x="45" y="2794"/>
                              </a:lnTo>
                              <a:cubicBezTo>
                                <a:pt x="-80" y="3171"/>
                                <a:pt x="45" y="3422"/>
                                <a:pt x="548" y="3673"/>
                              </a:cubicBezTo>
                              <a:lnTo>
                                <a:pt x="6200" y="6939"/>
                              </a:lnTo>
                              <a:cubicBezTo>
                                <a:pt x="6827" y="7316"/>
                                <a:pt x="7958" y="7316"/>
                                <a:pt x="8586" y="6939"/>
                              </a:cubicBezTo>
                              <a:lnTo>
                                <a:pt x="12103" y="4930"/>
                              </a:lnTo>
                              <a:cubicBezTo>
                                <a:pt x="12605" y="4804"/>
                                <a:pt x="12730" y="4427"/>
                                <a:pt x="12605" y="4050"/>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2" name="Freeform: Shape 3831">
                          <a:extLst>
                            <a:ext uri="{FF2B5EF4-FFF2-40B4-BE49-F238E27FC236}">
                              <a16:creationId xmlns:a16="http://schemas.microsoft.com/office/drawing/2014/main" id="{C87EC589-EEB4-4169-805C-ACFAEA491979}"/>
                            </a:ext>
                          </a:extLst>
                        </p:cNvPr>
                        <p:cNvSpPr/>
                        <p:nvPr/>
                      </p:nvSpPr>
                      <p:spPr>
                        <a:xfrm>
                          <a:off x="4850303" y="4665539"/>
                          <a:ext cx="12650" cy="7221"/>
                        </a:xfrm>
                        <a:custGeom>
                          <a:avLst/>
                          <a:gdLst>
                            <a:gd name="connsiteX0" fmla="*/ 12605 w 12650"/>
                            <a:gd name="connsiteY0" fmla="*/ 4050 h 7221"/>
                            <a:gd name="connsiteX1" fmla="*/ 12354 w 12650"/>
                            <a:gd name="connsiteY1" fmla="*/ 2794 h 7221"/>
                            <a:gd name="connsiteX2" fmla="*/ 10721 w 12650"/>
                            <a:gd name="connsiteY2" fmla="*/ 2794 h 7221"/>
                            <a:gd name="connsiteX3" fmla="*/ 6451 w 12650"/>
                            <a:gd name="connsiteY3" fmla="*/ 283 h 7221"/>
                            <a:gd name="connsiteX4" fmla="*/ 4064 w 12650"/>
                            <a:gd name="connsiteY4" fmla="*/ 283 h 7221"/>
                            <a:gd name="connsiteX5" fmla="*/ 1929 w 12650"/>
                            <a:gd name="connsiteY5" fmla="*/ 1538 h 7221"/>
                            <a:gd name="connsiteX6" fmla="*/ 297 w 12650"/>
                            <a:gd name="connsiteY6" fmla="*/ 1538 h 7221"/>
                            <a:gd name="connsiteX7" fmla="*/ 45 w 12650"/>
                            <a:gd name="connsiteY7" fmla="*/ 2794 h 7221"/>
                            <a:gd name="connsiteX8" fmla="*/ 548 w 12650"/>
                            <a:gd name="connsiteY8" fmla="*/ 3673 h 7221"/>
                            <a:gd name="connsiteX9" fmla="*/ 6200 w 12650"/>
                            <a:gd name="connsiteY9" fmla="*/ 6939 h 7221"/>
                            <a:gd name="connsiteX10" fmla="*/ 8586 w 12650"/>
                            <a:gd name="connsiteY10" fmla="*/ 6939 h 7221"/>
                            <a:gd name="connsiteX11" fmla="*/ 12103 w 12650"/>
                            <a:gd name="connsiteY11" fmla="*/ 4930 h 7221"/>
                            <a:gd name="connsiteX12" fmla="*/ 12605 w 12650"/>
                            <a:gd name="connsiteY12" fmla="*/ 4050 h 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0" h="7221">
                              <a:moveTo>
                                <a:pt x="12605" y="4050"/>
                              </a:moveTo>
                              <a:lnTo>
                                <a:pt x="12354" y="2794"/>
                              </a:lnTo>
                              <a:lnTo>
                                <a:pt x="10721" y="2794"/>
                              </a:lnTo>
                              <a:lnTo>
                                <a:pt x="6451" y="283"/>
                              </a:lnTo>
                              <a:cubicBezTo>
                                <a:pt x="5823" y="-94"/>
                                <a:pt x="4693" y="-94"/>
                                <a:pt x="4064" y="283"/>
                              </a:cubicBezTo>
                              <a:lnTo>
                                <a:pt x="1929" y="1538"/>
                              </a:lnTo>
                              <a:lnTo>
                                <a:pt x="297" y="1538"/>
                              </a:lnTo>
                              <a:lnTo>
                                <a:pt x="45" y="2794"/>
                              </a:lnTo>
                              <a:cubicBezTo>
                                <a:pt x="-80" y="3171"/>
                                <a:pt x="45" y="3422"/>
                                <a:pt x="548" y="3673"/>
                              </a:cubicBezTo>
                              <a:lnTo>
                                <a:pt x="6200" y="6939"/>
                              </a:lnTo>
                              <a:cubicBezTo>
                                <a:pt x="6827" y="7316"/>
                                <a:pt x="7958" y="7316"/>
                                <a:pt x="8586" y="6939"/>
                              </a:cubicBezTo>
                              <a:lnTo>
                                <a:pt x="12103" y="4930"/>
                              </a:lnTo>
                              <a:cubicBezTo>
                                <a:pt x="12605" y="4804"/>
                                <a:pt x="12730" y="4427"/>
                                <a:pt x="12605" y="4050"/>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3" name="Freeform: Shape 3832">
                          <a:extLst>
                            <a:ext uri="{FF2B5EF4-FFF2-40B4-BE49-F238E27FC236}">
                              <a16:creationId xmlns:a16="http://schemas.microsoft.com/office/drawing/2014/main" id="{51B642D4-2240-4D6A-AC5B-15E16BD52999}"/>
                            </a:ext>
                          </a:extLst>
                        </p:cNvPr>
                        <p:cNvSpPr/>
                        <p:nvPr/>
                      </p:nvSpPr>
                      <p:spPr>
                        <a:xfrm>
                          <a:off x="4850506" y="4664283"/>
                          <a:ext cx="12245" cy="6970"/>
                        </a:xfrm>
                        <a:custGeom>
                          <a:avLst/>
                          <a:gdLst>
                            <a:gd name="connsiteX0" fmla="*/ 3862 w 12245"/>
                            <a:gd name="connsiteY0" fmla="*/ 283 h 6970"/>
                            <a:gd name="connsiteX1" fmla="*/ 471 w 12245"/>
                            <a:gd name="connsiteY1" fmla="*/ 2166 h 6970"/>
                            <a:gd name="connsiteX2" fmla="*/ 471 w 12245"/>
                            <a:gd name="connsiteY2" fmla="*/ 3548 h 6970"/>
                            <a:gd name="connsiteX3" fmla="*/ 5997 w 12245"/>
                            <a:gd name="connsiteY3" fmla="*/ 6688 h 6970"/>
                            <a:gd name="connsiteX4" fmla="*/ 8384 w 12245"/>
                            <a:gd name="connsiteY4" fmla="*/ 6688 h 6970"/>
                            <a:gd name="connsiteX5" fmla="*/ 11775 w 12245"/>
                            <a:gd name="connsiteY5" fmla="*/ 4804 h 6970"/>
                            <a:gd name="connsiteX6" fmla="*/ 11775 w 12245"/>
                            <a:gd name="connsiteY6" fmla="*/ 3422 h 6970"/>
                            <a:gd name="connsiteX7" fmla="*/ 6248 w 12245"/>
                            <a:gd name="connsiteY7" fmla="*/ 283 h 6970"/>
                            <a:gd name="connsiteX8" fmla="*/ 3862 w 12245"/>
                            <a:gd name="connsiteY8" fmla="*/ 283 h 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45" h="6970">
                              <a:moveTo>
                                <a:pt x="3862" y="283"/>
                              </a:moveTo>
                              <a:lnTo>
                                <a:pt x="471" y="2166"/>
                              </a:lnTo>
                              <a:cubicBezTo>
                                <a:pt x="-157" y="2543"/>
                                <a:pt x="-157" y="3171"/>
                                <a:pt x="471" y="3548"/>
                              </a:cubicBezTo>
                              <a:lnTo>
                                <a:pt x="5997" y="6688"/>
                              </a:lnTo>
                              <a:cubicBezTo>
                                <a:pt x="6625" y="7065"/>
                                <a:pt x="7630" y="7065"/>
                                <a:pt x="8384" y="6688"/>
                              </a:cubicBezTo>
                              <a:lnTo>
                                <a:pt x="11775" y="4804"/>
                              </a:lnTo>
                              <a:cubicBezTo>
                                <a:pt x="12402" y="4427"/>
                                <a:pt x="12402" y="3799"/>
                                <a:pt x="11775" y="3422"/>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34" name="Graphic 4">
                        <a:extLst>
                          <a:ext uri="{FF2B5EF4-FFF2-40B4-BE49-F238E27FC236}">
                            <a16:creationId xmlns:a16="http://schemas.microsoft.com/office/drawing/2014/main" id="{84FB7ED1-A2DF-40A1-A747-5F7CF3F14040}"/>
                          </a:ext>
                        </a:extLst>
                      </p:cNvPr>
                      <p:cNvGrpSpPr/>
                      <p:nvPr/>
                    </p:nvGrpSpPr>
                    <p:grpSpPr>
                      <a:xfrm>
                        <a:off x="4858970" y="4669207"/>
                        <a:ext cx="10502" cy="7321"/>
                        <a:chOff x="4858970" y="4669207"/>
                        <a:chExt cx="10502" cy="7321"/>
                      </a:xfrm>
                      <a:solidFill>
                        <a:schemeClr val="accent1"/>
                      </a:solidFill>
                    </p:grpSpPr>
                    <p:sp>
                      <p:nvSpPr>
                        <p:cNvPr id="3835" name="Freeform: Shape 3834">
                          <a:extLst>
                            <a:ext uri="{FF2B5EF4-FFF2-40B4-BE49-F238E27FC236}">
                              <a16:creationId xmlns:a16="http://schemas.microsoft.com/office/drawing/2014/main" id="{662E95D5-BF92-4859-BA58-63FC8CDC4BD7}"/>
                            </a:ext>
                          </a:extLst>
                        </p:cNvPr>
                        <p:cNvSpPr/>
                        <p:nvPr/>
                      </p:nvSpPr>
                      <p:spPr>
                        <a:xfrm>
                          <a:off x="4858970" y="4670563"/>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3" y="-94"/>
                                <a:pt x="4064" y="283"/>
                              </a:cubicBezTo>
                              <a:lnTo>
                                <a:pt x="1929" y="1539"/>
                              </a:lnTo>
                              <a:lnTo>
                                <a:pt x="297" y="1539"/>
                              </a:lnTo>
                              <a:lnTo>
                                <a:pt x="45" y="2794"/>
                              </a:lnTo>
                              <a:cubicBezTo>
                                <a:pt x="-80" y="3171"/>
                                <a:pt x="45" y="3422"/>
                                <a:pt x="548" y="3673"/>
                              </a:cubicBezTo>
                              <a:lnTo>
                                <a:pt x="4064" y="5683"/>
                              </a:lnTo>
                              <a:cubicBezTo>
                                <a:pt x="4693" y="6060"/>
                                <a:pt x="5823" y="6060"/>
                                <a:pt x="6451" y="5683"/>
                              </a:cubicBezTo>
                              <a:lnTo>
                                <a:pt x="9967" y="3673"/>
                              </a:lnTo>
                              <a:cubicBezTo>
                                <a:pt x="10344"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6" name="Freeform: Shape 3835">
                          <a:extLst>
                            <a:ext uri="{FF2B5EF4-FFF2-40B4-BE49-F238E27FC236}">
                              <a16:creationId xmlns:a16="http://schemas.microsoft.com/office/drawing/2014/main" id="{AB84F369-EA9D-480D-8B00-633E389C9298}"/>
                            </a:ext>
                          </a:extLst>
                        </p:cNvPr>
                        <p:cNvSpPr/>
                        <p:nvPr/>
                      </p:nvSpPr>
                      <p:spPr>
                        <a:xfrm>
                          <a:off x="4858970" y="4670563"/>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3" y="-94"/>
                                <a:pt x="4064" y="283"/>
                              </a:cubicBezTo>
                              <a:lnTo>
                                <a:pt x="1929" y="1539"/>
                              </a:lnTo>
                              <a:lnTo>
                                <a:pt x="297" y="1539"/>
                              </a:lnTo>
                              <a:lnTo>
                                <a:pt x="45" y="2794"/>
                              </a:lnTo>
                              <a:cubicBezTo>
                                <a:pt x="-80" y="3171"/>
                                <a:pt x="45" y="3422"/>
                                <a:pt x="548" y="3673"/>
                              </a:cubicBezTo>
                              <a:lnTo>
                                <a:pt x="4064" y="5683"/>
                              </a:lnTo>
                              <a:cubicBezTo>
                                <a:pt x="4693" y="6060"/>
                                <a:pt x="5823" y="6060"/>
                                <a:pt x="6451" y="5683"/>
                              </a:cubicBezTo>
                              <a:lnTo>
                                <a:pt x="9967" y="3673"/>
                              </a:lnTo>
                              <a:cubicBezTo>
                                <a:pt x="10344"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7" name="Freeform: Shape 3836">
                          <a:extLst>
                            <a:ext uri="{FF2B5EF4-FFF2-40B4-BE49-F238E27FC236}">
                              <a16:creationId xmlns:a16="http://schemas.microsoft.com/office/drawing/2014/main" id="{531A771D-5FDB-4087-A902-C8A53F9779F9}"/>
                            </a:ext>
                          </a:extLst>
                        </p:cNvPr>
                        <p:cNvSpPr/>
                        <p:nvPr/>
                      </p:nvSpPr>
                      <p:spPr>
                        <a:xfrm>
                          <a:off x="4859172" y="4669207"/>
                          <a:ext cx="9984" cy="5940"/>
                        </a:xfrm>
                        <a:custGeom>
                          <a:avLst/>
                          <a:gdLst>
                            <a:gd name="connsiteX0" fmla="*/ 3862 w 9984"/>
                            <a:gd name="connsiteY0" fmla="*/ 257 h 5940"/>
                            <a:gd name="connsiteX1" fmla="*/ 471 w 9984"/>
                            <a:gd name="connsiteY1" fmla="*/ 2267 h 5940"/>
                            <a:gd name="connsiteX2" fmla="*/ 471 w 9984"/>
                            <a:gd name="connsiteY2" fmla="*/ 3648 h 5940"/>
                            <a:gd name="connsiteX3" fmla="*/ 3862 w 9984"/>
                            <a:gd name="connsiteY3" fmla="*/ 5658 h 5940"/>
                            <a:gd name="connsiteX4" fmla="*/ 6123 w 9984"/>
                            <a:gd name="connsiteY4" fmla="*/ 5658 h 5940"/>
                            <a:gd name="connsiteX5" fmla="*/ 9514 w 9984"/>
                            <a:gd name="connsiteY5" fmla="*/ 3774 h 5940"/>
                            <a:gd name="connsiteX6" fmla="*/ 9514 w 9984"/>
                            <a:gd name="connsiteY6" fmla="*/ 2392 h 5940"/>
                            <a:gd name="connsiteX7" fmla="*/ 6123 w 9984"/>
                            <a:gd name="connsiteY7" fmla="*/ 509 h 5940"/>
                            <a:gd name="connsiteX8" fmla="*/ 3862 w 9984"/>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40">
                              <a:moveTo>
                                <a:pt x="3862" y="257"/>
                              </a:moveTo>
                              <a:lnTo>
                                <a:pt x="471" y="2267"/>
                              </a:lnTo>
                              <a:cubicBezTo>
                                <a:pt x="-157" y="2643"/>
                                <a:pt x="-157" y="3272"/>
                                <a:pt x="471" y="3648"/>
                              </a:cubicBezTo>
                              <a:lnTo>
                                <a:pt x="3862" y="5658"/>
                              </a:lnTo>
                              <a:cubicBezTo>
                                <a:pt x="4490" y="6035"/>
                                <a:pt x="5495" y="6035"/>
                                <a:pt x="6123" y="5658"/>
                              </a:cubicBezTo>
                              <a:lnTo>
                                <a:pt x="9514" y="3774"/>
                              </a:lnTo>
                              <a:cubicBezTo>
                                <a:pt x="10142" y="3397"/>
                                <a:pt x="10142" y="2769"/>
                                <a:pt x="9514" y="2392"/>
                              </a:cubicBezTo>
                              <a:lnTo>
                                <a:pt x="6123" y="509"/>
                              </a:lnTo>
                              <a:cubicBezTo>
                                <a:pt x="5495" y="-120"/>
                                <a:pt x="4490"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38" name="Graphic 4">
                        <a:extLst>
                          <a:ext uri="{FF2B5EF4-FFF2-40B4-BE49-F238E27FC236}">
                            <a16:creationId xmlns:a16="http://schemas.microsoft.com/office/drawing/2014/main" id="{84FB7ED1-A2DF-40A1-A747-5F7CF3F14040}"/>
                          </a:ext>
                        </a:extLst>
                      </p:cNvPr>
                      <p:cNvGrpSpPr/>
                      <p:nvPr/>
                    </p:nvGrpSpPr>
                    <p:grpSpPr>
                      <a:xfrm>
                        <a:off x="4865249" y="4672824"/>
                        <a:ext cx="10515" cy="7473"/>
                        <a:chOff x="4865249" y="4672824"/>
                        <a:chExt cx="10515" cy="7473"/>
                      </a:xfrm>
                      <a:solidFill>
                        <a:schemeClr val="accent1"/>
                      </a:solidFill>
                    </p:grpSpPr>
                    <p:sp>
                      <p:nvSpPr>
                        <p:cNvPr id="3839" name="Freeform: Shape 3838">
                          <a:extLst>
                            <a:ext uri="{FF2B5EF4-FFF2-40B4-BE49-F238E27FC236}">
                              <a16:creationId xmlns:a16="http://schemas.microsoft.com/office/drawing/2014/main" id="{7265AB93-CCBF-4DF3-BAA0-2A9A48D9E563}"/>
                            </a:ext>
                          </a:extLst>
                        </p:cNvPr>
                        <p:cNvSpPr/>
                        <p:nvPr/>
                      </p:nvSpPr>
                      <p:spPr>
                        <a:xfrm>
                          <a:off x="4865249" y="4674331"/>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0" name="Freeform: Shape 3839">
                          <a:extLst>
                            <a:ext uri="{FF2B5EF4-FFF2-40B4-BE49-F238E27FC236}">
                              <a16:creationId xmlns:a16="http://schemas.microsoft.com/office/drawing/2014/main" id="{42567B00-4BA4-4458-8451-1AAD6629AF65}"/>
                            </a:ext>
                          </a:extLst>
                        </p:cNvPr>
                        <p:cNvSpPr/>
                        <p:nvPr/>
                      </p:nvSpPr>
                      <p:spPr>
                        <a:xfrm>
                          <a:off x="4865249" y="4674331"/>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1" name="Freeform: Shape 3840">
                          <a:extLst>
                            <a:ext uri="{FF2B5EF4-FFF2-40B4-BE49-F238E27FC236}">
                              <a16:creationId xmlns:a16="http://schemas.microsoft.com/office/drawing/2014/main" id="{6BC41547-0B01-4268-B433-BDF65AECFCFA}"/>
                            </a:ext>
                          </a:extLst>
                        </p:cNvPr>
                        <p:cNvSpPr/>
                        <p:nvPr/>
                      </p:nvSpPr>
                      <p:spPr>
                        <a:xfrm>
                          <a:off x="4865452" y="467282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42" name="Graphic 4">
                        <a:extLst>
                          <a:ext uri="{FF2B5EF4-FFF2-40B4-BE49-F238E27FC236}">
                            <a16:creationId xmlns:a16="http://schemas.microsoft.com/office/drawing/2014/main" id="{84FB7ED1-A2DF-40A1-A747-5F7CF3F14040}"/>
                          </a:ext>
                        </a:extLst>
                      </p:cNvPr>
                      <p:cNvGrpSpPr/>
                      <p:nvPr/>
                    </p:nvGrpSpPr>
                    <p:grpSpPr>
                      <a:xfrm>
                        <a:off x="4871655" y="4676591"/>
                        <a:ext cx="10502" cy="7347"/>
                        <a:chOff x="4871655" y="4676591"/>
                        <a:chExt cx="10502" cy="7347"/>
                      </a:xfrm>
                      <a:solidFill>
                        <a:schemeClr val="accent1"/>
                      </a:solidFill>
                    </p:grpSpPr>
                    <p:sp>
                      <p:nvSpPr>
                        <p:cNvPr id="3843" name="Freeform: Shape 3842">
                          <a:extLst>
                            <a:ext uri="{FF2B5EF4-FFF2-40B4-BE49-F238E27FC236}">
                              <a16:creationId xmlns:a16="http://schemas.microsoft.com/office/drawing/2014/main" id="{C92403CE-0D0A-43F5-BDE2-67BFBBE9AFD1}"/>
                            </a:ext>
                          </a:extLst>
                        </p:cNvPr>
                        <p:cNvSpPr/>
                        <p:nvPr/>
                      </p:nvSpPr>
                      <p:spPr>
                        <a:xfrm>
                          <a:off x="4871655" y="4677973"/>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4" name="Freeform: Shape 3843">
                          <a:extLst>
                            <a:ext uri="{FF2B5EF4-FFF2-40B4-BE49-F238E27FC236}">
                              <a16:creationId xmlns:a16="http://schemas.microsoft.com/office/drawing/2014/main" id="{D9874C36-271A-4142-AA82-A0C6EE621D1B}"/>
                            </a:ext>
                          </a:extLst>
                        </p:cNvPr>
                        <p:cNvSpPr/>
                        <p:nvPr/>
                      </p:nvSpPr>
                      <p:spPr>
                        <a:xfrm>
                          <a:off x="4871655" y="4677973"/>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5" name="Freeform: Shape 3844">
                          <a:extLst>
                            <a:ext uri="{FF2B5EF4-FFF2-40B4-BE49-F238E27FC236}">
                              <a16:creationId xmlns:a16="http://schemas.microsoft.com/office/drawing/2014/main" id="{57735A05-3B6D-4F28-A6D1-E300E79AF394}"/>
                            </a:ext>
                          </a:extLst>
                        </p:cNvPr>
                        <p:cNvSpPr/>
                        <p:nvPr/>
                      </p:nvSpPr>
                      <p:spPr>
                        <a:xfrm>
                          <a:off x="4871857" y="4676591"/>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8" y="3171"/>
                                <a:pt x="10268" y="2544"/>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46" name="Graphic 4">
                        <a:extLst>
                          <a:ext uri="{FF2B5EF4-FFF2-40B4-BE49-F238E27FC236}">
                            <a16:creationId xmlns:a16="http://schemas.microsoft.com/office/drawing/2014/main" id="{84FB7ED1-A2DF-40A1-A747-5F7CF3F14040}"/>
                          </a:ext>
                        </a:extLst>
                      </p:cNvPr>
                      <p:cNvGrpSpPr/>
                      <p:nvPr/>
                    </p:nvGrpSpPr>
                    <p:grpSpPr>
                      <a:xfrm>
                        <a:off x="4877933" y="4680234"/>
                        <a:ext cx="27585" cy="17143"/>
                        <a:chOff x="4877933" y="4680234"/>
                        <a:chExt cx="27585" cy="17143"/>
                      </a:xfrm>
                      <a:solidFill>
                        <a:schemeClr val="accent1"/>
                      </a:solidFill>
                    </p:grpSpPr>
                    <p:sp>
                      <p:nvSpPr>
                        <p:cNvPr id="3847" name="Freeform: Shape 3846">
                          <a:extLst>
                            <a:ext uri="{FF2B5EF4-FFF2-40B4-BE49-F238E27FC236}">
                              <a16:creationId xmlns:a16="http://schemas.microsoft.com/office/drawing/2014/main" id="{6A32C6D1-D6C0-4C65-B621-34799195A355}"/>
                            </a:ext>
                          </a:extLst>
                        </p:cNvPr>
                        <p:cNvSpPr/>
                        <p:nvPr/>
                      </p:nvSpPr>
                      <p:spPr>
                        <a:xfrm>
                          <a:off x="4877933" y="4681364"/>
                          <a:ext cx="27585" cy="16013"/>
                        </a:xfrm>
                        <a:custGeom>
                          <a:avLst/>
                          <a:gdLst>
                            <a:gd name="connsiteX0" fmla="*/ 27552 w 27585"/>
                            <a:gd name="connsiteY0" fmla="*/ 12968 h 16013"/>
                            <a:gd name="connsiteX1" fmla="*/ 27427 w 27585"/>
                            <a:gd name="connsiteY1" fmla="*/ 11586 h 16013"/>
                            <a:gd name="connsiteX2" fmla="*/ 22654 w 27585"/>
                            <a:gd name="connsiteY2" fmla="*/ 9828 h 16013"/>
                            <a:gd name="connsiteX3" fmla="*/ 6201 w 27585"/>
                            <a:gd name="connsiteY3" fmla="*/ 283 h 16013"/>
                            <a:gd name="connsiteX4" fmla="*/ 3815 w 27585"/>
                            <a:gd name="connsiteY4" fmla="*/ 283 h 16013"/>
                            <a:gd name="connsiteX5" fmla="*/ 1177 w 27585"/>
                            <a:gd name="connsiteY5" fmla="*/ 1790 h 16013"/>
                            <a:gd name="connsiteX6" fmla="*/ 550 w 27585"/>
                            <a:gd name="connsiteY6" fmla="*/ 1539 h 16013"/>
                            <a:gd name="connsiteX7" fmla="*/ 47 w 27585"/>
                            <a:gd name="connsiteY7" fmla="*/ 2795 h 16013"/>
                            <a:gd name="connsiteX8" fmla="*/ 47 w 27585"/>
                            <a:gd name="connsiteY8" fmla="*/ 2795 h 16013"/>
                            <a:gd name="connsiteX9" fmla="*/ 47 w 27585"/>
                            <a:gd name="connsiteY9" fmla="*/ 2795 h 16013"/>
                            <a:gd name="connsiteX10" fmla="*/ 424 w 27585"/>
                            <a:gd name="connsiteY10" fmla="*/ 3799 h 16013"/>
                            <a:gd name="connsiteX11" fmla="*/ 21147 w 27585"/>
                            <a:gd name="connsiteY11" fmla="*/ 15731 h 16013"/>
                            <a:gd name="connsiteX12" fmla="*/ 23533 w 27585"/>
                            <a:gd name="connsiteY12" fmla="*/ 15731 h 16013"/>
                            <a:gd name="connsiteX13" fmla="*/ 27050 w 27585"/>
                            <a:gd name="connsiteY13" fmla="*/ 13721 h 16013"/>
                            <a:gd name="connsiteX14" fmla="*/ 27552 w 27585"/>
                            <a:gd name="connsiteY14" fmla="*/ 12968 h 1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585" h="16013">
                              <a:moveTo>
                                <a:pt x="27552" y="12968"/>
                              </a:moveTo>
                              <a:lnTo>
                                <a:pt x="27427" y="11586"/>
                              </a:lnTo>
                              <a:lnTo>
                                <a:pt x="22654" y="9828"/>
                              </a:lnTo>
                              <a:lnTo>
                                <a:pt x="6201" y="283"/>
                              </a:lnTo>
                              <a:cubicBezTo>
                                <a:pt x="5573" y="-94"/>
                                <a:pt x="4443" y="-94"/>
                                <a:pt x="3815" y="283"/>
                              </a:cubicBezTo>
                              <a:lnTo>
                                <a:pt x="1177" y="1790"/>
                              </a:lnTo>
                              <a:lnTo>
                                <a:pt x="550" y="1539"/>
                              </a:lnTo>
                              <a:cubicBezTo>
                                <a:pt x="550" y="1539"/>
                                <a:pt x="173" y="2669"/>
                                <a:pt x="47" y="2795"/>
                              </a:cubicBezTo>
                              <a:lnTo>
                                <a:pt x="47" y="2795"/>
                              </a:lnTo>
                              <a:lnTo>
                                <a:pt x="47" y="2795"/>
                              </a:lnTo>
                              <a:cubicBezTo>
                                <a:pt x="-79" y="3171"/>
                                <a:pt x="47" y="3548"/>
                                <a:pt x="424" y="3799"/>
                              </a:cubicBezTo>
                              <a:lnTo>
                                <a:pt x="21147" y="15731"/>
                              </a:lnTo>
                              <a:cubicBezTo>
                                <a:pt x="21775" y="16108"/>
                                <a:pt x="22905" y="16108"/>
                                <a:pt x="23533" y="15731"/>
                              </a:cubicBezTo>
                              <a:lnTo>
                                <a:pt x="27050" y="13721"/>
                              </a:lnTo>
                              <a:cubicBezTo>
                                <a:pt x="27427" y="13470"/>
                                <a:pt x="27678" y="13219"/>
                                <a:pt x="27552" y="1296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848" name="Graphic 4">
                          <a:extLst>
                            <a:ext uri="{FF2B5EF4-FFF2-40B4-BE49-F238E27FC236}">
                              <a16:creationId xmlns:a16="http://schemas.microsoft.com/office/drawing/2014/main" id="{84FB7ED1-A2DF-40A1-A747-5F7CF3F14040}"/>
                            </a:ext>
                          </a:extLst>
                        </p:cNvPr>
                        <p:cNvGrpSpPr/>
                        <p:nvPr/>
                      </p:nvGrpSpPr>
                      <p:grpSpPr>
                        <a:xfrm>
                          <a:off x="4877933" y="4680234"/>
                          <a:ext cx="27585" cy="17143"/>
                          <a:chOff x="4877933" y="4680234"/>
                          <a:chExt cx="27585" cy="17143"/>
                        </a:xfrm>
                        <a:solidFill>
                          <a:schemeClr val="accent1"/>
                        </a:solidFill>
                      </p:grpSpPr>
                      <p:sp>
                        <p:nvSpPr>
                          <p:cNvPr id="3849" name="Freeform: Shape 3848">
                            <a:extLst>
                              <a:ext uri="{FF2B5EF4-FFF2-40B4-BE49-F238E27FC236}">
                                <a16:creationId xmlns:a16="http://schemas.microsoft.com/office/drawing/2014/main" id="{C857CB05-F997-4C3F-BF57-06A28C85E50B}"/>
                              </a:ext>
                            </a:extLst>
                          </p:cNvPr>
                          <p:cNvSpPr/>
                          <p:nvPr/>
                        </p:nvSpPr>
                        <p:spPr>
                          <a:xfrm>
                            <a:off x="4877933" y="4681364"/>
                            <a:ext cx="27585" cy="16013"/>
                          </a:xfrm>
                          <a:custGeom>
                            <a:avLst/>
                            <a:gdLst>
                              <a:gd name="connsiteX0" fmla="*/ 27552 w 27585"/>
                              <a:gd name="connsiteY0" fmla="*/ 12968 h 16013"/>
                              <a:gd name="connsiteX1" fmla="*/ 27427 w 27585"/>
                              <a:gd name="connsiteY1" fmla="*/ 11586 h 16013"/>
                              <a:gd name="connsiteX2" fmla="*/ 22654 w 27585"/>
                              <a:gd name="connsiteY2" fmla="*/ 9828 h 16013"/>
                              <a:gd name="connsiteX3" fmla="*/ 6201 w 27585"/>
                              <a:gd name="connsiteY3" fmla="*/ 283 h 16013"/>
                              <a:gd name="connsiteX4" fmla="*/ 3815 w 27585"/>
                              <a:gd name="connsiteY4" fmla="*/ 283 h 16013"/>
                              <a:gd name="connsiteX5" fmla="*/ 1177 w 27585"/>
                              <a:gd name="connsiteY5" fmla="*/ 1790 h 16013"/>
                              <a:gd name="connsiteX6" fmla="*/ 550 w 27585"/>
                              <a:gd name="connsiteY6" fmla="*/ 1539 h 16013"/>
                              <a:gd name="connsiteX7" fmla="*/ 47 w 27585"/>
                              <a:gd name="connsiteY7" fmla="*/ 2795 h 16013"/>
                              <a:gd name="connsiteX8" fmla="*/ 47 w 27585"/>
                              <a:gd name="connsiteY8" fmla="*/ 2795 h 16013"/>
                              <a:gd name="connsiteX9" fmla="*/ 47 w 27585"/>
                              <a:gd name="connsiteY9" fmla="*/ 2795 h 16013"/>
                              <a:gd name="connsiteX10" fmla="*/ 424 w 27585"/>
                              <a:gd name="connsiteY10" fmla="*/ 3799 h 16013"/>
                              <a:gd name="connsiteX11" fmla="*/ 21147 w 27585"/>
                              <a:gd name="connsiteY11" fmla="*/ 15731 h 16013"/>
                              <a:gd name="connsiteX12" fmla="*/ 23533 w 27585"/>
                              <a:gd name="connsiteY12" fmla="*/ 15731 h 16013"/>
                              <a:gd name="connsiteX13" fmla="*/ 27050 w 27585"/>
                              <a:gd name="connsiteY13" fmla="*/ 13721 h 16013"/>
                              <a:gd name="connsiteX14" fmla="*/ 27552 w 27585"/>
                              <a:gd name="connsiteY14" fmla="*/ 12968 h 1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585" h="16013">
                                <a:moveTo>
                                  <a:pt x="27552" y="12968"/>
                                </a:moveTo>
                                <a:lnTo>
                                  <a:pt x="27427" y="11586"/>
                                </a:lnTo>
                                <a:lnTo>
                                  <a:pt x="22654" y="9828"/>
                                </a:lnTo>
                                <a:lnTo>
                                  <a:pt x="6201" y="283"/>
                                </a:lnTo>
                                <a:cubicBezTo>
                                  <a:pt x="5573" y="-94"/>
                                  <a:pt x="4443" y="-94"/>
                                  <a:pt x="3815" y="283"/>
                                </a:cubicBezTo>
                                <a:lnTo>
                                  <a:pt x="1177" y="1790"/>
                                </a:lnTo>
                                <a:lnTo>
                                  <a:pt x="550" y="1539"/>
                                </a:lnTo>
                                <a:cubicBezTo>
                                  <a:pt x="550" y="1539"/>
                                  <a:pt x="173" y="2669"/>
                                  <a:pt x="47" y="2795"/>
                                </a:cubicBezTo>
                                <a:lnTo>
                                  <a:pt x="47" y="2795"/>
                                </a:lnTo>
                                <a:lnTo>
                                  <a:pt x="47" y="2795"/>
                                </a:lnTo>
                                <a:cubicBezTo>
                                  <a:pt x="-79" y="3171"/>
                                  <a:pt x="47" y="3548"/>
                                  <a:pt x="424" y="3799"/>
                                </a:cubicBezTo>
                                <a:lnTo>
                                  <a:pt x="21147" y="15731"/>
                                </a:lnTo>
                                <a:cubicBezTo>
                                  <a:pt x="21775" y="16108"/>
                                  <a:pt x="22905" y="16108"/>
                                  <a:pt x="23533" y="15731"/>
                                </a:cubicBezTo>
                                <a:lnTo>
                                  <a:pt x="27050" y="13721"/>
                                </a:lnTo>
                                <a:cubicBezTo>
                                  <a:pt x="27427" y="13470"/>
                                  <a:pt x="27678" y="13219"/>
                                  <a:pt x="27552" y="12968"/>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0" name="Freeform: Shape 3849">
                            <a:extLst>
                              <a:ext uri="{FF2B5EF4-FFF2-40B4-BE49-F238E27FC236}">
                                <a16:creationId xmlns:a16="http://schemas.microsoft.com/office/drawing/2014/main" id="{0EAD1B61-6054-4E1B-8187-1CDF15FC2945}"/>
                              </a:ext>
                            </a:extLst>
                          </p:cNvPr>
                          <p:cNvSpPr/>
                          <p:nvPr/>
                        </p:nvSpPr>
                        <p:spPr>
                          <a:xfrm>
                            <a:off x="4878262" y="4680234"/>
                            <a:ext cx="27082" cy="15636"/>
                          </a:xfrm>
                          <a:custGeom>
                            <a:avLst/>
                            <a:gdLst>
                              <a:gd name="connsiteX0" fmla="*/ 26595 w 27082"/>
                              <a:gd name="connsiteY0" fmla="*/ 12089 h 15636"/>
                              <a:gd name="connsiteX1" fmla="*/ 6123 w 27082"/>
                              <a:gd name="connsiteY1" fmla="*/ 283 h 15636"/>
                              <a:gd name="connsiteX2" fmla="*/ 3862 w 27082"/>
                              <a:gd name="connsiteY2" fmla="*/ 283 h 15636"/>
                              <a:gd name="connsiteX3" fmla="*/ 471 w 27082"/>
                              <a:gd name="connsiteY3" fmla="*/ 2166 h 15636"/>
                              <a:gd name="connsiteX4" fmla="*/ 471 w 27082"/>
                              <a:gd name="connsiteY4" fmla="*/ 3548 h 15636"/>
                              <a:gd name="connsiteX5" fmla="*/ 20943 w 27082"/>
                              <a:gd name="connsiteY5" fmla="*/ 15354 h 15636"/>
                              <a:gd name="connsiteX6" fmla="*/ 23329 w 27082"/>
                              <a:gd name="connsiteY6" fmla="*/ 15354 h 15636"/>
                              <a:gd name="connsiteX7" fmla="*/ 26720 w 27082"/>
                              <a:gd name="connsiteY7" fmla="*/ 13470 h 15636"/>
                              <a:gd name="connsiteX8" fmla="*/ 26595 w 27082"/>
                              <a:gd name="connsiteY8" fmla="*/ 12089 h 1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082" h="15636">
                                <a:moveTo>
                                  <a:pt x="26595" y="12089"/>
                                </a:moveTo>
                                <a:lnTo>
                                  <a:pt x="6123" y="283"/>
                                </a:lnTo>
                                <a:cubicBezTo>
                                  <a:pt x="5495" y="-94"/>
                                  <a:pt x="4490" y="-94"/>
                                  <a:pt x="3862" y="283"/>
                                </a:cubicBezTo>
                                <a:lnTo>
                                  <a:pt x="471" y="2166"/>
                                </a:lnTo>
                                <a:cubicBezTo>
                                  <a:pt x="-157" y="2543"/>
                                  <a:pt x="-157" y="3171"/>
                                  <a:pt x="471" y="3548"/>
                                </a:cubicBezTo>
                                <a:lnTo>
                                  <a:pt x="20943" y="15354"/>
                                </a:lnTo>
                                <a:cubicBezTo>
                                  <a:pt x="21571" y="15731"/>
                                  <a:pt x="22576" y="15731"/>
                                  <a:pt x="23329" y="15354"/>
                                </a:cubicBezTo>
                                <a:lnTo>
                                  <a:pt x="26720" y="13470"/>
                                </a:lnTo>
                                <a:cubicBezTo>
                                  <a:pt x="27223" y="13093"/>
                                  <a:pt x="27223" y="12465"/>
                                  <a:pt x="26595" y="1208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51" name="Graphic 4">
                        <a:extLst>
                          <a:ext uri="{FF2B5EF4-FFF2-40B4-BE49-F238E27FC236}">
                            <a16:creationId xmlns:a16="http://schemas.microsoft.com/office/drawing/2014/main" id="{84FB7ED1-A2DF-40A1-A747-5F7CF3F14040}"/>
                          </a:ext>
                        </a:extLst>
                      </p:cNvPr>
                      <p:cNvGrpSpPr/>
                      <p:nvPr/>
                    </p:nvGrpSpPr>
                    <p:grpSpPr>
                      <a:xfrm>
                        <a:off x="4901546" y="4693798"/>
                        <a:ext cx="10514" cy="7346"/>
                        <a:chOff x="4901546" y="4693798"/>
                        <a:chExt cx="10514" cy="7346"/>
                      </a:xfrm>
                      <a:solidFill>
                        <a:schemeClr val="accent1"/>
                      </a:solidFill>
                    </p:grpSpPr>
                    <p:sp>
                      <p:nvSpPr>
                        <p:cNvPr id="3852" name="Freeform: Shape 3851">
                          <a:extLst>
                            <a:ext uri="{FF2B5EF4-FFF2-40B4-BE49-F238E27FC236}">
                              <a16:creationId xmlns:a16="http://schemas.microsoft.com/office/drawing/2014/main" id="{E615FC62-BC89-457E-ACCE-95E3B70BE485}"/>
                            </a:ext>
                          </a:extLst>
                        </p:cNvPr>
                        <p:cNvSpPr/>
                        <p:nvPr/>
                      </p:nvSpPr>
                      <p:spPr>
                        <a:xfrm>
                          <a:off x="4901546" y="469517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3" name="Freeform: Shape 3852">
                          <a:extLst>
                            <a:ext uri="{FF2B5EF4-FFF2-40B4-BE49-F238E27FC236}">
                              <a16:creationId xmlns:a16="http://schemas.microsoft.com/office/drawing/2014/main" id="{AD723A25-129F-4C17-92CF-EABCDE1DA4B7}"/>
                            </a:ext>
                          </a:extLst>
                        </p:cNvPr>
                        <p:cNvSpPr/>
                        <p:nvPr/>
                      </p:nvSpPr>
                      <p:spPr>
                        <a:xfrm>
                          <a:off x="4901546" y="469517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4" name="Freeform: Shape 3853">
                          <a:extLst>
                            <a:ext uri="{FF2B5EF4-FFF2-40B4-BE49-F238E27FC236}">
                              <a16:creationId xmlns:a16="http://schemas.microsoft.com/office/drawing/2014/main" id="{0239BF3A-C8A0-48C7-9995-8819939336C8}"/>
                            </a:ext>
                          </a:extLst>
                        </p:cNvPr>
                        <p:cNvSpPr/>
                        <p:nvPr/>
                      </p:nvSpPr>
                      <p:spPr>
                        <a:xfrm>
                          <a:off x="4901749" y="4693798"/>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55" name="Graphic 4">
                        <a:extLst>
                          <a:ext uri="{FF2B5EF4-FFF2-40B4-BE49-F238E27FC236}">
                            <a16:creationId xmlns:a16="http://schemas.microsoft.com/office/drawing/2014/main" id="{84FB7ED1-A2DF-40A1-A747-5F7CF3F14040}"/>
                          </a:ext>
                        </a:extLst>
                      </p:cNvPr>
                      <p:cNvGrpSpPr/>
                      <p:nvPr/>
                    </p:nvGrpSpPr>
                    <p:grpSpPr>
                      <a:xfrm>
                        <a:off x="4907826" y="4697465"/>
                        <a:ext cx="10514" cy="7321"/>
                        <a:chOff x="4907826" y="4697465"/>
                        <a:chExt cx="10514" cy="7321"/>
                      </a:xfrm>
                      <a:solidFill>
                        <a:schemeClr val="accent1"/>
                      </a:solidFill>
                    </p:grpSpPr>
                    <p:sp>
                      <p:nvSpPr>
                        <p:cNvPr id="3856" name="Freeform: Shape 3855">
                          <a:extLst>
                            <a:ext uri="{FF2B5EF4-FFF2-40B4-BE49-F238E27FC236}">
                              <a16:creationId xmlns:a16="http://schemas.microsoft.com/office/drawing/2014/main" id="{0B719997-D96C-4779-BA3A-A99246BA1D21}"/>
                            </a:ext>
                          </a:extLst>
                        </p:cNvPr>
                        <p:cNvSpPr/>
                        <p:nvPr/>
                      </p:nvSpPr>
                      <p:spPr>
                        <a:xfrm>
                          <a:off x="4907826" y="4698822"/>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7" name="Freeform: Shape 3856">
                          <a:extLst>
                            <a:ext uri="{FF2B5EF4-FFF2-40B4-BE49-F238E27FC236}">
                              <a16:creationId xmlns:a16="http://schemas.microsoft.com/office/drawing/2014/main" id="{4B41DBE0-651C-4FBC-803F-1220BA1F6A8B}"/>
                            </a:ext>
                          </a:extLst>
                        </p:cNvPr>
                        <p:cNvSpPr/>
                        <p:nvPr/>
                      </p:nvSpPr>
                      <p:spPr>
                        <a:xfrm>
                          <a:off x="4907826" y="4698822"/>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8" name="Freeform: Shape 3857">
                          <a:extLst>
                            <a:ext uri="{FF2B5EF4-FFF2-40B4-BE49-F238E27FC236}">
                              <a16:creationId xmlns:a16="http://schemas.microsoft.com/office/drawing/2014/main" id="{C908656C-04DD-47C2-90DE-A34256996DBB}"/>
                            </a:ext>
                          </a:extLst>
                        </p:cNvPr>
                        <p:cNvSpPr/>
                        <p:nvPr/>
                      </p:nvSpPr>
                      <p:spPr>
                        <a:xfrm>
                          <a:off x="4908028" y="4697465"/>
                          <a:ext cx="9984" cy="5940"/>
                        </a:xfrm>
                        <a:custGeom>
                          <a:avLst/>
                          <a:gdLst>
                            <a:gd name="connsiteX0" fmla="*/ 3862 w 9984"/>
                            <a:gd name="connsiteY0" fmla="*/ 257 h 5940"/>
                            <a:gd name="connsiteX1" fmla="*/ 471 w 9984"/>
                            <a:gd name="connsiteY1" fmla="*/ 2267 h 5940"/>
                            <a:gd name="connsiteX2" fmla="*/ 471 w 9984"/>
                            <a:gd name="connsiteY2" fmla="*/ 3648 h 5940"/>
                            <a:gd name="connsiteX3" fmla="*/ 3862 w 9984"/>
                            <a:gd name="connsiteY3" fmla="*/ 5658 h 5940"/>
                            <a:gd name="connsiteX4" fmla="*/ 6123 w 9984"/>
                            <a:gd name="connsiteY4" fmla="*/ 5658 h 5940"/>
                            <a:gd name="connsiteX5" fmla="*/ 9514 w 9984"/>
                            <a:gd name="connsiteY5" fmla="*/ 3774 h 5940"/>
                            <a:gd name="connsiteX6" fmla="*/ 9514 w 9984"/>
                            <a:gd name="connsiteY6" fmla="*/ 2392 h 5940"/>
                            <a:gd name="connsiteX7" fmla="*/ 6123 w 9984"/>
                            <a:gd name="connsiteY7" fmla="*/ 509 h 5940"/>
                            <a:gd name="connsiteX8" fmla="*/ 3862 w 9984"/>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40">
                              <a:moveTo>
                                <a:pt x="3862" y="257"/>
                              </a:moveTo>
                              <a:lnTo>
                                <a:pt x="471" y="2267"/>
                              </a:lnTo>
                              <a:cubicBezTo>
                                <a:pt x="-157" y="2643"/>
                                <a:pt x="-157" y="3272"/>
                                <a:pt x="471" y="3648"/>
                              </a:cubicBezTo>
                              <a:lnTo>
                                <a:pt x="3862" y="5658"/>
                              </a:lnTo>
                              <a:cubicBezTo>
                                <a:pt x="4490" y="6035"/>
                                <a:pt x="5495" y="6035"/>
                                <a:pt x="6123" y="5658"/>
                              </a:cubicBezTo>
                              <a:lnTo>
                                <a:pt x="9514" y="3774"/>
                              </a:lnTo>
                              <a:cubicBezTo>
                                <a:pt x="10142" y="3397"/>
                                <a:pt x="10142" y="2769"/>
                                <a:pt x="9514" y="2392"/>
                              </a:cubicBezTo>
                              <a:lnTo>
                                <a:pt x="6123" y="509"/>
                              </a:lnTo>
                              <a:cubicBezTo>
                                <a:pt x="5620" y="-120"/>
                                <a:pt x="4616"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59" name="Graphic 4">
                        <a:extLst>
                          <a:ext uri="{FF2B5EF4-FFF2-40B4-BE49-F238E27FC236}">
                            <a16:creationId xmlns:a16="http://schemas.microsoft.com/office/drawing/2014/main" id="{84FB7ED1-A2DF-40A1-A747-5F7CF3F14040}"/>
                          </a:ext>
                        </a:extLst>
                      </p:cNvPr>
                      <p:cNvGrpSpPr/>
                      <p:nvPr/>
                    </p:nvGrpSpPr>
                    <p:grpSpPr>
                      <a:xfrm>
                        <a:off x="4914231" y="4701082"/>
                        <a:ext cx="10514" cy="7473"/>
                        <a:chOff x="4914231" y="4701082"/>
                        <a:chExt cx="10514" cy="7473"/>
                      </a:xfrm>
                      <a:solidFill>
                        <a:schemeClr val="accent1"/>
                      </a:solidFill>
                    </p:grpSpPr>
                    <p:sp>
                      <p:nvSpPr>
                        <p:cNvPr id="3860" name="Freeform: Shape 3859">
                          <a:extLst>
                            <a:ext uri="{FF2B5EF4-FFF2-40B4-BE49-F238E27FC236}">
                              <a16:creationId xmlns:a16="http://schemas.microsoft.com/office/drawing/2014/main" id="{284545B9-3916-403C-BEEE-A0F2C6925354}"/>
                            </a:ext>
                          </a:extLst>
                        </p:cNvPr>
                        <p:cNvSpPr/>
                        <p:nvPr/>
                      </p:nvSpPr>
                      <p:spPr>
                        <a:xfrm>
                          <a:off x="4914231" y="4702589"/>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1" name="Freeform: Shape 3860">
                          <a:extLst>
                            <a:ext uri="{FF2B5EF4-FFF2-40B4-BE49-F238E27FC236}">
                              <a16:creationId xmlns:a16="http://schemas.microsoft.com/office/drawing/2014/main" id="{435C5446-5175-4604-8491-D3EEBBF67046}"/>
                            </a:ext>
                          </a:extLst>
                        </p:cNvPr>
                        <p:cNvSpPr/>
                        <p:nvPr/>
                      </p:nvSpPr>
                      <p:spPr>
                        <a:xfrm>
                          <a:off x="4914231" y="4702589"/>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2" name="Freeform: Shape 3861">
                          <a:extLst>
                            <a:ext uri="{FF2B5EF4-FFF2-40B4-BE49-F238E27FC236}">
                              <a16:creationId xmlns:a16="http://schemas.microsoft.com/office/drawing/2014/main" id="{D2E8EC37-8602-476F-A134-55CB5550E8A2}"/>
                            </a:ext>
                          </a:extLst>
                        </p:cNvPr>
                        <p:cNvSpPr/>
                        <p:nvPr/>
                      </p:nvSpPr>
                      <p:spPr>
                        <a:xfrm>
                          <a:off x="4914434" y="4701082"/>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63" name="Graphic 4">
                      <a:extLst>
                        <a:ext uri="{FF2B5EF4-FFF2-40B4-BE49-F238E27FC236}">
                          <a16:creationId xmlns:a16="http://schemas.microsoft.com/office/drawing/2014/main" id="{84FB7ED1-A2DF-40A1-A747-5F7CF3F14040}"/>
                        </a:ext>
                      </a:extLst>
                    </p:cNvPr>
                    <p:cNvGrpSpPr/>
                    <p:nvPr/>
                  </p:nvGrpSpPr>
                  <p:grpSpPr>
                    <a:xfrm>
                      <a:off x="4937592" y="4699701"/>
                      <a:ext cx="23200" cy="14757"/>
                      <a:chOff x="4937592" y="4699701"/>
                      <a:chExt cx="23200" cy="14757"/>
                    </a:xfrm>
                    <a:solidFill>
                      <a:schemeClr val="accent1"/>
                    </a:solidFill>
                  </p:grpSpPr>
                  <p:grpSp>
                    <p:nvGrpSpPr>
                      <p:cNvPr id="3864" name="Graphic 4">
                        <a:extLst>
                          <a:ext uri="{FF2B5EF4-FFF2-40B4-BE49-F238E27FC236}">
                            <a16:creationId xmlns:a16="http://schemas.microsoft.com/office/drawing/2014/main" id="{84FB7ED1-A2DF-40A1-A747-5F7CF3F14040}"/>
                          </a:ext>
                        </a:extLst>
                      </p:cNvPr>
                      <p:cNvGrpSpPr/>
                      <p:nvPr/>
                    </p:nvGrpSpPr>
                    <p:grpSpPr>
                      <a:xfrm>
                        <a:off x="4937592" y="4699701"/>
                        <a:ext cx="10502" cy="7346"/>
                        <a:chOff x="4937592" y="4699701"/>
                        <a:chExt cx="10502" cy="7346"/>
                      </a:xfrm>
                      <a:solidFill>
                        <a:schemeClr val="accent1"/>
                      </a:solidFill>
                    </p:grpSpPr>
                    <p:sp>
                      <p:nvSpPr>
                        <p:cNvPr id="3865" name="Freeform: Shape 3864">
                          <a:extLst>
                            <a:ext uri="{FF2B5EF4-FFF2-40B4-BE49-F238E27FC236}">
                              <a16:creationId xmlns:a16="http://schemas.microsoft.com/office/drawing/2014/main" id="{C14D25EA-BF1B-4BA0-8BA6-6416D26862D3}"/>
                            </a:ext>
                          </a:extLst>
                        </p:cNvPr>
                        <p:cNvSpPr/>
                        <p:nvPr/>
                      </p:nvSpPr>
                      <p:spPr>
                        <a:xfrm>
                          <a:off x="4937592" y="4701082"/>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6" name="Freeform: Shape 3865">
                          <a:extLst>
                            <a:ext uri="{FF2B5EF4-FFF2-40B4-BE49-F238E27FC236}">
                              <a16:creationId xmlns:a16="http://schemas.microsoft.com/office/drawing/2014/main" id="{0501FB71-5E58-4B7F-B8CF-9ADFE9580C1B}"/>
                            </a:ext>
                          </a:extLst>
                        </p:cNvPr>
                        <p:cNvSpPr/>
                        <p:nvPr/>
                      </p:nvSpPr>
                      <p:spPr>
                        <a:xfrm>
                          <a:off x="4937592" y="4701082"/>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7" name="Freeform: Shape 3866">
                          <a:extLst>
                            <a:ext uri="{FF2B5EF4-FFF2-40B4-BE49-F238E27FC236}">
                              <a16:creationId xmlns:a16="http://schemas.microsoft.com/office/drawing/2014/main" id="{01EB3F33-7318-47E3-BC9B-CC16047C74BC}"/>
                            </a:ext>
                          </a:extLst>
                        </p:cNvPr>
                        <p:cNvSpPr/>
                        <p:nvPr/>
                      </p:nvSpPr>
                      <p:spPr>
                        <a:xfrm>
                          <a:off x="4937794" y="4699701"/>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8" y="3297"/>
                                <a:pt x="10268"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68" name="Graphic 4">
                        <a:extLst>
                          <a:ext uri="{FF2B5EF4-FFF2-40B4-BE49-F238E27FC236}">
                            <a16:creationId xmlns:a16="http://schemas.microsoft.com/office/drawing/2014/main" id="{84FB7ED1-A2DF-40A1-A747-5F7CF3F14040}"/>
                          </a:ext>
                        </a:extLst>
                      </p:cNvPr>
                      <p:cNvGrpSpPr/>
                      <p:nvPr/>
                    </p:nvGrpSpPr>
                    <p:grpSpPr>
                      <a:xfrm>
                        <a:off x="4943872" y="4703343"/>
                        <a:ext cx="10515" cy="7347"/>
                        <a:chOff x="4943872" y="4703343"/>
                        <a:chExt cx="10515" cy="7347"/>
                      </a:xfrm>
                      <a:solidFill>
                        <a:schemeClr val="accent1"/>
                      </a:solidFill>
                    </p:grpSpPr>
                    <p:sp>
                      <p:nvSpPr>
                        <p:cNvPr id="3869" name="Freeform: Shape 3868">
                          <a:extLst>
                            <a:ext uri="{FF2B5EF4-FFF2-40B4-BE49-F238E27FC236}">
                              <a16:creationId xmlns:a16="http://schemas.microsoft.com/office/drawing/2014/main" id="{34F80A05-E5D7-4993-85B8-F34E0E2EEC5B}"/>
                            </a:ext>
                          </a:extLst>
                        </p:cNvPr>
                        <p:cNvSpPr/>
                        <p:nvPr/>
                      </p:nvSpPr>
                      <p:spPr>
                        <a:xfrm>
                          <a:off x="4943872" y="4704725"/>
                          <a:ext cx="10515" cy="5965"/>
                        </a:xfrm>
                        <a:custGeom>
                          <a:avLst/>
                          <a:gdLst>
                            <a:gd name="connsiteX0" fmla="*/ 10470 w 10515"/>
                            <a:gd name="connsiteY0" fmla="*/ 2794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6 w 10515"/>
                            <a:gd name="connsiteY6" fmla="*/ 1539 h 5965"/>
                            <a:gd name="connsiteX7" fmla="*/ 45 w 10515"/>
                            <a:gd name="connsiteY7" fmla="*/ 2794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0" name="Freeform: Shape 3869">
                          <a:extLst>
                            <a:ext uri="{FF2B5EF4-FFF2-40B4-BE49-F238E27FC236}">
                              <a16:creationId xmlns:a16="http://schemas.microsoft.com/office/drawing/2014/main" id="{B8DD8B22-EB89-4E80-8CA7-2EFB8C4598BA}"/>
                            </a:ext>
                          </a:extLst>
                        </p:cNvPr>
                        <p:cNvSpPr/>
                        <p:nvPr/>
                      </p:nvSpPr>
                      <p:spPr>
                        <a:xfrm>
                          <a:off x="4943872" y="4704725"/>
                          <a:ext cx="10515" cy="5965"/>
                        </a:xfrm>
                        <a:custGeom>
                          <a:avLst/>
                          <a:gdLst>
                            <a:gd name="connsiteX0" fmla="*/ 10470 w 10515"/>
                            <a:gd name="connsiteY0" fmla="*/ 2794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6 w 10515"/>
                            <a:gd name="connsiteY6" fmla="*/ 1539 h 5965"/>
                            <a:gd name="connsiteX7" fmla="*/ 45 w 10515"/>
                            <a:gd name="connsiteY7" fmla="*/ 2794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1" name="Freeform: Shape 3870">
                          <a:extLst>
                            <a:ext uri="{FF2B5EF4-FFF2-40B4-BE49-F238E27FC236}">
                              <a16:creationId xmlns:a16="http://schemas.microsoft.com/office/drawing/2014/main" id="{7EAFB1B4-FB06-403C-8DB8-B9AB939AFD6E}"/>
                            </a:ext>
                          </a:extLst>
                        </p:cNvPr>
                        <p:cNvSpPr/>
                        <p:nvPr/>
                      </p:nvSpPr>
                      <p:spPr>
                        <a:xfrm>
                          <a:off x="4944200" y="4703343"/>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7" y="3171"/>
                                <a:pt x="10267"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72" name="Graphic 4">
                        <a:extLst>
                          <a:ext uri="{FF2B5EF4-FFF2-40B4-BE49-F238E27FC236}">
                            <a16:creationId xmlns:a16="http://schemas.microsoft.com/office/drawing/2014/main" id="{84FB7ED1-A2DF-40A1-A747-5F7CF3F14040}"/>
                          </a:ext>
                        </a:extLst>
                      </p:cNvPr>
                      <p:cNvGrpSpPr/>
                      <p:nvPr/>
                    </p:nvGrpSpPr>
                    <p:grpSpPr>
                      <a:xfrm>
                        <a:off x="4950277" y="4707111"/>
                        <a:ext cx="10514" cy="7346"/>
                        <a:chOff x="4950277" y="4707111"/>
                        <a:chExt cx="10514" cy="7346"/>
                      </a:xfrm>
                      <a:solidFill>
                        <a:schemeClr val="accent1"/>
                      </a:solidFill>
                    </p:grpSpPr>
                    <p:sp>
                      <p:nvSpPr>
                        <p:cNvPr id="3873" name="Freeform: Shape 3872">
                          <a:extLst>
                            <a:ext uri="{FF2B5EF4-FFF2-40B4-BE49-F238E27FC236}">
                              <a16:creationId xmlns:a16="http://schemas.microsoft.com/office/drawing/2014/main" id="{A0ED2738-19E4-41E1-A646-7AE82A24934B}"/>
                            </a:ext>
                          </a:extLst>
                        </p:cNvPr>
                        <p:cNvSpPr/>
                        <p:nvPr/>
                      </p:nvSpPr>
                      <p:spPr>
                        <a:xfrm>
                          <a:off x="4950277" y="4708492"/>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4" name="Freeform: Shape 3873">
                          <a:extLst>
                            <a:ext uri="{FF2B5EF4-FFF2-40B4-BE49-F238E27FC236}">
                              <a16:creationId xmlns:a16="http://schemas.microsoft.com/office/drawing/2014/main" id="{5DA7EC4B-698C-43D3-9E48-524584BD988D}"/>
                            </a:ext>
                          </a:extLst>
                        </p:cNvPr>
                        <p:cNvSpPr/>
                        <p:nvPr/>
                      </p:nvSpPr>
                      <p:spPr>
                        <a:xfrm>
                          <a:off x="4950277" y="4708492"/>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5" name="Freeform: Shape 3874">
                          <a:extLst>
                            <a:ext uri="{FF2B5EF4-FFF2-40B4-BE49-F238E27FC236}">
                              <a16:creationId xmlns:a16="http://schemas.microsoft.com/office/drawing/2014/main" id="{D8E33EE4-E7B9-4F0D-96DB-552C023B4830}"/>
                            </a:ext>
                          </a:extLst>
                        </p:cNvPr>
                        <p:cNvSpPr/>
                        <p:nvPr/>
                      </p:nvSpPr>
                      <p:spPr>
                        <a:xfrm>
                          <a:off x="4950479" y="4707111"/>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76" name="Graphic 4">
                      <a:extLst>
                        <a:ext uri="{FF2B5EF4-FFF2-40B4-BE49-F238E27FC236}">
                          <a16:creationId xmlns:a16="http://schemas.microsoft.com/office/drawing/2014/main" id="{84FB7ED1-A2DF-40A1-A747-5F7CF3F14040}"/>
                        </a:ext>
                      </a:extLst>
                    </p:cNvPr>
                    <p:cNvGrpSpPr/>
                    <p:nvPr/>
                  </p:nvGrpSpPr>
                  <p:grpSpPr>
                    <a:xfrm>
                      <a:off x="4924656" y="4706985"/>
                      <a:ext cx="23406" cy="14883"/>
                      <a:chOff x="4924656" y="4706985"/>
                      <a:chExt cx="23406" cy="14883"/>
                    </a:xfrm>
                    <a:solidFill>
                      <a:schemeClr val="accent1"/>
                    </a:solidFill>
                  </p:grpSpPr>
                  <p:grpSp>
                    <p:nvGrpSpPr>
                      <p:cNvPr id="3877" name="Graphic 4">
                        <a:extLst>
                          <a:ext uri="{FF2B5EF4-FFF2-40B4-BE49-F238E27FC236}">
                            <a16:creationId xmlns:a16="http://schemas.microsoft.com/office/drawing/2014/main" id="{84FB7ED1-A2DF-40A1-A747-5F7CF3F14040}"/>
                          </a:ext>
                        </a:extLst>
                      </p:cNvPr>
                      <p:cNvGrpSpPr/>
                      <p:nvPr/>
                    </p:nvGrpSpPr>
                    <p:grpSpPr>
                      <a:xfrm>
                        <a:off x="4924656" y="4707111"/>
                        <a:ext cx="10514" cy="7346"/>
                        <a:chOff x="4924656" y="4707111"/>
                        <a:chExt cx="10514" cy="7346"/>
                      </a:xfrm>
                      <a:solidFill>
                        <a:schemeClr val="accent1"/>
                      </a:solidFill>
                    </p:grpSpPr>
                    <p:sp>
                      <p:nvSpPr>
                        <p:cNvPr id="3878" name="Freeform: Shape 3877">
                          <a:extLst>
                            <a:ext uri="{FF2B5EF4-FFF2-40B4-BE49-F238E27FC236}">
                              <a16:creationId xmlns:a16="http://schemas.microsoft.com/office/drawing/2014/main" id="{24FB98FF-F8D4-4455-8498-FDACB4126C6B}"/>
                            </a:ext>
                          </a:extLst>
                        </p:cNvPr>
                        <p:cNvSpPr/>
                        <p:nvPr/>
                      </p:nvSpPr>
                      <p:spPr>
                        <a:xfrm>
                          <a:off x="4924656" y="4708492"/>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9" name="Freeform: Shape 3878">
                          <a:extLst>
                            <a:ext uri="{FF2B5EF4-FFF2-40B4-BE49-F238E27FC236}">
                              <a16:creationId xmlns:a16="http://schemas.microsoft.com/office/drawing/2014/main" id="{E588A2C1-BA2D-464B-9015-B35BBB2CFD37}"/>
                            </a:ext>
                          </a:extLst>
                        </p:cNvPr>
                        <p:cNvSpPr/>
                        <p:nvPr/>
                      </p:nvSpPr>
                      <p:spPr>
                        <a:xfrm>
                          <a:off x="4924656" y="4708492"/>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0" name="Freeform: Shape 3879">
                          <a:extLst>
                            <a:ext uri="{FF2B5EF4-FFF2-40B4-BE49-F238E27FC236}">
                              <a16:creationId xmlns:a16="http://schemas.microsoft.com/office/drawing/2014/main" id="{87ABDF63-2D59-4A38-B019-4CD801DEEB64}"/>
                            </a:ext>
                          </a:extLst>
                        </p:cNvPr>
                        <p:cNvSpPr/>
                        <p:nvPr/>
                      </p:nvSpPr>
                      <p:spPr>
                        <a:xfrm>
                          <a:off x="4924858" y="4707111"/>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81" name="Graphic 4">
                        <a:extLst>
                          <a:ext uri="{FF2B5EF4-FFF2-40B4-BE49-F238E27FC236}">
                            <a16:creationId xmlns:a16="http://schemas.microsoft.com/office/drawing/2014/main" id="{84FB7ED1-A2DF-40A1-A747-5F7CF3F14040}"/>
                          </a:ext>
                        </a:extLst>
                      </p:cNvPr>
                      <p:cNvGrpSpPr/>
                      <p:nvPr/>
                    </p:nvGrpSpPr>
                    <p:grpSpPr>
                      <a:xfrm>
                        <a:off x="4937592" y="4706985"/>
                        <a:ext cx="10469" cy="7347"/>
                        <a:chOff x="4937592" y="4706985"/>
                        <a:chExt cx="10469" cy="7347"/>
                      </a:xfrm>
                      <a:solidFill>
                        <a:schemeClr val="accent1"/>
                      </a:solidFill>
                    </p:grpSpPr>
                    <p:sp>
                      <p:nvSpPr>
                        <p:cNvPr id="3882" name="Freeform: Shape 3881">
                          <a:extLst>
                            <a:ext uri="{FF2B5EF4-FFF2-40B4-BE49-F238E27FC236}">
                              <a16:creationId xmlns:a16="http://schemas.microsoft.com/office/drawing/2014/main" id="{73A8788C-1871-4A40-AC40-3017689BB05E}"/>
                            </a:ext>
                          </a:extLst>
                        </p:cNvPr>
                        <p:cNvSpPr/>
                        <p:nvPr/>
                      </p:nvSpPr>
                      <p:spPr>
                        <a:xfrm>
                          <a:off x="4937592" y="4708367"/>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4 h 5965"/>
                            <a:gd name="connsiteX9" fmla="*/ 4064 w 10469"/>
                            <a:gd name="connsiteY9" fmla="*/ 5683 h 5965"/>
                            <a:gd name="connsiteX10" fmla="*/ 6451 w 10469"/>
                            <a:gd name="connsiteY10" fmla="*/ 5683 h 5965"/>
                            <a:gd name="connsiteX11" fmla="*/ 9967 w 10469"/>
                            <a:gd name="connsiteY11" fmla="*/ 3674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3"/>
                                <a:pt x="548" y="3674"/>
                              </a:cubicBezTo>
                              <a:lnTo>
                                <a:pt x="4064" y="5683"/>
                              </a:lnTo>
                              <a:cubicBezTo>
                                <a:pt x="4692" y="6060"/>
                                <a:pt x="5823" y="6060"/>
                                <a:pt x="6451" y="5683"/>
                              </a:cubicBezTo>
                              <a:lnTo>
                                <a:pt x="9967" y="3674"/>
                              </a:lnTo>
                              <a:cubicBezTo>
                                <a:pt x="10344" y="3423"/>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3" name="Freeform: Shape 3882">
                          <a:extLst>
                            <a:ext uri="{FF2B5EF4-FFF2-40B4-BE49-F238E27FC236}">
                              <a16:creationId xmlns:a16="http://schemas.microsoft.com/office/drawing/2014/main" id="{73977F14-45CB-4872-87EE-9B2F6FA08C48}"/>
                            </a:ext>
                          </a:extLst>
                        </p:cNvPr>
                        <p:cNvSpPr/>
                        <p:nvPr/>
                      </p:nvSpPr>
                      <p:spPr>
                        <a:xfrm>
                          <a:off x="4937592" y="4708367"/>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4 h 5965"/>
                            <a:gd name="connsiteX9" fmla="*/ 4064 w 10469"/>
                            <a:gd name="connsiteY9" fmla="*/ 5683 h 5965"/>
                            <a:gd name="connsiteX10" fmla="*/ 6451 w 10469"/>
                            <a:gd name="connsiteY10" fmla="*/ 5683 h 5965"/>
                            <a:gd name="connsiteX11" fmla="*/ 9967 w 10469"/>
                            <a:gd name="connsiteY11" fmla="*/ 3674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3"/>
                                <a:pt x="548" y="3674"/>
                              </a:cubicBezTo>
                              <a:lnTo>
                                <a:pt x="4064" y="5683"/>
                              </a:lnTo>
                              <a:cubicBezTo>
                                <a:pt x="4692" y="6060"/>
                                <a:pt x="5823" y="6060"/>
                                <a:pt x="6451" y="5683"/>
                              </a:cubicBezTo>
                              <a:lnTo>
                                <a:pt x="9967" y="3674"/>
                              </a:lnTo>
                              <a:cubicBezTo>
                                <a:pt x="10344" y="3423"/>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4" name="Freeform: Shape 3883">
                          <a:extLst>
                            <a:ext uri="{FF2B5EF4-FFF2-40B4-BE49-F238E27FC236}">
                              <a16:creationId xmlns:a16="http://schemas.microsoft.com/office/drawing/2014/main" id="{F2311EB1-E091-457C-9B1B-B064B8C98347}"/>
                            </a:ext>
                          </a:extLst>
                        </p:cNvPr>
                        <p:cNvSpPr/>
                        <p:nvPr/>
                      </p:nvSpPr>
                      <p:spPr>
                        <a:xfrm>
                          <a:off x="4937794" y="470698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8" y="3171"/>
                                <a:pt x="10268"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85" name="Graphic 4">
                        <a:extLst>
                          <a:ext uri="{FF2B5EF4-FFF2-40B4-BE49-F238E27FC236}">
                            <a16:creationId xmlns:a16="http://schemas.microsoft.com/office/drawing/2014/main" id="{84FB7ED1-A2DF-40A1-A747-5F7CF3F14040}"/>
                          </a:ext>
                        </a:extLst>
                      </p:cNvPr>
                      <p:cNvGrpSpPr/>
                      <p:nvPr/>
                    </p:nvGrpSpPr>
                    <p:grpSpPr>
                      <a:xfrm>
                        <a:off x="4931061" y="4710753"/>
                        <a:ext cx="10502" cy="7347"/>
                        <a:chOff x="4931061" y="4710753"/>
                        <a:chExt cx="10502" cy="7347"/>
                      </a:xfrm>
                      <a:solidFill>
                        <a:schemeClr val="accent1"/>
                      </a:solidFill>
                    </p:grpSpPr>
                    <p:sp>
                      <p:nvSpPr>
                        <p:cNvPr id="3886" name="Freeform: Shape 3885">
                          <a:extLst>
                            <a:ext uri="{FF2B5EF4-FFF2-40B4-BE49-F238E27FC236}">
                              <a16:creationId xmlns:a16="http://schemas.microsoft.com/office/drawing/2014/main" id="{FC6A3222-D987-4E9D-BB56-10CE902469AF}"/>
                            </a:ext>
                          </a:extLst>
                        </p:cNvPr>
                        <p:cNvSpPr/>
                        <p:nvPr/>
                      </p:nvSpPr>
                      <p:spPr>
                        <a:xfrm>
                          <a:off x="4931061" y="4712135"/>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7" name="Freeform: Shape 3886">
                          <a:extLst>
                            <a:ext uri="{FF2B5EF4-FFF2-40B4-BE49-F238E27FC236}">
                              <a16:creationId xmlns:a16="http://schemas.microsoft.com/office/drawing/2014/main" id="{50FB596D-877F-4E42-8F3D-B5AB5F52D6EF}"/>
                            </a:ext>
                          </a:extLst>
                        </p:cNvPr>
                        <p:cNvSpPr/>
                        <p:nvPr/>
                      </p:nvSpPr>
                      <p:spPr>
                        <a:xfrm>
                          <a:off x="4931061" y="4712135"/>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8" name="Freeform: Shape 3887">
                          <a:extLst>
                            <a:ext uri="{FF2B5EF4-FFF2-40B4-BE49-F238E27FC236}">
                              <a16:creationId xmlns:a16="http://schemas.microsoft.com/office/drawing/2014/main" id="{78019527-24D9-4BA1-AAC3-5A74A3835736}"/>
                            </a:ext>
                          </a:extLst>
                        </p:cNvPr>
                        <p:cNvSpPr/>
                        <p:nvPr/>
                      </p:nvSpPr>
                      <p:spPr>
                        <a:xfrm>
                          <a:off x="4931263" y="4710753"/>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7" y="3171"/>
                                <a:pt x="10267"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89" name="Graphic 4">
                        <a:extLst>
                          <a:ext uri="{FF2B5EF4-FFF2-40B4-BE49-F238E27FC236}">
                            <a16:creationId xmlns:a16="http://schemas.microsoft.com/office/drawing/2014/main" id="{84FB7ED1-A2DF-40A1-A747-5F7CF3F14040}"/>
                          </a:ext>
                        </a:extLst>
                      </p:cNvPr>
                      <p:cNvGrpSpPr/>
                      <p:nvPr/>
                    </p:nvGrpSpPr>
                    <p:grpSpPr>
                      <a:xfrm>
                        <a:off x="4937466" y="4714521"/>
                        <a:ext cx="10502" cy="7347"/>
                        <a:chOff x="4937466" y="4714521"/>
                        <a:chExt cx="10502" cy="7347"/>
                      </a:xfrm>
                      <a:solidFill>
                        <a:schemeClr val="accent1"/>
                      </a:solidFill>
                    </p:grpSpPr>
                    <p:sp>
                      <p:nvSpPr>
                        <p:cNvPr id="3890" name="Freeform: Shape 3889">
                          <a:extLst>
                            <a:ext uri="{FF2B5EF4-FFF2-40B4-BE49-F238E27FC236}">
                              <a16:creationId xmlns:a16="http://schemas.microsoft.com/office/drawing/2014/main" id="{77D3BEDA-14B2-4E84-8689-52442CAF6A31}"/>
                            </a:ext>
                          </a:extLst>
                        </p:cNvPr>
                        <p:cNvSpPr/>
                        <p:nvPr/>
                      </p:nvSpPr>
                      <p:spPr>
                        <a:xfrm>
                          <a:off x="4937466" y="4715902"/>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1" name="Freeform: Shape 3890">
                          <a:extLst>
                            <a:ext uri="{FF2B5EF4-FFF2-40B4-BE49-F238E27FC236}">
                              <a16:creationId xmlns:a16="http://schemas.microsoft.com/office/drawing/2014/main" id="{03B3C77D-7EC1-4648-846F-D1D4C814AF76}"/>
                            </a:ext>
                          </a:extLst>
                        </p:cNvPr>
                        <p:cNvSpPr/>
                        <p:nvPr/>
                      </p:nvSpPr>
                      <p:spPr>
                        <a:xfrm>
                          <a:off x="4937466" y="4715902"/>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2" name="Freeform: Shape 3891">
                          <a:extLst>
                            <a:ext uri="{FF2B5EF4-FFF2-40B4-BE49-F238E27FC236}">
                              <a16:creationId xmlns:a16="http://schemas.microsoft.com/office/drawing/2014/main" id="{33DE1A1F-96D1-4793-9A8A-8782AB61D1AB}"/>
                            </a:ext>
                          </a:extLst>
                        </p:cNvPr>
                        <p:cNvSpPr/>
                        <p:nvPr/>
                      </p:nvSpPr>
                      <p:spPr>
                        <a:xfrm>
                          <a:off x="4937669" y="4714521"/>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sp>
            <p:nvSpPr>
              <p:cNvPr id="3893" name="Freeform: Shape 3892">
                <a:extLst>
                  <a:ext uri="{FF2B5EF4-FFF2-40B4-BE49-F238E27FC236}">
                    <a16:creationId xmlns:a16="http://schemas.microsoft.com/office/drawing/2014/main" id="{3DE5519F-9D11-43B9-BC02-5C51617A3A4B}"/>
                  </a:ext>
                </a:extLst>
              </p:cNvPr>
              <p:cNvSpPr/>
              <p:nvPr/>
            </p:nvSpPr>
            <p:spPr>
              <a:xfrm>
                <a:off x="4921760" y="4909100"/>
                <a:ext cx="78717" cy="48064"/>
              </a:xfrm>
              <a:custGeom>
                <a:avLst/>
                <a:gdLst>
                  <a:gd name="connsiteX0" fmla="*/ 303 w 78717"/>
                  <a:gd name="connsiteY0" fmla="*/ 27755 h 48064"/>
                  <a:gd name="connsiteX1" fmla="*/ 178 w 78717"/>
                  <a:gd name="connsiteY1" fmla="*/ 29388 h 48064"/>
                  <a:gd name="connsiteX2" fmla="*/ 52 w 78717"/>
                  <a:gd name="connsiteY2" fmla="*/ 34286 h 48064"/>
                  <a:gd name="connsiteX3" fmla="*/ 1810 w 78717"/>
                  <a:gd name="connsiteY3" fmla="*/ 44961 h 48064"/>
                  <a:gd name="connsiteX4" fmla="*/ 27557 w 78717"/>
                  <a:gd name="connsiteY4" fmla="*/ 44836 h 48064"/>
                  <a:gd name="connsiteX5" fmla="*/ 30320 w 78717"/>
                  <a:gd name="connsiteY5" fmla="*/ 43580 h 48064"/>
                  <a:gd name="connsiteX6" fmla="*/ 33837 w 78717"/>
                  <a:gd name="connsiteY6" fmla="*/ 39184 h 48064"/>
                  <a:gd name="connsiteX7" fmla="*/ 38484 w 78717"/>
                  <a:gd name="connsiteY7" fmla="*/ 37049 h 48064"/>
                  <a:gd name="connsiteX8" fmla="*/ 43006 w 78717"/>
                  <a:gd name="connsiteY8" fmla="*/ 35291 h 48064"/>
                  <a:gd name="connsiteX9" fmla="*/ 46271 w 78717"/>
                  <a:gd name="connsiteY9" fmla="*/ 35165 h 48064"/>
                  <a:gd name="connsiteX10" fmla="*/ 52928 w 78717"/>
                  <a:gd name="connsiteY10" fmla="*/ 34788 h 48064"/>
                  <a:gd name="connsiteX11" fmla="*/ 76288 w 78717"/>
                  <a:gd name="connsiteY11" fmla="*/ 24112 h 48064"/>
                  <a:gd name="connsiteX12" fmla="*/ 78172 w 78717"/>
                  <a:gd name="connsiteY12" fmla="*/ 10799 h 48064"/>
                  <a:gd name="connsiteX13" fmla="*/ 56067 w 78717"/>
                  <a:gd name="connsiteY13" fmla="*/ 3515 h 48064"/>
                  <a:gd name="connsiteX14" fmla="*/ 33460 w 78717"/>
                  <a:gd name="connsiteY14" fmla="*/ 626 h 48064"/>
                  <a:gd name="connsiteX15" fmla="*/ 16379 w 78717"/>
                  <a:gd name="connsiteY15" fmla="*/ 10674 h 48064"/>
                  <a:gd name="connsiteX16" fmla="*/ 6834 w 78717"/>
                  <a:gd name="connsiteY16" fmla="*/ 19214 h 48064"/>
                  <a:gd name="connsiteX17" fmla="*/ 303 w 78717"/>
                  <a:gd name="connsiteY17" fmla="*/ 27755 h 4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8717" h="48064">
                    <a:moveTo>
                      <a:pt x="303" y="27755"/>
                    </a:moveTo>
                    <a:cubicBezTo>
                      <a:pt x="178" y="28257"/>
                      <a:pt x="178" y="28760"/>
                      <a:pt x="178" y="29388"/>
                    </a:cubicBezTo>
                    <a:cubicBezTo>
                      <a:pt x="52" y="31020"/>
                      <a:pt x="-73" y="32653"/>
                      <a:pt x="52" y="34286"/>
                    </a:cubicBezTo>
                    <a:cubicBezTo>
                      <a:pt x="303" y="37551"/>
                      <a:pt x="-702" y="42450"/>
                      <a:pt x="1810" y="44961"/>
                    </a:cubicBezTo>
                    <a:cubicBezTo>
                      <a:pt x="7337" y="50739"/>
                      <a:pt x="21152" y="47097"/>
                      <a:pt x="27557" y="44836"/>
                    </a:cubicBezTo>
                    <a:cubicBezTo>
                      <a:pt x="28562" y="44459"/>
                      <a:pt x="29441" y="44208"/>
                      <a:pt x="30320" y="43580"/>
                    </a:cubicBezTo>
                    <a:cubicBezTo>
                      <a:pt x="31953" y="42324"/>
                      <a:pt x="32204" y="40440"/>
                      <a:pt x="33837" y="39184"/>
                    </a:cubicBezTo>
                    <a:cubicBezTo>
                      <a:pt x="35219" y="38054"/>
                      <a:pt x="36726" y="37425"/>
                      <a:pt x="38484" y="37049"/>
                    </a:cubicBezTo>
                    <a:cubicBezTo>
                      <a:pt x="40117" y="36672"/>
                      <a:pt x="41498" y="35793"/>
                      <a:pt x="43006" y="35291"/>
                    </a:cubicBezTo>
                    <a:cubicBezTo>
                      <a:pt x="44262" y="34914"/>
                      <a:pt x="44889" y="35165"/>
                      <a:pt x="46271" y="35165"/>
                    </a:cubicBezTo>
                    <a:cubicBezTo>
                      <a:pt x="48406" y="35165"/>
                      <a:pt x="50792" y="35040"/>
                      <a:pt x="52928" y="34788"/>
                    </a:cubicBezTo>
                    <a:cubicBezTo>
                      <a:pt x="60086" y="34035"/>
                      <a:pt x="72018" y="30015"/>
                      <a:pt x="76288" y="24112"/>
                    </a:cubicBezTo>
                    <a:cubicBezTo>
                      <a:pt x="78925" y="20470"/>
                      <a:pt x="79177" y="15070"/>
                      <a:pt x="78172" y="10799"/>
                    </a:cubicBezTo>
                    <a:cubicBezTo>
                      <a:pt x="76288" y="2762"/>
                      <a:pt x="62724" y="3389"/>
                      <a:pt x="56067" y="3515"/>
                    </a:cubicBezTo>
                    <a:cubicBezTo>
                      <a:pt x="49285" y="3641"/>
                      <a:pt x="39489" y="4520"/>
                      <a:pt x="33460" y="626"/>
                    </a:cubicBezTo>
                    <a:cubicBezTo>
                      <a:pt x="28436" y="-2639"/>
                      <a:pt x="19268" y="7785"/>
                      <a:pt x="16379" y="10674"/>
                    </a:cubicBezTo>
                    <a:cubicBezTo>
                      <a:pt x="13491" y="13688"/>
                      <a:pt x="10853" y="17833"/>
                      <a:pt x="6834" y="19214"/>
                    </a:cubicBezTo>
                    <a:cubicBezTo>
                      <a:pt x="2564" y="20596"/>
                      <a:pt x="931" y="23485"/>
                      <a:pt x="303" y="27755"/>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4" name="Freeform: Shape 3893">
                <a:extLst>
                  <a:ext uri="{FF2B5EF4-FFF2-40B4-BE49-F238E27FC236}">
                    <a16:creationId xmlns:a16="http://schemas.microsoft.com/office/drawing/2014/main" id="{1C08B2F1-6572-4EEA-B38D-1A8AB4664728}"/>
                  </a:ext>
                </a:extLst>
              </p:cNvPr>
              <p:cNvSpPr/>
              <p:nvPr/>
            </p:nvSpPr>
            <p:spPr>
              <a:xfrm>
                <a:off x="4955849" y="4909852"/>
                <a:ext cx="44711" cy="20479"/>
              </a:xfrm>
              <a:custGeom>
                <a:avLst/>
                <a:gdLst>
                  <a:gd name="connsiteX0" fmla="*/ 22104 w 44711"/>
                  <a:gd name="connsiteY0" fmla="*/ 2637 h 20479"/>
                  <a:gd name="connsiteX1" fmla="*/ 44209 w 44711"/>
                  <a:gd name="connsiteY1" fmla="*/ 9922 h 20479"/>
                  <a:gd name="connsiteX2" fmla="*/ 44712 w 44711"/>
                  <a:gd name="connsiteY2" fmla="*/ 14318 h 20479"/>
                  <a:gd name="connsiteX3" fmla="*/ 24616 w 44711"/>
                  <a:gd name="connsiteY3" fmla="*/ 20472 h 20479"/>
                  <a:gd name="connsiteX4" fmla="*/ 6657 w 44711"/>
                  <a:gd name="connsiteY4" fmla="*/ 17332 h 20479"/>
                  <a:gd name="connsiteX5" fmla="*/ 1256 w 44711"/>
                  <a:gd name="connsiteY5" fmla="*/ 10927 h 20479"/>
                  <a:gd name="connsiteX6" fmla="*/ 0 w 44711"/>
                  <a:gd name="connsiteY6" fmla="*/ 0 h 20479"/>
                  <a:gd name="connsiteX7" fmla="*/ 22104 w 44711"/>
                  <a:gd name="connsiteY7" fmla="*/ 2637 h 2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11" h="20479">
                    <a:moveTo>
                      <a:pt x="22104" y="2637"/>
                    </a:moveTo>
                    <a:cubicBezTo>
                      <a:pt x="28761" y="2512"/>
                      <a:pt x="42325" y="1884"/>
                      <a:pt x="44209" y="9922"/>
                    </a:cubicBezTo>
                    <a:cubicBezTo>
                      <a:pt x="44586" y="11303"/>
                      <a:pt x="44712" y="12811"/>
                      <a:pt x="44712" y="14318"/>
                    </a:cubicBezTo>
                    <a:cubicBezTo>
                      <a:pt x="44460" y="14694"/>
                      <a:pt x="39186" y="20723"/>
                      <a:pt x="24616" y="20472"/>
                    </a:cubicBezTo>
                    <a:cubicBezTo>
                      <a:pt x="9545" y="20095"/>
                      <a:pt x="6657" y="17332"/>
                      <a:pt x="6657" y="17332"/>
                    </a:cubicBezTo>
                    <a:cubicBezTo>
                      <a:pt x="6657" y="17332"/>
                      <a:pt x="754" y="16830"/>
                      <a:pt x="1256" y="10927"/>
                    </a:cubicBezTo>
                    <a:cubicBezTo>
                      <a:pt x="1507" y="7033"/>
                      <a:pt x="628" y="2512"/>
                      <a:pt x="0" y="0"/>
                    </a:cubicBezTo>
                    <a:cubicBezTo>
                      <a:pt x="5903" y="3642"/>
                      <a:pt x="15448" y="2889"/>
                      <a:pt x="22104" y="2637"/>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5" name="Freeform: Shape 3894">
                <a:extLst>
                  <a:ext uri="{FF2B5EF4-FFF2-40B4-BE49-F238E27FC236}">
                    <a16:creationId xmlns:a16="http://schemas.microsoft.com/office/drawing/2014/main" id="{C33937D6-7F4B-46DB-8098-408172722A41}"/>
                  </a:ext>
                </a:extLst>
              </p:cNvPr>
              <p:cNvSpPr/>
              <p:nvPr/>
            </p:nvSpPr>
            <p:spPr>
              <a:xfrm>
                <a:off x="4858507" y="4865304"/>
                <a:ext cx="47241" cy="50716"/>
              </a:xfrm>
              <a:custGeom>
                <a:avLst/>
                <a:gdLst>
                  <a:gd name="connsiteX0" fmla="*/ 33037 w 47241"/>
                  <a:gd name="connsiteY0" fmla="*/ 590 h 50716"/>
                  <a:gd name="connsiteX1" fmla="*/ 40572 w 47241"/>
                  <a:gd name="connsiteY1" fmla="*/ 465 h 50716"/>
                  <a:gd name="connsiteX2" fmla="*/ 41828 w 47241"/>
                  <a:gd name="connsiteY2" fmla="*/ 22946 h 50716"/>
                  <a:gd name="connsiteX3" fmla="*/ 35297 w 47241"/>
                  <a:gd name="connsiteY3" fmla="*/ 32994 h 50716"/>
                  <a:gd name="connsiteX4" fmla="*/ 32785 w 47241"/>
                  <a:gd name="connsiteY4" fmla="*/ 41911 h 50716"/>
                  <a:gd name="connsiteX5" fmla="*/ 18342 w 47241"/>
                  <a:gd name="connsiteY5" fmla="*/ 50703 h 50716"/>
                  <a:gd name="connsiteX6" fmla="*/ 6410 w 47241"/>
                  <a:gd name="connsiteY6" fmla="*/ 48442 h 50716"/>
                  <a:gd name="connsiteX7" fmla="*/ 507 w 47241"/>
                  <a:gd name="connsiteY7" fmla="*/ 42288 h 50716"/>
                  <a:gd name="connsiteX8" fmla="*/ 131 w 47241"/>
                  <a:gd name="connsiteY8" fmla="*/ 40027 h 50716"/>
                  <a:gd name="connsiteX9" fmla="*/ 382 w 47241"/>
                  <a:gd name="connsiteY9" fmla="*/ 28473 h 50716"/>
                  <a:gd name="connsiteX10" fmla="*/ 10932 w 47241"/>
                  <a:gd name="connsiteY10" fmla="*/ 22193 h 50716"/>
                  <a:gd name="connsiteX11" fmla="*/ 18468 w 47241"/>
                  <a:gd name="connsiteY11" fmla="*/ 14406 h 50716"/>
                  <a:gd name="connsiteX12" fmla="*/ 23994 w 47241"/>
                  <a:gd name="connsiteY12" fmla="*/ 6368 h 50716"/>
                  <a:gd name="connsiteX13" fmla="*/ 32785 w 47241"/>
                  <a:gd name="connsiteY13" fmla="*/ 716 h 50716"/>
                  <a:gd name="connsiteX14" fmla="*/ 33037 w 47241"/>
                  <a:gd name="connsiteY14" fmla="*/ 590 h 50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241" h="50716">
                    <a:moveTo>
                      <a:pt x="33037" y="590"/>
                    </a:moveTo>
                    <a:cubicBezTo>
                      <a:pt x="35423" y="-38"/>
                      <a:pt x="38060" y="-289"/>
                      <a:pt x="40572" y="465"/>
                    </a:cubicBezTo>
                    <a:cubicBezTo>
                      <a:pt x="50620" y="3856"/>
                      <a:pt x="47857" y="17169"/>
                      <a:pt x="41828" y="22946"/>
                    </a:cubicBezTo>
                    <a:cubicBezTo>
                      <a:pt x="38939" y="25835"/>
                      <a:pt x="36930" y="29352"/>
                      <a:pt x="35297" y="32994"/>
                    </a:cubicBezTo>
                    <a:cubicBezTo>
                      <a:pt x="33916" y="35883"/>
                      <a:pt x="34167" y="39022"/>
                      <a:pt x="32785" y="41911"/>
                    </a:cubicBezTo>
                    <a:cubicBezTo>
                      <a:pt x="30274" y="47689"/>
                      <a:pt x="24371" y="50452"/>
                      <a:pt x="18342" y="50703"/>
                    </a:cubicBezTo>
                    <a:cubicBezTo>
                      <a:pt x="14323" y="50828"/>
                      <a:pt x="10053" y="50075"/>
                      <a:pt x="6410" y="48442"/>
                    </a:cubicBezTo>
                    <a:cubicBezTo>
                      <a:pt x="3647" y="47186"/>
                      <a:pt x="1512" y="45428"/>
                      <a:pt x="507" y="42288"/>
                    </a:cubicBezTo>
                    <a:cubicBezTo>
                      <a:pt x="256" y="41534"/>
                      <a:pt x="256" y="40781"/>
                      <a:pt x="131" y="40027"/>
                    </a:cubicBezTo>
                    <a:cubicBezTo>
                      <a:pt x="-121" y="36134"/>
                      <a:pt x="5" y="32240"/>
                      <a:pt x="382" y="28473"/>
                    </a:cubicBezTo>
                    <a:cubicBezTo>
                      <a:pt x="884" y="23323"/>
                      <a:pt x="8043" y="25584"/>
                      <a:pt x="10932" y="22193"/>
                    </a:cubicBezTo>
                    <a:cubicBezTo>
                      <a:pt x="13318" y="19430"/>
                      <a:pt x="15579" y="16667"/>
                      <a:pt x="18468" y="14406"/>
                    </a:cubicBezTo>
                    <a:cubicBezTo>
                      <a:pt x="20979" y="12396"/>
                      <a:pt x="21984" y="8880"/>
                      <a:pt x="23994" y="6368"/>
                    </a:cubicBezTo>
                    <a:cubicBezTo>
                      <a:pt x="26254" y="3605"/>
                      <a:pt x="29269" y="1721"/>
                      <a:pt x="32785" y="716"/>
                    </a:cubicBezTo>
                    <a:cubicBezTo>
                      <a:pt x="32785" y="590"/>
                      <a:pt x="32911" y="590"/>
                      <a:pt x="33037" y="59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6" name="Freeform: Shape 3895">
                <a:extLst>
                  <a:ext uri="{FF2B5EF4-FFF2-40B4-BE49-F238E27FC236}">
                    <a16:creationId xmlns:a16="http://schemas.microsoft.com/office/drawing/2014/main" id="{905FD72D-5E97-4FE2-88A2-F0F122E0F89E}"/>
                  </a:ext>
                </a:extLst>
              </p:cNvPr>
              <p:cNvSpPr/>
              <p:nvPr/>
            </p:nvSpPr>
            <p:spPr>
              <a:xfrm>
                <a:off x="4833751" y="4760435"/>
                <a:ext cx="66178" cy="144299"/>
              </a:xfrm>
              <a:custGeom>
                <a:avLst/>
                <a:gdLst>
                  <a:gd name="connsiteX0" fmla="*/ 28404 w 66178"/>
                  <a:gd name="connsiteY0" fmla="*/ 61627 h 144299"/>
                  <a:gd name="connsiteX1" fmla="*/ 14839 w 66178"/>
                  <a:gd name="connsiteY1" fmla="*/ 54091 h 144299"/>
                  <a:gd name="connsiteX2" fmla="*/ 10444 w 66178"/>
                  <a:gd name="connsiteY2" fmla="*/ 41406 h 144299"/>
                  <a:gd name="connsiteX3" fmla="*/ 19 w 66178"/>
                  <a:gd name="connsiteY3" fmla="*/ 5486 h 144299"/>
                  <a:gd name="connsiteX4" fmla="*/ 29534 w 66178"/>
                  <a:gd name="connsiteY4" fmla="*/ 211 h 144299"/>
                  <a:gd name="connsiteX5" fmla="*/ 36568 w 66178"/>
                  <a:gd name="connsiteY5" fmla="*/ 1467 h 144299"/>
                  <a:gd name="connsiteX6" fmla="*/ 59300 w 66178"/>
                  <a:gd name="connsiteY6" fmla="*/ 13147 h 144299"/>
                  <a:gd name="connsiteX7" fmla="*/ 65454 w 66178"/>
                  <a:gd name="connsiteY7" fmla="*/ 33242 h 144299"/>
                  <a:gd name="connsiteX8" fmla="*/ 66082 w 66178"/>
                  <a:gd name="connsiteY8" fmla="*/ 48439 h 144299"/>
                  <a:gd name="connsiteX9" fmla="*/ 65454 w 66178"/>
                  <a:gd name="connsiteY9" fmla="*/ 83983 h 144299"/>
                  <a:gd name="connsiteX10" fmla="*/ 59551 w 66178"/>
                  <a:gd name="connsiteY10" fmla="*/ 136732 h 144299"/>
                  <a:gd name="connsiteX11" fmla="*/ 57542 w 66178"/>
                  <a:gd name="connsiteY11" fmla="*/ 141882 h 144299"/>
                  <a:gd name="connsiteX12" fmla="*/ 51890 w 66178"/>
                  <a:gd name="connsiteY12" fmla="*/ 143515 h 144299"/>
                  <a:gd name="connsiteX13" fmla="*/ 33051 w 66178"/>
                  <a:gd name="connsiteY13" fmla="*/ 141631 h 144299"/>
                  <a:gd name="connsiteX14" fmla="*/ 22124 w 66178"/>
                  <a:gd name="connsiteY14" fmla="*/ 135728 h 144299"/>
                  <a:gd name="connsiteX15" fmla="*/ 21998 w 66178"/>
                  <a:gd name="connsiteY15" fmla="*/ 126685 h 144299"/>
                  <a:gd name="connsiteX16" fmla="*/ 24259 w 66178"/>
                  <a:gd name="connsiteY16" fmla="*/ 102571 h 144299"/>
                  <a:gd name="connsiteX17" fmla="*/ 28404 w 66178"/>
                  <a:gd name="connsiteY17" fmla="*/ 61627 h 14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178" h="144299">
                    <a:moveTo>
                      <a:pt x="28404" y="61627"/>
                    </a:moveTo>
                    <a:cubicBezTo>
                      <a:pt x="27525" y="56478"/>
                      <a:pt x="14714" y="59366"/>
                      <a:pt x="14839" y="54091"/>
                    </a:cubicBezTo>
                    <a:cubicBezTo>
                      <a:pt x="14965" y="48439"/>
                      <a:pt x="11700" y="46932"/>
                      <a:pt x="10444" y="41406"/>
                    </a:cubicBezTo>
                    <a:cubicBezTo>
                      <a:pt x="8937" y="34624"/>
                      <a:pt x="-483" y="12519"/>
                      <a:pt x="19" y="5486"/>
                    </a:cubicBezTo>
                    <a:cubicBezTo>
                      <a:pt x="396" y="1341"/>
                      <a:pt x="25515" y="1341"/>
                      <a:pt x="29534" y="211"/>
                    </a:cubicBezTo>
                    <a:cubicBezTo>
                      <a:pt x="31920" y="-417"/>
                      <a:pt x="34307" y="462"/>
                      <a:pt x="36568" y="1467"/>
                    </a:cubicBezTo>
                    <a:cubicBezTo>
                      <a:pt x="44354" y="4733"/>
                      <a:pt x="52392" y="7998"/>
                      <a:pt x="59300" y="13147"/>
                    </a:cubicBezTo>
                    <a:cubicBezTo>
                      <a:pt x="65580" y="17920"/>
                      <a:pt x="65077" y="25707"/>
                      <a:pt x="65454" y="33242"/>
                    </a:cubicBezTo>
                    <a:cubicBezTo>
                      <a:pt x="65831" y="38266"/>
                      <a:pt x="65957" y="43416"/>
                      <a:pt x="66082" y="48439"/>
                    </a:cubicBezTo>
                    <a:cubicBezTo>
                      <a:pt x="66333" y="60245"/>
                      <a:pt x="66082" y="72177"/>
                      <a:pt x="65454" y="83983"/>
                    </a:cubicBezTo>
                    <a:cubicBezTo>
                      <a:pt x="64450" y="101691"/>
                      <a:pt x="62565" y="119275"/>
                      <a:pt x="59551" y="136732"/>
                    </a:cubicBezTo>
                    <a:cubicBezTo>
                      <a:pt x="59174" y="138993"/>
                      <a:pt x="59425" y="140752"/>
                      <a:pt x="57542" y="141882"/>
                    </a:cubicBezTo>
                    <a:cubicBezTo>
                      <a:pt x="55909" y="142761"/>
                      <a:pt x="53648" y="143138"/>
                      <a:pt x="51890" y="143515"/>
                    </a:cubicBezTo>
                    <a:cubicBezTo>
                      <a:pt x="45610" y="144771"/>
                      <a:pt x="38828" y="144771"/>
                      <a:pt x="33051" y="141631"/>
                    </a:cubicBezTo>
                    <a:cubicBezTo>
                      <a:pt x="29409" y="139621"/>
                      <a:pt x="25766" y="137361"/>
                      <a:pt x="22124" y="135728"/>
                    </a:cubicBezTo>
                    <a:cubicBezTo>
                      <a:pt x="22250" y="132713"/>
                      <a:pt x="21873" y="129699"/>
                      <a:pt x="21998" y="126685"/>
                    </a:cubicBezTo>
                    <a:cubicBezTo>
                      <a:pt x="22501" y="118772"/>
                      <a:pt x="23129" y="110483"/>
                      <a:pt x="24259" y="102571"/>
                    </a:cubicBezTo>
                    <a:cubicBezTo>
                      <a:pt x="26394" y="89132"/>
                      <a:pt x="30790" y="75317"/>
                      <a:pt x="28404" y="61627"/>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7" name="Freeform: Shape 3896">
                <a:extLst>
                  <a:ext uri="{FF2B5EF4-FFF2-40B4-BE49-F238E27FC236}">
                    <a16:creationId xmlns:a16="http://schemas.microsoft.com/office/drawing/2014/main" id="{76DECF50-8CCE-4CF8-A0D2-835DD3BA8114}"/>
                  </a:ext>
                </a:extLst>
              </p:cNvPr>
              <p:cNvSpPr/>
              <p:nvPr/>
            </p:nvSpPr>
            <p:spPr>
              <a:xfrm>
                <a:off x="4829477" y="4769877"/>
                <a:ext cx="66337" cy="134701"/>
              </a:xfrm>
              <a:custGeom>
                <a:avLst/>
                <a:gdLst>
                  <a:gd name="connsiteX0" fmla="*/ 36320 w 66337"/>
                  <a:gd name="connsiteY0" fmla="*/ 188 h 134701"/>
                  <a:gd name="connsiteX1" fmla="*/ 40967 w 66337"/>
                  <a:gd name="connsiteY1" fmla="*/ 188 h 134701"/>
                  <a:gd name="connsiteX2" fmla="*/ 61188 w 66337"/>
                  <a:gd name="connsiteY2" fmla="*/ 4584 h 134701"/>
                  <a:gd name="connsiteX3" fmla="*/ 63072 w 66337"/>
                  <a:gd name="connsiteY3" fmla="*/ 19279 h 134701"/>
                  <a:gd name="connsiteX4" fmla="*/ 63575 w 66337"/>
                  <a:gd name="connsiteY4" fmla="*/ 27066 h 134701"/>
                  <a:gd name="connsiteX5" fmla="*/ 65835 w 66337"/>
                  <a:gd name="connsiteY5" fmla="*/ 37239 h 134701"/>
                  <a:gd name="connsiteX6" fmla="*/ 66086 w 66337"/>
                  <a:gd name="connsiteY6" fmla="*/ 51808 h 134701"/>
                  <a:gd name="connsiteX7" fmla="*/ 65082 w 66337"/>
                  <a:gd name="connsiteY7" fmla="*/ 68512 h 134701"/>
                  <a:gd name="connsiteX8" fmla="*/ 63951 w 66337"/>
                  <a:gd name="connsiteY8" fmla="*/ 81574 h 134701"/>
                  <a:gd name="connsiteX9" fmla="*/ 56290 w 66337"/>
                  <a:gd name="connsiteY9" fmla="*/ 111465 h 134701"/>
                  <a:gd name="connsiteX10" fmla="*/ 52145 w 66337"/>
                  <a:gd name="connsiteY10" fmla="*/ 124402 h 134701"/>
                  <a:gd name="connsiteX11" fmla="*/ 48503 w 66337"/>
                  <a:gd name="connsiteY11" fmla="*/ 134700 h 134701"/>
                  <a:gd name="connsiteX12" fmla="*/ 37827 w 66337"/>
                  <a:gd name="connsiteY12" fmla="*/ 132189 h 134701"/>
                  <a:gd name="connsiteX13" fmla="*/ 26524 w 66337"/>
                  <a:gd name="connsiteY13" fmla="*/ 124653 h 134701"/>
                  <a:gd name="connsiteX14" fmla="*/ 28659 w 66337"/>
                  <a:gd name="connsiteY14" fmla="*/ 120383 h 134701"/>
                  <a:gd name="connsiteX15" fmla="*/ 29915 w 66337"/>
                  <a:gd name="connsiteY15" fmla="*/ 110837 h 134701"/>
                  <a:gd name="connsiteX16" fmla="*/ 31799 w 66337"/>
                  <a:gd name="connsiteY16" fmla="*/ 90491 h 134701"/>
                  <a:gd name="connsiteX17" fmla="*/ 34939 w 66337"/>
                  <a:gd name="connsiteY17" fmla="*/ 73787 h 134701"/>
                  <a:gd name="connsiteX18" fmla="*/ 37953 w 66337"/>
                  <a:gd name="connsiteY18" fmla="*/ 66000 h 134701"/>
                  <a:gd name="connsiteX19" fmla="*/ 37827 w 66337"/>
                  <a:gd name="connsiteY19" fmla="*/ 57585 h 134701"/>
                  <a:gd name="connsiteX20" fmla="*/ 31422 w 66337"/>
                  <a:gd name="connsiteY20" fmla="*/ 20660 h 134701"/>
                  <a:gd name="connsiteX21" fmla="*/ 24 w 66337"/>
                  <a:gd name="connsiteY21" fmla="*/ 7850 h 134701"/>
                  <a:gd name="connsiteX22" fmla="*/ 34311 w 66337"/>
                  <a:gd name="connsiteY22" fmla="*/ 1193 h 134701"/>
                  <a:gd name="connsiteX23" fmla="*/ 36320 w 66337"/>
                  <a:gd name="connsiteY23" fmla="*/ 188 h 13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337" h="134701">
                    <a:moveTo>
                      <a:pt x="36320" y="188"/>
                    </a:moveTo>
                    <a:cubicBezTo>
                      <a:pt x="37827" y="-63"/>
                      <a:pt x="39460" y="-63"/>
                      <a:pt x="40967" y="188"/>
                    </a:cubicBezTo>
                    <a:cubicBezTo>
                      <a:pt x="45991" y="691"/>
                      <a:pt x="57295" y="1068"/>
                      <a:pt x="61188" y="4584"/>
                    </a:cubicBezTo>
                    <a:cubicBezTo>
                      <a:pt x="64328" y="7473"/>
                      <a:pt x="63072" y="14883"/>
                      <a:pt x="63072" y="19279"/>
                    </a:cubicBezTo>
                    <a:cubicBezTo>
                      <a:pt x="63072" y="21916"/>
                      <a:pt x="63198" y="24554"/>
                      <a:pt x="63575" y="27066"/>
                    </a:cubicBezTo>
                    <a:cubicBezTo>
                      <a:pt x="64077" y="30457"/>
                      <a:pt x="65207" y="33848"/>
                      <a:pt x="65835" y="37239"/>
                    </a:cubicBezTo>
                    <a:cubicBezTo>
                      <a:pt x="66589" y="42011"/>
                      <a:pt x="66338" y="46910"/>
                      <a:pt x="66086" y="51808"/>
                    </a:cubicBezTo>
                    <a:cubicBezTo>
                      <a:pt x="65709" y="57334"/>
                      <a:pt x="65458" y="62986"/>
                      <a:pt x="65082" y="68512"/>
                    </a:cubicBezTo>
                    <a:cubicBezTo>
                      <a:pt x="64830" y="72908"/>
                      <a:pt x="64579" y="77304"/>
                      <a:pt x="63951" y="81574"/>
                    </a:cubicBezTo>
                    <a:cubicBezTo>
                      <a:pt x="62570" y="91747"/>
                      <a:pt x="59430" y="101669"/>
                      <a:pt x="56290" y="111465"/>
                    </a:cubicBezTo>
                    <a:cubicBezTo>
                      <a:pt x="54908" y="115736"/>
                      <a:pt x="53527" y="120131"/>
                      <a:pt x="52145" y="124402"/>
                    </a:cubicBezTo>
                    <a:cubicBezTo>
                      <a:pt x="51894" y="125281"/>
                      <a:pt x="49257" y="134826"/>
                      <a:pt x="48503" y="134700"/>
                    </a:cubicBezTo>
                    <a:cubicBezTo>
                      <a:pt x="44986" y="134575"/>
                      <a:pt x="41219" y="133947"/>
                      <a:pt x="37827" y="132189"/>
                    </a:cubicBezTo>
                    <a:cubicBezTo>
                      <a:pt x="34939" y="130556"/>
                      <a:pt x="27026" y="128295"/>
                      <a:pt x="26524" y="124653"/>
                    </a:cubicBezTo>
                    <a:cubicBezTo>
                      <a:pt x="26273" y="122894"/>
                      <a:pt x="28157" y="121890"/>
                      <a:pt x="28659" y="120383"/>
                    </a:cubicBezTo>
                    <a:cubicBezTo>
                      <a:pt x="29664" y="117368"/>
                      <a:pt x="29538" y="113977"/>
                      <a:pt x="29915" y="110837"/>
                    </a:cubicBezTo>
                    <a:cubicBezTo>
                      <a:pt x="30543" y="104055"/>
                      <a:pt x="31171" y="97273"/>
                      <a:pt x="31799" y="90491"/>
                    </a:cubicBezTo>
                    <a:cubicBezTo>
                      <a:pt x="32301" y="84839"/>
                      <a:pt x="32804" y="79062"/>
                      <a:pt x="34939" y="73787"/>
                    </a:cubicBezTo>
                    <a:cubicBezTo>
                      <a:pt x="35944" y="71275"/>
                      <a:pt x="37325" y="68763"/>
                      <a:pt x="37953" y="66000"/>
                    </a:cubicBezTo>
                    <a:cubicBezTo>
                      <a:pt x="38581" y="63237"/>
                      <a:pt x="38204" y="60474"/>
                      <a:pt x="37827" y="57585"/>
                    </a:cubicBezTo>
                    <a:cubicBezTo>
                      <a:pt x="36195" y="45151"/>
                      <a:pt x="34060" y="32843"/>
                      <a:pt x="31422" y="20660"/>
                    </a:cubicBezTo>
                    <a:cubicBezTo>
                      <a:pt x="30417" y="15637"/>
                      <a:pt x="-981" y="12873"/>
                      <a:pt x="24" y="7850"/>
                    </a:cubicBezTo>
                    <a:cubicBezTo>
                      <a:pt x="526" y="5338"/>
                      <a:pt x="32301" y="2700"/>
                      <a:pt x="34311" y="1193"/>
                    </a:cubicBezTo>
                    <a:cubicBezTo>
                      <a:pt x="34562" y="691"/>
                      <a:pt x="35441" y="314"/>
                      <a:pt x="36320" y="188"/>
                    </a:cubicBezTo>
                    <a:close/>
                  </a:path>
                </a:pathLst>
              </a:custGeom>
              <a:solidFill>
                <a:srgbClr val="47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8" name="Freeform: Shape 3897">
                <a:extLst>
                  <a:ext uri="{FF2B5EF4-FFF2-40B4-BE49-F238E27FC236}">
                    <a16:creationId xmlns:a16="http://schemas.microsoft.com/office/drawing/2014/main" id="{04FAC621-ABF8-456A-92AD-10C43F84D682}"/>
                  </a:ext>
                </a:extLst>
              </p:cNvPr>
              <p:cNvSpPr/>
              <p:nvPr/>
            </p:nvSpPr>
            <p:spPr>
              <a:xfrm>
                <a:off x="4756278" y="4912239"/>
                <a:ext cx="160007" cy="89925"/>
              </a:xfrm>
              <a:custGeom>
                <a:avLst/>
                <a:gdLst>
                  <a:gd name="connsiteX0" fmla="*/ 0 w 160007"/>
                  <a:gd name="connsiteY0" fmla="*/ 7661 h 89925"/>
                  <a:gd name="connsiteX1" fmla="*/ 142424 w 160007"/>
                  <a:gd name="connsiteY1" fmla="*/ 89926 h 89925"/>
                  <a:gd name="connsiteX2" fmla="*/ 160008 w 160007"/>
                  <a:gd name="connsiteY2" fmla="*/ 79753 h 89925"/>
                  <a:gd name="connsiteX3" fmla="*/ 160008 w 160007"/>
                  <a:gd name="connsiteY3" fmla="*/ 72091 h 89925"/>
                  <a:gd name="connsiteX4" fmla="*/ 0 w 160007"/>
                  <a:gd name="connsiteY4" fmla="*/ 0 h 89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07" h="89925">
                    <a:moveTo>
                      <a:pt x="0" y="7661"/>
                    </a:moveTo>
                    <a:lnTo>
                      <a:pt x="142424" y="89926"/>
                    </a:lnTo>
                    <a:lnTo>
                      <a:pt x="160008" y="79753"/>
                    </a:lnTo>
                    <a:lnTo>
                      <a:pt x="160008" y="72091"/>
                    </a:lnTo>
                    <a:lnTo>
                      <a:pt x="0" y="0"/>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9" name="Freeform: Shape 3898">
                <a:extLst>
                  <a:ext uri="{FF2B5EF4-FFF2-40B4-BE49-F238E27FC236}">
                    <a16:creationId xmlns:a16="http://schemas.microsoft.com/office/drawing/2014/main" id="{15368F8D-E7BF-4D28-A150-E7CBB8B0DD7B}"/>
                  </a:ext>
                </a:extLst>
              </p:cNvPr>
              <p:cNvSpPr/>
              <p:nvPr/>
            </p:nvSpPr>
            <p:spPr>
              <a:xfrm>
                <a:off x="4756278" y="4912239"/>
                <a:ext cx="160007" cy="89925"/>
              </a:xfrm>
              <a:custGeom>
                <a:avLst/>
                <a:gdLst>
                  <a:gd name="connsiteX0" fmla="*/ 160008 w 160007"/>
                  <a:gd name="connsiteY0" fmla="*/ 7661 h 89925"/>
                  <a:gd name="connsiteX1" fmla="*/ 17458 w 160007"/>
                  <a:gd name="connsiteY1" fmla="*/ 89926 h 89925"/>
                  <a:gd name="connsiteX2" fmla="*/ 0 w 160007"/>
                  <a:gd name="connsiteY2" fmla="*/ 79753 h 89925"/>
                  <a:gd name="connsiteX3" fmla="*/ 0 w 160007"/>
                  <a:gd name="connsiteY3" fmla="*/ 72091 h 89925"/>
                  <a:gd name="connsiteX4" fmla="*/ 160008 w 160007"/>
                  <a:gd name="connsiteY4" fmla="*/ 0 h 89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07" h="89925">
                    <a:moveTo>
                      <a:pt x="160008" y="7661"/>
                    </a:moveTo>
                    <a:lnTo>
                      <a:pt x="17458" y="89926"/>
                    </a:lnTo>
                    <a:lnTo>
                      <a:pt x="0" y="79753"/>
                    </a:lnTo>
                    <a:lnTo>
                      <a:pt x="0" y="72091"/>
                    </a:lnTo>
                    <a:lnTo>
                      <a:pt x="160008" y="0"/>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0" name="Freeform: Shape 3899">
                <a:extLst>
                  <a:ext uri="{FF2B5EF4-FFF2-40B4-BE49-F238E27FC236}">
                    <a16:creationId xmlns:a16="http://schemas.microsoft.com/office/drawing/2014/main" id="{DD6718CA-110F-4B00-B5B7-59C3211CDF69}"/>
                  </a:ext>
                </a:extLst>
              </p:cNvPr>
              <p:cNvSpPr/>
              <p:nvPr/>
            </p:nvSpPr>
            <p:spPr>
              <a:xfrm>
                <a:off x="4756278" y="4902066"/>
                <a:ext cx="160007" cy="92437"/>
              </a:xfrm>
              <a:custGeom>
                <a:avLst/>
                <a:gdLst>
                  <a:gd name="connsiteX0" fmla="*/ 0 w 160007"/>
                  <a:gd name="connsiteY0" fmla="*/ 10173 h 92437"/>
                  <a:gd name="connsiteX1" fmla="*/ 142424 w 160007"/>
                  <a:gd name="connsiteY1" fmla="*/ 92438 h 92437"/>
                  <a:gd name="connsiteX2" fmla="*/ 160008 w 160007"/>
                  <a:gd name="connsiteY2" fmla="*/ 82264 h 92437"/>
                  <a:gd name="connsiteX3" fmla="*/ 17458 w 160007"/>
                  <a:gd name="connsiteY3" fmla="*/ 0 h 92437"/>
                </a:gdLst>
                <a:ahLst/>
                <a:cxnLst>
                  <a:cxn ang="0">
                    <a:pos x="connsiteX0" y="connsiteY0"/>
                  </a:cxn>
                  <a:cxn ang="0">
                    <a:pos x="connsiteX1" y="connsiteY1"/>
                  </a:cxn>
                  <a:cxn ang="0">
                    <a:pos x="connsiteX2" y="connsiteY2"/>
                  </a:cxn>
                  <a:cxn ang="0">
                    <a:pos x="connsiteX3" y="connsiteY3"/>
                  </a:cxn>
                </a:cxnLst>
                <a:rect l="l" t="t" r="r" b="b"/>
                <a:pathLst>
                  <a:path w="160007" h="92437">
                    <a:moveTo>
                      <a:pt x="0" y="10173"/>
                    </a:moveTo>
                    <a:lnTo>
                      <a:pt x="142424" y="92438"/>
                    </a:lnTo>
                    <a:lnTo>
                      <a:pt x="160008" y="82264"/>
                    </a:lnTo>
                    <a:lnTo>
                      <a:pt x="17458" y="0"/>
                    </a:lnTo>
                    <a:close/>
                  </a:path>
                </a:pathLst>
              </a:custGeom>
              <a:solidFill>
                <a:srgbClr val="8E8E8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1" name="Freeform: Shape 3900">
                <a:extLst>
                  <a:ext uri="{FF2B5EF4-FFF2-40B4-BE49-F238E27FC236}">
                    <a16:creationId xmlns:a16="http://schemas.microsoft.com/office/drawing/2014/main" id="{41684909-C417-4697-96E8-27DF5C3E5E66}"/>
                  </a:ext>
                </a:extLst>
              </p:cNvPr>
              <p:cNvSpPr/>
              <p:nvPr/>
            </p:nvSpPr>
            <p:spPr>
              <a:xfrm>
                <a:off x="4756278" y="4902066"/>
                <a:ext cx="160007" cy="92437"/>
              </a:xfrm>
              <a:custGeom>
                <a:avLst/>
                <a:gdLst>
                  <a:gd name="connsiteX0" fmla="*/ 160008 w 160007"/>
                  <a:gd name="connsiteY0" fmla="*/ 10173 h 92437"/>
                  <a:gd name="connsiteX1" fmla="*/ 17458 w 160007"/>
                  <a:gd name="connsiteY1" fmla="*/ 92438 h 92437"/>
                  <a:gd name="connsiteX2" fmla="*/ 0 w 160007"/>
                  <a:gd name="connsiteY2" fmla="*/ 82264 h 92437"/>
                  <a:gd name="connsiteX3" fmla="*/ 142424 w 160007"/>
                  <a:gd name="connsiteY3" fmla="*/ 0 h 92437"/>
                </a:gdLst>
                <a:ahLst/>
                <a:cxnLst>
                  <a:cxn ang="0">
                    <a:pos x="connsiteX0" y="connsiteY0"/>
                  </a:cxn>
                  <a:cxn ang="0">
                    <a:pos x="connsiteX1" y="connsiteY1"/>
                  </a:cxn>
                  <a:cxn ang="0">
                    <a:pos x="connsiteX2" y="connsiteY2"/>
                  </a:cxn>
                  <a:cxn ang="0">
                    <a:pos x="connsiteX3" y="connsiteY3"/>
                  </a:cxn>
                </a:cxnLst>
                <a:rect l="l" t="t" r="r" b="b"/>
                <a:pathLst>
                  <a:path w="160007" h="92437">
                    <a:moveTo>
                      <a:pt x="160008" y="10173"/>
                    </a:moveTo>
                    <a:lnTo>
                      <a:pt x="17458" y="92438"/>
                    </a:lnTo>
                    <a:lnTo>
                      <a:pt x="0" y="82264"/>
                    </a:lnTo>
                    <a:lnTo>
                      <a:pt x="142424" y="0"/>
                    </a:lnTo>
                    <a:close/>
                  </a:path>
                </a:pathLst>
              </a:custGeom>
              <a:solidFill>
                <a:srgbClr val="9090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2" name="Freeform: Shape 3901">
                <a:extLst>
                  <a:ext uri="{FF2B5EF4-FFF2-40B4-BE49-F238E27FC236}">
                    <a16:creationId xmlns:a16="http://schemas.microsoft.com/office/drawing/2014/main" id="{7970098B-46F1-4B26-BC72-6350BCA3FA1D}"/>
                  </a:ext>
                </a:extLst>
              </p:cNvPr>
              <p:cNvSpPr/>
              <p:nvPr/>
            </p:nvSpPr>
            <p:spPr>
              <a:xfrm>
                <a:off x="4804256" y="4926825"/>
                <a:ext cx="64053" cy="37391"/>
              </a:xfrm>
              <a:custGeom>
                <a:avLst/>
                <a:gdLst>
                  <a:gd name="connsiteX0" fmla="*/ 0 w 64053"/>
                  <a:gd name="connsiteY0" fmla="*/ 14175 h 37391"/>
                  <a:gd name="connsiteX1" fmla="*/ 1381 w 64053"/>
                  <a:gd name="connsiteY1" fmla="*/ 14175 h 37391"/>
                  <a:gd name="connsiteX2" fmla="*/ 13187 w 64053"/>
                  <a:gd name="connsiteY2" fmla="*/ 3876 h 37391"/>
                  <a:gd name="connsiteX3" fmla="*/ 57899 w 64053"/>
                  <a:gd name="connsiteY3" fmla="*/ 7267 h 37391"/>
                  <a:gd name="connsiteX4" fmla="*/ 63300 w 64053"/>
                  <a:gd name="connsiteY4" fmla="*/ 14175 h 37391"/>
                  <a:gd name="connsiteX5" fmla="*/ 64053 w 64053"/>
                  <a:gd name="connsiteY5" fmla="*/ 14175 h 37391"/>
                  <a:gd name="connsiteX6" fmla="*/ 64053 w 64053"/>
                  <a:gd name="connsiteY6" fmla="*/ 18068 h 37391"/>
                  <a:gd name="connsiteX7" fmla="*/ 63928 w 64053"/>
                  <a:gd name="connsiteY7" fmla="*/ 18068 h 37391"/>
                  <a:gd name="connsiteX8" fmla="*/ 50866 w 64053"/>
                  <a:gd name="connsiteY8" fmla="*/ 33516 h 37391"/>
                  <a:gd name="connsiteX9" fmla="*/ 6154 w 64053"/>
                  <a:gd name="connsiteY9" fmla="*/ 30125 h 37391"/>
                  <a:gd name="connsiteX10" fmla="*/ 126 w 64053"/>
                  <a:gd name="connsiteY10" fmla="*/ 19701 h 37391"/>
                  <a:gd name="connsiteX11" fmla="*/ 0 w 64053"/>
                  <a:gd name="connsiteY11" fmla="*/ 18068 h 37391"/>
                  <a:gd name="connsiteX12" fmla="*/ 0 w 64053"/>
                  <a:gd name="connsiteY12" fmla="*/ 14175 h 37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053" h="37391">
                    <a:moveTo>
                      <a:pt x="0" y="14175"/>
                    </a:moveTo>
                    <a:lnTo>
                      <a:pt x="1381" y="14175"/>
                    </a:lnTo>
                    <a:cubicBezTo>
                      <a:pt x="3266" y="10281"/>
                      <a:pt x="7159" y="6639"/>
                      <a:pt x="13187" y="3876"/>
                    </a:cubicBezTo>
                    <a:cubicBezTo>
                      <a:pt x="27505" y="-2404"/>
                      <a:pt x="47475" y="-897"/>
                      <a:pt x="57899" y="7267"/>
                    </a:cubicBezTo>
                    <a:cubicBezTo>
                      <a:pt x="60537" y="9402"/>
                      <a:pt x="62295" y="11788"/>
                      <a:pt x="63300" y="14175"/>
                    </a:cubicBezTo>
                    <a:lnTo>
                      <a:pt x="64053" y="14175"/>
                    </a:lnTo>
                    <a:lnTo>
                      <a:pt x="64053" y="18068"/>
                    </a:lnTo>
                    <a:lnTo>
                      <a:pt x="63928" y="18068"/>
                    </a:lnTo>
                    <a:cubicBezTo>
                      <a:pt x="63928" y="23845"/>
                      <a:pt x="59532" y="29748"/>
                      <a:pt x="50866" y="33516"/>
                    </a:cubicBezTo>
                    <a:cubicBezTo>
                      <a:pt x="36548" y="39796"/>
                      <a:pt x="16579" y="38289"/>
                      <a:pt x="6154" y="30125"/>
                    </a:cubicBezTo>
                    <a:cubicBezTo>
                      <a:pt x="2135" y="26985"/>
                      <a:pt x="251" y="23343"/>
                      <a:pt x="126" y="19701"/>
                    </a:cubicBezTo>
                    <a:cubicBezTo>
                      <a:pt x="126" y="19198"/>
                      <a:pt x="0" y="18068"/>
                      <a:pt x="0" y="18068"/>
                    </a:cubicBezTo>
                    <a:lnTo>
                      <a:pt x="0" y="14175"/>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3" name="Freeform: Shape 3902">
                <a:extLst>
                  <a:ext uri="{FF2B5EF4-FFF2-40B4-BE49-F238E27FC236}">
                    <a16:creationId xmlns:a16="http://schemas.microsoft.com/office/drawing/2014/main" id="{11695ECC-4BAE-41DF-9545-44A45865BBD4}"/>
                  </a:ext>
                </a:extLst>
              </p:cNvPr>
              <p:cNvSpPr/>
              <p:nvPr/>
            </p:nvSpPr>
            <p:spPr>
              <a:xfrm>
                <a:off x="4804258" y="4921425"/>
                <a:ext cx="64047" cy="37391"/>
              </a:xfrm>
              <a:custGeom>
                <a:avLst/>
                <a:gdLst>
                  <a:gd name="connsiteX0" fmla="*/ 6151 w 64047"/>
                  <a:gd name="connsiteY0" fmla="*/ 30125 h 37391"/>
                  <a:gd name="connsiteX1" fmla="*/ 13184 w 64047"/>
                  <a:gd name="connsiteY1" fmla="*/ 3876 h 37391"/>
                  <a:gd name="connsiteX2" fmla="*/ 57896 w 64047"/>
                  <a:gd name="connsiteY2" fmla="*/ 7267 h 37391"/>
                  <a:gd name="connsiteX3" fmla="*/ 50863 w 64047"/>
                  <a:gd name="connsiteY3" fmla="*/ 33516 h 37391"/>
                  <a:gd name="connsiteX4" fmla="*/ 6151 w 64047"/>
                  <a:gd name="connsiteY4" fmla="*/ 30125 h 3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47" h="37391">
                    <a:moveTo>
                      <a:pt x="6151" y="30125"/>
                    </a:moveTo>
                    <a:cubicBezTo>
                      <a:pt x="-4273" y="21961"/>
                      <a:pt x="-1133" y="10281"/>
                      <a:pt x="13184" y="3876"/>
                    </a:cubicBezTo>
                    <a:cubicBezTo>
                      <a:pt x="27502" y="-2404"/>
                      <a:pt x="47472" y="-897"/>
                      <a:pt x="57896" y="7267"/>
                    </a:cubicBezTo>
                    <a:cubicBezTo>
                      <a:pt x="68321" y="15430"/>
                      <a:pt x="65181" y="27111"/>
                      <a:pt x="50863" y="33516"/>
                    </a:cubicBezTo>
                    <a:cubicBezTo>
                      <a:pt x="36545" y="39796"/>
                      <a:pt x="16576" y="38289"/>
                      <a:pt x="6151" y="30125"/>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4" name="Freeform: Shape 3903">
                <a:extLst>
                  <a:ext uri="{FF2B5EF4-FFF2-40B4-BE49-F238E27FC236}">
                    <a16:creationId xmlns:a16="http://schemas.microsoft.com/office/drawing/2014/main" id="{7C9F802D-0246-4F36-95BA-211EF120145B}"/>
                  </a:ext>
                </a:extLst>
              </p:cNvPr>
              <p:cNvSpPr/>
              <p:nvPr/>
            </p:nvSpPr>
            <p:spPr>
              <a:xfrm>
                <a:off x="4823848" y="4866271"/>
                <a:ext cx="24905" cy="81259"/>
              </a:xfrm>
              <a:custGeom>
                <a:avLst/>
                <a:gdLst>
                  <a:gd name="connsiteX0" fmla="*/ 0 w 24905"/>
                  <a:gd name="connsiteY0" fmla="*/ 0 h 81259"/>
                  <a:gd name="connsiteX1" fmla="*/ 0 w 24905"/>
                  <a:gd name="connsiteY1" fmla="*/ 73850 h 81259"/>
                  <a:gd name="connsiteX2" fmla="*/ 126 w 24905"/>
                  <a:gd name="connsiteY2" fmla="*/ 73850 h 81259"/>
                  <a:gd name="connsiteX3" fmla="*/ 2386 w 24905"/>
                  <a:gd name="connsiteY3" fmla="*/ 78371 h 81259"/>
                  <a:gd name="connsiteX4" fmla="*/ 8164 w 24905"/>
                  <a:gd name="connsiteY4" fmla="*/ 80757 h 81259"/>
                  <a:gd name="connsiteX5" fmla="*/ 13941 w 24905"/>
                  <a:gd name="connsiteY5" fmla="*/ 81134 h 81259"/>
                  <a:gd name="connsiteX6" fmla="*/ 19844 w 24905"/>
                  <a:gd name="connsiteY6" fmla="*/ 79753 h 81259"/>
                  <a:gd name="connsiteX7" fmla="*/ 21979 w 24905"/>
                  <a:gd name="connsiteY7" fmla="*/ 78622 h 81259"/>
                  <a:gd name="connsiteX8" fmla="*/ 24868 w 24905"/>
                  <a:gd name="connsiteY8" fmla="*/ 73347 h 81259"/>
                  <a:gd name="connsiteX9" fmla="*/ 24868 w 24905"/>
                  <a:gd name="connsiteY9" fmla="*/ 251 h 81259"/>
                  <a:gd name="connsiteX10" fmla="*/ 0 w 24905"/>
                  <a:gd name="connsiteY10" fmla="*/ 251 h 8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05" h="81259">
                    <a:moveTo>
                      <a:pt x="0" y="0"/>
                    </a:moveTo>
                    <a:lnTo>
                      <a:pt x="0" y="73850"/>
                    </a:lnTo>
                    <a:lnTo>
                      <a:pt x="126" y="73850"/>
                    </a:lnTo>
                    <a:cubicBezTo>
                      <a:pt x="0" y="75357"/>
                      <a:pt x="754" y="76990"/>
                      <a:pt x="2386" y="78371"/>
                    </a:cubicBezTo>
                    <a:cubicBezTo>
                      <a:pt x="3893" y="79501"/>
                      <a:pt x="5903" y="80381"/>
                      <a:pt x="8164" y="80757"/>
                    </a:cubicBezTo>
                    <a:cubicBezTo>
                      <a:pt x="9922" y="81260"/>
                      <a:pt x="11932" y="81386"/>
                      <a:pt x="13941" y="81134"/>
                    </a:cubicBezTo>
                    <a:cubicBezTo>
                      <a:pt x="16076" y="81009"/>
                      <a:pt x="18086" y="80506"/>
                      <a:pt x="19844" y="79753"/>
                    </a:cubicBezTo>
                    <a:cubicBezTo>
                      <a:pt x="20723" y="79376"/>
                      <a:pt x="21351" y="78999"/>
                      <a:pt x="21979" y="78622"/>
                    </a:cubicBezTo>
                    <a:cubicBezTo>
                      <a:pt x="24114" y="77115"/>
                      <a:pt x="25119" y="75231"/>
                      <a:pt x="24868" y="73347"/>
                    </a:cubicBezTo>
                    <a:lnTo>
                      <a:pt x="24868" y="251"/>
                    </a:lnTo>
                    <a:lnTo>
                      <a:pt x="0" y="251"/>
                    </a:ln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5" name="Freeform: Shape 3904">
                <a:extLst>
                  <a:ext uri="{FF2B5EF4-FFF2-40B4-BE49-F238E27FC236}">
                    <a16:creationId xmlns:a16="http://schemas.microsoft.com/office/drawing/2014/main" id="{1110517A-0D4D-406C-978F-5A6AB0CC190B}"/>
                  </a:ext>
                </a:extLst>
              </p:cNvPr>
              <p:cNvSpPr/>
              <p:nvPr/>
            </p:nvSpPr>
            <p:spPr>
              <a:xfrm>
                <a:off x="4837664" y="4853209"/>
                <a:ext cx="8037" cy="94070"/>
              </a:xfrm>
              <a:custGeom>
                <a:avLst/>
                <a:gdLst>
                  <a:gd name="connsiteX0" fmla="*/ 0 w 8037"/>
                  <a:gd name="connsiteY0" fmla="*/ 0 h 94070"/>
                  <a:gd name="connsiteX1" fmla="*/ 0 w 8037"/>
                  <a:gd name="connsiteY1" fmla="*/ 94071 h 94070"/>
                  <a:gd name="connsiteX2" fmla="*/ 5903 w 8037"/>
                  <a:gd name="connsiteY2" fmla="*/ 92689 h 94070"/>
                  <a:gd name="connsiteX3" fmla="*/ 8038 w 8037"/>
                  <a:gd name="connsiteY3" fmla="*/ 91559 h 94070"/>
                  <a:gd name="connsiteX4" fmla="*/ 8038 w 8037"/>
                  <a:gd name="connsiteY4" fmla="*/ 0 h 94070"/>
                  <a:gd name="connsiteX5" fmla="*/ 0 w 8037"/>
                  <a:gd name="connsiteY5" fmla="*/ 0 h 9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37" h="94070">
                    <a:moveTo>
                      <a:pt x="0" y="0"/>
                    </a:moveTo>
                    <a:lnTo>
                      <a:pt x="0" y="94071"/>
                    </a:lnTo>
                    <a:cubicBezTo>
                      <a:pt x="2135" y="93945"/>
                      <a:pt x="4144" y="93443"/>
                      <a:pt x="5903" y="92689"/>
                    </a:cubicBezTo>
                    <a:cubicBezTo>
                      <a:pt x="6782" y="92312"/>
                      <a:pt x="7410" y="91935"/>
                      <a:pt x="8038" y="91559"/>
                    </a:cubicBezTo>
                    <a:lnTo>
                      <a:pt x="8038" y="0"/>
                    </a:lnTo>
                    <a:lnTo>
                      <a:pt x="0" y="0"/>
                    </a:ln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6" name="Freeform: Shape 3905">
                <a:extLst>
                  <a:ext uri="{FF2B5EF4-FFF2-40B4-BE49-F238E27FC236}">
                    <a16:creationId xmlns:a16="http://schemas.microsoft.com/office/drawing/2014/main" id="{F6FDC3F0-2A93-4445-8662-A6DC736ECD5F}"/>
                  </a:ext>
                </a:extLst>
              </p:cNvPr>
              <p:cNvSpPr/>
              <p:nvPr/>
            </p:nvSpPr>
            <p:spPr>
              <a:xfrm>
                <a:off x="4823848" y="4850195"/>
                <a:ext cx="8163" cy="96707"/>
              </a:xfrm>
              <a:custGeom>
                <a:avLst/>
                <a:gdLst>
                  <a:gd name="connsiteX0" fmla="*/ 0 w 8163"/>
                  <a:gd name="connsiteY0" fmla="*/ 0 h 96707"/>
                  <a:gd name="connsiteX1" fmla="*/ 0 w 8163"/>
                  <a:gd name="connsiteY1" fmla="*/ 89800 h 96707"/>
                  <a:gd name="connsiteX2" fmla="*/ 126 w 8163"/>
                  <a:gd name="connsiteY2" fmla="*/ 89800 h 96707"/>
                  <a:gd name="connsiteX3" fmla="*/ 2386 w 8163"/>
                  <a:gd name="connsiteY3" fmla="*/ 94322 h 96707"/>
                  <a:gd name="connsiteX4" fmla="*/ 8164 w 8163"/>
                  <a:gd name="connsiteY4" fmla="*/ 96708 h 96707"/>
                  <a:gd name="connsiteX5" fmla="*/ 8164 w 8163"/>
                  <a:gd name="connsiteY5" fmla="*/ 0 h 96707"/>
                  <a:gd name="connsiteX6" fmla="*/ 0 w 8163"/>
                  <a:gd name="connsiteY6" fmla="*/ 0 h 9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63" h="96707">
                    <a:moveTo>
                      <a:pt x="0" y="0"/>
                    </a:moveTo>
                    <a:lnTo>
                      <a:pt x="0" y="89800"/>
                    </a:lnTo>
                    <a:lnTo>
                      <a:pt x="126" y="89800"/>
                    </a:lnTo>
                    <a:cubicBezTo>
                      <a:pt x="0" y="91307"/>
                      <a:pt x="754" y="92940"/>
                      <a:pt x="2386" y="94322"/>
                    </a:cubicBezTo>
                    <a:cubicBezTo>
                      <a:pt x="3893" y="95452"/>
                      <a:pt x="5903" y="96331"/>
                      <a:pt x="8164" y="96708"/>
                    </a:cubicBezTo>
                    <a:lnTo>
                      <a:pt x="8164" y="0"/>
                    </a:lnTo>
                    <a:lnTo>
                      <a:pt x="0" y="0"/>
                    </a:ln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7" name="Freeform: Shape 3906">
                <a:extLst>
                  <a:ext uri="{FF2B5EF4-FFF2-40B4-BE49-F238E27FC236}">
                    <a16:creationId xmlns:a16="http://schemas.microsoft.com/office/drawing/2014/main" id="{A6599066-3219-4697-9756-CFF71400ED63}"/>
                  </a:ext>
                </a:extLst>
              </p:cNvPr>
              <p:cNvSpPr/>
              <p:nvPr/>
            </p:nvSpPr>
            <p:spPr>
              <a:xfrm>
                <a:off x="4732792" y="4810423"/>
                <a:ext cx="182489" cy="97545"/>
              </a:xfrm>
              <a:custGeom>
                <a:avLst/>
                <a:gdLst>
                  <a:gd name="connsiteX0" fmla="*/ 76990 w 182489"/>
                  <a:gd name="connsiteY0" fmla="*/ 84 h 97545"/>
                  <a:gd name="connsiteX1" fmla="*/ 88042 w 182489"/>
                  <a:gd name="connsiteY1" fmla="*/ 2344 h 97545"/>
                  <a:gd name="connsiteX2" fmla="*/ 164153 w 182489"/>
                  <a:gd name="connsiteY2" fmla="*/ 46428 h 97545"/>
                  <a:gd name="connsiteX3" fmla="*/ 164655 w 182489"/>
                  <a:gd name="connsiteY3" fmla="*/ 46177 h 97545"/>
                  <a:gd name="connsiteX4" fmla="*/ 168046 w 182489"/>
                  <a:gd name="connsiteY4" fmla="*/ 44293 h 97545"/>
                  <a:gd name="connsiteX5" fmla="*/ 178596 w 182489"/>
                  <a:gd name="connsiteY5" fmla="*/ 46177 h 97545"/>
                  <a:gd name="connsiteX6" fmla="*/ 178722 w 182489"/>
                  <a:gd name="connsiteY6" fmla="*/ 46177 h 97545"/>
                  <a:gd name="connsiteX7" fmla="*/ 182489 w 182489"/>
                  <a:gd name="connsiteY7" fmla="*/ 51452 h 97545"/>
                  <a:gd name="connsiteX8" fmla="*/ 177842 w 182489"/>
                  <a:gd name="connsiteY8" fmla="*/ 54215 h 97545"/>
                  <a:gd name="connsiteX9" fmla="*/ 177717 w 182489"/>
                  <a:gd name="connsiteY9" fmla="*/ 54215 h 97545"/>
                  <a:gd name="connsiteX10" fmla="*/ 177466 w 182489"/>
                  <a:gd name="connsiteY10" fmla="*/ 54466 h 97545"/>
                  <a:gd name="connsiteX11" fmla="*/ 176461 w 182489"/>
                  <a:gd name="connsiteY11" fmla="*/ 53587 h 97545"/>
                  <a:gd name="connsiteX12" fmla="*/ 168423 w 182489"/>
                  <a:gd name="connsiteY12" fmla="*/ 52708 h 97545"/>
                  <a:gd name="connsiteX13" fmla="*/ 167794 w 182489"/>
                  <a:gd name="connsiteY13" fmla="*/ 52959 h 97545"/>
                  <a:gd name="connsiteX14" fmla="*/ 164906 w 182489"/>
                  <a:gd name="connsiteY14" fmla="*/ 54592 h 97545"/>
                  <a:gd name="connsiteX15" fmla="*/ 90428 w 182489"/>
                  <a:gd name="connsiteY15" fmla="*/ 97545 h 97545"/>
                  <a:gd name="connsiteX16" fmla="*/ 84902 w 182489"/>
                  <a:gd name="connsiteY16" fmla="*/ 94406 h 97545"/>
                  <a:gd name="connsiteX17" fmla="*/ 0 w 182489"/>
                  <a:gd name="connsiteY17" fmla="*/ 44670 h 97545"/>
                  <a:gd name="connsiteX18" fmla="*/ 0 w 182489"/>
                  <a:gd name="connsiteY18" fmla="*/ 36129 h 97545"/>
                  <a:gd name="connsiteX19" fmla="*/ 76990 w 182489"/>
                  <a:gd name="connsiteY19" fmla="*/ 84 h 9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489" h="97545">
                    <a:moveTo>
                      <a:pt x="76990" y="84"/>
                    </a:moveTo>
                    <a:cubicBezTo>
                      <a:pt x="76990" y="84"/>
                      <a:pt x="83772" y="-670"/>
                      <a:pt x="88042" y="2344"/>
                    </a:cubicBezTo>
                    <a:lnTo>
                      <a:pt x="164153" y="46428"/>
                    </a:lnTo>
                    <a:lnTo>
                      <a:pt x="164655" y="46177"/>
                    </a:lnTo>
                    <a:lnTo>
                      <a:pt x="168046" y="44293"/>
                    </a:lnTo>
                    <a:cubicBezTo>
                      <a:pt x="168046" y="44293"/>
                      <a:pt x="174326" y="43539"/>
                      <a:pt x="178596" y="46177"/>
                    </a:cubicBezTo>
                    <a:lnTo>
                      <a:pt x="178722" y="46177"/>
                    </a:lnTo>
                    <a:cubicBezTo>
                      <a:pt x="180480" y="47307"/>
                      <a:pt x="181861" y="48940"/>
                      <a:pt x="182489" y="51452"/>
                    </a:cubicBezTo>
                    <a:lnTo>
                      <a:pt x="177842" y="54215"/>
                    </a:lnTo>
                    <a:cubicBezTo>
                      <a:pt x="177842" y="54215"/>
                      <a:pt x="178093" y="54341"/>
                      <a:pt x="177717" y="54215"/>
                    </a:cubicBezTo>
                    <a:lnTo>
                      <a:pt x="177466" y="54466"/>
                    </a:lnTo>
                    <a:cubicBezTo>
                      <a:pt x="177466" y="54466"/>
                      <a:pt x="176963" y="54089"/>
                      <a:pt x="176461" y="53587"/>
                    </a:cubicBezTo>
                    <a:cubicBezTo>
                      <a:pt x="172944" y="52457"/>
                      <a:pt x="169302" y="52708"/>
                      <a:pt x="168423" y="52708"/>
                    </a:cubicBezTo>
                    <a:cubicBezTo>
                      <a:pt x="168172" y="52834"/>
                      <a:pt x="167920" y="52959"/>
                      <a:pt x="167794" y="52959"/>
                    </a:cubicBezTo>
                    <a:lnTo>
                      <a:pt x="164906" y="54592"/>
                    </a:lnTo>
                    <a:lnTo>
                      <a:pt x="90428" y="97545"/>
                    </a:lnTo>
                    <a:lnTo>
                      <a:pt x="84902" y="94406"/>
                    </a:lnTo>
                    <a:lnTo>
                      <a:pt x="0" y="44670"/>
                    </a:lnTo>
                    <a:lnTo>
                      <a:pt x="0" y="36129"/>
                    </a:lnTo>
                    <a:lnTo>
                      <a:pt x="76990" y="84"/>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8" name="Freeform: Shape 3907">
                <a:extLst>
                  <a:ext uri="{FF2B5EF4-FFF2-40B4-BE49-F238E27FC236}">
                    <a16:creationId xmlns:a16="http://schemas.microsoft.com/office/drawing/2014/main" id="{E175DF64-BA5D-42B9-85F8-1F5B553D0FC4}"/>
                  </a:ext>
                </a:extLst>
              </p:cNvPr>
              <p:cNvSpPr/>
              <p:nvPr/>
            </p:nvSpPr>
            <p:spPr>
              <a:xfrm>
                <a:off x="4732541" y="4801757"/>
                <a:ext cx="178846" cy="97796"/>
              </a:xfrm>
              <a:custGeom>
                <a:avLst/>
                <a:gdLst>
                  <a:gd name="connsiteX0" fmla="*/ 0 w 178846"/>
                  <a:gd name="connsiteY0" fmla="*/ 44921 h 97796"/>
                  <a:gd name="connsiteX1" fmla="*/ 90428 w 178846"/>
                  <a:gd name="connsiteY1" fmla="*/ 97796 h 97796"/>
                  <a:gd name="connsiteX2" fmla="*/ 164906 w 178846"/>
                  <a:gd name="connsiteY2" fmla="*/ 54843 h 97796"/>
                  <a:gd name="connsiteX3" fmla="*/ 168297 w 178846"/>
                  <a:gd name="connsiteY3" fmla="*/ 52959 h 97796"/>
                  <a:gd name="connsiteX4" fmla="*/ 178847 w 178846"/>
                  <a:gd name="connsiteY4" fmla="*/ 54843 h 97796"/>
                  <a:gd name="connsiteX5" fmla="*/ 88418 w 178846"/>
                  <a:gd name="connsiteY5" fmla="*/ 2344 h 97796"/>
                  <a:gd name="connsiteX6" fmla="*/ 77366 w 178846"/>
                  <a:gd name="connsiteY6" fmla="*/ 84 h 97796"/>
                  <a:gd name="connsiteX7" fmla="*/ 8415 w 178846"/>
                  <a:gd name="connsiteY7" fmla="*/ 40148 h 97796"/>
                  <a:gd name="connsiteX8" fmla="*/ 0 w 178846"/>
                  <a:gd name="connsiteY8" fmla="*/ 44921 h 9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846" h="97796">
                    <a:moveTo>
                      <a:pt x="0" y="44921"/>
                    </a:moveTo>
                    <a:lnTo>
                      <a:pt x="90428" y="97796"/>
                    </a:lnTo>
                    <a:lnTo>
                      <a:pt x="164906" y="54843"/>
                    </a:lnTo>
                    <a:lnTo>
                      <a:pt x="168297" y="52959"/>
                    </a:lnTo>
                    <a:cubicBezTo>
                      <a:pt x="168297" y="52959"/>
                      <a:pt x="174577" y="52205"/>
                      <a:pt x="178847" y="54843"/>
                    </a:cubicBezTo>
                    <a:lnTo>
                      <a:pt x="88418" y="2344"/>
                    </a:lnTo>
                    <a:cubicBezTo>
                      <a:pt x="84148" y="-670"/>
                      <a:pt x="77366" y="84"/>
                      <a:pt x="77366" y="84"/>
                    </a:cubicBezTo>
                    <a:lnTo>
                      <a:pt x="8415" y="40148"/>
                    </a:lnTo>
                    <a:lnTo>
                      <a:pt x="0" y="44921"/>
                    </a:lnTo>
                    <a:close/>
                  </a:path>
                </a:pathLst>
              </a:custGeom>
              <a:solidFill>
                <a:srgbClr val="4B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9" name="Freeform: Shape 3908">
                <a:extLst>
                  <a:ext uri="{FF2B5EF4-FFF2-40B4-BE49-F238E27FC236}">
                    <a16:creationId xmlns:a16="http://schemas.microsoft.com/office/drawing/2014/main" id="{E9BC73C2-646A-42C5-89E5-1732FBBBD7D8}"/>
                  </a:ext>
                </a:extLst>
              </p:cNvPr>
              <p:cNvSpPr/>
              <p:nvPr/>
            </p:nvSpPr>
            <p:spPr>
              <a:xfrm>
                <a:off x="4823095" y="4854616"/>
                <a:ext cx="92060" cy="53352"/>
              </a:xfrm>
              <a:custGeom>
                <a:avLst/>
                <a:gdLst>
                  <a:gd name="connsiteX0" fmla="*/ 73598 w 92060"/>
                  <a:gd name="connsiteY0" fmla="*/ 2109 h 53352"/>
                  <a:gd name="connsiteX1" fmla="*/ 77618 w 92060"/>
                  <a:gd name="connsiteY1" fmla="*/ 100 h 53352"/>
                  <a:gd name="connsiteX2" fmla="*/ 88167 w 92060"/>
                  <a:gd name="connsiteY2" fmla="*/ 1984 h 53352"/>
                  <a:gd name="connsiteX3" fmla="*/ 88293 w 92060"/>
                  <a:gd name="connsiteY3" fmla="*/ 1984 h 53352"/>
                  <a:gd name="connsiteX4" fmla="*/ 92061 w 92060"/>
                  <a:gd name="connsiteY4" fmla="*/ 7259 h 53352"/>
                  <a:gd name="connsiteX5" fmla="*/ 87414 w 92060"/>
                  <a:gd name="connsiteY5" fmla="*/ 10022 h 53352"/>
                  <a:gd name="connsiteX6" fmla="*/ 87289 w 92060"/>
                  <a:gd name="connsiteY6" fmla="*/ 10022 h 53352"/>
                  <a:gd name="connsiteX7" fmla="*/ 87037 w 92060"/>
                  <a:gd name="connsiteY7" fmla="*/ 10273 h 53352"/>
                  <a:gd name="connsiteX8" fmla="*/ 86033 w 92060"/>
                  <a:gd name="connsiteY8" fmla="*/ 9394 h 53352"/>
                  <a:gd name="connsiteX9" fmla="*/ 77994 w 92060"/>
                  <a:gd name="connsiteY9" fmla="*/ 8515 h 53352"/>
                  <a:gd name="connsiteX10" fmla="*/ 77366 w 92060"/>
                  <a:gd name="connsiteY10" fmla="*/ 8766 h 53352"/>
                  <a:gd name="connsiteX11" fmla="*/ 74478 w 92060"/>
                  <a:gd name="connsiteY11" fmla="*/ 10398 h 53352"/>
                  <a:gd name="connsiteX12" fmla="*/ 0 w 92060"/>
                  <a:gd name="connsiteY12" fmla="*/ 53352 h 53352"/>
                  <a:gd name="connsiteX13" fmla="*/ 0 w 92060"/>
                  <a:gd name="connsiteY13" fmla="*/ 44811 h 53352"/>
                  <a:gd name="connsiteX14" fmla="*/ 73598 w 92060"/>
                  <a:gd name="connsiteY14" fmla="*/ 2109 h 5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060" h="53352">
                    <a:moveTo>
                      <a:pt x="73598" y="2109"/>
                    </a:moveTo>
                    <a:lnTo>
                      <a:pt x="77618" y="100"/>
                    </a:lnTo>
                    <a:cubicBezTo>
                      <a:pt x="77618" y="100"/>
                      <a:pt x="83897" y="-654"/>
                      <a:pt x="88167" y="1984"/>
                    </a:cubicBezTo>
                    <a:lnTo>
                      <a:pt x="88293" y="1984"/>
                    </a:lnTo>
                    <a:cubicBezTo>
                      <a:pt x="90051" y="3114"/>
                      <a:pt x="91433" y="4747"/>
                      <a:pt x="92061" y="7259"/>
                    </a:cubicBezTo>
                    <a:lnTo>
                      <a:pt x="87414" y="10022"/>
                    </a:lnTo>
                    <a:cubicBezTo>
                      <a:pt x="87414" y="10022"/>
                      <a:pt x="87665" y="10147"/>
                      <a:pt x="87289" y="10022"/>
                    </a:cubicBezTo>
                    <a:lnTo>
                      <a:pt x="87037" y="10273"/>
                    </a:lnTo>
                    <a:cubicBezTo>
                      <a:pt x="87037" y="10273"/>
                      <a:pt x="86535" y="9896"/>
                      <a:pt x="86033" y="9394"/>
                    </a:cubicBezTo>
                    <a:cubicBezTo>
                      <a:pt x="82516" y="8264"/>
                      <a:pt x="78874" y="8515"/>
                      <a:pt x="77994" y="8515"/>
                    </a:cubicBezTo>
                    <a:cubicBezTo>
                      <a:pt x="77743" y="8640"/>
                      <a:pt x="77492" y="8766"/>
                      <a:pt x="77366" y="8766"/>
                    </a:cubicBezTo>
                    <a:lnTo>
                      <a:pt x="74478" y="10398"/>
                    </a:lnTo>
                    <a:lnTo>
                      <a:pt x="0" y="53352"/>
                    </a:lnTo>
                    <a:lnTo>
                      <a:pt x="0" y="44811"/>
                    </a:lnTo>
                    <a:lnTo>
                      <a:pt x="73598" y="2109"/>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0" name="Freeform: Shape 3909">
                <a:extLst>
                  <a:ext uri="{FF2B5EF4-FFF2-40B4-BE49-F238E27FC236}">
                    <a16:creationId xmlns:a16="http://schemas.microsoft.com/office/drawing/2014/main" id="{2DC1DE62-D985-42AB-B428-AC2CD0B0BB93}"/>
                  </a:ext>
                </a:extLst>
              </p:cNvPr>
              <p:cNvSpPr/>
              <p:nvPr/>
            </p:nvSpPr>
            <p:spPr>
              <a:xfrm>
                <a:off x="4760156" y="4799576"/>
                <a:ext cx="200652" cy="140525"/>
              </a:xfrm>
              <a:custGeom>
                <a:avLst/>
                <a:gdLst>
                  <a:gd name="connsiteX0" fmla="*/ 180621 w 200652"/>
                  <a:gd name="connsiteY0" fmla="*/ 2391 h 140525"/>
                  <a:gd name="connsiteX1" fmla="*/ 171829 w 200652"/>
                  <a:gd name="connsiteY1" fmla="*/ 1386 h 140525"/>
                  <a:gd name="connsiteX2" fmla="*/ 137542 w 200652"/>
                  <a:gd name="connsiteY2" fmla="*/ 7038 h 140525"/>
                  <a:gd name="connsiteX3" fmla="*/ 96096 w 200652"/>
                  <a:gd name="connsiteY3" fmla="*/ 13192 h 140525"/>
                  <a:gd name="connsiteX4" fmla="*/ 59422 w 200652"/>
                  <a:gd name="connsiteY4" fmla="*/ 5279 h 140525"/>
                  <a:gd name="connsiteX5" fmla="*/ 31163 w 200652"/>
                  <a:gd name="connsiteY5" fmla="*/ 256 h 140525"/>
                  <a:gd name="connsiteX6" fmla="*/ 11571 w 200652"/>
                  <a:gd name="connsiteY6" fmla="*/ 4526 h 140525"/>
                  <a:gd name="connsiteX7" fmla="*/ 16 w 200652"/>
                  <a:gd name="connsiteY7" fmla="*/ 19723 h 140525"/>
                  <a:gd name="connsiteX8" fmla="*/ 1899 w 200652"/>
                  <a:gd name="connsiteY8" fmla="*/ 37055 h 140525"/>
                  <a:gd name="connsiteX9" fmla="*/ 47616 w 200652"/>
                  <a:gd name="connsiteY9" fmla="*/ 75613 h 140525"/>
                  <a:gd name="connsiteX10" fmla="*/ 73991 w 200652"/>
                  <a:gd name="connsiteY10" fmla="*/ 82395 h 140525"/>
                  <a:gd name="connsiteX11" fmla="*/ 105641 w 200652"/>
                  <a:gd name="connsiteY11" fmla="*/ 70463 h 140525"/>
                  <a:gd name="connsiteX12" fmla="*/ 141938 w 200652"/>
                  <a:gd name="connsiteY12" fmla="*/ 54387 h 140525"/>
                  <a:gd name="connsiteX13" fmla="*/ 157009 w 200652"/>
                  <a:gd name="connsiteY13" fmla="*/ 50870 h 140525"/>
                  <a:gd name="connsiteX14" fmla="*/ 156632 w 200652"/>
                  <a:gd name="connsiteY14" fmla="*/ 68956 h 140525"/>
                  <a:gd name="connsiteX15" fmla="*/ 160149 w 200652"/>
                  <a:gd name="connsiteY15" fmla="*/ 103871 h 140525"/>
                  <a:gd name="connsiteX16" fmla="*/ 162033 w 200652"/>
                  <a:gd name="connsiteY16" fmla="*/ 132130 h 140525"/>
                  <a:gd name="connsiteX17" fmla="*/ 173337 w 200652"/>
                  <a:gd name="connsiteY17" fmla="*/ 139540 h 140525"/>
                  <a:gd name="connsiteX18" fmla="*/ 198832 w 200652"/>
                  <a:gd name="connsiteY18" fmla="*/ 133637 h 140525"/>
                  <a:gd name="connsiteX19" fmla="*/ 199837 w 200652"/>
                  <a:gd name="connsiteY19" fmla="*/ 120450 h 140525"/>
                  <a:gd name="connsiteX20" fmla="*/ 200214 w 200652"/>
                  <a:gd name="connsiteY20" fmla="*/ 99852 h 140525"/>
                  <a:gd name="connsiteX21" fmla="*/ 198707 w 200652"/>
                  <a:gd name="connsiteY21" fmla="*/ 29143 h 140525"/>
                  <a:gd name="connsiteX22" fmla="*/ 180621 w 200652"/>
                  <a:gd name="connsiteY22" fmla="*/ 2391 h 14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0652" h="140525">
                    <a:moveTo>
                      <a:pt x="180621" y="2391"/>
                    </a:moveTo>
                    <a:cubicBezTo>
                      <a:pt x="177481" y="1512"/>
                      <a:pt x="174467" y="1261"/>
                      <a:pt x="171829" y="1386"/>
                    </a:cubicBezTo>
                    <a:cubicBezTo>
                      <a:pt x="160777" y="2391"/>
                      <a:pt x="148343" y="4024"/>
                      <a:pt x="137542" y="7038"/>
                    </a:cubicBezTo>
                    <a:cubicBezTo>
                      <a:pt x="123978" y="10680"/>
                      <a:pt x="109911" y="11308"/>
                      <a:pt x="96096" y="13192"/>
                    </a:cubicBezTo>
                    <a:cubicBezTo>
                      <a:pt x="84164" y="14825"/>
                      <a:pt x="70977" y="8545"/>
                      <a:pt x="59422" y="5279"/>
                    </a:cubicBezTo>
                    <a:cubicBezTo>
                      <a:pt x="49751" y="2642"/>
                      <a:pt x="41085" y="-1000"/>
                      <a:pt x="31163" y="256"/>
                    </a:cubicBezTo>
                    <a:cubicBezTo>
                      <a:pt x="24507" y="1135"/>
                      <a:pt x="17725" y="1637"/>
                      <a:pt x="11571" y="4526"/>
                    </a:cubicBezTo>
                    <a:cubicBezTo>
                      <a:pt x="5542" y="7289"/>
                      <a:pt x="141" y="12941"/>
                      <a:pt x="16" y="19723"/>
                    </a:cubicBezTo>
                    <a:cubicBezTo>
                      <a:pt x="-110" y="24998"/>
                      <a:pt x="518" y="32031"/>
                      <a:pt x="1899" y="37055"/>
                    </a:cubicBezTo>
                    <a:cubicBezTo>
                      <a:pt x="7175" y="55517"/>
                      <a:pt x="31666" y="67951"/>
                      <a:pt x="47616" y="75613"/>
                    </a:cubicBezTo>
                    <a:cubicBezTo>
                      <a:pt x="55905" y="79632"/>
                      <a:pt x="64823" y="83399"/>
                      <a:pt x="73991" y="82395"/>
                    </a:cubicBezTo>
                    <a:cubicBezTo>
                      <a:pt x="85922" y="81139"/>
                      <a:pt x="94965" y="74733"/>
                      <a:pt x="105641" y="70463"/>
                    </a:cubicBezTo>
                    <a:cubicBezTo>
                      <a:pt x="117949" y="65565"/>
                      <a:pt x="130006" y="60290"/>
                      <a:pt x="141938" y="54387"/>
                    </a:cubicBezTo>
                    <a:cubicBezTo>
                      <a:pt x="145078" y="52880"/>
                      <a:pt x="154121" y="47228"/>
                      <a:pt x="157009" y="50870"/>
                    </a:cubicBezTo>
                    <a:cubicBezTo>
                      <a:pt x="158768" y="53131"/>
                      <a:pt x="156381" y="65690"/>
                      <a:pt x="156632" y="68956"/>
                    </a:cubicBezTo>
                    <a:cubicBezTo>
                      <a:pt x="157763" y="80636"/>
                      <a:pt x="158768" y="92191"/>
                      <a:pt x="160149" y="103871"/>
                    </a:cubicBezTo>
                    <a:cubicBezTo>
                      <a:pt x="161154" y="113040"/>
                      <a:pt x="158391" y="123339"/>
                      <a:pt x="162033" y="132130"/>
                    </a:cubicBezTo>
                    <a:cubicBezTo>
                      <a:pt x="163917" y="136652"/>
                      <a:pt x="168941" y="138285"/>
                      <a:pt x="173337" y="139540"/>
                    </a:cubicBezTo>
                    <a:cubicBezTo>
                      <a:pt x="182380" y="142303"/>
                      <a:pt x="191548" y="138912"/>
                      <a:pt x="198832" y="133637"/>
                    </a:cubicBezTo>
                    <a:cubicBezTo>
                      <a:pt x="202474" y="131000"/>
                      <a:pt x="199460" y="124092"/>
                      <a:pt x="199837" y="120450"/>
                    </a:cubicBezTo>
                    <a:cubicBezTo>
                      <a:pt x="200465" y="113668"/>
                      <a:pt x="200340" y="106760"/>
                      <a:pt x="200214" y="99852"/>
                    </a:cubicBezTo>
                    <a:cubicBezTo>
                      <a:pt x="199586" y="76241"/>
                      <a:pt x="198958" y="52629"/>
                      <a:pt x="198707" y="29143"/>
                    </a:cubicBezTo>
                    <a:cubicBezTo>
                      <a:pt x="198581" y="15578"/>
                      <a:pt x="194185" y="6033"/>
                      <a:pt x="180621" y="2391"/>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1" name="Freeform: Shape 3910">
                <a:extLst>
                  <a:ext uri="{FF2B5EF4-FFF2-40B4-BE49-F238E27FC236}">
                    <a16:creationId xmlns:a16="http://schemas.microsoft.com/office/drawing/2014/main" id="{5DA1AC2F-01FB-4A32-BEAB-2A85BA335EE1}"/>
                  </a:ext>
                </a:extLst>
              </p:cNvPr>
              <p:cNvSpPr/>
              <p:nvPr/>
            </p:nvSpPr>
            <p:spPr>
              <a:xfrm>
                <a:off x="4760244" y="4800334"/>
                <a:ext cx="169104" cy="137526"/>
              </a:xfrm>
              <a:custGeom>
                <a:avLst/>
                <a:gdLst>
                  <a:gd name="connsiteX0" fmla="*/ 11608 w 169104"/>
                  <a:gd name="connsiteY0" fmla="*/ 3768 h 137526"/>
                  <a:gd name="connsiteX1" fmla="*/ 27308 w 169104"/>
                  <a:gd name="connsiteY1" fmla="*/ 0 h 137526"/>
                  <a:gd name="connsiteX2" fmla="*/ 33462 w 169104"/>
                  <a:gd name="connsiteY2" fmla="*/ 11429 h 137526"/>
                  <a:gd name="connsiteX3" fmla="*/ 35974 w 169104"/>
                  <a:gd name="connsiteY3" fmla="*/ 28510 h 137526"/>
                  <a:gd name="connsiteX4" fmla="*/ 53557 w 169104"/>
                  <a:gd name="connsiteY4" fmla="*/ 57522 h 137526"/>
                  <a:gd name="connsiteX5" fmla="*/ 121253 w 169104"/>
                  <a:gd name="connsiteY5" fmla="*/ 55262 h 137526"/>
                  <a:gd name="connsiteX6" fmla="*/ 141725 w 169104"/>
                  <a:gd name="connsiteY6" fmla="*/ 43581 h 137526"/>
                  <a:gd name="connsiteX7" fmla="*/ 156922 w 169104"/>
                  <a:gd name="connsiteY7" fmla="*/ 42953 h 137526"/>
                  <a:gd name="connsiteX8" fmla="*/ 162448 w 169104"/>
                  <a:gd name="connsiteY8" fmla="*/ 46345 h 137526"/>
                  <a:gd name="connsiteX9" fmla="*/ 163076 w 169104"/>
                  <a:gd name="connsiteY9" fmla="*/ 50364 h 137526"/>
                  <a:gd name="connsiteX10" fmla="*/ 166718 w 169104"/>
                  <a:gd name="connsiteY10" fmla="*/ 116678 h 137526"/>
                  <a:gd name="connsiteX11" fmla="*/ 169104 w 169104"/>
                  <a:gd name="connsiteY11" fmla="*/ 137526 h 137526"/>
                  <a:gd name="connsiteX12" fmla="*/ 162071 w 169104"/>
                  <a:gd name="connsiteY12" fmla="*/ 131623 h 137526"/>
                  <a:gd name="connsiteX13" fmla="*/ 160187 w 169104"/>
                  <a:gd name="connsiteY13" fmla="*/ 103365 h 137526"/>
                  <a:gd name="connsiteX14" fmla="*/ 156671 w 169104"/>
                  <a:gd name="connsiteY14" fmla="*/ 68449 h 137526"/>
                  <a:gd name="connsiteX15" fmla="*/ 157047 w 169104"/>
                  <a:gd name="connsiteY15" fmla="*/ 50364 h 137526"/>
                  <a:gd name="connsiteX16" fmla="*/ 141976 w 169104"/>
                  <a:gd name="connsiteY16" fmla="*/ 53880 h 137526"/>
                  <a:gd name="connsiteX17" fmla="*/ 105679 w 169104"/>
                  <a:gd name="connsiteY17" fmla="*/ 69956 h 137526"/>
                  <a:gd name="connsiteX18" fmla="*/ 74029 w 169104"/>
                  <a:gd name="connsiteY18" fmla="*/ 81888 h 137526"/>
                  <a:gd name="connsiteX19" fmla="*/ 47654 w 169104"/>
                  <a:gd name="connsiteY19" fmla="*/ 75106 h 137526"/>
                  <a:gd name="connsiteX20" fmla="*/ 1938 w 169104"/>
                  <a:gd name="connsiteY20" fmla="*/ 36548 h 137526"/>
                  <a:gd name="connsiteX21" fmla="*/ 54 w 169104"/>
                  <a:gd name="connsiteY21" fmla="*/ 19216 h 137526"/>
                  <a:gd name="connsiteX22" fmla="*/ 11608 w 169104"/>
                  <a:gd name="connsiteY22" fmla="*/ 3768 h 137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9104" h="137526">
                    <a:moveTo>
                      <a:pt x="11608" y="3768"/>
                    </a:moveTo>
                    <a:cubicBezTo>
                      <a:pt x="16507" y="1507"/>
                      <a:pt x="21907" y="628"/>
                      <a:pt x="27308" y="0"/>
                    </a:cubicBezTo>
                    <a:cubicBezTo>
                      <a:pt x="30071" y="3266"/>
                      <a:pt x="32206" y="7159"/>
                      <a:pt x="33462" y="11429"/>
                    </a:cubicBezTo>
                    <a:cubicBezTo>
                      <a:pt x="34969" y="16955"/>
                      <a:pt x="34969" y="22858"/>
                      <a:pt x="35974" y="28510"/>
                    </a:cubicBezTo>
                    <a:cubicBezTo>
                      <a:pt x="37983" y="39939"/>
                      <a:pt x="44389" y="50489"/>
                      <a:pt x="53557" y="57522"/>
                    </a:cubicBezTo>
                    <a:cubicBezTo>
                      <a:pt x="73401" y="72719"/>
                      <a:pt x="101032" y="66942"/>
                      <a:pt x="121253" y="55262"/>
                    </a:cubicBezTo>
                    <a:cubicBezTo>
                      <a:pt x="128035" y="51368"/>
                      <a:pt x="134189" y="45968"/>
                      <a:pt x="141725" y="43581"/>
                    </a:cubicBezTo>
                    <a:cubicBezTo>
                      <a:pt x="146623" y="42074"/>
                      <a:pt x="151898" y="41823"/>
                      <a:pt x="156922" y="42953"/>
                    </a:cubicBezTo>
                    <a:cubicBezTo>
                      <a:pt x="159057" y="43456"/>
                      <a:pt x="161443" y="44335"/>
                      <a:pt x="162448" y="46345"/>
                    </a:cubicBezTo>
                    <a:cubicBezTo>
                      <a:pt x="163076" y="47601"/>
                      <a:pt x="163076" y="48982"/>
                      <a:pt x="163076" y="50364"/>
                    </a:cubicBezTo>
                    <a:cubicBezTo>
                      <a:pt x="163327" y="72468"/>
                      <a:pt x="164583" y="94573"/>
                      <a:pt x="166718" y="116678"/>
                    </a:cubicBezTo>
                    <a:cubicBezTo>
                      <a:pt x="167346" y="123711"/>
                      <a:pt x="168351" y="130619"/>
                      <a:pt x="169104" y="137526"/>
                    </a:cubicBezTo>
                    <a:cubicBezTo>
                      <a:pt x="166090" y="136270"/>
                      <a:pt x="163327" y="134638"/>
                      <a:pt x="162071" y="131623"/>
                    </a:cubicBezTo>
                    <a:cubicBezTo>
                      <a:pt x="158429" y="122832"/>
                      <a:pt x="161192" y="112533"/>
                      <a:pt x="160187" y="103365"/>
                    </a:cubicBezTo>
                    <a:cubicBezTo>
                      <a:pt x="158805" y="91684"/>
                      <a:pt x="157801" y="80130"/>
                      <a:pt x="156671" y="68449"/>
                    </a:cubicBezTo>
                    <a:cubicBezTo>
                      <a:pt x="156294" y="65058"/>
                      <a:pt x="158805" y="52499"/>
                      <a:pt x="157047" y="50364"/>
                    </a:cubicBezTo>
                    <a:cubicBezTo>
                      <a:pt x="154158" y="46721"/>
                      <a:pt x="144990" y="52373"/>
                      <a:pt x="141976" y="53880"/>
                    </a:cubicBezTo>
                    <a:cubicBezTo>
                      <a:pt x="130170" y="59783"/>
                      <a:pt x="117987" y="65058"/>
                      <a:pt x="105679" y="69956"/>
                    </a:cubicBezTo>
                    <a:cubicBezTo>
                      <a:pt x="95003" y="74227"/>
                      <a:pt x="85961" y="80632"/>
                      <a:pt x="74029" y="81888"/>
                    </a:cubicBezTo>
                    <a:cubicBezTo>
                      <a:pt x="64861" y="82893"/>
                      <a:pt x="55944" y="79125"/>
                      <a:pt x="47654" y="75106"/>
                    </a:cubicBezTo>
                    <a:cubicBezTo>
                      <a:pt x="31704" y="67444"/>
                      <a:pt x="7338" y="55011"/>
                      <a:pt x="1938" y="36548"/>
                    </a:cubicBezTo>
                    <a:cubicBezTo>
                      <a:pt x="431" y="31524"/>
                      <a:pt x="-197" y="24365"/>
                      <a:pt x="54" y="19216"/>
                    </a:cubicBezTo>
                    <a:cubicBezTo>
                      <a:pt x="305" y="12183"/>
                      <a:pt x="5580" y="6531"/>
                      <a:pt x="11608" y="3768"/>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2" name="Freeform: Shape 3911">
                <a:extLst>
                  <a:ext uri="{FF2B5EF4-FFF2-40B4-BE49-F238E27FC236}">
                    <a16:creationId xmlns:a16="http://schemas.microsoft.com/office/drawing/2014/main" id="{3BF6DABA-D56F-450A-8F84-D351D598DA57}"/>
                  </a:ext>
                </a:extLst>
              </p:cNvPr>
              <p:cNvSpPr/>
              <p:nvPr/>
            </p:nvSpPr>
            <p:spPr>
              <a:xfrm>
                <a:off x="4761083" y="4646337"/>
                <a:ext cx="44717" cy="164468"/>
              </a:xfrm>
              <a:custGeom>
                <a:avLst/>
                <a:gdLst>
                  <a:gd name="connsiteX0" fmla="*/ 33502 w 44717"/>
                  <a:gd name="connsiteY0" fmla="*/ 1524 h 164468"/>
                  <a:gd name="connsiteX1" fmla="*/ 15417 w 44717"/>
                  <a:gd name="connsiteY1" fmla="*/ 3534 h 164468"/>
                  <a:gd name="connsiteX2" fmla="*/ 6751 w 44717"/>
                  <a:gd name="connsiteY2" fmla="*/ 18229 h 164468"/>
                  <a:gd name="connsiteX3" fmla="*/ 471 w 44717"/>
                  <a:gd name="connsiteY3" fmla="*/ 42719 h 164468"/>
                  <a:gd name="connsiteX4" fmla="*/ 13281 w 44717"/>
                  <a:gd name="connsiteY4" fmla="*/ 163165 h 164468"/>
                  <a:gd name="connsiteX5" fmla="*/ 44052 w 44717"/>
                  <a:gd name="connsiteY5" fmla="*/ 108029 h 164468"/>
                  <a:gd name="connsiteX6" fmla="*/ 30488 w 44717"/>
                  <a:gd name="connsiteY6" fmla="*/ 45482 h 164468"/>
                  <a:gd name="connsiteX7" fmla="*/ 33502 w 44717"/>
                  <a:gd name="connsiteY7" fmla="*/ 1524 h 16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17" h="164468">
                    <a:moveTo>
                      <a:pt x="33502" y="1524"/>
                    </a:moveTo>
                    <a:cubicBezTo>
                      <a:pt x="33502" y="1524"/>
                      <a:pt x="23078" y="-2997"/>
                      <a:pt x="15417" y="3534"/>
                    </a:cubicBezTo>
                    <a:cubicBezTo>
                      <a:pt x="10518" y="7679"/>
                      <a:pt x="8383" y="12200"/>
                      <a:pt x="6751" y="18229"/>
                    </a:cubicBezTo>
                    <a:cubicBezTo>
                      <a:pt x="4615" y="26392"/>
                      <a:pt x="1852" y="34305"/>
                      <a:pt x="471" y="42719"/>
                    </a:cubicBezTo>
                    <a:cubicBezTo>
                      <a:pt x="-2544" y="60177"/>
                      <a:pt x="9765" y="145833"/>
                      <a:pt x="13281" y="163165"/>
                    </a:cubicBezTo>
                    <a:cubicBezTo>
                      <a:pt x="15542" y="174217"/>
                      <a:pt x="42545" y="111420"/>
                      <a:pt x="44052" y="108029"/>
                    </a:cubicBezTo>
                    <a:cubicBezTo>
                      <a:pt x="48699" y="97605"/>
                      <a:pt x="27348" y="56410"/>
                      <a:pt x="30488" y="45482"/>
                    </a:cubicBezTo>
                    <a:cubicBezTo>
                      <a:pt x="32121" y="39831"/>
                      <a:pt x="43927" y="4539"/>
                      <a:pt x="33502" y="1524"/>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3" name="Freeform: Shape 3912">
                <a:extLst>
                  <a:ext uri="{FF2B5EF4-FFF2-40B4-BE49-F238E27FC236}">
                    <a16:creationId xmlns:a16="http://schemas.microsoft.com/office/drawing/2014/main" id="{6CDCF133-89D3-4A39-A226-07F6B84D2B5D}"/>
                  </a:ext>
                </a:extLst>
              </p:cNvPr>
              <p:cNvSpPr/>
              <p:nvPr/>
            </p:nvSpPr>
            <p:spPr>
              <a:xfrm>
                <a:off x="4768210" y="4646337"/>
                <a:ext cx="29765" cy="16219"/>
              </a:xfrm>
              <a:custGeom>
                <a:avLst/>
                <a:gdLst>
                  <a:gd name="connsiteX0" fmla="*/ 0 w 29765"/>
                  <a:gd name="connsiteY0" fmla="*/ 16219 h 16219"/>
                  <a:gd name="connsiteX1" fmla="*/ 8164 w 29765"/>
                  <a:gd name="connsiteY1" fmla="*/ 3534 h 16219"/>
                  <a:gd name="connsiteX2" fmla="*/ 26249 w 29765"/>
                  <a:gd name="connsiteY2" fmla="*/ 1524 h 16219"/>
                  <a:gd name="connsiteX3" fmla="*/ 29766 w 29765"/>
                  <a:gd name="connsiteY3" fmla="*/ 10567 h 16219"/>
                  <a:gd name="connsiteX4" fmla="*/ 15448 w 29765"/>
                  <a:gd name="connsiteY4" fmla="*/ 9060 h 16219"/>
                  <a:gd name="connsiteX5" fmla="*/ 2010 w 29765"/>
                  <a:gd name="connsiteY5" fmla="*/ 14209 h 16219"/>
                  <a:gd name="connsiteX6" fmla="*/ 0 w 29765"/>
                  <a:gd name="connsiteY6" fmla="*/ 16219 h 1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5" h="16219">
                    <a:moveTo>
                      <a:pt x="0" y="16219"/>
                    </a:moveTo>
                    <a:cubicBezTo>
                      <a:pt x="1256" y="10944"/>
                      <a:pt x="3517" y="7553"/>
                      <a:pt x="8164" y="3534"/>
                    </a:cubicBezTo>
                    <a:cubicBezTo>
                      <a:pt x="15825" y="-2997"/>
                      <a:pt x="26249" y="1524"/>
                      <a:pt x="26249" y="1524"/>
                    </a:cubicBezTo>
                    <a:cubicBezTo>
                      <a:pt x="28636" y="2278"/>
                      <a:pt x="29640" y="5543"/>
                      <a:pt x="29766" y="10567"/>
                    </a:cubicBezTo>
                    <a:cubicBezTo>
                      <a:pt x="25119" y="11195"/>
                      <a:pt x="19718" y="9312"/>
                      <a:pt x="15448" y="9060"/>
                    </a:cubicBezTo>
                    <a:cubicBezTo>
                      <a:pt x="10424" y="8683"/>
                      <a:pt x="6028" y="11195"/>
                      <a:pt x="2010" y="14209"/>
                    </a:cubicBezTo>
                    <a:cubicBezTo>
                      <a:pt x="1381" y="14837"/>
                      <a:pt x="754" y="15591"/>
                      <a:pt x="0" y="16219"/>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4" name="Freeform: Shape 3913">
                <a:extLst>
                  <a:ext uri="{FF2B5EF4-FFF2-40B4-BE49-F238E27FC236}">
                    <a16:creationId xmlns:a16="http://schemas.microsoft.com/office/drawing/2014/main" id="{88A60311-B197-4B83-B0B6-51D3495ACF86}"/>
                  </a:ext>
                </a:extLst>
              </p:cNvPr>
              <p:cNvSpPr/>
              <p:nvPr/>
            </p:nvSpPr>
            <p:spPr>
              <a:xfrm>
                <a:off x="4763666" y="4642837"/>
                <a:ext cx="104178" cy="207908"/>
              </a:xfrm>
              <a:custGeom>
                <a:avLst/>
                <a:gdLst>
                  <a:gd name="connsiteX0" fmla="*/ 53526 w 104178"/>
                  <a:gd name="connsiteY0" fmla="*/ 880 h 207908"/>
                  <a:gd name="connsiteX1" fmla="*/ 41092 w 104178"/>
                  <a:gd name="connsiteY1" fmla="*/ 754 h 207908"/>
                  <a:gd name="connsiteX2" fmla="*/ 14592 w 104178"/>
                  <a:gd name="connsiteY2" fmla="*/ 13063 h 207908"/>
                  <a:gd name="connsiteX3" fmla="*/ 3414 w 104178"/>
                  <a:gd name="connsiteY3" fmla="*/ 85907 h 207908"/>
                  <a:gd name="connsiteX4" fmla="*/ 6302 w 104178"/>
                  <a:gd name="connsiteY4" fmla="*/ 167921 h 207908"/>
                  <a:gd name="connsiteX5" fmla="*/ 5549 w 104178"/>
                  <a:gd name="connsiteY5" fmla="*/ 188393 h 207908"/>
                  <a:gd name="connsiteX6" fmla="*/ 31296 w 104178"/>
                  <a:gd name="connsiteY6" fmla="*/ 202962 h 207908"/>
                  <a:gd name="connsiteX7" fmla="*/ 84171 w 104178"/>
                  <a:gd name="connsiteY7" fmla="*/ 206604 h 207908"/>
                  <a:gd name="connsiteX8" fmla="*/ 86934 w 104178"/>
                  <a:gd name="connsiteY8" fmla="*/ 117306 h 207908"/>
                  <a:gd name="connsiteX9" fmla="*/ 93968 w 104178"/>
                  <a:gd name="connsiteY9" fmla="*/ 91057 h 207908"/>
                  <a:gd name="connsiteX10" fmla="*/ 103136 w 104178"/>
                  <a:gd name="connsiteY10" fmla="*/ 61291 h 207908"/>
                  <a:gd name="connsiteX11" fmla="*/ 99243 w 104178"/>
                  <a:gd name="connsiteY11" fmla="*/ 40568 h 207908"/>
                  <a:gd name="connsiteX12" fmla="*/ 83292 w 104178"/>
                  <a:gd name="connsiteY12" fmla="*/ 29013 h 207908"/>
                  <a:gd name="connsiteX13" fmla="*/ 69477 w 104178"/>
                  <a:gd name="connsiteY13" fmla="*/ 13565 h 207908"/>
                  <a:gd name="connsiteX14" fmla="*/ 53526 w 104178"/>
                  <a:gd name="connsiteY14" fmla="*/ 880 h 20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178" h="207908">
                    <a:moveTo>
                      <a:pt x="53526" y="880"/>
                    </a:moveTo>
                    <a:cubicBezTo>
                      <a:pt x="49633" y="-627"/>
                      <a:pt x="45111" y="126"/>
                      <a:pt x="41092" y="754"/>
                    </a:cubicBezTo>
                    <a:cubicBezTo>
                      <a:pt x="29789" y="2387"/>
                      <a:pt x="18611" y="7787"/>
                      <a:pt x="14592" y="13063"/>
                    </a:cubicBezTo>
                    <a:cubicBezTo>
                      <a:pt x="8061" y="21477"/>
                      <a:pt x="-6634" y="41196"/>
                      <a:pt x="3414" y="85907"/>
                    </a:cubicBezTo>
                    <a:cubicBezTo>
                      <a:pt x="12331" y="125972"/>
                      <a:pt x="6302" y="167921"/>
                      <a:pt x="6302" y="167921"/>
                    </a:cubicBezTo>
                    <a:cubicBezTo>
                      <a:pt x="5549" y="171312"/>
                      <a:pt x="4168" y="185253"/>
                      <a:pt x="5549" y="188393"/>
                    </a:cubicBezTo>
                    <a:cubicBezTo>
                      <a:pt x="9317" y="196808"/>
                      <a:pt x="22881" y="201329"/>
                      <a:pt x="31296" y="202962"/>
                    </a:cubicBezTo>
                    <a:cubicBezTo>
                      <a:pt x="61187" y="209116"/>
                      <a:pt x="80027" y="208488"/>
                      <a:pt x="84171" y="206604"/>
                    </a:cubicBezTo>
                    <a:cubicBezTo>
                      <a:pt x="84171" y="206604"/>
                      <a:pt x="83795" y="133885"/>
                      <a:pt x="86934" y="117306"/>
                    </a:cubicBezTo>
                    <a:cubicBezTo>
                      <a:pt x="88567" y="108389"/>
                      <a:pt x="91330" y="99723"/>
                      <a:pt x="93968" y="91057"/>
                    </a:cubicBezTo>
                    <a:cubicBezTo>
                      <a:pt x="96982" y="81260"/>
                      <a:pt x="101001" y="71213"/>
                      <a:pt x="103136" y="61291"/>
                    </a:cubicBezTo>
                    <a:cubicBezTo>
                      <a:pt x="104769" y="53881"/>
                      <a:pt x="105145" y="46345"/>
                      <a:pt x="99243" y="40568"/>
                    </a:cubicBezTo>
                    <a:cubicBezTo>
                      <a:pt x="94470" y="36046"/>
                      <a:pt x="88316" y="33283"/>
                      <a:pt x="83292" y="29013"/>
                    </a:cubicBezTo>
                    <a:cubicBezTo>
                      <a:pt x="78017" y="24492"/>
                      <a:pt x="74249" y="18463"/>
                      <a:pt x="69477" y="13565"/>
                    </a:cubicBezTo>
                    <a:cubicBezTo>
                      <a:pt x="65709" y="9420"/>
                      <a:pt x="58927" y="2889"/>
                      <a:pt x="53526" y="880"/>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5" name="Freeform: Shape 3914">
                <a:extLst>
                  <a:ext uri="{FF2B5EF4-FFF2-40B4-BE49-F238E27FC236}">
                    <a16:creationId xmlns:a16="http://schemas.microsoft.com/office/drawing/2014/main" id="{A0CD07A6-128C-4477-AA09-8E395603CB61}"/>
                  </a:ext>
                </a:extLst>
              </p:cNvPr>
              <p:cNvSpPr/>
              <p:nvPr/>
            </p:nvSpPr>
            <p:spPr>
              <a:xfrm>
                <a:off x="4840176" y="4686922"/>
                <a:ext cx="8289" cy="6405"/>
              </a:xfrm>
              <a:custGeom>
                <a:avLst/>
                <a:gdLst>
                  <a:gd name="connsiteX0" fmla="*/ 7661 w 8289"/>
                  <a:gd name="connsiteY0" fmla="*/ 5275 h 6405"/>
                  <a:gd name="connsiteX1" fmla="*/ 8289 w 8289"/>
                  <a:gd name="connsiteY1" fmla="*/ 6405 h 6405"/>
                  <a:gd name="connsiteX2" fmla="*/ 0 w 8289"/>
                  <a:gd name="connsiteY2" fmla="*/ 0 h 6405"/>
                  <a:gd name="connsiteX3" fmla="*/ 4396 w 8289"/>
                  <a:gd name="connsiteY3" fmla="*/ 1758 h 6405"/>
                  <a:gd name="connsiteX4" fmla="*/ 7661 w 8289"/>
                  <a:gd name="connsiteY4" fmla="*/ 5275 h 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9" h="6405">
                    <a:moveTo>
                      <a:pt x="7661" y="5275"/>
                    </a:moveTo>
                    <a:cubicBezTo>
                      <a:pt x="7913" y="5652"/>
                      <a:pt x="8038" y="6029"/>
                      <a:pt x="8289" y="6405"/>
                    </a:cubicBezTo>
                    <a:lnTo>
                      <a:pt x="0" y="0"/>
                    </a:lnTo>
                    <a:cubicBezTo>
                      <a:pt x="1633" y="251"/>
                      <a:pt x="3140" y="879"/>
                      <a:pt x="4396" y="1758"/>
                    </a:cubicBezTo>
                    <a:cubicBezTo>
                      <a:pt x="5526" y="2889"/>
                      <a:pt x="6657" y="4019"/>
                      <a:pt x="7661" y="5275"/>
                    </a:cubicBez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6" name="Freeform: Shape 3915">
                <a:extLst>
                  <a:ext uri="{FF2B5EF4-FFF2-40B4-BE49-F238E27FC236}">
                    <a16:creationId xmlns:a16="http://schemas.microsoft.com/office/drawing/2014/main" id="{1F8BBE1A-6089-46BD-A316-8B8E40FCD7C0}"/>
                  </a:ext>
                </a:extLst>
              </p:cNvPr>
              <p:cNvSpPr/>
              <p:nvPr/>
            </p:nvSpPr>
            <p:spPr>
              <a:xfrm>
                <a:off x="4779764" y="4642837"/>
                <a:ext cx="88330" cy="207961"/>
              </a:xfrm>
              <a:custGeom>
                <a:avLst/>
                <a:gdLst>
                  <a:gd name="connsiteX0" fmla="*/ 24994 w 88330"/>
                  <a:gd name="connsiteY0" fmla="*/ 754 h 207961"/>
                  <a:gd name="connsiteX1" fmla="*/ 37427 w 88330"/>
                  <a:gd name="connsiteY1" fmla="*/ 880 h 207961"/>
                  <a:gd name="connsiteX2" fmla="*/ 53629 w 88330"/>
                  <a:gd name="connsiteY2" fmla="*/ 13565 h 207961"/>
                  <a:gd name="connsiteX3" fmla="*/ 67444 w 88330"/>
                  <a:gd name="connsiteY3" fmla="*/ 29013 h 207961"/>
                  <a:gd name="connsiteX4" fmla="*/ 83395 w 88330"/>
                  <a:gd name="connsiteY4" fmla="*/ 40568 h 207961"/>
                  <a:gd name="connsiteX5" fmla="*/ 87289 w 88330"/>
                  <a:gd name="connsiteY5" fmla="*/ 61291 h 207961"/>
                  <a:gd name="connsiteX6" fmla="*/ 80632 w 88330"/>
                  <a:gd name="connsiteY6" fmla="*/ 91183 h 207961"/>
                  <a:gd name="connsiteX7" fmla="*/ 78120 w 88330"/>
                  <a:gd name="connsiteY7" fmla="*/ 124339 h 207961"/>
                  <a:gd name="connsiteX8" fmla="*/ 82642 w 88330"/>
                  <a:gd name="connsiteY8" fmla="*/ 199696 h 207961"/>
                  <a:gd name="connsiteX9" fmla="*/ 59406 w 88330"/>
                  <a:gd name="connsiteY9" fmla="*/ 207860 h 207961"/>
                  <a:gd name="connsiteX10" fmla="*/ 61542 w 88330"/>
                  <a:gd name="connsiteY10" fmla="*/ 137778 h 207961"/>
                  <a:gd name="connsiteX11" fmla="*/ 61919 w 88330"/>
                  <a:gd name="connsiteY11" fmla="*/ 92564 h 207961"/>
                  <a:gd name="connsiteX12" fmla="*/ 65435 w 88330"/>
                  <a:gd name="connsiteY12" fmla="*/ 69580 h 207961"/>
                  <a:gd name="connsiteX13" fmla="*/ 69454 w 88330"/>
                  <a:gd name="connsiteY13" fmla="*/ 53378 h 207961"/>
                  <a:gd name="connsiteX14" fmla="*/ 68575 w 88330"/>
                  <a:gd name="connsiteY14" fmla="*/ 50490 h 207961"/>
                  <a:gd name="connsiteX15" fmla="*/ 69831 w 88330"/>
                  <a:gd name="connsiteY15" fmla="*/ 51495 h 207961"/>
                  <a:gd name="connsiteX16" fmla="*/ 67947 w 88330"/>
                  <a:gd name="connsiteY16" fmla="*/ 49359 h 207961"/>
                  <a:gd name="connsiteX17" fmla="*/ 64682 w 88330"/>
                  <a:gd name="connsiteY17" fmla="*/ 45843 h 207961"/>
                  <a:gd name="connsiteX18" fmla="*/ 0 w 88330"/>
                  <a:gd name="connsiteY18" fmla="*/ 11430 h 207961"/>
                  <a:gd name="connsiteX19" fmla="*/ 24994 w 88330"/>
                  <a:gd name="connsiteY19" fmla="*/ 754 h 207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330" h="207961">
                    <a:moveTo>
                      <a:pt x="24994" y="754"/>
                    </a:moveTo>
                    <a:cubicBezTo>
                      <a:pt x="29012" y="126"/>
                      <a:pt x="33534" y="-627"/>
                      <a:pt x="37427" y="880"/>
                    </a:cubicBezTo>
                    <a:cubicBezTo>
                      <a:pt x="42828" y="2889"/>
                      <a:pt x="49610" y="9420"/>
                      <a:pt x="53629" y="13565"/>
                    </a:cubicBezTo>
                    <a:cubicBezTo>
                      <a:pt x="58402" y="18589"/>
                      <a:pt x="62170" y="24492"/>
                      <a:pt x="67444" y="29013"/>
                    </a:cubicBezTo>
                    <a:cubicBezTo>
                      <a:pt x="72468" y="33283"/>
                      <a:pt x="78622" y="35921"/>
                      <a:pt x="83395" y="40568"/>
                    </a:cubicBezTo>
                    <a:cubicBezTo>
                      <a:pt x="89298" y="46219"/>
                      <a:pt x="88921" y="53755"/>
                      <a:pt x="87289" y="61291"/>
                    </a:cubicBezTo>
                    <a:cubicBezTo>
                      <a:pt x="85028" y="71338"/>
                      <a:pt x="83646" y="81386"/>
                      <a:pt x="80632" y="91183"/>
                    </a:cubicBezTo>
                    <a:cubicBezTo>
                      <a:pt x="77995" y="99849"/>
                      <a:pt x="79879" y="115422"/>
                      <a:pt x="78120" y="124339"/>
                    </a:cubicBezTo>
                    <a:cubicBezTo>
                      <a:pt x="74980" y="140792"/>
                      <a:pt x="82767" y="199320"/>
                      <a:pt x="82642" y="199696"/>
                    </a:cubicBezTo>
                    <a:cubicBezTo>
                      <a:pt x="80632" y="203715"/>
                      <a:pt x="72468" y="208739"/>
                      <a:pt x="59406" y="207860"/>
                    </a:cubicBezTo>
                    <a:cubicBezTo>
                      <a:pt x="59658" y="203841"/>
                      <a:pt x="62421" y="145440"/>
                      <a:pt x="61542" y="137778"/>
                    </a:cubicBezTo>
                    <a:cubicBezTo>
                      <a:pt x="59783" y="122707"/>
                      <a:pt x="60286" y="107635"/>
                      <a:pt x="61919" y="92564"/>
                    </a:cubicBezTo>
                    <a:cubicBezTo>
                      <a:pt x="62797" y="85029"/>
                      <a:pt x="63300" y="76865"/>
                      <a:pt x="65435" y="69580"/>
                    </a:cubicBezTo>
                    <a:cubicBezTo>
                      <a:pt x="67068" y="64180"/>
                      <a:pt x="70207" y="59281"/>
                      <a:pt x="69454" y="53378"/>
                    </a:cubicBezTo>
                    <a:cubicBezTo>
                      <a:pt x="69329" y="52374"/>
                      <a:pt x="69077" y="51369"/>
                      <a:pt x="68575" y="50490"/>
                    </a:cubicBezTo>
                    <a:lnTo>
                      <a:pt x="69831" y="51495"/>
                    </a:lnTo>
                    <a:cubicBezTo>
                      <a:pt x="69203" y="50741"/>
                      <a:pt x="68575" y="50113"/>
                      <a:pt x="67947" y="49359"/>
                    </a:cubicBezTo>
                    <a:cubicBezTo>
                      <a:pt x="67068" y="47978"/>
                      <a:pt x="65937" y="46722"/>
                      <a:pt x="64682" y="45843"/>
                    </a:cubicBezTo>
                    <a:cubicBezTo>
                      <a:pt x="47475" y="28511"/>
                      <a:pt x="23738" y="18966"/>
                      <a:pt x="0" y="11430"/>
                    </a:cubicBezTo>
                    <a:cubicBezTo>
                      <a:pt x="5024" y="6657"/>
                      <a:pt x="14946" y="2261"/>
                      <a:pt x="24994" y="754"/>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7" name="Freeform: Shape 3916">
                <a:extLst>
                  <a:ext uri="{FF2B5EF4-FFF2-40B4-BE49-F238E27FC236}">
                    <a16:creationId xmlns:a16="http://schemas.microsoft.com/office/drawing/2014/main" id="{B6CC685D-0B95-4081-89EC-46F2D978A22B}"/>
                  </a:ext>
                </a:extLst>
              </p:cNvPr>
              <p:cNvSpPr/>
              <p:nvPr/>
            </p:nvSpPr>
            <p:spPr>
              <a:xfrm>
                <a:off x="4794943" y="4642990"/>
                <a:ext cx="42671" cy="29362"/>
              </a:xfrm>
              <a:custGeom>
                <a:avLst/>
                <a:gdLst>
                  <a:gd name="connsiteX0" fmla="*/ 1776 w 42671"/>
                  <a:gd name="connsiteY0" fmla="*/ 21952 h 29362"/>
                  <a:gd name="connsiteX1" fmla="*/ 3409 w 42671"/>
                  <a:gd name="connsiteY1" fmla="*/ 23333 h 29362"/>
                  <a:gd name="connsiteX2" fmla="*/ 9438 w 42671"/>
                  <a:gd name="connsiteY2" fmla="*/ 26850 h 29362"/>
                  <a:gd name="connsiteX3" fmla="*/ 14964 w 42671"/>
                  <a:gd name="connsiteY3" fmla="*/ 27855 h 29362"/>
                  <a:gd name="connsiteX4" fmla="*/ 30663 w 42671"/>
                  <a:gd name="connsiteY4" fmla="*/ 28232 h 29362"/>
                  <a:gd name="connsiteX5" fmla="*/ 40711 w 42671"/>
                  <a:gd name="connsiteY5" fmla="*/ 20194 h 29362"/>
                  <a:gd name="connsiteX6" fmla="*/ 42595 w 42671"/>
                  <a:gd name="connsiteY6" fmla="*/ 18310 h 29362"/>
                  <a:gd name="connsiteX7" fmla="*/ 29031 w 42671"/>
                  <a:gd name="connsiteY7" fmla="*/ 2485 h 29362"/>
                  <a:gd name="connsiteX8" fmla="*/ 9815 w 42671"/>
                  <a:gd name="connsiteY8" fmla="*/ 601 h 29362"/>
                  <a:gd name="connsiteX9" fmla="*/ 4540 w 42671"/>
                  <a:gd name="connsiteY9" fmla="*/ 9644 h 29362"/>
                  <a:gd name="connsiteX10" fmla="*/ 144 w 42671"/>
                  <a:gd name="connsiteY10" fmla="*/ 17682 h 29362"/>
                  <a:gd name="connsiteX11" fmla="*/ 1776 w 42671"/>
                  <a:gd name="connsiteY11" fmla="*/ 21952 h 2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671" h="29362">
                    <a:moveTo>
                      <a:pt x="1776" y="21952"/>
                    </a:moveTo>
                    <a:cubicBezTo>
                      <a:pt x="2279" y="22455"/>
                      <a:pt x="2907" y="22831"/>
                      <a:pt x="3409" y="23333"/>
                    </a:cubicBezTo>
                    <a:cubicBezTo>
                      <a:pt x="5293" y="24715"/>
                      <a:pt x="7177" y="26097"/>
                      <a:pt x="9438" y="26850"/>
                    </a:cubicBezTo>
                    <a:cubicBezTo>
                      <a:pt x="11196" y="27478"/>
                      <a:pt x="13080" y="27729"/>
                      <a:pt x="14964" y="27855"/>
                    </a:cubicBezTo>
                    <a:cubicBezTo>
                      <a:pt x="19360" y="28358"/>
                      <a:pt x="27021" y="30743"/>
                      <a:pt x="30663" y="28232"/>
                    </a:cubicBezTo>
                    <a:cubicBezTo>
                      <a:pt x="34180" y="25720"/>
                      <a:pt x="37571" y="23082"/>
                      <a:pt x="40711" y="20194"/>
                    </a:cubicBezTo>
                    <a:cubicBezTo>
                      <a:pt x="40962" y="19942"/>
                      <a:pt x="43097" y="18686"/>
                      <a:pt x="42595" y="18310"/>
                    </a:cubicBezTo>
                    <a:cubicBezTo>
                      <a:pt x="37069" y="13788"/>
                      <a:pt x="35310" y="5625"/>
                      <a:pt x="29031" y="2485"/>
                    </a:cubicBezTo>
                    <a:cubicBezTo>
                      <a:pt x="23630" y="-153"/>
                      <a:pt x="16722" y="-530"/>
                      <a:pt x="9815" y="601"/>
                    </a:cubicBezTo>
                    <a:cubicBezTo>
                      <a:pt x="7930" y="3615"/>
                      <a:pt x="6172" y="6629"/>
                      <a:pt x="4540" y="9644"/>
                    </a:cubicBezTo>
                    <a:cubicBezTo>
                      <a:pt x="3158" y="12030"/>
                      <a:pt x="1023" y="15044"/>
                      <a:pt x="144" y="17682"/>
                    </a:cubicBezTo>
                    <a:cubicBezTo>
                      <a:pt x="-358" y="19440"/>
                      <a:pt x="520" y="20822"/>
                      <a:pt x="1776" y="21952"/>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8" name="Freeform: Shape 3917">
                <a:extLst>
                  <a:ext uri="{FF2B5EF4-FFF2-40B4-BE49-F238E27FC236}">
                    <a16:creationId xmlns:a16="http://schemas.microsoft.com/office/drawing/2014/main" id="{C711CDEE-EB31-4B4B-A733-E89C55785A23}"/>
                  </a:ext>
                </a:extLst>
              </p:cNvPr>
              <p:cNvSpPr/>
              <p:nvPr/>
            </p:nvSpPr>
            <p:spPr>
              <a:xfrm>
                <a:off x="4820790" y="4644471"/>
                <a:ext cx="16931" cy="25585"/>
              </a:xfrm>
              <a:custGeom>
                <a:avLst/>
                <a:gdLst>
                  <a:gd name="connsiteX0" fmla="*/ 923 w 16931"/>
                  <a:gd name="connsiteY0" fmla="*/ 13439 h 25585"/>
                  <a:gd name="connsiteX1" fmla="*/ 546 w 16931"/>
                  <a:gd name="connsiteY1" fmla="*/ 879 h 25585"/>
                  <a:gd name="connsiteX2" fmla="*/ 672 w 16931"/>
                  <a:gd name="connsiteY2" fmla="*/ 0 h 25585"/>
                  <a:gd name="connsiteX3" fmla="*/ 3309 w 16931"/>
                  <a:gd name="connsiteY3" fmla="*/ 879 h 25585"/>
                  <a:gd name="connsiteX4" fmla="*/ 16245 w 16931"/>
                  <a:gd name="connsiteY4" fmla="*/ 18337 h 25585"/>
                  <a:gd name="connsiteX5" fmla="*/ 16874 w 16931"/>
                  <a:gd name="connsiteY5" fmla="*/ 16704 h 25585"/>
                  <a:gd name="connsiteX6" fmla="*/ 10217 w 16931"/>
                  <a:gd name="connsiteY6" fmla="*/ 22482 h 25585"/>
                  <a:gd name="connsiteX7" fmla="*/ 1928 w 16931"/>
                  <a:gd name="connsiteY7" fmla="*/ 25245 h 25585"/>
                  <a:gd name="connsiteX8" fmla="*/ 923 w 16931"/>
                  <a:gd name="connsiteY8" fmla="*/ 13439 h 25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31" h="25585">
                    <a:moveTo>
                      <a:pt x="923" y="13439"/>
                    </a:moveTo>
                    <a:cubicBezTo>
                      <a:pt x="923" y="9294"/>
                      <a:pt x="295" y="5024"/>
                      <a:pt x="546" y="879"/>
                    </a:cubicBezTo>
                    <a:cubicBezTo>
                      <a:pt x="546" y="628"/>
                      <a:pt x="672" y="251"/>
                      <a:pt x="672" y="0"/>
                    </a:cubicBezTo>
                    <a:cubicBezTo>
                      <a:pt x="1551" y="251"/>
                      <a:pt x="2430" y="502"/>
                      <a:pt x="3309" y="879"/>
                    </a:cubicBezTo>
                    <a:cubicBezTo>
                      <a:pt x="9589" y="4019"/>
                      <a:pt x="10719" y="13816"/>
                      <a:pt x="16245" y="18337"/>
                    </a:cubicBezTo>
                    <a:cubicBezTo>
                      <a:pt x="16497" y="18588"/>
                      <a:pt x="17125" y="16453"/>
                      <a:pt x="16874" y="16704"/>
                    </a:cubicBezTo>
                    <a:cubicBezTo>
                      <a:pt x="14738" y="18714"/>
                      <a:pt x="12478" y="20723"/>
                      <a:pt x="10217" y="22482"/>
                    </a:cubicBezTo>
                    <a:cubicBezTo>
                      <a:pt x="8208" y="23989"/>
                      <a:pt x="4565" y="26501"/>
                      <a:pt x="1928" y="25245"/>
                    </a:cubicBezTo>
                    <a:cubicBezTo>
                      <a:pt x="-1715" y="23738"/>
                      <a:pt x="923" y="16579"/>
                      <a:pt x="923" y="13439"/>
                    </a:cubicBezTo>
                    <a:close/>
                  </a:path>
                </a:pathLst>
              </a:custGeom>
              <a:solidFill>
                <a:srgbClr val="8954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9" name="Freeform: Shape 3918">
                <a:extLst>
                  <a:ext uri="{FF2B5EF4-FFF2-40B4-BE49-F238E27FC236}">
                    <a16:creationId xmlns:a16="http://schemas.microsoft.com/office/drawing/2014/main" id="{480CFD92-14FF-4A36-810B-467467ADE513}"/>
                  </a:ext>
                </a:extLst>
              </p:cNvPr>
              <p:cNvSpPr/>
              <p:nvPr/>
            </p:nvSpPr>
            <p:spPr>
              <a:xfrm>
                <a:off x="4792328" y="4632559"/>
                <a:ext cx="44582" cy="38903"/>
              </a:xfrm>
              <a:custGeom>
                <a:avLst/>
                <a:gdLst>
                  <a:gd name="connsiteX0" fmla="*/ 1252 w 44582"/>
                  <a:gd name="connsiteY0" fmla="*/ 14926 h 38903"/>
                  <a:gd name="connsiteX1" fmla="*/ 624 w 44582"/>
                  <a:gd name="connsiteY1" fmla="*/ 3748 h 38903"/>
                  <a:gd name="connsiteX2" fmla="*/ 44582 w 44582"/>
                  <a:gd name="connsiteY2" fmla="*/ 8018 h 38903"/>
                  <a:gd name="connsiteX3" fmla="*/ 44456 w 44582"/>
                  <a:gd name="connsiteY3" fmla="*/ 20703 h 38903"/>
                  <a:gd name="connsiteX4" fmla="*/ 42698 w 44582"/>
                  <a:gd name="connsiteY4" fmla="*/ 22336 h 38903"/>
                  <a:gd name="connsiteX5" fmla="*/ 37423 w 44582"/>
                  <a:gd name="connsiteY5" fmla="*/ 26355 h 38903"/>
                  <a:gd name="connsiteX6" fmla="*/ 33906 w 44582"/>
                  <a:gd name="connsiteY6" fmla="*/ 28615 h 38903"/>
                  <a:gd name="connsiteX7" fmla="*/ 30139 w 44582"/>
                  <a:gd name="connsiteY7" fmla="*/ 30625 h 38903"/>
                  <a:gd name="connsiteX8" fmla="*/ 27878 w 44582"/>
                  <a:gd name="connsiteY8" fmla="*/ 37658 h 38903"/>
                  <a:gd name="connsiteX9" fmla="*/ 16323 w 44582"/>
                  <a:gd name="connsiteY9" fmla="*/ 38161 h 38903"/>
                  <a:gd name="connsiteX10" fmla="*/ 3764 w 44582"/>
                  <a:gd name="connsiteY10" fmla="*/ 33639 h 38903"/>
                  <a:gd name="connsiteX11" fmla="*/ 498 w 44582"/>
                  <a:gd name="connsiteY11" fmla="*/ 27108 h 38903"/>
                  <a:gd name="connsiteX12" fmla="*/ 1252 w 44582"/>
                  <a:gd name="connsiteY12" fmla="*/ 14926 h 3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582" h="38903">
                    <a:moveTo>
                      <a:pt x="1252" y="14926"/>
                    </a:moveTo>
                    <a:cubicBezTo>
                      <a:pt x="1001" y="11158"/>
                      <a:pt x="875" y="7515"/>
                      <a:pt x="624" y="3748"/>
                    </a:cubicBezTo>
                    <a:cubicBezTo>
                      <a:pt x="624" y="3748"/>
                      <a:pt x="41567" y="-7054"/>
                      <a:pt x="44582" y="8018"/>
                    </a:cubicBezTo>
                    <a:cubicBezTo>
                      <a:pt x="44582" y="8018"/>
                      <a:pt x="44456" y="20703"/>
                      <a:pt x="44456" y="20703"/>
                    </a:cubicBezTo>
                    <a:cubicBezTo>
                      <a:pt x="44456" y="21080"/>
                      <a:pt x="42949" y="22084"/>
                      <a:pt x="42698" y="22336"/>
                    </a:cubicBezTo>
                    <a:cubicBezTo>
                      <a:pt x="41065" y="23843"/>
                      <a:pt x="39307" y="25099"/>
                      <a:pt x="37423" y="26355"/>
                    </a:cubicBezTo>
                    <a:cubicBezTo>
                      <a:pt x="36293" y="27108"/>
                      <a:pt x="35037" y="27862"/>
                      <a:pt x="33906" y="28615"/>
                    </a:cubicBezTo>
                    <a:cubicBezTo>
                      <a:pt x="32776" y="29243"/>
                      <a:pt x="31143" y="29746"/>
                      <a:pt x="30139" y="30625"/>
                    </a:cubicBezTo>
                    <a:cubicBezTo>
                      <a:pt x="28129" y="32258"/>
                      <a:pt x="30139" y="36026"/>
                      <a:pt x="27878" y="37658"/>
                    </a:cubicBezTo>
                    <a:cubicBezTo>
                      <a:pt x="25115" y="39668"/>
                      <a:pt x="19463" y="38789"/>
                      <a:pt x="16323" y="38161"/>
                    </a:cubicBezTo>
                    <a:cubicBezTo>
                      <a:pt x="11927" y="37281"/>
                      <a:pt x="7908" y="35398"/>
                      <a:pt x="3764" y="33639"/>
                    </a:cubicBezTo>
                    <a:cubicBezTo>
                      <a:pt x="372" y="32132"/>
                      <a:pt x="-758" y="30751"/>
                      <a:pt x="498" y="27108"/>
                    </a:cubicBezTo>
                    <a:cubicBezTo>
                      <a:pt x="1880" y="23341"/>
                      <a:pt x="1503" y="18945"/>
                      <a:pt x="1252" y="14926"/>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0" name="Freeform: Shape 3919">
                <a:extLst>
                  <a:ext uri="{FF2B5EF4-FFF2-40B4-BE49-F238E27FC236}">
                    <a16:creationId xmlns:a16="http://schemas.microsoft.com/office/drawing/2014/main" id="{5EBC7E8C-B4E9-47AA-873D-70FB75D77DCB}"/>
                  </a:ext>
                </a:extLst>
              </p:cNvPr>
              <p:cNvSpPr/>
              <p:nvPr/>
            </p:nvSpPr>
            <p:spPr>
              <a:xfrm>
                <a:off x="4821152" y="4633670"/>
                <a:ext cx="16386" cy="33031"/>
              </a:xfrm>
              <a:custGeom>
                <a:avLst/>
                <a:gdLst>
                  <a:gd name="connsiteX0" fmla="*/ 15759 w 16386"/>
                  <a:gd name="connsiteY0" fmla="*/ 6908 h 33031"/>
                  <a:gd name="connsiteX1" fmla="*/ 16387 w 16386"/>
                  <a:gd name="connsiteY1" fmla="*/ 27631 h 33031"/>
                  <a:gd name="connsiteX2" fmla="*/ 436 w 16386"/>
                  <a:gd name="connsiteY2" fmla="*/ 33031 h 33031"/>
                  <a:gd name="connsiteX3" fmla="*/ 436 w 16386"/>
                  <a:gd name="connsiteY3" fmla="*/ 24365 h 33031"/>
                  <a:gd name="connsiteX4" fmla="*/ 59 w 16386"/>
                  <a:gd name="connsiteY4" fmla="*/ 11806 h 33031"/>
                  <a:gd name="connsiteX5" fmla="*/ 3450 w 16386"/>
                  <a:gd name="connsiteY5" fmla="*/ 0 h 33031"/>
                  <a:gd name="connsiteX6" fmla="*/ 15759 w 16386"/>
                  <a:gd name="connsiteY6" fmla="*/ 6908 h 3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86" h="33031">
                    <a:moveTo>
                      <a:pt x="15759" y="6908"/>
                    </a:moveTo>
                    <a:lnTo>
                      <a:pt x="16387" y="27631"/>
                    </a:lnTo>
                    <a:cubicBezTo>
                      <a:pt x="16387" y="27631"/>
                      <a:pt x="9981" y="28636"/>
                      <a:pt x="436" y="33031"/>
                    </a:cubicBezTo>
                    <a:cubicBezTo>
                      <a:pt x="687" y="31022"/>
                      <a:pt x="436" y="26249"/>
                      <a:pt x="436" y="24365"/>
                    </a:cubicBezTo>
                    <a:cubicBezTo>
                      <a:pt x="436" y="20221"/>
                      <a:pt x="-192" y="15950"/>
                      <a:pt x="59" y="11806"/>
                    </a:cubicBezTo>
                    <a:cubicBezTo>
                      <a:pt x="310" y="7661"/>
                      <a:pt x="2069" y="3893"/>
                      <a:pt x="3450" y="0"/>
                    </a:cubicBezTo>
                    <a:cubicBezTo>
                      <a:pt x="9730" y="0"/>
                      <a:pt x="14754" y="1632"/>
                      <a:pt x="15759" y="6908"/>
                    </a:cubicBezTo>
                    <a:close/>
                  </a:path>
                </a:pathLst>
              </a:custGeom>
              <a:solidFill>
                <a:srgbClr val="8954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1" name="Freeform: Shape 3920">
                <a:extLst>
                  <a:ext uri="{FF2B5EF4-FFF2-40B4-BE49-F238E27FC236}">
                    <a16:creationId xmlns:a16="http://schemas.microsoft.com/office/drawing/2014/main" id="{9323A821-545F-4F46-9139-CBB601EDD83C}"/>
                  </a:ext>
                </a:extLst>
              </p:cNvPr>
              <p:cNvSpPr/>
              <p:nvPr/>
            </p:nvSpPr>
            <p:spPr>
              <a:xfrm>
                <a:off x="4780941" y="4582765"/>
                <a:ext cx="56367" cy="71797"/>
              </a:xfrm>
              <a:custGeom>
                <a:avLst/>
                <a:gdLst>
                  <a:gd name="connsiteX0" fmla="*/ 11258 w 56367"/>
                  <a:gd name="connsiteY0" fmla="*/ 61706 h 71797"/>
                  <a:gd name="connsiteX1" fmla="*/ 21305 w 56367"/>
                  <a:gd name="connsiteY1" fmla="*/ 68990 h 71797"/>
                  <a:gd name="connsiteX2" fmla="*/ 35748 w 56367"/>
                  <a:gd name="connsiteY2" fmla="*/ 71753 h 71797"/>
                  <a:gd name="connsiteX3" fmla="*/ 40395 w 56367"/>
                  <a:gd name="connsiteY3" fmla="*/ 62711 h 71797"/>
                  <a:gd name="connsiteX4" fmla="*/ 55718 w 56367"/>
                  <a:gd name="connsiteY4" fmla="*/ 22269 h 71797"/>
                  <a:gd name="connsiteX5" fmla="*/ 54336 w 56367"/>
                  <a:gd name="connsiteY5" fmla="*/ 19255 h 71797"/>
                  <a:gd name="connsiteX6" fmla="*/ 52829 w 56367"/>
                  <a:gd name="connsiteY6" fmla="*/ 16994 h 71797"/>
                  <a:gd name="connsiteX7" fmla="*/ 19924 w 56367"/>
                  <a:gd name="connsiteY7" fmla="*/ 39 h 71797"/>
                  <a:gd name="connsiteX8" fmla="*/ 5229 w 56367"/>
                  <a:gd name="connsiteY8" fmla="*/ 10087 h 71797"/>
                  <a:gd name="connsiteX9" fmla="*/ 1084 w 56367"/>
                  <a:gd name="connsiteY9" fmla="*/ 18501 h 71797"/>
                  <a:gd name="connsiteX10" fmla="*/ 708 w 56367"/>
                  <a:gd name="connsiteY10" fmla="*/ 19757 h 71797"/>
                  <a:gd name="connsiteX11" fmla="*/ 1210 w 56367"/>
                  <a:gd name="connsiteY11" fmla="*/ 40480 h 71797"/>
                  <a:gd name="connsiteX12" fmla="*/ 7992 w 56367"/>
                  <a:gd name="connsiteY12" fmla="*/ 58943 h 71797"/>
                  <a:gd name="connsiteX13" fmla="*/ 11006 w 56367"/>
                  <a:gd name="connsiteY13" fmla="*/ 61706 h 71797"/>
                  <a:gd name="connsiteX14" fmla="*/ 11258 w 56367"/>
                  <a:gd name="connsiteY14" fmla="*/ 61706 h 7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367" h="71797">
                    <a:moveTo>
                      <a:pt x="11258" y="61706"/>
                    </a:moveTo>
                    <a:cubicBezTo>
                      <a:pt x="14272" y="64469"/>
                      <a:pt x="17412" y="67358"/>
                      <a:pt x="21305" y="68990"/>
                    </a:cubicBezTo>
                    <a:cubicBezTo>
                      <a:pt x="24571" y="70372"/>
                      <a:pt x="32106" y="71377"/>
                      <a:pt x="35748" y="71753"/>
                    </a:cubicBezTo>
                    <a:cubicBezTo>
                      <a:pt x="41149" y="72382"/>
                      <a:pt x="35874" y="66102"/>
                      <a:pt x="40395" y="62711"/>
                    </a:cubicBezTo>
                    <a:cubicBezTo>
                      <a:pt x="40772" y="62460"/>
                      <a:pt x="60114" y="35708"/>
                      <a:pt x="55718" y="22269"/>
                    </a:cubicBezTo>
                    <a:cubicBezTo>
                      <a:pt x="55341" y="21139"/>
                      <a:pt x="54964" y="20260"/>
                      <a:pt x="54336" y="19255"/>
                    </a:cubicBezTo>
                    <a:cubicBezTo>
                      <a:pt x="53960" y="18501"/>
                      <a:pt x="53457" y="17622"/>
                      <a:pt x="52829" y="16994"/>
                    </a:cubicBezTo>
                    <a:cubicBezTo>
                      <a:pt x="45545" y="6444"/>
                      <a:pt x="28464" y="-589"/>
                      <a:pt x="19924" y="39"/>
                    </a:cubicBezTo>
                    <a:cubicBezTo>
                      <a:pt x="13392" y="541"/>
                      <a:pt x="8620" y="4812"/>
                      <a:pt x="5229" y="10087"/>
                    </a:cubicBezTo>
                    <a:cubicBezTo>
                      <a:pt x="3470" y="12724"/>
                      <a:pt x="2089" y="15613"/>
                      <a:pt x="1084" y="18501"/>
                    </a:cubicBezTo>
                    <a:cubicBezTo>
                      <a:pt x="959" y="18878"/>
                      <a:pt x="833" y="19255"/>
                      <a:pt x="708" y="19757"/>
                    </a:cubicBezTo>
                    <a:cubicBezTo>
                      <a:pt x="-800" y="26288"/>
                      <a:pt x="456" y="33824"/>
                      <a:pt x="1210" y="40480"/>
                    </a:cubicBezTo>
                    <a:cubicBezTo>
                      <a:pt x="2089" y="47765"/>
                      <a:pt x="2215" y="53668"/>
                      <a:pt x="7992" y="58943"/>
                    </a:cubicBezTo>
                    <a:cubicBezTo>
                      <a:pt x="8997" y="59822"/>
                      <a:pt x="10002" y="60701"/>
                      <a:pt x="11006" y="61706"/>
                    </a:cubicBezTo>
                    <a:cubicBezTo>
                      <a:pt x="11132" y="61455"/>
                      <a:pt x="11132" y="61580"/>
                      <a:pt x="11258" y="61706"/>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2" name="Freeform: Shape 3921">
                <a:extLst>
                  <a:ext uri="{FF2B5EF4-FFF2-40B4-BE49-F238E27FC236}">
                    <a16:creationId xmlns:a16="http://schemas.microsoft.com/office/drawing/2014/main" id="{7451DDC1-786F-4EBB-B523-ED29D18C2CB4}"/>
                  </a:ext>
                </a:extLst>
              </p:cNvPr>
              <p:cNvSpPr/>
              <p:nvPr/>
            </p:nvSpPr>
            <p:spPr>
              <a:xfrm>
                <a:off x="4783281" y="4583158"/>
                <a:ext cx="69497" cy="68094"/>
              </a:xfrm>
              <a:custGeom>
                <a:avLst/>
                <a:gdLst>
                  <a:gd name="connsiteX0" fmla="*/ 0 w 69497"/>
                  <a:gd name="connsiteY0" fmla="*/ 13084 h 68094"/>
                  <a:gd name="connsiteX1" fmla="*/ 251 w 69497"/>
                  <a:gd name="connsiteY1" fmla="*/ 13335 h 68094"/>
                  <a:gd name="connsiteX2" fmla="*/ 5778 w 69497"/>
                  <a:gd name="connsiteY2" fmla="*/ 15094 h 68094"/>
                  <a:gd name="connsiteX3" fmla="*/ 21854 w 69497"/>
                  <a:gd name="connsiteY3" fmla="*/ 16098 h 68094"/>
                  <a:gd name="connsiteX4" fmla="*/ 29515 w 69497"/>
                  <a:gd name="connsiteY4" fmla="*/ 16224 h 68094"/>
                  <a:gd name="connsiteX5" fmla="*/ 33911 w 69497"/>
                  <a:gd name="connsiteY5" fmla="*/ 20745 h 68094"/>
                  <a:gd name="connsiteX6" fmla="*/ 35041 w 69497"/>
                  <a:gd name="connsiteY6" fmla="*/ 23634 h 68094"/>
                  <a:gd name="connsiteX7" fmla="*/ 33157 w 69497"/>
                  <a:gd name="connsiteY7" fmla="*/ 33807 h 68094"/>
                  <a:gd name="connsiteX8" fmla="*/ 37804 w 69497"/>
                  <a:gd name="connsiteY8" fmla="*/ 45362 h 68094"/>
                  <a:gd name="connsiteX9" fmla="*/ 39563 w 69497"/>
                  <a:gd name="connsiteY9" fmla="*/ 53526 h 68094"/>
                  <a:gd name="connsiteX10" fmla="*/ 38683 w 69497"/>
                  <a:gd name="connsiteY10" fmla="*/ 65959 h 68094"/>
                  <a:gd name="connsiteX11" fmla="*/ 48857 w 69497"/>
                  <a:gd name="connsiteY11" fmla="*/ 68095 h 68094"/>
                  <a:gd name="connsiteX12" fmla="*/ 59909 w 69497"/>
                  <a:gd name="connsiteY12" fmla="*/ 64201 h 68094"/>
                  <a:gd name="connsiteX13" fmla="*/ 63928 w 69497"/>
                  <a:gd name="connsiteY13" fmla="*/ 48879 h 68094"/>
                  <a:gd name="connsiteX14" fmla="*/ 68952 w 69497"/>
                  <a:gd name="connsiteY14" fmla="*/ 11828 h 68094"/>
                  <a:gd name="connsiteX15" fmla="*/ 68073 w 69497"/>
                  <a:gd name="connsiteY15" fmla="*/ 8939 h 68094"/>
                  <a:gd name="connsiteX16" fmla="*/ 65184 w 69497"/>
                  <a:gd name="connsiteY16" fmla="*/ 7055 h 68094"/>
                  <a:gd name="connsiteX17" fmla="*/ 49736 w 69497"/>
                  <a:gd name="connsiteY17" fmla="*/ 5799 h 68094"/>
                  <a:gd name="connsiteX18" fmla="*/ 36800 w 69497"/>
                  <a:gd name="connsiteY18" fmla="*/ 1529 h 68094"/>
                  <a:gd name="connsiteX19" fmla="*/ 25621 w 69497"/>
                  <a:gd name="connsiteY19" fmla="*/ 22 h 68094"/>
                  <a:gd name="connsiteX20" fmla="*/ 10801 w 69497"/>
                  <a:gd name="connsiteY20" fmla="*/ 1906 h 68094"/>
                  <a:gd name="connsiteX21" fmla="*/ 4522 w 69497"/>
                  <a:gd name="connsiteY21" fmla="*/ 3539 h 68094"/>
                  <a:gd name="connsiteX22" fmla="*/ 377 w 69497"/>
                  <a:gd name="connsiteY22" fmla="*/ 11954 h 68094"/>
                  <a:gd name="connsiteX23" fmla="*/ 0 w 69497"/>
                  <a:gd name="connsiteY23" fmla="*/ 13084 h 6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497" h="68094">
                    <a:moveTo>
                      <a:pt x="0" y="13084"/>
                    </a:moveTo>
                    <a:cubicBezTo>
                      <a:pt x="126" y="13210"/>
                      <a:pt x="126" y="13210"/>
                      <a:pt x="251" y="13335"/>
                    </a:cubicBezTo>
                    <a:cubicBezTo>
                      <a:pt x="1884" y="14340"/>
                      <a:pt x="3893" y="14717"/>
                      <a:pt x="5778" y="15094"/>
                    </a:cubicBezTo>
                    <a:cubicBezTo>
                      <a:pt x="11178" y="15847"/>
                      <a:pt x="16579" y="16601"/>
                      <a:pt x="21854" y="16098"/>
                    </a:cubicBezTo>
                    <a:cubicBezTo>
                      <a:pt x="24114" y="15973"/>
                      <a:pt x="27380" y="14968"/>
                      <a:pt x="29515" y="16224"/>
                    </a:cubicBezTo>
                    <a:cubicBezTo>
                      <a:pt x="31148" y="17229"/>
                      <a:pt x="33031" y="18987"/>
                      <a:pt x="33911" y="20745"/>
                    </a:cubicBezTo>
                    <a:cubicBezTo>
                      <a:pt x="34413" y="21624"/>
                      <a:pt x="34664" y="22629"/>
                      <a:pt x="35041" y="23634"/>
                    </a:cubicBezTo>
                    <a:cubicBezTo>
                      <a:pt x="36171" y="27151"/>
                      <a:pt x="33283" y="30165"/>
                      <a:pt x="33157" y="33807"/>
                    </a:cubicBezTo>
                    <a:cubicBezTo>
                      <a:pt x="33031" y="37450"/>
                      <a:pt x="37678" y="41720"/>
                      <a:pt x="37804" y="45362"/>
                    </a:cubicBezTo>
                    <a:cubicBezTo>
                      <a:pt x="37930" y="48251"/>
                      <a:pt x="38934" y="50637"/>
                      <a:pt x="39563" y="53526"/>
                    </a:cubicBezTo>
                    <a:cubicBezTo>
                      <a:pt x="40442" y="57545"/>
                      <a:pt x="39814" y="61815"/>
                      <a:pt x="38683" y="65959"/>
                    </a:cubicBezTo>
                    <a:cubicBezTo>
                      <a:pt x="39688" y="62443"/>
                      <a:pt x="46596" y="68095"/>
                      <a:pt x="48857" y="68095"/>
                    </a:cubicBezTo>
                    <a:cubicBezTo>
                      <a:pt x="52876" y="67969"/>
                      <a:pt x="57020" y="67090"/>
                      <a:pt x="59909" y="64201"/>
                    </a:cubicBezTo>
                    <a:cubicBezTo>
                      <a:pt x="61919" y="62192"/>
                      <a:pt x="62923" y="51516"/>
                      <a:pt x="63928" y="48879"/>
                    </a:cubicBezTo>
                    <a:cubicBezTo>
                      <a:pt x="68449" y="35817"/>
                      <a:pt x="70585" y="25518"/>
                      <a:pt x="68952" y="11828"/>
                    </a:cubicBezTo>
                    <a:cubicBezTo>
                      <a:pt x="68826" y="10824"/>
                      <a:pt x="68700" y="9819"/>
                      <a:pt x="68073" y="8939"/>
                    </a:cubicBezTo>
                    <a:cubicBezTo>
                      <a:pt x="67445" y="7935"/>
                      <a:pt x="66314" y="7432"/>
                      <a:pt x="65184" y="7055"/>
                    </a:cubicBezTo>
                    <a:cubicBezTo>
                      <a:pt x="59909" y="5046"/>
                      <a:pt x="55262" y="5423"/>
                      <a:pt x="49736" y="5799"/>
                    </a:cubicBezTo>
                    <a:cubicBezTo>
                      <a:pt x="45340" y="6051"/>
                      <a:pt x="41321" y="2660"/>
                      <a:pt x="36800" y="1529"/>
                    </a:cubicBezTo>
                    <a:cubicBezTo>
                      <a:pt x="33157" y="650"/>
                      <a:pt x="29389" y="148"/>
                      <a:pt x="25621" y="22"/>
                    </a:cubicBezTo>
                    <a:cubicBezTo>
                      <a:pt x="20723" y="-103"/>
                      <a:pt x="15448" y="274"/>
                      <a:pt x="10801" y="1906"/>
                    </a:cubicBezTo>
                    <a:cubicBezTo>
                      <a:pt x="9294" y="2534"/>
                      <a:pt x="6782" y="2911"/>
                      <a:pt x="4522" y="3539"/>
                    </a:cubicBezTo>
                    <a:cubicBezTo>
                      <a:pt x="2763" y="6177"/>
                      <a:pt x="1382" y="9065"/>
                      <a:pt x="377" y="11954"/>
                    </a:cubicBezTo>
                    <a:cubicBezTo>
                      <a:pt x="126" y="12205"/>
                      <a:pt x="0" y="12707"/>
                      <a:pt x="0" y="13084"/>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3" name="Freeform: Shape 3922">
                <a:extLst>
                  <a:ext uri="{FF2B5EF4-FFF2-40B4-BE49-F238E27FC236}">
                    <a16:creationId xmlns:a16="http://schemas.microsoft.com/office/drawing/2014/main" id="{03F6C723-8BB9-4ADC-B342-8AC1831F9F4D}"/>
                  </a:ext>
                </a:extLst>
              </p:cNvPr>
              <p:cNvSpPr/>
              <p:nvPr/>
            </p:nvSpPr>
            <p:spPr>
              <a:xfrm>
                <a:off x="4780413" y="4557565"/>
                <a:ext cx="73835" cy="94073"/>
              </a:xfrm>
              <a:custGeom>
                <a:avLst/>
                <a:gdLst>
                  <a:gd name="connsiteX0" fmla="*/ 17312 w 73835"/>
                  <a:gd name="connsiteY0" fmla="*/ 90548 h 94073"/>
                  <a:gd name="connsiteX1" fmla="*/ 41677 w 73835"/>
                  <a:gd name="connsiteY1" fmla="*/ 92934 h 94073"/>
                  <a:gd name="connsiteX2" fmla="*/ 43184 w 73835"/>
                  <a:gd name="connsiteY2" fmla="*/ 78490 h 94073"/>
                  <a:gd name="connsiteX3" fmla="*/ 39291 w 73835"/>
                  <a:gd name="connsiteY3" fmla="*/ 60530 h 94073"/>
                  <a:gd name="connsiteX4" fmla="*/ 45319 w 73835"/>
                  <a:gd name="connsiteY4" fmla="*/ 52995 h 94073"/>
                  <a:gd name="connsiteX5" fmla="*/ 53860 w 73835"/>
                  <a:gd name="connsiteY5" fmla="*/ 60279 h 94073"/>
                  <a:gd name="connsiteX6" fmla="*/ 52478 w 73835"/>
                  <a:gd name="connsiteY6" fmla="*/ 77486 h 94073"/>
                  <a:gd name="connsiteX7" fmla="*/ 60642 w 73835"/>
                  <a:gd name="connsiteY7" fmla="*/ 74848 h 94073"/>
                  <a:gd name="connsiteX8" fmla="*/ 61144 w 73835"/>
                  <a:gd name="connsiteY8" fmla="*/ 74472 h 94073"/>
                  <a:gd name="connsiteX9" fmla="*/ 61395 w 73835"/>
                  <a:gd name="connsiteY9" fmla="*/ 73718 h 94073"/>
                  <a:gd name="connsiteX10" fmla="*/ 62275 w 73835"/>
                  <a:gd name="connsiteY10" fmla="*/ 62163 h 94073"/>
                  <a:gd name="connsiteX11" fmla="*/ 64661 w 73835"/>
                  <a:gd name="connsiteY11" fmla="*/ 55381 h 94073"/>
                  <a:gd name="connsiteX12" fmla="*/ 72574 w 73835"/>
                  <a:gd name="connsiteY12" fmla="*/ 37295 h 94073"/>
                  <a:gd name="connsiteX13" fmla="*/ 70815 w 73835"/>
                  <a:gd name="connsiteY13" fmla="*/ 13809 h 94073"/>
                  <a:gd name="connsiteX14" fmla="*/ 41049 w 73835"/>
                  <a:gd name="connsiteY14" fmla="*/ 119 h 94073"/>
                  <a:gd name="connsiteX15" fmla="*/ 9274 w 73835"/>
                  <a:gd name="connsiteY15" fmla="*/ 14312 h 94073"/>
                  <a:gd name="connsiteX16" fmla="*/ 105 w 73835"/>
                  <a:gd name="connsiteY16" fmla="*/ 41440 h 94073"/>
                  <a:gd name="connsiteX17" fmla="*/ 2115 w 73835"/>
                  <a:gd name="connsiteY17" fmla="*/ 67438 h 94073"/>
                  <a:gd name="connsiteX18" fmla="*/ 4752 w 73835"/>
                  <a:gd name="connsiteY18" fmla="*/ 76983 h 94073"/>
                  <a:gd name="connsiteX19" fmla="*/ 17312 w 73835"/>
                  <a:gd name="connsiteY19" fmla="*/ 90548 h 94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835" h="94073">
                    <a:moveTo>
                      <a:pt x="17312" y="90548"/>
                    </a:moveTo>
                    <a:cubicBezTo>
                      <a:pt x="24973" y="93688"/>
                      <a:pt x="33639" y="95320"/>
                      <a:pt x="41677" y="92934"/>
                    </a:cubicBezTo>
                    <a:cubicBezTo>
                      <a:pt x="44063" y="87910"/>
                      <a:pt x="44189" y="84017"/>
                      <a:pt x="43184" y="78490"/>
                    </a:cubicBezTo>
                    <a:cubicBezTo>
                      <a:pt x="42179" y="72336"/>
                      <a:pt x="38537" y="66936"/>
                      <a:pt x="39291" y="60530"/>
                    </a:cubicBezTo>
                    <a:cubicBezTo>
                      <a:pt x="39668" y="57265"/>
                      <a:pt x="41552" y="53497"/>
                      <a:pt x="45319" y="52995"/>
                    </a:cubicBezTo>
                    <a:cubicBezTo>
                      <a:pt x="50971" y="52367"/>
                      <a:pt x="53609" y="54251"/>
                      <a:pt x="53860" y="60279"/>
                    </a:cubicBezTo>
                    <a:cubicBezTo>
                      <a:pt x="53985" y="62540"/>
                      <a:pt x="53232" y="77235"/>
                      <a:pt x="52478" y="77486"/>
                    </a:cubicBezTo>
                    <a:cubicBezTo>
                      <a:pt x="55241" y="76481"/>
                      <a:pt x="57879" y="76104"/>
                      <a:pt x="60642" y="74848"/>
                    </a:cubicBezTo>
                    <a:cubicBezTo>
                      <a:pt x="60768" y="74723"/>
                      <a:pt x="61019" y="74723"/>
                      <a:pt x="61144" y="74472"/>
                    </a:cubicBezTo>
                    <a:cubicBezTo>
                      <a:pt x="61270" y="74220"/>
                      <a:pt x="61395" y="73969"/>
                      <a:pt x="61395" y="73718"/>
                    </a:cubicBezTo>
                    <a:cubicBezTo>
                      <a:pt x="61647" y="69825"/>
                      <a:pt x="61772" y="65931"/>
                      <a:pt x="62275" y="62163"/>
                    </a:cubicBezTo>
                    <a:cubicBezTo>
                      <a:pt x="62651" y="59777"/>
                      <a:pt x="63908" y="57642"/>
                      <a:pt x="64661" y="55381"/>
                    </a:cubicBezTo>
                    <a:cubicBezTo>
                      <a:pt x="66671" y="49101"/>
                      <a:pt x="71192" y="43701"/>
                      <a:pt x="72574" y="37295"/>
                    </a:cubicBezTo>
                    <a:cubicBezTo>
                      <a:pt x="74206" y="30011"/>
                      <a:pt x="74834" y="19964"/>
                      <a:pt x="70815" y="13809"/>
                    </a:cubicBezTo>
                    <a:cubicBezTo>
                      <a:pt x="64787" y="4515"/>
                      <a:pt x="52227" y="-885"/>
                      <a:pt x="41049" y="119"/>
                    </a:cubicBezTo>
                    <a:cubicBezTo>
                      <a:pt x="30625" y="999"/>
                      <a:pt x="20326" y="3134"/>
                      <a:pt x="9274" y="14312"/>
                    </a:cubicBezTo>
                    <a:cubicBezTo>
                      <a:pt x="2366" y="21219"/>
                      <a:pt x="733" y="32021"/>
                      <a:pt x="105" y="41440"/>
                    </a:cubicBezTo>
                    <a:cubicBezTo>
                      <a:pt x="-272" y="48976"/>
                      <a:pt x="357" y="60154"/>
                      <a:pt x="2115" y="67438"/>
                    </a:cubicBezTo>
                    <a:cubicBezTo>
                      <a:pt x="2868" y="70829"/>
                      <a:pt x="3747" y="74095"/>
                      <a:pt x="4752" y="76983"/>
                    </a:cubicBezTo>
                    <a:cubicBezTo>
                      <a:pt x="7013" y="83012"/>
                      <a:pt x="10404" y="87659"/>
                      <a:pt x="17312" y="90548"/>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4" name="Freeform: Shape 3923">
                <a:extLst>
                  <a:ext uri="{FF2B5EF4-FFF2-40B4-BE49-F238E27FC236}">
                    <a16:creationId xmlns:a16="http://schemas.microsoft.com/office/drawing/2014/main" id="{51E0DE93-75A2-4748-B3BB-8DEC58C40F6C}"/>
                  </a:ext>
                </a:extLst>
              </p:cNvPr>
              <p:cNvSpPr/>
              <p:nvPr/>
            </p:nvSpPr>
            <p:spPr>
              <a:xfrm>
                <a:off x="4932892" y="4736947"/>
                <a:ext cx="40707" cy="27938"/>
              </a:xfrm>
              <a:custGeom>
                <a:avLst/>
                <a:gdLst>
                  <a:gd name="connsiteX0" fmla="*/ 6002 w 40707"/>
                  <a:gd name="connsiteY0" fmla="*/ 25834 h 27938"/>
                  <a:gd name="connsiteX1" fmla="*/ 13035 w 40707"/>
                  <a:gd name="connsiteY1" fmla="*/ 27467 h 27938"/>
                  <a:gd name="connsiteX2" fmla="*/ 27730 w 40707"/>
                  <a:gd name="connsiteY2" fmla="*/ 22318 h 27938"/>
                  <a:gd name="connsiteX3" fmla="*/ 40289 w 40707"/>
                  <a:gd name="connsiteY3" fmla="*/ 14279 h 27938"/>
                  <a:gd name="connsiteX4" fmla="*/ 35893 w 40707"/>
                  <a:gd name="connsiteY4" fmla="*/ 6367 h 27938"/>
                  <a:gd name="connsiteX5" fmla="*/ 30870 w 40707"/>
                  <a:gd name="connsiteY5" fmla="*/ 3604 h 27938"/>
                  <a:gd name="connsiteX6" fmla="*/ 27102 w 40707"/>
                  <a:gd name="connsiteY6" fmla="*/ 4232 h 27938"/>
                  <a:gd name="connsiteX7" fmla="*/ 18687 w 40707"/>
                  <a:gd name="connsiteY7" fmla="*/ 6241 h 27938"/>
                  <a:gd name="connsiteX8" fmla="*/ 19566 w 40707"/>
                  <a:gd name="connsiteY8" fmla="*/ 4357 h 27938"/>
                  <a:gd name="connsiteX9" fmla="*/ 20068 w 40707"/>
                  <a:gd name="connsiteY9" fmla="*/ 2097 h 27938"/>
                  <a:gd name="connsiteX10" fmla="*/ 17054 w 40707"/>
                  <a:gd name="connsiteY10" fmla="*/ 87 h 27938"/>
                  <a:gd name="connsiteX11" fmla="*/ 13663 w 40707"/>
                  <a:gd name="connsiteY11" fmla="*/ 3353 h 27938"/>
                  <a:gd name="connsiteX12" fmla="*/ 11402 w 40707"/>
                  <a:gd name="connsiteY12" fmla="*/ 6744 h 27938"/>
                  <a:gd name="connsiteX13" fmla="*/ 1983 w 40707"/>
                  <a:gd name="connsiteY13" fmla="*/ 13651 h 27938"/>
                  <a:gd name="connsiteX14" fmla="*/ 6002 w 40707"/>
                  <a:gd name="connsiteY14" fmla="*/ 25834 h 2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707" h="27938">
                    <a:moveTo>
                      <a:pt x="6002" y="25834"/>
                    </a:moveTo>
                    <a:cubicBezTo>
                      <a:pt x="7760" y="27843"/>
                      <a:pt x="10523" y="28472"/>
                      <a:pt x="13035" y="27467"/>
                    </a:cubicBezTo>
                    <a:cubicBezTo>
                      <a:pt x="16677" y="25960"/>
                      <a:pt x="22204" y="23825"/>
                      <a:pt x="27730" y="22318"/>
                    </a:cubicBezTo>
                    <a:cubicBezTo>
                      <a:pt x="36898" y="19680"/>
                      <a:pt x="42298" y="19052"/>
                      <a:pt x="40289" y="14279"/>
                    </a:cubicBezTo>
                    <a:cubicBezTo>
                      <a:pt x="39033" y="11265"/>
                      <a:pt x="37024" y="8125"/>
                      <a:pt x="35893" y="6367"/>
                    </a:cubicBezTo>
                    <a:cubicBezTo>
                      <a:pt x="34763" y="4734"/>
                      <a:pt x="32879" y="3604"/>
                      <a:pt x="30870" y="3604"/>
                    </a:cubicBezTo>
                    <a:cubicBezTo>
                      <a:pt x="29865" y="3604"/>
                      <a:pt x="28609" y="3729"/>
                      <a:pt x="27102" y="4232"/>
                    </a:cubicBezTo>
                    <a:cubicBezTo>
                      <a:pt x="21701" y="5864"/>
                      <a:pt x="18687" y="6241"/>
                      <a:pt x="18687" y="6241"/>
                    </a:cubicBezTo>
                    <a:cubicBezTo>
                      <a:pt x="18938" y="6241"/>
                      <a:pt x="19440" y="4483"/>
                      <a:pt x="19566" y="4357"/>
                    </a:cubicBezTo>
                    <a:cubicBezTo>
                      <a:pt x="19943" y="3604"/>
                      <a:pt x="20194" y="2976"/>
                      <a:pt x="20068" y="2097"/>
                    </a:cubicBezTo>
                    <a:cubicBezTo>
                      <a:pt x="19943" y="589"/>
                      <a:pt x="18435" y="-290"/>
                      <a:pt x="17054" y="87"/>
                    </a:cubicBezTo>
                    <a:cubicBezTo>
                      <a:pt x="15421" y="464"/>
                      <a:pt x="14542" y="2097"/>
                      <a:pt x="13663" y="3353"/>
                    </a:cubicBezTo>
                    <a:lnTo>
                      <a:pt x="11402" y="6744"/>
                    </a:lnTo>
                    <a:cubicBezTo>
                      <a:pt x="11402" y="6744"/>
                      <a:pt x="9142" y="12521"/>
                      <a:pt x="1983" y="13651"/>
                    </a:cubicBezTo>
                    <a:cubicBezTo>
                      <a:pt x="-2915" y="14154"/>
                      <a:pt x="2359" y="21438"/>
                      <a:pt x="6002" y="25834"/>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5" name="Freeform: Shape 3924">
                <a:extLst>
                  <a:ext uri="{FF2B5EF4-FFF2-40B4-BE49-F238E27FC236}">
                    <a16:creationId xmlns:a16="http://schemas.microsoft.com/office/drawing/2014/main" id="{0C009392-268E-4348-87B7-9FA8DF9BF65E}"/>
                  </a:ext>
                </a:extLst>
              </p:cNvPr>
              <p:cNvSpPr/>
              <p:nvPr/>
            </p:nvSpPr>
            <p:spPr>
              <a:xfrm>
                <a:off x="4840983" y="4687302"/>
                <a:ext cx="108621" cy="92852"/>
              </a:xfrm>
              <a:custGeom>
                <a:avLst/>
                <a:gdLst>
                  <a:gd name="connsiteX0" fmla="*/ 94393 w 108621"/>
                  <a:gd name="connsiteY0" fmla="*/ 58398 h 92852"/>
                  <a:gd name="connsiteX1" fmla="*/ 66762 w 108621"/>
                  <a:gd name="connsiteY1" fmla="*/ 62417 h 92852"/>
                  <a:gd name="connsiteX2" fmla="*/ 56589 w 108621"/>
                  <a:gd name="connsiteY2" fmla="*/ 60156 h 92852"/>
                  <a:gd name="connsiteX3" fmla="*/ 54328 w 108621"/>
                  <a:gd name="connsiteY3" fmla="*/ 59277 h 92852"/>
                  <a:gd name="connsiteX4" fmla="*/ 52193 w 108621"/>
                  <a:gd name="connsiteY4" fmla="*/ 56263 h 92852"/>
                  <a:gd name="connsiteX5" fmla="*/ 49430 w 108621"/>
                  <a:gd name="connsiteY5" fmla="*/ 49983 h 92852"/>
                  <a:gd name="connsiteX6" fmla="*/ 46918 w 108621"/>
                  <a:gd name="connsiteY6" fmla="*/ 42196 h 92852"/>
                  <a:gd name="connsiteX7" fmla="*/ 39132 w 108621"/>
                  <a:gd name="connsiteY7" fmla="*/ 24739 h 92852"/>
                  <a:gd name="connsiteX8" fmla="*/ 30842 w 108621"/>
                  <a:gd name="connsiteY8" fmla="*/ 10170 h 92852"/>
                  <a:gd name="connsiteX9" fmla="*/ 20167 w 108621"/>
                  <a:gd name="connsiteY9" fmla="*/ 247 h 92852"/>
                  <a:gd name="connsiteX10" fmla="*/ 11375 w 108621"/>
                  <a:gd name="connsiteY10" fmla="*/ 624 h 92852"/>
                  <a:gd name="connsiteX11" fmla="*/ 4216 w 108621"/>
                  <a:gd name="connsiteY11" fmla="*/ 5397 h 92852"/>
                  <a:gd name="connsiteX12" fmla="*/ 71 w 108621"/>
                  <a:gd name="connsiteY12" fmla="*/ 20971 h 92852"/>
                  <a:gd name="connsiteX13" fmla="*/ 3463 w 108621"/>
                  <a:gd name="connsiteY13" fmla="*/ 39433 h 92852"/>
                  <a:gd name="connsiteX14" fmla="*/ 6602 w 108621"/>
                  <a:gd name="connsiteY14" fmla="*/ 48727 h 92852"/>
                  <a:gd name="connsiteX15" fmla="*/ 10747 w 108621"/>
                  <a:gd name="connsiteY15" fmla="*/ 55509 h 92852"/>
                  <a:gd name="connsiteX16" fmla="*/ 31596 w 108621"/>
                  <a:gd name="connsiteY16" fmla="*/ 82763 h 92852"/>
                  <a:gd name="connsiteX17" fmla="*/ 46542 w 108621"/>
                  <a:gd name="connsiteY17" fmla="*/ 92811 h 92852"/>
                  <a:gd name="connsiteX18" fmla="*/ 101301 w 108621"/>
                  <a:gd name="connsiteY18" fmla="*/ 85150 h 92852"/>
                  <a:gd name="connsiteX19" fmla="*/ 108083 w 108621"/>
                  <a:gd name="connsiteY19" fmla="*/ 67943 h 92852"/>
                  <a:gd name="connsiteX20" fmla="*/ 94393 w 108621"/>
                  <a:gd name="connsiteY20" fmla="*/ 58398 h 92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8621" h="92852">
                    <a:moveTo>
                      <a:pt x="94393" y="58398"/>
                    </a:moveTo>
                    <a:lnTo>
                      <a:pt x="66762" y="62417"/>
                    </a:lnTo>
                    <a:cubicBezTo>
                      <a:pt x="63874" y="63045"/>
                      <a:pt x="59478" y="60910"/>
                      <a:pt x="56589" y="60156"/>
                    </a:cubicBezTo>
                    <a:cubicBezTo>
                      <a:pt x="55835" y="59905"/>
                      <a:pt x="55082" y="59780"/>
                      <a:pt x="54328" y="59277"/>
                    </a:cubicBezTo>
                    <a:cubicBezTo>
                      <a:pt x="53323" y="58524"/>
                      <a:pt x="52696" y="57393"/>
                      <a:pt x="52193" y="56263"/>
                    </a:cubicBezTo>
                    <a:cubicBezTo>
                      <a:pt x="51188" y="54253"/>
                      <a:pt x="50184" y="52118"/>
                      <a:pt x="49430" y="49983"/>
                    </a:cubicBezTo>
                    <a:cubicBezTo>
                      <a:pt x="48425" y="47471"/>
                      <a:pt x="47798" y="44834"/>
                      <a:pt x="46918" y="42196"/>
                    </a:cubicBezTo>
                    <a:cubicBezTo>
                      <a:pt x="44909" y="36168"/>
                      <a:pt x="42146" y="30390"/>
                      <a:pt x="39132" y="24739"/>
                    </a:cubicBezTo>
                    <a:cubicBezTo>
                      <a:pt x="36494" y="19715"/>
                      <a:pt x="33856" y="14817"/>
                      <a:pt x="30842" y="10170"/>
                    </a:cubicBezTo>
                    <a:cubicBezTo>
                      <a:pt x="27953" y="5648"/>
                      <a:pt x="25944" y="1001"/>
                      <a:pt x="20167" y="247"/>
                    </a:cubicBezTo>
                    <a:cubicBezTo>
                      <a:pt x="17278" y="-129"/>
                      <a:pt x="14264" y="-129"/>
                      <a:pt x="11375" y="624"/>
                    </a:cubicBezTo>
                    <a:cubicBezTo>
                      <a:pt x="8612" y="1378"/>
                      <a:pt x="5849" y="3011"/>
                      <a:pt x="4216" y="5397"/>
                    </a:cubicBezTo>
                    <a:cubicBezTo>
                      <a:pt x="1202" y="9542"/>
                      <a:pt x="448" y="15947"/>
                      <a:pt x="71" y="20971"/>
                    </a:cubicBezTo>
                    <a:cubicBezTo>
                      <a:pt x="-431" y="27250"/>
                      <a:pt x="1830" y="33530"/>
                      <a:pt x="3463" y="39433"/>
                    </a:cubicBezTo>
                    <a:cubicBezTo>
                      <a:pt x="4341" y="42573"/>
                      <a:pt x="5221" y="45838"/>
                      <a:pt x="6602" y="48727"/>
                    </a:cubicBezTo>
                    <a:cubicBezTo>
                      <a:pt x="7733" y="51114"/>
                      <a:pt x="9240" y="53249"/>
                      <a:pt x="10747" y="55509"/>
                    </a:cubicBezTo>
                    <a:cubicBezTo>
                      <a:pt x="17278" y="65180"/>
                      <a:pt x="23557" y="74474"/>
                      <a:pt x="31596" y="82763"/>
                    </a:cubicBezTo>
                    <a:cubicBezTo>
                      <a:pt x="35615" y="86908"/>
                      <a:pt x="40262" y="93439"/>
                      <a:pt x="46542" y="92811"/>
                    </a:cubicBezTo>
                    <a:cubicBezTo>
                      <a:pt x="55961" y="92057"/>
                      <a:pt x="101301" y="85150"/>
                      <a:pt x="101301" y="85150"/>
                    </a:cubicBezTo>
                    <a:cubicBezTo>
                      <a:pt x="101301" y="85150"/>
                      <a:pt x="110972" y="77740"/>
                      <a:pt x="108083" y="67943"/>
                    </a:cubicBezTo>
                    <a:cubicBezTo>
                      <a:pt x="105320" y="58900"/>
                      <a:pt x="94393" y="58398"/>
                      <a:pt x="94393" y="58398"/>
                    </a:cubicBezTo>
                    <a:close/>
                  </a:path>
                </a:pathLst>
              </a:custGeom>
              <a:solidFill>
                <a:srgbClr val="31599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6" name="Freeform: Shape 3925">
                <a:extLst>
                  <a:ext uri="{FF2B5EF4-FFF2-40B4-BE49-F238E27FC236}">
                    <a16:creationId xmlns:a16="http://schemas.microsoft.com/office/drawing/2014/main" id="{749AF2EF-7B74-4A78-AC75-06115052D9BE}"/>
                  </a:ext>
                </a:extLst>
              </p:cNvPr>
              <p:cNvSpPr/>
              <p:nvPr/>
            </p:nvSpPr>
            <p:spPr>
              <a:xfrm>
                <a:off x="4840936" y="4696844"/>
                <a:ext cx="108256" cy="83454"/>
              </a:xfrm>
              <a:custGeom>
                <a:avLst/>
                <a:gdLst>
                  <a:gd name="connsiteX0" fmla="*/ 31643 w 108256"/>
                  <a:gd name="connsiteY0" fmla="*/ 73473 h 83454"/>
                  <a:gd name="connsiteX1" fmla="*/ 10795 w 108256"/>
                  <a:gd name="connsiteY1" fmla="*/ 46219 h 83454"/>
                  <a:gd name="connsiteX2" fmla="*/ 6650 w 108256"/>
                  <a:gd name="connsiteY2" fmla="*/ 39437 h 83454"/>
                  <a:gd name="connsiteX3" fmla="*/ 3510 w 108256"/>
                  <a:gd name="connsiteY3" fmla="*/ 30143 h 83454"/>
                  <a:gd name="connsiteX4" fmla="*/ 2254 w 108256"/>
                  <a:gd name="connsiteY4" fmla="*/ 0 h 83454"/>
                  <a:gd name="connsiteX5" fmla="*/ 21847 w 108256"/>
                  <a:gd name="connsiteY5" fmla="*/ 22858 h 83454"/>
                  <a:gd name="connsiteX6" fmla="*/ 38802 w 108256"/>
                  <a:gd name="connsiteY6" fmla="*/ 58150 h 83454"/>
                  <a:gd name="connsiteX7" fmla="*/ 56260 w 108256"/>
                  <a:gd name="connsiteY7" fmla="*/ 72217 h 83454"/>
                  <a:gd name="connsiteX8" fmla="*/ 108256 w 108256"/>
                  <a:gd name="connsiteY8" fmla="*/ 65058 h 83454"/>
                  <a:gd name="connsiteX9" fmla="*/ 108256 w 108256"/>
                  <a:gd name="connsiteY9" fmla="*/ 65058 h 83454"/>
                  <a:gd name="connsiteX10" fmla="*/ 101474 w 108256"/>
                  <a:gd name="connsiteY10" fmla="*/ 75608 h 83454"/>
                  <a:gd name="connsiteX11" fmla="*/ 101474 w 108256"/>
                  <a:gd name="connsiteY11" fmla="*/ 75608 h 83454"/>
                  <a:gd name="connsiteX12" fmla="*/ 101223 w 108256"/>
                  <a:gd name="connsiteY12" fmla="*/ 75734 h 83454"/>
                  <a:gd name="connsiteX13" fmla="*/ 67940 w 108256"/>
                  <a:gd name="connsiteY13" fmla="*/ 80632 h 83454"/>
                  <a:gd name="connsiteX14" fmla="*/ 46463 w 108256"/>
                  <a:gd name="connsiteY14" fmla="*/ 83395 h 83454"/>
                  <a:gd name="connsiteX15" fmla="*/ 31643 w 108256"/>
                  <a:gd name="connsiteY15" fmla="*/ 73473 h 83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8256" h="83454">
                    <a:moveTo>
                      <a:pt x="31643" y="73473"/>
                    </a:moveTo>
                    <a:cubicBezTo>
                      <a:pt x="23605" y="65058"/>
                      <a:pt x="17325" y="55764"/>
                      <a:pt x="10795" y="46219"/>
                    </a:cubicBezTo>
                    <a:cubicBezTo>
                      <a:pt x="9288" y="44084"/>
                      <a:pt x="7780" y="41823"/>
                      <a:pt x="6650" y="39437"/>
                    </a:cubicBezTo>
                    <a:cubicBezTo>
                      <a:pt x="5268" y="36422"/>
                      <a:pt x="4389" y="33283"/>
                      <a:pt x="3510" y="30143"/>
                    </a:cubicBezTo>
                    <a:cubicBezTo>
                      <a:pt x="998" y="20974"/>
                      <a:pt x="-2267" y="15071"/>
                      <a:pt x="2254" y="0"/>
                    </a:cubicBezTo>
                    <a:cubicBezTo>
                      <a:pt x="3636" y="502"/>
                      <a:pt x="12427" y="3517"/>
                      <a:pt x="21847" y="22858"/>
                    </a:cubicBezTo>
                    <a:cubicBezTo>
                      <a:pt x="25866" y="31147"/>
                      <a:pt x="35411" y="49610"/>
                      <a:pt x="38802" y="58150"/>
                    </a:cubicBezTo>
                    <a:cubicBezTo>
                      <a:pt x="41440" y="64807"/>
                      <a:pt x="48347" y="72845"/>
                      <a:pt x="56260" y="72217"/>
                    </a:cubicBezTo>
                    <a:cubicBezTo>
                      <a:pt x="64047" y="71589"/>
                      <a:pt x="100469" y="66439"/>
                      <a:pt x="108256" y="65058"/>
                    </a:cubicBezTo>
                    <a:lnTo>
                      <a:pt x="108256" y="65058"/>
                    </a:lnTo>
                    <a:cubicBezTo>
                      <a:pt x="107126" y="70710"/>
                      <a:pt x="102604" y="74729"/>
                      <a:pt x="101474" y="75608"/>
                    </a:cubicBezTo>
                    <a:cubicBezTo>
                      <a:pt x="101474" y="75608"/>
                      <a:pt x="101474" y="75608"/>
                      <a:pt x="101474" y="75608"/>
                    </a:cubicBezTo>
                    <a:cubicBezTo>
                      <a:pt x="101348" y="75734"/>
                      <a:pt x="101223" y="75734"/>
                      <a:pt x="101223" y="75734"/>
                    </a:cubicBezTo>
                    <a:cubicBezTo>
                      <a:pt x="101223" y="75734"/>
                      <a:pt x="83514" y="78371"/>
                      <a:pt x="67940" y="80632"/>
                    </a:cubicBezTo>
                    <a:cubicBezTo>
                      <a:pt x="58646" y="82013"/>
                      <a:pt x="49980" y="83144"/>
                      <a:pt x="46463" y="83395"/>
                    </a:cubicBezTo>
                    <a:cubicBezTo>
                      <a:pt x="40309" y="84148"/>
                      <a:pt x="35537" y="77617"/>
                      <a:pt x="31643" y="73473"/>
                    </a:cubicBezTo>
                    <a:close/>
                  </a:path>
                </a:pathLst>
              </a:custGeom>
              <a:solidFill>
                <a:srgbClr val="31599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7" name="Freeform: Shape 3926">
                <a:extLst>
                  <a:ext uri="{FF2B5EF4-FFF2-40B4-BE49-F238E27FC236}">
                    <a16:creationId xmlns:a16="http://schemas.microsoft.com/office/drawing/2014/main" id="{37AA5816-2520-4F3A-89B5-5E282B0BDBE6}"/>
                  </a:ext>
                </a:extLst>
              </p:cNvPr>
              <p:cNvSpPr/>
              <p:nvPr/>
            </p:nvSpPr>
            <p:spPr>
              <a:xfrm>
                <a:off x="4764683" y="4886492"/>
                <a:ext cx="36306" cy="22454"/>
              </a:xfrm>
              <a:custGeom>
                <a:avLst/>
                <a:gdLst>
                  <a:gd name="connsiteX0" fmla="*/ 1517 w 36306"/>
                  <a:gd name="connsiteY0" fmla="*/ 21100 h 22454"/>
                  <a:gd name="connsiteX1" fmla="*/ 2145 w 36306"/>
                  <a:gd name="connsiteY1" fmla="*/ 21477 h 22454"/>
                  <a:gd name="connsiteX2" fmla="*/ 8801 w 36306"/>
                  <a:gd name="connsiteY2" fmla="*/ 21979 h 22454"/>
                  <a:gd name="connsiteX3" fmla="*/ 36307 w 36306"/>
                  <a:gd name="connsiteY3" fmla="*/ 8918 h 22454"/>
                  <a:gd name="connsiteX4" fmla="*/ 29776 w 36306"/>
                  <a:gd name="connsiteY4" fmla="*/ 5149 h 22454"/>
                  <a:gd name="connsiteX5" fmla="*/ 20859 w 36306"/>
                  <a:gd name="connsiteY5" fmla="*/ 0 h 22454"/>
                  <a:gd name="connsiteX6" fmla="*/ 2647 w 36306"/>
                  <a:gd name="connsiteY6" fmla="*/ 9169 h 22454"/>
                  <a:gd name="connsiteX7" fmla="*/ 2773 w 36306"/>
                  <a:gd name="connsiteY7" fmla="*/ 9294 h 22454"/>
                  <a:gd name="connsiteX8" fmla="*/ 1266 w 36306"/>
                  <a:gd name="connsiteY8" fmla="*/ 11555 h 22454"/>
                  <a:gd name="connsiteX9" fmla="*/ 1517 w 36306"/>
                  <a:gd name="connsiteY9" fmla="*/ 21100 h 2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06" h="22454">
                    <a:moveTo>
                      <a:pt x="1517" y="21100"/>
                    </a:moveTo>
                    <a:cubicBezTo>
                      <a:pt x="1643" y="21226"/>
                      <a:pt x="1894" y="21351"/>
                      <a:pt x="2145" y="21477"/>
                    </a:cubicBezTo>
                    <a:cubicBezTo>
                      <a:pt x="5034" y="22607"/>
                      <a:pt x="7546" y="22733"/>
                      <a:pt x="8801" y="21979"/>
                    </a:cubicBezTo>
                    <a:lnTo>
                      <a:pt x="36307" y="8918"/>
                    </a:lnTo>
                    <a:lnTo>
                      <a:pt x="29776" y="5149"/>
                    </a:lnTo>
                    <a:lnTo>
                      <a:pt x="20859" y="0"/>
                    </a:lnTo>
                    <a:lnTo>
                      <a:pt x="2647" y="9169"/>
                    </a:lnTo>
                    <a:lnTo>
                      <a:pt x="2773" y="9294"/>
                    </a:lnTo>
                    <a:cubicBezTo>
                      <a:pt x="1768" y="9671"/>
                      <a:pt x="1266" y="10425"/>
                      <a:pt x="1266" y="11555"/>
                    </a:cubicBezTo>
                    <a:cubicBezTo>
                      <a:pt x="1768" y="13941"/>
                      <a:pt x="-2000" y="19091"/>
                      <a:pt x="1517" y="21100"/>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8" name="Freeform: Shape 3927">
                <a:extLst>
                  <a:ext uri="{FF2B5EF4-FFF2-40B4-BE49-F238E27FC236}">
                    <a16:creationId xmlns:a16="http://schemas.microsoft.com/office/drawing/2014/main" id="{226E50A0-EF00-454D-A6B7-3A266F0A2EB5}"/>
                  </a:ext>
                </a:extLst>
              </p:cNvPr>
              <p:cNvSpPr/>
              <p:nvPr/>
            </p:nvSpPr>
            <p:spPr>
              <a:xfrm>
                <a:off x="4766086" y="4891641"/>
                <a:ext cx="34904" cy="17304"/>
              </a:xfrm>
              <a:custGeom>
                <a:avLst/>
                <a:gdLst>
                  <a:gd name="connsiteX0" fmla="*/ 115 w 34904"/>
                  <a:gd name="connsiteY0" fmla="*/ 15951 h 17304"/>
                  <a:gd name="connsiteX1" fmla="*/ 742 w 34904"/>
                  <a:gd name="connsiteY1" fmla="*/ 16328 h 17304"/>
                  <a:gd name="connsiteX2" fmla="*/ 7399 w 34904"/>
                  <a:gd name="connsiteY2" fmla="*/ 16830 h 17304"/>
                  <a:gd name="connsiteX3" fmla="*/ 34904 w 34904"/>
                  <a:gd name="connsiteY3" fmla="*/ 3768 h 17304"/>
                  <a:gd name="connsiteX4" fmla="*/ 28373 w 34904"/>
                  <a:gd name="connsiteY4" fmla="*/ 0 h 17304"/>
                  <a:gd name="connsiteX5" fmla="*/ 3003 w 34904"/>
                  <a:gd name="connsiteY5" fmla="*/ 11806 h 17304"/>
                  <a:gd name="connsiteX6" fmla="*/ 2124 w 34904"/>
                  <a:gd name="connsiteY6" fmla="*/ 11555 h 17304"/>
                  <a:gd name="connsiteX7" fmla="*/ 115 w 34904"/>
                  <a:gd name="connsiteY7" fmla="*/ 15951 h 1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4" h="17304">
                    <a:moveTo>
                      <a:pt x="115" y="15951"/>
                    </a:moveTo>
                    <a:cubicBezTo>
                      <a:pt x="240" y="16076"/>
                      <a:pt x="491" y="16202"/>
                      <a:pt x="742" y="16328"/>
                    </a:cubicBezTo>
                    <a:cubicBezTo>
                      <a:pt x="3631" y="17458"/>
                      <a:pt x="6143" y="17583"/>
                      <a:pt x="7399" y="16830"/>
                    </a:cubicBezTo>
                    <a:lnTo>
                      <a:pt x="34904" y="3768"/>
                    </a:lnTo>
                    <a:lnTo>
                      <a:pt x="28373" y="0"/>
                    </a:lnTo>
                    <a:lnTo>
                      <a:pt x="3003" y="11806"/>
                    </a:lnTo>
                    <a:cubicBezTo>
                      <a:pt x="2752" y="11932"/>
                      <a:pt x="2501" y="11932"/>
                      <a:pt x="2124" y="11555"/>
                    </a:cubicBezTo>
                    <a:cubicBezTo>
                      <a:pt x="1622" y="13062"/>
                      <a:pt x="-514" y="14946"/>
                      <a:pt x="115" y="15951"/>
                    </a:cubicBez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9" name="Freeform: Shape 3928">
                <a:extLst>
                  <a:ext uri="{FF2B5EF4-FFF2-40B4-BE49-F238E27FC236}">
                    <a16:creationId xmlns:a16="http://schemas.microsoft.com/office/drawing/2014/main" id="{D7330C42-726B-4034-AAAC-AEC9217371D6}"/>
                  </a:ext>
                </a:extLst>
              </p:cNvPr>
              <p:cNvSpPr/>
              <p:nvPr/>
            </p:nvSpPr>
            <p:spPr>
              <a:xfrm>
                <a:off x="4731285" y="4744819"/>
                <a:ext cx="102610" cy="113162"/>
              </a:xfrm>
              <a:custGeom>
                <a:avLst/>
                <a:gdLst>
                  <a:gd name="connsiteX0" fmla="*/ 0 w 102610"/>
                  <a:gd name="connsiteY0" fmla="*/ 5402 h 113162"/>
                  <a:gd name="connsiteX1" fmla="*/ 6154 w 102610"/>
                  <a:gd name="connsiteY1" fmla="*/ 1760 h 113162"/>
                  <a:gd name="connsiteX2" fmla="*/ 6154 w 102610"/>
                  <a:gd name="connsiteY2" fmla="*/ 1760 h 113162"/>
                  <a:gd name="connsiteX3" fmla="*/ 16955 w 102610"/>
                  <a:gd name="connsiteY3" fmla="*/ 1383 h 113162"/>
                  <a:gd name="connsiteX4" fmla="*/ 86158 w 102610"/>
                  <a:gd name="connsiteY4" fmla="*/ 41573 h 113162"/>
                  <a:gd name="connsiteX5" fmla="*/ 102611 w 102610"/>
                  <a:gd name="connsiteY5" fmla="*/ 70084 h 113162"/>
                  <a:gd name="connsiteX6" fmla="*/ 102611 w 102610"/>
                  <a:gd name="connsiteY6" fmla="*/ 99598 h 113162"/>
                  <a:gd name="connsiteX7" fmla="*/ 98090 w 102610"/>
                  <a:gd name="connsiteY7" fmla="*/ 108139 h 113162"/>
                  <a:gd name="connsiteX8" fmla="*/ 98090 w 102610"/>
                  <a:gd name="connsiteY8" fmla="*/ 108139 h 113162"/>
                  <a:gd name="connsiteX9" fmla="*/ 97713 w 102610"/>
                  <a:gd name="connsiteY9" fmla="*/ 108390 h 113162"/>
                  <a:gd name="connsiteX10" fmla="*/ 97336 w 102610"/>
                  <a:gd name="connsiteY10" fmla="*/ 108641 h 113162"/>
                  <a:gd name="connsiteX11" fmla="*/ 89800 w 102610"/>
                  <a:gd name="connsiteY11" fmla="*/ 113163 h 113162"/>
                  <a:gd name="connsiteX12" fmla="*/ 84776 w 102610"/>
                  <a:gd name="connsiteY12" fmla="*/ 107134 h 113162"/>
                  <a:gd name="connsiteX13" fmla="*/ 18086 w 102610"/>
                  <a:gd name="connsiteY13" fmla="*/ 68702 h 113162"/>
                  <a:gd name="connsiteX14" fmla="*/ 1633 w 102610"/>
                  <a:gd name="connsiteY14" fmla="*/ 40192 h 113162"/>
                  <a:gd name="connsiteX15" fmla="*/ 1633 w 102610"/>
                  <a:gd name="connsiteY15" fmla="*/ 10426 h 113162"/>
                  <a:gd name="connsiteX16" fmla="*/ 2010 w 102610"/>
                  <a:gd name="connsiteY16" fmla="*/ 7789 h 113162"/>
                  <a:gd name="connsiteX17" fmla="*/ 0 w 102610"/>
                  <a:gd name="connsiteY17" fmla="*/ 5402 h 11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610" h="113162">
                    <a:moveTo>
                      <a:pt x="0" y="5402"/>
                    </a:moveTo>
                    <a:lnTo>
                      <a:pt x="6154" y="1760"/>
                    </a:lnTo>
                    <a:lnTo>
                      <a:pt x="6154" y="1760"/>
                    </a:lnTo>
                    <a:cubicBezTo>
                      <a:pt x="9168" y="-250"/>
                      <a:pt x="13313" y="-752"/>
                      <a:pt x="16955" y="1383"/>
                    </a:cubicBezTo>
                    <a:lnTo>
                      <a:pt x="86158" y="41573"/>
                    </a:lnTo>
                    <a:cubicBezTo>
                      <a:pt x="96331" y="47476"/>
                      <a:pt x="102611" y="58278"/>
                      <a:pt x="102611" y="70084"/>
                    </a:cubicBezTo>
                    <a:lnTo>
                      <a:pt x="102611" y="99598"/>
                    </a:lnTo>
                    <a:cubicBezTo>
                      <a:pt x="102611" y="103240"/>
                      <a:pt x="100727" y="106255"/>
                      <a:pt x="98090" y="108139"/>
                    </a:cubicBezTo>
                    <a:lnTo>
                      <a:pt x="98090" y="108139"/>
                    </a:lnTo>
                    <a:lnTo>
                      <a:pt x="97713" y="108390"/>
                    </a:lnTo>
                    <a:cubicBezTo>
                      <a:pt x="97587" y="108516"/>
                      <a:pt x="97462" y="108516"/>
                      <a:pt x="97336" y="108641"/>
                    </a:cubicBezTo>
                    <a:lnTo>
                      <a:pt x="89800" y="113163"/>
                    </a:lnTo>
                    <a:lnTo>
                      <a:pt x="84776" y="107134"/>
                    </a:lnTo>
                    <a:lnTo>
                      <a:pt x="18086" y="68702"/>
                    </a:lnTo>
                    <a:cubicBezTo>
                      <a:pt x="7913" y="62799"/>
                      <a:pt x="1633" y="51998"/>
                      <a:pt x="1633" y="40192"/>
                    </a:cubicBezTo>
                    <a:lnTo>
                      <a:pt x="1633" y="10426"/>
                    </a:lnTo>
                    <a:cubicBezTo>
                      <a:pt x="1633" y="9547"/>
                      <a:pt x="1758" y="8668"/>
                      <a:pt x="2010" y="7789"/>
                    </a:cubicBezTo>
                    <a:lnTo>
                      <a:pt x="0" y="5402"/>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0" name="Freeform: Shape 3929">
                <a:extLst>
                  <a:ext uri="{FF2B5EF4-FFF2-40B4-BE49-F238E27FC236}">
                    <a16:creationId xmlns:a16="http://schemas.microsoft.com/office/drawing/2014/main" id="{98E8DA40-E53A-4F61-9415-77C8239BB3E1}"/>
                  </a:ext>
                </a:extLst>
              </p:cNvPr>
              <p:cNvSpPr/>
              <p:nvPr/>
            </p:nvSpPr>
            <p:spPr>
              <a:xfrm>
                <a:off x="4725633" y="4749039"/>
                <a:ext cx="101104" cy="109929"/>
              </a:xfrm>
              <a:custGeom>
                <a:avLst/>
                <a:gdLst>
                  <a:gd name="connsiteX0" fmla="*/ 15574 w 101104"/>
                  <a:gd name="connsiteY0" fmla="*/ 1433 h 109929"/>
                  <a:gd name="connsiteX1" fmla="*/ 84776 w 101104"/>
                  <a:gd name="connsiteY1" fmla="*/ 41624 h 109929"/>
                  <a:gd name="connsiteX2" fmla="*/ 101104 w 101104"/>
                  <a:gd name="connsiteY2" fmla="*/ 70134 h 109929"/>
                  <a:gd name="connsiteX3" fmla="*/ 101104 w 101104"/>
                  <a:gd name="connsiteY3" fmla="*/ 99648 h 109929"/>
                  <a:gd name="connsiteX4" fmla="*/ 85656 w 101104"/>
                  <a:gd name="connsiteY4" fmla="*/ 108566 h 109929"/>
                  <a:gd name="connsiteX5" fmla="*/ 16453 w 101104"/>
                  <a:gd name="connsiteY5" fmla="*/ 68627 h 109929"/>
                  <a:gd name="connsiteX6" fmla="*/ 0 w 101104"/>
                  <a:gd name="connsiteY6" fmla="*/ 40116 h 109929"/>
                  <a:gd name="connsiteX7" fmla="*/ 0 w 101104"/>
                  <a:gd name="connsiteY7" fmla="*/ 10350 h 109929"/>
                  <a:gd name="connsiteX8" fmla="*/ 15574 w 101104"/>
                  <a:gd name="connsiteY8" fmla="*/ 1433 h 10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4" h="109929">
                    <a:moveTo>
                      <a:pt x="15574" y="1433"/>
                    </a:moveTo>
                    <a:lnTo>
                      <a:pt x="84776" y="41624"/>
                    </a:lnTo>
                    <a:cubicBezTo>
                      <a:pt x="94950" y="47527"/>
                      <a:pt x="101104" y="58328"/>
                      <a:pt x="101104" y="70134"/>
                    </a:cubicBezTo>
                    <a:lnTo>
                      <a:pt x="101104" y="99648"/>
                    </a:lnTo>
                    <a:cubicBezTo>
                      <a:pt x="101104" y="107561"/>
                      <a:pt x="92563" y="112459"/>
                      <a:pt x="85656" y="108566"/>
                    </a:cubicBezTo>
                    <a:lnTo>
                      <a:pt x="16453" y="68627"/>
                    </a:lnTo>
                    <a:cubicBezTo>
                      <a:pt x="6280" y="62724"/>
                      <a:pt x="0" y="51922"/>
                      <a:pt x="0" y="40116"/>
                    </a:cubicBezTo>
                    <a:lnTo>
                      <a:pt x="0" y="10350"/>
                    </a:lnTo>
                    <a:cubicBezTo>
                      <a:pt x="126" y="2312"/>
                      <a:pt x="8666" y="-2586"/>
                      <a:pt x="15574" y="1433"/>
                    </a:cubicBezTo>
                    <a:close/>
                  </a:path>
                </a:pathLst>
              </a:custGeom>
              <a:solidFill>
                <a:srgbClr val="4B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1" name="Freeform: Shape 3930">
                <a:extLst>
                  <a:ext uri="{FF2B5EF4-FFF2-40B4-BE49-F238E27FC236}">
                    <a16:creationId xmlns:a16="http://schemas.microsoft.com/office/drawing/2014/main" id="{CE18D056-B247-434D-BB48-C2028E1E0F1B}"/>
                  </a:ext>
                </a:extLst>
              </p:cNvPr>
              <p:cNvSpPr/>
              <p:nvPr/>
            </p:nvSpPr>
            <p:spPr>
              <a:xfrm>
                <a:off x="4762181" y="4818588"/>
                <a:ext cx="16704" cy="90183"/>
              </a:xfrm>
              <a:custGeom>
                <a:avLst/>
                <a:gdLst>
                  <a:gd name="connsiteX0" fmla="*/ 0 w 16704"/>
                  <a:gd name="connsiteY0" fmla="*/ 4981 h 90183"/>
                  <a:gd name="connsiteX1" fmla="*/ 0 w 16704"/>
                  <a:gd name="connsiteY1" fmla="*/ 83728 h 90183"/>
                  <a:gd name="connsiteX2" fmla="*/ 126 w 16704"/>
                  <a:gd name="connsiteY2" fmla="*/ 83728 h 90183"/>
                  <a:gd name="connsiteX3" fmla="*/ 251 w 16704"/>
                  <a:gd name="connsiteY3" fmla="*/ 84482 h 90183"/>
                  <a:gd name="connsiteX4" fmla="*/ 1759 w 16704"/>
                  <a:gd name="connsiteY4" fmla="*/ 87622 h 90183"/>
                  <a:gd name="connsiteX5" fmla="*/ 6280 w 16704"/>
                  <a:gd name="connsiteY5" fmla="*/ 90008 h 90183"/>
                  <a:gd name="connsiteX6" fmla="*/ 10550 w 16704"/>
                  <a:gd name="connsiteY6" fmla="*/ 89883 h 90183"/>
                  <a:gd name="connsiteX7" fmla="*/ 13188 w 16704"/>
                  <a:gd name="connsiteY7" fmla="*/ 88752 h 90183"/>
                  <a:gd name="connsiteX8" fmla="*/ 16579 w 16704"/>
                  <a:gd name="connsiteY8" fmla="*/ 83728 h 90183"/>
                  <a:gd name="connsiteX9" fmla="*/ 16704 w 16704"/>
                  <a:gd name="connsiteY9" fmla="*/ 82975 h 90183"/>
                  <a:gd name="connsiteX10" fmla="*/ 16704 w 16704"/>
                  <a:gd name="connsiteY10" fmla="*/ 5734 h 90183"/>
                  <a:gd name="connsiteX11" fmla="*/ 16579 w 16704"/>
                  <a:gd name="connsiteY11" fmla="*/ 5483 h 90183"/>
                  <a:gd name="connsiteX12" fmla="*/ 15072 w 16704"/>
                  <a:gd name="connsiteY12" fmla="*/ 2469 h 90183"/>
                  <a:gd name="connsiteX13" fmla="*/ 10550 w 16704"/>
                  <a:gd name="connsiteY13" fmla="*/ 334 h 90183"/>
                  <a:gd name="connsiteX14" fmla="*/ 8289 w 16704"/>
                  <a:gd name="connsiteY14" fmla="*/ 82 h 90183"/>
                  <a:gd name="connsiteX15" fmla="*/ 6280 w 16704"/>
                  <a:gd name="connsiteY15" fmla="*/ 208 h 90183"/>
                  <a:gd name="connsiteX16" fmla="*/ 3517 w 16704"/>
                  <a:gd name="connsiteY16" fmla="*/ 836 h 90183"/>
                  <a:gd name="connsiteX17" fmla="*/ 251 w 16704"/>
                  <a:gd name="connsiteY17" fmla="*/ 4101 h 90183"/>
                  <a:gd name="connsiteX18" fmla="*/ 0 w 16704"/>
                  <a:gd name="connsiteY18" fmla="*/ 4981 h 90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704" h="90183">
                    <a:moveTo>
                      <a:pt x="0" y="4981"/>
                    </a:moveTo>
                    <a:lnTo>
                      <a:pt x="0" y="83728"/>
                    </a:lnTo>
                    <a:lnTo>
                      <a:pt x="126" y="83728"/>
                    </a:lnTo>
                    <a:cubicBezTo>
                      <a:pt x="126" y="83980"/>
                      <a:pt x="126" y="84231"/>
                      <a:pt x="251" y="84482"/>
                    </a:cubicBezTo>
                    <a:cubicBezTo>
                      <a:pt x="251" y="85612"/>
                      <a:pt x="754" y="86743"/>
                      <a:pt x="1759" y="87622"/>
                    </a:cubicBezTo>
                    <a:cubicBezTo>
                      <a:pt x="2889" y="88752"/>
                      <a:pt x="4522" y="89631"/>
                      <a:pt x="6280" y="90008"/>
                    </a:cubicBezTo>
                    <a:cubicBezTo>
                      <a:pt x="7661" y="90259"/>
                      <a:pt x="9169" y="90259"/>
                      <a:pt x="10550" y="89883"/>
                    </a:cubicBezTo>
                    <a:cubicBezTo>
                      <a:pt x="11429" y="89631"/>
                      <a:pt x="12434" y="89255"/>
                      <a:pt x="13188" y="88752"/>
                    </a:cubicBezTo>
                    <a:cubicBezTo>
                      <a:pt x="15323" y="87496"/>
                      <a:pt x="16453" y="85612"/>
                      <a:pt x="16579" y="83728"/>
                    </a:cubicBezTo>
                    <a:cubicBezTo>
                      <a:pt x="16704" y="83477"/>
                      <a:pt x="16704" y="83226"/>
                      <a:pt x="16704" y="82975"/>
                    </a:cubicBezTo>
                    <a:lnTo>
                      <a:pt x="16704" y="5734"/>
                    </a:lnTo>
                    <a:cubicBezTo>
                      <a:pt x="16704" y="5734"/>
                      <a:pt x="16704" y="5609"/>
                      <a:pt x="16579" y="5483"/>
                    </a:cubicBezTo>
                    <a:cubicBezTo>
                      <a:pt x="16579" y="4478"/>
                      <a:pt x="16076" y="3474"/>
                      <a:pt x="15072" y="2469"/>
                    </a:cubicBezTo>
                    <a:cubicBezTo>
                      <a:pt x="13941" y="1464"/>
                      <a:pt x="12308" y="711"/>
                      <a:pt x="10550" y="334"/>
                    </a:cubicBezTo>
                    <a:cubicBezTo>
                      <a:pt x="9796" y="208"/>
                      <a:pt x="9043" y="82"/>
                      <a:pt x="8289" y="82"/>
                    </a:cubicBezTo>
                    <a:cubicBezTo>
                      <a:pt x="7661" y="-43"/>
                      <a:pt x="6908" y="-43"/>
                      <a:pt x="6280" y="208"/>
                    </a:cubicBezTo>
                    <a:cubicBezTo>
                      <a:pt x="5275" y="334"/>
                      <a:pt x="4396" y="459"/>
                      <a:pt x="3517" y="836"/>
                    </a:cubicBezTo>
                    <a:cubicBezTo>
                      <a:pt x="1633" y="1715"/>
                      <a:pt x="502" y="2720"/>
                      <a:pt x="251" y="4101"/>
                    </a:cubicBezTo>
                    <a:cubicBezTo>
                      <a:pt x="0" y="4352"/>
                      <a:pt x="0" y="4729"/>
                      <a:pt x="0" y="4981"/>
                    </a:cubicBez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2" name="Freeform: Shape 3931">
                <a:extLst>
                  <a:ext uri="{FF2B5EF4-FFF2-40B4-BE49-F238E27FC236}">
                    <a16:creationId xmlns:a16="http://schemas.microsoft.com/office/drawing/2014/main" id="{0C163658-2853-423F-B5D0-1688A668E029}"/>
                  </a:ext>
                </a:extLst>
              </p:cNvPr>
              <p:cNvSpPr/>
              <p:nvPr/>
            </p:nvSpPr>
            <p:spPr>
              <a:xfrm>
                <a:off x="4772606" y="4819047"/>
                <a:ext cx="6028" cy="89549"/>
              </a:xfrm>
              <a:custGeom>
                <a:avLst/>
                <a:gdLst>
                  <a:gd name="connsiteX0" fmla="*/ 0 w 6028"/>
                  <a:gd name="connsiteY0" fmla="*/ 0 h 89549"/>
                  <a:gd name="connsiteX1" fmla="*/ 0 w 6028"/>
                  <a:gd name="connsiteY1" fmla="*/ 89549 h 89549"/>
                  <a:gd name="connsiteX2" fmla="*/ 2637 w 6028"/>
                  <a:gd name="connsiteY2" fmla="*/ 88419 h 89549"/>
                  <a:gd name="connsiteX3" fmla="*/ 6028 w 6028"/>
                  <a:gd name="connsiteY3" fmla="*/ 83395 h 89549"/>
                  <a:gd name="connsiteX4" fmla="*/ 6028 w 6028"/>
                  <a:gd name="connsiteY4" fmla="*/ 5275 h 89549"/>
                  <a:gd name="connsiteX5" fmla="*/ 4521 w 6028"/>
                  <a:gd name="connsiteY5" fmla="*/ 2261 h 89549"/>
                  <a:gd name="connsiteX6" fmla="*/ 0 w 6028"/>
                  <a:gd name="connsiteY6" fmla="*/ 0 h 89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89549">
                    <a:moveTo>
                      <a:pt x="0" y="0"/>
                    </a:moveTo>
                    <a:lnTo>
                      <a:pt x="0" y="89549"/>
                    </a:lnTo>
                    <a:cubicBezTo>
                      <a:pt x="879" y="89298"/>
                      <a:pt x="1884" y="88921"/>
                      <a:pt x="2637" y="88419"/>
                    </a:cubicBezTo>
                    <a:cubicBezTo>
                      <a:pt x="4772" y="87163"/>
                      <a:pt x="5903" y="85279"/>
                      <a:pt x="6028" y="83395"/>
                    </a:cubicBezTo>
                    <a:lnTo>
                      <a:pt x="6028" y="5275"/>
                    </a:lnTo>
                    <a:cubicBezTo>
                      <a:pt x="6028" y="4270"/>
                      <a:pt x="5526" y="3266"/>
                      <a:pt x="4521" y="2261"/>
                    </a:cubicBezTo>
                    <a:cubicBezTo>
                      <a:pt x="3391" y="1130"/>
                      <a:pt x="1758" y="377"/>
                      <a:pt x="0" y="0"/>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3" name="Freeform: Shape 3932">
                <a:extLst>
                  <a:ext uri="{FF2B5EF4-FFF2-40B4-BE49-F238E27FC236}">
                    <a16:creationId xmlns:a16="http://schemas.microsoft.com/office/drawing/2014/main" id="{AE1AB073-66DD-45EA-913D-AEE675FAF95E}"/>
                  </a:ext>
                </a:extLst>
              </p:cNvPr>
              <p:cNvSpPr/>
              <p:nvPr/>
            </p:nvSpPr>
            <p:spPr>
              <a:xfrm>
                <a:off x="4762307" y="4818796"/>
                <a:ext cx="6028" cy="89800"/>
              </a:xfrm>
              <a:custGeom>
                <a:avLst/>
                <a:gdLst>
                  <a:gd name="connsiteX0" fmla="*/ 0 w 6028"/>
                  <a:gd name="connsiteY0" fmla="*/ 4019 h 89800"/>
                  <a:gd name="connsiteX1" fmla="*/ 0 w 6028"/>
                  <a:gd name="connsiteY1" fmla="*/ 84274 h 89800"/>
                  <a:gd name="connsiteX2" fmla="*/ 1507 w 6028"/>
                  <a:gd name="connsiteY2" fmla="*/ 87414 h 89800"/>
                  <a:gd name="connsiteX3" fmla="*/ 6028 w 6028"/>
                  <a:gd name="connsiteY3" fmla="*/ 89800 h 89800"/>
                  <a:gd name="connsiteX4" fmla="*/ 6028 w 6028"/>
                  <a:gd name="connsiteY4" fmla="*/ 0 h 89800"/>
                  <a:gd name="connsiteX5" fmla="*/ 3265 w 6028"/>
                  <a:gd name="connsiteY5" fmla="*/ 628 h 89800"/>
                  <a:gd name="connsiteX6" fmla="*/ 0 w 6028"/>
                  <a:gd name="connsiteY6" fmla="*/ 4019 h 8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89800">
                    <a:moveTo>
                      <a:pt x="0" y="4019"/>
                    </a:moveTo>
                    <a:lnTo>
                      <a:pt x="0" y="84274"/>
                    </a:lnTo>
                    <a:cubicBezTo>
                      <a:pt x="0" y="85404"/>
                      <a:pt x="502" y="86535"/>
                      <a:pt x="1507" y="87414"/>
                    </a:cubicBezTo>
                    <a:cubicBezTo>
                      <a:pt x="2637" y="88544"/>
                      <a:pt x="4270" y="89423"/>
                      <a:pt x="6028" y="89800"/>
                    </a:cubicBezTo>
                    <a:lnTo>
                      <a:pt x="6028" y="0"/>
                    </a:lnTo>
                    <a:cubicBezTo>
                      <a:pt x="5024" y="126"/>
                      <a:pt x="4144" y="251"/>
                      <a:pt x="3265" y="628"/>
                    </a:cubicBezTo>
                    <a:cubicBezTo>
                      <a:pt x="1381" y="1507"/>
                      <a:pt x="251" y="2637"/>
                      <a:pt x="0" y="4019"/>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4" name="Freeform: Shape 3933">
                <a:extLst>
                  <a:ext uri="{FF2B5EF4-FFF2-40B4-BE49-F238E27FC236}">
                    <a16:creationId xmlns:a16="http://schemas.microsoft.com/office/drawing/2014/main" id="{93CCC67B-6A72-4D12-ACE4-789EF986F9FD}"/>
                  </a:ext>
                </a:extLst>
              </p:cNvPr>
              <p:cNvSpPr/>
              <p:nvPr/>
            </p:nvSpPr>
            <p:spPr>
              <a:xfrm>
                <a:off x="4762181" y="4818714"/>
                <a:ext cx="16578" cy="10556"/>
              </a:xfrm>
              <a:custGeom>
                <a:avLst/>
                <a:gdLst>
                  <a:gd name="connsiteX0" fmla="*/ 0 w 16578"/>
                  <a:gd name="connsiteY0" fmla="*/ 4855 h 10556"/>
                  <a:gd name="connsiteX1" fmla="*/ 126 w 16578"/>
                  <a:gd name="connsiteY1" fmla="*/ 5860 h 10556"/>
                  <a:gd name="connsiteX2" fmla="*/ 1507 w 16578"/>
                  <a:gd name="connsiteY2" fmla="*/ 8120 h 10556"/>
                  <a:gd name="connsiteX3" fmla="*/ 6154 w 16578"/>
                  <a:gd name="connsiteY3" fmla="*/ 10256 h 10556"/>
                  <a:gd name="connsiteX4" fmla="*/ 10425 w 16578"/>
                  <a:gd name="connsiteY4" fmla="*/ 10507 h 10556"/>
                  <a:gd name="connsiteX5" fmla="*/ 13062 w 16578"/>
                  <a:gd name="connsiteY5" fmla="*/ 9879 h 10556"/>
                  <a:gd name="connsiteX6" fmla="*/ 16453 w 16578"/>
                  <a:gd name="connsiteY6" fmla="*/ 6111 h 10556"/>
                  <a:gd name="connsiteX7" fmla="*/ 16579 w 16578"/>
                  <a:gd name="connsiteY7" fmla="*/ 5734 h 10556"/>
                  <a:gd name="connsiteX8" fmla="*/ 16453 w 16578"/>
                  <a:gd name="connsiteY8" fmla="*/ 5483 h 10556"/>
                  <a:gd name="connsiteX9" fmla="*/ 14946 w 16578"/>
                  <a:gd name="connsiteY9" fmla="*/ 2469 h 10556"/>
                  <a:gd name="connsiteX10" fmla="*/ 10425 w 16578"/>
                  <a:gd name="connsiteY10" fmla="*/ 334 h 10556"/>
                  <a:gd name="connsiteX11" fmla="*/ 8164 w 16578"/>
                  <a:gd name="connsiteY11" fmla="*/ 83 h 10556"/>
                  <a:gd name="connsiteX12" fmla="*/ 6154 w 16578"/>
                  <a:gd name="connsiteY12" fmla="*/ 208 h 10556"/>
                  <a:gd name="connsiteX13" fmla="*/ 3391 w 16578"/>
                  <a:gd name="connsiteY13" fmla="*/ 836 h 10556"/>
                  <a:gd name="connsiteX14" fmla="*/ 126 w 16578"/>
                  <a:gd name="connsiteY14" fmla="*/ 4102 h 10556"/>
                  <a:gd name="connsiteX15" fmla="*/ 0 w 16578"/>
                  <a:gd name="connsiteY15" fmla="*/ 4855 h 1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78" h="10556">
                    <a:moveTo>
                      <a:pt x="0" y="4855"/>
                    </a:moveTo>
                    <a:cubicBezTo>
                      <a:pt x="0" y="5232"/>
                      <a:pt x="126" y="5609"/>
                      <a:pt x="126" y="5860"/>
                    </a:cubicBezTo>
                    <a:cubicBezTo>
                      <a:pt x="377" y="6613"/>
                      <a:pt x="754" y="7367"/>
                      <a:pt x="1507" y="8120"/>
                    </a:cubicBezTo>
                    <a:cubicBezTo>
                      <a:pt x="2637" y="9251"/>
                      <a:pt x="4396" y="9879"/>
                      <a:pt x="6154" y="10256"/>
                    </a:cubicBezTo>
                    <a:cubicBezTo>
                      <a:pt x="7536" y="10507"/>
                      <a:pt x="9043" y="10632"/>
                      <a:pt x="10425" y="10507"/>
                    </a:cubicBezTo>
                    <a:cubicBezTo>
                      <a:pt x="11429" y="10381"/>
                      <a:pt x="12308" y="10256"/>
                      <a:pt x="13062" y="9879"/>
                    </a:cubicBezTo>
                    <a:cubicBezTo>
                      <a:pt x="15197" y="9000"/>
                      <a:pt x="16202" y="7618"/>
                      <a:pt x="16453" y="6111"/>
                    </a:cubicBezTo>
                    <a:cubicBezTo>
                      <a:pt x="16579" y="5986"/>
                      <a:pt x="16579" y="5860"/>
                      <a:pt x="16579" y="5734"/>
                    </a:cubicBezTo>
                    <a:cubicBezTo>
                      <a:pt x="16579" y="5734"/>
                      <a:pt x="16579" y="5609"/>
                      <a:pt x="16453" y="5483"/>
                    </a:cubicBezTo>
                    <a:cubicBezTo>
                      <a:pt x="16453" y="4478"/>
                      <a:pt x="15950" y="3473"/>
                      <a:pt x="14946" y="2469"/>
                    </a:cubicBezTo>
                    <a:cubicBezTo>
                      <a:pt x="13816" y="1464"/>
                      <a:pt x="12183" y="710"/>
                      <a:pt x="10425" y="334"/>
                    </a:cubicBezTo>
                    <a:cubicBezTo>
                      <a:pt x="9671" y="208"/>
                      <a:pt x="8917" y="83"/>
                      <a:pt x="8164" y="83"/>
                    </a:cubicBezTo>
                    <a:cubicBezTo>
                      <a:pt x="7536" y="-43"/>
                      <a:pt x="6782" y="-43"/>
                      <a:pt x="6154" y="208"/>
                    </a:cubicBezTo>
                    <a:cubicBezTo>
                      <a:pt x="5149" y="334"/>
                      <a:pt x="4270" y="459"/>
                      <a:pt x="3391" y="836"/>
                    </a:cubicBezTo>
                    <a:cubicBezTo>
                      <a:pt x="1507" y="1715"/>
                      <a:pt x="377" y="2720"/>
                      <a:pt x="126" y="4102"/>
                    </a:cubicBezTo>
                    <a:cubicBezTo>
                      <a:pt x="0" y="4227"/>
                      <a:pt x="0" y="4604"/>
                      <a:pt x="0" y="4855"/>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5" name="Freeform: Shape 3934">
                <a:extLst>
                  <a:ext uri="{FF2B5EF4-FFF2-40B4-BE49-F238E27FC236}">
                    <a16:creationId xmlns:a16="http://schemas.microsoft.com/office/drawing/2014/main" id="{270C7817-69B5-4E4E-9A85-425F4BAE64C9}"/>
                  </a:ext>
                </a:extLst>
              </p:cNvPr>
              <p:cNvSpPr/>
              <p:nvPr/>
            </p:nvSpPr>
            <p:spPr>
              <a:xfrm>
                <a:off x="4763814" y="4819769"/>
                <a:ext cx="13313" cy="8592"/>
              </a:xfrm>
              <a:custGeom>
                <a:avLst/>
                <a:gdLst>
                  <a:gd name="connsiteX0" fmla="*/ 0 w 13313"/>
                  <a:gd name="connsiteY0" fmla="*/ 3925 h 8592"/>
                  <a:gd name="connsiteX1" fmla="*/ 1256 w 13313"/>
                  <a:gd name="connsiteY1" fmla="*/ 6563 h 8592"/>
                  <a:gd name="connsiteX2" fmla="*/ 10550 w 13313"/>
                  <a:gd name="connsiteY2" fmla="*/ 7944 h 8592"/>
                  <a:gd name="connsiteX3" fmla="*/ 13313 w 13313"/>
                  <a:gd name="connsiteY3" fmla="*/ 4679 h 8592"/>
                  <a:gd name="connsiteX4" fmla="*/ 13313 w 13313"/>
                  <a:gd name="connsiteY4" fmla="*/ 4428 h 8592"/>
                  <a:gd name="connsiteX5" fmla="*/ 12057 w 13313"/>
                  <a:gd name="connsiteY5" fmla="*/ 2041 h 8592"/>
                  <a:gd name="connsiteX6" fmla="*/ 6657 w 13313"/>
                  <a:gd name="connsiteY6" fmla="*/ 32 h 8592"/>
                  <a:gd name="connsiteX7" fmla="*/ 2763 w 13313"/>
                  <a:gd name="connsiteY7" fmla="*/ 660 h 8592"/>
                  <a:gd name="connsiteX8" fmla="*/ 0 w 13313"/>
                  <a:gd name="connsiteY8" fmla="*/ 3925 h 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13" h="8592">
                    <a:moveTo>
                      <a:pt x="0" y="3925"/>
                    </a:moveTo>
                    <a:cubicBezTo>
                      <a:pt x="0" y="4805"/>
                      <a:pt x="377" y="5684"/>
                      <a:pt x="1256" y="6563"/>
                    </a:cubicBezTo>
                    <a:cubicBezTo>
                      <a:pt x="3391" y="8573"/>
                      <a:pt x="7661" y="9200"/>
                      <a:pt x="10550" y="7944"/>
                    </a:cubicBezTo>
                    <a:cubicBezTo>
                      <a:pt x="12308" y="7191"/>
                      <a:pt x="13313" y="5935"/>
                      <a:pt x="13313" y="4679"/>
                    </a:cubicBezTo>
                    <a:cubicBezTo>
                      <a:pt x="13313" y="4679"/>
                      <a:pt x="13313" y="4554"/>
                      <a:pt x="13313" y="4428"/>
                    </a:cubicBezTo>
                    <a:cubicBezTo>
                      <a:pt x="13313" y="3549"/>
                      <a:pt x="12936" y="2795"/>
                      <a:pt x="12057" y="2041"/>
                    </a:cubicBezTo>
                    <a:cubicBezTo>
                      <a:pt x="10801" y="911"/>
                      <a:pt x="8666" y="158"/>
                      <a:pt x="6657" y="32"/>
                    </a:cubicBezTo>
                    <a:cubicBezTo>
                      <a:pt x="5275" y="-93"/>
                      <a:pt x="4019" y="158"/>
                      <a:pt x="2763" y="660"/>
                    </a:cubicBezTo>
                    <a:cubicBezTo>
                      <a:pt x="879" y="1414"/>
                      <a:pt x="0" y="2544"/>
                      <a:pt x="0" y="3925"/>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936" name="Graphic 4">
            <a:extLst>
              <a:ext uri="{FF2B5EF4-FFF2-40B4-BE49-F238E27FC236}">
                <a16:creationId xmlns:a16="http://schemas.microsoft.com/office/drawing/2014/main" id="{84FB7ED1-A2DF-40A1-A747-5F7CF3F14040}"/>
              </a:ext>
            </a:extLst>
          </p:cNvPr>
          <p:cNvGrpSpPr/>
          <p:nvPr/>
        </p:nvGrpSpPr>
        <p:grpSpPr>
          <a:xfrm>
            <a:off x="5582807" y="4748046"/>
            <a:ext cx="462832" cy="464034"/>
            <a:chOff x="5742827" y="4793766"/>
            <a:chExt cx="530678" cy="532056"/>
          </a:xfrm>
          <a:solidFill>
            <a:schemeClr val="accent1"/>
          </a:solidFill>
        </p:grpSpPr>
        <p:sp>
          <p:nvSpPr>
            <p:cNvPr id="3937" name="Freeform: Shape 3936">
              <a:extLst>
                <a:ext uri="{FF2B5EF4-FFF2-40B4-BE49-F238E27FC236}">
                  <a16:creationId xmlns:a16="http://schemas.microsoft.com/office/drawing/2014/main" id="{124E6C3F-40DF-45ED-B620-65ED1DBDCB1C}"/>
                </a:ext>
              </a:extLst>
            </p:cNvPr>
            <p:cNvSpPr/>
            <p:nvPr/>
          </p:nvSpPr>
          <p:spPr>
            <a:xfrm>
              <a:off x="5853977" y="4817289"/>
              <a:ext cx="74352" cy="76361"/>
            </a:xfrm>
            <a:custGeom>
              <a:avLst/>
              <a:gdLst>
                <a:gd name="connsiteX0" fmla="*/ 30017 w 74352"/>
                <a:gd name="connsiteY0" fmla="*/ 0 h 76361"/>
                <a:gd name="connsiteX1" fmla="*/ 74352 w 74352"/>
                <a:gd name="connsiteY1" fmla="*/ 26626 h 76361"/>
                <a:gd name="connsiteX2" fmla="*/ 44335 w 74352"/>
                <a:gd name="connsiteY2" fmla="*/ 76361 h 76361"/>
                <a:gd name="connsiteX3" fmla="*/ 0 w 74352"/>
                <a:gd name="connsiteY3" fmla="*/ 49610 h 76361"/>
                <a:gd name="connsiteX4" fmla="*/ 30017 w 74352"/>
                <a:gd name="connsiteY4" fmla="*/ 0 h 76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52" h="76361">
                  <a:moveTo>
                    <a:pt x="30017" y="0"/>
                  </a:moveTo>
                  <a:lnTo>
                    <a:pt x="74352" y="26626"/>
                  </a:lnTo>
                  <a:lnTo>
                    <a:pt x="44335" y="76361"/>
                  </a:lnTo>
                  <a:lnTo>
                    <a:pt x="0" y="49610"/>
                  </a:lnTo>
                  <a:lnTo>
                    <a:pt x="30017" y="0"/>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8" name="Freeform: Shape 3937">
              <a:extLst>
                <a:ext uri="{FF2B5EF4-FFF2-40B4-BE49-F238E27FC236}">
                  <a16:creationId xmlns:a16="http://schemas.microsoft.com/office/drawing/2014/main" id="{65813F0D-6BA5-4E2B-BAEB-54552FF890E8}"/>
                </a:ext>
              </a:extLst>
            </p:cNvPr>
            <p:cNvSpPr/>
            <p:nvPr/>
          </p:nvSpPr>
          <p:spPr>
            <a:xfrm>
              <a:off x="6068951" y="5055384"/>
              <a:ext cx="62213" cy="72375"/>
            </a:xfrm>
            <a:custGeom>
              <a:avLst/>
              <a:gdLst>
                <a:gd name="connsiteX0" fmla="*/ 20140 w 62213"/>
                <a:gd name="connsiteY0" fmla="*/ 72375 h 72375"/>
                <a:gd name="connsiteX1" fmla="*/ 3561 w 62213"/>
                <a:gd name="connsiteY1" fmla="*/ 61323 h 72375"/>
                <a:gd name="connsiteX2" fmla="*/ 2808 w 62213"/>
                <a:gd name="connsiteY2" fmla="*/ 47381 h 72375"/>
                <a:gd name="connsiteX3" fmla="*/ 29057 w 62213"/>
                <a:gd name="connsiteY3" fmla="*/ 3675 h 72375"/>
                <a:gd name="connsiteX4" fmla="*/ 46012 w 62213"/>
                <a:gd name="connsiteY4" fmla="*/ 1791 h 72375"/>
                <a:gd name="connsiteX5" fmla="*/ 62214 w 62213"/>
                <a:gd name="connsiteY5" fmla="*/ 10582 h 72375"/>
                <a:gd name="connsiteX6" fmla="*/ 20140 w 62213"/>
                <a:gd name="connsiteY6" fmla="*/ 72375 h 72375"/>
                <a:gd name="connsiteX7" fmla="*/ 20140 w 62213"/>
                <a:gd name="connsiteY7" fmla="*/ 72375 h 72375"/>
                <a:gd name="connsiteX8" fmla="*/ 20140 w 62213"/>
                <a:gd name="connsiteY8" fmla="*/ 72375 h 72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13" h="72375">
                  <a:moveTo>
                    <a:pt x="20140" y="72375"/>
                  </a:moveTo>
                  <a:lnTo>
                    <a:pt x="3561" y="61323"/>
                  </a:lnTo>
                  <a:cubicBezTo>
                    <a:pt x="-2216" y="57429"/>
                    <a:pt x="170" y="52029"/>
                    <a:pt x="2808" y="47381"/>
                  </a:cubicBezTo>
                  <a:lnTo>
                    <a:pt x="29057" y="3675"/>
                  </a:lnTo>
                  <a:cubicBezTo>
                    <a:pt x="33578" y="-1726"/>
                    <a:pt x="39230" y="-93"/>
                    <a:pt x="46012" y="1791"/>
                  </a:cubicBezTo>
                  <a:lnTo>
                    <a:pt x="62214" y="10582"/>
                  </a:lnTo>
                  <a:lnTo>
                    <a:pt x="20140" y="72375"/>
                  </a:lnTo>
                  <a:lnTo>
                    <a:pt x="20140" y="72375"/>
                  </a:lnTo>
                  <a:lnTo>
                    <a:pt x="20140" y="72375"/>
                  </a:lnTo>
                  <a:close/>
                </a:path>
              </a:pathLst>
            </a:custGeom>
            <a:solidFill>
              <a:srgbClr val="8FAA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9" name="Freeform: Shape 3938">
              <a:extLst>
                <a:ext uri="{FF2B5EF4-FFF2-40B4-BE49-F238E27FC236}">
                  <a16:creationId xmlns:a16="http://schemas.microsoft.com/office/drawing/2014/main" id="{BACCE66B-0A6B-4CC0-88CE-858FADA3E1C2}"/>
                </a:ext>
              </a:extLst>
            </p:cNvPr>
            <p:cNvSpPr/>
            <p:nvPr/>
          </p:nvSpPr>
          <p:spPr>
            <a:xfrm>
              <a:off x="5742827" y="4857102"/>
              <a:ext cx="125970" cy="261739"/>
            </a:xfrm>
            <a:custGeom>
              <a:avLst/>
              <a:gdLst>
                <a:gd name="connsiteX0" fmla="*/ 34538 w 125970"/>
                <a:gd name="connsiteY0" fmla="*/ 261740 h 261739"/>
                <a:gd name="connsiteX1" fmla="*/ 1004 w 125970"/>
                <a:gd name="connsiteY1" fmla="*/ 242147 h 261739"/>
                <a:gd name="connsiteX2" fmla="*/ 36798 w 125970"/>
                <a:gd name="connsiteY2" fmla="*/ 101481 h 261739"/>
                <a:gd name="connsiteX3" fmla="*/ 98716 w 125970"/>
                <a:gd name="connsiteY3" fmla="*/ 0 h 261739"/>
                <a:gd name="connsiteX4" fmla="*/ 125971 w 125970"/>
                <a:gd name="connsiteY4" fmla="*/ 15197 h 261739"/>
                <a:gd name="connsiteX5" fmla="*/ 39436 w 125970"/>
                <a:gd name="connsiteY5" fmla="*/ 177968 h 261739"/>
                <a:gd name="connsiteX6" fmla="*/ 34538 w 125970"/>
                <a:gd name="connsiteY6" fmla="*/ 261740 h 261739"/>
                <a:gd name="connsiteX7" fmla="*/ 34538 w 125970"/>
                <a:gd name="connsiteY7" fmla="*/ 261740 h 261739"/>
                <a:gd name="connsiteX8" fmla="*/ 34538 w 125970"/>
                <a:gd name="connsiteY8" fmla="*/ 261740 h 261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70" h="261739">
                  <a:moveTo>
                    <a:pt x="34538" y="261740"/>
                  </a:moveTo>
                  <a:lnTo>
                    <a:pt x="1004" y="242147"/>
                  </a:lnTo>
                  <a:cubicBezTo>
                    <a:pt x="-3518" y="180856"/>
                    <a:pt x="7032" y="149458"/>
                    <a:pt x="36798" y="101481"/>
                  </a:cubicBezTo>
                  <a:lnTo>
                    <a:pt x="98716" y="0"/>
                  </a:lnTo>
                  <a:lnTo>
                    <a:pt x="125971" y="15197"/>
                  </a:lnTo>
                  <a:lnTo>
                    <a:pt x="39436" y="177968"/>
                  </a:lnTo>
                  <a:lnTo>
                    <a:pt x="34538" y="261740"/>
                  </a:lnTo>
                  <a:lnTo>
                    <a:pt x="34538" y="261740"/>
                  </a:lnTo>
                  <a:lnTo>
                    <a:pt x="34538" y="261740"/>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0" name="Freeform: Shape 3939">
              <a:extLst>
                <a:ext uri="{FF2B5EF4-FFF2-40B4-BE49-F238E27FC236}">
                  <a16:creationId xmlns:a16="http://schemas.microsoft.com/office/drawing/2014/main" id="{7A8AC2FC-7736-40C2-9927-A9D865B5D48F}"/>
                </a:ext>
              </a:extLst>
            </p:cNvPr>
            <p:cNvSpPr/>
            <p:nvPr/>
          </p:nvSpPr>
          <p:spPr>
            <a:xfrm>
              <a:off x="5858084" y="4793766"/>
              <a:ext cx="98666" cy="65006"/>
            </a:xfrm>
            <a:custGeom>
              <a:avLst/>
              <a:gdLst>
                <a:gd name="connsiteX0" fmla="*/ 1168 w 98666"/>
                <a:gd name="connsiteY0" fmla="*/ 4308 h 65006"/>
                <a:gd name="connsiteX1" fmla="*/ 13099 w 98666"/>
                <a:gd name="connsiteY1" fmla="*/ 1168 h 65006"/>
                <a:gd name="connsiteX2" fmla="*/ 94359 w 98666"/>
                <a:gd name="connsiteY2" fmla="*/ 48768 h 65006"/>
                <a:gd name="connsiteX3" fmla="*/ 97499 w 98666"/>
                <a:gd name="connsiteY3" fmla="*/ 60699 h 65006"/>
                <a:gd name="connsiteX4" fmla="*/ 97499 w 98666"/>
                <a:gd name="connsiteY4" fmla="*/ 60699 h 65006"/>
                <a:gd name="connsiteX5" fmla="*/ 85567 w 98666"/>
                <a:gd name="connsiteY5" fmla="*/ 63839 h 65006"/>
                <a:gd name="connsiteX6" fmla="*/ 4308 w 98666"/>
                <a:gd name="connsiteY6" fmla="*/ 16239 h 65006"/>
                <a:gd name="connsiteX7" fmla="*/ 1168 w 98666"/>
                <a:gd name="connsiteY7" fmla="*/ 4308 h 65006"/>
                <a:gd name="connsiteX8" fmla="*/ 1168 w 98666"/>
                <a:gd name="connsiteY8" fmla="*/ 4308 h 6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666" h="65006">
                  <a:moveTo>
                    <a:pt x="1168" y="4308"/>
                  </a:moveTo>
                  <a:cubicBezTo>
                    <a:pt x="3554" y="163"/>
                    <a:pt x="8954" y="-1219"/>
                    <a:pt x="13099" y="1168"/>
                  </a:cubicBezTo>
                  <a:lnTo>
                    <a:pt x="94359" y="48768"/>
                  </a:lnTo>
                  <a:cubicBezTo>
                    <a:pt x="98504" y="51154"/>
                    <a:pt x="99885" y="56555"/>
                    <a:pt x="97499" y="60699"/>
                  </a:cubicBezTo>
                  <a:lnTo>
                    <a:pt x="97499" y="60699"/>
                  </a:lnTo>
                  <a:cubicBezTo>
                    <a:pt x="95113" y="64844"/>
                    <a:pt x="89712" y="66226"/>
                    <a:pt x="85567" y="63839"/>
                  </a:cubicBezTo>
                  <a:lnTo>
                    <a:pt x="4308" y="16239"/>
                  </a:lnTo>
                  <a:cubicBezTo>
                    <a:pt x="163" y="13727"/>
                    <a:pt x="-1219" y="8452"/>
                    <a:pt x="1168" y="4308"/>
                  </a:cubicBezTo>
                  <a:lnTo>
                    <a:pt x="1168" y="4308"/>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1" name="Freeform: Shape 3940">
              <a:extLst>
                <a:ext uri="{FF2B5EF4-FFF2-40B4-BE49-F238E27FC236}">
                  <a16:creationId xmlns:a16="http://schemas.microsoft.com/office/drawing/2014/main" id="{A5409066-7854-4E22-BCE3-D4E6801053E7}"/>
                </a:ext>
              </a:extLst>
            </p:cNvPr>
            <p:cNvSpPr/>
            <p:nvPr/>
          </p:nvSpPr>
          <p:spPr>
            <a:xfrm>
              <a:off x="5867039" y="4943135"/>
              <a:ext cx="237446" cy="161138"/>
            </a:xfrm>
            <a:custGeom>
              <a:avLst/>
              <a:gdLst>
                <a:gd name="connsiteX0" fmla="*/ 0 w 237446"/>
                <a:gd name="connsiteY0" fmla="*/ 33408 h 161138"/>
                <a:gd name="connsiteX1" fmla="*/ 19970 w 237446"/>
                <a:gd name="connsiteY1" fmla="*/ 0 h 161138"/>
                <a:gd name="connsiteX2" fmla="*/ 234737 w 237446"/>
                <a:gd name="connsiteY2" fmla="*/ 127730 h 161138"/>
                <a:gd name="connsiteX3" fmla="*/ 214767 w 237446"/>
                <a:gd name="connsiteY3" fmla="*/ 161138 h 161138"/>
                <a:gd name="connsiteX4" fmla="*/ 0 w 237446"/>
                <a:gd name="connsiteY4" fmla="*/ 33408 h 161138"/>
                <a:gd name="connsiteX5" fmla="*/ 0 w 237446"/>
                <a:gd name="connsiteY5" fmla="*/ 33408 h 161138"/>
                <a:gd name="connsiteX6" fmla="*/ 0 w 237446"/>
                <a:gd name="connsiteY6" fmla="*/ 33408 h 161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446" h="161138">
                  <a:moveTo>
                    <a:pt x="0" y="33408"/>
                  </a:moveTo>
                  <a:lnTo>
                    <a:pt x="19970" y="0"/>
                  </a:lnTo>
                  <a:lnTo>
                    <a:pt x="234737" y="127730"/>
                  </a:lnTo>
                  <a:cubicBezTo>
                    <a:pt x="241770" y="136647"/>
                    <a:pt x="235114" y="158124"/>
                    <a:pt x="214767" y="161138"/>
                  </a:cubicBezTo>
                  <a:lnTo>
                    <a:pt x="0" y="33408"/>
                  </a:lnTo>
                  <a:lnTo>
                    <a:pt x="0" y="33408"/>
                  </a:lnTo>
                  <a:lnTo>
                    <a:pt x="0" y="33408"/>
                  </a:lnTo>
                  <a:close/>
                </a:path>
              </a:pathLst>
            </a:custGeom>
            <a:solidFill>
              <a:srgbClr val="3B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2" name="Freeform: Shape 3941">
              <a:extLst>
                <a:ext uri="{FF2B5EF4-FFF2-40B4-BE49-F238E27FC236}">
                  <a16:creationId xmlns:a16="http://schemas.microsoft.com/office/drawing/2014/main" id="{96CB0D4A-93B9-44D2-AB1C-3DC151C563F0}"/>
                </a:ext>
              </a:extLst>
            </p:cNvPr>
            <p:cNvSpPr/>
            <p:nvPr/>
          </p:nvSpPr>
          <p:spPr>
            <a:xfrm>
              <a:off x="6086704" y="5065590"/>
              <a:ext cx="186801" cy="141953"/>
            </a:xfrm>
            <a:custGeom>
              <a:avLst/>
              <a:gdLst>
                <a:gd name="connsiteX0" fmla="*/ 0 w 186801"/>
                <a:gd name="connsiteY0" fmla="*/ 61918 h 141953"/>
                <a:gd name="connsiteX1" fmla="*/ 42200 w 186801"/>
                <a:gd name="connsiteY1" fmla="*/ 0 h 141953"/>
                <a:gd name="connsiteX2" fmla="*/ 178847 w 186801"/>
                <a:gd name="connsiteY2" fmla="*/ 79753 h 141953"/>
                <a:gd name="connsiteX3" fmla="*/ 136270 w 186801"/>
                <a:gd name="connsiteY3" fmla="*/ 139787 h 141953"/>
                <a:gd name="connsiteX4" fmla="*/ 0 w 186801"/>
                <a:gd name="connsiteY4" fmla="*/ 61918 h 141953"/>
                <a:gd name="connsiteX5" fmla="*/ 0 w 186801"/>
                <a:gd name="connsiteY5" fmla="*/ 61918 h 141953"/>
                <a:gd name="connsiteX6" fmla="*/ 0 w 186801"/>
                <a:gd name="connsiteY6" fmla="*/ 61918 h 141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801" h="141953">
                  <a:moveTo>
                    <a:pt x="0" y="61918"/>
                  </a:moveTo>
                  <a:lnTo>
                    <a:pt x="42200" y="0"/>
                  </a:lnTo>
                  <a:lnTo>
                    <a:pt x="178847" y="79753"/>
                  </a:lnTo>
                  <a:cubicBezTo>
                    <a:pt x="201077" y="96457"/>
                    <a:pt x="173446" y="153728"/>
                    <a:pt x="136270" y="139787"/>
                  </a:cubicBezTo>
                  <a:lnTo>
                    <a:pt x="0" y="61918"/>
                  </a:lnTo>
                  <a:lnTo>
                    <a:pt x="0" y="61918"/>
                  </a:lnTo>
                  <a:lnTo>
                    <a:pt x="0" y="61918"/>
                  </a:lnTo>
                  <a:close/>
                </a:path>
              </a:pathLst>
            </a:custGeom>
            <a:solidFill>
              <a:srgbClr val="4472C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3" name="Freeform: Shape 3942">
              <a:extLst>
                <a:ext uri="{FF2B5EF4-FFF2-40B4-BE49-F238E27FC236}">
                  <a16:creationId xmlns:a16="http://schemas.microsoft.com/office/drawing/2014/main" id="{C2849A16-B333-4EEF-BA87-05F55344B8FB}"/>
                </a:ext>
              </a:extLst>
            </p:cNvPr>
            <p:cNvSpPr/>
            <p:nvPr/>
          </p:nvSpPr>
          <p:spPr>
            <a:xfrm>
              <a:off x="5836143" y="4794808"/>
              <a:ext cx="314363" cy="507402"/>
            </a:xfrm>
            <a:custGeom>
              <a:avLst/>
              <a:gdLst>
                <a:gd name="connsiteX0" fmla="*/ 25998 w 314363"/>
                <a:gd name="connsiteY0" fmla="*/ 507403 h 507402"/>
                <a:gd name="connsiteX1" fmla="*/ 0 w 314363"/>
                <a:gd name="connsiteY1" fmla="*/ 492583 h 507402"/>
                <a:gd name="connsiteX2" fmla="*/ 22984 w 314363"/>
                <a:gd name="connsiteY2" fmla="*/ 420115 h 507402"/>
                <a:gd name="connsiteX3" fmla="*/ 74980 w 314363"/>
                <a:gd name="connsiteY3" fmla="*/ 380929 h 507402"/>
                <a:gd name="connsiteX4" fmla="*/ 227327 w 314363"/>
                <a:gd name="connsiteY4" fmla="*/ 122832 h 507402"/>
                <a:gd name="connsiteX5" fmla="*/ 231094 w 314363"/>
                <a:gd name="connsiteY5" fmla="*/ 60662 h 507402"/>
                <a:gd name="connsiteX6" fmla="*/ 286859 w 314363"/>
                <a:gd name="connsiteY6" fmla="*/ 0 h 507402"/>
                <a:gd name="connsiteX7" fmla="*/ 314364 w 314363"/>
                <a:gd name="connsiteY7" fmla="*/ 16327 h 507402"/>
                <a:gd name="connsiteX8" fmla="*/ 269024 w 314363"/>
                <a:gd name="connsiteY8" fmla="*/ 81386 h 507402"/>
                <a:gd name="connsiteX9" fmla="*/ 263874 w 314363"/>
                <a:gd name="connsiteY9" fmla="*/ 150086 h 507402"/>
                <a:gd name="connsiteX10" fmla="*/ 102611 w 314363"/>
                <a:gd name="connsiteY10" fmla="*/ 414840 h 507402"/>
                <a:gd name="connsiteX11" fmla="*/ 64681 w 314363"/>
                <a:gd name="connsiteY11" fmla="*/ 426646 h 507402"/>
                <a:gd name="connsiteX12" fmla="*/ 25998 w 314363"/>
                <a:gd name="connsiteY12" fmla="*/ 507403 h 507402"/>
                <a:gd name="connsiteX13" fmla="*/ 25998 w 314363"/>
                <a:gd name="connsiteY13" fmla="*/ 507403 h 507402"/>
                <a:gd name="connsiteX14" fmla="*/ 25998 w 314363"/>
                <a:gd name="connsiteY14" fmla="*/ 507403 h 50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4363" h="507402">
                  <a:moveTo>
                    <a:pt x="25998" y="507403"/>
                  </a:moveTo>
                  <a:lnTo>
                    <a:pt x="0" y="492583"/>
                  </a:lnTo>
                  <a:cubicBezTo>
                    <a:pt x="1758" y="466585"/>
                    <a:pt x="11680" y="435437"/>
                    <a:pt x="22984" y="420115"/>
                  </a:cubicBezTo>
                  <a:cubicBezTo>
                    <a:pt x="37302" y="401527"/>
                    <a:pt x="52122" y="386958"/>
                    <a:pt x="74980" y="380929"/>
                  </a:cubicBezTo>
                  <a:lnTo>
                    <a:pt x="227327" y="122832"/>
                  </a:lnTo>
                  <a:cubicBezTo>
                    <a:pt x="217781" y="102862"/>
                    <a:pt x="220921" y="80632"/>
                    <a:pt x="231094" y="60662"/>
                  </a:cubicBezTo>
                  <a:cubicBezTo>
                    <a:pt x="245161" y="35292"/>
                    <a:pt x="260860" y="18086"/>
                    <a:pt x="286859" y="0"/>
                  </a:cubicBezTo>
                  <a:lnTo>
                    <a:pt x="314364" y="16327"/>
                  </a:lnTo>
                  <a:lnTo>
                    <a:pt x="269024" y="81386"/>
                  </a:lnTo>
                  <a:lnTo>
                    <a:pt x="263874" y="150086"/>
                  </a:lnTo>
                  <a:lnTo>
                    <a:pt x="102611" y="414840"/>
                  </a:lnTo>
                  <a:lnTo>
                    <a:pt x="64681" y="426646"/>
                  </a:lnTo>
                  <a:lnTo>
                    <a:pt x="25998" y="507403"/>
                  </a:lnTo>
                  <a:lnTo>
                    <a:pt x="25998" y="507403"/>
                  </a:lnTo>
                  <a:lnTo>
                    <a:pt x="25998" y="507403"/>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4" name="Freeform: Shape 3943">
              <a:extLst>
                <a:ext uri="{FF2B5EF4-FFF2-40B4-BE49-F238E27FC236}">
                  <a16:creationId xmlns:a16="http://schemas.microsoft.com/office/drawing/2014/main" id="{5DC56E65-E877-476C-9944-094BCB8CB06F}"/>
                </a:ext>
              </a:extLst>
            </p:cNvPr>
            <p:cNvSpPr/>
            <p:nvPr/>
          </p:nvSpPr>
          <p:spPr>
            <a:xfrm>
              <a:off x="5879096" y="5253354"/>
              <a:ext cx="75608" cy="72468"/>
            </a:xfrm>
            <a:custGeom>
              <a:avLst/>
              <a:gdLst>
                <a:gd name="connsiteX0" fmla="*/ 38307 w 75608"/>
                <a:gd name="connsiteY0" fmla="*/ 0 h 72468"/>
                <a:gd name="connsiteX1" fmla="*/ 0 w 75608"/>
                <a:gd name="connsiteY1" fmla="*/ 58653 h 72468"/>
                <a:gd name="connsiteX2" fmla="*/ 26626 w 75608"/>
                <a:gd name="connsiteY2" fmla="*/ 72468 h 72468"/>
                <a:gd name="connsiteX3" fmla="*/ 75608 w 75608"/>
                <a:gd name="connsiteY3" fmla="*/ 11931 h 72468"/>
                <a:gd name="connsiteX4" fmla="*/ 38307 w 75608"/>
                <a:gd name="connsiteY4" fmla="*/ 0 h 72468"/>
                <a:gd name="connsiteX5" fmla="*/ 38307 w 75608"/>
                <a:gd name="connsiteY5" fmla="*/ 0 h 72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8" h="72468">
                  <a:moveTo>
                    <a:pt x="38307" y="0"/>
                  </a:moveTo>
                  <a:lnTo>
                    <a:pt x="0" y="58653"/>
                  </a:lnTo>
                  <a:lnTo>
                    <a:pt x="26626" y="72468"/>
                  </a:lnTo>
                  <a:lnTo>
                    <a:pt x="75608" y="11931"/>
                  </a:lnTo>
                  <a:lnTo>
                    <a:pt x="38307" y="0"/>
                  </a:lnTo>
                  <a:lnTo>
                    <a:pt x="38307" y="0"/>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5" name="Freeform: Shape 3944">
              <a:extLst>
                <a:ext uri="{FF2B5EF4-FFF2-40B4-BE49-F238E27FC236}">
                  <a16:creationId xmlns:a16="http://schemas.microsoft.com/office/drawing/2014/main" id="{7DC75ECF-699A-4A4C-845F-604940C21C7F}"/>
                </a:ext>
              </a:extLst>
            </p:cNvPr>
            <p:cNvSpPr/>
            <p:nvPr/>
          </p:nvSpPr>
          <p:spPr>
            <a:xfrm>
              <a:off x="6129658" y="4820178"/>
              <a:ext cx="59406" cy="84274"/>
            </a:xfrm>
            <a:custGeom>
              <a:avLst/>
              <a:gdLst>
                <a:gd name="connsiteX0" fmla="*/ 0 w 59406"/>
                <a:gd name="connsiteY0" fmla="*/ 60411 h 84274"/>
                <a:gd name="connsiteX1" fmla="*/ 36171 w 59406"/>
                <a:gd name="connsiteY1" fmla="*/ 0 h 84274"/>
                <a:gd name="connsiteX2" fmla="*/ 59406 w 59406"/>
                <a:gd name="connsiteY2" fmla="*/ 13816 h 84274"/>
                <a:gd name="connsiteX3" fmla="*/ 35166 w 59406"/>
                <a:gd name="connsiteY3" fmla="*/ 72845 h 84274"/>
                <a:gd name="connsiteX4" fmla="*/ 18839 w 59406"/>
                <a:gd name="connsiteY4" fmla="*/ 84274 h 84274"/>
                <a:gd name="connsiteX5" fmla="*/ 0 w 59406"/>
                <a:gd name="connsiteY5" fmla="*/ 60411 h 84274"/>
                <a:gd name="connsiteX6" fmla="*/ 0 w 59406"/>
                <a:gd name="connsiteY6" fmla="*/ 60411 h 84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06" h="84274">
                  <a:moveTo>
                    <a:pt x="0" y="60411"/>
                  </a:moveTo>
                  <a:lnTo>
                    <a:pt x="36171" y="0"/>
                  </a:lnTo>
                  <a:lnTo>
                    <a:pt x="59406" y="13816"/>
                  </a:lnTo>
                  <a:lnTo>
                    <a:pt x="35166" y="72845"/>
                  </a:lnTo>
                  <a:lnTo>
                    <a:pt x="18839" y="84274"/>
                  </a:lnTo>
                  <a:lnTo>
                    <a:pt x="0" y="60411"/>
                  </a:lnTo>
                  <a:lnTo>
                    <a:pt x="0" y="60411"/>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6" name="Freeform: Shape 3945">
              <a:extLst>
                <a:ext uri="{FF2B5EF4-FFF2-40B4-BE49-F238E27FC236}">
                  <a16:creationId xmlns:a16="http://schemas.microsoft.com/office/drawing/2014/main" id="{BD67C6D7-2944-46DE-94D7-A9C53940BBB1}"/>
                </a:ext>
              </a:extLst>
            </p:cNvPr>
            <p:cNvSpPr/>
            <p:nvPr/>
          </p:nvSpPr>
          <p:spPr>
            <a:xfrm>
              <a:off x="5862769" y="4811260"/>
              <a:ext cx="327475" cy="514561"/>
            </a:xfrm>
            <a:custGeom>
              <a:avLst/>
              <a:gdLst>
                <a:gd name="connsiteX0" fmla="*/ 42200 w 327475"/>
                <a:gd name="connsiteY0" fmla="*/ 514562 h 514561"/>
                <a:gd name="connsiteX1" fmla="*/ 81386 w 327475"/>
                <a:gd name="connsiteY1" fmla="*/ 456160 h 514561"/>
                <a:gd name="connsiteX2" fmla="*/ 38432 w 327475"/>
                <a:gd name="connsiteY2" fmla="*/ 433302 h 514561"/>
                <a:gd name="connsiteX3" fmla="*/ 0 w 327475"/>
                <a:gd name="connsiteY3" fmla="*/ 491704 h 514561"/>
                <a:gd name="connsiteX4" fmla="*/ 17709 w 327475"/>
                <a:gd name="connsiteY4" fmla="*/ 421496 h 514561"/>
                <a:gd name="connsiteX5" fmla="*/ 73975 w 327475"/>
                <a:gd name="connsiteY5" fmla="*/ 379296 h 514561"/>
                <a:gd name="connsiteX6" fmla="*/ 227829 w 327475"/>
                <a:gd name="connsiteY6" fmla="*/ 114542 h 514561"/>
                <a:gd name="connsiteX7" fmla="*/ 234486 w 327475"/>
                <a:gd name="connsiteY7" fmla="*/ 44335 h 514561"/>
                <a:gd name="connsiteX8" fmla="*/ 286231 w 327475"/>
                <a:gd name="connsiteY8" fmla="*/ 0 h 514561"/>
                <a:gd name="connsiteX9" fmla="*/ 251441 w 327475"/>
                <a:gd name="connsiteY9" fmla="*/ 59155 h 514561"/>
                <a:gd name="connsiteX10" fmla="*/ 289873 w 327475"/>
                <a:gd name="connsiteY10" fmla="*/ 83520 h 514561"/>
                <a:gd name="connsiteX11" fmla="*/ 324663 w 327475"/>
                <a:gd name="connsiteY11" fmla="*/ 22858 h 514561"/>
                <a:gd name="connsiteX12" fmla="*/ 309089 w 327475"/>
                <a:gd name="connsiteY12" fmla="*/ 93819 h 514561"/>
                <a:gd name="connsiteX13" fmla="*/ 253576 w 327475"/>
                <a:gd name="connsiteY13" fmla="*/ 136019 h 514561"/>
                <a:gd name="connsiteX14" fmla="*/ 102611 w 327475"/>
                <a:gd name="connsiteY14" fmla="*/ 399266 h 514561"/>
                <a:gd name="connsiteX15" fmla="*/ 90805 w 327475"/>
                <a:gd name="connsiteY15" fmla="*/ 475376 h 514561"/>
                <a:gd name="connsiteX16" fmla="*/ 42200 w 327475"/>
                <a:gd name="connsiteY16" fmla="*/ 514562 h 514561"/>
                <a:gd name="connsiteX17" fmla="*/ 42200 w 327475"/>
                <a:gd name="connsiteY17" fmla="*/ 514562 h 51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7475" h="514561">
                  <a:moveTo>
                    <a:pt x="42200" y="514562"/>
                  </a:moveTo>
                  <a:lnTo>
                    <a:pt x="81386" y="456160"/>
                  </a:lnTo>
                  <a:lnTo>
                    <a:pt x="38432" y="433302"/>
                  </a:lnTo>
                  <a:lnTo>
                    <a:pt x="0" y="491704"/>
                  </a:lnTo>
                  <a:cubicBezTo>
                    <a:pt x="377" y="463068"/>
                    <a:pt x="4019" y="441591"/>
                    <a:pt x="17709" y="421496"/>
                  </a:cubicBezTo>
                  <a:cubicBezTo>
                    <a:pt x="30896" y="399643"/>
                    <a:pt x="55262" y="383064"/>
                    <a:pt x="73975" y="379296"/>
                  </a:cubicBezTo>
                  <a:lnTo>
                    <a:pt x="227829" y="114542"/>
                  </a:lnTo>
                  <a:cubicBezTo>
                    <a:pt x="216400" y="95578"/>
                    <a:pt x="224438" y="64807"/>
                    <a:pt x="234486" y="44335"/>
                  </a:cubicBezTo>
                  <a:cubicBezTo>
                    <a:pt x="246919" y="22105"/>
                    <a:pt x="276434" y="754"/>
                    <a:pt x="286231" y="0"/>
                  </a:cubicBezTo>
                  <a:lnTo>
                    <a:pt x="251441" y="59155"/>
                  </a:lnTo>
                  <a:lnTo>
                    <a:pt x="289873" y="83520"/>
                  </a:lnTo>
                  <a:lnTo>
                    <a:pt x="324663" y="22858"/>
                  </a:lnTo>
                  <a:cubicBezTo>
                    <a:pt x="332575" y="37678"/>
                    <a:pt x="322653" y="72719"/>
                    <a:pt x="309089" y="93819"/>
                  </a:cubicBezTo>
                  <a:cubicBezTo>
                    <a:pt x="288742" y="124464"/>
                    <a:pt x="278318" y="128609"/>
                    <a:pt x="253576" y="136019"/>
                  </a:cubicBezTo>
                  <a:lnTo>
                    <a:pt x="102611" y="399266"/>
                  </a:lnTo>
                  <a:cubicBezTo>
                    <a:pt x="112784" y="423129"/>
                    <a:pt x="104746" y="453021"/>
                    <a:pt x="90805" y="475376"/>
                  </a:cubicBezTo>
                  <a:cubicBezTo>
                    <a:pt x="81134" y="493713"/>
                    <a:pt x="61918" y="511924"/>
                    <a:pt x="42200" y="514562"/>
                  </a:cubicBezTo>
                  <a:lnTo>
                    <a:pt x="42200" y="514562"/>
                  </a:lnTo>
                  <a:close/>
                </a:path>
              </a:pathLst>
            </a:custGeom>
            <a:solidFill>
              <a:srgbClr val="7F7F7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7" name="Freeform: Shape 3946">
              <a:extLst>
                <a:ext uri="{FF2B5EF4-FFF2-40B4-BE49-F238E27FC236}">
                  <a16:creationId xmlns:a16="http://schemas.microsoft.com/office/drawing/2014/main" id="{C943F7C5-CF22-44E5-847C-AEE489F01862}"/>
                </a:ext>
              </a:extLst>
            </p:cNvPr>
            <p:cNvSpPr/>
            <p:nvPr/>
          </p:nvSpPr>
          <p:spPr>
            <a:xfrm>
              <a:off x="5771001" y="4870415"/>
              <a:ext cx="143763" cy="249808"/>
            </a:xfrm>
            <a:custGeom>
              <a:avLst/>
              <a:gdLst>
                <a:gd name="connsiteX0" fmla="*/ 81343 w 143763"/>
                <a:gd name="connsiteY0" fmla="*/ 136647 h 249808"/>
                <a:gd name="connsiteX1" fmla="*/ 143763 w 143763"/>
                <a:gd name="connsiteY1" fmla="*/ 30017 h 249808"/>
                <a:gd name="connsiteX2" fmla="*/ 95912 w 143763"/>
                <a:gd name="connsiteY2" fmla="*/ 0 h 249808"/>
                <a:gd name="connsiteX3" fmla="*/ 19801 w 143763"/>
                <a:gd name="connsiteY3" fmla="*/ 132126 h 249808"/>
                <a:gd name="connsiteX4" fmla="*/ 6488 w 143763"/>
                <a:gd name="connsiteY4" fmla="*/ 249808 h 249808"/>
                <a:gd name="connsiteX5" fmla="*/ 11135 w 143763"/>
                <a:gd name="connsiteY5" fmla="*/ 242900 h 249808"/>
                <a:gd name="connsiteX6" fmla="*/ 81343 w 143763"/>
                <a:gd name="connsiteY6" fmla="*/ 136647 h 249808"/>
                <a:gd name="connsiteX7" fmla="*/ 81343 w 143763"/>
                <a:gd name="connsiteY7" fmla="*/ 136647 h 24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763" h="249808">
                  <a:moveTo>
                    <a:pt x="81343" y="136647"/>
                  </a:moveTo>
                  <a:lnTo>
                    <a:pt x="143763" y="30017"/>
                  </a:lnTo>
                  <a:lnTo>
                    <a:pt x="95912" y="0"/>
                  </a:lnTo>
                  <a:lnTo>
                    <a:pt x="19801" y="132126"/>
                  </a:lnTo>
                  <a:cubicBezTo>
                    <a:pt x="2972" y="164027"/>
                    <a:pt x="-7453" y="192788"/>
                    <a:pt x="6488" y="249808"/>
                  </a:cubicBezTo>
                  <a:lnTo>
                    <a:pt x="11135" y="242900"/>
                  </a:lnTo>
                  <a:cubicBezTo>
                    <a:pt x="16285" y="187513"/>
                    <a:pt x="54968" y="147197"/>
                    <a:pt x="81343" y="136647"/>
                  </a:cubicBezTo>
                  <a:lnTo>
                    <a:pt x="81343" y="136647"/>
                  </a:lnTo>
                  <a:close/>
                </a:path>
              </a:pathLst>
            </a:custGeom>
            <a:solidFill>
              <a:srgbClr val="7F7F7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948" name="Graphic 4">
            <a:extLst>
              <a:ext uri="{FF2B5EF4-FFF2-40B4-BE49-F238E27FC236}">
                <a16:creationId xmlns:a16="http://schemas.microsoft.com/office/drawing/2014/main" id="{84FB7ED1-A2DF-40A1-A747-5F7CF3F14040}"/>
              </a:ext>
            </a:extLst>
          </p:cNvPr>
          <p:cNvGrpSpPr/>
          <p:nvPr/>
        </p:nvGrpSpPr>
        <p:grpSpPr>
          <a:xfrm>
            <a:off x="6697095" y="3431225"/>
            <a:ext cx="682607" cy="563543"/>
            <a:chOff x="6697095" y="3431225"/>
            <a:chExt cx="682607" cy="563543"/>
          </a:xfrm>
          <a:solidFill>
            <a:schemeClr val="accent1"/>
          </a:solidFill>
        </p:grpSpPr>
        <p:grpSp>
          <p:nvGrpSpPr>
            <p:cNvPr id="3949" name="Graphic 4">
              <a:extLst>
                <a:ext uri="{FF2B5EF4-FFF2-40B4-BE49-F238E27FC236}">
                  <a16:creationId xmlns:a16="http://schemas.microsoft.com/office/drawing/2014/main" id="{84FB7ED1-A2DF-40A1-A747-5F7CF3F14040}"/>
                </a:ext>
              </a:extLst>
            </p:cNvPr>
            <p:cNvGrpSpPr/>
            <p:nvPr/>
          </p:nvGrpSpPr>
          <p:grpSpPr>
            <a:xfrm>
              <a:off x="7185659" y="3806879"/>
              <a:ext cx="118561" cy="107258"/>
              <a:chOff x="7185659" y="3806879"/>
              <a:chExt cx="118561" cy="107258"/>
            </a:xfrm>
            <a:solidFill>
              <a:schemeClr val="accent1"/>
            </a:solidFill>
          </p:grpSpPr>
          <p:grpSp>
            <p:nvGrpSpPr>
              <p:cNvPr id="3950" name="Graphic 4">
                <a:extLst>
                  <a:ext uri="{FF2B5EF4-FFF2-40B4-BE49-F238E27FC236}">
                    <a16:creationId xmlns:a16="http://schemas.microsoft.com/office/drawing/2014/main" id="{84FB7ED1-A2DF-40A1-A747-5F7CF3F14040}"/>
                  </a:ext>
                </a:extLst>
              </p:cNvPr>
              <p:cNvGrpSpPr/>
              <p:nvPr/>
            </p:nvGrpSpPr>
            <p:grpSpPr>
              <a:xfrm>
                <a:off x="7204121" y="3806879"/>
                <a:ext cx="64680" cy="72970"/>
                <a:chOff x="7204121" y="3806879"/>
                <a:chExt cx="64680" cy="72970"/>
              </a:xfrm>
              <a:solidFill>
                <a:schemeClr val="accent1"/>
              </a:solidFill>
            </p:grpSpPr>
            <p:grpSp>
              <p:nvGrpSpPr>
                <p:cNvPr id="3951" name="Graphic 4">
                  <a:extLst>
                    <a:ext uri="{FF2B5EF4-FFF2-40B4-BE49-F238E27FC236}">
                      <a16:creationId xmlns:a16="http://schemas.microsoft.com/office/drawing/2014/main" id="{84FB7ED1-A2DF-40A1-A747-5F7CF3F14040}"/>
                    </a:ext>
                  </a:extLst>
                </p:cNvPr>
                <p:cNvGrpSpPr/>
                <p:nvPr/>
              </p:nvGrpSpPr>
              <p:grpSpPr>
                <a:xfrm>
                  <a:off x="7204121" y="3839408"/>
                  <a:ext cx="64680" cy="40441"/>
                  <a:chOff x="7204121" y="3839408"/>
                  <a:chExt cx="64680" cy="40441"/>
                </a:xfrm>
                <a:solidFill>
                  <a:schemeClr val="accent1"/>
                </a:solidFill>
              </p:grpSpPr>
              <p:sp>
                <p:nvSpPr>
                  <p:cNvPr id="3952" name="Freeform: Shape 3951">
                    <a:extLst>
                      <a:ext uri="{FF2B5EF4-FFF2-40B4-BE49-F238E27FC236}">
                        <a16:creationId xmlns:a16="http://schemas.microsoft.com/office/drawing/2014/main" id="{E6E36F89-28E7-469F-A898-C399D3AA4117}"/>
                      </a:ext>
                    </a:extLst>
                  </p:cNvPr>
                  <p:cNvSpPr/>
                  <p:nvPr/>
                </p:nvSpPr>
                <p:spPr>
                  <a:xfrm>
                    <a:off x="7204121" y="3842548"/>
                    <a:ext cx="64680" cy="37301"/>
                  </a:xfrm>
                  <a:custGeom>
                    <a:avLst/>
                    <a:gdLst>
                      <a:gd name="connsiteX0" fmla="*/ 64681 w 64680"/>
                      <a:gd name="connsiteY0" fmla="*/ 18337 h 37301"/>
                      <a:gd name="connsiteX1" fmla="*/ 31901 w 64680"/>
                      <a:gd name="connsiteY1" fmla="*/ 37302 h 37301"/>
                      <a:gd name="connsiteX2" fmla="*/ 30519 w 64680"/>
                      <a:gd name="connsiteY2" fmla="*/ 36548 h 37301"/>
                      <a:gd name="connsiteX3" fmla="*/ 28133 w 64680"/>
                      <a:gd name="connsiteY3" fmla="*/ 35167 h 37301"/>
                      <a:gd name="connsiteX4" fmla="*/ 23863 w 64680"/>
                      <a:gd name="connsiteY4" fmla="*/ 32655 h 37301"/>
                      <a:gd name="connsiteX5" fmla="*/ 19216 w 64680"/>
                      <a:gd name="connsiteY5" fmla="*/ 30017 h 37301"/>
                      <a:gd name="connsiteX6" fmla="*/ 16829 w 64680"/>
                      <a:gd name="connsiteY6" fmla="*/ 28636 h 37301"/>
                      <a:gd name="connsiteX7" fmla="*/ 12685 w 64680"/>
                      <a:gd name="connsiteY7" fmla="*/ 26124 h 37301"/>
                      <a:gd name="connsiteX8" fmla="*/ 8037 w 64680"/>
                      <a:gd name="connsiteY8" fmla="*/ 23612 h 37301"/>
                      <a:gd name="connsiteX9" fmla="*/ 5777 w 64680"/>
                      <a:gd name="connsiteY9" fmla="*/ 22230 h 37301"/>
                      <a:gd name="connsiteX10" fmla="*/ 1507 w 64680"/>
                      <a:gd name="connsiteY10" fmla="*/ 19718 h 37301"/>
                      <a:gd name="connsiteX11" fmla="*/ 0 w 64680"/>
                      <a:gd name="connsiteY11" fmla="*/ 18965 h 37301"/>
                      <a:gd name="connsiteX12" fmla="*/ 1507 w 64680"/>
                      <a:gd name="connsiteY12" fmla="*/ 18086 h 37301"/>
                      <a:gd name="connsiteX13" fmla="*/ 5777 w 64680"/>
                      <a:gd name="connsiteY13" fmla="*/ 15574 h 37301"/>
                      <a:gd name="connsiteX14" fmla="*/ 8037 w 64680"/>
                      <a:gd name="connsiteY14" fmla="*/ 14318 h 37301"/>
                      <a:gd name="connsiteX15" fmla="*/ 32906 w 64680"/>
                      <a:gd name="connsiteY15" fmla="*/ 0 h 3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680" h="37301">
                        <a:moveTo>
                          <a:pt x="64681" y="18337"/>
                        </a:moveTo>
                        <a:lnTo>
                          <a:pt x="31901" y="37302"/>
                        </a:lnTo>
                        <a:lnTo>
                          <a:pt x="30519" y="36548"/>
                        </a:lnTo>
                        <a:lnTo>
                          <a:pt x="28133" y="35167"/>
                        </a:lnTo>
                        <a:lnTo>
                          <a:pt x="23863" y="32655"/>
                        </a:lnTo>
                        <a:lnTo>
                          <a:pt x="19216" y="30017"/>
                        </a:lnTo>
                        <a:lnTo>
                          <a:pt x="16829" y="28636"/>
                        </a:lnTo>
                        <a:lnTo>
                          <a:pt x="12685" y="26124"/>
                        </a:lnTo>
                        <a:lnTo>
                          <a:pt x="8037" y="23612"/>
                        </a:lnTo>
                        <a:lnTo>
                          <a:pt x="5777" y="22230"/>
                        </a:lnTo>
                        <a:lnTo>
                          <a:pt x="1507" y="19718"/>
                        </a:lnTo>
                        <a:lnTo>
                          <a:pt x="0" y="18965"/>
                        </a:lnTo>
                        <a:lnTo>
                          <a:pt x="1507" y="18086"/>
                        </a:lnTo>
                        <a:lnTo>
                          <a:pt x="5777" y="15574"/>
                        </a:lnTo>
                        <a:lnTo>
                          <a:pt x="8037" y="14318"/>
                        </a:lnTo>
                        <a:lnTo>
                          <a:pt x="32906"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3" name="Freeform: Shape 3952">
                    <a:extLst>
                      <a:ext uri="{FF2B5EF4-FFF2-40B4-BE49-F238E27FC236}">
                        <a16:creationId xmlns:a16="http://schemas.microsoft.com/office/drawing/2014/main" id="{B9115B81-95C5-4548-B8F1-42541509AB9D}"/>
                      </a:ext>
                    </a:extLst>
                  </p:cNvPr>
                  <p:cNvSpPr/>
                  <p:nvPr/>
                </p:nvSpPr>
                <p:spPr>
                  <a:xfrm>
                    <a:off x="7207387" y="3843050"/>
                    <a:ext cx="61415" cy="35543"/>
                  </a:xfrm>
                  <a:custGeom>
                    <a:avLst/>
                    <a:gdLst>
                      <a:gd name="connsiteX0" fmla="*/ 61415 w 61415"/>
                      <a:gd name="connsiteY0" fmla="*/ 17583 h 35543"/>
                      <a:gd name="connsiteX1" fmla="*/ 30268 w 61415"/>
                      <a:gd name="connsiteY1" fmla="*/ 35543 h 35543"/>
                      <a:gd name="connsiteX2" fmla="*/ 0 w 61415"/>
                      <a:gd name="connsiteY2" fmla="*/ 18086 h 35543"/>
                      <a:gd name="connsiteX3" fmla="*/ 0 w 61415"/>
                      <a:gd name="connsiteY3" fmla="*/ 17332 h 35543"/>
                      <a:gd name="connsiteX4" fmla="*/ 31147 w 61415"/>
                      <a:gd name="connsiteY4" fmla="*/ 0 h 35543"/>
                      <a:gd name="connsiteX5" fmla="*/ 61415 w 61415"/>
                      <a:gd name="connsiteY5" fmla="*/ 16830 h 3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15" h="35543">
                        <a:moveTo>
                          <a:pt x="61415" y="17583"/>
                        </a:moveTo>
                        <a:lnTo>
                          <a:pt x="30268" y="35543"/>
                        </a:lnTo>
                        <a:lnTo>
                          <a:pt x="0" y="18086"/>
                        </a:lnTo>
                        <a:lnTo>
                          <a:pt x="0" y="17332"/>
                        </a:lnTo>
                        <a:lnTo>
                          <a:pt x="31147" y="0"/>
                        </a:lnTo>
                        <a:lnTo>
                          <a:pt x="61415" y="1683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4" name="Freeform: Shape 3953">
                    <a:extLst>
                      <a:ext uri="{FF2B5EF4-FFF2-40B4-BE49-F238E27FC236}">
                        <a16:creationId xmlns:a16="http://schemas.microsoft.com/office/drawing/2014/main" id="{F121577C-214D-44A7-9565-D4A68CBF927F}"/>
                      </a:ext>
                    </a:extLst>
                  </p:cNvPr>
                  <p:cNvSpPr/>
                  <p:nvPr/>
                </p:nvSpPr>
                <p:spPr>
                  <a:xfrm>
                    <a:off x="7207387" y="3842422"/>
                    <a:ext cx="61415" cy="35417"/>
                  </a:xfrm>
                  <a:custGeom>
                    <a:avLst/>
                    <a:gdLst>
                      <a:gd name="connsiteX0" fmla="*/ 61415 w 61415"/>
                      <a:gd name="connsiteY0" fmla="*/ 17458 h 35417"/>
                      <a:gd name="connsiteX1" fmla="*/ 30268 w 61415"/>
                      <a:gd name="connsiteY1" fmla="*/ 35418 h 35417"/>
                      <a:gd name="connsiteX2" fmla="*/ 28887 w 61415"/>
                      <a:gd name="connsiteY2" fmla="*/ 34664 h 35417"/>
                      <a:gd name="connsiteX3" fmla="*/ 26626 w 61415"/>
                      <a:gd name="connsiteY3" fmla="*/ 33408 h 35417"/>
                      <a:gd name="connsiteX4" fmla="*/ 22607 w 61415"/>
                      <a:gd name="connsiteY4" fmla="*/ 31022 h 35417"/>
                      <a:gd name="connsiteX5" fmla="*/ 18211 w 61415"/>
                      <a:gd name="connsiteY5" fmla="*/ 28510 h 35417"/>
                      <a:gd name="connsiteX6" fmla="*/ 15950 w 61415"/>
                      <a:gd name="connsiteY6" fmla="*/ 27254 h 35417"/>
                      <a:gd name="connsiteX7" fmla="*/ 11931 w 61415"/>
                      <a:gd name="connsiteY7" fmla="*/ 24868 h 35417"/>
                      <a:gd name="connsiteX8" fmla="*/ 7661 w 61415"/>
                      <a:gd name="connsiteY8" fmla="*/ 22356 h 35417"/>
                      <a:gd name="connsiteX9" fmla="*/ 5400 w 61415"/>
                      <a:gd name="connsiteY9" fmla="*/ 21100 h 35417"/>
                      <a:gd name="connsiteX10" fmla="*/ 1381 w 61415"/>
                      <a:gd name="connsiteY10" fmla="*/ 18714 h 35417"/>
                      <a:gd name="connsiteX11" fmla="*/ 0 w 61415"/>
                      <a:gd name="connsiteY11" fmla="*/ 17960 h 35417"/>
                      <a:gd name="connsiteX12" fmla="*/ 1381 w 61415"/>
                      <a:gd name="connsiteY12" fmla="*/ 17206 h 35417"/>
                      <a:gd name="connsiteX13" fmla="*/ 5400 w 61415"/>
                      <a:gd name="connsiteY13" fmla="*/ 14820 h 35417"/>
                      <a:gd name="connsiteX14" fmla="*/ 7661 w 61415"/>
                      <a:gd name="connsiteY14" fmla="*/ 13564 h 35417"/>
                      <a:gd name="connsiteX15" fmla="*/ 31147 w 61415"/>
                      <a:gd name="connsiteY15" fmla="*/ 0 h 3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415" h="35417">
                        <a:moveTo>
                          <a:pt x="61415" y="17458"/>
                        </a:moveTo>
                        <a:lnTo>
                          <a:pt x="30268" y="35418"/>
                        </a:lnTo>
                        <a:lnTo>
                          <a:pt x="28887" y="34664"/>
                        </a:lnTo>
                        <a:lnTo>
                          <a:pt x="26626" y="33408"/>
                        </a:lnTo>
                        <a:lnTo>
                          <a:pt x="22607" y="31022"/>
                        </a:lnTo>
                        <a:lnTo>
                          <a:pt x="18211" y="28510"/>
                        </a:lnTo>
                        <a:lnTo>
                          <a:pt x="15950" y="27254"/>
                        </a:lnTo>
                        <a:lnTo>
                          <a:pt x="11931" y="24868"/>
                        </a:lnTo>
                        <a:lnTo>
                          <a:pt x="7661" y="22356"/>
                        </a:lnTo>
                        <a:lnTo>
                          <a:pt x="5400" y="21100"/>
                        </a:lnTo>
                        <a:lnTo>
                          <a:pt x="1381" y="18714"/>
                        </a:lnTo>
                        <a:lnTo>
                          <a:pt x="0" y="17960"/>
                        </a:lnTo>
                        <a:lnTo>
                          <a:pt x="1381" y="17206"/>
                        </a:lnTo>
                        <a:lnTo>
                          <a:pt x="5400" y="14820"/>
                        </a:lnTo>
                        <a:lnTo>
                          <a:pt x="7661" y="13564"/>
                        </a:lnTo>
                        <a:lnTo>
                          <a:pt x="31147"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5" name="Freeform: Shape 3954">
                    <a:extLst>
                      <a:ext uri="{FF2B5EF4-FFF2-40B4-BE49-F238E27FC236}">
                        <a16:creationId xmlns:a16="http://schemas.microsoft.com/office/drawing/2014/main" id="{DFDE5A17-7648-4285-BC1A-77614DAB19D8}"/>
                      </a:ext>
                    </a:extLst>
                  </p:cNvPr>
                  <p:cNvSpPr/>
                  <p:nvPr/>
                </p:nvSpPr>
                <p:spPr>
                  <a:xfrm>
                    <a:off x="7211155" y="3844557"/>
                    <a:ext cx="31272" cy="18085"/>
                  </a:xfrm>
                  <a:custGeom>
                    <a:avLst/>
                    <a:gdLst>
                      <a:gd name="connsiteX0" fmla="*/ 31273 w 31272"/>
                      <a:gd name="connsiteY0" fmla="*/ 0 h 18085"/>
                      <a:gd name="connsiteX1" fmla="*/ 0 w 31272"/>
                      <a:gd name="connsiteY1" fmla="*/ 18086 h 18085"/>
                      <a:gd name="connsiteX2" fmla="*/ 0 w 31272"/>
                      <a:gd name="connsiteY2" fmla="*/ 17960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0" y="18086"/>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6" name="Freeform: Shape 3955">
                    <a:extLst>
                      <a:ext uri="{FF2B5EF4-FFF2-40B4-BE49-F238E27FC236}">
                        <a16:creationId xmlns:a16="http://schemas.microsoft.com/office/drawing/2014/main" id="{1057219C-6ACF-4C57-A49B-765D762ABFBD}"/>
                      </a:ext>
                    </a:extLst>
                  </p:cNvPr>
                  <p:cNvSpPr/>
                  <p:nvPr/>
                </p:nvSpPr>
                <p:spPr>
                  <a:xfrm>
                    <a:off x="7214922" y="3846692"/>
                    <a:ext cx="31272" cy="18085"/>
                  </a:xfrm>
                  <a:custGeom>
                    <a:avLst/>
                    <a:gdLst>
                      <a:gd name="connsiteX0" fmla="*/ 31273 w 31272"/>
                      <a:gd name="connsiteY0" fmla="*/ 126 h 18085"/>
                      <a:gd name="connsiteX1" fmla="*/ 0 w 31272"/>
                      <a:gd name="connsiteY1" fmla="*/ 18086 h 18085"/>
                      <a:gd name="connsiteX2" fmla="*/ 0 w 31272"/>
                      <a:gd name="connsiteY2" fmla="*/ 18086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0" y="18086"/>
                        </a:lnTo>
                        <a:lnTo>
                          <a:pt x="0" y="18086"/>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7" name="Freeform: Shape 3956">
                    <a:extLst>
                      <a:ext uri="{FF2B5EF4-FFF2-40B4-BE49-F238E27FC236}">
                        <a16:creationId xmlns:a16="http://schemas.microsoft.com/office/drawing/2014/main" id="{16BBC90B-235B-4FD3-B5CF-354533327AAE}"/>
                      </a:ext>
                    </a:extLst>
                  </p:cNvPr>
                  <p:cNvSpPr/>
                  <p:nvPr/>
                </p:nvSpPr>
                <p:spPr>
                  <a:xfrm>
                    <a:off x="7218690" y="3848953"/>
                    <a:ext cx="31272" cy="18085"/>
                  </a:xfrm>
                  <a:custGeom>
                    <a:avLst/>
                    <a:gdLst>
                      <a:gd name="connsiteX0" fmla="*/ 31273 w 31272"/>
                      <a:gd name="connsiteY0" fmla="*/ 0 h 18085"/>
                      <a:gd name="connsiteX1" fmla="*/ 126 w 31272"/>
                      <a:gd name="connsiteY1" fmla="*/ 18086 h 18085"/>
                      <a:gd name="connsiteX2" fmla="*/ 0 w 31272"/>
                      <a:gd name="connsiteY2" fmla="*/ 17960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126" y="18086"/>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8" name="Freeform: Shape 3957">
                    <a:extLst>
                      <a:ext uri="{FF2B5EF4-FFF2-40B4-BE49-F238E27FC236}">
                        <a16:creationId xmlns:a16="http://schemas.microsoft.com/office/drawing/2014/main" id="{A387271B-6C12-4655-BEC2-48AD286F357C}"/>
                      </a:ext>
                    </a:extLst>
                  </p:cNvPr>
                  <p:cNvSpPr/>
                  <p:nvPr/>
                </p:nvSpPr>
                <p:spPr>
                  <a:xfrm>
                    <a:off x="7222458" y="3851088"/>
                    <a:ext cx="31272" cy="18085"/>
                  </a:xfrm>
                  <a:custGeom>
                    <a:avLst/>
                    <a:gdLst>
                      <a:gd name="connsiteX0" fmla="*/ 31273 w 31272"/>
                      <a:gd name="connsiteY0" fmla="*/ 126 h 18085"/>
                      <a:gd name="connsiteX1" fmla="*/ 126 w 31272"/>
                      <a:gd name="connsiteY1" fmla="*/ 18086 h 18085"/>
                      <a:gd name="connsiteX2" fmla="*/ 0 w 31272"/>
                      <a:gd name="connsiteY2" fmla="*/ 18086 h 18085"/>
                      <a:gd name="connsiteX3" fmla="*/ 31148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126" y="18086"/>
                        </a:lnTo>
                        <a:lnTo>
                          <a:pt x="0" y="18086"/>
                        </a:lnTo>
                        <a:lnTo>
                          <a:pt x="31148"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9" name="Freeform: Shape 3958">
                    <a:extLst>
                      <a:ext uri="{FF2B5EF4-FFF2-40B4-BE49-F238E27FC236}">
                        <a16:creationId xmlns:a16="http://schemas.microsoft.com/office/drawing/2014/main" id="{36D8C663-F02A-4FF1-A544-B236A541AE47}"/>
                      </a:ext>
                    </a:extLst>
                  </p:cNvPr>
                  <p:cNvSpPr/>
                  <p:nvPr/>
                </p:nvSpPr>
                <p:spPr>
                  <a:xfrm>
                    <a:off x="7226226" y="3853349"/>
                    <a:ext cx="31272" cy="17960"/>
                  </a:xfrm>
                  <a:custGeom>
                    <a:avLst/>
                    <a:gdLst>
                      <a:gd name="connsiteX0" fmla="*/ 31273 w 31272"/>
                      <a:gd name="connsiteY0" fmla="*/ 0 h 17960"/>
                      <a:gd name="connsiteX1" fmla="*/ 125 w 31272"/>
                      <a:gd name="connsiteY1" fmla="*/ 17960 h 17960"/>
                      <a:gd name="connsiteX2" fmla="*/ 0 w 31272"/>
                      <a:gd name="connsiteY2" fmla="*/ 17960 h 17960"/>
                      <a:gd name="connsiteX3" fmla="*/ 31147 w 31272"/>
                      <a:gd name="connsiteY3" fmla="*/ 0 h 17960"/>
                    </a:gdLst>
                    <a:ahLst/>
                    <a:cxnLst>
                      <a:cxn ang="0">
                        <a:pos x="connsiteX0" y="connsiteY0"/>
                      </a:cxn>
                      <a:cxn ang="0">
                        <a:pos x="connsiteX1" y="connsiteY1"/>
                      </a:cxn>
                      <a:cxn ang="0">
                        <a:pos x="connsiteX2" y="connsiteY2"/>
                      </a:cxn>
                      <a:cxn ang="0">
                        <a:pos x="connsiteX3" y="connsiteY3"/>
                      </a:cxn>
                    </a:cxnLst>
                    <a:rect l="l" t="t" r="r" b="b"/>
                    <a:pathLst>
                      <a:path w="31272" h="17960">
                        <a:moveTo>
                          <a:pt x="31273" y="0"/>
                        </a:moveTo>
                        <a:lnTo>
                          <a:pt x="125" y="17960"/>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0" name="Freeform: Shape 3959">
                    <a:extLst>
                      <a:ext uri="{FF2B5EF4-FFF2-40B4-BE49-F238E27FC236}">
                        <a16:creationId xmlns:a16="http://schemas.microsoft.com/office/drawing/2014/main" id="{75AE5FEE-9A96-4C93-913C-ADE7FCC20142}"/>
                      </a:ext>
                    </a:extLst>
                  </p:cNvPr>
                  <p:cNvSpPr/>
                  <p:nvPr/>
                </p:nvSpPr>
                <p:spPr>
                  <a:xfrm>
                    <a:off x="7229994" y="3855484"/>
                    <a:ext cx="31272" cy="18085"/>
                  </a:xfrm>
                  <a:custGeom>
                    <a:avLst/>
                    <a:gdLst>
                      <a:gd name="connsiteX0" fmla="*/ 31273 w 31272"/>
                      <a:gd name="connsiteY0" fmla="*/ 0 h 18085"/>
                      <a:gd name="connsiteX1" fmla="*/ 126 w 31272"/>
                      <a:gd name="connsiteY1" fmla="*/ 18085 h 18085"/>
                      <a:gd name="connsiteX2" fmla="*/ 0 w 31272"/>
                      <a:gd name="connsiteY2" fmla="*/ 17960 h 18085"/>
                      <a:gd name="connsiteX3" fmla="*/ 31273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126" y="18085"/>
                        </a:lnTo>
                        <a:lnTo>
                          <a:pt x="0" y="17960"/>
                        </a:lnTo>
                        <a:lnTo>
                          <a:pt x="31273"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1" name="Freeform: Shape 3960">
                    <a:extLst>
                      <a:ext uri="{FF2B5EF4-FFF2-40B4-BE49-F238E27FC236}">
                        <a16:creationId xmlns:a16="http://schemas.microsoft.com/office/drawing/2014/main" id="{5188C877-CFF1-4A83-B733-BCE6D76B3772}"/>
                      </a:ext>
                    </a:extLst>
                  </p:cNvPr>
                  <p:cNvSpPr/>
                  <p:nvPr/>
                </p:nvSpPr>
                <p:spPr>
                  <a:xfrm>
                    <a:off x="7233762" y="3857619"/>
                    <a:ext cx="31272" cy="18085"/>
                  </a:xfrm>
                  <a:custGeom>
                    <a:avLst/>
                    <a:gdLst>
                      <a:gd name="connsiteX0" fmla="*/ 31273 w 31272"/>
                      <a:gd name="connsiteY0" fmla="*/ 126 h 18085"/>
                      <a:gd name="connsiteX1" fmla="*/ 126 w 31272"/>
                      <a:gd name="connsiteY1" fmla="*/ 18086 h 18085"/>
                      <a:gd name="connsiteX2" fmla="*/ 0 w 31272"/>
                      <a:gd name="connsiteY2" fmla="*/ 18086 h 18085"/>
                      <a:gd name="connsiteX3" fmla="*/ 31273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126" y="18086"/>
                        </a:lnTo>
                        <a:lnTo>
                          <a:pt x="0" y="18086"/>
                        </a:lnTo>
                        <a:lnTo>
                          <a:pt x="31273"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2" name="Freeform: Shape 3961">
                    <a:extLst>
                      <a:ext uri="{FF2B5EF4-FFF2-40B4-BE49-F238E27FC236}">
                        <a16:creationId xmlns:a16="http://schemas.microsoft.com/office/drawing/2014/main" id="{8859FE8F-C67E-4143-AD07-EF649DBF5442}"/>
                      </a:ext>
                    </a:extLst>
                  </p:cNvPr>
                  <p:cNvSpPr/>
                  <p:nvPr/>
                </p:nvSpPr>
                <p:spPr>
                  <a:xfrm>
                    <a:off x="7209773" y="3855986"/>
                    <a:ext cx="4019" cy="8038"/>
                  </a:xfrm>
                  <a:custGeom>
                    <a:avLst/>
                    <a:gdLst>
                      <a:gd name="connsiteX0" fmla="*/ 4019 w 4019"/>
                      <a:gd name="connsiteY0" fmla="*/ 0 h 8038"/>
                      <a:gd name="connsiteX1" fmla="*/ 4019 w 4019"/>
                      <a:gd name="connsiteY1" fmla="*/ 8038 h 8038"/>
                      <a:gd name="connsiteX2" fmla="*/ 0 w 4019"/>
                      <a:gd name="connsiteY2" fmla="*/ 5777 h 8038"/>
                      <a:gd name="connsiteX3" fmla="*/ 0 w 4019"/>
                      <a:gd name="connsiteY3" fmla="*/ 2135 h 8038"/>
                      <a:gd name="connsiteX4" fmla="*/ 4019 w 4019"/>
                      <a:gd name="connsiteY4" fmla="*/ 0 h 8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8038">
                        <a:moveTo>
                          <a:pt x="4019" y="0"/>
                        </a:moveTo>
                        <a:lnTo>
                          <a:pt x="4019" y="8038"/>
                        </a:lnTo>
                        <a:lnTo>
                          <a:pt x="0" y="5777"/>
                        </a:lnTo>
                        <a:lnTo>
                          <a:pt x="0" y="2135"/>
                        </a:lnTo>
                        <a:cubicBezTo>
                          <a:pt x="1382" y="1382"/>
                          <a:pt x="2638" y="754"/>
                          <a:pt x="4019"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3" name="Freeform: Shape 3962">
                    <a:extLst>
                      <a:ext uri="{FF2B5EF4-FFF2-40B4-BE49-F238E27FC236}">
                        <a16:creationId xmlns:a16="http://schemas.microsoft.com/office/drawing/2014/main" id="{A7624365-C138-429E-9652-79E6FEB7952F}"/>
                      </a:ext>
                    </a:extLst>
                  </p:cNvPr>
                  <p:cNvSpPr/>
                  <p:nvPr/>
                </p:nvSpPr>
                <p:spPr>
                  <a:xfrm>
                    <a:off x="7213792" y="3855986"/>
                    <a:ext cx="2260" cy="8163"/>
                  </a:xfrm>
                  <a:custGeom>
                    <a:avLst/>
                    <a:gdLst>
                      <a:gd name="connsiteX0" fmla="*/ 2261 w 2260"/>
                      <a:gd name="connsiteY0" fmla="*/ 0 h 8163"/>
                      <a:gd name="connsiteX1" fmla="*/ 2261 w 2260"/>
                      <a:gd name="connsiteY1" fmla="*/ 6782 h 8163"/>
                      <a:gd name="connsiteX2" fmla="*/ 0 w 2260"/>
                      <a:gd name="connsiteY2" fmla="*/ 8164 h 8163"/>
                      <a:gd name="connsiteX3" fmla="*/ 0 w 2260"/>
                      <a:gd name="connsiteY3" fmla="*/ 0 h 8163"/>
                    </a:gdLst>
                    <a:ahLst/>
                    <a:cxnLst>
                      <a:cxn ang="0">
                        <a:pos x="connsiteX0" y="connsiteY0"/>
                      </a:cxn>
                      <a:cxn ang="0">
                        <a:pos x="connsiteX1" y="connsiteY1"/>
                      </a:cxn>
                      <a:cxn ang="0">
                        <a:pos x="connsiteX2" y="connsiteY2"/>
                      </a:cxn>
                      <a:cxn ang="0">
                        <a:pos x="connsiteX3" y="connsiteY3"/>
                      </a:cxn>
                    </a:cxnLst>
                    <a:rect l="l" t="t" r="r" b="b"/>
                    <a:pathLst>
                      <a:path w="2260" h="8163">
                        <a:moveTo>
                          <a:pt x="2261" y="0"/>
                        </a:moveTo>
                        <a:lnTo>
                          <a:pt x="2261" y="6782"/>
                        </a:lnTo>
                        <a:lnTo>
                          <a:pt x="0" y="8164"/>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4" name="Freeform: Shape 3963">
                    <a:extLst>
                      <a:ext uri="{FF2B5EF4-FFF2-40B4-BE49-F238E27FC236}">
                        <a16:creationId xmlns:a16="http://schemas.microsoft.com/office/drawing/2014/main" id="{5B9E1944-CAB2-4467-B703-16776563C0B4}"/>
                      </a:ext>
                    </a:extLst>
                  </p:cNvPr>
                  <p:cNvSpPr/>
                  <p:nvPr/>
                </p:nvSpPr>
                <p:spPr>
                  <a:xfrm>
                    <a:off x="7220323" y="3862266"/>
                    <a:ext cx="4019" cy="8038"/>
                  </a:xfrm>
                  <a:custGeom>
                    <a:avLst/>
                    <a:gdLst>
                      <a:gd name="connsiteX0" fmla="*/ 4019 w 4019"/>
                      <a:gd name="connsiteY0" fmla="*/ 0 h 8038"/>
                      <a:gd name="connsiteX1" fmla="*/ 4019 w 4019"/>
                      <a:gd name="connsiteY1" fmla="*/ 8038 h 8038"/>
                      <a:gd name="connsiteX2" fmla="*/ 0 w 4019"/>
                      <a:gd name="connsiteY2" fmla="*/ 5652 h 8038"/>
                      <a:gd name="connsiteX3" fmla="*/ 0 w 4019"/>
                      <a:gd name="connsiteY3" fmla="*/ 0 h 8038"/>
                    </a:gdLst>
                    <a:ahLst/>
                    <a:cxnLst>
                      <a:cxn ang="0">
                        <a:pos x="connsiteX0" y="connsiteY0"/>
                      </a:cxn>
                      <a:cxn ang="0">
                        <a:pos x="connsiteX1" y="connsiteY1"/>
                      </a:cxn>
                      <a:cxn ang="0">
                        <a:pos x="connsiteX2" y="connsiteY2"/>
                      </a:cxn>
                      <a:cxn ang="0">
                        <a:pos x="connsiteX3" y="connsiteY3"/>
                      </a:cxn>
                    </a:cxnLst>
                    <a:rect l="l" t="t" r="r" b="b"/>
                    <a:pathLst>
                      <a:path w="4019" h="8038">
                        <a:moveTo>
                          <a:pt x="4019" y="0"/>
                        </a:moveTo>
                        <a:lnTo>
                          <a:pt x="4019" y="8038"/>
                        </a:lnTo>
                        <a:lnTo>
                          <a:pt x="0" y="565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5" name="Freeform: Shape 3964">
                    <a:extLst>
                      <a:ext uri="{FF2B5EF4-FFF2-40B4-BE49-F238E27FC236}">
                        <a16:creationId xmlns:a16="http://schemas.microsoft.com/office/drawing/2014/main" id="{2BBC3AB2-1E3C-4CDB-91E2-4DBB4900F727}"/>
                      </a:ext>
                    </a:extLst>
                  </p:cNvPr>
                  <p:cNvSpPr/>
                  <p:nvPr/>
                </p:nvSpPr>
                <p:spPr>
                  <a:xfrm>
                    <a:off x="7224342" y="3862266"/>
                    <a:ext cx="2260" cy="8038"/>
                  </a:xfrm>
                  <a:custGeom>
                    <a:avLst/>
                    <a:gdLst>
                      <a:gd name="connsiteX0" fmla="*/ 2261 w 2260"/>
                      <a:gd name="connsiteY0" fmla="*/ 0 h 8038"/>
                      <a:gd name="connsiteX1" fmla="*/ 2261 w 2260"/>
                      <a:gd name="connsiteY1" fmla="*/ 6657 h 8038"/>
                      <a:gd name="connsiteX2" fmla="*/ 0 w 2260"/>
                      <a:gd name="connsiteY2" fmla="*/ 8038 h 8038"/>
                      <a:gd name="connsiteX3" fmla="*/ 0 w 2260"/>
                      <a:gd name="connsiteY3" fmla="*/ 0 h 8038"/>
                    </a:gdLst>
                    <a:ahLst/>
                    <a:cxnLst>
                      <a:cxn ang="0">
                        <a:pos x="connsiteX0" y="connsiteY0"/>
                      </a:cxn>
                      <a:cxn ang="0">
                        <a:pos x="connsiteX1" y="connsiteY1"/>
                      </a:cxn>
                      <a:cxn ang="0">
                        <a:pos x="connsiteX2" y="connsiteY2"/>
                      </a:cxn>
                      <a:cxn ang="0">
                        <a:pos x="connsiteX3" y="connsiteY3"/>
                      </a:cxn>
                    </a:cxnLst>
                    <a:rect l="l" t="t" r="r" b="b"/>
                    <a:pathLst>
                      <a:path w="2260" h="8038">
                        <a:moveTo>
                          <a:pt x="2261" y="0"/>
                        </a:moveTo>
                        <a:lnTo>
                          <a:pt x="2261" y="6657"/>
                        </a:lnTo>
                        <a:lnTo>
                          <a:pt x="0" y="8038"/>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6" name="Freeform: Shape 3965">
                    <a:extLst>
                      <a:ext uri="{FF2B5EF4-FFF2-40B4-BE49-F238E27FC236}">
                        <a16:creationId xmlns:a16="http://schemas.microsoft.com/office/drawing/2014/main" id="{DBB44125-9540-4654-86B6-D2365964202C}"/>
                      </a:ext>
                    </a:extLst>
                  </p:cNvPr>
                  <p:cNvSpPr/>
                  <p:nvPr/>
                </p:nvSpPr>
                <p:spPr>
                  <a:xfrm>
                    <a:off x="7247828" y="3861889"/>
                    <a:ext cx="4019" cy="7912"/>
                  </a:xfrm>
                  <a:custGeom>
                    <a:avLst/>
                    <a:gdLst>
                      <a:gd name="connsiteX0" fmla="*/ 4019 w 4019"/>
                      <a:gd name="connsiteY0" fmla="*/ 0 h 7912"/>
                      <a:gd name="connsiteX1" fmla="*/ 4019 w 4019"/>
                      <a:gd name="connsiteY1" fmla="*/ 7913 h 7912"/>
                      <a:gd name="connsiteX2" fmla="*/ 0 w 4019"/>
                      <a:gd name="connsiteY2" fmla="*/ 5526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3"/>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7" name="Freeform: Shape 3966">
                    <a:extLst>
                      <a:ext uri="{FF2B5EF4-FFF2-40B4-BE49-F238E27FC236}">
                        <a16:creationId xmlns:a16="http://schemas.microsoft.com/office/drawing/2014/main" id="{123B34A6-6B70-4A1C-A029-DDF37CB066E2}"/>
                      </a:ext>
                    </a:extLst>
                  </p:cNvPr>
                  <p:cNvSpPr/>
                  <p:nvPr/>
                </p:nvSpPr>
                <p:spPr>
                  <a:xfrm>
                    <a:off x="7251847" y="3861889"/>
                    <a:ext cx="2134" cy="7912"/>
                  </a:xfrm>
                  <a:custGeom>
                    <a:avLst/>
                    <a:gdLst>
                      <a:gd name="connsiteX0" fmla="*/ 2135 w 2134"/>
                      <a:gd name="connsiteY0" fmla="*/ 0 h 7912"/>
                      <a:gd name="connsiteX1" fmla="*/ 2135 w 2134"/>
                      <a:gd name="connsiteY1" fmla="*/ 6531 h 7912"/>
                      <a:gd name="connsiteX2" fmla="*/ 0 w 2134"/>
                      <a:gd name="connsiteY2" fmla="*/ 7913 h 7912"/>
                      <a:gd name="connsiteX3" fmla="*/ 0 w 2134"/>
                      <a:gd name="connsiteY3" fmla="*/ 0 h 7912"/>
                    </a:gdLst>
                    <a:ahLst/>
                    <a:cxnLst>
                      <a:cxn ang="0">
                        <a:pos x="connsiteX0" y="connsiteY0"/>
                      </a:cxn>
                      <a:cxn ang="0">
                        <a:pos x="connsiteX1" y="connsiteY1"/>
                      </a:cxn>
                      <a:cxn ang="0">
                        <a:pos x="connsiteX2" y="connsiteY2"/>
                      </a:cxn>
                      <a:cxn ang="0">
                        <a:pos x="connsiteX3" y="connsiteY3"/>
                      </a:cxn>
                    </a:cxnLst>
                    <a:rect l="l" t="t" r="r" b="b"/>
                    <a:pathLst>
                      <a:path w="2134" h="7912">
                        <a:moveTo>
                          <a:pt x="2135" y="0"/>
                        </a:moveTo>
                        <a:lnTo>
                          <a:pt x="2135" y="6531"/>
                        </a:lnTo>
                        <a:lnTo>
                          <a:pt x="0" y="7913"/>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8" name="Freeform: Shape 3967">
                    <a:extLst>
                      <a:ext uri="{FF2B5EF4-FFF2-40B4-BE49-F238E27FC236}">
                        <a16:creationId xmlns:a16="http://schemas.microsoft.com/office/drawing/2014/main" id="{04CD0ACC-96F3-4C90-AA09-27A3509D87CF}"/>
                      </a:ext>
                    </a:extLst>
                  </p:cNvPr>
                  <p:cNvSpPr/>
                  <p:nvPr/>
                </p:nvSpPr>
                <p:spPr>
                  <a:xfrm>
                    <a:off x="7233510" y="3870179"/>
                    <a:ext cx="4019" cy="7912"/>
                  </a:xfrm>
                  <a:custGeom>
                    <a:avLst/>
                    <a:gdLst>
                      <a:gd name="connsiteX0" fmla="*/ 4019 w 4019"/>
                      <a:gd name="connsiteY0" fmla="*/ 0 h 7912"/>
                      <a:gd name="connsiteX1" fmla="*/ 4019 w 4019"/>
                      <a:gd name="connsiteY1" fmla="*/ 7912 h 7912"/>
                      <a:gd name="connsiteX2" fmla="*/ 0 w 4019"/>
                      <a:gd name="connsiteY2" fmla="*/ 5526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2"/>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9" name="Freeform: Shape 3968">
                    <a:extLst>
                      <a:ext uri="{FF2B5EF4-FFF2-40B4-BE49-F238E27FC236}">
                        <a16:creationId xmlns:a16="http://schemas.microsoft.com/office/drawing/2014/main" id="{06419F84-0816-4DD5-98C7-B0DDCAD22518}"/>
                      </a:ext>
                    </a:extLst>
                  </p:cNvPr>
                  <p:cNvSpPr/>
                  <p:nvPr/>
                </p:nvSpPr>
                <p:spPr>
                  <a:xfrm>
                    <a:off x="7237529" y="3870179"/>
                    <a:ext cx="2260" cy="7912"/>
                  </a:xfrm>
                  <a:custGeom>
                    <a:avLst/>
                    <a:gdLst>
                      <a:gd name="connsiteX0" fmla="*/ 2261 w 2260"/>
                      <a:gd name="connsiteY0" fmla="*/ 0 h 7912"/>
                      <a:gd name="connsiteX1" fmla="*/ 2261 w 2260"/>
                      <a:gd name="connsiteY1" fmla="*/ 6531 h 7912"/>
                      <a:gd name="connsiteX2" fmla="*/ 0 w 2260"/>
                      <a:gd name="connsiteY2" fmla="*/ 7912 h 7912"/>
                      <a:gd name="connsiteX3" fmla="*/ 0 w 2260"/>
                      <a:gd name="connsiteY3" fmla="*/ 0 h 7912"/>
                    </a:gdLst>
                    <a:ahLst/>
                    <a:cxnLst>
                      <a:cxn ang="0">
                        <a:pos x="connsiteX0" y="connsiteY0"/>
                      </a:cxn>
                      <a:cxn ang="0">
                        <a:pos x="connsiteX1" y="connsiteY1"/>
                      </a:cxn>
                      <a:cxn ang="0">
                        <a:pos x="connsiteX2" y="connsiteY2"/>
                      </a:cxn>
                      <a:cxn ang="0">
                        <a:pos x="connsiteX3" y="connsiteY3"/>
                      </a:cxn>
                    </a:cxnLst>
                    <a:rect l="l" t="t" r="r" b="b"/>
                    <a:pathLst>
                      <a:path w="2260" h="7912">
                        <a:moveTo>
                          <a:pt x="2261" y="0"/>
                        </a:moveTo>
                        <a:lnTo>
                          <a:pt x="2261" y="6531"/>
                        </a:lnTo>
                        <a:lnTo>
                          <a:pt x="0" y="7912"/>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0" name="Freeform: Shape 3969">
                    <a:extLst>
                      <a:ext uri="{FF2B5EF4-FFF2-40B4-BE49-F238E27FC236}">
                        <a16:creationId xmlns:a16="http://schemas.microsoft.com/office/drawing/2014/main" id="{6F70026A-5959-4F64-B98A-D3B905225059}"/>
                      </a:ext>
                    </a:extLst>
                  </p:cNvPr>
                  <p:cNvSpPr/>
                  <p:nvPr/>
                </p:nvSpPr>
                <p:spPr>
                  <a:xfrm>
                    <a:off x="7261267" y="3857242"/>
                    <a:ext cx="4019" cy="4646"/>
                  </a:xfrm>
                  <a:custGeom>
                    <a:avLst/>
                    <a:gdLst>
                      <a:gd name="connsiteX0" fmla="*/ 0 w 4019"/>
                      <a:gd name="connsiteY0" fmla="*/ 0 h 4646"/>
                      <a:gd name="connsiteX1" fmla="*/ 0 w 4019"/>
                      <a:gd name="connsiteY1" fmla="*/ 2386 h 4646"/>
                      <a:gd name="connsiteX2" fmla="*/ 4019 w 4019"/>
                      <a:gd name="connsiteY2" fmla="*/ 4647 h 4646"/>
                      <a:gd name="connsiteX3" fmla="*/ 4019 w 4019"/>
                      <a:gd name="connsiteY3" fmla="*/ 0 h 4646"/>
                    </a:gdLst>
                    <a:ahLst/>
                    <a:cxnLst>
                      <a:cxn ang="0">
                        <a:pos x="connsiteX0" y="connsiteY0"/>
                      </a:cxn>
                      <a:cxn ang="0">
                        <a:pos x="connsiteX1" y="connsiteY1"/>
                      </a:cxn>
                      <a:cxn ang="0">
                        <a:pos x="connsiteX2" y="connsiteY2"/>
                      </a:cxn>
                      <a:cxn ang="0">
                        <a:pos x="connsiteX3" y="connsiteY3"/>
                      </a:cxn>
                    </a:cxnLst>
                    <a:rect l="l" t="t" r="r" b="b"/>
                    <a:pathLst>
                      <a:path w="4019" h="4646">
                        <a:moveTo>
                          <a:pt x="0" y="0"/>
                        </a:moveTo>
                        <a:lnTo>
                          <a:pt x="0" y="2386"/>
                        </a:lnTo>
                        <a:lnTo>
                          <a:pt x="4019" y="4647"/>
                        </a:lnTo>
                        <a:lnTo>
                          <a:pt x="4019"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1" name="Freeform: Shape 3970">
                    <a:extLst>
                      <a:ext uri="{FF2B5EF4-FFF2-40B4-BE49-F238E27FC236}">
                        <a16:creationId xmlns:a16="http://schemas.microsoft.com/office/drawing/2014/main" id="{E3D5DBF5-730F-462B-B4F7-BF37241480A0}"/>
                      </a:ext>
                    </a:extLst>
                  </p:cNvPr>
                  <p:cNvSpPr/>
                  <p:nvPr/>
                </p:nvSpPr>
                <p:spPr>
                  <a:xfrm>
                    <a:off x="7265286" y="3857242"/>
                    <a:ext cx="2260" cy="4646"/>
                  </a:xfrm>
                  <a:custGeom>
                    <a:avLst/>
                    <a:gdLst>
                      <a:gd name="connsiteX0" fmla="*/ 0 w 2260"/>
                      <a:gd name="connsiteY0" fmla="*/ 0 h 4646"/>
                      <a:gd name="connsiteX1" fmla="*/ 0 w 2260"/>
                      <a:gd name="connsiteY1" fmla="*/ 4647 h 4646"/>
                      <a:gd name="connsiteX2" fmla="*/ 2261 w 2260"/>
                      <a:gd name="connsiteY2" fmla="*/ 3391 h 4646"/>
                      <a:gd name="connsiteX3" fmla="*/ 2261 w 2260"/>
                      <a:gd name="connsiteY3" fmla="*/ 0 h 4646"/>
                    </a:gdLst>
                    <a:ahLst/>
                    <a:cxnLst>
                      <a:cxn ang="0">
                        <a:pos x="connsiteX0" y="connsiteY0"/>
                      </a:cxn>
                      <a:cxn ang="0">
                        <a:pos x="connsiteX1" y="connsiteY1"/>
                      </a:cxn>
                      <a:cxn ang="0">
                        <a:pos x="connsiteX2" y="connsiteY2"/>
                      </a:cxn>
                      <a:cxn ang="0">
                        <a:pos x="connsiteX3" y="connsiteY3"/>
                      </a:cxn>
                    </a:cxnLst>
                    <a:rect l="l" t="t" r="r" b="b"/>
                    <a:pathLst>
                      <a:path w="2260" h="4646">
                        <a:moveTo>
                          <a:pt x="0" y="0"/>
                        </a:moveTo>
                        <a:lnTo>
                          <a:pt x="0" y="4647"/>
                        </a:lnTo>
                        <a:lnTo>
                          <a:pt x="2261" y="3391"/>
                        </a:lnTo>
                        <a:lnTo>
                          <a:pt x="2261"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2" name="Freeform: Shape 3971">
                    <a:extLst>
                      <a:ext uri="{FF2B5EF4-FFF2-40B4-BE49-F238E27FC236}">
                        <a16:creationId xmlns:a16="http://schemas.microsoft.com/office/drawing/2014/main" id="{833B13D9-E203-4151-A050-A8DF182F028E}"/>
                      </a:ext>
                    </a:extLst>
                  </p:cNvPr>
                  <p:cNvSpPr/>
                  <p:nvPr/>
                </p:nvSpPr>
                <p:spPr>
                  <a:xfrm>
                    <a:off x="7207387" y="3840036"/>
                    <a:ext cx="61415" cy="35417"/>
                  </a:xfrm>
                  <a:custGeom>
                    <a:avLst/>
                    <a:gdLst>
                      <a:gd name="connsiteX0" fmla="*/ 61415 w 61415"/>
                      <a:gd name="connsiteY0" fmla="*/ 17458 h 35417"/>
                      <a:gd name="connsiteX1" fmla="*/ 30268 w 61415"/>
                      <a:gd name="connsiteY1" fmla="*/ 35418 h 35417"/>
                      <a:gd name="connsiteX2" fmla="*/ 0 w 61415"/>
                      <a:gd name="connsiteY2" fmla="*/ 17960 h 35417"/>
                      <a:gd name="connsiteX3" fmla="*/ 0 w 61415"/>
                      <a:gd name="connsiteY3" fmla="*/ 17332 h 35417"/>
                      <a:gd name="connsiteX4" fmla="*/ 31147 w 61415"/>
                      <a:gd name="connsiteY4" fmla="*/ 0 h 35417"/>
                      <a:gd name="connsiteX5" fmla="*/ 61415 w 61415"/>
                      <a:gd name="connsiteY5" fmla="*/ 16830 h 3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15" h="35417">
                        <a:moveTo>
                          <a:pt x="61415" y="17458"/>
                        </a:moveTo>
                        <a:lnTo>
                          <a:pt x="30268" y="35418"/>
                        </a:lnTo>
                        <a:lnTo>
                          <a:pt x="0" y="17960"/>
                        </a:lnTo>
                        <a:lnTo>
                          <a:pt x="0" y="17332"/>
                        </a:lnTo>
                        <a:lnTo>
                          <a:pt x="31147" y="0"/>
                        </a:lnTo>
                        <a:lnTo>
                          <a:pt x="61415" y="16830"/>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73" name="Graphic 4">
                    <a:extLst>
                      <a:ext uri="{FF2B5EF4-FFF2-40B4-BE49-F238E27FC236}">
                        <a16:creationId xmlns:a16="http://schemas.microsoft.com/office/drawing/2014/main" id="{84FB7ED1-A2DF-40A1-A747-5F7CF3F14040}"/>
                      </a:ext>
                    </a:extLst>
                  </p:cNvPr>
                  <p:cNvGrpSpPr/>
                  <p:nvPr/>
                </p:nvGrpSpPr>
                <p:grpSpPr>
                  <a:xfrm>
                    <a:off x="7207387" y="3839408"/>
                    <a:ext cx="61415" cy="35417"/>
                    <a:chOff x="7207387" y="3839408"/>
                    <a:chExt cx="61415" cy="35417"/>
                  </a:xfrm>
                  <a:solidFill>
                    <a:schemeClr val="accent1"/>
                  </a:solidFill>
                </p:grpSpPr>
                <p:sp>
                  <p:nvSpPr>
                    <p:cNvPr id="3974" name="Freeform: Shape 3973">
                      <a:extLst>
                        <a:ext uri="{FF2B5EF4-FFF2-40B4-BE49-F238E27FC236}">
                          <a16:creationId xmlns:a16="http://schemas.microsoft.com/office/drawing/2014/main" id="{C30FBDF1-7032-420E-B23C-A4F58DB235E2}"/>
                        </a:ext>
                      </a:extLst>
                    </p:cNvPr>
                    <p:cNvSpPr/>
                    <p:nvPr/>
                  </p:nvSpPr>
                  <p:spPr>
                    <a:xfrm>
                      <a:off x="7207387" y="3839408"/>
                      <a:ext cx="61415" cy="35417"/>
                    </a:xfrm>
                    <a:custGeom>
                      <a:avLst/>
                      <a:gdLst>
                        <a:gd name="connsiteX0" fmla="*/ 61415 w 61415"/>
                        <a:gd name="connsiteY0" fmla="*/ 17458 h 35417"/>
                        <a:gd name="connsiteX1" fmla="*/ 30268 w 61415"/>
                        <a:gd name="connsiteY1" fmla="*/ 35418 h 35417"/>
                        <a:gd name="connsiteX2" fmla="*/ 0 w 61415"/>
                        <a:gd name="connsiteY2" fmla="*/ 17960 h 35417"/>
                        <a:gd name="connsiteX3" fmla="*/ 31147 w 61415"/>
                        <a:gd name="connsiteY3" fmla="*/ 0 h 35417"/>
                      </a:gdLst>
                      <a:ahLst/>
                      <a:cxnLst>
                        <a:cxn ang="0">
                          <a:pos x="connsiteX0" y="connsiteY0"/>
                        </a:cxn>
                        <a:cxn ang="0">
                          <a:pos x="connsiteX1" y="connsiteY1"/>
                        </a:cxn>
                        <a:cxn ang="0">
                          <a:pos x="connsiteX2" y="connsiteY2"/>
                        </a:cxn>
                        <a:cxn ang="0">
                          <a:pos x="connsiteX3" y="connsiteY3"/>
                        </a:cxn>
                      </a:cxnLst>
                      <a:rect l="l" t="t" r="r" b="b"/>
                      <a:pathLst>
                        <a:path w="61415" h="35417">
                          <a:moveTo>
                            <a:pt x="61415" y="17458"/>
                          </a:moveTo>
                          <a:lnTo>
                            <a:pt x="30268" y="35418"/>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5" name="Freeform: Shape 3974">
                      <a:extLst>
                        <a:ext uri="{FF2B5EF4-FFF2-40B4-BE49-F238E27FC236}">
                          <a16:creationId xmlns:a16="http://schemas.microsoft.com/office/drawing/2014/main" id="{EB89CFE8-8781-4470-B359-DA2C5AAAA9A6}"/>
                        </a:ext>
                      </a:extLst>
                    </p:cNvPr>
                    <p:cNvSpPr/>
                    <p:nvPr/>
                  </p:nvSpPr>
                  <p:spPr>
                    <a:xfrm>
                      <a:off x="7211155" y="3841543"/>
                      <a:ext cx="31272" cy="18085"/>
                    </a:xfrm>
                    <a:custGeom>
                      <a:avLst/>
                      <a:gdLst>
                        <a:gd name="connsiteX0" fmla="*/ 31273 w 31272"/>
                        <a:gd name="connsiteY0" fmla="*/ 0 h 18085"/>
                        <a:gd name="connsiteX1" fmla="*/ 0 w 31272"/>
                        <a:gd name="connsiteY1" fmla="*/ 18085 h 18085"/>
                        <a:gd name="connsiteX2" fmla="*/ 0 w 31272"/>
                        <a:gd name="connsiteY2" fmla="*/ 17960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0" y="18085"/>
                          </a:lnTo>
                          <a:lnTo>
                            <a:pt x="0" y="17960"/>
                          </a:lnTo>
                          <a:lnTo>
                            <a:pt x="3114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6" name="Freeform: Shape 3975">
                      <a:extLst>
                        <a:ext uri="{FF2B5EF4-FFF2-40B4-BE49-F238E27FC236}">
                          <a16:creationId xmlns:a16="http://schemas.microsoft.com/office/drawing/2014/main" id="{65DF18AF-BC3B-489B-95C4-627441036389}"/>
                        </a:ext>
                      </a:extLst>
                    </p:cNvPr>
                    <p:cNvSpPr/>
                    <p:nvPr/>
                  </p:nvSpPr>
                  <p:spPr>
                    <a:xfrm>
                      <a:off x="7214922" y="3843678"/>
                      <a:ext cx="31272" cy="18085"/>
                    </a:xfrm>
                    <a:custGeom>
                      <a:avLst/>
                      <a:gdLst>
                        <a:gd name="connsiteX0" fmla="*/ 31273 w 31272"/>
                        <a:gd name="connsiteY0" fmla="*/ 126 h 18085"/>
                        <a:gd name="connsiteX1" fmla="*/ 0 w 31272"/>
                        <a:gd name="connsiteY1" fmla="*/ 18086 h 18085"/>
                        <a:gd name="connsiteX2" fmla="*/ 0 w 31272"/>
                        <a:gd name="connsiteY2" fmla="*/ 18086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0" y="18086"/>
                          </a:lnTo>
                          <a:lnTo>
                            <a:pt x="0" y="18086"/>
                          </a:lnTo>
                          <a:lnTo>
                            <a:pt x="3114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7" name="Freeform: Shape 3976">
                      <a:extLst>
                        <a:ext uri="{FF2B5EF4-FFF2-40B4-BE49-F238E27FC236}">
                          <a16:creationId xmlns:a16="http://schemas.microsoft.com/office/drawing/2014/main" id="{2D6A9054-2218-4693-8F31-4F0771DE4E06}"/>
                        </a:ext>
                      </a:extLst>
                    </p:cNvPr>
                    <p:cNvSpPr/>
                    <p:nvPr/>
                  </p:nvSpPr>
                  <p:spPr>
                    <a:xfrm>
                      <a:off x="7218690" y="3845939"/>
                      <a:ext cx="31272" cy="17960"/>
                    </a:xfrm>
                    <a:custGeom>
                      <a:avLst/>
                      <a:gdLst>
                        <a:gd name="connsiteX0" fmla="*/ 31273 w 31272"/>
                        <a:gd name="connsiteY0" fmla="*/ 0 h 17960"/>
                        <a:gd name="connsiteX1" fmla="*/ 126 w 31272"/>
                        <a:gd name="connsiteY1" fmla="*/ 17960 h 17960"/>
                        <a:gd name="connsiteX2" fmla="*/ 0 w 31272"/>
                        <a:gd name="connsiteY2" fmla="*/ 17960 h 17960"/>
                        <a:gd name="connsiteX3" fmla="*/ 31147 w 31272"/>
                        <a:gd name="connsiteY3" fmla="*/ 0 h 17960"/>
                      </a:gdLst>
                      <a:ahLst/>
                      <a:cxnLst>
                        <a:cxn ang="0">
                          <a:pos x="connsiteX0" y="connsiteY0"/>
                        </a:cxn>
                        <a:cxn ang="0">
                          <a:pos x="connsiteX1" y="connsiteY1"/>
                        </a:cxn>
                        <a:cxn ang="0">
                          <a:pos x="connsiteX2" y="connsiteY2"/>
                        </a:cxn>
                        <a:cxn ang="0">
                          <a:pos x="connsiteX3" y="connsiteY3"/>
                        </a:cxn>
                      </a:cxnLst>
                      <a:rect l="l" t="t" r="r" b="b"/>
                      <a:pathLst>
                        <a:path w="31272" h="17960">
                          <a:moveTo>
                            <a:pt x="31273" y="0"/>
                          </a:moveTo>
                          <a:lnTo>
                            <a:pt x="126" y="17960"/>
                          </a:lnTo>
                          <a:lnTo>
                            <a:pt x="0" y="17960"/>
                          </a:lnTo>
                          <a:lnTo>
                            <a:pt x="3114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8" name="Freeform: Shape 3977">
                      <a:extLst>
                        <a:ext uri="{FF2B5EF4-FFF2-40B4-BE49-F238E27FC236}">
                          <a16:creationId xmlns:a16="http://schemas.microsoft.com/office/drawing/2014/main" id="{D1F2DC6E-A2E2-4565-A40E-46A6BF1540C9}"/>
                        </a:ext>
                      </a:extLst>
                    </p:cNvPr>
                    <p:cNvSpPr/>
                    <p:nvPr/>
                  </p:nvSpPr>
                  <p:spPr>
                    <a:xfrm>
                      <a:off x="7222458" y="3848074"/>
                      <a:ext cx="31272" cy="18085"/>
                    </a:xfrm>
                    <a:custGeom>
                      <a:avLst/>
                      <a:gdLst>
                        <a:gd name="connsiteX0" fmla="*/ 31273 w 31272"/>
                        <a:gd name="connsiteY0" fmla="*/ 0 h 18085"/>
                        <a:gd name="connsiteX1" fmla="*/ 126 w 31272"/>
                        <a:gd name="connsiteY1" fmla="*/ 18086 h 18085"/>
                        <a:gd name="connsiteX2" fmla="*/ 0 w 31272"/>
                        <a:gd name="connsiteY2" fmla="*/ 17960 h 18085"/>
                        <a:gd name="connsiteX3" fmla="*/ 31148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126" y="18086"/>
                          </a:lnTo>
                          <a:lnTo>
                            <a:pt x="0" y="17960"/>
                          </a:lnTo>
                          <a:lnTo>
                            <a:pt x="31148"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9" name="Freeform: Shape 3978">
                      <a:extLst>
                        <a:ext uri="{FF2B5EF4-FFF2-40B4-BE49-F238E27FC236}">
                          <a16:creationId xmlns:a16="http://schemas.microsoft.com/office/drawing/2014/main" id="{55AB8CB8-083D-48FE-8FF9-7F7BA8C92C60}"/>
                        </a:ext>
                      </a:extLst>
                    </p:cNvPr>
                    <p:cNvSpPr/>
                    <p:nvPr/>
                  </p:nvSpPr>
                  <p:spPr>
                    <a:xfrm>
                      <a:off x="7226226" y="3850209"/>
                      <a:ext cx="31272" cy="18085"/>
                    </a:xfrm>
                    <a:custGeom>
                      <a:avLst/>
                      <a:gdLst>
                        <a:gd name="connsiteX0" fmla="*/ 31273 w 31272"/>
                        <a:gd name="connsiteY0" fmla="*/ 126 h 18085"/>
                        <a:gd name="connsiteX1" fmla="*/ 125 w 31272"/>
                        <a:gd name="connsiteY1" fmla="*/ 18086 h 18085"/>
                        <a:gd name="connsiteX2" fmla="*/ 0 w 31272"/>
                        <a:gd name="connsiteY2" fmla="*/ 18086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125" y="18086"/>
                          </a:lnTo>
                          <a:lnTo>
                            <a:pt x="0" y="18086"/>
                          </a:lnTo>
                          <a:lnTo>
                            <a:pt x="3114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80" name="Freeform: Shape 3979">
                      <a:extLst>
                        <a:ext uri="{FF2B5EF4-FFF2-40B4-BE49-F238E27FC236}">
                          <a16:creationId xmlns:a16="http://schemas.microsoft.com/office/drawing/2014/main" id="{82C6B7C3-1821-43E1-AE94-3E5CEDA48BB3}"/>
                        </a:ext>
                      </a:extLst>
                    </p:cNvPr>
                    <p:cNvSpPr/>
                    <p:nvPr/>
                  </p:nvSpPr>
                  <p:spPr>
                    <a:xfrm>
                      <a:off x="7229994" y="3852470"/>
                      <a:ext cx="31272" cy="18085"/>
                    </a:xfrm>
                    <a:custGeom>
                      <a:avLst/>
                      <a:gdLst>
                        <a:gd name="connsiteX0" fmla="*/ 31273 w 31272"/>
                        <a:gd name="connsiteY0" fmla="*/ 0 h 18085"/>
                        <a:gd name="connsiteX1" fmla="*/ 126 w 31272"/>
                        <a:gd name="connsiteY1" fmla="*/ 18086 h 18085"/>
                        <a:gd name="connsiteX2" fmla="*/ 0 w 31272"/>
                        <a:gd name="connsiteY2" fmla="*/ 17960 h 18085"/>
                        <a:gd name="connsiteX3" fmla="*/ 31273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126" y="18086"/>
                          </a:lnTo>
                          <a:lnTo>
                            <a:pt x="0" y="17960"/>
                          </a:lnTo>
                          <a:lnTo>
                            <a:pt x="31273"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81" name="Freeform: Shape 3980">
                      <a:extLst>
                        <a:ext uri="{FF2B5EF4-FFF2-40B4-BE49-F238E27FC236}">
                          <a16:creationId xmlns:a16="http://schemas.microsoft.com/office/drawing/2014/main" id="{97424F52-77AA-47A9-886E-5AF158D1607F}"/>
                        </a:ext>
                      </a:extLst>
                    </p:cNvPr>
                    <p:cNvSpPr/>
                    <p:nvPr/>
                  </p:nvSpPr>
                  <p:spPr>
                    <a:xfrm>
                      <a:off x="7233762" y="3854605"/>
                      <a:ext cx="31272" cy="18085"/>
                    </a:xfrm>
                    <a:custGeom>
                      <a:avLst/>
                      <a:gdLst>
                        <a:gd name="connsiteX0" fmla="*/ 31273 w 31272"/>
                        <a:gd name="connsiteY0" fmla="*/ 126 h 18085"/>
                        <a:gd name="connsiteX1" fmla="*/ 126 w 31272"/>
                        <a:gd name="connsiteY1" fmla="*/ 18086 h 18085"/>
                        <a:gd name="connsiteX2" fmla="*/ 0 w 31272"/>
                        <a:gd name="connsiteY2" fmla="*/ 18086 h 18085"/>
                        <a:gd name="connsiteX3" fmla="*/ 31273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126" y="18086"/>
                          </a:lnTo>
                          <a:lnTo>
                            <a:pt x="0" y="18086"/>
                          </a:lnTo>
                          <a:lnTo>
                            <a:pt x="31273"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82" name="Freeform: Shape 3981">
                    <a:extLst>
                      <a:ext uri="{FF2B5EF4-FFF2-40B4-BE49-F238E27FC236}">
                        <a16:creationId xmlns:a16="http://schemas.microsoft.com/office/drawing/2014/main" id="{AF8E0095-6F6F-4FAA-92F3-BF8D32074614}"/>
                      </a:ext>
                    </a:extLst>
                  </p:cNvPr>
                  <p:cNvSpPr/>
                  <p:nvPr/>
                </p:nvSpPr>
                <p:spPr>
                  <a:xfrm>
                    <a:off x="7207387" y="3860382"/>
                    <a:ext cx="30268" cy="18211"/>
                  </a:xfrm>
                  <a:custGeom>
                    <a:avLst/>
                    <a:gdLst>
                      <a:gd name="connsiteX0" fmla="*/ 30268 w 30268"/>
                      <a:gd name="connsiteY0" fmla="*/ 18211 h 18211"/>
                      <a:gd name="connsiteX1" fmla="*/ 30142 w 30268"/>
                      <a:gd name="connsiteY1" fmla="*/ 17458 h 18211"/>
                      <a:gd name="connsiteX2" fmla="*/ 0 w 30268"/>
                      <a:gd name="connsiteY2" fmla="*/ 0 h 18211"/>
                      <a:gd name="connsiteX3" fmla="*/ 0 w 30268"/>
                      <a:gd name="connsiteY3" fmla="*/ 754 h 18211"/>
                    </a:gdLst>
                    <a:ahLst/>
                    <a:cxnLst>
                      <a:cxn ang="0">
                        <a:pos x="connsiteX0" y="connsiteY0"/>
                      </a:cxn>
                      <a:cxn ang="0">
                        <a:pos x="connsiteX1" y="connsiteY1"/>
                      </a:cxn>
                      <a:cxn ang="0">
                        <a:pos x="connsiteX2" y="connsiteY2"/>
                      </a:cxn>
                      <a:cxn ang="0">
                        <a:pos x="connsiteX3" y="connsiteY3"/>
                      </a:cxn>
                    </a:cxnLst>
                    <a:rect l="l" t="t" r="r" b="b"/>
                    <a:pathLst>
                      <a:path w="30268" h="18211">
                        <a:moveTo>
                          <a:pt x="30268" y="18211"/>
                        </a:moveTo>
                        <a:lnTo>
                          <a:pt x="30142" y="17458"/>
                        </a:lnTo>
                        <a:lnTo>
                          <a:pt x="0" y="0"/>
                        </a:lnTo>
                        <a:lnTo>
                          <a:pt x="0" y="754"/>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83" name="Freeform: Shape 3982">
                  <a:extLst>
                    <a:ext uri="{FF2B5EF4-FFF2-40B4-BE49-F238E27FC236}">
                      <a16:creationId xmlns:a16="http://schemas.microsoft.com/office/drawing/2014/main" id="{56474E3D-51AF-4EC6-9201-1DEB8DDBD162}"/>
                    </a:ext>
                  </a:extLst>
                </p:cNvPr>
                <p:cNvSpPr/>
                <p:nvPr/>
              </p:nvSpPr>
              <p:spPr>
                <a:xfrm>
                  <a:off x="7208140" y="3848200"/>
                  <a:ext cx="57521" cy="25998"/>
                </a:xfrm>
                <a:custGeom>
                  <a:avLst/>
                  <a:gdLst>
                    <a:gd name="connsiteX0" fmla="*/ 31524 w 57521"/>
                    <a:gd name="connsiteY0" fmla="*/ 9168 h 25998"/>
                    <a:gd name="connsiteX1" fmla="*/ 31524 w 57521"/>
                    <a:gd name="connsiteY1" fmla="*/ 9168 h 25998"/>
                    <a:gd name="connsiteX2" fmla="*/ 15699 w 57521"/>
                    <a:gd name="connsiteY2" fmla="*/ 0 h 25998"/>
                    <a:gd name="connsiteX3" fmla="*/ 0 w 57521"/>
                    <a:gd name="connsiteY3" fmla="*/ 9043 h 25998"/>
                    <a:gd name="connsiteX4" fmla="*/ 13313 w 57521"/>
                    <a:gd name="connsiteY4" fmla="*/ 16704 h 25998"/>
                    <a:gd name="connsiteX5" fmla="*/ 13187 w 57521"/>
                    <a:gd name="connsiteY5" fmla="*/ 16830 h 25998"/>
                    <a:gd name="connsiteX6" fmla="*/ 29012 w 57521"/>
                    <a:gd name="connsiteY6" fmla="*/ 25998 h 25998"/>
                    <a:gd name="connsiteX7" fmla="*/ 57522 w 57521"/>
                    <a:gd name="connsiteY7" fmla="*/ 9043 h 2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21" h="25998">
                      <a:moveTo>
                        <a:pt x="31524" y="9168"/>
                      </a:moveTo>
                      <a:lnTo>
                        <a:pt x="31524" y="9168"/>
                      </a:lnTo>
                      <a:lnTo>
                        <a:pt x="15699" y="0"/>
                      </a:lnTo>
                      <a:lnTo>
                        <a:pt x="0" y="9043"/>
                      </a:lnTo>
                      <a:lnTo>
                        <a:pt x="13313" y="16704"/>
                      </a:lnTo>
                      <a:lnTo>
                        <a:pt x="13187" y="16830"/>
                      </a:lnTo>
                      <a:lnTo>
                        <a:pt x="29012" y="25998"/>
                      </a:lnTo>
                      <a:lnTo>
                        <a:pt x="57522" y="9043"/>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84" name="Graphic 4">
                  <a:extLst>
                    <a:ext uri="{FF2B5EF4-FFF2-40B4-BE49-F238E27FC236}">
                      <a16:creationId xmlns:a16="http://schemas.microsoft.com/office/drawing/2014/main" id="{84FB7ED1-A2DF-40A1-A747-5F7CF3F14040}"/>
                    </a:ext>
                  </a:extLst>
                </p:cNvPr>
                <p:cNvGrpSpPr/>
                <p:nvPr/>
              </p:nvGrpSpPr>
              <p:grpSpPr>
                <a:xfrm>
                  <a:off x="7211657" y="3824462"/>
                  <a:ext cx="54131" cy="48730"/>
                  <a:chOff x="7211657" y="3824462"/>
                  <a:chExt cx="54131" cy="48730"/>
                </a:xfrm>
                <a:solidFill>
                  <a:schemeClr val="accent1"/>
                </a:solidFill>
              </p:grpSpPr>
              <p:grpSp>
                <p:nvGrpSpPr>
                  <p:cNvPr id="3985" name="Graphic 4">
                    <a:extLst>
                      <a:ext uri="{FF2B5EF4-FFF2-40B4-BE49-F238E27FC236}">
                        <a16:creationId xmlns:a16="http://schemas.microsoft.com/office/drawing/2014/main" id="{84FB7ED1-A2DF-40A1-A747-5F7CF3F14040}"/>
                      </a:ext>
                    </a:extLst>
                  </p:cNvPr>
                  <p:cNvGrpSpPr/>
                  <p:nvPr/>
                </p:nvGrpSpPr>
                <p:grpSpPr>
                  <a:xfrm>
                    <a:off x="7219569" y="3824462"/>
                    <a:ext cx="32905" cy="34789"/>
                    <a:chOff x="7219569" y="3824462"/>
                    <a:chExt cx="32905" cy="34789"/>
                  </a:xfrm>
                  <a:solidFill>
                    <a:schemeClr val="accent1"/>
                  </a:solidFill>
                </p:grpSpPr>
                <p:sp>
                  <p:nvSpPr>
                    <p:cNvPr id="3986" name="Freeform: Shape 3985">
                      <a:extLst>
                        <a:ext uri="{FF2B5EF4-FFF2-40B4-BE49-F238E27FC236}">
                          <a16:creationId xmlns:a16="http://schemas.microsoft.com/office/drawing/2014/main" id="{590696EF-99AD-4E48-B034-6D75A98941DC}"/>
                        </a:ext>
                      </a:extLst>
                    </p:cNvPr>
                    <p:cNvSpPr/>
                    <p:nvPr/>
                  </p:nvSpPr>
                  <p:spPr>
                    <a:xfrm>
                      <a:off x="7219569" y="3840915"/>
                      <a:ext cx="31524" cy="18336"/>
                    </a:xfrm>
                    <a:custGeom>
                      <a:avLst/>
                      <a:gdLst>
                        <a:gd name="connsiteX0" fmla="*/ 0 w 31524"/>
                        <a:gd name="connsiteY0" fmla="*/ 9168 h 18336"/>
                        <a:gd name="connsiteX1" fmla="*/ 15825 w 31524"/>
                        <a:gd name="connsiteY1" fmla="*/ 18337 h 18336"/>
                        <a:gd name="connsiteX2" fmla="*/ 31524 w 31524"/>
                        <a:gd name="connsiteY2" fmla="*/ 9168 h 18336"/>
                        <a:gd name="connsiteX3" fmla="*/ 15699 w 31524"/>
                        <a:gd name="connsiteY3" fmla="*/ 0 h 18336"/>
                      </a:gdLst>
                      <a:ahLst/>
                      <a:cxnLst>
                        <a:cxn ang="0">
                          <a:pos x="connsiteX0" y="connsiteY0"/>
                        </a:cxn>
                        <a:cxn ang="0">
                          <a:pos x="connsiteX1" y="connsiteY1"/>
                        </a:cxn>
                        <a:cxn ang="0">
                          <a:pos x="connsiteX2" y="connsiteY2"/>
                        </a:cxn>
                        <a:cxn ang="0">
                          <a:pos x="connsiteX3" y="connsiteY3"/>
                        </a:cxn>
                      </a:cxnLst>
                      <a:rect l="l" t="t" r="r" b="b"/>
                      <a:pathLst>
                        <a:path w="31524" h="18336">
                          <a:moveTo>
                            <a:pt x="0" y="9168"/>
                          </a:moveTo>
                          <a:lnTo>
                            <a:pt x="15825" y="18337"/>
                          </a:lnTo>
                          <a:lnTo>
                            <a:pt x="31524" y="9168"/>
                          </a:lnTo>
                          <a:lnTo>
                            <a:pt x="15699"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87" name="Graphic 4">
                      <a:extLst>
                        <a:ext uri="{FF2B5EF4-FFF2-40B4-BE49-F238E27FC236}">
                          <a16:creationId xmlns:a16="http://schemas.microsoft.com/office/drawing/2014/main" id="{84FB7ED1-A2DF-40A1-A747-5F7CF3F14040}"/>
                        </a:ext>
                      </a:extLst>
                    </p:cNvPr>
                    <p:cNvGrpSpPr/>
                    <p:nvPr/>
                  </p:nvGrpSpPr>
                  <p:grpSpPr>
                    <a:xfrm>
                      <a:off x="7225975" y="3824462"/>
                      <a:ext cx="26500" cy="32780"/>
                      <a:chOff x="7225975" y="3824462"/>
                      <a:chExt cx="26500" cy="32780"/>
                    </a:xfrm>
                    <a:solidFill>
                      <a:schemeClr val="accent1"/>
                    </a:solidFill>
                  </p:grpSpPr>
                  <p:sp>
                    <p:nvSpPr>
                      <p:cNvPr id="3988" name="Freeform: Shape 3987">
                        <a:extLst>
                          <a:ext uri="{FF2B5EF4-FFF2-40B4-BE49-F238E27FC236}">
                            <a16:creationId xmlns:a16="http://schemas.microsoft.com/office/drawing/2014/main" id="{DA7C2A0F-9DE6-4ACB-A002-CF9760C07128}"/>
                          </a:ext>
                        </a:extLst>
                      </p:cNvPr>
                      <p:cNvSpPr/>
                      <p:nvPr/>
                    </p:nvSpPr>
                    <p:spPr>
                      <a:xfrm>
                        <a:off x="7225975" y="3824462"/>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2 h 15322"/>
                          <a:gd name="connsiteX4" fmla="*/ 5275 w 26500"/>
                          <a:gd name="connsiteY4" fmla="*/ 10927 h 15322"/>
                          <a:gd name="connsiteX5" fmla="*/ 7033 w 26500"/>
                          <a:gd name="connsiteY5" fmla="*/ 11931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2"/>
                            </a:lnTo>
                            <a:lnTo>
                              <a:pt x="5275" y="10927"/>
                            </a:lnTo>
                            <a:lnTo>
                              <a:pt x="7033" y="11931"/>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89" name="Freeform: Shape 3988">
                        <a:extLst>
                          <a:ext uri="{FF2B5EF4-FFF2-40B4-BE49-F238E27FC236}">
                            <a16:creationId xmlns:a16="http://schemas.microsoft.com/office/drawing/2014/main" id="{B488CEE8-0B23-4D2E-A5C8-AF6188108F0C}"/>
                          </a:ext>
                        </a:extLst>
                      </p:cNvPr>
                      <p:cNvSpPr/>
                      <p:nvPr/>
                    </p:nvSpPr>
                    <p:spPr>
                      <a:xfrm>
                        <a:off x="7226477" y="3824713"/>
                        <a:ext cx="25496" cy="14569"/>
                      </a:xfrm>
                      <a:custGeom>
                        <a:avLst/>
                        <a:gdLst>
                          <a:gd name="connsiteX0" fmla="*/ 13187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7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7" y="0"/>
                            </a:moveTo>
                            <a:lnTo>
                              <a:pt x="0" y="7536"/>
                            </a:lnTo>
                            <a:lnTo>
                              <a:pt x="12309" y="14569"/>
                            </a:lnTo>
                            <a:lnTo>
                              <a:pt x="25496" y="7033"/>
                            </a:lnTo>
                            <a:lnTo>
                              <a:pt x="13187"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0" name="Freeform: Shape 3989">
                        <a:extLst>
                          <a:ext uri="{FF2B5EF4-FFF2-40B4-BE49-F238E27FC236}">
                            <a16:creationId xmlns:a16="http://schemas.microsoft.com/office/drawing/2014/main" id="{8940D250-E23F-4278-91A1-30AD6BA342E8}"/>
                          </a:ext>
                        </a:extLst>
                      </p:cNvPr>
                      <p:cNvSpPr/>
                      <p:nvPr/>
                    </p:nvSpPr>
                    <p:spPr>
                      <a:xfrm>
                        <a:off x="7225975" y="3832375"/>
                        <a:ext cx="12810" cy="24867"/>
                      </a:xfrm>
                      <a:custGeom>
                        <a:avLst/>
                        <a:gdLst>
                          <a:gd name="connsiteX0" fmla="*/ 12811 w 12810"/>
                          <a:gd name="connsiteY0" fmla="*/ 7410 h 24867"/>
                          <a:gd name="connsiteX1" fmla="*/ 12811 w 12810"/>
                          <a:gd name="connsiteY1" fmla="*/ 24868 h 24867"/>
                          <a:gd name="connsiteX2" fmla="*/ 6908 w 12810"/>
                          <a:gd name="connsiteY2" fmla="*/ 21477 h 24867"/>
                          <a:gd name="connsiteX3" fmla="*/ 5275 w 12810"/>
                          <a:gd name="connsiteY3" fmla="*/ 20472 h 24867"/>
                          <a:gd name="connsiteX4" fmla="*/ 0 w 12810"/>
                          <a:gd name="connsiteY4" fmla="*/ 17583 h 24867"/>
                          <a:gd name="connsiteX5" fmla="*/ 0 w 12810"/>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0" h="24867">
                            <a:moveTo>
                              <a:pt x="12811" y="7410"/>
                            </a:moveTo>
                            <a:lnTo>
                              <a:pt x="12811" y="24868"/>
                            </a:lnTo>
                            <a:lnTo>
                              <a:pt x="6908" y="21477"/>
                            </a:lnTo>
                            <a:lnTo>
                              <a:pt x="5275" y="20472"/>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1" name="Freeform: Shape 3990">
                        <a:extLst>
                          <a:ext uri="{FF2B5EF4-FFF2-40B4-BE49-F238E27FC236}">
                            <a16:creationId xmlns:a16="http://schemas.microsoft.com/office/drawing/2014/main" id="{48494B8D-1B62-4B2E-AECD-21E4C4522DF4}"/>
                          </a:ext>
                        </a:extLst>
                      </p:cNvPr>
                      <p:cNvSpPr/>
                      <p:nvPr/>
                    </p:nvSpPr>
                    <p:spPr>
                      <a:xfrm>
                        <a:off x="7238786" y="3831872"/>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92" name="Freeform: Shape 3991">
                      <a:extLst>
                        <a:ext uri="{FF2B5EF4-FFF2-40B4-BE49-F238E27FC236}">
                          <a16:creationId xmlns:a16="http://schemas.microsoft.com/office/drawing/2014/main" id="{4ADF4A25-DC82-435A-A601-A9A4571BE030}"/>
                        </a:ext>
                      </a:extLst>
                    </p:cNvPr>
                    <p:cNvSpPr/>
                    <p:nvPr/>
                  </p:nvSpPr>
                  <p:spPr>
                    <a:xfrm>
                      <a:off x="7231250" y="3835389"/>
                      <a:ext cx="1632" cy="18462"/>
                    </a:xfrm>
                    <a:custGeom>
                      <a:avLst/>
                      <a:gdLst>
                        <a:gd name="connsiteX0" fmla="*/ 1633 w 1632"/>
                        <a:gd name="connsiteY0" fmla="*/ 1005 h 18462"/>
                        <a:gd name="connsiteX1" fmla="*/ 1633 w 1632"/>
                        <a:gd name="connsiteY1" fmla="*/ 18462 h 18462"/>
                        <a:gd name="connsiteX2" fmla="*/ 0 w 1632"/>
                        <a:gd name="connsiteY2" fmla="*/ 17458 h 18462"/>
                        <a:gd name="connsiteX3" fmla="*/ 0 w 1632"/>
                        <a:gd name="connsiteY3" fmla="*/ 0 h 18462"/>
                      </a:gdLst>
                      <a:ahLst/>
                      <a:cxnLst>
                        <a:cxn ang="0">
                          <a:pos x="connsiteX0" y="connsiteY0"/>
                        </a:cxn>
                        <a:cxn ang="0">
                          <a:pos x="connsiteX1" y="connsiteY1"/>
                        </a:cxn>
                        <a:cxn ang="0">
                          <a:pos x="connsiteX2" y="connsiteY2"/>
                        </a:cxn>
                        <a:cxn ang="0">
                          <a:pos x="connsiteX3" y="connsiteY3"/>
                        </a:cxn>
                      </a:cxnLst>
                      <a:rect l="l" t="t" r="r" b="b"/>
                      <a:pathLst>
                        <a:path w="1632" h="18462">
                          <a:moveTo>
                            <a:pt x="1633" y="1005"/>
                          </a:moveTo>
                          <a:lnTo>
                            <a:pt x="1633"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3" name="Freeform: Shape 3992">
                      <a:extLst>
                        <a:ext uri="{FF2B5EF4-FFF2-40B4-BE49-F238E27FC236}">
                          <a16:creationId xmlns:a16="http://schemas.microsoft.com/office/drawing/2014/main" id="{891E61FD-B167-4B2F-9E98-38A7FBB165E8}"/>
                        </a:ext>
                      </a:extLst>
                    </p:cNvPr>
                    <p:cNvSpPr/>
                    <p:nvPr/>
                  </p:nvSpPr>
                  <p:spPr>
                    <a:xfrm>
                      <a:off x="7231250" y="3827476"/>
                      <a:ext cx="15322" cy="8917"/>
                    </a:xfrm>
                    <a:custGeom>
                      <a:avLst/>
                      <a:gdLst>
                        <a:gd name="connsiteX0" fmla="*/ 15323 w 15322"/>
                        <a:gd name="connsiteY0" fmla="*/ 1005 h 8917"/>
                        <a:gd name="connsiteX1" fmla="*/ 10550 w 15322"/>
                        <a:gd name="connsiteY1" fmla="*/ 3768 h 8917"/>
                        <a:gd name="connsiteX2" fmla="*/ 8918 w 15322"/>
                        <a:gd name="connsiteY2" fmla="*/ 4773 h 8917"/>
                        <a:gd name="connsiteX3" fmla="*/ 1759 w 15322"/>
                        <a:gd name="connsiteY3" fmla="*/ 8917 h 8917"/>
                        <a:gd name="connsiteX4" fmla="*/ 1633 w 15322"/>
                        <a:gd name="connsiteY4" fmla="*/ 8917 h 8917"/>
                        <a:gd name="connsiteX5" fmla="*/ 0 w 15322"/>
                        <a:gd name="connsiteY5" fmla="*/ 7913 h 8917"/>
                        <a:gd name="connsiteX6" fmla="*/ 0 w 15322"/>
                        <a:gd name="connsiteY6" fmla="*/ 7913 h 8917"/>
                        <a:gd name="connsiteX7" fmla="*/ 7159 w 15322"/>
                        <a:gd name="connsiteY7" fmla="*/ 3768 h 8917"/>
                        <a:gd name="connsiteX8" fmla="*/ 8918 w 15322"/>
                        <a:gd name="connsiteY8" fmla="*/ 2763 h 8917"/>
                        <a:gd name="connsiteX9" fmla="*/ 13690 w 15322"/>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2" h="8917">
                          <a:moveTo>
                            <a:pt x="15323" y="1005"/>
                          </a:moveTo>
                          <a:lnTo>
                            <a:pt x="10550" y="3768"/>
                          </a:lnTo>
                          <a:lnTo>
                            <a:pt x="8918" y="4773"/>
                          </a:lnTo>
                          <a:lnTo>
                            <a:pt x="1759" y="8917"/>
                          </a:lnTo>
                          <a:lnTo>
                            <a:pt x="1633" y="8917"/>
                          </a:lnTo>
                          <a:lnTo>
                            <a:pt x="0" y="7913"/>
                          </a:lnTo>
                          <a:lnTo>
                            <a:pt x="0" y="7913"/>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994" name="Graphic 4">
                    <a:extLst>
                      <a:ext uri="{FF2B5EF4-FFF2-40B4-BE49-F238E27FC236}">
                        <a16:creationId xmlns:a16="http://schemas.microsoft.com/office/drawing/2014/main" id="{84FB7ED1-A2DF-40A1-A747-5F7CF3F14040}"/>
                      </a:ext>
                    </a:extLst>
                  </p:cNvPr>
                  <p:cNvGrpSpPr/>
                  <p:nvPr/>
                </p:nvGrpSpPr>
                <p:grpSpPr>
                  <a:xfrm>
                    <a:off x="7211657" y="3832751"/>
                    <a:ext cx="26626" cy="32654"/>
                    <a:chOff x="7211657" y="3832751"/>
                    <a:chExt cx="26626" cy="32654"/>
                  </a:xfrm>
                  <a:solidFill>
                    <a:schemeClr val="accent1"/>
                  </a:solidFill>
                </p:grpSpPr>
                <p:grpSp>
                  <p:nvGrpSpPr>
                    <p:cNvPr id="3995" name="Graphic 4">
                      <a:extLst>
                        <a:ext uri="{FF2B5EF4-FFF2-40B4-BE49-F238E27FC236}">
                          <a16:creationId xmlns:a16="http://schemas.microsoft.com/office/drawing/2014/main" id="{84FB7ED1-A2DF-40A1-A747-5F7CF3F14040}"/>
                        </a:ext>
                      </a:extLst>
                    </p:cNvPr>
                    <p:cNvGrpSpPr/>
                    <p:nvPr/>
                  </p:nvGrpSpPr>
                  <p:grpSpPr>
                    <a:xfrm>
                      <a:off x="7211657" y="3832751"/>
                      <a:ext cx="26626" cy="32654"/>
                      <a:chOff x="7211657" y="3832751"/>
                      <a:chExt cx="26626" cy="32654"/>
                    </a:xfrm>
                    <a:solidFill>
                      <a:schemeClr val="accent1"/>
                    </a:solidFill>
                  </p:grpSpPr>
                  <p:sp>
                    <p:nvSpPr>
                      <p:cNvPr id="3996" name="Freeform: Shape 3995">
                        <a:extLst>
                          <a:ext uri="{FF2B5EF4-FFF2-40B4-BE49-F238E27FC236}">
                            <a16:creationId xmlns:a16="http://schemas.microsoft.com/office/drawing/2014/main" id="{9065E85B-C613-41A0-A951-0AC36C6BB2E6}"/>
                          </a:ext>
                        </a:extLst>
                      </p:cNvPr>
                      <p:cNvSpPr/>
                      <p:nvPr/>
                    </p:nvSpPr>
                    <p:spPr>
                      <a:xfrm>
                        <a:off x="7211782" y="3832751"/>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3 h 15322"/>
                          <a:gd name="connsiteX4" fmla="*/ 5275 w 26500"/>
                          <a:gd name="connsiteY4" fmla="*/ 10927 h 15322"/>
                          <a:gd name="connsiteX5" fmla="*/ 7033 w 26500"/>
                          <a:gd name="connsiteY5" fmla="*/ 11932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3"/>
                            </a:lnTo>
                            <a:lnTo>
                              <a:pt x="5275" y="10927"/>
                            </a:lnTo>
                            <a:lnTo>
                              <a:pt x="7033" y="11932"/>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7" name="Freeform: Shape 3996">
                        <a:extLst>
                          <a:ext uri="{FF2B5EF4-FFF2-40B4-BE49-F238E27FC236}">
                            <a16:creationId xmlns:a16="http://schemas.microsoft.com/office/drawing/2014/main" id="{FE975881-1254-4C42-8E3B-D5B29A253249}"/>
                          </a:ext>
                        </a:extLst>
                      </p:cNvPr>
                      <p:cNvSpPr/>
                      <p:nvPr/>
                    </p:nvSpPr>
                    <p:spPr>
                      <a:xfrm>
                        <a:off x="7212159" y="3833003"/>
                        <a:ext cx="25496" cy="14569"/>
                      </a:xfrm>
                      <a:custGeom>
                        <a:avLst/>
                        <a:gdLst>
                          <a:gd name="connsiteX0" fmla="*/ 13188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8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8" y="0"/>
                            </a:moveTo>
                            <a:lnTo>
                              <a:pt x="0" y="7536"/>
                            </a:lnTo>
                            <a:lnTo>
                              <a:pt x="12309" y="14569"/>
                            </a:lnTo>
                            <a:lnTo>
                              <a:pt x="25496" y="7033"/>
                            </a:lnTo>
                            <a:lnTo>
                              <a:pt x="13188"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8" name="Freeform: Shape 3997">
                        <a:extLst>
                          <a:ext uri="{FF2B5EF4-FFF2-40B4-BE49-F238E27FC236}">
                            <a16:creationId xmlns:a16="http://schemas.microsoft.com/office/drawing/2014/main" id="{A753C8AF-ECBB-4309-9BDC-C88E08A9CDED}"/>
                          </a:ext>
                        </a:extLst>
                      </p:cNvPr>
                      <p:cNvSpPr/>
                      <p:nvPr/>
                    </p:nvSpPr>
                    <p:spPr>
                      <a:xfrm>
                        <a:off x="7211657" y="3840538"/>
                        <a:ext cx="12936" cy="24867"/>
                      </a:xfrm>
                      <a:custGeom>
                        <a:avLst/>
                        <a:gdLst>
                          <a:gd name="connsiteX0" fmla="*/ 12937 w 12936"/>
                          <a:gd name="connsiteY0" fmla="*/ 7410 h 24867"/>
                          <a:gd name="connsiteX1" fmla="*/ 12937 w 12936"/>
                          <a:gd name="connsiteY1" fmla="*/ 24868 h 24867"/>
                          <a:gd name="connsiteX2" fmla="*/ 7033 w 12936"/>
                          <a:gd name="connsiteY2" fmla="*/ 21602 h 24867"/>
                          <a:gd name="connsiteX3" fmla="*/ 5275 w 12936"/>
                          <a:gd name="connsiteY3" fmla="*/ 20598 h 24867"/>
                          <a:gd name="connsiteX4" fmla="*/ 0 w 12936"/>
                          <a:gd name="connsiteY4" fmla="*/ 17583 h 24867"/>
                          <a:gd name="connsiteX5" fmla="*/ 0 w 12936"/>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36" h="24867">
                            <a:moveTo>
                              <a:pt x="12937" y="7410"/>
                            </a:moveTo>
                            <a:lnTo>
                              <a:pt x="12937" y="24868"/>
                            </a:lnTo>
                            <a:lnTo>
                              <a:pt x="7033"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9" name="Freeform: Shape 3998">
                        <a:extLst>
                          <a:ext uri="{FF2B5EF4-FFF2-40B4-BE49-F238E27FC236}">
                            <a16:creationId xmlns:a16="http://schemas.microsoft.com/office/drawing/2014/main" id="{06E36E31-563E-41B3-B9E5-3D2F1082FCD2}"/>
                          </a:ext>
                        </a:extLst>
                      </p:cNvPr>
                      <p:cNvSpPr/>
                      <p:nvPr/>
                    </p:nvSpPr>
                    <p:spPr>
                      <a:xfrm>
                        <a:off x="7224593" y="3840036"/>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00" name="Freeform: Shape 3999">
                      <a:extLst>
                        <a:ext uri="{FF2B5EF4-FFF2-40B4-BE49-F238E27FC236}">
                          <a16:creationId xmlns:a16="http://schemas.microsoft.com/office/drawing/2014/main" id="{196341F6-BC87-43C5-ACC8-A6901720E4FC}"/>
                        </a:ext>
                      </a:extLst>
                    </p:cNvPr>
                    <p:cNvSpPr/>
                    <p:nvPr/>
                  </p:nvSpPr>
                  <p:spPr>
                    <a:xfrm>
                      <a:off x="7216932" y="3843678"/>
                      <a:ext cx="1758" cy="18462"/>
                    </a:xfrm>
                    <a:custGeom>
                      <a:avLst/>
                      <a:gdLst>
                        <a:gd name="connsiteX0" fmla="*/ 1759 w 1758"/>
                        <a:gd name="connsiteY0" fmla="*/ 1005 h 18462"/>
                        <a:gd name="connsiteX1" fmla="*/ 1759 w 1758"/>
                        <a:gd name="connsiteY1" fmla="*/ 18462 h 18462"/>
                        <a:gd name="connsiteX2" fmla="*/ 0 w 1758"/>
                        <a:gd name="connsiteY2" fmla="*/ 17458 h 18462"/>
                        <a:gd name="connsiteX3" fmla="*/ 0 w 1758"/>
                        <a:gd name="connsiteY3" fmla="*/ 0 h 18462"/>
                      </a:gdLst>
                      <a:ahLst/>
                      <a:cxnLst>
                        <a:cxn ang="0">
                          <a:pos x="connsiteX0" y="connsiteY0"/>
                        </a:cxn>
                        <a:cxn ang="0">
                          <a:pos x="connsiteX1" y="connsiteY1"/>
                        </a:cxn>
                        <a:cxn ang="0">
                          <a:pos x="connsiteX2" y="connsiteY2"/>
                        </a:cxn>
                        <a:cxn ang="0">
                          <a:pos x="connsiteX3" y="connsiteY3"/>
                        </a:cxn>
                      </a:cxnLst>
                      <a:rect l="l" t="t" r="r" b="b"/>
                      <a:pathLst>
                        <a:path w="1758" h="18462">
                          <a:moveTo>
                            <a:pt x="1759" y="1005"/>
                          </a:moveTo>
                          <a:lnTo>
                            <a:pt x="1759"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01" name="Freeform: Shape 4000">
                      <a:extLst>
                        <a:ext uri="{FF2B5EF4-FFF2-40B4-BE49-F238E27FC236}">
                          <a16:creationId xmlns:a16="http://schemas.microsoft.com/office/drawing/2014/main" id="{9769465A-FF10-4907-A783-AFF7D662FB00}"/>
                        </a:ext>
                      </a:extLst>
                    </p:cNvPr>
                    <p:cNvSpPr/>
                    <p:nvPr/>
                  </p:nvSpPr>
                  <p:spPr>
                    <a:xfrm>
                      <a:off x="7216932" y="3835766"/>
                      <a:ext cx="15448" cy="8917"/>
                    </a:xfrm>
                    <a:custGeom>
                      <a:avLst/>
                      <a:gdLst>
                        <a:gd name="connsiteX0" fmla="*/ 15449 w 15448"/>
                        <a:gd name="connsiteY0" fmla="*/ 1005 h 8917"/>
                        <a:gd name="connsiteX1" fmla="*/ 10676 w 15448"/>
                        <a:gd name="connsiteY1" fmla="*/ 3768 h 8917"/>
                        <a:gd name="connsiteX2" fmla="*/ 8918 w 15448"/>
                        <a:gd name="connsiteY2" fmla="*/ 4773 h 8917"/>
                        <a:gd name="connsiteX3" fmla="*/ 1759 w 15448"/>
                        <a:gd name="connsiteY3" fmla="*/ 8792 h 8917"/>
                        <a:gd name="connsiteX4" fmla="*/ 1759 w 15448"/>
                        <a:gd name="connsiteY4" fmla="*/ 8917 h 8917"/>
                        <a:gd name="connsiteX5" fmla="*/ 0 w 15448"/>
                        <a:gd name="connsiteY5" fmla="*/ 7913 h 8917"/>
                        <a:gd name="connsiteX6" fmla="*/ 126 w 15448"/>
                        <a:gd name="connsiteY6" fmla="*/ 7913 h 8917"/>
                        <a:gd name="connsiteX7" fmla="*/ 7159 w 15448"/>
                        <a:gd name="connsiteY7" fmla="*/ 3768 h 8917"/>
                        <a:gd name="connsiteX8" fmla="*/ 8918 w 15448"/>
                        <a:gd name="connsiteY8" fmla="*/ 2763 h 8917"/>
                        <a:gd name="connsiteX9" fmla="*/ 13690 w 15448"/>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8" h="8917">
                          <a:moveTo>
                            <a:pt x="15449" y="1005"/>
                          </a:moveTo>
                          <a:lnTo>
                            <a:pt x="10676" y="3768"/>
                          </a:lnTo>
                          <a:lnTo>
                            <a:pt x="8918" y="4773"/>
                          </a:lnTo>
                          <a:lnTo>
                            <a:pt x="1759" y="8792"/>
                          </a:lnTo>
                          <a:lnTo>
                            <a:pt x="1759" y="8917"/>
                          </a:lnTo>
                          <a:lnTo>
                            <a:pt x="0" y="7913"/>
                          </a:lnTo>
                          <a:lnTo>
                            <a:pt x="126" y="7913"/>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02" name="Graphic 4">
                    <a:extLst>
                      <a:ext uri="{FF2B5EF4-FFF2-40B4-BE49-F238E27FC236}">
                        <a16:creationId xmlns:a16="http://schemas.microsoft.com/office/drawing/2014/main" id="{84FB7ED1-A2DF-40A1-A747-5F7CF3F14040}"/>
                      </a:ext>
                    </a:extLst>
                  </p:cNvPr>
                  <p:cNvGrpSpPr/>
                  <p:nvPr/>
                </p:nvGrpSpPr>
                <p:grpSpPr>
                  <a:xfrm>
                    <a:off x="7232757" y="3832249"/>
                    <a:ext cx="33031" cy="34789"/>
                    <a:chOff x="7232757" y="3832249"/>
                    <a:chExt cx="33031" cy="34789"/>
                  </a:xfrm>
                  <a:solidFill>
                    <a:schemeClr val="accent1"/>
                  </a:solidFill>
                </p:grpSpPr>
                <p:sp>
                  <p:nvSpPr>
                    <p:cNvPr id="4003" name="Freeform: Shape 4002">
                      <a:extLst>
                        <a:ext uri="{FF2B5EF4-FFF2-40B4-BE49-F238E27FC236}">
                          <a16:creationId xmlns:a16="http://schemas.microsoft.com/office/drawing/2014/main" id="{32DB7739-9B09-4F7E-B2BF-E8DD6F0A1ADA}"/>
                        </a:ext>
                      </a:extLst>
                    </p:cNvPr>
                    <p:cNvSpPr/>
                    <p:nvPr/>
                  </p:nvSpPr>
                  <p:spPr>
                    <a:xfrm>
                      <a:off x="7232757" y="3848702"/>
                      <a:ext cx="31650" cy="18336"/>
                    </a:xfrm>
                    <a:custGeom>
                      <a:avLst/>
                      <a:gdLst>
                        <a:gd name="connsiteX0" fmla="*/ 0 w 31650"/>
                        <a:gd name="connsiteY0" fmla="*/ 9043 h 18336"/>
                        <a:gd name="connsiteX1" fmla="*/ 15825 w 31650"/>
                        <a:gd name="connsiteY1" fmla="*/ 18337 h 18336"/>
                        <a:gd name="connsiteX2" fmla="*/ 31650 w 31650"/>
                        <a:gd name="connsiteY2" fmla="*/ 9168 h 18336"/>
                        <a:gd name="connsiteX3" fmla="*/ 15699 w 31650"/>
                        <a:gd name="connsiteY3" fmla="*/ 0 h 18336"/>
                      </a:gdLst>
                      <a:ahLst/>
                      <a:cxnLst>
                        <a:cxn ang="0">
                          <a:pos x="connsiteX0" y="connsiteY0"/>
                        </a:cxn>
                        <a:cxn ang="0">
                          <a:pos x="connsiteX1" y="connsiteY1"/>
                        </a:cxn>
                        <a:cxn ang="0">
                          <a:pos x="connsiteX2" y="connsiteY2"/>
                        </a:cxn>
                        <a:cxn ang="0">
                          <a:pos x="connsiteX3" y="connsiteY3"/>
                        </a:cxn>
                      </a:cxnLst>
                      <a:rect l="l" t="t" r="r" b="b"/>
                      <a:pathLst>
                        <a:path w="31650" h="18336">
                          <a:moveTo>
                            <a:pt x="0" y="9043"/>
                          </a:moveTo>
                          <a:lnTo>
                            <a:pt x="15825" y="18337"/>
                          </a:lnTo>
                          <a:lnTo>
                            <a:pt x="31650" y="9168"/>
                          </a:lnTo>
                          <a:lnTo>
                            <a:pt x="15699"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04" name="Graphic 4">
                      <a:extLst>
                        <a:ext uri="{FF2B5EF4-FFF2-40B4-BE49-F238E27FC236}">
                          <a16:creationId xmlns:a16="http://schemas.microsoft.com/office/drawing/2014/main" id="{84FB7ED1-A2DF-40A1-A747-5F7CF3F14040}"/>
                        </a:ext>
                      </a:extLst>
                    </p:cNvPr>
                    <p:cNvGrpSpPr/>
                    <p:nvPr/>
                  </p:nvGrpSpPr>
                  <p:grpSpPr>
                    <a:xfrm>
                      <a:off x="7239162" y="3832249"/>
                      <a:ext cx="26626" cy="32780"/>
                      <a:chOff x="7239162" y="3832249"/>
                      <a:chExt cx="26626" cy="32780"/>
                    </a:xfrm>
                    <a:solidFill>
                      <a:schemeClr val="accent1"/>
                    </a:solidFill>
                  </p:grpSpPr>
                  <p:sp>
                    <p:nvSpPr>
                      <p:cNvPr id="4005" name="Freeform: Shape 4004">
                        <a:extLst>
                          <a:ext uri="{FF2B5EF4-FFF2-40B4-BE49-F238E27FC236}">
                            <a16:creationId xmlns:a16="http://schemas.microsoft.com/office/drawing/2014/main" id="{A2A1E789-AAF3-41FD-BA72-BFBF6D2AB606}"/>
                          </a:ext>
                        </a:extLst>
                      </p:cNvPr>
                      <p:cNvSpPr/>
                      <p:nvPr/>
                    </p:nvSpPr>
                    <p:spPr>
                      <a:xfrm>
                        <a:off x="7239288" y="3832249"/>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3 h 15322"/>
                          <a:gd name="connsiteX4" fmla="*/ 5275 w 26500"/>
                          <a:gd name="connsiteY4" fmla="*/ 10927 h 15322"/>
                          <a:gd name="connsiteX5" fmla="*/ 7033 w 26500"/>
                          <a:gd name="connsiteY5" fmla="*/ 11931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3"/>
                            </a:lnTo>
                            <a:lnTo>
                              <a:pt x="5275" y="10927"/>
                            </a:lnTo>
                            <a:lnTo>
                              <a:pt x="7033" y="11931"/>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06" name="Freeform: Shape 4005">
                        <a:extLst>
                          <a:ext uri="{FF2B5EF4-FFF2-40B4-BE49-F238E27FC236}">
                            <a16:creationId xmlns:a16="http://schemas.microsoft.com/office/drawing/2014/main" id="{ABEC0B7C-0C07-4703-8487-4155E0BDFEA8}"/>
                          </a:ext>
                        </a:extLst>
                      </p:cNvPr>
                      <p:cNvSpPr/>
                      <p:nvPr/>
                    </p:nvSpPr>
                    <p:spPr>
                      <a:xfrm>
                        <a:off x="7239664" y="3832500"/>
                        <a:ext cx="25496" cy="14568"/>
                      </a:xfrm>
                      <a:custGeom>
                        <a:avLst/>
                        <a:gdLst>
                          <a:gd name="connsiteX0" fmla="*/ 13188 w 25496"/>
                          <a:gd name="connsiteY0" fmla="*/ 0 h 14568"/>
                          <a:gd name="connsiteX1" fmla="*/ 0 w 25496"/>
                          <a:gd name="connsiteY1" fmla="*/ 7536 h 14568"/>
                          <a:gd name="connsiteX2" fmla="*/ 12309 w 25496"/>
                          <a:gd name="connsiteY2" fmla="*/ 14569 h 14568"/>
                          <a:gd name="connsiteX3" fmla="*/ 25496 w 25496"/>
                          <a:gd name="connsiteY3" fmla="*/ 7033 h 14568"/>
                          <a:gd name="connsiteX4" fmla="*/ 13188 w 25496"/>
                          <a:gd name="connsiteY4" fmla="*/ 0 h 14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8">
                            <a:moveTo>
                              <a:pt x="13188" y="0"/>
                            </a:moveTo>
                            <a:lnTo>
                              <a:pt x="0" y="7536"/>
                            </a:lnTo>
                            <a:lnTo>
                              <a:pt x="12309" y="14569"/>
                            </a:lnTo>
                            <a:lnTo>
                              <a:pt x="25496" y="7033"/>
                            </a:lnTo>
                            <a:lnTo>
                              <a:pt x="13188"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07" name="Freeform: Shape 4006">
                        <a:extLst>
                          <a:ext uri="{FF2B5EF4-FFF2-40B4-BE49-F238E27FC236}">
                            <a16:creationId xmlns:a16="http://schemas.microsoft.com/office/drawing/2014/main" id="{F6BFAE38-7E07-4E6C-A6E3-8763DE265245}"/>
                          </a:ext>
                        </a:extLst>
                      </p:cNvPr>
                      <p:cNvSpPr/>
                      <p:nvPr/>
                    </p:nvSpPr>
                    <p:spPr>
                      <a:xfrm>
                        <a:off x="7239162" y="3840036"/>
                        <a:ext cx="12936" cy="24993"/>
                      </a:xfrm>
                      <a:custGeom>
                        <a:avLst/>
                        <a:gdLst>
                          <a:gd name="connsiteX0" fmla="*/ 12937 w 12936"/>
                          <a:gd name="connsiteY0" fmla="*/ 7410 h 24993"/>
                          <a:gd name="connsiteX1" fmla="*/ 12937 w 12936"/>
                          <a:gd name="connsiteY1" fmla="*/ 24993 h 24993"/>
                          <a:gd name="connsiteX2" fmla="*/ 7033 w 12936"/>
                          <a:gd name="connsiteY2" fmla="*/ 21602 h 24993"/>
                          <a:gd name="connsiteX3" fmla="*/ 5275 w 12936"/>
                          <a:gd name="connsiteY3" fmla="*/ 20598 h 24993"/>
                          <a:gd name="connsiteX4" fmla="*/ 0 w 12936"/>
                          <a:gd name="connsiteY4" fmla="*/ 17583 h 24993"/>
                          <a:gd name="connsiteX5" fmla="*/ 0 w 12936"/>
                          <a:gd name="connsiteY5" fmla="*/ 0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36" h="24993">
                            <a:moveTo>
                              <a:pt x="12937" y="7410"/>
                            </a:moveTo>
                            <a:lnTo>
                              <a:pt x="12937" y="24993"/>
                            </a:lnTo>
                            <a:lnTo>
                              <a:pt x="7033"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08" name="Freeform: Shape 4007">
                        <a:extLst>
                          <a:ext uri="{FF2B5EF4-FFF2-40B4-BE49-F238E27FC236}">
                            <a16:creationId xmlns:a16="http://schemas.microsoft.com/office/drawing/2014/main" id="{E880CFCA-7918-4FDB-B402-ECB74068179D}"/>
                          </a:ext>
                        </a:extLst>
                      </p:cNvPr>
                      <p:cNvSpPr/>
                      <p:nvPr/>
                    </p:nvSpPr>
                    <p:spPr>
                      <a:xfrm>
                        <a:off x="7252099" y="3839534"/>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09" name="Freeform: Shape 4008">
                      <a:extLst>
                        <a:ext uri="{FF2B5EF4-FFF2-40B4-BE49-F238E27FC236}">
                          <a16:creationId xmlns:a16="http://schemas.microsoft.com/office/drawing/2014/main" id="{8089E47A-ADFA-45D3-A2AB-0660B19FA85C}"/>
                        </a:ext>
                      </a:extLst>
                    </p:cNvPr>
                    <p:cNvSpPr/>
                    <p:nvPr/>
                  </p:nvSpPr>
                  <p:spPr>
                    <a:xfrm>
                      <a:off x="7244437" y="3843176"/>
                      <a:ext cx="1758" cy="18462"/>
                    </a:xfrm>
                    <a:custGeom>
                      <a:avLst/>
                      <a:gdLst>
                        <a:gd name="connsiteX0" fmla="*/ 1759 w 1758"/>
                        <a:gd name="connsiteY0" fmla="*/ 1005 h 18462"/>
                        <a:gd name="connsiteX1" fmla="*/ 1759 w 1758"/>
                        <a:gd name="connsiteY1" fmla="*/ 18462 h 18462"/>
                        <a:gd name="connsiteX2" fmla="*/ 0 w 1758"/>
                        <a:gd name="connsiteY2" fmla="*/ 17458 h 18462"/>
                        <a:gd name="connsiteX3" fmla="*/ 0 w 1758"/>
                        <a:gd name="connsiteY3" fmla="*/ 0 h 18462"/>
                      </a:gdLst>
                      <a:ahLst/>
                      <a:cxnLst>
                        <a:cxn ang="0">
                          <a:pos x="connsiteX0" y="connsiteY0"/>
                        </a:cxn>
                        <a:cxn ang="0">
                          <a:pos x="connsiteX1" y="connsiteY1"/>
                        </a:cxn>
                        <a:cxn ang="0">
                          <a:pos x="connsiteX2" y="connsiteY2"/>
                        </a:cxn>
                        <a:cxn ang="0">
                          <a:pos x="connsiteX3" y="connsiteY3"/>
                        </a:cxn>
                      </a:cxnLst>
                      <a:rect l="l" t="t" r="r" b="b"/>
                      <a:pathLst>
                        <a:path w="1758" h="18462">
                          <a:moveTo>
                            <a:pt x="1759" y="1005"/>
                          </a:moveTo>
                          <a:lnTo>
                            <a:pt x="1759"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0" name="Freeform: Shape 4009">
                      <a:extLst>
                        <a:ext uri="{FF2B5EF4-FFF2-40B4-BE49-F238E27FC236}">
                          <a16:creationId xmlns:a16="http://schemas.microsoft.com/office/drawing/2014/main" id="{D1552425-D0B1-4EFD-B5F4-585D21D2BA32}"/>
                        </a:ext>
                      </a:extLst>
                    </p:cNvPr>
                    <p:cNvSpPr/>
                    <p:nvPr/>
                  </p:nvSpPr>
                  <p:spPr>
                    <a:xfrm>
                      <a:off x="7244437" y="3835263"/>
                      <a:ext cx="15448" cy="8917"/>
                    </a:xfrm>
                    <a:custGeom>
                      <a:avLst/>
                      <a:gdLst>
                        <a:gd name="connsiteX0" fmla="*/ 15449 w 15448"/>
                        <a:gd name="connsiteY0" fmla="*/ 1005 h 8917"/>
                        <a:gd name="connsiteX1" fmla="*/ 10676 w 15448"/>
                        <a:gd name="connsiteY1" fmla="*/ 3768 h 8917"/>
                        <a:gd name="connsiteX2" fmla="*/ 8918 w 15448"/>
                        <a:gd name="connsiteY2" fmla="*/ 4772 h 8917"/>
                        <a:gd name="connsiteX3" fmla="*/ 1759 w 15448"/>
                        <a:gd name="connsiteY3" fmla="*/ 8792 h 8917"/>
                        <a:gd name="connsiteX4" fmla="*/ 1759 w 15448"/>
                        <a:gd name="connsiteY4" fmla="*/ 8917 h 8917"/>
                        <a:gd name="connsiteX5" fmla="*/ 0 w 15448"/>
                        <a:gd name="connsiteY5" fmla="*/ 7912 h 8917"/>
                        <a:gd name="connsiteX6" fmla="*/ 126 w 15448"/>
                        <a:gd name="connsiteY6" fmla="*/ 7912 h 8917"/>
                        <a:gd name="connsiteX7" fmla="*/ 7159 w 15448"/>
                        <a:gd name="connsiteY7" fmla="*/ 3768 h 8917"/>
                        <a:gd name="connsiteX8" fmla="*/ 8918 w 15448"/>
                        <a:gd name="connsiteY8" fmla="*/ 2763 h 8917"/>
                        <a:gd name="connsiteX9" fmla="*/ 13690 w 15448"/>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8" h="8917">
                          <a:moveTo>
                            <a:pt x="15449" y="1005"/>
                          </a:moveTo>
                          <a:lnTo>
                            <a:pt x="10676" y="3768"/>
                          </a:lnTo>
                          <a:lnTo>
                            <a:pt x="8918" y="4772"/>
                          </a:lnTo>
                          <a:lnTo>
                            <a:pt x="1759" y="8792"/>
                          </a:lnTo>
                          <a:lnTo>
                            <a:pt x="1759" y="8917"/>
                          </a:lnTo>
                          <a:lnTo>
                            <a:pt x="0" y="7912"/>
                          </a:lnTo>
                          <a:lnTo>
                            <a:pt x="126" y="7912"/>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11" name="Graphic 4">
                    <a:extLst>
                      <a:ext uri="{FF2B5EF4-FFF2-40B4-BE49-F238E27FC236}">
                        <a16:creationId xmlns:a16="http://schemas.microsoft.com/office/drawing/2014/main" id="{84FB7ED1-A2DF-40A1-A747-5F7CF3F14040}"/>
                      </a:ext>
                    </a:extLst>
                  </p:cNvPr>
                  <p:cNvGrpSpPr/>
                  <p:nvPr/>
                </p:nvGrpSpPr>
                <p:grpSpPr>
                  <a:xfrm>
                    <a:off x="7224970" y="3840538"/>
                    <a:ext cx="26500" cy="32654"/>
                    <a:chOff x="7224970" y="3840538"/>
                    <a:chExt cx="26500" cy="32654"/>
                  </a:xfrm>
                  <a:solidFill>
                    <a:schemeClr val="accent1"/>
                  </a:solidFill>
                </p:grpSpPr>
                <p:sp>
                  <p:nvSpPr>
                    <p:cNvPr id="4012" name="Freeform: Shape 4011">
                      <a:extLst>
                        <a:ext uri="{FF2B5EF4-FFF2-40B4-BE49-F238E27FC236}">
                          <a16:creationId xmlns:a16="http://schemas.microsoft.com/office/drawing/2014/main" id="{AC056431-3A67-49D4-BD53-D4CB05DBC3EC}"/>
                        </a:ext>
                      </a:extLst>
                    </p:cNvPr>
                    <p:cNvSpPr/>
                    <p:nvPr/>
                  </p:nvSpPr>
                  <p:spPr>
                    <a:xfrm>
                      <a:off x="7225095" y="3840538"/>
                      <a:ext cx="26374" cy="15322"/>
                    </a:xfrm>
                    <a:custGeom>
                      <a:avLst/>
                      <a:gdLst>
                        <a:gd name="connsiteX0" fmla="*/ 20472 w 26374"/>
                        <a:gd name="connsiteY0" fmla="*/ 4019 h 15322"/>
                        <a:gd name="connsiteX1" fmla="*/ 18839 w 26374"/>
                        <a:gd name="connsiteY1" fmla="*/ 3014 h 15322"/>
                        <a:gd name="connsiteX2" fmla="*/ 13564 w 26374"/>
                        <a:gd name="connsiteY2" fmla="*/ 0 h 15322"/>
                        <a:gd name="connsiteX3" fmla="*/ 0 w 26374"/>
                        <a:gd name="connsiteY3" fmla="*/ 7912 h 15322"/>
                        <a:gd name="connsiteX4" fmla="*/ 5275 w 26374"/>
                        <a:gd name="connsiteY4" fmla="*/ 10927 h 15322"/>
                        <a:gd name="connsiteX5" fmla="*/ 7033 w 26374"/>
                        <a:gd name="connsiteY5" fmla="*/ 11931 h 15322"/>
                        <a:gd name="connsiteX6" fmla="*/ 12811 w 26374"/>
                        <a:gd name="connsiteY6" fmla="*/ 15323 h 15322"/>
                        <a:gd name="connsiteX7" fmla="*/ 26375 w 26374"/>
                        <a:gd name="connsiteY7" fmla="*/ 7410 h 15322"/>
                        <a:gd name="connsiteX8" fmla="*/ 26375 w 26374"/>
                        <a:gd name="connsiteY8" fmla="*/ 7410 h 15322"/>
                        <a:gd name="connsiteX9" fmla="*/ 20472 w 26374"/>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74" h="15322">
                          <a:moveTo>
                            <a:pt x="20472" y="4019"/>
                          </a:moveTo>
                          <a:lnTo>
                            <a:pt x="18839" y="3014"/>
                          </a:lnTo>
                          <a:lnTo>
                            <a:pt x="13564" y="0"/>
                          </a:lnTo>
                          <a:lnTo>
                            <a:pt x="0" y="7912"/>
                          </a:lnTo>
                          <a:lnTo>
                            <a:pt x="5275" y="10927"/>
                          </a:lnTo>
                          <a:lnTo>
                            <a:pt x="7033" y="11931"/>
                          </a:lnTo>
                          <a:lnTo>
                            <a:pt x="12811" y="15323"/>
                          </a:lnTo>
                          <a:lnTo>
                            <a:pt x="26375" y="7410"/>
                          </a:lnTo>
                          <a:lnTo>
                            <a:pt x="26375" y="7410"/>
                          </a:lnTo>
                          <a:lnTo>
                            <a:pt x="20472"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3" name="Freeform: Shape 4012">
                      <a:extLst>
                        <a:ext uri="{FF2B5EF4-FFF2-40B4-BE49-F238E27FC236}">
                          <a16:creationId xmlns:a16="http://schemas.microsoft.com/office/drawing/2014/main" id="{E5C6CFE0-6DDD-42BB-BF2C-3EC6A863D45E}"/>
                        </a:ext>
                      </a:extLst>
                    </p:cNvPr>
                    <p:cNvSpPr/>
                    <p:nvPr/>
                  </p:nvSpPr>
                  <p:spPr>
                    <a:xfrm>
                      <a:off x="7225347" y="3840789"/>
                      <a:ext cx="25495" cy="14569"/>
                    </a:xfrm>
                    <a:custGeom>
                      <a:avLst/>
                      <a:gdLst>
                        <a:gd name="connsiteX0" fmla="*/ 13187 w 25495"/>
                        <a:gd name="connsiteY0" fmla="*/ 0 h 14569"/>
                        <a:gd name="connsiteX1" fmla="*/ 0 w 25495"/>
                        <a:gd name="connsiteY1" fmla="*/ 7536 h 14569"/>
                        <a:gd name="connsiteX2" fmla="*/ 12308 w 25495"/>
                        <a:gd name="connsiteY2" fmla="*/ 14569 h 14569"/>
                        <a:gd name="connsiteX3" fmla="*/ 25495 w 25495"/>
                        <a:gd name="connsiteY3" fmla="*/ 7033 h 14569"/>
                        <a:gd name="connsiteX4" fmla="*/ 13187 w 25495"/>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5" h="14569">
                          <a:moveTo>
                            <a:pt x="13187" y="0"/>
                          </a:moveTo>
                          <a:lnTo>
                            <a:pt x="0" y="7536"/>
                          </a:lnTo>
                          <a:lnTo>
                            <a:pt x="12308" y="14569"/>
                          </a:lnTo>
                          <a:lnTo>
                            <a:pt x="25495" y="7033"/>
                          </a:lnTo>
                          <a:lnTo>
                            <a:pt x="13187"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4" name="Freeform: Shape 4013">
                      <a:extLst>
                        <a:ext uri="{FF2B5EF4-FFF2-40B4-BE49-F238E27FC236}">
                          <a16:creationId xmlns:a16="http://schemas.microsoft.com/office/drawing/2014/main" id="{9BDABE4F-ADA2-4155-A355-6ADAFC543C6C}"/>
                        </a:ext>
                      </a:extLst>
                    </p:cNvPr>
                    <p:cNvSpPr/>
                    <p:nvPr/>
                  </p:nvSpPr>
                  <p:spPr>
                    <a:xfrm>
                      <a:off x="7224970" y="3848325"/>
                      <a:ext cx="12810" cy="24867"/>
                    </a:xfrm>
                    <a:custGeom>
                      <a:avLst/>
                      <a:gdLst>
                        <a:gd name="connsiteX0" fmla="*/ 12811 w 12810"/>
                        <a:gd name="connsiteY0" fmla="*/ 7410 h 24867"/>
                        <a:gd name="connsiteX1" fmla="*/ 12811 w 12810"/>
                        <a:gd name="connsiteY1" fmla="*/ 24868 h 24867"/>
                        <a:gd name="connsiteX2" fmla="*/ 6908 w 12810"/>
                        <a:gd name="connsiteY2" fmla="*/ 21602 h 24867"/>
                        <a:gd name="connsiteX3" fmla="*/ 5275 w 12810"/>
                        <a:gd name="connsiteY3" fmla="*/ 20598 h 24867"/>
                        <a:gd name="connsiteX4" fmla="*/ 0 w 12810"/>
                        <a:gd name="connsiteY4" fmla="*/ 17583 h 24867"/>
                        <a:gd name="connsiteX5" fmla="*/ 0 w 12810"/>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0" h="24867">
                          <a:moveTo>
                            <a:pt x="12811" y="7410"/>
                          </a:moveTo>
                          <a:lnTo>
                            <a:pt x="12811" y="24868"/>
                          </a:lnTo>
                          <a:lnTo>
                            <a:pt x="6908"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5" name="Freeform: Shape 4014">
                      <a:extLst>
                        <a:ext uri="{FF2B5EF4-FFF2-40B4-BE49-F238E27FC236}">
                          <a16:creationId xmlns:a16="http://schemas.microsoft.com/office/drawing/2014/main" id="{8F0A7427-EA86-43C1-8123-5A58AFD8BD04}"/>
                        </a:ext>
                      </a:extLst>
                    </p:cNvPr>
                    <p:cNvSpPr/>
                    <p:nvPr/>
                  </p:nvSpPr>
                  <p:spPr>
                    <a:xfrm>
                      <a:off x="7237781" y="3847823"/>
                      <a:ext cx="13564" cy="25370"/>
                    </a:xfrm>
                    <a:custGeom>
                      <a:avLst/>
                      <a:gdLst>
                        <a:gd name="connsiteX0" fmla="*/ 0 w 13564"/>
                        <a:gd name="connsiteY0" fmla="*/ 7912 h 25370"/>
                        <a:gd name="connsiteX1" fmla="*/ 0 w 13564"/>
                        <a:gd name="connsiteY1" fmla="*/ 25370 h 25370"/>
                        <a:gd name="connsiteX2" fmla="*/ 13564 w 13564"/>
                        <a:gd name="connsiteY2" fmla="*/ 17583 h 25370"/>
                        <a:gd name="connsiteX3" fmla="*/ 13564 w 13564"/>
                        <a:gd name="connsiteY3" fmla="*/ 0 h 25370"/>
                        <a:gd name="connsiteX4" fmla="*/ 0 w 13564"/>
                        <a:gd name="connsiteY4" fmla="*/ 7912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25370">
                          <a:moveTo>
                            <a:pt x="0" y="7912"/>
                          </a:moveTo>
                          <a:lnTo>
                            <a:pt x="0" y="25370"/>
                          </a:lnTo>
                          <a:lnTo>
                            <a:pt x="13564" y="17583"/>
                          </a:lnTo>
                          <a:lnTo>
                            <a:pt x="13564" y="0"/>
                          </a:lnTo>
                          <a:lnTo>
                            <a:pt x="0" y="7912"/>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16" name="Freeform: Shape 4015">
                    <a:extLst>
                      <a:ext uri="{FF2B5EF4-FFF2-40B4-BE49-F238E27FC236}">
                        <a16:creationId xmlns:a16="http://schemas.microsoft.com/office/drawing/2014/main" id="{121482BD-35F5-414C-BF09-DDF52399BB1C}"/>
                      </a:ext>
                    </a:extLst>
                  </p:cNvPr>
                  <p:cNvSpPr/>
                  <p:nvPr/>
                </p:nvSpPr>
                <p:spPr>
                  <a:xfrm>
                    <a:off x="7230245" y="3851465"/>
                    <a:ext cx="1632" cy="18462"/>
                  </a:xfrm>
                  <a:custGeom>
                    <a:avLst/>
                    <a:gdLst>
                      <a:gd name="connsiteX0" fmla="*/ 1633 w 1632"/>
                      <a:gd name="connsiteY0" fmla="*/ 879 h 18462"/>
                      <a:gd name="connsiteX1" fmla="*/ 1633 w 1632"/>
                      <a:gd name="connsiteY1" fmla="*/ 18462 h 18462"/>
                      <a:gd name="connsiteX2" fmla="*/ 0 w 1632"/>
                      <a:gd name="connsiteY2" fmla="*/ 17458 h 18462"/>
                      <a:gd name="connsiteX3" fmla="*/ 0 w 1632"/>
                      <a:gd name="connsiteY3" fmla="*/ 0 h 18462"/>
                    </a:gdLst>
                    <a:ahLst/>
                    <a:cxnLst>
                      <a:cxn ang="0">
                        <a:pos x="connsiteX0" y="connsiteY0"/>
                      </a:cxn>
                      <a:cxn ang="0">
                        <a:pos x="connsiteX1" y="connsiteY1"/>
                      </a:cxn>
                      <a:cxn ang="0">
                        <a:pos x="connsiteX2" y="connsiteY2"/>
                      </a:cxn>
                      <a:cxn ang="0">
                        <a:pos x="connsiteX3" y="connsiteY3"/>
                      </a:cxn>
                    </a:cxnLst>
                    <a:rect l="l" t="t" r="r" b="b"/>
                    <a:pathLst>
                      <a:path w="1632" h="18462">
                        <a:moveTo>
                          <a:pt x="1633" y="879"/>
                        </a:moveTo>
                        <a:lnTo>
                          <a:pt x="1633"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7" name="Freeform: Shape 4016">
                    <a:extLst>
                      <a:ext uri="{FF2B5EF4-FFF2-40B4-BE49-F238E27FC236}">
                        <a16:creationId xmlns:a16="http://schemas.microsoft.com/office/drawing/2014/main" id="{0562932B-5DAE-483B-9728-1900ED0E0B4F}"/>
                      </a:ext>
                    </a:extLst>
                  </p:cNvPr>
                  <p:cNvSpPr/>
                  <p:nvPr/>
                </p:nvSpPr>
                <p:spPr>
                  <a:xfrm>
                    <a:off x="7230120" y="3843553"/>
                    <a:ext cx="15447" cy="8791"/>
                  </a:xfrm>
                  <a:custGeom>
                    <a:avLst/>
                    <a:gdLst>
                      <a:gd name="connsiteX0" fmla="*/ 15448 w 15447"/>
                      <a:gd name="connsiteY0" fmla="*/ 1005 h 8791"/>
                      <a:gd name="connsiteX1" fmla="*/ 10675 w 15447"/>
                      <a:gd name="connsiteY1" fmla="*/ 3642 h 8791"/>
                      <a:gd name="connsiteX2" fmla="*/ 8917 w 15447"/>
                      <a:gd name="connsiteY2" fmla="*/ 4647 h 8791"/>
                      <a:gd name="connsiteX3" fmla="*/ 1758 w 15447"/>
                      <a:gd name="connsiteY3" fmla="*/ 8792 h 8791"/>
                      <a:gd name="connsiteX4" fmla="*/ 1758 w 15447"/>
                      <a:gd name="connsiteY4" fmla="*/ 8792 h 8791"/>
                      <a:gd name="connsiteX5" fmla="*/ 0 w 15447"/>
                      <a:gd name="connsiteY5" fmla="*/ 7913 h 8791"/>
                      <a:gd name="connsiteX6" fmla="*/ 125 w 15447"/>
                      <a:gd name="connsiteY6" fmla="*/ 7787 h 8791"/>
                      <a:gd name="connsiteX7" fmla="*/ 7284 w 15447"/>
                      <a:gd name="connsiteY7" fmla="*/ 3642 h 8791"/>
                      <a:gd name="connsiteX8" fmla="*/ 8917 w 15447"/>
                      <a:gd name="connsiteY8" fmla="*/ 2763 h 8791"/>
                      <a:gd name="connsiteX9" fmla="*/ 13689 w 15447"/>
                      <a:gd name="connsiteY9" fmla="*/ 0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7" h="8791">
                        <a:moveTo>
                          <a:pt x="15448" y="1005"/>
                        </a:moveTo>
                        <a:lnTo>
                          <a:pt x="10675" y="3642"/>
                        </a:lnTo>
                        <a:lnTo>
                          <a:pt x="8917" y="4647"/>
                        </a:lnTo>
                        <a:lnTo>
                          <a:pt x="1758" y="8792"/>
                        </a:lnTo>
                        <a:lnTo>
                          <a:pt x="1758" y="8792"/>
                        </a:lnTo>
                        <a:lnTo>
                          <a:pt x="0" y="7913"/>
                        </a:lnTo>
                        <a:lnTo>
                          <a:pt x="125" y="7787"/>
                        </a:lnTo>
                        <a:lnTo>
                          <a:pt x="7284" y="3642"/>
                        </a:lnTo>
                        <a:lnTo>
                          <a:pt x="8917" y="2763"/>
                        </a:lnTo>
                        <a:lnTo>
                          <a:pt x="13689"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18" name="Graphic 4">
                    <a:extLst>
                      <a:ext uri="{FF2B5EF4-FFF2-40B4-BE49-F238E27FC236}">
                        <a16:creationId xmlns:a16="http://schemas.microsoft.com/office/drawing/2014/main" id="{84FB7ED1-A2DF-40A1-A747-5F7CF3F14040}"/>
                      </a:ext>
                    </a:extLst>
                  </p:cNvPr>
                  <p:cNvGrpSpPr/>
                  <p:nvPr/>
                </p:nvGrpSpPr>
                <p:grpSpPr>
                  <a:xfrm>
                    <a:off x="7243055" y="3849832"/>
                    <a:ext cx="6154" cy="8917"/>
                    <a:chOff x="7243055" y="3849832"/>
                    <a:chExt cx="6154" cy="8917"/>
                  </a:xfrm>
                  <a:solidFill>
                    <a:schemeClr val="accent1"/>
                  </a:solidFill>
                </p:grpSpPr>
                <p:sp>
                  <p:nvSpPr>
                    <p:cNvPr id="4019" name="Freeform: Shape 4018">
                      <a:extLst>
                        <a:ext uri="{FF2B5EF4-FFF2-40B4-BE49-F238E27FC236}">
                          <a16:creationId xmlns:a16="http://schemas.microsoft.com/office/drawing/2014/main" id="{27FAE21B-B256-4CD5-B32E-375767173CB3}"/>
                        </a:ext>
                      </a:extLst>
                    </p:cNvPr>
                    <p:cNvSpPr/>
                    <p:nvPr/>
                  </p:nvSpPr>
                  <p:spPr>
                    <a:xfrm>
                      <a:off x="7243055" y="3849832"/>
                      <a:ext cx="6154" cy="8917"/>
                    </a:xfrm>
                    <a:custGeom>
                      <a:avLst/>
                      <a:gdLst>
                        <a:gd name="connsiteX0" fmla="*/ 6154 w 6154"/>
                        <a:gd name="connsiteY0" fmla="*/ 5401 h 8917"/>
                        <a:gd name="connsiteX1" fmla="*/ 0 w 6154"/>
                        <a:gd name="connsiteY1" fmla="*/ 8917 h 8917"/>
                        <a:gd name="connsiteX2" fmla="*/ 0 w 6154"/>
                        <a:gd name="connsiteY2" fmla="*/ 3642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401"/>
                          </a:moveTo>
                          <a:lnTo>
                            <a:pt x="0" y="8917"/>
                          </a:lnTo>
                          <a:lnTo>
                            <a:pt x="0" y="3642"/>
                          </a:lnTo>
                          <a:lnTo>
                            <a:pt x="6154"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0" name="Freeform: Shape 4019">
                      <a:extLst>
                        <a:ext uri="{FF2B5EF4-FFF2-40B4-BE49-F238E27FC236}">
                          <a16:creationId xmlns:a16="http://schemas.microsoft.com/office/drawing/2014/main" id="{93DE98B8-2F97-4CBA-84F0-38DCB351CE43}"/>
                        </a:ext>
                      </a:extLst>
                    </p:cNvPr>
                    <p:cNvSpPr/>
                    <p:nvPr/>
                  </p:nvSpPr>
                  <p:spPr>
                    <a:xfrm>
                      <a:off x="7243558" y="3850837"/>
                      <a:ext cx="5149" cy="3516"/>
                    </a:xfrm>
                    <a:custGeom>
                      <a:avLst/>
                      <a:gdLst>
                        <a:gd name="connsiteX0" fmla="*/ 5150 w 5149"/>
                        <a:gd name="connsiteY0" fmla="*/ 628 h 3516"/>
                        <a:gd name="connsiteX1" fmla="*/ 0 w 5149"/>
                        <a:gd name="connsiteY1" fmla="*/ 3517 h 3516"/>
                        <a:gd name="connsiteX2" fmla="*/ 0 w 5149"/>
                        <a:gd name="connsiteY2" fmla="*/ 2889 h 3516"/>
                        <a:gd name="connsiteX3" fmla="*/ 5150 w 5149"/>
                        <a:gd name="connsiteY3" fmla="*/ 0 h 3516"/>
                      </a:gdLst>
                      <a:ahLst/>
                      <a:cxnLst>
                        <a:cxn ang="0">
                          <a:pos x="connsiteX0" y="connsiteY0"/>
                        </a:cxn>
                        <a:cxn ang="0">
                          <a:pos x="connsiteX1" y="connsiteY1"/>
                        </a:cxn>
                        <a:cxn ang="0">
                          <a:pos x="connsiteX2" y="connsiteY2"/>
                        </a:cxn>
                        <a:cxn ang="0">
                          <a:pos x="connsiteX3" y="connsiteY3"/>
                        </a:cxn>
                      </a:cxnLst>
                      <a:rect l="l" t="t" r="r" b="b"/>
                      <a:pathLst>
                        <a:path w="5149" h="3516">
                          <a:moveTo>
                            <a:pt x="5150" y="628"/>
                          </a:moveTo>
                          <a:lnTo>
                            <a:pt x="0" y="3517"/>
                          </a:lnTo>
                          <a:lnTo>
                            <a:pt x="0" y="2889"/>
                          </a:lnTo>
                          <a:lnTo>
                            <a:pt x="515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1" name="Freeform: Shape 4020">
                      <a:extLst>
                        <a:ext uri="{FF2B5EF4-FFF2-40B4-BE49-F238E27FC236}">
                          <a16:creationId xmlns:a16="http://schemas.microsoft.com/office/drawing/2014/main" id="{126F19B7-152F-4C6C-BCCF-775594E25E12}"/>
                        </a:ext>
                      </a:extLst>
                    </p:cNvPr>
                    <p:cNvSpPr/>
                    <p:nvPr/>
                  </p:nvSpPr>
                  <p:spPr>
                    <a:xfrm>
                      <a:off x="7243558" y="3852219"/>
                      <a:ext cx="5149" cy="3265"/>
                    </a:xfrm>
                    <a:custGeom>
                      <a:avLst/>
                      <a:gdLst>
                        <a:gd name="connsiteX0" fmla="*/ 5150 w 5149"/>
                        <a:gd name="connsiteY0" fmla="*/ 251 h 3265"/>
                        <a:gd name="connsiteX1" fmla="*/ 0 w 5149"/>
                        <a:gd name="connsiteY1" fmla="*/ 3266 h 3265"/>
                        <a:gd name="connsiteX2" fmla="*/ 0 w 5149"/>
                        <a:gd name="connsiteY2" fmla="*/ 3014 h 3265"/>
                        <a:gd name="connsiteX3" fmla="*/ 5150 w 5149"/>
                        <a:gd name="connsiteY3" fmla="*/ 0 h 3265"/>
                      </a:gdLst>
                      <a:ahLst/>
                      <a:cxnLst>
                        <a:cxn ang="0">
                          <a:pos x="connsiteX0" y="connsiteY0"/>
                        </a:cxn>
                        <a:cxn ang="0">
                          <a:pos x="connsiteX1" y="connsiteY1"/>
                        </a:cxn>
                        <a:cxn ang="0">
                          <a:pos x="connsiteX2" y="connsiteY2"/>
                        </a:cxn>
                        <a:cxn ang="0">
                          <a:pos x="connsiteX3" y="connsiteY3"/>
                        </a:cxn>
                      </a:cxnLst>
                      <a:rect l="l" t="t" r="r" b="b"/>
                      <a:pathLst>
                        <a:path w="5149" h="3265">
                          <a:moveTo>
                            <a:pt x="5150" y="251"/>
                          </a:moveTo>
                          <a:lnTo>
                            <a:pt x="0" y="3266"/>
                          </a:lnTo>
                          <a:lnTo>
                            <a:pt x="0" y="3014"/>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2" name="Freeform: Shape 4021">
                      <a:extLst>
                        <a:ext uri="{FF2B5EF4-FFF2-40B4-BE49-F238E27FC236}">
                          <a16:creationId xmlns:a16="http://schemas.microsoft.com/office/drawing/2014/main" id="{3332E501-BB38-4A08-BEDC-B5469ED1BF0A}"/>
                        </a:ext>
                      </a:extLst>
                    </p:cNvPr>
                    <p:cNvSpPr/>
                    <p:nvPr/>
                  </p:nvSpPr>
                  <p:spPr>
                    <a:xfrm>
                      <a:off x="7243558" y="3852972"/>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3" name="Freeform: Shape 4022">
                      <a:extLst>
                        <a:ext uri="{FF2B5EF4-FFF2-40B4-BE49-F238E27FC236}">
                          <a16:creationId xmlns:a16="http://schemas.microsoft.com/office/drawing/2014/main" id="{80B157AE-D906-45CF-9EE4-92AA2099CC10}"/>
                        </a:ext>
                      </a:extLst>
                    </p:cNvPr>
                    <p:cNvSpPr/>
                    <p:nvPr/>
                  </p:nvSpPr>
                  <p:spPr>
                    <a:xfrm>
                      <a:off x="7243558" y="3853726"/>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4" name="Freeform: Shape 4023">
                      <a:extLst>
                        <a:ext uri="{FF2B5EF4-FFF2-40B4-BE49-F238E27FC236}">
                          <a16:creationId xmlns:a16="http://schemas.microsoft.com/office/drawing/2014/main" id="{8FEF61E8-D89E-4183-99EC-2C55085D6AD8}"/>
                        </a:ext>
                      </a:extLst>
                    </p:cNvPr>
                    <p:cNvSpPr/>
                    <p:nvPr/>
                  </p:nvSpPr>
                  <p:spPr>
                    <a:xfrm>
                      <a:off x="7243558" y="3854479"/>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25" name="Graphic 4">
                    <a:extLst>
                      <a:ext uri="{FF2B5EF4-FFF2-40B4-BE49-F238E27FC236}">
                        <a16:creationId xmlns:a16="http://schemas.microsoft.com/office/drawing/2014/main" id="{84FB7ED1-A2DF-40A1-A747-5F7CF3F14040}"/>
                      </a:ext>
                    </a:extLst>
                  </p:cNvPr>
                  <p:cNvGrpSpPr/>
                  <p:nvPr/>
                </p:nvGrpSpPr>
                <p:grpSpPr>
                  <a:xfrm>
                    <a:off x="7258127" y="3841794"/>
                    <a:ext cx="6154" cy="8917"/>
                    <a:chOff x="7258127" y="3841794"/>
                    <a:chExt cx="6154" cy="8917"/>
                  </a:xfrm>
                  <a:solidFill>
                    <a:schemeClr val="accent1"/>
                  </a:solidFill>
                </p:grpSpPr>
                <p:sp>
                  <p:nvSpPr>
                    <p:cNvPr id="4026" name="Freeform: Shape 4025">
                      <a:extLst>
                        <a:ext uri="{FF2B5EF4-FFF2-40B4-BE49-F238E27FC236}">
                          <a16:creationId xmlns:a16="http://schemas.microsoft.com/office/drawing/2014/main" id="{E2BBCF31-43B2-43C3-92FD-41F0F6DE7052}"/>
                        </a:ext>
                      </a:extLst>
                    </p:cNvPr>
                    <p:cNvSpPr/>
                    <p:nvPr/>
                  </p:nvSpPr>
                  <p:spPr>
                    <a:xfrm>
                      <a:off x="7258127" y="3841794"/>
                      <a:ext cx="6154" cy="8917"/>
                    </a:xfrm>
                    <a:custGeom>
                      <a:avLst/>
                      <a:gdLst>
                        <a:gd name="connsiteX0" fmla="*/ 6154 w 6154"/>
                        <a:gd name="connsiteY0" fmla="*/ 5401 h 8917"/>
                        <a:gd name="connsiteX1" fmla="*/ 0 w 6154"/>
                        <a:gd name="connsiteY1" fmla="*/ 8917 h 8917"/>
                        <a:gd name="connsiteX2" fmla="*/ 0 w 6154"/>
                        <a:gd name="connsiteY2" fmla="*/ 3642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401"/>
                          </a:moveTo>
                          <a:lnTo>
                            <a:pt x="0" y="8917"/>
                          </a:lnTo>
                          <a:lnTo>
                            <a:pt x="0" y="3642"/>
                          </a:lnTo>
                          <a:lnTo>
                            <a:pt x="6154"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7" name="Freeform: Shape 4026">
                      <a:extLst>
                        <a:ext uri="{FF2B5EF4-FFF2-40B4-BE49-F238E27FC236}">
                          <a16:creationId xmlns:a16="http://schemas.microsoft.com/office/drawing/2014/main" id="{80F8785E-2B4B-4123-AFE1-AEFCBD0D598E}"/>
                        </a:ext>
                      </a:extLst>
                    </p:cNvPr>
                    <p:cNvSpPr/>
                    <p:nvPr/>
                  </p:nvSpPr>
                  <p:spPr>
                    <a:xfrm>
                      <a:off x="7258629" y="3842799"/>
                      <a:ext cx="5149" cy="3516"/>
                    </a:xfrm>
                    <a:custGeom>
                      <a:avLst/>
                      <a:gdLst>
                        <a:gd name="connsiteX0" fmla="*/ 5150 w 5149"/>
                        <a:gd name="connsiteY0" fmla="*/ 628 h 3516"/>
                        <a:gd name="connsiteX1" fmla="*/ 0 w 5149"/>
                        <a:gd name="connsiteY1" fmla="*/ 3517 h 3516"/>
                        <a:gd name="connsiteX2" fmla="*/ 0 w 5149"/>
                        <a:gd name="connsiteY2" fmla="*/ 2889 h 3516"/>
                        <a:gd name="connsiteX3" fmla="*/ 5150 w 5149"/>
                        <a:gd name="connsiteY3" fmla="*/ 0 h 3516"/>
                      </a:gdLst>
                      <a:ahLst/>
                      <a:cxnLst>
                        <a:cxn ang="0">
                          <a:pos x="connsiteX0" y="connsiteY0"/>
                        </a:cxn>
                        <a:cxn ang="0">
                          <a:pos x="connsiteX1" y="connsiteY1"/>
                        </a:cxn>
                        <a:cxn ang="0">
                          <a:pos x="connsiteX2" y="connsiteY2"/>
                        </a:cxn>
                        <a:cxn ang="0">
                          <a:pos x="connsiteX3" y="connsiteY3"/>
                        </a:cxn>
                      </a:cxnLst>
                      <a:rect l="l" t="t" r="r" b="b"/>
                      <a:pathLst>
                        <a:path w="5149" h="3516">
                          <a:moveTo>
                            <a:pt x="5150" y="628"/>
                          </a:moveTo>
                          <a:lnTo>
                            <a:pt x="0" y="3517"/>
                          </a:lnTo>
                          <a:lnTo>
                            <a:pt x="0" y="2889"/>
                          </a:lnTo>
                          <a:lnTo>
                            <a:pt x="515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8" name="Freeform: Shape 4027">
                      <a:extLst>
                        <a:ext uri="{FF2B5EF4-FFF2-40B4-BE49-F238E27FC236}">
                          <a16:creationId xmlns:a16="http://schemas.microsoft.com/office/drawing/2014/main" id="{FC59D2DA-8F48-4960-9068-CD8E38FBE52D}"/>
                        </a:ext>
                      </a:extLst>
                    </p:cNvPr>
                    <p:cNvSpPr/>
                    <p:nvPr/>
                  </p:nvSpPr>
                  <p:spPr>
                    <a:xfrm>
                      <a:off x="7258629" y="3844181"/>
                      <a:ext cx="5149" cy="3265"/>
                    </a:xfrm>
                    <a:custGeom>
                      <a:avLst/>
                      <a:gdLst>
                        <a:gd name="connsiteX0" fmla="*/ 5150 w 5149"/>
                        <a:gd name="connsiteY0" fmla="*/ 251 h 3265"/>
                        <a:gd name="connsiteX1" fmla="*/ 0 w 5149"/>
                        <a:gd name="connsiteY1" fmla="*/ 3266 h 3265"/>
                        <a:gd name="connsiteX2" fmla="*/ 0 w 5149"/>
                        <a:gd name="connsiteY2" fmla="*/ 3014 h 3265"/>
                        <a:gd name="connsiteX3" fmla="*/ 5150 w 5149"/>
                        <a:gd name="connsiteY3" fmla="*/ 0 h 3265"/>
                      </a:gdLst>
                      <a:ahLst/>
                      <a:cxnLst>
                        <a:cxn ang="0">
                          <a:pos x="connsiteX0" y="connsiteY0"/>
                        </a:cxn>
                        <a:cxn ang="0">
                          <a:pos x="connsiteX1" y="connsiteY1"/>
                        </a:cxn>
                        <a:cxn ang="0">
                          <a:pos x="connsiteX2" y="connsiteY2"/>
                        </a:cxn>
                        <a:cxn ang="0">
                          <a:pos x="connsiteX3" y="connsiteY3"/>
                        </a:cxn>
                      </a:cxnLst>
                      <a:rect l="l" t="t" r="r" b="b"/>
                      <a:pathLst>
                        <a:path w="5149" h="3265">
                          <a:moveTo>
                            <a:pt x="5150" y="251"/>
                          </a:moveTo>
                          <a:lnTo>
                            <a:pt x="0" y="3266"/>
                          </a:lnTo>
                          <a:lnTo>
                            <a:pt x="0" y="3014"/>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9" name="Freeform: Shape 4028">
                      <a:extLst>
                        <a:ext uri="{FF2B5EF4-FFF2-40B4-BE49-F238E27FC236}">
                          <a16:creationId xmlns:a16="http://schemas.microsoft.com/office/drawing/2014/main" id="{D7155652-CF63-4D93-81D8-B35334544E7F}"/>
                        </a:ext>
                      </a:extLst>
                    </p:cNvPr>
                    <p:cNvSpPr/>
                    <p:nvPr/>
                  </p:nvSpPr>
                  <p:spPr>
                    <a:xfrm>
                      <a:off x="7258629" y="3844934"/>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0" name="Freeform: Shape 4029">
                      <a:extLst>
                        <a:ext uri="{FF2B5EF4-FFF2-40B4-BE49-F238E27FC236}">
                          <a16:creationId xmlns:a16="http://schemas.microsoft.com/office/drawing/2014/main" id="{8FA0C168-0A70-4D50-BC79-90A05232E104}"/>
                        </a:ext>
                      </a:extLst>
                    </p:cNvPr>
                    <p:cNvSpPr/>
                    <p:nvPr/>
                  </p:nvSpPr>
                  <p:spPr>
                    <a:xfrm>
                      <a:off x="7258629" y="3845688"/>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1" name="Freeform: Shape 4030">
                      <a:extLst>
                        <a:ext uri="{FF2B5EF4-FFF2-40B4-BE49-F238E27FC236}">
                          <a16:creationId xmlns:a16="http://schemas.microsoft.com/office/drawing/2014/main" id="{85DEBD3C-A03D-4671-8B60-9EE5F6BFC45F}"/>
                        </a:ext>
                      </a:extLst>
                    </p:cNvPr>
                    <p:cNvSpPr/>
                    <p:nvPr/>
                  </p:nvSpPr>
                  <p:spPr>
                    <a:xfrm>
                      <a:off x="7258629" y="3846441"/>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032" name="Graphic 4">
                  <a:extLst>
                    <a:ext uri="{FF2B5EF4-FFF2-40B4-BE49-F238E27FC236}">
                      <a16:creationId xmlns:a16="http://schemas.microsoft.com/office/drawing/2014/main" id="{84FB7ED1-A2DF-40A1-A747-5F7CF3F14040}"/>
                    </a:ext>
                  </a:extLst>
                </p:cNvPr>
                <p:cNvGrpSpPr/>
                <p:nvPr/>
              </p:nvGrpSpPr>
              <p:grpSpPr>
                <a:xfrm>
                  <a:off x="7211657" y="3806879"/>
                  <a:ext cx="54131" cy="48730"/>
                  <a:chOff x="7211657" y="3806879"/>
                  <a:chExt cx="54131" cy="48730"/>
                </a:xfrm>
                <a:solidFill>
                  <a:schemeClr val="accent1"/>
                </a:solidFill>
              </p:grpSpPr>
              <p:grpSp>
                <p:nvGrpSpPr>
                  <p:cNvPr id="4033" name="Graphic 4">
                    <a:extLst>
                      <a:ext uri="{FF2B5EF4-FFF2-40B4-BE49-F238E27FC236}">
                        <a16:creationId xmlns:a16="http://schemas.microsoft.com/office/drawing/2014/main" id="{84FB7ED1-A2DF-40A1-A747-5F7CF3F14040}"/>
                      </a:ext>
                    </a:extLst>
                  </p:cNvPr>
                  <p:cNvGrpSpPr/>
                  <p:nvPr/>
                </p:nvGrpSpPr>
                <p:grpSpPr>
                  <a:xfrm>
                    <a:off x="7219569" y="3806879"/>
                    <a:ext cx="32905" cy="34664"/>
                    <a:chOff x="7219569" y="3806879"/>
                    <a:chExt cx="32905" cy="34664"/>
                  </a:xfrm>
                  <a:solidFill>
                    <a:schemeClr val="accent1"/>
                  </a:solidFill>
                </p:grpSpPr>
                <p:sp>
                  <p:nvSpPr>
                    <p:cNvPr id="4034" name="Freeform: Shape 4033">
                      <a:extLst>
                        <a:ext uri="{FF2B5EF4-FFF2-40B4-BE49-F238E27FC236}">
                          <a16:creationId xmlns:a16="http://schemas.microsoft.com/office/drawing/2014/main" id="{CDEC0596-FAF0-4DA5-B35F-DD8DD8CB90C4}"/>
                        </a:ext>
                      </a:extLst>
                    </p:cNvPr>
                    <p:cNvSpPr/>
                    <p:nvPr/>
                  </p:nvSpPr>
                  <p:spPr>
                    <a:xfrm>
                      <a:off x="7219569" y="3823332"/>
                      <a:ext cx="31524" cy="18211"/>
                    </a:xfrm>
                    <a:custGeom>
                      <a:avLst/>
                      <a:gdLst>
                        <a:gd name="connsiteX0" fmla="*/ 0 w 31524"/>
                        <a:gd name="connsiteY0" fmla="*/ 9043 h 18211"/>
                        <a:gd name="connsiteX1" fmla="*/ 15825 w 31524"/>
                        <a:gd name="connsiteY1" fmla="*/ 18211 h 18211"/>
                        <a:gd name="connsiteX2" fmla="*/ 31524 w 31524"/>
                        <a:gd name="connsiteY2" fmla="*/ 9169 h 18211"/>
                        <a:gd name="connsiteX3" fmla="*/ 15699 w 31524"/>
                        <a:gd name="connsiteY3" fmla="*/ 0 h 18211"/>
                      </a:gdLst>
                      <a:ahLst/>
                      <a:cxnLst>
                        <a:cxn ang="0">
                          <a:pos x="connsiteX0" y="connsiteY0"/>
                        </a:cxn>
                        <a:cxn ang="0">
                          <a:pos x="connsiteX1" y="connsiteY1"/>
                        </a:cxn>
                        <a:cxn ang="0">
                          <a:pos x="connsiteX2" y="connsiteY2"/>
                        </a:cxn>
                        <a:cxn ang="0">
                          <a:pos x="connsiteX3" y="connsiteY3"/>
                        </a:cxn>
                      </a:cxnLst>
                      <a:rect l="l" t="t" r="r" b="b"/>
                      <a:pathLst>
                        <a:path w="31524" h="18211">
                          <a:moveTo>
                            <a:pt x="0" y="9043"/>
                          </a:moveTo>
                          <a:lnTo>
                            <a:pt x="15825" y="18211"/>
                          </a:lnTo>
                          <a:lnTo>
                            <a:pt x="31524" y="9169"/>
                          </a:lnTo>
                          <a:lnTo>
                            <a:pt x="15699"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35" name="Graphic 4">
                      <a:extLst>
                        <a:ext uri="{FF2B5EF4-FFF2-40B4-BE49-F238E27FC236}">
                          <a16:creationId xmlns:a16="http://schemas.microsoft.com/office/drawing/2014/main" id="{84FB7ED1-A2DF-40A1-A747-5F7CF3F14040}"/>
                        </a:ext>
                      </a:extLst>
                    </p:cNvPr>
                    <p:cNvGrpSpPr/>
                    <p:nvPr/>
                  </p:nvGrpSpPr>
                  <p:grpSpPr>
                    <a:xfrm>
                      <a:off x="7225975" y="3806879"/>
                      <a:ext cx="26500" cy="32780"/>
                      <a:chOff x="7225975" y="3806879"/>
                      <a:chExt cx="26500" cy="32780"/>
                    </a:xfrm>
                    <a:solidFill>
                      <a:schemeClr val="accent1"/>
                    </a:solidFill>
                  </p:grpSpPr>
                  <p:sp>
                    <p:nvSpPr>
                      <p:cNvPr id="4036" name="Freeform: Shape 4035">
                        <a:extLst>
                          <a:ext uri="{FF2B5EF4-FFF2-40B4-BE49-F238E27FC236}">
                            <a16:creationId xmlns:a16="http://schemas.microsoft.com/office/drawing/2014/main" id="{D1309424-E1A1-4129-8786-15FF96A17512}"/>
                          </a:ext>
                        </a:extLst>
                      </p:cNvPr>
                      <p:cNvSpPr/>
                      <p:nvPr/>
                    </p:nvSpPr>
                    <p:spPr>
                      <a:xfrm>
                        <a:off x="7225975" y="3806879"/>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3 h 15322"/>
                          <a:gd name="connsiteX4" fmla="*/ 5275 w 26500"/>
                          <a:gd name="connsiteY4" fmla="*/ 10927 h 15322"/>
                          <a:gd name="connsiteX5" fmla="*/ 7033 w 26500"/>
                          <a:gd name="connsiteY5" fmla="*/ 11931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3"/>
                            </a:lnTo>
                            <a:lnTo>
                              <a:pt x="5275" y="10927"/>
                            </a:lnTo>
                            <a:lnTo>
                              <a:pt x="7033" y="11931"/>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7" name="Freeform: Shape 4036">
                        <a:extLst>
                          <a:ext uri="{FF2B5EF4-FFF2-40B4-BE49-F238E27FC236}">
                            <a16:creationId xmlns:a16="http://schemas.microsoft.com/office/drawing/2014/main" id="{DB69896E-6BE1-4EBA-900C-18D41CDCAD71}"/>
                          </a:ext>
                        </a:extLst>
                      </p:cNvPr>
                      <p:cNvSpPr/>
                      <p:nvPr/>
                    </p:nvSpPr>
                    <p:spPr>
                      <a:xfrm>
                        <a:off x="7226477" y="3807130"/>
                        <a:ext cx="25496" cy="14569"/>
                      </a:xfrm>
                      <a:custGeom>
                        <a:avLst/>
                        <a:gdLst>
                          <a:gd name="connsiteX0" fmla="*/ 13187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7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7" y="0"/>
                            </a:moveTo>
                            <a:lnTo>
                              <a:pt x="0" y="7536"/>
                            </a:lnTo>
                            <a:lnTo>
                              <a:pt x="12309" y="14569"/>
                            </a:lnTo>
                            <a:lnTo>
                              <a:pt x="25496" y="7033"/>
                            </a:lnTo>
                            <a:lnTo>
                              <a:pt x="13187"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8" name="Freeform: Shape 4037">
                        <a:extLst>
                          <a:ext uri="{FF2B5EF4-FFF2-40B4-BE49-F238E27FC236}">
                            <a16:creationId xmlns:a16="http://schemas.microsoft.com/office/drawing/2014/main" id="{05424ED3-AE9F-4EB3-8681-1737B7D507AE}"/>
                          </a:ext>
                        </a:extLst>
                      </p:cNvPr>
                      <p:cNvSpPr/>
                      <p:nvPr/>
                    </p:nvSpPr>
                    <p:spPr>
                      <a:xfrm>
                        <a:off x="7225975" y="3814666"/>
                        <a:ext cx="12810" cy="24993"/>
                      </a:xfrm>
                      <a:custGeom>
                        <a:avLst/>
                        <a:gdLst>
                          <a:gd name="connsiteX0" fmla="*/ 12811 w 12810"/>
                          <a:gd name="connsiteY0" fmla="*/ 7410 h 24993"/>
                          <a:gd name="connsiteX1" fmla="*/ 12811 w 12810"/>
                          <a:gd name="connsiteY1" fmla="*/ 24993 h 24993"/>
                          <a:gd name="connsiteX2" fmla="*/ 6908 w 12810"/>
                          <a:gd name="connsiteY2" fmla="*/ 21602 h 24993"/>
                          <a:gd name="connsiteX3" fmla="*/ 5275 w 12810"/>
                          <a:gd name="connsiteY3" fmla="*/ 20598 h 24993"/>
                          <a:gd name="connsiteX4" fmla="*/ 0 w 12810"/>
                          <a:gd name="connsiteY4" fmla="*/ 17583 h 24993"/>
                          <a:gd name="connsiteX5" fmla="*/ 0 w 12810"/>
                          <a:gd name="connsiteY5" fmla="*/ 0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0" h="24993">
                            <a:moveTo>
                              <a:pt x="12811" y="7410"/>
                            </a:moveTo>
                            <a:lnTo>
                              <a:pt x="12811" y="24993"/>
                            </a:lnTo>
                            <a:lnTo>
                              <a:pt x="6908"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9" name="Freeform: Shape 4038">
                        <a:extLst>
                          <a:ext uri="{FF2B5EF4-FFF2-40B4-BE49-F238E27FC236}">
                            <a16:creationId xmlns:a16="http://schemas.microsoft.com/office/drawing/2014/main" id="{DBCF0647-77D3-46C7-B743-ACC3262D15DE}"/>
                          </a:ext>
                        </a:extLst>
                      </p:cNvPr>
                      <p:cNvSpPr/>
                      <p:nvPr/>
                    </p:nvSpPr>
                    <p:spPr>
                      <a:xfrm>
                        <a:off x="7238786" y="3814163"/>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40" name="Freeform: Shape 4039">
                      <a:extLst>
                        <a:ext uri="{FF2B5EF4-FFF2-40B4-BE49-F238E27FC236}">
                          <a16:creationId xmlns:a16="http://schemas.microsoft.com/office/drawing/2014/main" id="{21C833AE-2285-4FC1-BF2E-8BB03C6EA0F4}"/>
                        </a:ext>
                      </a:extLst>
                    </p:cNvPr>
                    <p:cNvSpPr/>
                    <p:nvPr/>
                  </p:nvSpPr>
                  <p:spPr>
                    <a:xfrm>
                      <a:off x="7231250" y="3817806"/>
                      <a:ext cx="1632" cy="18462"/>
                    </a:xfrm>
                    <a:custGeom>
                      <a:avLst/>
                      <a:gdLst>
                        <a:gd name="connsiteX0" fmla="*/ 1633 w 1632"/>
                        <a:gd name="connsiteY0" fmla="*/ 1005 h 18462"/>
                        <a:gd name="connsiteX1" fmla="*/ 1633 w 1632"/>
                        <a:gd name="connsiteY1" fmla="*/ 18462 h 18462"/>
                        <a:gd name="connsiteX2" fmla="*/ 0 w 1632"/>
                        <a:gd name="connsiteY2" fmla="*/ 17458 h 18462"/>
                        <a:gd name="connsiteX3" fmla="*/ 0 w 1632"/>
                        <a:gd name="connsiteY3" fmla="*/ 0 h 18462"/>
                      </a:gdLst>
                      <a:ahLst/>
                      <a:cxnLst>
                        <a:cxn ang="0">
                          <a:pos x="connsiteX0" y="connsiteY0"/>
                        </a:cxn>
                        <a:cxn ang="0">
                          <a:pos x="connsiteX1" y="connsiteY1"/>
                        </a:cxn>
                        <a:cxn ang="0">
                          <a:pos x="connsiteX2" y="connsiteY2"/>
                        </a:cxn>
                        <a:cxn ang="0">
                          <a:pos x="connsiteX3" y="connsiteY3"/>
                        </a:cxn>
                      </a:cxnLst>
                      <a:rect l="l" t="t" r="r" b="b"/>
                      <a:pathLst>
                        <a:path w="1632" h="18462">
                          <a:moveTo>
                            <a:pt x="1633" y="1005"/>
                          </a:moveTo>
                          <a:lnTo>
                            <a:pt x="1633"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1" name="Freeform: Shape 4040">
                      <a:extLst>
                        <a:ext uri="{FF2B5EF4-FFF2-40B4-BE49-F238E27FC236}">
                          <a16:creationId xmlns:a16="http://schemas.microsoft.com/office/drawing/2014/main" id="{6F9DE75F-4041-4938-A268-59A51ED98BB2}"/>
                        </a:ext>
                      </a:extLst>
                    </p:cNvPr>
                    <p:cNvSpPr/>
                    <p:nvPr/>
                  </p:nvSpPr>
                  <p:spPr>
                    <a:xfrm>
                      <a:off x="7231250" y="3809893"/>
                      <a:ext cx="15322" cy="8917"/>
                    </a:xfrm>
                    <a:custGeom>
                      <a:avLst/>
                      <a:gdLst>
                        <a:gd name="connsiteX0" fmla="*/ 15323 w 15322"/>
                        <a:gd name="connsiteY0" fmla="*/ 1005 h 8917"/>
                        <a:gd name="connsiteX1" fmla="*/ 10550 w 15322"/>
                        <a:gd name="connsiteY1" fmla="*/ 3768 h 8917"/>
                        <a:gd name="connsiteX2" fmla="*/ 8918 w 15322"/>
                        <a:gd name="connsiteY2" fmla="*/ 4773 h 8917"/>
                        <a:gd name="connsiteX3" fmla="*/ 1759 w 15322"/>
                        <a:gd name="connsiteY3" fmla="*/ 8792 h 8917"/>
                        <a:gd name="connsiteX4" fmla="*/ 1633 w 15322"/>
                        <a:gd name="connsiteY4" fmla="*/ 8917 h 8917"/>
                        <a:gd name="connsiteX5" fmla="*/ 0 w 15322"/>
                        <a:gd name="connsiteY5" fmla="*/ 7913 h 8917"/>
                        <a:gd name="connsiteX6" fmla="*/ 0 w 15322"/>
                        <a:gd name="connsiteY6" fmla="*/ 7913 h 8917"/>
                        <a:gd name="connsiteX7" fmla="*/ 7159 w 15322"/>
                        <a:gd name="connsiteY7" fmla="*/ 3768 h 8917"/>
                        <a:gd name="connsiteX8" fmla="*/ 8918 w 15322"/>
                        <a:gd name="connsiteY8" fmla="*/ 2763 h 8917"/>
                        <a:gd name="connsiteX9" fmla="*/ 13690 w 15322"/>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2" h="8917">
                          <a:moveTo>
                            <a:pt x="15323" y="1005"/>
                          </a:moveTo>
                          <a:lnTo>
                            <a:pt x="10550" y="3768"/>
                          </a:lnTo>
                          <a:lnTo>
                            <a:pt x="8918" y="4773"/>
                          </a:lnTo>
                          <a:lnTo>
                            <a:pt x="1759" y="8792"/>
                          </a:lnTo>
                          <a:lnTo>
                            <a:pt x="1633" y="8917"/>
                          </a:lnTo>
                          <a:lnTo>
                            <a:pt x="0" y="7913"/>
                          </a:lnTo>
                          <a:lnTo>
                            <a:pt x="0" y="7913"/>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42" name="Graphic 4">
                    <a:extLst>
                      <a:ext uri="{FF2B5EF4-FFF2-40B4-BE49-F238E27FC236}">
                        <a16:creationId xmlns:a16="http://schemas.microsoft.com/office/drawing/2014/main" id="{84FB7ED1-A2DF-40A1-A747-5F7CF3F14040}"/>
                      </a:ext>
                    </a:extLst>
                  </p:cNvPr>
                  <p:cNvGrpSpPr/>
                  <p:nvPr/>
                </p:nvGrpSpPr>
                <p:grpSpPr>
                  <a:xfrm>
                    <a:off x="7211657" y="3815043"/>
                    <a:ext cx="26626" cy="32780"/>
                    <a:chOff x="7211657" y="3815043"/>
                    <a:chExt cx="26626" cy="32780"/>
                  </a:xfrm>
                  <a:solidFill>
                    <a:schemeClr val="accent1"/>
                  </a:solidFill>
                </p:grpSpPr>
                <p:grpSp>
                  <p:nvGrpSpPr>
                    <p:cNvPr id="4043" name="Graphic 4">
                      <a:extLst>
                        <a:ext uri="{FF2B5EF4-FFF2-40B4-BE49-F238E27FC236}">
                          <a16:creationId xmlns:a16="http://schemas.microsoft.com/office/drawing/2014/main" id="{84FB7ED1-A2DF-40A1-A747-5F7CF3F14040}"/>
                        </a:ext>
                      </a:extLst>
                    </p:cNvPr>
                    <p:cNvGrpSpPr/>
                    <p:nvPr/>
                  </p:nvGrpSpPr>
                  <p:grpSpPr>
                    <a:xfrm>
                      <a:off x="7211657" y="3815043"/>
                      <a:ext cx="26626" cy="32780"/>
                      <a:chOff x="7211657" y="3815043"/>
                      <a:chExt cx="26626" cy="32780"/>
                    </a:xfrm>
                    <a:solidFill>
                      <a:schemeClr val="accent1"/>
                    </a:solidFill>
                  </p:grpSpPr>
                  <p:sp>
                    <p:nvSpPr>
                      <p:cNvPr id="4044" name="Freeform: Shape 4043">
                        <a:extLst>
                          <a:ext uri="{FF2B5EF4-FFF2-40B4-BE49-F238E27FC236}">
                            <a16:creationId xmlns:a16="http://schemas.microsoft.com/office/drawing/2014/main" id="{E012ED32-691D-48EF-96CE-DC2D18CC9942}"/>
                          </a:ext>
                        </a:extLst>
                      </p:cNvPr>
                      <p:cNvSpPr/>
                      <p:nvPr/>
                    </p:nvSpPr>
                    <p:spPr>
                      <a:xfrm>
                        <a:off x="7211782" y="3815043"/>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2 h 15322"/>
                          <a:gd name="connsiteX4" fmla="*/ 5275 w 26500"/>
                          <a:gd name="connsiteY4" fmla="*/ 10927 h 15322"/>
                          <a:gd name="connsiteX5" fmla="*/ 7033 w 26500"/>
                          <a:gd name="connsiteY5" fmla="*/ 11931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2"/>
                            </a:lnTo>
                            <a:lnTo>
                              <a:pt x="5275" y="10927"/>
                            </a:lnTo>
                            <a:lnTo>
                              <a:pt x="7033" y="11931"/>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5" name="Freeform: Shape 4044">
                        <a:extLst>
                          <a:ext uri="{FF2B5EF4-FFF2-40B4-BE49-F238E27FC236}">
                            <a16:creationId xmlns:a16="http://schemas.microsoft.com/office/drawing/2014/main" id="{0AB2870D-C8DB-4816-B103-7A7E89C14646}"/>
                          </a:ext>
                        </a:extLst>
                      </p:cNvPr>
                      <p:cNvSpPr/>
                      <p:nvPr/>
                    </p:nvSpPr>
                    <p:spPr>
                      <a:xfrm>
                        <a:off x="7212159" y="3815294"/>
                        <a:ext cx="25496" cy="14569"/>
                      </a:xfrm>
                      <a:custGeom>
                        <a:avLst/>
                        <a:gdLst>
                          <a:gd name="connsiteX0" fmla="*/ 13188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8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8" y="0"/>
                            </a:moveTo>
                            <a:lnTo>
                              <a:pt x="0" y="7536"/>
                            </a:lnTo>
                            <a:lnTo>
                              <a:pt x="12309" y="14569"/>
                            </a:lnTo>
                            <a:lnTo>
                              <a:pt x="25496" y="7033"/>
                            </a:lnTo>
                            <a:lnTo>
                              <a:pt x="13188"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6" name="Freeform: Shape 4045">
                        <a:extLst>
                          <a:ext uri="{FF2B5EF4-FFF2-40B4-BE49-F238E27FC236}">
                            <a16:creationId xmlns:a16="http://schemas.microsoft.com/office/drawing/2014/main" id="{7F028560-F9BA-42E2-81F2-B0A136051C64}"/>
                          </a:ext>
                        </a:extLst>
                      </p:cNvPr>
                      <p:cNvSpPr/>
                      <p:nvPr/>
                    </p:nvSpPr>
                    <p:spPr>
                      <a:xfrm>
                        <a:off x="7211657" y="3822955"/>
                        <a:ext cx="12936" cy="24867"/>
                      </a:xfrm>
                      <a:custGeom>
                        <a:avLst/>
                        <a:gdLst>
                          <a:gd name="connsiteX0" fmla="*/ 12937 w 12936"/>
                          <a:gd name="connsiteY0" fmla="*/ 7410 h 24867"/>
                          <a:gd name="connsiteX1" fmla="*/ 12937 w 12936"/>
                          <a:gd name="connsiteY1" fmla="*/ 24868 h 24867"/>
                          <a:gd name="connsiteX2" fmla="*/ 7033 w 12936"/>
                          <a:gd name="connsiteY2" fmla="*/ 21602 h 24867"/>
                          <a:gd name="connsiteX3" fmla="*/ 5275 w 12936"/>
                          <a:gd name="connsiteY3" fmla="*/ 20598 h 24867"/>
                          <a:gd name="connsiteX4" fmla="*/ 0 w 12936"/>
                          <a:gd name="connsiteY4" fmla="*/ 17583 h 24867"/>
                          <a:gd name="connsiteX5" fmla="*/ 0 w 12936"/>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36" h="24867">
                            <a:moveTo>
                              <a:pt x="12937" y="7410"/>
                            </a:moveTo>
                            <a:lnTo>
                              <a:pt x="12937" y="24868"/>
                            </a:lnTo>
                            <a:lnTo>
                              <a:pt x="7033"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7" name="Freeform: Shape 4046">
                        <a:extLst>
                          <a:ext uri="{FF2B5EF4-FFF2-40B4-BE49-F238E27FC236}">
                            <a16:creationId xmlns:a16="http://schemas.microsoft.com/office/drawing/2014/main" id="{99B249E4-74F4-45F7-A2E4-EAC549CFFF28}"/>
                          </a:ext>
                        </a:extLst>
                      </p:cNvPr>
                      <p:cNvSpPr/>
                      <p:nvPr/>
                    </p:nvSpPr>
                    <p:spPr>
                      <a:xfrm>
                        <a:off x="7224593" y="3822453"/>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48" name="Freeform: Shape 4047">
                      <a:extLst>
                        <a:ext uri="{FF2B5EF4-FFF2-40B4-BE49-F238E27FC236}">
                          <a16:creationId xmlns:a16="http://schemas.microsoft.com/office/drawing/2014/main" id="{962429B2-15D3-45B5-8FA7-AFC8EC81A7EA}"/>
                        </a:ext>
                      </a:extLst>
                    </p:cNvPr>
                    <p:cNvSpPr/>
                    <p:nvPr/>
                  </p:nvSpPr>
                  <p:spPr>
                    <a:xfrm>
                      <a:off x="7216932" y="3825969"/>
                      <a:ext cx="1758" cy="18587"/>
                    </a:xfrm>
                    <a:custGeom>
                      <a:avLst/>
                      <a:gdLst>
                        <a:gd name="connsiteX0" fmla="*/ 1759 w 1758"/>
                        <a:gd name="connsiteY0" fmla="*/ 1005 h 18587"/>
                        <a:gd name="connsiteX1" fmla="*/ 1759 w 1758"/>
                        <a:gd name="connsiteY1" fmla="*/ 18588 h 18587"/>
                        <a:gd name="connsiteX2" fmla="*/ 0 w 1758"/>
                        <a:gd name="connsiteY2" fmla="*/ 17583 h 18587"/>
                        <a:gd name="connsiteX3" fmla="*/ 0 w 1758"/>
                        <a:gd name="connsiteY3" fmla="*/ 0 h 18587"/>
                      </a:gdLst>
                      <a:ahLst/>
                      <a:cxnLst>
                        <a:cxn ang="0">
                          <a:pos x="connsiteX0" y="connsiteY0"/>
                        </a:cxn>
                        <a:cxn ang="0">
                          <a:pos x="connsiteX1" y="connsiteY1"/>
                        </a:cxn>
                        <a:cxn ang="0">
                          <a:pos x="connsiteX2" y="connsiteY2"/>
                        </a:cxn>
                        <a:cxn ang="0">
                          <a:pos x="connsiteX3" y="connsiteY3"/>
                        </a:cxn>
                      </a:cxnLst>
                      <a:rect l="l" t="t" r="r" b="b"/>
                      <a:pathLst>
                        <a:path w="1758" h="18587">
                          <a:moveTo>
                            <a:pt x="1759" y="1005"/>
                          </a:moveTo>
                          <a:lnTo>
                            <a:pt x="1759" y="18588"/>
                          </a:lnTo>
                          <a:lnTo>
                            <a:pt x="0" y="17583"/>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9" name="Freeform: Shape 4048">
                      <a:extLst>
                        <a:ext uri="{FF2B5EF4-FFF2-40B4-BE49-F238E27FC236}">
                          <a16:creationId xmlns:a16="http://schemas.microsoft.com/office/drawing/2014/main" id="{46669EB3-8D84-40F0-A83B-62629BA28975}"/>
                        </a:ext>
                      </a:extLst>
                    </p:cNvPr>
                    <p:cNvSpPr/>
                    <p:nvPr/>
                  </p:nvSpPr>
                  <p:spPr>
                    <a:xfrm>
                      <a:off x="7216932" y="3818183"/>
                      <a:ext cx="15448" cy="8791"/>
                    </a:xfrm>
                    <a:custGeom>
                      <a:avLst/>
                      <a:gdLst>
                        <a:gd name="connsiteX0" fmla="*/ 15449 w 15448"/>
                        <a:gd name="connsiteY0" fmla="*/ 879 h 8791"/>
                        <a:gd name="connsiteX1" fmla="*/ 10676 w 15448"/>
                        <a:gd name="connsiteY1" fmla="*/ 3642 h 8791"/>
                        <a:gd name="connsiteX2" fmla="*/ 8918 w 15448"/>
                        <a:gd name="connsiteY2" fmla="*/ 4647 h 8791"/>
                        <a:gd name="connsiteX3" fmla="*/ 1759 w 15448"/>
                        <a:gd name="connsiteY3" fmla="*/ 8792 h 8791"/>
                        <a:gd name="connsiteX4" fmla="*/ 1759 w 15448"/>
                        <a:gd name="connsiteY4" fmla="*/ 8792 h 8791"/>
                        <a:gd name="connsiteX5" fmla="*/ 0 w 15448"/>
                        <a:gd name="connsiteY5" fmla="*/ 7787 h 8791"/>
                        <a:gd name="connsiteX6" fmla="*/ 126 w 15448"/>
                        <a:gd name="connsiteY6" fmla="*/ 7787 h 8791"/>
                        <a:gd name="connsiteX7" fmla="*/ 7159 w 15448"/>
                        <a:gd name="connsiteY7" fmla="*/ 3642 h 8791"/>
                        <a:gd name="connsiteX8" fmla="*/ 8918 w 15448"/>
                        <a:gd name="connsiteY8" fmla="*/ 2637 h 8791"/>
                        <a:gd name="connsiteX9" fmla="*/ 13690 w 15448"/>
                        <a:gd name="connsiteY9" fmla="*/ 0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8" h="8791">
                          <a:moveTo>
                            <a:pt x="15449" y="879"/>
                          </a:moveTo>
                          <a:lnTo>
                            <a:pt x="10676" y="3642"/>
                          </a:lnTo>
                          <a:lnTo>
                            <a:pt x="8918" y="4647"/>
                          </a:lnTo>
                          <a:lnTo>
                            <a:pt x="1759" y="8792"/>
                          </a:lnTo>
                          <a:lnTo>
                            <a:pt x="1759" y="8792"/>
                          </a:lnTo>
                          <a:lnTo>
                            <a:pt x="0" y="7787"/>
                          </a:lnTo>
                          <a:lnTo>
                            <a:pt x="126" y="7787"/>
                          </a:lnTo>
                          <a:lnTo>
                            <a:pt x="7159" y="3642"/>
                          </a:lnTo>
                          <a:lnTo>
                            <a:pt x="8918" y="2637"/>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50" name="Graphic 4">
                    <a:extLst>
                      <a:ext uri="{FF2B5EF4-FFF2-40B4-BE49-F238E27FC236}">
                        <a16:creationId xmlns:a16="http://schemas.microsoft.com/office/drawing/2014/main" id="{84FB7ED1-A2DF-40A1-A747-5F7CF3F14040}"/>
                      </a:ext>
                    </a:extLst>
                  </p:cNvPr>
                  <p:cNvGrpSpPr/>
                  <p:nvPr/>
                </p:nvGrpSpPr>
                <p:grpSpPr>
                  <a:xfrm>
                    <a:off x="7232757" y="3814666"/>
                    <a:ext cx="33031" cy="34664"/>
                    <a:chOff x="7232757" y="3814666"/>
                    <a:chExt cx="33031" cy="34664"/>
                  </a:xfrm>
                  <a:solidFill>
                    <a:schemeClr val="accent1"/>
                  </a:solidFill>
                </p:grpSpPr>
                <p:sp>
                  <p:nvSpPr>
                    <p:cNvPr id="4051" name="Freeform: Shape 4050">
                      <a:extLst>
                        <a:ext uri="{FF2B5EF4-FFF2-40B4-BE49-F238E27FC236}">
                          <a16:creationId xmlns:a16="http://schemas.microsoft.com/office/drawing/2014/main" id="{ADC3BB42-CD84-4013-8A17-9AD764D8BA84}"/>
                        </a:ext>
                      </a:extLst>
                    </p:cNvPr>
                    <p:cNvSpPr/>
                    <p:nvPr/>
                  </p:nvSpPr>
                  <p:spPr>
                    <a:xfrm>
                      <a:off x="7232757" y="3831119"/>
                      <a:ext cx="31650" cy="18211"/>
                    </a:xfrm>
                    <a:custGeom>
                      <a:avLst/>
                      <a:gdLst>
                        <a:gd name="connsiteX0" fmla="*/ 0 w 31650"/>
                        <a:gd name="connsiteY0" fmla="*/ 9043 h 18211"/>
                        <a:gd name="connsiteX1" fmla="*/ 15825 w 31650"/>
                        <a:gd name="connsiteY1" fmla="*/ 18211 h 18211"/>
                        <a:gd name="connsiteX2" fmla="*/ 31650 w 31650"/>
                        <a:gd name="connsiteY2" fmla="*/ 9168 h 18211"/>
                        <a:gd name="connsiteX3" fmla="*/ 15699 w 31650"/>
                        <a:gd name="connsiteY3" fmla="*/ 0 h 18211"/>
                      </a:gdLst>
                      <a:ahLst/>
                      <a:cxnLst>
                        <a:cxn ang="0">
                          <a:pos x="connsiteX0" y="connsiteY0"/>
                        </a:cxn>
                        <a:cxn ang="0">
                          <a:pos x="connsiteX1" y="connsiteY1"/>
                        </a:cxn>
                        <a:cxn ang="0">
                          <a:pos x="connsiteX2" y="connsiteY2"/>
                        </a:cxn>
                        <a:cxn ang="0">
                          <a:pos x="connsiteX3" y="connsiteY3"/>
                        </a:cxn>
                      </a:cxnLst>
                      <a:rect l="l" t="t" r="r" b="b"/>
                      <a:pathLst>
                        <a:path w="31650" h="18211">
                          <a:moveTo>
                            <a:pt x="0" y="9043"/>
                          </a:moveTo>
                          <a:lnTo>
                            <a:pt x="15825" y="18211"/>
                          </a:lnTo>
                          <a:lnTo>
                            <a:pt x="31650" y="9168"/>
                          </a:lnTo>
                          <a:lnTo>
                            <a:pt x="15699"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52" name="Graphic 4">
                      <a:extLst>
                        <a:ext uri="{FF2B5EF4-FFF2-40B4-BE49-F238E27FC236}">
                          <a16:creationId xmlns:a16="http://schemas.microsoft.com/office/drawing/2014/main" id="{84FB7ED1-A2DF-40A1-A747-5F7CF3F14040}"/>
                        </a:ext>
                      </a:extLst>
                    </p:cNvPr>
                    <p:cNvGrpSpPr/>
                    <p:nvPr/>
                  </p:nvGrpSpPr>
                  <p:grpSpPr>
                    <a:xfrm>
                      <a:off x="7239162" y="3814666"/>
                      <a:ext cx="26626" cy="32654"/>
                      <a:chOff x="7239162" y="3814666"/>
                      <a:chExt cx="26626" cy="32654"/>
                    </a:xfrm>
                    <a:solidFill>
                      <a:schemeClr val="accent1"/>
                    </a:solidFill>
                  </p:grpSpPr>
                  <p:sp>
                    <p:nvSpPr>
                      <p:cNvPr id="4053" name="Freeform: Shape 4052">
                        <a:extLst>
                          <a:ext uri="{FF2B5EF4-FFF2-40B4-BE49-F238E27FC236}">
                            <a16:creationId xmlns:a16="http://schemas.microsoft.com/office/drawing/2014/main" id="{01A0DB99-8180-4032-B7FA-2AB8E3CBE945}"/>
                          </a:ext>
                        </a:extLst>
                      </p:cNvPr>
                      <p:cNvSpPr/>
                      <p:nvPr/>
                    </p:nvSpPr>
                    <p:spPr>
                      <a:xfrm>
                        <a:off x="7239288" y="3814666"/>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2 h 15322"/>
                          <a:gd name="connsiteX4" fmla="*/ 5275 w 26500"/>
                          <a:gd name="connsiteY4" fmla="*/ 10927 h 15322"/>
                          <a:gd name="connsiteX5" fmla="*/ 7033 w 26500"/>
                          <a:gd name="connsiteY5" fmla="*/ 11931 h 15322"/>
                          <a:gd name="connsiteX6" fmla="*/ 12936 w 26500"/>
                          <a:gd name="connsiteY6" fmla="*/ 15322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2"/>
                            </a:lnTo>
                            <a:lnTo>
                              <a:pt x="5275" y="10927"/>
                            </a:lnTo>
                            <a:lnTo>
                              <a:pt x="7033" y="11931"/>
                            </a:lnTo>
                            <a:lnTo>
                              <a:pt x="12936" y="15322"/>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4" name="Freeform: Shape 4053">
                        <a:extLst>
                          <a:ext uri="{FF2B5EF4-FFF2-40B4-BE49-F238E27FC236}">
                            <a16:creationId xmlns:a16="http://schemas.microsoft.com/office/drawing/2014/main" id="{69619192-5E36-4DBB-A8BD-747DFCD539FE}"/>
                          </a:ext>
                        </a:extLst>
                      </p:cNvPr>
                      <p:cNvSpPr/>
                      <p:nvPr/>
                    </p:nvSpPr>
                    <p:spPr>
                      <a:xfrm>
                        <a:off x="7239664" y="3814917"/>
                        <a:ext cx="25496" cy="14569"/>
                      </a:xfrm>
                      <a:custGeom>
                        <a:avLst/>
                        <a:gdLst>
                          <a:gd name="connsiteX0" fmla="*/ 13188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8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8" y="0"/>
                            </a:moveTo>
                            <a:lnTo>
                              <a:pt x="0" y="7536"/>
                            </a:lnTo>
                            <a:lnTo>
                              <a:pt x="12309" y="14569"/>
                            </a:lnTo>
                            <a:lnTo>
                              <a:pt x="25496" y="7033"/>
                            </a:lnTo>
                            <a:lnTo>
                              <a:pt x="13188"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5" name="Freeform: Shape 4054">
                        <a:extLst>
                          <a:ext uri="{FF2B5EF4-FFF2-40B4-BE49-F238E27FC236}">
                            <a16:creationId xmlns:a16="http://schemas.microsoft.com/office/drawing/2014/main" id="{20EA8D5E-9B7E-43D4-9934-F6D979BDA937}"/>
                          </a:ext>
                        </a:extLst>
                      </p:cNvPr>
                      <p:cNvSpPr/>
                      <p:nvPr/>
                    </p:nvSpPr>
                    <p:spPr>
                      <a:xfrm>
                        <a:off x="7239162" y="3822453"/>
                        <a:ext cx="12936" cy="24867"/>
                      </a:xfrm>
                      <a:custGeom>
                        <a:avLst/>
                        <a:gdLst>
                          <a:gd name="connsiteX0" fmla="*/ 12937 w 12936"/>
                          <a:gd name="connsiteY0" fmla="*/ 7410 h 24867"/>
                          <a:gd name="connsiteX1" fmla="*/ 12937 w 12936"/>
                          <a:gd name="connsiteY1" fmla="*/ 24868 h 24867"/>
                          <a:gd name="connsiteX2" fmla="*/ 7033 w 12936"/>
                          <a:gd name="connsiteY2" fmla="*/ 21602 h 24867"/>
                          <a:gd name="connsiteX3" fmla="*/ 5275 w 12936"/>
                          <a:gd name="connsiteY3" fmla="*/ 20598 h 24867"/>
                          <a:gd name="connsiteX4" fmla="*/ 0 w 12936"/>
                          <a:gd name="connsiteY4" fmla="*/ 17583 h 24867"/>
                          <a:gd name="connsiteX5" fmla="*/ 0 w 12936"/>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36" h="24867">
                            <a:moveTo>
                              <a:pt x="12937" y="7410"/>
                            </a:moveTo>
                            <a:lnTo>
                              <a:pt x="12937" y="24868"/>
                            </a:lnTo>
                            <a:lnTo>
                              <a:pt x="7033"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6" name="Freeform: Shape 4055">
                        <a:extLst>
                          <a:ext uri="{FF2B5EF4-FFF2-40B4-BE49-F238E27FC236}">
                            <a16:creationId xmlns:a16="http://schemas.microsoft.com/office/drawing/2014/main" id="{98659DEA-CF6B-4B56-913B-CBFFEF066D7B}"/>
                          </a:ext>
                        </a:extLst>
                      </p:cNvPr>
                      <p:cNvSpPr/>
                      <p:nvPr/>
                    </p:nvSpPr>
                    <p:spPr>
                      <a:xfrm>
                        <a:off x="7252099" y="3821950"/>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57" name="Freeform: Shape 4056">
                      <a:extLst>
                        <a:ext uri="{FF2B5EF4-FFF2-40B4-BE49-F238E27FC236}">
                          <a16:creationId xmlns:a16="http://schemas.microsoft.com/office/drawing/2014/main" id="{4ABE2628-833F-435E-974B-98A420C2185F}"/>
                        </a:ext>
                      </a:extLst>
                    </p:cNvPr>
                    <p:cNvSpPr/>
                    <p:nvPr/>
                  </p:nvSpPr>
                  <p:spPr>
                    <a:xfrm>
                      <a:off x="7244437" y="3825593"/>
                      <a:ext cx="1758" cy="18462"/>
                    </a:xfrm>
                    <a:custGeom>
                      <a:avLst/>
                      <a:gdLst>
                        <a:gd name="connsiteX0" fmla="*/ 1759 w 1758"/>
                        <a:gd name="connsiteY0" fmla="*/ 879 h 18462"/>
                        <a:gd name="connsiteX1" fmla="*/ 1759 w 1758"/>
                        <a:gd name="connsiteY1" fmla="*/ 18462 h 18462"/>
                        <a:gd name="connsiteX2" fmla="*/ 0 w 1758"/>
                        <a:gd name="connsiteY2" fmla="*/ 17458 h 18462"/>
                        <a:gd name="connsiteX3" fmla="*/ 0 w 1758"/>
                        <a:gd name="connsiteY3" fmla="*/ 0 h 18462"/>
                      </a:gdLst>
                      <a:ahLst/>
                      <a:cxnLst>
                        <a:cxn ang="0">
                          <a:pos x="connsiteX0" y="connsiteY0"/>
                        </a:cxn>
                        <a:cxn ang="0">
                          <a:pos x="connsiteX1" y="connsiteY1"/>
                        </a:cxn>
                        <a:cxn ang="0">
                          <a:pos x="connsiteX2" y="connsiteY2"/>
                        </a:cxn>
                        <a:cxn ang="0">
                          <a:pos x="connsiteX3" y="connsiteY3"/>
                        </a:cxn>
                      </a:cxnLst>
                      <a:rect l="l" t="t" r="r" b="b"/>
                      <a:pathLst>
                        <a:path w="1758" h="18462">
                          <a:moveTo>
                            <a:pt x="1759" y="879"/>
                          </a:moveTo>
                          <a:lnTo>
                            <a:pt x="1759"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8" name="Freeform: Shape 4057">
                      <a:extLst>
                        <a:ext uri="{FF2B5EF4-FFF2-40B4-BE49-F238E27FC236}">
                          <a16:creationId xmlns:a16="http://schemas.microsoft.com/office/drawing/2014/main" id="{7BEE759A-A142-4ED7-ADA3-6565AA0345F5}"/>
                        </a:ext>
                      </a:extLst>
                    </p:cNvPr>
                    <p:cNvSpPr/>
                    <p:nvPr/>
                  </p:nvSpPr>
                  <p:spPr>
                    <a:xfrm>
                      <a:off x="7244437" y="3817680"/>
                      <a:ext cx="15448" cy="8791"/>
                    </a:xfrm>
                    <a:custGeom>
                      <a:avLst/>
                      <a:gdLst>
                        <a:gd name="connsiteX0" fmla="*/ 15449 w 15448"/>
                        <a:gd name="connsiteY0" fmla="*/ 1005 h 8791"/>
                        <a:gd name="connsiteX1" fmla="*/ 10676 w 15448"/>
                        <a:gd name="connsiteY1" fmla="*/ 3768 h 8791"/>
                        <a:gd name="connsiteX2" fmla="*/ 8918 w 15448"/>
                        <a:gd name="connsiteY2" fmla="*/ 4647 h 8791"/>
                        <a:gd name="connsiteX3" fmla="*/ 1759 w 15448"/>
                        <a:gd name="connsiteY3" fmla="*/ 8792 h 8791"/>
                        <a:gd name="connsiteX4" fmla="*/ 1759 w 15448"/>
                        <a:gd name="connsiteY4" fmla="*/ 8792 h 8791"/>
                        <a:gd name="connsiteX5" fmla="*/ 0 w 15448"/>
                        <a:gd name="connsiteY5" fmla="*/ 7913 h 8791"/>
                        <a:gd name="connsiteX6" fmla="*/ 126 w 15448"/>
                        <a:gd name="connsiteY6" fmla="*/ 7787 h 8791"/>
                        <a:gd name="connsiteX7" fmla="*/ 7159 w 15448"/>
                        <a:gd name="connsiteY7" fmla="*/ 3768 h 8791"/>
                        <a:gd name="connsiteX8" fmla="*/ 8918 w 15448"/>
                        <a:gd name="connsiteY8" fmla="*/ 2763 h 8791"/>
                        <a:gd name="connsiteX9" fmla="*/ 13690 w 15448"/>
                        <a:gd name="connsiteY9" fmla="*/ 0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8" h="8791">
                          <a:moveTo>
                            <a:pt x="15449" y="1005"/>
                          </a:moveTo>
                          <a:lnTo>
                            <a:pt x="10676" y="3768"/>
                          </a:lnTo>
                          <a:lnTo>
                            <a:pt x="8918" y="4647"/>
                          </a:lnTo>
                          <a:lnTo>
                            <a:pt x="1759" y="8792"/>
                          </a:lnTo>
                          <a:lnTo>
                            <a:pt x="1759" y="8792"/>
                          </a:lnTo>
                          <a:lnTo>
                            <a:pt x="0" y="7913"/>
                          </a:lnTo>
                          <a:lnTo>
                            <a:pt x="126" y="7787"/>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59" name="Graphic 4">
                    <a:extLst>
                      <a:ext uri="{FF2B5EF4-FFF2-40B4-BE49-F238E27FC236}">
                        <a16:creationId xmlns:a16="http://schemas.microsoft.com/office/drawing/2014/main" id="{84FB7ED1-A2DF-40A1-A747-5F7CF3F14040}"/>
                      </a:ext>
                    </a:extLst>
                  </p:cNvPr>
                  <p:cNvGrpSpPr/>
                  <p:nvPr/>
                </p:nvGrpSpPr>
                <p:grpSpPr>
                  <a:xfrm>
                    <a:off x="7224970" y="3822829"/>
                    <a:ext cx="26500" cy="32780"/>
                    <a:chOff x="7224970" y="3822829"/>
                    <a:chExt cx="26500" cy="32780"/>
                  </a:xfrm>
                  <a:solidFill>
                    <a:schemeClr val="accent1"/>
                  </a:solidFill>
                </p:grpSpPr>
                <p:sp>
                  <p:nvSpPr>
                    <p:cNvPr id="4060" name="Freeform: Shape 4059">
                      <a:extLst>
                        <a:ext uri="{FF2B5EF4-FFF2-40B4-BE49-F238E27FC236}">
                          <a16:creationId xmlns:a16="http://schemas.microsoft.com/office/drawing/2014/main" id="{945CF689-16D5-409D-B56C-D0A03D8B4637}"/>
                        </a:ext>
                      </a:extLst>
                    </p:cNvPr>
                    <p:cNvSpPr/>
                    <p:nvPr/>
                  </p:nvSpPr>
                  <p:spPr>
                    <a:xfrm>
                      <a:off x="7225095" y="3822829"/>
                      <a:ext cx="26374" cy="15322"/>
                    </a:xfrm>
                    <a:custGeom>
                      <a:avLst/>
                      <a:gdLst>
                        <a:gd name="connsiteX0" fmla="*/ 20472 w 26374"/>
                        <a:gd name="connsiteY0" fmla="*/ 4019 h 15322"/>
                        <a:gd name="connsiteX1" fmla="*/ 18839 w 26374"/>
                        <a:gd name="connsiteY1" fmla="*/ 3014 h 15322"/>
                        <a:gd name="connsiteX2" fmla="*/ 13564 w 26374"/>
                        <a:gd name="connsiteY2" fmla="*/ 0 h 15322"/>
                        <a:gd name="connsiteX3" fmla="*/ 0 w 26374"/>
                        <a:gd name="connsiteY3" fmla="*/ 7913 h 15322"/>
                        <a:gd name="connsiteX4" fmla="*/ 5275 w 26374"/>
                        <a:gd name="connsiteY4" fmla="*/ 10927 h 15322"/>
                        <a:gd name="connsiteX5" fmla="*/ 7033 w 26374"/>
                        <a:gd name="connsiteY5" fmla="*/ 11931 h 15322"/>
                        <a:gd name="connsiteX6" fmla="*/ 12811 w 26374"/>
                        <a:gd name="connsiteY6" fmla="*/ 15323 h 15322"/>
                        <a:gd name="connsiteX7" fmla="*/ 26375 w 26374"/>
                        <a:gd name="connsiteY7" fmla="*/ 7410 h 15322"/>
                        <a:gd name="connsiteX8" fmla="*/ 26375 w 26374"/>
                        <a:gd name="connsiteY8" fmla="*/ 7410 h 15322"/>
                        <a:gd name="connsiteX9" fmla="*/ 20472 w 26374"/>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74" h="15322">
                          <a:moveTo>
                            <a:pt x="20472" y="4019"/>
                          </a:moveTo>
                          <a:lnTo>
                            <a:pt x="18839" y="3014"/>
                          </a:lnTo>
                          <a:lnTo>
                            <a:pt x="13564" y="0"/>
                          </a:lnTo>
                          <a:lnTo>
                            <a:pt x="0" y="7913"/>
                          </a:lnTo>
                          <a:lnTo>
                            <a:pt x="5275" y="10927"/>
                          </a:lnTo>
                          <a:lnTo>
                            <a:pt x="7033" y="11931"/>
                          </a:lnTo>
                          <a:lnTo>
                            <a:pt x="12811" y="15323"/>
                          </a:lnTo>
                          <a:lnTo>
                            <a:pt x="26375" y="7410"/>
                          </a:lnTo>
                          <a:lnTo>
                            <a:pt x="26375" y="7410"/>
                          </a:lnTo>
                          <a:lnTo>
                            <a:pt x="20472"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1" name="Freeform: Shape 4060">
                      <a:extLst>
                        <a:ext uri="{FF2B5EF4-FFF2-40B4-BE49-F238E27FC236}">
                          <a16:creationId xmlns:a16="http://schemas.microsoft.com/office/drawing/2014/main" id="{2B22D20A-4B1A-4F68-B2A3-ECF22E2B6A21}"/>
                        </a:ext>
                      </a:extLst>
                    </p:cNvPr>
                    <p:cNvSpPr/>
                    <p:nvPr/>
                  </p:nvSpPr>
                  <p:spPr>
                    <a:xfrm>
                      <a:off x="7225347" y="3823081"/>
                      <a:ext cx="25495" cy="14694"/>
                    </a:xfrm>
                    <a:custGeom>
                      <a:avLst/>
                      <a:gdLst>
                        <a:gd name="connsiteX0" fmla="*/ 13187 w 25495"/>
                        <a:gd name="connsiteY0" fmla="*/ 0 h 14694"/>
                        <a:gd name="connsiteX1" fmla="*/ 0 w 25495"/>
                        <a:gd name="connsiteY1" fmla="*/ 7661 h 14694"/>
                        <a:gd name="connsiteX2" fmla="*/ 12308 w 25495"/>
                        <a:gd name="connsiteY2" fmla="*/ 14695 h 14694"/>
                        <a:gd name="connsiteX3" fmla="*/ 25495 w 25495"/>
                        <a:gd name="connsiteY3" fmla="*/ 7159 h 14694"/>
                        <a:gd name="connsiteX4" fmla="*/ 13187 w 25495"/>
                        <a:gd name="connsiteY4" fmla="*/ 0 h 14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5" h="14694">
                          <a:moveTo>
                            <a:pt x="13187" y="0"/>
                          </a:moveTo>
                          <a:lnTo>
                            <a:pt x="0" y="7661"/>
                          </a:lnTo>
                          <a:lnTo>
                            <a:pt x="12308" y="14695"/>
                          </a:lnTo>
                          <a:lnTo>
                            <a:pt x="25495" y="7159"/>
                          </a:lnTo>
                          <a:lnTo>
                            <a:pt x="13187"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2" name="Freeform: Shape 4061">
                      <a:extLst>
                        <a:ext uri="{FF2B5EF4-FFF2-40B4-BE49-F238E27FC236}">
                          <a16:creationId xmlns:a16="http://schemas.microsoft.com/office/drawing/2014/main" id="{3A702392-8097-4E7A-B15A-4E14D4FA05FE}"/>
                        </a:ext>
                      </a:extLst>
                    </p:cNvPr>
                    <p:cNvSpPr/>
                    <p:nvPr/>
                  </p:nvSpPr>
                  <p:spPr>
                    <a:xfrm>
                      <a:off x="7224970" y="3830742"/>
                      <a:ext cx="12810" cy="24867"/>
                    </a:xfrm>
                    <a:custGeom>
                      <a:avLst/>
                      <a:gdLst>
                        <a:gd name="connsiteX0" fmla="*/ 12811 w 12810"/>
                        <a:gd name="connsiteY0" fmla="*/ 7410 h 24867"/>
                        <a:gd name="connsiteX1" fmla="*/ 12811 w 12810"/>
                        <a:gd name="connsiteY1" fmla="*/ 24868 h 24867"/>
                        <a:gd name="connsiteX2" fmla="*/ 6908 w 12810"/>
                        <a:gd name="connsiteY2" fmla="*/ 21477 h 24867"/>
                        <a:gd name="connsiteX3" fmla="*/ 5275 w 12810"/>
                        <a:gd name="connsiteY3" fmla="*/ 20598 h 24867"/>
                        <a:gd name="connsiteX4" fmla="*/ 0 w 12810"/>
                        <a:gd name="connsiteY4" fmla="*/ 17583 h 24867"/>
                        <a:gd name="connsiteX5" fmla="*/ 0 w 12810"/>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0" h="24867">
                          <a:moveTo>
                            <a:pt x="12811" y="7410"/>
                          </a:moveTo>
                          <a:lnTo>
                            <a:pt x="12811" y="24868"/>
                          </a:lnTo>
                          <a:lnTo>
                            <a:pt x="6908" y="21477"/>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3" name="Freeform: Shape 4062">
                      <a:extLst>
                        <a:ext uri="{FF2B5EF4-FFF2-40B4-BE49-F238E27FC236}">
                          <a16:creationId xmlns:a16="http://schemas.microsoft.com/office/drawing/2014/main" id="{25918161-7F74-453B-A3F4-5E2266224A1A}"/>
                        </a:ext>
                      </a:extLst>
                    </p:cNvPr>
                    <p:cNvSpPr/>
                    <p:nvPr/>
                  </p:nvSpPr>
                  <p:spPr>
                    <a:xfrm>
                      <a:off x="7237781" y="3830239"/>
                      <a:ext cx="13564" cy="25370"/>
                    </a:xfrm>
                    <a:custGeom>
                      <a:avLst/>
                      <a:gdLst>
                        <a:gd name="connsiteX0" fmla="*/ 0 w 13564"/>
                        <a:gd name="connsiteY0" fmla="*/ 7913 h 25370"/>
                        <a:gd name="connsiteX1" fmla="*/ 0 w 13564"/>
                        <a:gd name="connsiteY1" fmla="*/ 25370 h 25370"/>
                        <a:gd name="connsiteX2" fmla="*/ 13564 w 13564"/>
                        <a:gd name="connsiteY2" fmla="*/ 17583 h 25370"/>
                        <a:gd name="connsiteX3" fmla="*/ 13564 w 13564"/>
                        <a:gd name="connsiteY3" fmla="*/ 0 h 25370"/>
                        <a:gd name="connsiteX4" fmla="*/ 0 w 13564"/>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64" name="Freeform: Shape 4063">
                    <a:extLst>
                      <a:ext uri="{FF2B5EF4-FFF2-40B4-BE49-F238E27FC236}">
                        <a16:creationId xmlns:a16="http://schemas.microsoft.com/office/drawing/2014/main" id="{EEC68AEA-2C84-403E-A242-B042600B4AFE}"/>
                      </a:ext>
                    </a:extLst>
                  </p:cNvPr>
                  <p:cNvSpPr/>
                  <p:nvPr/>
                </p:nvSpPr>
                <p:spPr>
                  <a:xfrm>
                    <a:off x="7230245" y="3833756"/>
                    <a:ext cx="1632" cy="18462"/>
                  </a:xfrm>
                  <a:custGeom>
                    <a:avLst/>
                    <a:gdLst>
                      <a:gd name="connsiteX0" fmla="*/ 1633 w 1632"/>
                      <a:gd name="connsiteY0" fmla="*/ 1005 h 18462"/>
                      <a:gd name="connsiteX1" fmla="*/ 1633 w 1632"/>
                      <a:gd name="connsiteY1" fmla="*/ 18462 h 18462"/>
                      <a:gd name="connsiteX2" fmla="*/ 0 w 1632"/>
                      <a:gd name="connsiteY2" fmla="*/ 17583 h 18462"/>
                      <a:gd name="connsiteX3" fmla="*/ 0 w 1632"/>
                      <a:gd name="connsiteY3" fmla="*/ 0 h 18462"/>
                    </a:gdLst>
                    <a:ahLst/>
                    <a:cxnLst>
                      <a:cxn ang="0">
                        <a:pos x="connsiteX0" y="connsiteY0"/>
                      </a:cxn>
                      <a:cxn ang="0">
                        <a:pos x="connsiteX1" y="connsiteY1"/>
                      </a:cxn>
                      <a:cxn ang="0">
                        <a:pos x="connsiteX2" y="connsiteY2"/>
                      </a:cxn>
                      <a:cxn ang="0">
                        <a:pos x="connsiteX3" y="connsiteY3"/>
                      </a:cxn>
                    </a:cxnLst>
                    <a:rect l="l" t="t" r="r" b="b"/>
                    <a:pathLst>
                      <a:path w="1632" h="18462">
                        <a:moveTo>
                          <a:pt x="1633" y="1005"/>
                        </a:moveTo>
                        <a:lnTo>
                          <a:pt x="1633" y="18462"/>
                        </a:lnTo>
                        <a:lnTo>
                          <a:pt x="0" y="17583"/>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5" name="Freeform: Shape 4064">
                    <a:extLst>
                      <a:ext uri="{FF2B5EF4-FFF2-40B4-BE49-F238E27FC236}">
                        <a16:creationId xmlns:a16="http://schemas.microsoft.com/office/drawing/2014/main" id="{92023495-C768-4DAE-BEAE-031E0CC8111B}"/>
                      </a:ext>
                    </a:extLst>
                  </p:cNvPr>
                  <p:cNvSpPr/>
                  <p:nvPr/>
                </p:nvSpPr>
                <p:spPr>
                  <a:xfrm>
                    <a:off x="7230120" y="3825844"/>
                    <a:ext cx="15447" cy="8917"/>
                  </a:xfrm>
                  <a:custGeom>
                    <a:avLst/>
                    <a:gdLst>
                      <a:gd name="connsiteX0" fmla="*/ 15448 w 15447"/>
                      <a:gd name="connsiteY0" fmla="*/ 1005 h 8917"/>
                      <a:gd name="connsiteX1" fmla="*/ 10675 w 15447"/>
                      <a:gd name="connsiteY1" fmla="*/ 3768 h 8917"/>
                      <a:gd name="connsiteX2" fmla="*/ 8917 w 15447"/>
                      <a:gd name="connsiteY2" fmla="*/ 4772 h 8917"/>
                      <a:gd name="connsiteX3" fmla="*/ 1758 w 15447"/>
                      <a:gd name="connsiteY3" fmla="*/ 8917 h 8917"/>
                      <a:gd name="connsiteX4" fmla="*/ 1758 w 15447"/>
                      <a:gd name="connsiteY4" fmla="*/ 8917 h 8917"/>
                      <a:gd name="connsiteX5" fmla="*/ 0 w 15447"/>
                      <a:gd name="connsiteY5" fmla="*/ 7912 h 8917"/>
                      <a:gd name="connsiteX6" fmla="*/ 125 w 15447"/>
                      <a:gd name="connsiteY6" fmla="*/ 7912 h 8917"/>
                      <a:gd name="connsiteX7" fmla="*/ 7284 w 15447"/>
                      <a:gd name="connsiteY7" fmla="*/ 3768 h 8917"/>
                      <a:gd name="connsiteX8" fmla="*/ 8917 w 15447"/>
                      <a:gd name="connsiteY8" fmla="*/ 2763 h 8917"/>
                      <a:gd name="connsiteX9" fmla="*/ 13689 w 15447"/>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7" h="8917">
                        <a:moveTo>
                          <a:pt x="15448" y="1005"/>
                        </a:moveTo>
                        <a:lnTo>
                          <a:pt x="10675" y="3768"/>
                        </a:lnTo>
                        <a:lnTo>
                          <a:pt x="8917" y="4772"/>
                        </a:lnTo>
                        <a:lnTo>
                          <a:pt x="1758" y="8917"/>
                        </a:lnTo>
                        <a:lnTo>
                          <a:pt x="1758" y="8917"/>
                        </a:lnTo>
                        <a:lnTo>
                          <a:pt x="0" y="7912"/>
                        </a:lnTo>
                        <a:lnTo>
                          <a:pt x="125" y="7912"/>
                        </a:lnTo>
                        <a:lnTo>
                          <a:pt x="7284" y="3768"/>
                        </a:lnTo>
                        <a:lnTo>
                          <a:pt x="8917" y="2763"/>
                        </a:lnTo>
                        <a:lnTo>
                          <a:pt x="13689"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66" name="Graphic 4">
                    <a:extLst>
                      <a:ext uri="{FF2B5EF4-FFF2-40B4-BE49-F238E27FC236}">
                        <a16:creationId xmlns:a16="http://schemas.microsoft.com/office/drawing/2014/main" id="{84FB7ED1-A2DF-40A1-A747-5F7CF3F14040}"/>
                      </a:ext>
                    </a:extLst>
                  </p:cNvPr>
                  <p:cNvGrpSpPr/>
                  <p:nvPr/>
                </p:nvGrpSpPr>
                <p:grpSpPr>
                  <a:xfrm>
                    <a:off x="7243055" y="3832249"/>
                    <a:ext cx="6154" cy="8917"/>
                    <a:chOff x="7243055" y="3832249"/>
                    <a:chExt cx="6154" cy="8917"/>
                  </a:xfrm>
                  <a:solidFill>
                    <a:schemeClr val="accent1"/>
                  </a:solidFill>
                </p:grpSpPr>
                <p:sp>
                  <p:nvSpPr>
                    <p:cNvPr id="4067" name="Freeform: Shape 4066">
                      <a:extLst>
                        <a:ext uri="{FF2B5EF4-FFF2-40B4-BE49-F238E27FC236}">
                          <a16:creationId xmlns:a16="http://schemas.microsoft.com/office/drawing/2014/main" id="{0E457B33-60FF-4376-8CAF-8BAA6B9ADE01}"/>
                        </a:ext>
                      </a:extLst>
                    </p:cNvPr>
                    <p:cNvSpPr/>
                    <p:nvPr/>
                  </p:nvSpPr>
                  <p:spPr>
                    <a:xfrm>
                      <a:off x="7243055" y="3832249"/>
                      <a:ext cx="6154" cy="8917"/>
                    </a:xfrm>
                    <a:custGeom>
                      <a:avLst/>
                      <a:gdLst>
                        <a:gd name="connsiteX0" fmla="*/ 6154 w 6154"/>
                        <a:gd name="connsiteY0" fmla="*/ 5275 h 8917"/>
                        <a:gd name="connsiteX1" fmla="*/ 0 w 6154"/>
                        <a:gd name="connsiteY1" fmla="*/ 8917 h 8917"/>
                        <a:gd name="connsiteX2" fmla="*/ 0 w 6154"/>
                        <a:gd name="connsiteY2" fmla="*/ 3517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275"/>
                          </a:moveTo>
                          <a:lnTo>
                            <a:pt x="0" y="8917"/>
                          </a:lnTo>
                          <a:lnTo>
                            <a:pt x="0" y="3517"/>
                          </a:lnTo>
                          <a:lnTo>
                            <a:pt x="6154"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8" name="Freeform: Shape 4067">
                      <a:extLst>
                        <a:ext uri="{FF2B5EF4-FFF2-40B4-BE49-F238E27FC236}">
                          <a16:creationId xmlns:a16="http://schemas.microsoft.com/office/drawing/2014/main" id="{BCCCA442-852D-4279-A699-44A219B511FB}"/>
                        </a:ext>
                      </a:extLst>
                    </p:cNvPr>
                    <p:cNvSpPr/>
                    <p:nvPr/>
                  </p:nvSpPr>
                  <p:spPr>
                    <a:xfrm>
                      <a:off x="7243558" y="3833254"/>
                      <a:ext cx="5149" cy="3516"/>
                    </a:xfrm>
                    <a:custGeom>
                      <a:avLst/>
                      <a:gdLst>
                        <a:gd name="connsiteX0" fmla="*/ 5150 w 5149"/>
                        <a:gd name="connsiteY0" fmla="*/ 628 h 3516"/>
                        <a:gd name="connsiteX1" fmla="*/ 0 w 5149"/>
                        <a:gd name="connsiteY1" fmla="*/ 3517 h 3516"/>
                        <a:gd name="connsiteX2" fmla="*/ 0 w 5149"/>
                        <a:gd name="connsiteY2" fmla="*/ 2889 h 3516"/>
                        <a:gd name="connsiteX3" fmla="*/ 5150 w 5149"/>
                        <a:gd name="connsiteY3" fmla="*/ 0 h 3516"/>
                      </a:gdLst>
                      <a:ahLst/>
                      <a:cxnLst>
                        <a:cxn ang="0">
                          <a:pos x="connsiteX0" y="connsiteY0"/>
                        </a:cxn>
                        <a:cxn ang="0">
                          <a:pos x="connsiteX1" y="connsiteY1"/>
                        </a:cxn>
                        <a:cxn ang="0">
                          <a:pos x="connsiteX2" y="connsiteY2"/>
                        </a:cxn>
                        <a:cxn ang="0">
                          <a:pos x="connsiteX3" y="connsiteY3"/>
                        </a:cxn>
                      </a:cxnLst>
                      <a:rect l="l" t="t" r="r" b="b"/>
                      <a:pathLst>
                        <a:path w="5149" h="3516">
                          <a:moveTo>
                            <a:pt x="5150" y="628"/>
                          </a:moveTo>
                          <a:lnTo>
                            <a:pt x="0" y="3517"/>
                          </a:lnTo>
                          <a:lnTo>
                            <a:pt x="0" y="2889"/>
                          </a:lnTo>
                          <a:lnTo>
                            <a:pt x="515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9" name="Freeform: Shape 4068">
                      <a:extLst>
                        <a:ext uri="{FF2B5EF4-FFF2-40B4-BE49-F238E27FC236}">
                          <a16:creationId xmlns:a16="http://schemas.microsoft.com/office/drawing/2014/main" id="{5021ABEF-F83B-4FE6-841E-12735E0A4D1C}"/>
                        </a:ext>
                      </a:extLst>
                    </p:cNvPr>
                    <p:cNvSpPr/>
                    <p:nvPr/>
                  </p:nvSpPr>
                  <p:spPr>
                    <a:xfrm>
                      <a:off x="7243558" y="3834635"/>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0" name="Freeform: Shape 4069">
                      <a:extLst>
                        <a:ext uri="{FF2B5EF4-FFF2-40B4-BE49-F238E27FC236}">
                          <a16:creationId xmlns:a16="http://schemas.microsoft.com/office/drawing/2014/main" id="{C0424B5A-C978-493C-87BC-60B879B308E5}"/>
                        </a:ext>
                      </a:extLst>
                    </p:cNvPr>
                    <p:cNvSpPr/>
                    <p:nvPr/>
                  </p:nvSpPr>
                  <p:spPr>
                    <a:xfrm>
                      <a:off x="7243558" y="3835389"/>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1" name="Freeform: Shape 4070">
                      <a:extLst>
                        <a:ext uri="{FF2B5EF4-FFF2-40B4-BE49-F238E27FC236}">
                          <a16:creationId xmlns:a16="http://schemas.microsoft.com/office/drawing/2014/main" id="{57A22FA4-8844-43A1-A10D-145C6F7E2CEA}"/>
                        </a:ext>
                      </a:extLst>
                    </p:cNvPr>
                    <p:cNvSpPr/>
                    <p:nvPr/>
                  </p:nvSpPr>
                  <p:spPr>
                    <a:xfrm>
                      <a:off x="7243558" y="3836142"/>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2" name="Freeform: Shape 4071">
                      <a:extLst>
                        <a:ext uri="{FF2B5EF4-FFF2-40B4-BE49-F238E27FC236}">
                          <a16:creationId xmlns:a16="http://schemas.microsoft.com/office/drawing/2014/main" id="{A69F35C2-12C7-412E-A17C-B1452DBABD60}"/>
                        </a:ext>
                      </a:extLst>
                    </p:cNvPr>
                    <p:cNvSpPr/>
                    <p:nvPr/>
                  </p:nvSpPr>
                  <p:spPr>
                    <a:xfrm>
                      <a:off x="7243558" y="3836770"/>
                      <a:ext cx="5149" cy="3265"/>
                    </a:xfrm>
                    <a:custGeom>
                      <a:avLst/>
                      <a:gdLst>
                        <a:gd name="connsiteX0" fmla="*/ 5150 w 5149"/>
                        <a:gd name="connsiteY0" fmla="*/ 251 h 3265"/>
                        <a:gd name="connsiteX1" fmla="*/ 0 w 5149"/>
                        <a:gd name="connsiteY1" fmla="*/ 3265 h 3265"/>
                        <a:gd name="connsiteX2" fmla="*/ 0 w 5149"/>
                        <a:gd name="connsiteY2" fmla="*/ 3014 h 3265"/>
                        <a:gd name="connsiteX3" fmla="*/ 5150 w 5149"/>
                        <a:gd name="connsiteY3" fmla="*/ 0 h 3265"/>
                      </a:gdLst>
                      <a:ahLst/>
                      <a:cxnLst>
                        <a:cxn ang="0">
                          <a:pos x="connsiteX0" y="connsiteY0"/>
                        </a:cxn>
                        <a:cxn ang="0">
                          <a:pos x="connsiteX1" y="connsiteY1"/>
                        </a:cxn>
                        <a:cxn ang="0">
                          <a:pos x="connsiteX2" y="connsiteY2"/>
                        </a:cxn>
                        <a:cxn ang="0">
                          <a:pos x="connsiteX3" y="connsiteY3"/>
                        </a:cxn>
                      </a:cxnLst>
                      <a:rect l="l" t="t" r="r" b="b"/>
                      <a:pathLst>
                        <a:path w="5149" h="3265">
                          <a:moveTo>
                            <a:pt x="5150" y="251"/>
                          </a:moveTo>
                          <a:lnTo>
                            <a:pt x="0" y="3265"/>
                          </a:lnTo>
                          <a:lnTo>
                            <a:pt x="0" y="3014"/>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73" name="Graphic 4">
                    <a:extLst>
                      <a:ext uri="{FF2B5EF4-FFF2-40B4-BE49-F238E27FC236}">
                        <a16:creationId xmlns:a16="http://schemas.microsoft.com/office/drawing/2014/main" id="{84FB7ED1-A2DF-40A1-A747-5F7CF3F14040}"/>
                      </a:ext>
                    </a:extLst>
                  </p:cNvPr>
                  <p:cNvGrpSpPr/>
                  <p:nvPr/>
                </p:nvGrpSpPr>
                <p:grpSpPr>
                  <a:xfrm>
                    <a:off x="7258127" y="3824211"/>
                    <a:ext cx="6154" cy="8917"/>
                    <a:chOff x="7258127" y="3824211"/>
                    <a:chExt cx="6154" cy="8917"/>
                  </a:xfrm>
                  <a:solidFill>
                    <a:schemeClr val="accent1"/>
                  </a:solidFill>
                </p:grpSpPr>
                <p:sp>
                  <p:nvSpPr>
                    <p:cNvPr id="4074" name="Freeform: Shape 4073">
                      <a:extLst>
                        <a:ext uri="{FF2B5EF4-FFF2-40B4-BE49-F238E27FC236}">
                          <a16:creationId xmlns:a16="http://schemas.microsoft.com/office/drawing/2014/main" id="{C5D05703-8BA7-4F33-96A4-FB38B6D2849D}"/>
                        </a:ext>
                      </a:extLst>
                    </p:cNvPr>
                    <p:cNvSpPr/>
                    <p:nvPr/>
                  </p:nvSpPr>
                  <p:spPr>
                    <a:xfrm>
                      <a:off x="7258127" y="3824211"/>
                      <a:ext cx="6154" cy="8917"/>
                    </a:xfrm>
                    <a:custGeom>
                      <a:avLst/>
                      <a:gdLst>
                        <a:gd name="connsiteX0" fmla="*/ 6154 w 6154"/>
                        <a:gd name="connsiteY0" fmla="*/ 5275 h 8917"/>
                        <a:gd name="connsiteX1" fmla="*/ 0 w 6154"/>
                        <a:gd name="connsiteY1" fmla="*/ 8917 h 8917"/>
                        <a:gd name="connsiteX2" fmla="*/ 0 w 6154"/>
                        <a:gd name="connsiteY2" fmla="*/ 3517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275"/>
                          </a:moveTo>
                          <a:lnTo>
                            <a:pt x="0" y="8917"/>
                          </a:lnTo>
                          <a:lnTo>
                            <a:pt x="0" y="3517"/>
                          </a:lnTo>
                          <a:lnTo>
                            <a:pt x="6154"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5" name="Freeform: Shape 4074">
                      <a:extLst>
                        <a:ext uri="{FF2B5EF4-FFF2-40B4-BE49-F238E27FC236}">
                          <a16:creationId xmlns:a16="http://schemas.microsoft.com/office/drawing/2014/main" id="{10DF3B6B-A9F3-4AA0-986B-5CE96598B596}"/>
                        </a:ext>
                      </a:extLst>
                    </p:cNvPr>
                    <p:cNvSpPr/>
                    <p:nvPr/>
                  </p:nvSpPr>
                  <p:spPr>
                    <a:xfrm>
                      <a:off x="7258629" y="3825216"/>
                      <a:ext cx="5149" cy="3516"/>
                    </a:xfrm>
                    <a:custGeom>
                      <a:avLst/>
                      <a:gdLst>
                        <a:gd name="connsiteX0" fmla="*/ 5150 w 5149"/>
                        <a:gd name="connsiteY0" fmla="*/ 628 h 3516"/>
                        <a:gd name="connsiteX1" fmla="*/ 0 w 5149"/>
                        <a:gd name="connsiteY1" fmla="*/ 3517 h 3516"/>
                        <a:gd name="connsiteX2" fmla="*/ 0 w 5149"/>
                        <a:gd name="connsiteY2" fmla="*/ 2889 h 3516"/>
                        <a:gd name="connsiteX3" fmla="*/ 5150 w 5149"/>
                        <a:gd name="connsiteY3" fmla="*/ 0 h 3516"/>
                      </a:gdLst>
                      <a:ahLst/>
                      <a:cxnLst>
                        <a:cxn ang="0">
                          <a:pos x="connsiteX0" y="connsiteY0"/>
                        </a:cxn>
                        <a:cxn ang="0">
                          <a:pos x="connsiteX1" y="connsiteY1"/>
                        </a:cxn>
                        <a:cxn ang="0">
                          <a:pos x="connsiteX2" y="connsiteY2"/>
                        </a:cxn>
                        <a:cxn ang="0">
                          <a:pos x="connsiteX3" y="connsiteY3"/>
                        </a:cxn>
                      </a:cxnLst>
                      <a:rect l="l" t="t" r="r" b="b"/>
                      <a:pathLst>
                        <a:path w="5149" h="3516">
                          <a:moveTo>
                            <a:pt x="5150" y="628"/>
                          </a:moveTo>
                          <a:lnTo>
                            <a:pt x="0" y="3517"/>
                          </a:lnTo>
                          <a:lnTo>
                            <a:pt x="0" y="2889"/>
                          </a:lnTo>
                          <a:lnTo>
                            <a:pt x="515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6" name="Freeform: Shape 4075">
                      <a:extLst>
                        <a:ext uri="{FF2B5EF4-FFF2-40B4-BE49-F238E27FC236}">
                          <a16:creationId xmlns:a16="http://schemas.microsoft.com/office/drawing/2014/main" id="{9C822E3C-CA2C-4211-94B6-DBA9293BB5FB}"/>
                        </a:ext>
                      </a:extLst>
                    </p:cNvPr>
                    <p:cNvSpPr/>
                    <p:nvPr/>
                  </p:nvSpPr>
                  <p:spPr>
                    <a:xfrm>
                      <a:off x="7258629" y="3826597"/>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7" name="Freeform: Shape 4076">
                      <a:extLst>
                        <a:ext uri="{FF2B5EF4-FFF2-40B4-BE49-F238E27FC236}">
                          <a16:creationId xmlns:a16="http://schemas.microsoft.com/office/drawing/2014/main" id="{25B3807B-5A8E-4C01-B6EB-E610A1BB8B52}"/>
                        </a:ext>
                      </a:extLst>
                    </p:cNvPr>
                    <p:cNvSpPr/>
                    <p:nvPr/>
                  </p:nvSpPr>
                  <p:spPr>
                    <a:xfrm>
                      <a:off x="7258629" y="3827351"/>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8" name="Freeform: Shape 4077">
                      <a:extLst>
                        <a:ext uri="{FF2B5EF4-FFF2-40B4-BE49-F238E27FC236}">
                          <a16:creationId xmlns:a16="http://schemas.microsoft.com/office/drawing/2014/main" id="{AD6FB2EE-525C-4C30-999F-713BE47EC7B4}"/>
                        </a:ext>
                      </a:extLst>
                    </p:cNvPr>
                    <p:cNvSpPr/>
                    <p:nvPr/>
                  </p:nvSpPr>
                  <p:spPr>
                    <a:xfrm>
                      <a:off x="7258629" y="3828104"/>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9" name="Freeform: Shape 4078">
                      <a:extLst>
                        <a:ext uri="{FF2B5EF4-FFF2-40B4-BE49-F238E27FC236}">
                          <a16:creationId xmlns:a16="http://schemas.microsoft.com/office/drawing/2014/main" id="{B2B02A92-020D-4DF0-B345-53B9CB9077F3}"/>
                        </a:ext>
                      </a:extLst>
                    </p:cNvPr>
                    <p:cNvSpPr/>
                    <p:nvPr/>
                  </p:nvSpPr>
                  <p:spPr>
                    <a:xfrm>
                      <a:off x="7258629" y="3828732"/>
                      <a:ext cx="5149" cy="3265"/>
                    </a:xfrm>
                    <a:custGeom>
                      <a:avLst/>
                      <a:gdLst>
                        <a:gd name="connsiteX0" fmla="*/ 5150 w 5149"/>
                        <a:gd name="connsiteY0" fmla="*/ 251 h 3265"/>
                        <a:gd name="connsiteX1" fmla="*/ 0 w 5149"/>
                        <a:gd name="connsiteY1" fmla="*/ 3265 h 3265"/>
                        <a:gd name="connsiteX2" fmla="*/ 0 w 5149"/>
                        <a:gd name="connsiteY2" fmla="*/ 3014 h 3265"/>
                        <a:gd name="connsiteX3" fmla="*/ 5150 w 5149"/>
                        <a:gd name="connsiteY3" fmla="*/ 0 h 3265"/>
                      </a:gdLst>
                      <a:ahLst/>
                      <a:cxnLst>
                        <a:cxn ang="0">
                          <a:pos x="connsiteX0" y="connsiteY0"/>
                        </a:cxn>
                        <a:cxn ang="0">
                          <a:pos x="connsiteX1" y="connsiteY1"/>
                        </a:cxn>
                        <a:cxn ang="0">
                          <a:pos x="connsiteX2" y="connsiteY2"/>
                        </a:cxn>
                        <a:cxn ang="0">
                          <a:pos x="connsiteX3" y="connsiteY3"/>
                        </a:cxn>
                      </a:cxnLst>
                      <a:rect l="l" t="t" r="r" b="b"/>
                      <a:pathLst>
                        <a:path w="5149" h="3265">
                          <a:moveTo>
                            <a:pt x="5150" y="251"/>
                          </a:moveTo>
                          <a:lnTo>
                            <a:pt x="0" y="3265"/>
                          </a:lnTo>
                          <a:lnTo>
                            <a:pt x="0" y="3014"/>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080" name="Freeform: Shape 4079">
                  <a:extLst>
                    <a:ext uri="{FF2B5EF4-FFF2-40B4-BE49-F238E27FC236}">
                      <a16:creationId xmlns:a16="http://schemas.microsoft.com/office/drawing/2014/main" id="{30615B31-BFD8-4DAA-88D7-14D8C6E57EDD}"/>
                    </a:ext>
                  </a:extLst>
                </p:cNvPr>
                <p:cNvSpPr/>
                <p:nvPr/>
              </p:nvSpPr>
              <p:spPr>
                <a:xfrm>
                  <a:off x="7211657" y="3826974"/>
                  <a:ext cx="26123" cy="41571"/>
                </a:xfrm>
                <a:custGeom>
                  <a:avLst/>
                  <a:gdLst>
                    <a:gd name="connsiteX0" fmla="*/ 26124 w 26123"/>
                    <a:gd name="connsiteY0" fmla="*/ 15197 h 41571"/>
                    <a:gd name="connsiteX1" fmla="*/ 0 w 26123"/>
                    <a:gd name="connsiteY1" fmla="*/ 0 h 41571"/>
                    <a:gd name="connsiteX2" fmla="*/ 0 w 26123"/>
                    <a:gd name="connsiteY2" fmla="*/ 26375 h 41571"/>
                    <a:gd name="connsiteX3" fmla="*/ 26124 w 26123"/>
                    <a:gd name="connsiteY3" fmla="*/ 41572 h 41571"/>
                  </a:gdLst>
                  <a:ahLst/>
                  <a:cxnLst>
                    <a:cxn ang="0">
                      <a:pos x="connsiteX0" y="connsiteY0"/>
                    </a:cxn>
                    <a:cxn ang="0">
                      <a:pos x="connsiteX1" y="connsiteY1"/>
                    </a:cxn>
                    <a:cxn ang="0">
                      <a:pos x="connsiteX2" y="connsiteY2"/>
                    </a:cxn>
                    <a:cxn ang="0">
                      <a:pos x="connsiteX3" y="connsiteY3"/>
                    </a:cxn>
                  </a:cxnLst>
                  <a:rect l="l" t="t" r="r" b="b"/>
                  <a:pathLst>
                    <a:path w="26123" h="41571">
                      <a:moveTo>
                        <a:pt x="26124" y="15197"/>
                      </a:moveTo>
                      <a:lnTo>
                        <a:pt x="0" y="0"/>
                      </a:lnTo>
                      <a:lnTo>
                        <a:pt x="0" y="26375"/>
                      </a:lnTo>
                      <a:lnTo>
                        <a:pt x="26124" y="41572"/>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1" name="Freeform: Shape 4080">
                  <a:extLst>
                    <a:ext uri="{FF2B5EF4-FFF2-40B4-BE49-F238E27FC236}">
                      <a16:creationId xmlns:a16="http://schemas.microsoft.com/office/drawing/2014/main" id="{C872472C-B729-449D-B4C5-33C82EF495CF}"/>
                    </a:ext>
                  </a:extLst>
                </p:cNvPr>
                <p:cNvSpPr/>
                <p:nvPr/>
              </p:nvSpPr>
              <p:spPr>
                <a:xfrm>
                  <a:off x="7237781" y="3826095"/>
                  <a:ext cx="27881" cy="42451"/>
                </a:xfrm>
                <a:custGeom>
                  <a:avLst/>
                  <a:gdLst>
                    <a:gd name="connsiteX0" fmla="*/ 0 w 27881"/>
                    <a:gd name="connsiteY0" fmla="*/ 16076 h 42451"/>
                    <a:gd name="connsiteX1" fmla="*/ 27882 w 27881"/>
                    <a:gd name="connsiteY1" fmla="*/ 0 h 42451"/>
                    <a:gd name="connsiteX2" fmla="*/ 27882 w 27881"/>
                    <a:gd name="connsiteY2" fmla="*/ 26375 h 42451"/>
                    <a:gd name="connsiteX3" fmla="*/ 0 w 27881"/>
                    <a:gd name="connsiteY3" fmla="*/ 42451 h 42451"/>
                  </a:gdLst>
                  <a:ahLst/>
                  <a:cxnLst>
                    <a:cxn ang="0">
                      <a:pos x="connsiteX0" y="connsiteY0"/>
                    </a:cxn>
                    <a:cxn ang="0">
                      <a:pos x="connsiteX1" y="connsiteY1"/>
                    </a:cxn>
                    <a:cxn ang="0">
                      <a:pos x="connsiteX2" y="connsiteY2"/>
                    </a:cxn>
                    <a:cxn ang="0">
                      <a:pos x="connsiteX3" y="connsiteY3"/>
                    </a:cxn>
                  </a:cxnLst>
                  <a:rect l="l" t="t" r="r" b="b"/>
                  <a:pathLst>
                    <a:path w="27881" h="42451">
                      <a:moveTo>
                        <a:pt x="0" y="16076"/>
                      </a:moveTo>
                      <a:lnTo>
                        <a:pt x="27882" y="0"/>
                      </a:lnTo>
                      <a:lnTo>
                        <a:pt x="27882" y="26375"/>
                      </a:lnTo>
                      <a:lnTo>
                        <a:pt x="0" y="4245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82" name="Graphic 4">
                <a:extLst>
                  <a:ext uri="{FF2B5EF4-FFF2-40B4-BE49-F238E27FC236}">
                    <a16:creationId xmlns:a16="http://schemas.microsoft.com/office/drawing/2014/main" id="{84FB7ED1-A2DF-40A1-A747-5F7CF3F14040}"/>
                  </a:ext>
                </a:extLst>
              </p:cNvPr>
              <p:cNvGrpSpPr/>
              <p:nvPr/>
            </p:nvGrpSpPr>
            <p:grpSpPr>
              <a:xfrm>
                <a:off x="7239916" y="3840287"/>
                <a:ext cx="64304" cy="60411"/>
                <a:chOff x="7239916" y="3840287"/>
                <a:chExt cx="64304" cy="60411"/>
              </a:xfrm>
              <a:solidFill>
                <a:schemeClr val="accent1"/>
              </a:solidFill>
            </p:grpSpPr>
            <p:grpSp>
              <p:nvGrpSpPr>
                <p:cNvPr id="4083" name="Graphic 4">
                  <a:extLst>
                    <a:ext uri="{FF2B5EF4-FFF2-40B4-BE49-F238E27FC236}">
                      <a16:creationId xmlns:a16="http://schemas.microsoft.com/office/drawing/2014/main" id="{84FB7ED1-A2DF-40A1-A747-5F7CF3F14040}"/>
                    </a:ext>
                  </a:extLst>
                </p:cNvPr>
                <p:cNvGrpSpPr/>
                <p:nvPr/>
              </p:nvGrpSpPr>
              <p:grpSpPr>
                <a:xfrm>
                  <a:off x="7239916" y="3840287"/>
                  <a:ext cx="64304" cy="60411"/>
                  <a:chOff x="7239916" y="3840287"/>
                  <a:chExt cx="64304" cy="60411"/>
                </a:xfrm>
                <a:solidFill>
                  <a:schemeClr val="accent1"/>
                </a:solidFill>
              </p:grpSpPr>
              <p:grpSp>
                <p:nvGrpSpPr>
                  <p:cNvPr id="4084" name="Graphic 4">
                    <a:extLst>
                      <a:ext uri="{FF2B5EF4-FFF2-40B4-BE49-F238E27FC236}">
                        <a16:creationId xmlns:a16="http://schemas.microsoft.com/office/drawing/2014/main" id="{84FB7ED1-A2DF-40A1-A747-5F7CF3F14040}"/>
                      </a:ext>
                    </a:extLst>
                  </p:cNvPr>
                  <p:cNvGrpSpPr/>
                  <p:nvPr/>
                </p:nvGrpSpPr>
                <p:grpSpPr>
                  <a:xfrm>
                    <a:off x="7239916" y="3860382"/>
                    <a:ext cx="64304" cy="40315"/>
                    <a:chOff x="7239916" y="3860382"/>
                    <a:chExt cx="64304" cy="40315"/>
                  </a:xfrm>
                  <a:solidFill>
                    <a:schemeClr val="accent1"/>
                  </a:solidFill>
                </p:grpSpPr>
                <p:sp>
                  <p:nvSpPr>
                    <p:cNvPr id="4085" name="Freeform: Shape 4084">
                      <a:extLst>
                        <a:ext uri="{FF2B5EF4-FFF2-40B4-BE49-F238E27FC236}">
                          <a16:creationId xmlns:a16="http://schemas.microsoft.com/office/drawing/2014/main" id="{B43CF318-DB19-486A-BD82-BC9BDFE19A02}"/>
                        </a:ext>
                      </a:extLst>
                    </p:cNvPr>
                    <p:cNvSpPr/>
                    <p:nvPr/>
                  </p:nvSpPr>
                  <p:spPr>
                    <a:xfrm>
                      <a:off x="7239916" y="3863522"/>
                      <a:ext cx="64304" cy="37175"/>
                    </a:xfrm>
                    <a:custGeom>
                      <a:avLst/>
                      <a:gdLst>
                        <a:gd name="connsiteX0" fmla="*/ 64304 w 64304"/>
                        <a:gd name="connsiteY0" fmla="*/ 18337 h 37175"/>
                        <a:gd name="connsiteX1" fmla="*/ 31650 w 64304"/>
                        <a:gd name="connsiteY1" fmla="*/ 37176 h 37175"/>
                        <a:gd name="connsiteX2" fmla="*/ 30269 w 64304"/>
                        <a:gd name="connsiteY2" fmla="*/ 36297 h 37175"/>
                        <a:gd name="connsiteX3" fmla="*/ 28007 w 64304"/>
                        <a:gd name="connsiteY3" fmla="*/ 35041 h 37175"/>
                        <a:gd name="connsiteX4" fmla="*/ 23738 w 64304"/>
                        <a:gd name="connsiteY4" fmla="*/ 32529 h 37175"/>
                        <a:gd name="connsiteX5" fmla="*/ 19091 w 64304"/>
                        <a:gd name="connsiteY5" fmla="*/ 29891 h 37175"/>
                        <a:gd name="connsiteX6" fmla="*/ 16704 w 64304"/>
                        <a:gd name="connsiteY6" fmla="*/ 28510 h 37175"/>
                        <a:gd name="connsiteX7" fmla="*/ 12559 w 64304"/>
                        <a:gd name="connsiteY7" fmla="*/ 26124 h 37175"/>
                        <a:gd name="connsiteX8" fmla="*/ 8038 w 64304"/>
                        <a:gd name="connsiteY8" fmla="*/ 23486 h 37175"/>
                        <a:gd name="connsiteX9" fmla="*/ 5652 w 64304"/>
                        <a:gd name="connsiteY9" fmla="*/ 22105 h 37175"/>
                        <a:gd name="connsiteX10" fmla="*/ 1507 w 64304"/>
                        <a:gd name="connsiteY10" fmla="*/ 19718 h 37175"/>
                        <a:gd name="connsiteX11" fmla="*/ 0 w 64304"/>
                        <a:gd name="connsiteY11" fmla="*/ 18839 h 37175"/>
                        <a:gd name="connsiteX12" fmla="*/ 1507 w 64304"/>
                        <a:gd name="connsiteY12" fmla="*/ 18085 h 37175"/>
                        <a:gd name="connsiteX13" fmla="*/ 5652 w 64304"/>
                        <a:gd name="connsiteY13" fmla="*/ 15574 h 37175"/>
                        <a:gd name="connsiteX14" fmla="*/ 8038 w 64304"/>
                        <a:gd name="connsiteY14" fmla="*/ 14192 h 37175"/>
                        <a:gd name="connsiteX15" fmla="*/ 32654 w 64304"/>
                        <a:gd name="connsiteY15" fmla="*/ 0 h 3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304" h="37175">
                          <a:moveTo>
                            <a:pt x="64304" y="18337"/>
                          </a:moveTo>
                          <a:lnTo>
                            <a:pt x="31650" y="37176"/>
                          </a:lnTo>
                          <a:lnTo>
                            <a:pt x="30269" y="36297"/>
                          </a:lnTo>
                          <a:lnTo>
                            <a:pt x="28007" y="35041"/>
                          </a:lnTo>
                          <a:lnTo>
                            <a:pt x="23738" y="32529"/>
                          </a:lnTo>
                          <a:lnTo>
                            <a:pt x="19091" y="29891"/>
                          </a:lnTo>
                          <a:lnTo>
                            <a:pt x="16704" y="28510"/>
                          </a:lnTo>
                          <a:lnTo>
                            <a:pt x="12559" y="26124"/>
                          </a:lnTo>
                          <a:lnTo>
                            <a:pt x="8038" y="23486"/>
                          </a:lnTo>
                          <a:lnTo>
                            <a:pt x="5652" y="22105"/>
                          </a:lnTo>
                          <a:lnTo>
                            <a:pt x="1507" y="19718"/>
                          </a:lnTo>
                          <a:lnTo>
                            <a:pt x="0" y="18839"/>
                          </a:lnTo>
                          <a:lnTo>
                            <a:pt x="1507" y="18085"/>
                          </a:lnTo>
                          <a:lnTo>
                            <a:pt x="5652" y="15574"/>
                          </a:lnTo>
                          <a:lnTo>
                            <a:pt x="8038" y="14192"/>
                          </a:lnTo>
                          <a:lnTo>
                            <a:pt x="32654"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6" name="Freeform: Shape 4085">
                      <a:extLst>
                        <a:ext uri="{FF2B5EF4-FFF2-40B4-BE49-F238E27FC236}">
                          <a16:creationId xmlns:a16="http://schemas.microsoft.com/office/drawing/2014/main" id="{7D5AFF25-6CDE-4F24-8718-1DD952EA618F}"/>
                        </a:ext>
                      </a:extLst>
                    </p:cNvPr>
                    <p:cNvSpPr/>
                    <p:nvPr/>
                  </p:nvSpPr>
                  <p:spPr>
                    <a:xfrm>
                      <a:off x="7243055" y="3864150"/>
                      <a:ext cx="61164" cy="35292"/>
                    </a:xfrm>
                    <a:custGeom>
                      <a:avLst/>
                      <a:gdLst>
                        <a:gd name="connsiteX0" fmla="*/ 61165 w 61164"/>
                        <a:gd name="connsiteY0" fmla="*/ 17332 h 35292"/>
                        <a:gd name="connsiteX1" fmla="*/ 30143 w 61164"/>
                        <a:gd name="connsiteY1" fmla="*/ 35292 h 35292"/>
                        <a:gd name="connsiteX2" fmla="*/ 0 w 61164"/>
                        <a:gd name="connsiteY2" fmla="*/ 17835 h 35292"/>
                        <a:gd name="connsiteX3" fmla="*/ 0 w 61164"/>
                        <a:gd name="connsiteY3" fmla="*/ 17207 h 35292"/>
                        <a:gd name="connsiteX4" fmla="*/ 31147 w 61164"/>
                        <a:gd name="connsiteY4" fmla="*/ 0 h 35292"/>
                        <a:gd name="connsiteX5" fmla="*/ 61165 w 61164"/>
                        <a:gd name="connsiteY5" fmla="*/ 16704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64" h="35292">
                          <a:moveTo>
                            <a:pt x="61165" y="17332"/>
                          </a:moveTo>
                          <a:lnTo>
                            <a:pt x="30143" y="35292"/>
                          </a:lnTo>
                          <a:lnTo>
                            <a:pt x="0" y="17835"/>
                          </a:lnTo>
                          <a:lnTo>
                            <a:pt x="0" y="17207"/>
                          </a:lnTo>
                          <a:lnTo>
                            <a:pt x="31147" y="0"/>
                          </a:lnTo>
                          <a:lnTo>
                            <a:pt x="61165" y="16704"/>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7" name="Freeform: Shape 4086">
                      <a:extLst>
                        <a:ext uri="{FF2B5EF4-FFF2-40B4-BE49-F238E27FC236}">
                          <a16:creationId xmlns:a16="http://schemas.microsoft.com/office/drawing/2014/main" id="{71341514-2B88-4747-B745-AB76BE1FA4F4}"/>
                        </a:ext>
                      </a:extLst>
                    </p:cNvPr>
                    <p:cNvSpPr/>
                    <p:nvPr/>
                  </p:nvSpPr>
                  <p:spPr>
                    <a:xfrm>
                      <a:off x="7243055" y="3863397"/>
                      <a:ext cx="61164" cy="35292"/>
                    </a:xfrm>
                    <a:custGeom>
                      <a:avLst/>
                      <a:gdLst>
                        <a:gd name="connsiteX0" fmla="*/ 61165 w 61164"/>
                        <a:gd name="connsiteY0" fmla="*/ 17458 h 35292"/>
                        <a:gd name="connsiteX1" fmla="*/ 30143 w 61164"/>
                        <a:gd name="connsiteY1" fmla="*/ 35292 h 35292"/>
                        <a:gd name="connsiteX2" fmla="*/ 28887 w 61164"/>
                        <a:gd name="connsiteY2" fmla="*/ 34539 h 35292"/>
                        <a:gd name="connsiteX3" fmla="*/ 26626 w 61164"/>
                        <a:gd name="connsiteY3" fmla="*/ 33283 h 35292"/>
                        <a:gd name="connsiteX4" fmla="*/ 22607 w 61164"/>
                        <a:gd name="connsiteY4" fmla="*/ 30896 h 35292"/>
                        <a:gd name="connsiteX5" fmla="*/ 18211 w 61164"/>
                        <a:gd name="connsiteY5" fmla="*/ 28385 h 35292"/>
                        <a:gd name="connsiteX6" fmla="*/ 15951 w 61164"/>
                        <a:gd name="connsiteY6" fmla="*/ 27129 h 35292"/>
                        <a:gd name="connsiteX7" fmla="*/ 11932 w 61164"/>
                        <a:gd name="connsiteY7" fmla="*/ 24868 h 35292"/>
                        <a:gd name="connsiteX8" fmla="*/ 7661 w 61164"/>
                        <a:gd name="connsiteY8" fmla="*/ 22356 h 35292"/>
                        <a:gd name="connsiteX9" fmla="*/ 5400 w 61164"/>
                        <a:gd name="connsiteY9" fmla="*/ 21100 h 35292"/>
                        <a:gd name="connsiteX10" fmla="*/ 1381 w 61164"/>
                        <a:gd name="connsiteY10" fmla="*/ 18714 h 35292"/>
                        <a:gd name="connsiteX11" fmla="*/ 0 w 61164"/>
                        <a:gd name="connsiteY11" fmla="*/ 17960 h 35292"/>
                        <a:gd name="connsiteX12" fmla="*/ 1381 w 61164"/>
                        <a:gd name="connsiteY12" fmla="*/ 17081 h 35292"/>
                        <a:gd name="connsiteX13" fmla="*/ 5400 w 61164"/>
                        <a:gd name="connsiteY13" fmla="*/ 14820 h 35292"/>
                        <a:gd name="connsiteX14" fmla="*/ 7661 w 61164"/>
                        <a:gd name="connsiteY14" fmla="*/ 13564 h 35292"/>
                        <a:gd name="connsiteX15" fmla="*/ 31147 w 61164"/>
                        <a:gd name="connsiteY15" fmla="*/ 0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164" h="35292">
                          <a:moveTo>
                            <a:pt x="61165" y="17458"/>
                          </a:moveTo>
                          <a:lnTo>
                            <a:pt x="30143" y="35292"/>
                          </a:lnTo>
                          <a:lnTo>
                            <a:pt x="28887" y="34539"/>
                          </a:lnTo>
                          <a:lnTo>
                            <a:pt x="26626" y="33283"/>
                          </a:lnTo>
                          <a:lnTo>
                            <a:pt x="22607" y="30896"/>
                          </a:lnTo>
                          <a:lnTo>
                            <a:pt x="18211" y="28385"/>
                          </a:lnTo>
                          <a:lnTo>
                            <a:pt x="15951" y="27129"/>
                          </a:lnTo>
                          <a:lnTo>
                            <a:pt x="11932" y="24868"/>
                          </a:lnTo>
                          <a:lnTo>
                            <a:pt x="7661" y="22356"/>
                          </a:lnTo>
                          <a:lnTo>
                            <a:pt x="5400" y="21100"/>
                          </a:lnTo>
                          <a:lnTo>
                            <a:pt x="1381" y="18714"/>
                          </a:lnTo>
                          <a:lnTo>
                            <a:pt x="0" y="17960"/>
                          </a:lnTo>
                          <a:lnTo>
                            <a:pt x="1381" y="17081"/>
                          </a:lnTo>
                          <a:lnTo>
                            <a:pt x="5400" y="14820"/>
                          </a:lnTo>
                          <a:lnTo>
                            <a:pt x="7661" y="13564"/>
                          </a:lnTo>
                          <a:lnTo>
                            <a:pt x="31147"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8" name="Freeform: Shape 4087">
                      <a:extLst>
                        <a:ext uri="{FF2B5EF4-FFF2-40B4-BE49-F238E27FC236}">
                          <a16:creationId xmlns:a16="http://schemas.microsoft.com/office/drawing/2014/main" id="{AA333133-3FC6-4B5A-BCC1-F2A02ABAF5C6}"/>
                        </a:ext>
                      </a:extLst>
                    </p:cNvPr>
                    <p:cNvSpPr/>
                    <p:nvPr/>
                  </p:nvSpPr>
                  <p:spPr>
                    <a:xfrm>
                      <a:off x="7246823" y="3865532"/>
                      <a:ext cx="31148" cy="17960"/>
                    </a:xfrm>
                    <a:custGeom>
                      <a:avLst/>
                      <a:gdLst>
                        <a:gd name="connsiteX0" fmla="*/ 31148 w 31148"/>
                        <a:gd name="connsiteY0" fmla="*/ 126 h 17960"/>
                        <a:gd name="connsiteX1" fmla="*/ 126 w 31148"/>
                        <a:gd name="connsiteY1" fmla="*/ 17960 h 17960"/>
                        <a:gd name="connsiteX2" fmla="*/ 0 w 31148"/>
                        <a:gd name="connsiteY2" fmla="*/ 17960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126"/>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9" name="Freeform: Shape 4088">
                      <a:extLst>
                        <a:ext uri="{FF2B5EF4-FFF2-40B4-BE49-F238E27FC236}">
                          <a16:creationId xmlns:a16="http://schemas.microsoft.com/office/drawing/2014/main" id="{14157F67-9D4E-4A5B-821D-143E29EC7EFA}"/>
                        </a:ext>
                      </a:extLst>
                    </p:cNvPr>
                    <p:cNvSpPr/>
                    <p:nvPr/>
                  </p:nvSpPr>
                  <p:spPr>
                    <a:xfrm>
                      <a:off x="7250591" y="3867792"/>
                      <a:ext cx="31148" cy="17959"/>
                    </a:xfrm>
                    <a:custGeom>
                      <a:avLst/>
                      <a:gdLst>
                        <a:gd name="connsiteX0" fmla="*/ 31148 w 31148"/>
                        <a:gd name="connsiteY0" fmla="*/ 0 h 17959"/>
                        <a:gd name="connsiteX1" fmla="*/ 126 w 31148"/>
                        <a:gd name="connsiteY1" fmla="*/ 17960 h 17959"/>
                        <a:gd name="connsiteX2" fmla="*/ 0 w 31148"/>
                        <a:gd name="connsiteY2" fmla="*/ 17834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0"/>
                          </a:moveTo>
                          <a:lnTo>
                            <a:pt x="126"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0" name="Freeform: Shape 4089">
                      <a:extLst>
                        <a:ext uri="{FF2B5EF4-FFF2-40B4-BE49-F238E27FC236}">
                          <a16:creationId xmlns:a16="http://schemas.microsoft.com/office/drawing/2014/main" id="{C0A4374B-4A6B-4E85-8A70-168FA684A0EF}"/>
                        </a:ext>
                      </a:extLst>
                    </p:cNvPr>
                    <p:cNvSpPr/>
                    <p:nvPr/>
                  </p:nvSpPr>
                  <p:spPr>
                    <a:xfrm>
                      <a:off x="7254359" y="3869927"/>
                      <a:ext cx="31147" cy="17959"/>
                    </a:xfrm>
                    <a:custGeom>
                      <a:avLst/>
                      <a:gdLst>
                        <a:gd name="connsiteX0" fmla="*/ 31147 w 31147"/>
                        <a:gd name="connsiteY0" fmla="*/ 0 h 17959"/>
                        <a:gd name="connsiteX1" fmla="*/ 126 w 31147"/>
                        <a:gd name="connsiteY1" fmla="*/ 17960 h 17959"/>
                        <a:gd name="connsiteX2" fmla="*/ 0 w 31147"/>
                        <a:gd name="connsiteY2" fmla="*/ 17960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1" name="Freeform: Shape 4090">
                      <a:extLst>
                        <a:ext uri="{FF2B5EF4-FFF2-40B4-BE49-F238E27FC236}">
                          <a16:creationId xmlns:a16="http://schemas.microsoft.com/office/drawing/2014/main" id="{266755E8-91CE-4867-93D7-E469D4CE5FEC}"/>
                        </a:ext>
                      </a:extLst>
                    </p:cNvPr>
                    <p:cNvSpPr/>
                    <p:nvPr/>
                  </p:nvSpPr>
                  <p:spPr>
                    <a:xfrm>
                      <a:off x="7258127" y="3872063"/>
                      <a:ext cx="31147" cy="17960"/>
                    </a:xfrm>
                    <a:custGeom>
                      <a:avLst/>
                      <a:gdLst>
                        <a:gd name="connsiteX0" fmla="*/ 31147 w 31147"/>
                        <a:gd name="connsiteY0" fmla="*/ 126 h 17960"/>
                        <a:gd name="connsiteX1" fmla="*/ 126 w 31147"/>
                        <a:gd name="connsiteY1" fmla="*/ 17960 h 17960"/>
                        <a:gd name="connsiteX2" fmla="*/ 0 w 31147"/>
                        <a:gd name="connsiteY2" fmla="*/ 17960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126"/>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2" name="Freeform: Shape 4091">
                      <a:extLst>
                        <a:ext uri="{FF2B5EF4-FFF2-40B4-BE49-F238E27FC236}">
                          <a16:creationId xmlns:a16="http://schemas.microsoft.com/office/drawing/2014/main" id="{7253A36E-334C-4DC3-8336-701B812CFBC8}"/>
                        </a:ext>
                      </a:extLst>
                    </p:cNvPr>
                    <p:cNvSpPr/>
                    <p:nvPr/>
                  </p:nvSpPr>
                  <p:spPr>
                    <a:xfrm>
                      <a:off x="7261895" y="3874323"/>
                      <a:ext cx="31147" cy="17959"/>
                    </a:xfrm>
                    <a:custGeom>
                      <a:avLst/>
                      <a:gdLst>
                        <a:gd name="connsiteX0" fmla="*/ 31147 w 31147"/>
                        <a:gd name="connsiteY0" fmla="*/ 0 h 17959"/>
                        <a:gd name="connsiteX1" fmla="*/ 126 w 31147"/>
                        <a:gd name="connsiteY1" fmla="*/ 17960 h 17959"/>
                        <a:gd name="connsiteX2" fmla="*/ 0 w 31147"/>
                        <a:gd name="connsiteY2" fmla="*/ 17834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6"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3" name="Freeform: Shape 4092">
                      <a:extLst>
                        <a:ext uri="{FF2B5EF4-FFF2-40B4-BE49-F238E27FC236}">
                          <a16:creationId xmlns:a16="http://schemas.microsoft.com/office/drawing/2014/main" id="{F69AEB8E-F277-4B73-8703-32977DBD1126}"/>
                        </a:ext>
                      </a:extLst>
                    </p:cNvPr>
                    <p:cNvSpPr/>
                    <p:nvPr/>
                  </p:nvSpPr>
                  <p:spPr>
                    <a:xfrm>
                      <a:off x="7265662" y="3876458"/>
                      <a:ext cx="31148" cy="17959"/>
                    </a:xfrm>
                    <a:custGeom>
                      <a:avLst/>
                      <a:gdLst>
                        <a:gd name="connsiteX0" fmla="*/ 31148 w 31148"/>
                        <a:gd name="connsiteY0" fmla="*/ 0 h 17959"/>
                        <a:gd name="connsiteX1" fmla="*/ 126 w 31148"/>
                        <a:gd name="connsiteY1" fmla="*/ 17960 h 17959"/>
                        <a:gd name="connsiteX2" fmla="*/ 0 w 31148"/>
                        <a:gd name="connsiteY2" fmla="*/ 17834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0"/>
                          </a:moveTo>
                          <a:lnTo>
                            <a:pt x="126"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4" name="Freeform: Shape 4093">
                      <a:extLst>
                        <a:ext uri="{FF2B5EF4-FFF2-40B4-BE49-F238E27FC236}">
                          <a16:creationId xmlns:a16="http://schemas.microsoft.com/office/drawing/2014/main" id="{31CEB085-F673-41F1-8757-7BD0276218A6}"/>
                        </a:ext>
                      </a:extLst>
                    </p:cNvPr>
                    <p:cNvSpPr/>
                    <p:nvPr/>
                  </p:nvSpPr>
                  <p:spPr>
                    <a:xfrm>
                      <a:off x="7269430" y="3878594"/>
                      <a:ext cx="31148" cy="17959"/>
                    </a:xfrm>
                    <a:custGeom>
                      <a:avLst/>
                      <a:gdLst>
                        <a:gd name="connsiteX0" fmla="*/ 31148 w 31148"/>
                        <a:gd name="connsiteY0" fmla="*/ 126 h 17959"/>
                        <a:gd name="connsiteX1" fmla="*/ 126 w 31148"/>
                        <a:gd name="connsiteY1" fmla="*/ 17960 h 17959"/>
                        <a:gd name="connsiteX2" fmla="*/ 0 w 31148"/>
                        <a:gd name="connsiteY2" fmla="*/ 17960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126"/>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5" name="Freeform: Shape 4094">
                      <a:extLst>
                        <a:ext uri="{FF2B5EF4-FFF2-40B4-BE49-F238E27FC236}">
                          <a16:creationId xmlns:a16="http://schemas.microsoft.com/office/drawing/2014/main" id="{B55ACC06-C243-47F1-90B1-02DA464E1BA7}"/>
                        </a:ext>
                      </a:extLst>
                    </p:cNvPr>
                    <p:cNvSpPr/>
                    <p:nvPr/>
                  </p:nvSpPr>
                  <p:spPr>
                    <a:xfrm>
                      <a:off x="7245568" y="3876961"/>
                      <a:ext cx="4019" cy="8038"/>
                    </a:xfrm>
                    <a:custGeom>
                      <a:avLst/>
                      <a:gdLst>
                        <a:gd name="connsiteX0" fmla="*/ 4019 w 4019"/>
                        <a:gd name="connsiteY0" fmla="*/ 0 h 8038"/>
                        <a:gd name="connsiteX1" fmla="*/ 4019 w 4019"/>
                        <a:gd name="connsiteY1" fmla="*/ 8038 h 8038"/>
                        <a:gd name="connsiteX2" fmla="*/ 0 w 4019"/>
                        <a:gd name="connsiteY2" fmla="*/ 5777 h 8038"/>
                        <a:gd name="connsiteX3" fmla="*/ 0 w 4019"/>
                        <a:gd name="connsiteY3" fmla="*/ 2135 h 8038"/>
                        <a:gd name="connsiteX4" fmla="*/ 4019 w 4019"/>
                        <a:gd name="connsiteY4" fmla="*/ 0 h 8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8038">
                          <a:moveTo>
                            <a:pt x="4019" y="0"/>
                          </a:moveTo>
                          <a:lnTo>
                            <a:pt x="4019" y="8038"/>
                          </a:lnTo>
                          <a:lnTo>
                            <a:pt x="0" y="5777"/>
                          </a:lnTo>
                          <a:lnTo>
                            <a:pt x="0" y="2135"/>
                          </a:lnTo>
                          <a:cubicBezTo>
                            <a:pt x="1256" y="1382"/>
                            <a:pt x="2638" y="754"/>
                            <a:pt x="4019"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6" name="Freeform: Shape 4095">
                      <a:extLst>
                        <a:ext uri="{FF2B5EF4-FFF2-40B4-BE49-F238E27FC236}">
                          <a16:creationId xmlns:a16="http://schemas.microsoft.com/office/drawing/2014/main" id="{E2EEFFAE-4A0D-417D-B9D6-14CEF690E9F7}"/>
                        </a:ext>
                      </a:extLst>
                    </p:cNvPr>
                    <p:cNvSpPr/>
                    <p:nvPr/>
                  </p:nvSpPr>
                  <p:spPr>
                    <a:xfrm>
                      <a:off x="7249587" y="3876961"/>
                      <a:ext cx="2260" cy="8163"/>
                    </a:xfrm>
                    <a:custGeom>
                      <a:avLst/>
                      <a:gdLst>
                        <a:gd name="connsiteX0" fmla="*/ 2261 w 2260"/>
                        <a:gd name="connsiteY0" fmla="*/ 0 h 8163"/>
                        <a:gd name="connsiteX1" fmla="*/ 2261 w 2260"/>
                        <a:gd name="connsiteY1" fmla="*/ 6782 h 8163"/>
                        <a:gd name="connsiteX2" fmla="*/ 0 w 2260"/>
                        <a:gd name="connsiteY2" fmla="*/ 8164 h 8163"/>
                        <a:gd name="connsiteX3" fmla="*/ 0 w 2260"/>
                        <a:gd name="connsiteY3" fmla="*/ 0 h 8163"/>
                      </a:gdLst>
                      <a:ahLst/>
                      <a:cxnLst>
                        <a:cxn ang="0">
                          <a:pos x="connsiteX0" y="connsiteY0"/>
                        </a:cxn>
                        <a:cxn ang="0">
                          <a:pos x="connsiteX1" y="connsiteY1"/>
                        </a:cxn>
                        <a:cxn ang="0">
                          <a:pos x="connsiteX2" y="connsiteY2"/>
                        </a:cxn>
                        <a:cxn ang="0">
                          <a:pos x="connsiteX3" y="connsiteY3"/>
                        </a:cxn>
                      </a:cxnLst>
                      <a:rect l="l" t="t" r="r" b="b"/>
                      <a:pathLst>
                        <a:path w="2260" h="8163">
                          <a:moveTo>
                            <a:pt x="2261" y="0"/>
                          </a:moveTo>
                          <a:lnTo>
                            <a:pt x="2261" y="6782"/>
                          </a:lnTo>
                          <a:lnTo>
                            <a:pt x="0" y="8164"/>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7" name="Freeform: Shape 4096">
                      <a:extLst>
                        <a:ext uri="{FF2B5EF4-FFF2-40B4-BE49-F238E27FC236}">
                          <a16:creationId xmlns:a16="http://schemas.microsoft.com/office/drawing/2014/main" id="{FC29C397-25B0-407E-9D6E-29AC9A755F4E}"/>
                        </a:ext>
                      </a:extLst>
                    </p:cNvPr>
                    <p:cNvSpPr/>
                    <p:nvPr/>
                  </p:nvSpPr>
                  <p:spPr>
                    <a:xfrm>
                      <a:off x="7256117" y="3883241"/>
                      <a:ext cx="4019" cy="7912"/>
                    </a:xfrm>
                    <a:custGeom>
                      <a:avLst/>
                      <a:gdLst>
                        <a:gd name="connsiteX0" fmla="*/ 4019 w 4019"/>
                        <a:gd name="connsiteY0" fmla="*/ 0 h 7912"/>
                        <a:gd name="connsiteX1" fmla="*/ 4019 w 4019"/>
                        <a:gd name="connsiteY1" fmla="*/ 7913 h 7912"/>
                        <a:gd name="connsiteX2" fmla="*/ 0 w 4019"/>
                        <a:gd name="connsiteY2" fmla="*/ 5652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3"/>
                          </a:lnTo>
                          <a:lnTo>
                            <a:pt x="0" y="565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8" name="Freeform: Shape 4097">
                      <a:extLst>
                        <a:ext uri="{FF2B5EF4-FFF2-40B4-BE49-F238E27FC236}">
                          <a16:creationId xmlns:a16="http://schemas.microsoft.com/office/drawing/2014/main" id="{B1A99EA3-5D3A-4A8A-811F-D054EFC08393}"/>
                        </a:ext>
                      </a:extLst>
                    </p:cNvPr>
                    <p:cNvSpPr/>
                    <p:nvPr/>
                  </p:nvSpPr>
                  <p:spPr>
                    <a:xfrm>
                      <a:off x="7260136" y="3883241"/>
                      <a:ext cx="2135" cy="7912"/>
                    </a:xfrm>
                    <a:custGeom>
                      <a:avLst/>
                      <a:gdLst>
                        <a:gd name="connsiteX0" fmla="*/ 2136 w 2135"/>
                        <a:gd name="connsiteY0" fmla="*/ 0 h 7912"/>
                        <a:gd name="connsiteX1" fmla="*/ 2136 w 2135"/>
                        <a:gd name="connsiteY1" fmla="*/ 6531 h 7912"/>
                        <a:gd name="connsiteX2" fmla="*/ 0 w 2135"/>
                        <a:gd name="connsiteY2" fmla="*/ 7913 h 7912"/>
                        <a:gd name="connsiteX3" fmla="*/ 0 w 2135"/>
                        <a:gd name="connsiteY3" fmla="*/ 0 h 7912"/>
                      </a:gdLst>
                      <a:ahLst/>
                      <a:cxnLst>
                        <a:cxn ang="0">
                          <a:pos x="connsiteX0" y="connsiteY0"/>
                        </a:cxn>
                        <a:cxn ang="0">
                          <a:pos x="connsiteX1" y="connsiteY1"/>
                        </a:cxn>
                        <a:cxn ang="0">
                          <a:pos x="connsiteX2" y="connsiteY2"/>
                        </a:cxn>
                        <a:cxn ang="0">
                          <a:pos x="connsiteX3" y="connsiteY3"/>
                        </a:cxn>
                      </a:cxnLst>
                      <a:rect l="l" t="t" r="r" b="b"/>
                      <a:pathLst>
                        <a:path w="2135" h="7912">
                          <a:moveTo>
                            <a:pt x="2136" y="0"/>
                          </a:moveTo>
                          <a:lnTo>
                            <a:pt x="2136" y="6531"/>
                          </a:lnTo>
                          <a:lnTo>
                            <a:pt x="0" y="7913"/>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9" name="Freeform: Shape 4098">
                      <a:extLst>
                        <a:ext uri="{FF2B5EF4-FFF2-40B4-BE49-F238E27FC236}">
                          <a16:creationId xmlns:a16="http://schemas.microsoft.com/office/drawing/2014/main" id="{D6CD9C0B-D341-47D5-9461-48DAC8DC50DA}"/>
                        </a:ext>
                      </a:extLst>
                    </p:cNvPr>
                    <p:cNvSpPr/>
                    <p:nvPr/>
                  </p:nvSpPr>
                  <p:spPr>
                    <a:xfrm>
                      <a:off x="7283372" y="3882864"/>
                      <a:ext cx="3893" cy="7786"/>
                    </a:xfrm>
                    <a:custGeom>
                      <a:avLst/>
                      <a:gdLst>
                        <a:gd name="connsiteX0" fmla="*/ 3893 w 3893"/>
                        <a:gd name="connsiteY0" fmla="*/ 0 h 7786"/>
                        <a:gd name="connsiteX1" fmla="*/ 3893 w 3893"/>
                        <a:gd name="connsiteY1" fmla="*/ 7787 h 7786"/>
                        <a:gd name="connsiteX2" fmla="*/ 0 w 3893"/>
                        <a:gd name="connsiteY2" fmla="*/ 5526 h 7786"/>
                        <a:gd name="connsiteX3" fmla="*/ 0 w 3893"/>
                        <a:gd name="connsiteY3" fmla="*/ 0 h 7786"/>
                      </a:gdLst>
                      <a:ahLst/>
                      <a:cxnLst>
                        <a:cxn ang="0">
                          <a:pos x="connsiteX0" y="connsiteY0"/>
                        </a:cxn>
                        <a:cxn ang="0">
                          <a:pos x="connsiteX1" y="connsiteY1"/>
                        </a:cxn>
                        <a:cxn ang="0">
                          <a:pos x="connsiteX2" y="connsiteY2"/>
                        </a:cxn>
                        <a:cxn ang="0">
                          <a:pos x="connsiteX3" y="connsiteY3"/>
                        </a:cxn>
                      </a:cxnLst>
                      <a:rect l="l" t="t" r="r" b="b"/>
                      <a:pathLst>
                        <a:path w="3893" h="7786">
                          <a:moveTo>
                            <a:pt x="3893" y="0"/>
                          </a:moveTo>
                          <a:lnTo>
                            <a:pt x="3893" y="7787"/>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0" name="Freeform: Shape 4099">
                      <a:extLst>
                        <a:ext uri="{FF2B5EF4-FFF2-40B4-BE49-F238E27FC236}">
                          <a16:creationId xmlns:a16="http://schemas.microsoft.com/office/drawing/2014/main" id="{A8BA5CA5-AEC9-4EAA-B30C-64E9A69EA072}"/>
                        </a:ext>
                      </a:extLst>
                    </p:cNvPr>
                    <p:cNvSpPr/>
                    <p:nvPr/>
                  </p:nvSpPr>
                  <p:spPr>
                    <a:xfrm>
                      <a:off x="7287265" y="3882864"/>
                      <a:ext cx="2260" cy="7786"/>
                    </a:xfrm>
                    <a:custGeom>
                      <a:avLst/>
                      <a:gdLst>
                        <a:gd name="connsiteX0" fmla="*/ 2261 w 2260"/>
                        <a:gd name="connsiteY0" fmla="*/ 0 h 7786"/>
                        <a:gd name="connsiteX1" fmla="*/ 2261 w 2260"/>
                        <a:gd name="connsiteY1" fmla="*/ 6531 h 7786"/>
                        <a:gd name="connsiteX2" fmla="*/ 0 w 2260"/>
                        <a:gd name="connsiteY2" fmla="*/ 7787 h 7786"/>
                        <a:gd name="connsiteX3" fmla="*/ 0 w 2260"/>
                        <a:gd name="connsiteY3" fmla="*/ 0 h 7786"/>
                      </a:gdLst>
                      <a:ahLst/>
                      <a:cxnLst>
                        <a:cxn ang="0">
                          <a:pos x="connsiteX0" y="connsiteY0"/>
                        </a:cxn>
                        <a:cxn ang="0">
                          <a:pos x="connsiteX1" y="connsiteY1"/>
                        </a:cxn>
                        <a:cxn ang="0">
                          <a:pos x="connsiteX2" y="connsiteY2"/>
                        </a:cxn>
                        <a:cxn ang="0">
                          <a:pos x="connsiteX3" y="connsiteY3"/>
                        </a:cxn>
                      </a:cxnLst>
                      <a:rect l="l" t="t" r="r" b="b"/>
                      <a:pathLst>
                        <a:path w="2260" h="7786">
                          <a:moveTo>
                            <a:pt x="2261" y="0"/>
                          </a:moveTo>
                          <a:lnTo>
                            <a:pt x="2261" y="6531"/>
                          </a:lnTo>
                          <a:lnTo>
                            <a:pt x="0" y="7787"/>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1" name="Freeform: Shape 4100">
                      <a:extLst>
                        <a:ext uri="{FF2B5EF4-FFF2-40B4-BE49-F238E27FC236}">
                          <a16:creationId xmlns:a16="http://schemas.microsoft.com/office/drawing/2014/main" id="{39CD9A9B-A7E9-4A32-965C-B848D317CDC8}"/>
                        </a:ext>
                      </a:extLst>
                    </p:cNvPr>
                    <p:cNvSpPr/>
                    <p:nvPr/>
                  </p:nvSpPr>
                  <p:spPr>
                    <a:xfrm>
                      <a:off x="7269179" y="3891027"/>
                      <a:ext cx="4019" cy="7912"/>
                    </a:xfrm>
                    <a:custGeom>
                      <a:avLst/>
                      <a:gdLst>
                        <a:gd name="connsiteX0" fmla="*/ 4019 w 4019"/>
                        <a:gd name="connsiteY0" fmla="*/ 0 h 7912"/>
                        <a:gd name="connsiteX1" fmla="*/ 4019 w 4019"/>
                        <a:gd name="connsiteY1" fmla="*/ 7913 h 7912"/>
                        <a:gd name="connsiteX2" fmla="*/ 0 w 4019"/>
                        <a:gd name="connsiteY2" fmla="*/ 5526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3"/>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2" name="Freeform: Shape 4101">
                      <a:extLst>
                        <a:ext uri="{FF2B5EF4-FFF2-40B4-BE49-F238E27FC236}">
                          <a16:creationId xmlns:a16="http://schemas.microsoft.com/office/drawing/2014/main" id="{88322172-9E4A-429F-A053-56D493268E8D}"/>
                        </a:ext>
                      </a:extLst>
                    </p:cNvPr>
                    <p:cNvSpPr/>
                    <p:nvPr/>
                  </p:nvSpPr>
                  <p:spPr>
                    <a:xfrm>
                      <a:off x="7273199" y="3891027"/>
                      <a:ext cx="2260" cy="7912"/>
                    </a:xfrm>
                    <a:custGeom>
                      <a:avLst/>
                      <a:gdLst>
                        <a:gd name="connsiteX0" fmla="*/ 2261 w 2260"/>
                        <a:gd name="connsiteY0" fmla="*/ 0 h 7912"/>
                        <a:gd name="connsiteX1" fmla="*/ 2261 w 2260"/>
                        <a:gd name="connsiteY1" fmla="*/ 6531 h 7912"/>
                        <a:gd name="connsiteX2" fmla="*/ 0 w 2260"/>
                        <a:gd name="connsiteY2" fmla="*/ 7913 h 7912"/>
                        <a:gd name="connsiteX3" fmla="*/ 0 w 2260"/>
                        <a:gd name="connsiteY3" fmla="*/ 0 h 7912"/>
                      </a:gdLst>
                      <a:ahLst/>
                      <a:cxnLst>
                        <a:cxn ang="0">
                          <a:pos x="connsiteX0" y="connsiteY0"/>
                        </a:cxn>
                        <a:cxn ang="0">
                          <a:pos x="connsiteX1" y="connsiteY1"/>
                        </a:cxn>
                        <a:cxn ang="0">
                          <a:pos x="connsiteX2" y="connsiteY2"/>
                        </a:cxn>
                        <a:cxn ang="0">
                          <a:pos x="connsiteX3" y="connsiteY3"/>
                        </a:cxn>
                      </a:cxnLst>
                      <a:rect l="l" t="t" r="r" b="b"/>
                      <a:pathLst>
                        <a:path w="2260" h="7912">
                          <a:moveTo>
                            <a:pt x="2261" y="0"/>
                          </a:moveTo>
                          <a:lnTo>
                            <a:pt x="2261" y="6531"/>
                          </a:lnTo>
                          <a:lnTo>
                            <a:pt x="0" y="7913"/>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3" name="Freeform: Shape 4102">
                      <a:extLst>
                        <a:ext uri="{FF2B5EF4-FFF2-40B4-BE49-F238E27FC236}">
                          <a16:creationId xmlns:a16="http://schemas.microsoft.com/office/drawing/2014/main" id="{744FC3C6-3532-439D-804D-877A156DBA62}"/>
                        </a:ext>
                      </a:extLst>
                    </p:cNvPr>
                    <p:cNvSpPr/>
                    <p:nvPr/>
                  </p:nvSpPr>
                  <p:spPr>
                    <a:xfrm>
                      <a:off x="7296810" y="3878217"/>
                      <a:ext cx="4018" cy="4646"/>
                    </a:xfrm>
                    <a:custGeom>
                      <a:avLst/>
                      <a:gdLst>
                        <a:gd name="connsiteX0" fmla="*/ 0 w 4018"/>
                        <a:gd name="connsiteY0" fmla="*/ 0 h 4646"/>
                        <a:gd name="connsiteX1" fmla="*/ 0 w 4018"/>
                        <a:gd name="connsiteY1" fmla="*/ 2261 h 4646"/>
                        <a:gd name="connsiteX2" fmla="*/ 4018 w 4018"/>
                        <a:gd name="connsiteY2" fmla="*/ 4647 h 4646"/>
                        <a:gd name="connsiteX3" fmla="*/ 4018 w 4018"/>
                        <a:gd name="connsiteY3" fmla="*/ 0 h 4646"/>
                      </a:gdLst>
                      <a:ahLst/>
                      <a:cxnLst>
                        <a:cxn ang="0">
                          <a:pos x="connsiteX0" y="connsiteY0"/>
                        </a:cxn>
                        <a:cxn ang="0">
                          <a:pos x="connsiteX1" y="connsiteY1"/>
                        </a:cxn>
                        <a:cxn ang="0">
                          <a:pos x="connsiteX2" y="connsiteY2"/>
                        </a:cxn>
                        <a:cxn ang="0">
                          <a:pos x="connsiteX3" y="connsiteY3"/>
                        </a:cxn>
                      </a:cxnLst>
                      <a:rect l="l" t="t" r="r" b="b"/>
                      <a:pathLst>
                        <a:path w="4018" h="4646">
                          <a:moveTo>
                            <a:pt x="0" y="0"/>
                          </a:moveTo>
                          <a:lnTo>
                            <a:pt x="0" y="2261"/>
                          </a:lnTo>
                          <a:lnTo>
                            <a:pt x="4018" y="4647"/>
                          </a:lnTo>
                          <a:lnTo>
                            <a:pt x="4018"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4" name="Freeform: Shape 4103">
                      <a:extLst>
                        <a:ext uri="{FF2B5EF4-FFF2-40B4-BE49-F238E27FC236}">
                          <a16:creationId xmlns:a16="http://schemas.microsoft.com/office/drawing/2014/main" id="{456AADDE-A8BA-4411-93B0-E09E7A724E18}"/>
                        </a:ext>
                      </a:extLst>
                    </p:cNvPr>
                    <p:cNvSpPr/>
                    <p:nvPr/>
                  </p:nvSpPr>
                  <p:spPr>
                    <a:xfrm>
                      <a:off x="7300829" y="3878217"/>
                      <a:ext cx="2135" cy="4646"/>
                    </a:xfrm>
                    <a:custGeom>
                      <a:avLst/>
                      <a:gdLst>
                        <a:gd name="connsiteX0" fmla="*/ 0 w 2135"/>
                        <a:gd name="connsiteY0" fmla="*/ 0 h 4646"/>
                        <a:gd name="connsiteX1" fmla="*/ 0 w 2135"/>
                        <a:gd name="connsiteY1" fmla="*/ 4647 h 4646"/>
                        <a:gd name="connsiteX2" fmla="*/ 2136 w 2135"/>
                        <a:gd name="connsiteY2" fmla="*/ 3265 h 4646"/>
                        <a:gd name="connsiteX3" fmla="*/ 2136 w 2135"/>
                        <a:gd name="connsiteY3" fmla="*/ 0 h 4646"/>
                      </a:gdLst>
                      <a:ahLst/>
                      <a:cxnLst>
                        <a:cxn ang="0">
                          <a:pos x="connsiteX0" y="connsiteY0"/>
                        </a:cxn>
                        <a:cxn ang="0">
                          <a:pos x="connsiteX1" y="connsiteY1"/>
                        </a:cxn>
                        <a:cxn ang="0">
                          <a:pos x="connsiteX2" y="connsiteY2"/>
                        </a:cxn>
                        <a:cxn ang="0">
                          <a:pos x="connsiteX3" y="connsiteY3"/>
                        </a:cxn>
                      </a:cxnLst>
                      <a:rect l="l" t="t" r="r" b="b"/>
                      <a:pathLst>
                        <a:path w="2135" h="4646">
                          <a:moveTo>
                            <a:pt x="0" y="0"/>
                          </a:moveTo>
                          <a:lnTo>
                            <a:pt x="0" y="4647"/>
                          </a:lnTo>
                          <a:lnTo>
                            <a:pt x="2136" y="3265"/>
                          </a:lnTo>
                          <a:lnTo>
                            <a:pt x="2136"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5" name="Freeform: Shape 4104">
                      <a:extLst>
                        <a:ext uri="{FF2B5EF4-FFF2-40B4-BE49-F238E27FC236}">
                          <a16:creationId xmlns:a16="http://schemas.microsoft.com/office/drawing/2014/main" id="{7F035EE6-8B68-4E02-A7E7-C1B772B27C86}"/>
                        </a:ext>
                      </a:extLst>
                    </p:cNvPr>
                    <p:cNvSpPr/>
                    <p:nvPr/>
                  </p:nvSpPr>
                  <p:spPr>
                    <a:xfrm>
                      <a:off x="7243055" y="3861010"/>
                      <a:ext cx="61164" cy="35417"/>
                    </a:xfrm>
                    <a:custGeom>
                      <a:avLst/>
                      <a:gdLst>
                        <a:gd name="connsiteX0" fmla="*/ 61165 w 61164"/>
                        <a:gd name="connsiteY0" fmla="*/ 17458 h 35417"/>
                        <a:gd name="connsiteX1" fmla="*/ 30143 w 61164"/>
                        <a:gd name="connsiteY1" fmla="*/ 35418 h 35417"/>
                        <a:gd name="connsiteX2" fmla="*/ 0 w 61164"/>
                        <a:gd name="connsiteY2" fmla="*/ 17960 h 35417"/>
                        <a:gd name="connsiteX3" fmla="*/ 0 w 61164"/>
                        <a:gd name="connsiteY3" fmla="*/ 17332 h 35417"/>
                        <a:gd name="connsiteX4" fmla="*/ 31147 w 61164"/>
                        <a:gd name="connsiteY4" fmla="*/ 0 h 35417"/>
                        <a:gd name="connsiteX5" fmla="*/ 61165 w 61164"/>
                        <a:gd name="connsiteY5" fmla="*/ 16830 h 3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64" h="35417">
                          <a:moveTo>
                            <a:pt x="61165" y="17458"/>
                          </a:moveTo>
                          <a:lnTo>
                            <a:pt x="30143" y="35418"/>
                          </a:lnTo>
                          <a:lnTo>
                            <a:pt x="0" y="17960"/>
                          </a:lnTo>
                          <a:lnTo>
                            <a:pt x="0" y="17332"/>
                          </a:lnTo>
                          <a:lnTo>
                            <a:pt x="31147" y="0"/>
                          </a:lnTo>
                          <a:lnTo>
                            <a:pt x="61165" y="16830"/>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106" name="Graphic 4">
                      <a:extLst>
                        <a:ext uri="{FF2B5EF4-FFF2-40B4-BE49-F238E27FC236}">
                          <a16:creationId xmlns:a16="http://schemas.microsoft.com/office/drawing/2014/main" id="{84FB7ED1-A2DF-40A1-A747-5F7CF3F14040}"/>
                        </a:ext>
                      </a:extLst>
                    </p:cNvPr>
                    <p:cNvGrpSpPr/>
                    <p:nvPr/>
                  </p:nvGrpSpPr>
                  <p:grpSpPr>
                    <a:xfrm>
                      <a:off x="7243055" y="3860382"/>
                      <a:ext cx="61164" cy="35292"/>
                      <a:chOff x="7243055" y="3860382"/>
                      <a:chExt cx="61164" cy="35292"/>
                    </a:xfrm>
                    <a:solidFill>
                      <a:schemeClr val="accent1"/>
                    </a:solidFill>
                  </p:grpSpPr>
                  <p:sp>
                    <p:nvSpPr>
                      <p:cNvPr id="4107" name="Freeform: Shape 4106">
                        <a:extLst>
                          <a:ext uri="{FF2B5EF4-FFF2-40B4-BE49-F238E27FC236}">
                            <a16:creationId xmlns:a16="http://schemas.microsoft.com/office/drawing/2014/main" id="{D1A51737-E316-48AF-BA91-6817B4219515}"/>
                          </a:ext>
                        </a:extLst>
                      </p:cNvPr>
                      <p:cNvSpPr/>
                      <p:nvPr/>
                    </p:nvSpPr>
                    <p:spPr>
                      <a:xfrm>
                        <a:off x="7243055" y="3860382"/>
                        <a:ext cx="61164" cy="35292"/>
                      </a:xfrm>
                      <a:custGeom>
                        <a:avLst/>
                        <a:gdLst>
                          <a:gd name="connsiteX0" fmla="*/ 61165 w 61164"/>
                          <a:gd name="connsiteY0" fmla="*/ 17458 h 35292"/>
                          <a:gd name="connsiteX1" fmla="*/ 30143 w 61164"/>
                          <a:gd name="connsiteY1" fmla="*/ 35292 h 35292"/>
                          <a:gd name="connsiteX2" fmla="*/ 0 w 61164"/>
                          <a:gd name="connsiteY2" fmla="*/ 17960 h 35292"/>
                          <a:gd name="connsiteX3" fmla="*/ 31147 w 61164"/>
                          <a:gd name="connsiteY3" fmla="*/ 0 h 35292"/>
                        </a:gdLst>
                        <a:ahLst/>
                        <a:cxnLst>
                          <a:cxn ang="0">
                            <a:pos x="connsiteX0" y="connsiteY0"/>
                          </a:cxn>
                          <a:cxn ang="0">
                            <a:pos x="connsiteX1" y="connsiteY1"/>
                          </a:cxn>
                          <a:cxn ang="0">
                            <a:pos x="connsiteX2" y="connsiteY2"/>
                          </a:cxn>
                          <a:cxn ang="0">
                            <a:pos x="connsiteX3" y="connsiteY3"/>
                          </a:cxn>
                        </a:cxnLst>
                        <a:rect l="l" t="t" r="r" b="b"/>
                        <a:pathLst>
                          <a:path w="61164" h="35292">
                            <a:moveTo>
                              <a:pt x="61165" y="17458"/>
                            </a:moveTo>
                            <a:lnTo>
                              <a:pt x="30143" y="35292"/>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8" name="Freeform: Shape 4107">
                        <a:extLst>
                          <a:ext uri="{FF2B5EF4-FFF2-40B4-BE49-F238E27FC236}">
                            <a16:creationId xmlns:a16="http://schemas.microsoft.com/office/drawing/2014/main" id="{5E7CBBCA-E57F-4402-A9A6-0B70F8D58AD8}"/>
                          </a:ext>
                        </a:extLst>
                      </p:cNvPr>
                      <p:cNvSpPr/>
                      <p:nvPr/>
                    </p:nvSpPr>
                    <p:spPr>
                      <a:xfrm>
                        <a:off x="7246823" y="3862517"/>
                        <a:ext cx="31148" cy="17959"/>
                      </a:xfrm>
                      <a:custGeom>
                        <a:avLst/>
                        <a:gdLst>
                          <a:gd name="connsiteX0" fmla="*/ 31148 w 31148"/>
                          <a:gd name="connsiteY0" fmla="*/ 126 h 17959"/>
                          <a:gd name="connsiteX1" fmla="*/ 126 w 31148"/>
                          <a:gd name="connsiteY1" fmla="*/ 17960 h 17959"/>
                          <a:gd name="connsiteX2" fmla="*/ 0 w 31148"/>
                          <a:gd name="connsiteY2" fmla="*/ 17960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126"/>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9" name="Freeform: Shape 4108">
                        <a:extLst>
                          <a:ext uri="{FF2B5EF4-FFF2-40B4-BE49-F238E27FC236}">
                            <a16:creationId xmlns:a16="http://schemas.microsoft.com/office/drawing/2014/main" id="{1E33EBE7-5C65-4C18-A27F-B99828022FB2}"/>
                          </a:ext>
                        </a:extLst>
                      </p:cNvPr>
                      <p:cNvSpPr/>
                      <p:nvPr/>
                    </p:nvSpPr>
                    <p:spPr>
                      <a:xfrm>
                        <a:off x="7250591" y="3864778"/>
                        <a:ext cx="31148" cy="17960"/>
                      </a:xfrm>
                      <a:custGeom>
                        <a:avLst/>
                        <a:gdLst>
                          <a:gd name="connsiteX0" fmla="*/ 31148 w 31148"/>
                          <a:gd name="connsiteY0" fmla="*/ 0 h 17960"/>
                          <a:gd name="connsiteX1" fmla="*/ 126 w 31148"/>
                          <a:gd name="connsiteY1" fmla="*/ 17960 h 17960"/>
                          <a:gd name="connsiteX2" fmla="*/ 0 w 31148"/>
                          <a:gd name="connsiteY2" fmla="*/ 17834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0"/>
                            </a:moveTo>
                            <a:lnTo>
                              <a:pt x="126" y="17960"/>
                            </a:lnTo>
                            <a:lnTo>
                              <a:pt x="0" y="17834"/>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0" name="Freeform: Shape 4109">
                        <a:extLst>
                          <a:ext uri="{FF2B5EF4-FFF2-40B4-BE49-F238E27FC236}">
                            <a16:creationId xmlns:a16="http://schemas.microsoft.com/office/drawing/2014/main" id="{2B0DB765-48BB-4ABD-8773-48F0E0000048}"/>
                          </a:ext>
                        </a:extLst>
                      </p:cNvPr>
                      <p:cNvSpPr/>
                      <p:nvPr/>
                    </p:nvSpPr>
                    <p:spPr>
                      <a:xfrm>
                        <a:off x="7254359" y="3866913"/>
                        <a:ext cx="31147" cy="17960"/>
                      </a:xfrm>
                      <a:custGeom>
                        <a:avLst/>
                        <a:gdLst>
                          <a:gd name="connsiteX0" fmla="*/ 31147 w 31147"/>
                          <a:gd name="connsiteY0" fmla="*/ 0 h 17960"/>
                          <a:gd name="connsiteX1" fmla="*/ 126 w 31147"/>
                          <a:gd name="connsiteY1" fmla="*/ 17960 h 17960"/>
                          <a:gd name="connsiteX2" fmla="*/ 0 w 31147"/>
                          <a:gd name="connsiteY2" fmla="*/ 17960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0"/>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1" name="Freeform: Shape 4110">
                        <a:extLst>
                          <a:ext uri="{FF2B5EF4-FFF2-40B4-BE49-F238E27FC236}">
                            <a16:creationId xmlns:a16="http://schemas.microsoft.com/office/drawing/2014/main" id="{BC940179-C338-40E2-842A-42FBFB2B930B}"/>
                          </a:ext>
                        </a:extLst>
                      </p:cNvPr>
                      <p:cNvSpPr/>
                      <p:nvPr/>
                    </p:nvSpPr>
                    <p:spPr>
                      <a:xfrm>
                        <a:off x="7258127" y="3869048"/>
                        <a:ext cx="31147" cy="17960"/>
                      </a:xfrm>
                      <a:custGeom>
                        <a:avLst/>
                        <a:gdLst>
                          <a:gd name="connsiteX0" fmla="*/ 31147 w 31147"/>
                          <a:gd name="connsiteY0" fmla="*/ 126 h 17960"/>
                          <a:gd name="connsiteX1" fmla="*/ 126 w 31147"/>
                          <a:gd name="connsiteY1" fmla="*/ 17960 h 17960"/>
                          <a:gd name="connsiteX2" fmla="*/ 0 w 31147"/>
                          <a:gd name="connsiteY2" fmla="*/ 17960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126"/>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2" name="Freeform: Shape 4111">
                        <a:extLst>
                          <a:ext uri="{FF2B5EF4-FFF2-40B4-BE49-F238E27FC236}">
                            <a16:creationId xmlns:a16="http://schemas.microsoft.com/office/drawing/2014/main" id="{191C00F4-C76F-4742-BAF5-902A5DD716EC}"/>
                          </a:ext>
                        </a:extLst>
                      </p:cNvPr>
                      <p:cNvSpPr/>
                      <p:nvPr/>
                    </p:nvSpPr>
                    <p:spPr>
                      <a:xfrm>
                        <a:off x="7261895" y="3871309"/>
                        <a:ext cx="31147" cy="17959"/>
                      </a:xfrm>
                      <a:custGeom>
                        <a:avLst/>
                        <a:gdLst>
                          <a:gd name="connsiteX0" fmla="*/ 31147 w 31147"/>
                          <a:gd name="connsiteY0" fmla="*/ 0 h 17959"/>
                          <a:gd name="connsiteX1" fmla="*/ 126 w 31147"/>
                          <a:gd name="connsiteY1" fmla="*/ 17960 h 17959"/>
                          <a:gd name="connsiteX2" fmla="*/ 0 w 31147"/>
                          <a:gd name="connsiteY2" fmla="*/ 17834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6" y="17960"/>
                            </a:lnTo>
                            <a:lnTo>
                              <a:pt x="0" y="17834"/>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3" name="Freeform: Shape 4112">
                        <a:extLst>
                          <a:ext uri="{FF2B5EF4-FFF2-40B4-BE49-F238E27FC236}">
                            <a16:creationId xmlns:a16="http://schemas.microsoft.com/office/drawing/2014/main" id="{78A5AC9B-D943-4687-8FFE-B80AA06E6FDC}"/>
                          </a:ext>
                        </a:extLst>
                      </p:cNvPr>
                      <p:cNvSpPr/>
                      <p:nvPr/>
                    </p:nvSpPr>
                    <p:spPr>
                      <a:xfrm>
                        <a:off x="7265662" y="3873444"/>
                        <a:ext cx="31148" cy="17960"/>
                      </a:xfrm>
                      <a:custGeom>
                        <a:avLst/>
                        <a:gdLst>
                          <a:gd name="connsiteX0" fmla="*/ 31148 w 31148"/>
                          <a:gd name="connsiteY0" fmla="*/ 0 h 17960"/>
                          <a:gd name="connsiteX1" fmla="*/ 126 w 31148"/>
                          <a:gd name="connsiteY1" fmla="*/ 17960 h 17960"/>
                          <a:gd name="connsiteX2" fmla="*/ 0 w 31148"/>
                          <a:gd name="connsiteY2" fmla="*/ 17960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0"/>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4" name="Freeform: Shape 4113">
                        <a:extLst>
                          <a:ext uri="{FF2B5EF4-FFF2-40B4-BE49-F238E27FC236}">
                            <a16:creationId xmlns:a16="http://schemas.microsoft.com/office/drawing/2014/main" id="{1D95B0F4-CD9E-4289-B3E2-1C33C659AF73}"/>
                          </a:ext>
                        </a:extLst>
                      </p:cNvPr>
                      <p:cNvSpPr/>
                      <p:nvPr/>
                    </p:nvSpPr>
                    <p:spPr>
                      <a:xfrm>
                        <a:off x="7269430" y="3875579"/>
                        <a:ext cx="31148" cy="17960"/>
                      </a:xfrm>
                      <a:custGeom>
                        <a:avLst/>
                        <a:gdLst>
                          <a:gd name="connsiteX0" fmla="*/ 31148 w 31148"/>
                          <a:gd name="connsiteY0" fmla="*/ 126 h 17960"/>
                          <a:gd name="connsiteX1" fmla="*/ 126 w 31148"/>
                          <a:gd name="connsiteY1" fmla="*/ 17960 h 17960"/>
                          <a:gd name="connsiteX2" fmla="*/ 0 w 31148"/>
                          <a:gd name="connsiteY2" fmla="*/ 17960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126"/>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15" name="Freeform: Shape 4114">
                      <a:extLst>
                        <a:ext uri="{FF2B5EF4-FFF2-40B4-BE49-F238E27FC236}">
                          <a16:creationId xmlns:a16="http://schemas.microsoft.com/office/drawing/2014/main" id="{A89A7D1A-0EB6-485C-8D3F-2E93C62F4B44}"/>
                        </a:ext>
                      </a:extLst>
                    </p:cNvPr>
                    <p:cNvSpPr/>
                    <p:nvPr/>
                  </p:nvSpPr>
                  <p:spPr>
                    <a:xfrm>
                      <a:off x="7243055" y="3881357"/>
                      <a:ext cx="30143" cy="18085"/>
                    </a:xfrm>
                    <a:custGeom>
                      <a:avLst/>
                      <a:gdLst>
                        <a:gd name="connsiteX0" fmla="*/ 30143 w 30143"/>
                        <a:gd name="connsiteY0" fmla="*/ 18086 h 18085"/>
                        <a:gd name="connsiteX1" fmla="*/ 30143 w 30143"/>
                        <a:gd name="connsiteY1" fmla="*/ 17332 h 18085"/>
                        <a:gd name="connsiteX2" fmla="*/ 0 w 30143"/>
                        <a:gd name="connsiteY2" fmla="*/ 0 h 18085"/>
                        <a:gd name="connsiteX3" fmla="*/ 0 w 30143"/>
                        <a:gd name="connsiteY3" fmla="*/ 628 h 18085"/>
                      </a:gdLst>
                      <a:ahLst/>
                      <a:cxnLst>
                        <a:cxn ang="0">
                          <a:pos x="connsiteX0" y="connsiteY0"/>
                        </a:cxn>
                        <a:cxn ang="0">
                          <a:pos x="connsiteX1" y="connsiteY1"/>
                        </a:cxn>
                        <a:cxn ang="0">
                          <a:pos x="connsiteX2" y="connsiteY2"/>
                        </a:cxn>
                        <a:cxn ang="0">
                          <a:pos x="connsiteX3" y="connsiteY3"/>
                        </a:cxn>
                      </a:cxnLst>
                      <a:rect l="l" t="t" r="r" b="b"/>
                      <a:pathLst>
                        <a:path w="30143" h="18085">
                          <a:moveTo>
                            <a:pt x="30143" y="18086"/>
                          </a:moveTo>
                          <a:lnTo>
                            <a:pt x="30143" y="17332"/>
                          </a:lnTo>
                          <a:lnTo>
                            <a:pt x="0" y="0"/>
                          </a:lnTo>
                          <a:lnTo>
                            <a:pt x="0" y="628"/>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16" name="Graphic 4">
                    <a:extLst>
                      <a:ext uri="{FF2B5EF4-FFF2-40B4-BE49-F238E27FC236}">
                        <a16:creationId xmlns:a16="http://schemas.microsoft.com/office/drawing/2014/main" id="{84FB7ED1-A2DF-40A1-A747-5F7CF3F14040}"/>
                      </a:ext>
                    </a:extLst>
                  </p:cNvPr>
                  <p:cNvGrpSpPr/>
                  <p:nvPr/>
                </p:nvGrpSpPr>
                <p:grpSpPr>
                  <a:xfrm>
                    <a:off x="7245442" y="3859503"/>
                    <a:ext cx="43832" cy="27002"/>
                    <a:chOff x="7245442" y="3859503"/>
                    <a:chExt cx="43832" cy="27002"/>
                  </a:xfrm>
                  <a:solidFill>
                    <a:schemeClr val="accent1"/>
                  </a:solidFill>
                </p:grpSpPr>
                <p:grpSp>
                  <p:nvGrpSpPr>
                    <p:cNvPr id="4117" name="Graphic 4">
                      <a:extLst>
                        <a:ext uri="{FF2B5EF4-FFF2-40B4-BE49-F238E27FC236}">
                          <a16:creationId xmlns:a16="http://schemas.microsoft.com/office/drawing/2014/main" id="{84FB7ED1-A2DF-40A1-A747-5F7CF3F14040}"/>
                        </a:ext>
                      </a:extLst>
                    </p:cNvPr>
                    <p:cNvGrpSpPr/>
                    <p:nvPr/>
                  </p:nvGrpSpPr>
                  <p:grpSpPr>
                    <a:xfrm>
                      <a:off x="7245442" y="3859503"/>
                      <a:ext cx="43832" cy="27002"/>
                      <a:chOff x="7245442" y="3859503"/>
                      <a:chExt cx="43832" cy="27002"/>
                    </a:xfrm>
                    <a:solidFill>
                      <a:schemeClr val="accent1"/>
                    </a:solidFill>
                  </p:grpSpPr>
                  <p:sp>
                    <p:nvSpPr>
                      <p:cNvPr id="4118" name="Freeform: Shape 4117">
                        <a:extLst>
                          <a:ext uri="{FF2B5EF4-FFF2-40B4-BE49-F238E27FC236}">
                            <a16:creationId xmlns:a16="http://schemas.microsoft.com/office/drawing/2014/main" id="{7AB2CD43-B71C-4EF3-82D2-020002F44A2E}"/>
                          </a:ext>
                        </a:extLst>
                      </p:cNvPr>
                      <p:cNvSpPr/>
                      <p:nvPr/>
                    </p:nvSpPr>
                    <p:spPr>
                      <a:xfrm>
                        <a:off x="7245442" y="3861261"/>
                        <a:ext cx="43832" cy="25244"/>
                      </a:xfrm>
                      <a:custGeom>
                        <a:avLst/>
                        <a:gdLst>
                          <a:gd name="connsiteX0" fmla="*/ 43832 w 43832"/>
                          <a:gd name="connsiteY0" fmla="*/ 7033 h 25244"/>
                          <a:gd name="connsiteX1" fmla="*/ 42074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9060 w 43832"/>
                          <a:gd name="connsiteY5" fmla="*/ 9796 h 25244"/>
                          <a:gd name="connsiteX6" fmla="*/ 38432 w 43832"/>
                          <a:gd name="connsiteY6" fmla="*/ 10173 h 25244"/>
                          <a:gd name="connsiteX7" fmla="*/ 38306 w 43832"/>
                          <a:gd name="connsiteY7" fmla="*/ 10299 h 25244"/>
                          <a:gd name="connsiteX8" fmla="*/ 37678 w 43832"/>
                          <a:gd name="connsiteY8" fmla="*/ 10676 h 25244"/>
                          <a:gd name="connsiteX9" fmla="*/ 28133 w 43832"/>
                          <a:gd name="connsiteY9" fmla="*/ 16076 h 25244"/>
                          <a:gd name="connsiteX10" fmla="*/ 28133 w 43832"/>
                          <a:gd name="connsiteY10" fmla="*/ 16076 h 25244"/>
                          <a:gd name="connsiteX11" fmla="*/ 27631 w 43832"/>
                          <a:gd name="connsiteY11" fmla="*/ 16453 h 25244"/>
                          <a:gd name="connsiteX12" fmla="*/ 26626 w 43832"/>
                          <a:gd name="connsiteY12" fmla="*/ 17081 h 25244"/>
                          <a:gd name="connsiteX13" fmla="*/ 26626 w 43832"/>
                          <a:gd name="connsiteY13" fmla="*/ 17081 h 25244"/>
                          <a:gd name="connsiteX14" fmla="*/ 26124 w 43832"/>
                          <a:gd name="connsiteY14" fmla="*/ 17332 h 25244"/>
                          <a:gd name="connsiteX15" fmla="*/ 25998 w 43832"/>
                          <a:gd name="connsiteY15" fmla="*/ 17332 h 25244"/>
                          <a:gd name="connsiteX16" fmla="*/ 25998 w 43832"/>
                          <a:gd name="connsiteY16" fmla="*/ 17332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8 w 43832"/>
                          <a:gd name="connsiteY21" fmla="*/ 18588 h 25244"/>
                          <a:gd name="connsiteX22" fmla="*/ 17584 w 43832"/>
                          <a:gd name="connsiteY22" fmla="*/ 22230 h 25244"/>
                          <a:gd name="connsiteX23" fmla="*/ 17584 w 43832"/>
                          <a:gd name="connsiteY23" fmla="*/ 22230 h 25244"/>
                          <a:gd name="connsiteX24" fmla="*/ 17206 w 43832"/>
                          <a:gd name="connsiteY24" fmla="*/ 22482 h 25244"/>
                          <a:gd name="connsiteX25" fmla="*/ 17206 w 43832"/>
                          <a:gd name="connsiteY25" fmla="*/ 22482 h 25244"/>
                          <a:gd name="connsiteX26" fmla="*/ 12308 w 43832"/>
                          <a:gd name="connsiteY26" fmla="*/ 25244 h 25244"/>
                          <a:gd name="connsiteX27" fmla="*/ 12308 w 43832"/>
                          <a:gd name="connsiteY27" fmla="*/ 25244 h 25244"/>
                          <a:gd name="connsiteX28" fmla="*/ 12183 w 43832"/>
                          <a:gd name="connsiteY28" fmla="*/ 25244 h 25244"/>
                          <a:gd name="connsiteX29" fmla="*/ 11806 w 43832"/>
                          <a:gd name="connsiteY29" fmla="*/ 24993 h 25244"/>
                          <a:gd name="connsiteX30" fmla="*/ 11806 w 43832"/>
                          <a:gd name="connsiteY30" fmla="*/ 24993 h 25244"/>
                          <a:gd name="connsiteX31" fmla="*/ 11806 w 43832"/>
                          <a:gd name="connsiteY31" fmla="*/ 24993 h 25244"/>
                          <a:gd name="connsiteX32" fmla="*/ 11304 w 43832"/>
                          <a:gd name="connsiteY32" fmla="*/ 24742 h 25244"/>
                          <a:gd name="connsiteX33" fmla="*/ 11178 w 43832"/>
                          <a:gd name="connsiteY33" fmla="*/ 24617 h 25244"/>
                          <a:gd name="connsiteX34" fmla="*/ 10173 w 43832"/>
                          <a:gd name="connsiteY34" fmla="*/ 23989 h 25244"/>
                          <a:gd name="connsiteX35" fmla="*/ 10173 w 43832"/>
                          <a:gd name="connsiteY35" fmla="*/ 23989 h 25244"/>
                          <a:gd name="connsiteX36" fmla="*/ 9420 w 43832"/>
                          <a:gd name="connsiteY36" fmla="*/ 23612 h 25244"/>
                          <a:gd name="connsiteX37" fmla="*/ 9294 w 43832"/>
                          <a:gd name="connsiteY37" fmla="*/ 23486 h 25244"/>
                          <a:gd name="connsiteX38" fmla="*/ 8666 w 43832"/>
                          <a:gd name="connsiteY38" fmla="*/ 23235 h 25244"/>
                          <a:gd name="connsiteX39" fmla="*/ 8666 w 43832"/>
                          <a:gd name="connsiteY39" fmla="*/ 23109 h 25244"/>
                          <a:gd name="connsiteX40" fmla="*/ 8164 w 43832"/>
                          <a:gd name="connsiteY40" fmla="*/ 22858 h 25244"/>
                          <a:gd name="connsiteX41" fmla="*/ 8038 w 43832"/>
                          <a:gd name="connsiteY41" fmla="*/ 22858 h 25244"/>
                          <a:gd name="connsiteX42" fmla="*/ 7410 w 43832"/>
                          <a:gd name="connsiteY42" fmla="*/ 22482 h 25244"/>
                          <a:gd name="connsiteX43" fmla="*/ 7285 w 43832"/>
                          <a:gd name="connsiteY43" fmla="*/ 22356 h 25244"/>
                          <a:gd name="connsiteX44" fmla="*/ 7285 w 43832"/>
                          <a:gd name="connsiteY44" fmla="*/ 22356 h 25244"/>
                          <a:gd name="connsiteX45" fmla="*/ 6657 w 43832"/>
                          <a:gd name="connsiteY45" fmla="*/ 21979 h 25244"/>
                          <a:gd name="connsiteX46" fmla="*/ 6531 w 43832"/>
                          <a:gd name="connsiteY46" fmla="*/ 21979 h 25244"/>
                          <a:gd name="connsiteX47" fmla="*/ 6154 w 43832"/>
                          <a:gd name="connsiteY47" fmla="*/ 21728 h 25244"/>
                          <a:gd name="connsiteX48" fmla="*/ 6028 w 43832"/>
                          <a:gd name="connsiteY48" fmla="*/ 21602 h 25244"/>
                          <a:gd name="connsiteX49" fmla="*/ 5526 w 43832"/>
                          <a:gd name="connsiteY49" fmla="*/ 21351 h 25244"/>
                          <a:gd name="connsiteX50" fmla="*/ 5526 w 43832"/>
                          <a:gd name="connsiteY50" fmla="*/ 21351 h 25244"/>
                          <a:gd name="connsiteX51" fmla="*/ 4647 w 43832"/>
                          <a:gd name="connsiteY51" fmla="*/ 20849 h 25244"/>
                          <a:gd name="connsiteX52" fmla="*/ 4396 w 43832"/>
                          <a:gd name="connsiteY52" fmla="*/ 20723 h 25244"/>
                          <a:gd name="connsiteX53" fmla="*/ 3768 w 43832"/>
                          <a:gd name="connsiteY53" fmla="*/ 20346 h 25244"/>
                          <a:gd name="connsiteX54" fmla="*/ 3642 w 43832"/>
                          <a:gd name="connsiteY54" fmla="*/ 20346 h 25244"/>
                          <a:gd name="connsiteX55" fmla="*/ 3391 w 43832"/>
                          <a:gd name="connsiteY55" fmla="*/ 20095 h 25244"/>
                          <a:gd name="connsiteX56" fmla="*/ 3391 w 43832"/>
                          <a:gd name="connsiteY56" fmla="*/ 20095 h 25244"/>
                          <a:gd name="connsiteX57" fmla="*/ 2763 w 43832"/>
                          <a:gd name="connsiteY57" fmla="*/ 19718 h 25244"/>
                          <a:gd name="connsiteX58" fmla="*/ 2763 w 43832"/>
                          <a:gd name="connsiteY58" fmla="*/ 19718 h 25244"/>
                          <a:gd name="connsiteX59" fmla="*/ 2638 w 43832"/>
                          <a:gd name="connsiteY59" fmla="*/ 19718 h 25244"/>
                          <a:gd name="connsiteX60" fmla="*/ 2009 w 43832"/>
                          <a:gd name="connsiteY60" fmla="*/ 19342 h 25244"/>
                          <a:gd name="connsiteX61" fmla="*/ 2009 w 43832"/>
                          <a:gd name="connsiteY61" fmla="*/ 19342 h 25244"/>
                          <a:gd name="connsiteX62" fmla="*/ 1633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8 w 43832"/>
                          <a:gd name="connsiteY69" fmla="*/ 1005 h 25244"/>
                          <a:gd name="connsiteX70" fmla="*/ 33659 w 43832"/>
                          <a:gd name="connsiteY70" fmla="*/ 1256 h 25244"/>
                          <a:gd name="connsiteX71" fmla="*/ 34539 w 43832"/>
                          <a:gd name="connsiteY71" fmla="*/ 1758 h 25244"/>
                          <a:gd name="connsiteX72" fmla="*/ 34790 w 43832"/>
                          <a:gd name="connsiteY72" fmla="*/ 1758 h 25244"/>
                          <a:gd name="connsiteX73" fmla="*/ 35166 w 43832"/>
                          <a:gd name="connsiteY73" fmla="*/ 2010 h 25244"/>
                          <a:gd name="connsiteX74" fmla="*/ 35166 w 43832"/>
                          <a:gd name="connsiteY74" fmla="*/ 2010 h 25244"/>
                          <a:gd name="connsiteX75" fmla="*/ 35166 w 43832"/>
                          <a:gd name="connsiteY75" fmla="*/ 2135 h 25244"/>
                          <a:gd name="connsiteX76" fmla="*/ 36046 w 43832"/>
                          <a:gd name="connsiteY76" fmla="*/ 2512 h 25244"/>
                          <a:gd name="connsiteX77" fmla="*/ 36297 w 43832"/>
                          <a:gd name="connsiteY77" fmla="*/ 2638 h 25244"/>
                          <a:gd name="connsiteX78" fmla="*/ 36799 w 43832"/>
                          <a:gd name="connsiteY78" fmla="*/ 3014 h 25244"/>
                          <a:gd name="connsiteX79" fmla="*/ 36925 w 43832"/>
                          <a:gd name="connsiteY79" fmla="*/ 3014 h 25244"/>
                          <a:gd name="connsiteX80" fmla="*/ 37804 w 43832"/>
                          <a:gd name="connsiteY80" fmla="*/ 3517 h 25244"/>
                          <a:gd name="connsiteX81" fmla="*/ 37930 w 43832"/>
                          <a:gd name="connsiteY81" fmla="*/ 3642 h 25244"/>
                          <a:gd name="connsiteX82" fmla="*/ 38181 w 43832"/>
                          <a:gd name="connsiteY82" fmla="*/ 3768 h 25244"/>
                          <a:gd name="connsiteX83" fmla="*/ 38306 w 43832"/>
                          <a:gd name="connsiteY83" fmla="*/ 3893 h 25244"/>
                          <a:gd name="connsiteX84" fmla="*/ 38809 w 43832"/>
                          <a:gd name="connsiteY84" fmla="*/ 4145 h 25244"/>
                          <a:gd name="connsiteX85" fmla="*/ 38934 w 43832"/>
                          <a:gd name="connsiteY85" fmla="*/ 4270 h 25244"/>
                          <a:gd name="connsiteX86" fmla="*/ 39186 w 43832"/>
                          <a:gd name="connsiteY86" fmla="*/ 4396 h 25244"/>
                          <a:gd name="connsiteX87" fmla="*/ 39311 w 43832"/>
                          <a:gd name="connsiteY87" fmla="*/ 4396 h 25244"/>
                          <a:gd name="connsiteX88" fmla="*/ 39688 w 43832"/>
                          <a:gd name="connsiteY88" fmla="*/ 4647 h 25244"/>
                          <a:gd name="connsiteX89" fmla="*/ 39813 w 43832"/>
                          <a:gd name="connsiteY89" fmla="*/ 4773 h 25244"/>
                          <a:gd name="connsiteX90" fmla="*/ 40316 w 43832"/>
                          <a:gd name="connsiteY90" fmla="*/ 5024 h 25244"/>
                          <a:gd name="connsiteX91" fmla="*/ 40567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949 w 43832"/>
                          <a:gd name="connsiteY100" fmla="*/ 5903 h 25244"/>
                          <a:gd name="connsiteX101" fmla="*/ 42074 w 43832"/>
                          <a:gd name="connsiteY101" fmla="*/ 6028 h 25244"/>
                          <a:gd name="connsiteX102" fmla="*/ 43832 w 43832"/>
                          <a:gd name="connsiteY102" fmla="*/ 5401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4" y="8038"/>
                            </a:lnTo>
                            <a:lnTo>
                              <a:pt x="41823" y="8164"/>
                            </a:lnTo>
                            <a:lnTo>
                              <a:pt x="41823" y="8164"/>
                            </a:lnTo>
                            <a:lnTo>
                              <a:pt x="39060" y="9796"/>
                            </a:lnTo>
                            <a:lnTo>
                              <a:pt x="39060" y="9796"/>
                            </a:lnTo>
                            <a:lnTo>
                              <a:pt x="38432" y="10173"/>
                            </a:lnTo>
                            <a:lnTo>
                              <a:pt x="38306" y="10299"/>
                            </a:lnTo>
                            <a:lnTo>
                              <a:pt x="37678" y="10676"/>
                            </a:lnTo>
                            <a:lnTo>
                              <a:pt x="28133" y="16076"/>
                            </a:lnTo>
                            <a:lnTo>
                              <a:pt x="28133" y="16076"/>
                            </a:lnTo>
                            <a:lnTo>
                              <a:pt x="27631" y="16453"/>
                            </a:lnTo>
                            <a:lnTo>
                              <a:pt x="26626" y="17081"/>
                            </a:lnTo>
                            <a:lnTo>
                              <a:pt x="26626" y="17081"/>
                            </a:lnTo>
                            <a:lnTo>
                              <a:pt x="26124" y="17332"/>
                            </a:lnTo>
                            <a:lnTo>
                              <a:pt x="25998" y="17332"/>
                            </a:lnTo>
                            <a:lnTo>
                              <a:pt x="25998" y="17332"/>
                            </a:lnTo>
                            <a:lnTo>
                              <a:pt x="25747" y="17583"/>
                            </a:lnTo>
                            <a:lnTo>
                              <a:pt x="25747" y="17583"/>
                            </a:lnTo>
                            <a:lnTo>
                              <a:pt x="24240" y="18462"/>
                            </a:lnTo>
                            <a:lnTo>
                              <a:pt x="24240" y="18462"/>
                            </a:lnTo>
                            <a:lnTo>
                              <a:pt x="23988" y="18588"/>
                            </a:lnTo>
                            <a:lnTo>
                              <a:pt x="17584" y="22230"/>
                            </a:lnTo>
                            <a:lnTo>
                              <a:pt x="17584" y="22230"/>
                            </a:lnTo>
                            <a:lnTo>
                              <a:pt x="17206" y="22482"/>
                            </a:lnTo>
                            <a:lnTo>
                              <a:pt x="17206" y="22482"/>
                            </a:lnTo>
                            <a:lnTo>
                              <a:pt x="12308" y="25244"/>
                            </a:lnTo>
                            <a:lnTo>
                              <a:pt x="12308" y="25244"/>
                            </a:lnTo>
                            <a:lnTo>
                              <a:pt x="12183" y="25244"/>
                            </a:lnTo>
                            <a:lnTo>
                              <a:pt x="11806" y="24993"/>
                            </a:lnTo>
                            <a:lnTo>
                              <a:pt x="11806" y="24993"/>
                            </a:lnTo>
                            <a:lnTo>
                              <a:pt x="11806" y="24993"/>
                            </a:lnTo>
                            <a:lnTo>
                              <a:pt x="11304" y="24742"/>
                            </a:lnTo>
                            <a:lnTo>
                              <a:pt x="11178" y="24617"/>
                            </a:lnTo>
                            <a:lnTo>
                              <a:pt x="10173" y="23989"/>
                            </a:lnTo>
                            <a:lnTo>
                              <a:pt x="10173" y="23989"/>
                            </a:lnTo>
                            <a:lnTo>
                              <a:pt x="9420" y="23612"/>
                            </a:lnTo>
                            <a:lnTo>
                              <a:pt x="9294" y="23486"/>
                            </a:lnTo>
                            <a:lnTo>
                              <a:pt x="8666" y="23235"/>
                            </a:lnTo>
                            <a:lnTo>
                              <a:pt x="8666" y="23109"/>
                            </a:lnTo>
                            <a:lnTo>
                              <a:pt x="8164" y="22858"/>
                            </a:lnTo>
                            <a:lnTo>
                              <a:pt x="8038" y="22858"/>
                            </a:lnTo>
                            <a:lnTo>
                              <a:pt x="7410" y="22482"/>
                            </a:lnTo>
                            <a:lnTo>
                              <a:pt x="7285" y="22356"/>
                            </a:lnTo>
                            <a:lnTo>
                              <a:pt x="7285" y="22356"/>
                            </a:lnTo>
                            <a:lnTo>
                              <a:pt x="6657" y="21979"/>
                            </a:lnTo>
                            <a:lnTo>
                              <a:pt x="6531" y="21979"/>
                            </a:lnTo>
                            <a:lnTo>
                              <a:pt x="6154" y="21728"/>
                            </a:lnTo>
                            <a:lnTo>
                              <a:pt x="6028" y="21602"/>
                            </a:lnTo>
                            <a:lnTo>
                              <a:pt x="5526" y="21351"/>
                            </a:lnTo>
                            <a:lnTo>
                              <a:pt x="5526" y="21351"/>
                            </a:lnTo>
                            <a:lnTo>
                              <a:pt x="4647" y="20849"/>
                            </a:lnTo>
                            <a:lnTo>
                              <a:pt x="4396" y="20723"/>
                            </a:lnTo>
                            <a:lnTo>
                              <a:pt x="3768" y="20346"/>
                            </a:lnTo>
                            <a:lnTo>
                              <a:pt x="3642" y="20346"/>
                            </a:lnTo>
                            <a:lnTo>
                              <a:pt x="3391" y="20095"/>
                            </a:lnTo>
                            <a:lnTo>
                              <a:pt x="3391" y="20095"/>
                            </a:lnTo>
                            <a:lnTo>
                              <a:pt x="2763" y="19718"/>
                            </a:lnTo>
                            <a:lnTo>
                              <a:pt x="2763" y="19718"/>
                            </a:lnTo>
                            <a:lnTo>
                              <a:pt x="2638" y="19718"/>
                            </a:lnTo>
                            <a:lnTo>
                              <a:pt x="2009" y="19342"/>
                            </a:lnTo>
                            <a:lnTo>
                              <a:pt x="2009" y="19342"/>
                            </a:lnTo>
                            <a:lnTo>
                              <a:pt x="1633" y="19090"/>
                            </a:lnTo>
                            <a:lnTo>
                              <a:pt x="1381" y="18965"/>
                            </a:lnTo>
                            <a:lnTo>
                              <a:pt x="0" y="18211"/>
                            </a:lnTo>
                            <a:lnTo>
                              <a:pt x="0" y="16453"/>
                            </a:lnTo>
                            <a:lnTo>
                              <a:pt x="31524" y="0"/>
                            </a:lnTo>
                            <a:lnTo>
                              <a:pt x="32278" y="377"/>
                            </a:lnTo>
                            <a:lnTo>
                              <a:pt x="32404" y="502"/>
                            </a:lnTo>
                            <a:lnTo>
                              <a:pt x="33408" y="1005"/>
                            </a:lnTo>
                            <a:lnTo>
                              <a:pt x="33659" y="1256"/>
                            </a:lnTo>
                            <a:lnTo>
                              <a:pt x="34539" y="1758"/>
                            </a:lnTo>
                            <a:lnTo>
                              <a:pt x="34790" y="1758"/>
                            </a:lnTo>
                            <a:lnTo>
                              <a:pt x="35166" y="2010"/>
                            </a:lnTo>
                            <a:lnTo>
                              <a:pt x="35166" y="2010"/>
                            </a:lnTo>
                            <a:lnTo>
                              <a:pt x="35166" y="2135"/>
                            </a:lnTo>
                            <a:lnTo>
                              <a:pt x="36046" y="2512"/>
                            </a:lnTo>
                            <a:lnTo>
                              <a:pt x="36297" y="2638"/>
                            </a:lnTo>
                            <a:lnTo>
                              <a:pt x="36799" y="3014"/>
                            </a:lnTo>
                            <a:lnTo>
                              <a:pt x="36925" y="3014"/>
                            </a:lnTo>
                            <a:lnTo>
                              <a:pt x="37804" y="3517"/>
                            </a:lnTo>
                            <a:lnTo>
                              <a:pt x="37930" y="3642"/>
                            </a:lnTo>
                            <a:lnTo>
                              <a:pt x="38181" y="3768"/>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5903"/>
                            </a:lnTo>
                            <a:lnTo>
                              <a:pt x="42074" y="6028"/>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9" name="Freeform: Shape 4118">
                        <a:extLst>
                          <a:ext uri="{FF2B5EF4-FFF2-40B4-BE49-F238E27FC236}">
                            <a16:creationId xmlns:a16="http://schemas.microsoft.com/office/drawing/2014/main" id="{5B3040B2-AC66-487C-B0FB-5EAFD9A2CD2B}"/>
                          </a:ext>
                        </a:extLst>
                      </p:cNvPr>
                      <p:cNvSpPr/>
                      <p:nvPr/>
                    </p:nvSpPr>
                    <p:spPr>
                      <a:xfrm>
                        <a:off x="7245442" y="3859503"/>
                        <a:ext cx="43832" cy="25244"/>
                      </a:xfrm>
                      <a:custGeom>
                        <a:avLst/>
                        <a:gdLst>
                          <a:gd name="connsiteX0" fmla="*/ 43832 w 43832"/>
                          <a:gd name="connsiteY0" fmla="*/ 7159 h 25244"/>
                          <a:gd name="connsiteX1" fmla="*/ 42074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9060 w 43832"/>
                          <a:gd name="connsiteY5" fmla="*/ 9922 h 25244"/>
                          <a:gd name="connsiteX6" fmla="*/ 38432 w 43832"/>
                          <a:gd name="connsiteY6" fmla="*/ 10299 h 25244"/>
                          <a:gd name="connsiteX7" fmla="*/ 38306 w 43832"/>
                          <a:gd name="connsiteY7" fmla="*/ 10299 h 25244"/>
                          <a:gd name="connsiteX8" fmla="*/ 37553 w 43832"/>
                          <a:gd name="connsiteY8" fmla="*/ 10676 h 25244"/>
                          <a:gd name="connsiteX9" fmla="*/ 28133 w 43832"/>
                          <a:gd name="connsiteY9" fmla="*/ 16202 h 25244"/>
                          <a:gd name="connsiteX10" fmla="*/ 27631 w 43832"/>
                          <a:gd name="connsiteY10" fmla="*/ 16453 h 25244"/>
                          <a:gd name="connsiteX11" fmla="*/ 26626 w 43832"/>
                          <a:gd name="connsiteY11" fmla="*/ 17081 h 25244"/>
                          <a:gd name="connsiteX12" fmla="*/ 26124 w 43832"/>
                          <a:gd name="connsiteY12" fmla="*/ 17332 h 25244"/>
                          <a:gd name="connsiteX13" fmla="*/ 25998 w 43832"/>
                          <a:gd name="connsiteY13" fmla="*/ 17458 h 25244"/>
                          <a:gd name="connsiteX14" fmla="*/ 25998 w 43832"/>
                          <a:gd name="connsiteY14" fmla="*/ 17458 h 25244"/>
                          <a:gd name="connsiteX15" fmla="*/ 25747 w 43832"/>
                          <a:gd name="connsiteY15" fmla="*/ 17583 h 25244"/>
                          <a:gd name="connsiteX16" fmla="*/ 24240 w 43832"/>
                          <a:gd name="connsiteY16" fmla="*/ 18462 h 25244"/>
                          <a:gd name="connsiteX17" fmla="*/ 24240 w 43832"/>
                          <a:gd name="connsiteY17" fmla="*/ 18462 h 25244"/>
                          <a:gd name="connsiteX18" fmla="*/ 23988 w 43832"/>
                          <a:gd name="connsiteY18" fmla="*/ 18588 h 25244"/>
                          <a:gd name="connsiteX19" fmla="*/ 17584 w 43832"/>
                          <a:gd name="connsiteY19" fmla="*/ 22230 h 25244"/>
                          <a:gd name="connsiteX20" fmla="*/ 17206 w 43832"/>
                          <a:gd name="connsiteY20" fmla="*/ 22482 h 25244"/>
                          <a:gd name="connsiteX21" fmla="*/ 17206 w 43832"/>
                          <a:gd name="connsiteY21" fmla="*/ 22482 h 25244"/>
                          <a:gd name="connsiteX22" fmla="*/ 12308 w 43832"/>
                          <a:gd name="connsiteY22" fmla="*/ 25244 h 25244"/>
                          <a:gd name="connsiteX23" fmla="*/ 12308 w 43832"/>
                          <a:gd name="connsiteY23" fmla="*/ 25244 h 25244"/>
                          <a:gd name="connsiteX24" fmla="*/ 12183 w 43832"/>
                          <a:gd name="connsiteY24" fmla="*/ 25244 h 25244"/>
                          <a:gd name="connsiteX25" fmla="*/ 11806 w 43832"/>
                          <a:gd name="connsiteY25" fmla="*/ 24993 h 25244"/>
                          <a:gd name="connsiteX26" fmla="*/ 11806 w 43832"/>
                          <a:gd name="connsiteY26" fmla="*/ 24993 h 25244"/>
                          <a:gd name="connsiteX27" fmla="*/ 11304 w 43832"/>
                          <a:gd name="connsiteY27" fmla="*/ 24742 h 25244"/>
                          <a:gd name="connsiteX28" fmla="*/ 11178 w 43832"/>
                          <a:gd name="connsiteY28" fmla="*/ 24617 h 25244"/>
                          <a:gd name="connsiteX29" fmla="*/ 10173 w 43832"/>
                          <a:gd name="connsiteY29" fmla="*/ 24114 h 25244"/>
                          <a:gd name="connsiteX30" fmla="*/ 10173 w 43832"/>
                          <a:gd name="connsiteY30" fmla="*/ 23989 h 25244"/>
                          <a:gd name="connsiteX31" fmla="*/ 9545 w 43832"/>
                          <a:gd name="connsiteY31" fmla="*/ 23612 h 25244"/>
                          <a:gd name="connsiteX32" fmla="*/ 9294 w 43832"/>
                          <a:gd name="connsiteY32" fmla="*/ 23486 h 25244"/>
                          <a:gd name="connsiteX33" fmla="*/ 8666 w 43832"/>
                          <a:gd name="connsiteY33" fmla="*/ 23235 h 25244"/>
                          <a:gd name="connsiteX34" fmla="*/ 8666 w 43832"/>
                          <a:gd name="connsiteY34" fmla="*/ 23235 h 25244"/>
                          <a:gd name="connsiteX35" fmla="*/ 8164 w 43832"/>
                          <a:gd name="connsiteY35" fmla="*/ 22858 h 25244"/>
                          <a:gd name="connsiteX36" fmla="*/ 8038 w 43832"/>
                          <a:gd name="connsiteY36" fmla="*/ 22858 h 25244"/>
                          <a:gd name="connsiteX37" fmla="*/ 7410 w 43832"/>
                          <a:gd name="connsiteY37" fmla="*/ 22482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728 h 25244"/>
                          <a:gd name="connsiteX44" fmla="*/ 5526 w 43832"/>
                          <a:gd name="connsiteY44" fmla="*/ 21477 h 25244"/>
                          <a:gd name="connsiteX45" fmla="*/ 5526 w 43832"/>
                          <a:gd name="connsiteY45" fmla="*/ 21351 h 25244"/>
                          <a:gd name="connsiteX46" fmla="*/ 4647 w 43832"/>
                          <a:gd name="connsiteY46" fmla="*/ 20849 h 25244"/>
                          <a:gd name="connsiteX47" fmla="*/ 4396 w 43832"/>
                          <a:gd name="connsiteY47" fmla="*/ 20723 h 25244"/>
                          <a:gd name="connsiteX48" fmla="*/ 3768 w 43832"/>
                          <a:gd name="connsiteY48" fmla="*/ 20346 h 25244"/>
                          <a:gd name="connsiteX49" fmla="*/ 3642 w 43832"/>
                          <a:gd name="connsiteY49" fmla="*/ 20346 h 25244"/>
                          <a:gd name="connsiteX50" fmla="*/ 3391 w 43832"/>
                          <a:gd name="connsiteY50" fmla="*/ 20221 h 25244"/>
                          <a:gd name="connsiteX51" fmla="*/ 3391 w 43832"/>
                          <a:gd name="connsiteY51" fmla="*/ 20095 h 25244"/>
                          <a:gd name="connsiteX52" fmla="*/ 2763 w 43832"/>
                          <a:gd name="connsiteY52" fmla="*/ 19844 h 25244"/>
                          <a:gd name="connsiteX53" fmla="*/ 2763 w 43832"/>
                          <a:gd name="connsiteY53" fmla="*/ 19844 h 25244"/>
                          <a:gd name="connsiteX54" fmla="*/ 2638 w 43832"/>
                          <a:gd name="connsiteY54" fmla="*/ 19718 h 25244"/>
                          <a:gd name="connsiteX55" fmla="*/ 2009 w 43832"/>
                          <a:gd name="connsiteY55" fmla="*/ 19342 h 25244"/>
                          <a:gd name="connsiteX56" fmla="*/ 2009 w 43832"/>
                          <a:gd name="connsiteY56" fmla="*/ 19342 h 25244"/>
                          <a:gd name="connsiteX57" fmla="*/ 1633 w 43832"/>
                          <a:gd name="connsiteY57" fmla="*/ 19090 h 25244"/>
                          <a:gd name="connsiteX58" fmla="*/ 1381 w 43832"/>
                          <a:gd name="connsiteY58" fmla="*/ 18965 h 25244"/>
                          <a:gd name="connsiteX59" fmla="*/ 0 w 43832"/>
                          <a:gd name="connsiteY59" fmla="*/ 18211 h 25244"/>
                          <a:gd name="connsiteX60" fmla="*/ 4396 w 43832"/>
                          <a:gd name="connsiteY60" fmla="*/ 15699 h 25244"/>
                          <a:gd name="connsiteX61" fmla="*/ 4396 w 43832"/>
                          <a:gd name="connsiteY61" fmla="*/ 15574 h 25244"/>
                          <a:gd name="connsiteX62" fmla="*/ 4521 w 43832"/>
                          <a:gd name="connsiteY62" fmla="*/ 15574 h 25244"/>
                          <a:gd name="connsiteX63" fmla="*/ 4647 w 43832"/>
                          <a:gd name="connsiteY63" fmla="*/ 15574 h 25244"/>
                          <a:gd name="connsiteX64" fmla="*/ 4898 w 43832"/>
                          <a:gd name="connsiteY64" fmla="*/ 15448 h 25244"/>
                          <a:gd name="connsiteX65" fmla="*/ 4898 w 43832"/>
                          <a:gd name="connsiteY65" fmla="*/ 15323 h 25244"/>
                          <a:gd name="connsiteX66" fmla="*/ 5024 w 43832"/>
                          <a:gd name="connsiteY66" fmla="*/ 15323 h 25244"/>
                          <a:gd name="connsiteX67" fmla="*/ 5024 w 43832"/>
                          <a:gd name="connsiteY67" fmla="*/ 15323 h 25244"/>
                          <a:gd name="connsiteX68" fmla="*/ 17584 w 43832"/>
                          <a:gd name="connsiteY68" fmla="*/ 8038 h 25244"/>
                          <a:gd name="connsiteX69" fmla="*/ 17834 w 43832"/>
                          <a:gd name="connsiteY69" fmla="*/ 7913 h 25244"/>
                          <a:gd name="connsiteX70" fmla="*/ 18211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8 w 43832"/>
                          <a:gd name="connsiteY75" fmla="*/ 1130 h 25244"/>
                          <a:gd name="connsiteX76" fmla="*/ 33659 w 43832"/>
                          <a:gd name="connsiteY76" fmla="*/ 1256 h 25244"/>
                          <a:gd name="connsiteX77" fmla="*/ 34539 w 43832"/>
                          <a:gd name="connsiteY77" fmla="*/ 1758 h 25244"/>
                          <a:gd name="connsiteX78" fmla="*/ 34790 w 43832"/>
                          <a:gd name="connsiteY78" fmla="*/ 1884 h 25244"/>
                          <a:gd name="connsiteX79" fmla="*/ 35166 w 43832"/>
                          <a:gd name="connsiteY79" fmla="*/ 2135 h 25244"/>
                          <a:gd name="connsiteX80" fmla="*/ 35166 w 43832"/>
                          <a:gd name="connsiteY80" fmla="*/ 2135 h 25244"/>
                          <a:gd name="connsiteX81" fmla="*/ 36046 w 43832"/>
                          <a:gd name="connsiteY81" fmla="*/ 2512 h 25244"/>
                          <a:gd name="connsiteX82" fmla="*/ 36297 w 43832"/>
                          <a:gd name="connsiteY82" fmla="*/ 2638 h 25244"/>
                          <a:gd name="connsiteX83" fmla="*/ 36799 w 43832"/>
                          <a:gd name="connsiteY83" fmla="*/ 3014 h 25244"/>
                          <a:gd name="connsiteX84" fmla="*/ 36925 w 43832"/>
                          <a:gd name="connsiteY84" fmla="*/ 3014 h 25244"/>
                          <a:gd name="connsiteX85" fmla="*/ 37804 w 43832"/>
                          <a:gd name="connsiteY85" fmla="*/ 3642 h 25244"/>
                          <a:gd name="connsiteX86" fmla="*/ 37930 w 43832"/>
                          <a:gd name="connsiteY86" fmla="*/ 3642 h 25244"/>
                          <a:gd name="connsiteX87" fmla="*/ 38306 w 43832"/>
                          <a:gd name="connsiteY87" fmla="*/ 3893 h 25244"/>
                          <a:gd name="connsiteX88" fmla="*/ 38809 w 43832"/>
                          <a:gd name="connsiteY88" fmla="*/ 4145 h 25244"/>
                          <a:gd name="connsiteX89" fmla="*/ 38934 w 43832"/>
                          <a:gd name="connsiteY89" fmla="*/ 4270 h 25244"/>
                          <a:gd name="connsiteX90" fmla="*/ 39186 w 43832"/>
                          <a:gd name="connsiteY90" fmla="*/ 4396 h 25244"/>
                          <a:gd name="connsiteX91" fmla="*/ 39311 w 43832"/>
                          <a:gd name="connsiteY91" fmla="*/ 4521 h 25244"/>
                          <a:gd name="connsiteX92" fmla="*/ 39688 w 43832"/>
                          <a:gd name="connsiteY92" fmla="*/ 4647 h 25244"/>
                          <a:gd name="connsiteX93" fmla="*/ 39813 w 43832"/>
                          <a:gd name="connsiteY93" fmla="*/ 4773 h 25244"/>
                          <a:gd name="connsiteX94" fmla="*/ 40316 w 43832"/>
                          <a:gd name="connsiteY94" fmla="*/ 5024 h 25244"/>
                          <a:gd name="connsiteX95" fmla="*/ 40567 w 43832"/>
                          <a:gd name="connsiteY95" fmla="*/ 5149 h 25244"/>
                          <a:gd name="connsiteX96" fmla="*/ 40693 w 43832"/>
                          <a:gd name="connsiteY96" fmla="*/ 5275 h 25244"/>
                          <a:gd name="connsiteX97" fmla="*/ 40693 w 43832"/>
                          <a:gd name="connsiteY97" fmla="*/ 5275 h 25244"/>
                          <a:gd name="connsiteX98" fmla="*/ 40818 w 43832"/>
                          <a:gd name="connsiteY98" fmla="*/ 5401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903 h 25244"/>
                          <a:gd name="connsiteX104" fmla="*/ 41949 w 43832"/>
                          <a:gd name="connsiteY104" fmla="*/ 6028 h 25244"/>
                          <a:gd name="connsiteX105" fmla="*/ 42074 w 43832"/>
                          <a:gd name="connsiteY105" fmla="*/ 6028 h 25244"/>
                          <a:gd name="connsiteX106" fmla="*/ 42451 w 43832"/>
                          <a:gd name="connsiteY106" fmla="*/ 6280 h 25244"/>
                          <a:gd name="connsiteX107" fmla="*/ 42577 w 43832"/>
                          <a:gd name="connsiteY107" fmla="*/ 6280 h 25244"/>
                          <a:gd name="connsiteX108" fmla="*/ 42827 w 43832"/>
                          <a:gd name="connsiteY108" fmla="*/ 6531 h 25244"/>
                          <a:gd name="connsiteX109" fmla="*/ 42953 w 43832"/>
                          <a:gd name="connsiteY109" fmla="*/ 6531 h 25244"/>
                          <a:gd name="connsiteX110" fmla="*/ 43456 w 43832"/>
                          <a:gd name="connsiteY110" fmla="*/ 6782 h 25244"/>
                          <a:gd name="connsiteX111" fmla="*/ 43456 w 43832"/>
                          <a:gd name="connsiteY111" fmla="*/ 6908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159"/>
                            </a:moveTo>
                            <a:lnTo>
                              <a:pt x="42074" y="8164"/>
                            </a:lnTo>
                            <a:lnTo>
                              <a:pt x="41823" y="8289"/>
                            </a:lnTo>
                            <a:lnTo>
                              <a:pt x="41823" y="8289"/>
                            </a:lnTo>
                            <a:lnTo>
                              <a:pt x="39060" y="9922"/>
                            </a:lnTo>
                            <a:lnTo>
                              <a:pt x="39060" y="9922"/>
                            </a:lnTo>
                            <a:lnTo>
                              <a:pt x="38432" y="10299"/>
                            </a:lnTo>
                            <a:lnTo>
                              <a:pt x="38306" y="10299"/>
                            </a:lnTo>
                            <a:lnTo>
                              <a:pt x="37553" y="10676"/>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17584" y="22230"/>
                            </a:lnTo>
                            <a:lnTo>
                              <a:pt x="17206" y="22482"/>
                            </a:lnTo>
                            <a:lnTo>
                              <a:pt x="17206" y="22482"/>
                            </a:lnTo>
                            <a:lnTo>
                              <a:pt x="12308" y="25244"/>
                            </a:lnTo>
                            <a:lnTo>
                              <a:pt x="12308" y="25244"/>
                            </a:lnTo>
                            <a:lnTo>
                              <a:pt x="12183" y="25244"/>
                            </a:lnTo>
                            <a:lnTo>
                              <a:pt x="11806" y="24993"/>
                            </a:lnTo>
                            <a:lnTo>
                              <a:pt x="11806" y="24993"/>
                            </a:lnTo>
                            <a:lnTo>
                              <a:pt x="11304" y="24742"/>
                            </a:lnTo>
                            <a:lnTo>
                              <a:pt x="11178" y="24617"/>
                            </a:lnTo>
                            <a:lnTo>
                              <a:pt x="10173" y="24114"/>
                            </a:lnTo>
                            <a:lnTo>
                              <a:pt x="10173" y="23989"/>
                            </a:lnTo>
                            <a:lnTo>
                              <a:pt x="9545" y="23612"/>
                            </a:lnTo>
                            <a:lnTo>
                              <a:pt x="9294" y="23486"/>
                            </a:lnTo>
                            <a:lnTo>
                              <a:pt x="8666" y="23235"/>
                            </a:lnTo>
                            <a:lnTo>
                              <a:pt x="8666" y="23235"/>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342"/>
                            </a:lnTo>
                            <a:lnTo>
                              <a:pt x="2009" y="19342"/>
                            </a:lnTo>
                            <a:lnTo>
                              <a:pt x="1633" y="19090"/>
                            </a:lnTo>
                            <a:lnTo>
                              <a:pt x="1381" y="18965"/>
                            </a:lnTo>
                            <a:lnTo>
                              <a:pt x="0" y="18211"/>
                            </a:lnTo>
                            <a:lnTo>
                              <a:pt x="4396" y="15699"/>
                            </a:lnTo>
                            <a:lnTo>
                              <a:pt x="4396" y="15574"/>
                            </a:lnTo>
                            <a:lnTo>
                              <a:pt x="4521" y="15574"/>
                            </a:lnTo>
                            <a:lnTo>
                              <a:pt x="4647" y="15574"/>
                            </a:lnTo>
                            <a:lnTo>
                              <a:pt x="4898" y="15448"/>
                            </a:lnTo>
                            <a:lnTo>
                              <a:pt x="4898" y="15323"/>
                            </a:lnTo>
                            <a:lnTo>
                              <a:pt x="5024" y="15323"/>
                            </a:lnTo>
                            <a:lnTo>
                              <a:pt x="5024" y="15323"/>
                            </a:lnTo>
                            <a:lnTo>
                              <a:pt x="17584" y="8038"/>
                            </a:lnTo>
                            <a:lnTo>
                              <a:pt x="17834" y="7913"/>
                            </a:lnTo>
                            <a:lnTo>
                              <a:pt x="18211" y="7661"/>
                            </a:lnTo>
                            <a:lnTo>
                              <a:pt x="18337" y="7536"/>
                            </a:lnTo>
                            <a:lnTo>
                              <a:pt x="31524" y="0"/>
                            </a:lnTo>
                            <a:lnTo>
                              <a:pt x="32278" y="377"/>
                            </a:lnTo>
                            <a:lnTo>
                              <a:pt x="32404" y="502"/>
                            </a:lnTo>
                            <a:lnTo>
                              <a:pt x="33408" y="1130"/>
                            </a:lnTo>
                            <a:lnTo>
                              <a:pt x="33659" y="1256"/>
                            </a:lnTo>
                            <a:lnTo>
                              <a:pt x="34539" y="1758"/>
                            </a:lnTo>
                            <a:lnTo>
                              <a:pt x="34790" y="1884"/>
                            </a:lnTo>
                            <a:lnTo>
                              <a:pt x="35166" y="2135"/>
                            </a:lnTo>
                            <a:lnTo>
                              <a:pt x="35166" y="2135"/>
                            </a:lnTo>
                            <a:lnTo>
                              <a:pt x="36046" y="2512"/>
                            </a:lnTo>
                            <a:lnTo>
                              <a:pt x="36297" y="2638"/>
                            </a:lnTo>
                            <a:lnTo>
                              <a:pt x="36799" y="3014"/>
                            </a:lnTo>
                            <a:lnTo>
                              <a:pt x="36925" y="3014"/>
                            </a:lnTo>
                            <a:lnTo>
                              <a:pt x="37804" y="3642"/>
                            </a:lnTo>
                            <a:lnTo>
                              <a:pt x="37930" y="3642"/>
                            </a:lnTo>
                            <a:lnTo>
                              <a:pt x="38306" y="3893"/>
                            </a:lnTo>
                            <a:lnTo>
                              <a:pt x="38809" y="4145"/>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526"/>
                            </a:lnTo>
                            <a:lnTo>
                              <a:pt x="41320" y="5652"/>
                            </a:lnTo>
                            <a:lnTo>
                              <a:pt x="41572" y="5777"/>
                            </a:lnTo>
                            <a:lnTo>
                              <a:pt x="41572" y="5777"/>
                            </a:lnTo>
                            <a:lnTo>
                              <a:pt x="41698" y="5903"/>
                            </a:lnTo>
                            <a:lnTo>
                              <a:pt x="41949" y="6028"/>
                            </a:lnTo>
                            <a:lnTo>
                              <a:pt x="42074" y="6028"/>
                            </a:lnTo>
                            <a:lnTo>
                              <a:pt x="42451" y="6280"/>
                            </a:lnTo>
                            <a:lnTo>
                              <a:pt x="42577" y="6280"/>
                            </a:lnTo>
                            <a:lnTo>
                              <a:pt x="42827" y="6531"/>
                            </a:lnTo>
                            <a:lnTo>
                              <a:pt x="42953" y="6531"/>
                            </a:lnTo>
                            <a:lnTo>
                              <a:pt x="43456" y="6782"/>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20" name="Freeform: Shape 4119">
                      <a:extLst>
                        <a:ext uri="{FF2B5EF4-FFF2-40B4-BE49-F238E27FC236}">
                          <a16:creationId xmlns:a16="http://schemas.microsoft.com/office/drawing/2014/main" id="{57A7EBD6-B86F-4C22-B4E7-8DEDC2B68A53}"/>
                        </a:ext>
                      </a:extLst>
                    </p:cNvPr>
                    <p:cNvSpPr/>
                    <p:nvPr/>
                  </p:nvSpPr>
                  <p:spPr>
                    <a:xfrm>
                      <a:off x="7245442" y="3877714"/>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21" name="Graphic 4">
                    <a:extLst>
                      <a:ext uri="{FF2B5EF4-FFF2-40B4-BE49-F238E27FC236}">
                        <a16:creationId xmlns:a16="http://schemas.microsoft.com/office/drawing/2014/main" id="{84FB7ED1-A2DF-40A1-A747-5F7CF3F14040}"/>
                      </a:ext>
                    </a:extLst>
                  </p:cNvPr>
                  <p:cNvGrpSpPr/>
                  <p:nvPr/>
                </p:nvGrpSpPr>
                <p:grpSpPr>
                  <a:xfrm>
                    <a:off x="7259508" y="3867541"/>
                    <a:ext cx="43832" cy="27002"/>
                    <a:chOff x="7259508" y="3867541"/>
                    <a:chExt cx="43832" cy="27002"/>
                  </a:xfrm>
                  <a:solidFill>
                    <a:schemeClr val="accent1"/>
                  </a:solidFill>
                </p:grpSpPr>
                <p:grpSp>
                  <p:nvGrpSpPr>
                    <p:cNvPr id="4122" name="Graphic 4">
                      <a:extLst>
                        <a:ext uri="{FF2B5EF4-FFF2-40B4-BE49-F238E27FC236}">
                          <a16:creationId xmlns:a16="http://schemas.microsoft.com/office/drawing/2014/main" id="{84FB7ED1-A2DF-40A1-A747-5F7CF3F14040}"/>
                        </a:ext>
                      </a:extLst>
                    </p:cNvPr>
                    <p:cNvGrpSpPr/>
                    <p:nvPr/>
                  </p:nvGrpSpPr>
                  <p:grpSpPr>
                    <a:xfrm>
                      <a:off x="7259508" y="3867541"/>
                      <a:ext cx="43832" cy="27002"/>
                      <a:chOff x="7259508" y="3867541"/>
                      <a:chExt cx="43832" cy="27002"/>
                    </a:xfrm>
                    <a:solidFill>
                      <a:schemeClr val="accent1"/>
                    </a:solidFill>
                  </p:grpSpPr>
                  <p:sp>
                    <p:nvSpPr>
                      <p:cNvPr id="4123" name="Freeform: Shape 4122">
                        <a:extLst>
                          <a:ext uri="{FF2B5EF4-FFF2-40B4-BE49-F238E27FC236}">
                            <a16:creationId xmlns:a16="http://schemas.microsoft.com/office/drawing/2014/main" id="{327037D0-7D40-48F7-A7B1-2D9EDCF5C68E}"/>
                          </a:ext>
                        </a:extLst>
                      </p:cNvPr>
                      <p:cNvSpPr/>
                      <p:nvPr/>
                    </p:nvSpPr>
                    <p:spPr>
                      <a:xfrm>
                        <a:off x="7259508" y="3869174"/>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230 h 25370"/>
                          <a:gd name="connsiteX23" fmla="*/ 17584 w 43832"/>
                          <a:gd name="connsiteY23" fmla="*/ 22230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244 h 25370"/>
                          <a:gd name="connsiteX29" fmla="*/ 11806 w 43832"/>
                          <a:gd name="connsiteY29" fmla="*/ 25119 h 25370"/>
                          <a:gd name="connsiteX30" fmla="*/ 11680 w 43832"/>
                          <a:gd name="connsiteY30" fmla="*/ 24993 h 25370"/>
                          <a:gd name="connsiteX31" fmla="*/ 11680 w 43832"/>
                          <a:gd name="connsiteY31" fmla="*/ 24993 h 25370"/>
                          <a:gd name="connsiteX32" fmla="*/ 11304 w 43832"/>
                          <a:gd name="connsiteY32" fmla="*/ 24742 h 25370"/>
                          <a:gd name="connsiteX33" fmla="*/ 11178 w 43832"/>
                          <a:gd name="connsiteY33" fmla="*/ 24742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1 h 25370"/>
                          <a:gd name="connsiteX44" fmla="*/ 7285 w 43832"/>
                          <a:gd name="connsiteY44" fmla="*/ 22481 h 25370"/>
                          <a:gd name="connsiteX45" fmla="*/ 6531 w 43832"/>
                          <a:gd name="connsiteY45" fmla="*/ 22105 h 25370"/>
                          <a:gd name="connsiteX46" fmla="*/ 6531 w 43832"/>
                          <a:gd name="connsiteY46" fmla="*/ 21979 h 25370"/>
                          <a:gd name="connsiteX47" fmla="*/ 6154 w 43832"/>
                          <a:gd name="connsiteY47" fmla="*/ 21853 h 25370"/>
                          <a:gd name="connsiteX48" fmla="*/ 6028 w 43832"/>
                          <a:gd name="connsiteY48" fmla="*/ 21728 h 25370"/>
                          <a:gd name="connsiteX49" fmla="*/ 5526 w 43832"/>
                          <a:gd name="connsiteY49" fmla="*/ 21477 h 25370"/>
                          <a:gd name="connsiteX50" fmla="*/ 5400 w 43832"/>
                          <a:gd name="connsiteY50" fmla="*/ 21477 h 25370"/>
                          <a:gd name="connsiteX51" fmla="*/ 4521 w 43832"/>
                          <a:gd name="connsiteY51" fmla="*/ 20849 h 25370"/>
                          <a:gd name="connsiteX52" fmla="*/ 4396 w 43832"/>
                          <a:gd name="connsiteY52" fmla="*/ 20849 h 25370"/>
                          <a:gd name="connsiteX53" fmla="*/ 3642 w 43832"/>
                          <a:gd name="connsiteY53" fmla="*/ 20346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10 w 43832"/>
                          <a:gd name="connsiteY60" fmla="*/ 19467 h 25370"/>
                          <a:gd name="connsiteX61" fmla="*/ 2010 w 43832"/>
                          <a:gd name="connsiteY61" fmla="*/ 19467 h 25370"/>
                          <a:gd name="connsiteX62" fmla="*/ 1507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628 h 25370"/>
                          <a:gd name="connsiteX69" fmla="*/ 33409 w 43832"/>
                          <a:gd name="connsiteY69" fmla="*/ 1130 h 25370"/>
                          <a:gd name="connsiteX70" fmla="*/ 33659 w 43832"/>
                          <a:gd name="connsiteY70" fmla="*/ 1256 h 25370"/>
                          <a:gd name="connsiteX71" fmla="*/ 34539 w 43832"/>
                          <a:gd name="connsiteY71" fmla="*/ 1758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140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521 h 25370"/>
                          <a:gd name="connsiteX87" fmla="*/ 39311 w 43832"/>
                          <a:gd name="connsiteY87" fmla="*/ 4521 h 25370"/>
                          <a:gd name="connsiteX88" fmla="*/ 39563 w 43832"/>
                          <a:gd name="connsiteY88" fmla="*/ 4772 h 25370"/>
                          <a:gd name="connsiteX89" fmla="*/ 39813 w 43832"/>
                          <a:gd name="connsiteY89" fmla="*/ 4772 h 25370"/>
                          <a:gd name="connsiteX90" fmla="*/ 40190 w 43832"/>
                          <a:gd name="connsiteY90" fmla="*/ 5149 h 25370"/>
                          <a:gd name="connsiteX91" fmla="*/ 40442 w 43832"/>
                          <a:gd name="connsiteY91" fmla="*/ 5275 h 25370"/>
                          <a:gd name="connsiteX92" fmla="*/ 40693 w 43832"/>
                          <a:gd name="connsiteY92" fmla="*/ 5275 h 25370"/>
                          <a:gd name="connsiteX93" fmla="*/ 40693 w 43832"/>
                          <a:gd name="connsiteY93" fmla="*/ 5275 h 25370"/>
                          <a:gd name="connsiteX94" fmla="*/ 40818 w 43832"/>
                          <a:gd name="connsiteY94" fmla="*/ 5400 h 25370"/>
                          <a:gd name="connsiteX95" fmla="*/ 41195 w 43832"/>
                          <a:gd name="connsiteY95" fmla="*/ 5652 h 25370"/>
                          <a:gd name="connsiteX96" fmla="*/ 41320 w 43832"/>
                          <a:gd name="connsiteY96" fmla="*/ 5777 h 25370"/>
                          <a:gd name="connsiteX97" fmla="*/ 41572 w 43832"/>
                          <a:gd name="connsiteY97" fmla="*/ 5777 h 25370"/>
                          <a:gd name="connsiteX98" fmla="*/ 41572 w 43832"/>
                          <a:gd name="connsiteY98" fmla="*/ 5777 h 25370"/>
                          <a:gd name="connsiteX99" fmla="*/ 41698 w 43832"/>
                          <a:gd name="connsiteY99" fmla="*/ 5903 h 25370"/>
                          <a:gd name="connsiteX100" fmla="*/ 41823 w 43832"/>
                          <a:gd name="connsiteY100" fmla="*/ 6028 h 25370"/>
                          <a:gd name="connsiteX101" fmla="*/ 41949 w 43832"/>
                          <a:gd name="connsiteY101" fmla="*/ 6028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8133" y="16202"/>
                            </a:lnTo>
                            <a:lnTo>
                              <a:pt x="27631" y="16453"/>
                            </a:lnTo>
                            <a:lnTo>
                              <a:pt x="26500" y="17081"/>
                            </a:lnTo>
                            <a:lnTo>
                              <a:pt x="26500" y="17081"/>
                            </a:lnTo>
                            <a:lnTo>
                              <a:pt x="25998" y="17458"/>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1"/>
                            </a:lnTo>
                            <a:lnTo>
                              <a:pt x="17206" y="22481"/>
                            </a:lnTo>
                            <a:lnTo>
                              <a:pt x="12308" y="25370"/>
                            </a:lnTo>
                            <a:lnTo>
                              <a:pt x="12183" y="25370"/>
                            </a:lnTo>
                            <a:lnTo>
                              <a:pt x="12183" y="25244"/>
                            </a:lnTo>
                            <a:lnTo>
                              <a:pt x="11806" y="25119"/>
                            </a:lnTo>
                            <a:lnTo>
                              <a:pt x="11680" y="24993"/>
                            </a:lnTo>
                            <a:lnTo>
                              <a:pt x="11680" y="24993"/>
                            </a:lnTo>
                            <a:lnTo>
                              <a:pt x="11304" y="24742"/>
                            </a:lnTo>
                            <a:lnTo>
                              <a:pt x="11178" y="24742"/>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1"/>
                            </a:lnTo>
                            <a:lnTo>
                              <a:pt x="7285" y="22481"/>
                            </a:lnTo>
                            <a:lnTo>
                              <a:pt x="6531" y="22105"/>
                            </a:lnTo>
                            <a:lnTo>
                              <a:pt x="6531" y="21979"/>
                            </a:lnTo>
                            <a:lnTo>
                              <a:pt x="6154" y="21853"/>
                            </a:lnTo>
                            <a:lnTo>
                              <a:pt x="6028" y="21728"/>
                            </a:lnTo>
                            <a:lnTo>
                              <a:pt x="5526" y="21477"/>
                            </a:lnTo>
                            <a:lnTo>
                              <a:pt x="5400" y="21477"/>
                            </a:lnTo>
                            <a:lnTo>
                              <a:pt x="4521" y="20849"/>
                            </a:lnTo>
                            <a:lnTo>
                              <a:pt x="4396" y="20849"/>
                            </a:lnTo>
                            <a:lnTo>
                              <a:pt x="3642" y="20346"/>
                            </a:lnTo>
                            <a:lnTo>
                              <a:pt x="3642" y="20346"/>
                            </a:lnTo>
                            <a:lnTo>
                              <a:pt x="3391" y="20221"/>
                            </a:lnTo>
                            <a:lnTo>
                              <a:pt x="3266" y="20221"/>
                            </a:lnTo>
                            <a:lnTo>
                              <a:pt x="2763" y="19844"/>
                            </a:lnTo>
                            <a:lnTo>
                              <a:pt x="2763" y="19844"/>
                            </a:lnTo>
                            <a:lnTo>
                              <a:pt x="2638" y="19718"/>
                            </a:lnTo>
                            <a:lnTo>
                              <a:pt x="2010" y="19467"/>
                            </a:lnTo>
                            <a:lnTo>
                              <a:pt x="2010" y="19467"/>
                            </a:lnTo>
                            <a:lnTo>
                              <a:pt x="1507" y="19216"/>
                            </a:lnTo>
                            <a:lnTo>
                              <a:pt x="1381" y="19090"/>
                            </a:lnTo>
                            <a:lnTo>
                              <a:pt x="0" y="18211"/>
                            </a:lnTo>
                            <a:lnTo>
                              <a:pt x="0" y="16578"/>
                            </a:lnTo>
                            <a:lnTo>
                              <a:pt x="31524" y="0"/>
                            </a:lnTo>
                            <a:lnTo>
                              <a:pt x="32278" y="502"/>
                            </a:lnTo>
                            <a:lnTo>
                              <a:pt x="32404" y="628"/>
                            </a:lnTo>
                            <a:lnTo>
                              <a:pt x="33409" y="1130"/>
                            </a:lnTo>
                            <a:lnTo>
                              <a:pt x="33659" y="1256"/>
                            </a:lnTo>
                            <a:lnTo>
                              <a:pt x="34539" y="1758"/>
                            </a:lnTo>
                            <a:lnTo>
                              <a:pt x="34664" y="1884"/>
                            </a:lnTo>
                            <a:lnTo>
                              <a:pt x="35166" y="2135"/>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181" y="3893"/>
                            </a:lnTo>
                            <a:lnTo>
                              <a:pt x="38809" y="4270"/>
                            </a:lnTo>
                            <a:lnTo>
                              <a:pt x="38935" y="4270"/>
                            </a:lnTo>
                            <a:lnTo>
                              <a:pt x="39186" y="4521"/>
                            </a:lnTo>
                            <a:lnTo>
                              <a:pt x="39311" y="4521"/>
                            </a:lnTo>
                            <a:lnTo>
                              <a:pt x="39563" y="4772"/>
                            </a:lnTo>
                            <a:lnTo>
                              <a:pt x="39813" y="4772"/>
                            </a:lnTo>
                            <a:lnTo>
                              <a:pt x="40190" y="5149"/>
                            </a:lnTo>
                            <a:lnTo>
                              <a:pt x="40442" y="5275"/>
                            </a:lnTo>
                            <a:lnTo>
                              <a:pt x="40693" y="5275"/>
                            </a:lnTo>
                            <a:lnTo>
                              <a:pt x="40693" y="5275"/>
                            </a:lnTo>
                            <a:lnTo>
                              <a:pt x="40818" y="5400"/>
                            </a:lnTo>
                            <a:lnTo>
                              <a:pt x="41195" y="5652"/>
                            </a:lnTo>
                            <a:lnTo>
                              <a:pt x="41320" y="5777"/>
                            </a:lnTo>
                            <a:lnTo>
                              <a:pt x="41572" y="5777"/>
                            </a:lnTo>
                            <a:lnTo>
                              <a:pt x="41572" y="5777"/>
                            </a:lnTo>
                            <a:lnTo>
                              <a:pt x="41698" y="5903"/>
                            </a:lnTo>
                            <a:lnTo>
                              <a:pt x="41823" y="6028"/>
                            </a:lnTo>
                            <a:lnTo>
                              <a:pt x="41949" y="6028"/>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24" name="Freeform: Shape 4123">
                        <a:extLst>
                          <a:ext uri="{FF2B5EF4-FFF2-40B4-BE49-F238E27FC236}">
                            <a16:creationId xmlns:a16="http://schemas.microsoft.com/office/drawing/2014/main" id="{6DE780D7-DC60-4094-967F-DC22DCA99B2F}"/>
                          </a:ext>
                        </a:extLst>
                      </p:cNvPr>
                      <p:cNvSpPr/>
                      <p:nvPr/>
                    </p:nvSpPr>
                    <p:spPr>
                      <a:xfrm>
                        <a:off x="7259508" y="3867541"/>
                        <a:ext cx="43832" cy="25244"/>
                      </a:xfrm>
                      <a:custGeom>
                        <a:avLst/>
                        <a:gdLst>
                          <a:gd name="connsiteX0" fmla="*/ 43832 w 43832"/>
                          <a:gd name="connsiteY0" fmla="*/ 7033 h 25244"/>
                          <a:gd name="connsiteX1" fmla="*/ 42075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076 h 25244"/>
                          <a:gd name="connsiteX10" fmla="*/ 27631 w 43832"/>
                          <a:gd name="connsiteY10" fmla="*/ 16327 h 25244"/>
                          <a:gd name="connsiteX11" fmla="*/ 26500 w 43832"/>
                          <a:gd name="connsiteY11" fmla="*/ 17081 h 25244"/>
                          <a:gd name="connsiteX12" fmla="*/ 25998 w 43832"/>
                          <a:gd name="connsiteY12" fmla="*/ 17332 h 25244"/>
                          <a:gd name="connsiteX13" fmla="*/ 25998 w 43832"/>
                          <a:gd name="connsiteY13" fmla="*/ 17332 h 25244"/>
                          <a:gd name="connsiteX14" fmla="*/ 25998 w 43832"/>
                          <a:gd name="connsiteY14" fmla="*/ 17332 h 25244"/>
                          <a:gd name="connsiteX15" fmla="*/ 25747 w 43832"/>
                          <a:gd name="connsiteY15" fmla="*/ 17458 h 25244"/>
                          <a:gd name="connsiteX16" fmla="*/ 24240 w 43832"/>
                          <a:gd name="connsiteY16" fmla="*/ 18337 h 25244"/>
                          <a:gd name="connsiteX17" fmla="*/ 24240 w 43832"/>
                          <a:gd name="connsiteY17" fmla="*/ 18337 h 25244"/>
                          <a:gd name="connsiteX18" fmla="*/ 23989 w 43832"/>
                          <a:gd name="connsiteY18" fmla="*/ 18588 h 25244"/>
                          <a:gd name="connsiteX19" fmla="*/ 17584 w 43832"/>
                          <a:gd name="connsiteY19" fmla="*/ 22230 h 25244"/>
                          <a:gd name="connsiteX20" fmla="*/ 17206 w 43832"/>
                          <a:gd name="connsiteY20" fmla="*/ 22482 h 25244"/>
                          <a:gd name="connsiteX21" fmla="*/ 17206 w 43832"/>
                          <a:gd name="connsiteY21" fmla="*/ 22482 h 25244"/>
                          <a:gd name="connsiteX22" fmla="*/ 12308 w 43832"/>
                          <a:gd name="connsiteY22" fmla="*/ 25244 h 25244"/>
                          <a:gd name="connsiteX23" fmla="*/ 12183 w 43832"/>
                          <a:gd name="connsiteY23" fmla="*/ 25244 h 25244"/>
                          <a:gd name="connsiteX24" fmla="*/ 12183 w 43832"/>
                          <a:gd name="connsiteY24" fmla="*/ 25244 h 25244"/>
                          <a:gd name="connsiteX25" fmla="*/ 11806 w 43832"/>
                          <a:gd name="connsiteY25" fmla="*/ 24993 h 25244"/>
                          <a:gd name="connsiteX26" fmla="*/ 11680 w 43832"/>
                          <a:gd name="connsiteY26" fmla="*/ 24993 h 25244"/>
                          <a:gd name="connsiteX27" fmla="*/ 11304 w 43832"/>
                          <a:gd name="connsiteY27" fmla="*/ 24742 h 25244"/>
                          <a:gd name="connsiteX28" fmla="*/ 11178 w 43832"/>
                          <a:gd name="connsiteY28" fmla="*/ 24617 h 25244"/>
                          <a:gd name="connsiteX29" fmla="*/ 10173 w 43832"/>
                          <a:gd name="connsiteY29" fmla="*/ 23989 h 25244"/>
                          <a:gd name="connsiteX30" fmla="*/ 10047 w 43832"/>
                          <a:gd name="connsiteY30" fmla="*/ 23989 h 25244"/>
                          <a:gd name="connsiteX31" fmla="*/ 9420 w 43832"/>
                          <a:gd name="connsiteY31" fmla="*/ 23612 h 25244"/>
                          <a:gd name="connsiteX32" fmla="*/ 9168 w 43832"/>
                          <a:gd name="connsiteY32" fmla="*/ 23486 h 25244"/>
                          <a:gd name="connsiteX33" fmla="*/ 8666 w 43832"/>
                          <a:gd name="connsiteY33" fmla="*/ 23235 h 25244"/>
                          <a:gd name="connsiteX34" fmla="*/ 8540 w 43832"/>
                          <a:gd name="connsiteY34" fmla="*/ 23109 h 25244"/>
                          <a:gd name="connsiteX35" fmla="*/ 8164 w 43832"/>
                          <a:gd name="connsiteY35" fmla="*/ 22858 h 25244"/>
                          <a:gd name="connsiteX36" fmla="*/ 8038 w 43832"/>
                          <a:gd name="connsiteY36" fmla="*/ 22858 h 25244"/>
                          <a:gd name="connsiteX37" fmla="*/ 7410 w 43832"/>
                          <a:gd name="connsiteY37" fmla="*/ 22482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602 h 25244"/>
                          <a:gd name="connsiteX44" fmla="*/ 5526 w 43832"/>
                          <a:gd name="connsiteY44" fmla="*/ 21351 h 25244"/>
                          <a:gd name="connsiteX45" fmla="*/ 5400 w 43832"/>
                          <a:gd name="connsiteY45" fmla="*/ 21351 h 25244"/>
                          <a:gd name="connsiteX46" fmla="*/ 4521 w 43832"/>
                          <a:gd name="connsiteY46" fmla="*/ 20849 h 25244"/>
                          <a:gd name="connsiteX47" fmla="*/ 4396 w 43832"/>
                          <a:gd name="connsiteY47" fmla="*/ 20723 h 25244"/>
                          <a:gd name="connsiteX48" fmla="*/ 3642 w 43832"/>
                          <a:gd name="connsiteY48" fmla="*/ 20346 h 25244"/>
                          <a:gd name="connsiteX49" fmla="*/ 3642 w 43832"/>
                          <a:gd name="connsiteY49" fmla="*/ 20221 h 25244"/>
                          <a:gd name="connsiteX50" fmla="*/ 3391 w 43832"/>
                          <a:gd name="connsiteY50" fmla="*/ 20095 h 25244"/>
                          <a:gd name="connsiteX51" fmla="*/ 3266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10 w 43832"/>
                          <a:gd name="connsiteY55" fmla="*/ 19342 h 25244"/>
                          <a:gd name="connsiteX56" fmla="*/ 2010 w 43832"/>
                          <a:gd name="connsiteY56" fmla="*/ 19342 h 25244"/>
                          <a:gd name="connsiteX57" fmla="*/ 1507 w 43832"/>
                          <a:gd name="connsiteY57" fmla="*/ 19090 h 25244"/>
                          <a:gd name="connsiteX58" fmla="*/ 1381 w 43832"/>
                          <a:gd name="connsiteY58" fmla="*/ 18965 h 25244"/>
                          <a:gd name="connsiteX59" fmla="*/ 0 w 43832"/>
                          <a:gd name="connsiteY59" fmla="*/ 18086 h 25244"/>
                          <a:gd name="connsiteX60" fmla="*/ 4396 w 43832"/>
                          <a:gd name="connsiteY60" fmla="*/ 15574 h 25244"/>
                          <a:gd name="connsiteX61" fmla="*/ 4396 w 43832"/>
                          <a:gd name="connsiteY61" fmla="*/ 15574 h 25244"/>
                          <a:gd name="connsiteX62" fmla="*/ 4521 w 43832"/>
                          <a:gd name="connsiteY62" fmla="*/ 15574 h 25244"/>
                          <a:gd name="connsiteX63" fmla="*/ 4521 w 43832"/>
                          <a:gd name="connsiteY63" fmla="*/ 15448 h 25244"/>
                          <a:gd name="connsiteX64" fmla="*/ 4773 w 43832"/>
                          <a:gd name="connsiteY64" fmla="*/ 15323 h 25244"/>
                          <a:gd name="connsiteX65" fmla="*/ 4898 w 43832"/>
                          <a:gd name="connsiteY65" fmla="*/ 15323 h 25244"/>
                          <a:gd name="connsiteX66" fmla="*/ 5024 w 43832"/>
                          <a:gd name="connsiteY66" fmla="*/ 15197 h 25244"/>
                          <a:gd name="connsiteX67" fmla="*/ 5024 w 43832"/>
                          <a:gd name="connsiteY67" fmla="*/ 15197 h 25244"/>
                          <a:gd name="connsiteX68" fmla="*/ 17584 w 43832"/>
                          <a:gd name="connsiteY68" fmla="*/ 8038 h 25244"/>
                          <a:gd name="connsiteX69" fmla="*/ 17834 w 43832"/>
                          <a:gd name="connsiteY69" fmla="*/ 7913 h 25244"/>
                          <a:gd name="connsiteX70" fmla="*/ 18086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9 w 43832"/>
                          <a:gd name="connsiteY75" fmla="*/ 1005 h 25244"/>
                          <a:gd name="connsiteX76" fmla="*/ 33659 w 43832"/>
                          <a:gd name="connsiteY76" fmla="*/ 1130 h 25244"/>
                          <a:gd name="connsiteX77" fmla="*/ 34539 w 43832"/>
                          <a:gd name="connsiteY77" fmla="*/ 1758 h 25244"/>
                          <a:gd name="connsiteX78" fmla="*/ 34664 w 43832"/>
                          <a:gd name="connsiteY78" fmla="*/ 1758 h 25244"/>
                          <a:gd name="connsiteX79" fmla="*/ 35166 w 43832"/>
                          <a:gd name="connsiteY79" fmla="*/ 2010 h 25244"/>
                          <a:gd name="connsiteX80" fmla="*/ 35166 w 43832"/>
                          <a:gd name="connsiteY80" fmla="*/ 2135 h 25244"/>
                          <a:gd name="connsiteX81" fmla="*/ 36046 w 43832"/>
                          <a:gd name="connsiteY81" fmla="*/ 2512 h 25244"/>
                          <a:gd name="connsiteX82" fmla="*/ 36171 w 43832"/>
                          <a:gd name="connsiteY82" fmla="*/ 2638 h 25244"/>
                          <a:gd name="connsiteX83" fmla="*/ 36799 w 43832"/>
                          <a:gd name="connsiteY83" fmla="*/ 3014 h 25244"/>
                          <a:gd name="connsiteX84" fmla="*/ 36799 w 43832"/>
                          <a:gd name="connsiteY84" fmla="*/ 3014 h 25244"/>
                          <a:gd name="connsiteX85" fmla="*/ 37804 w 43832"/>
                          <a:gd name="connsiteY85" fmla="*/ 3517 h 25244"/>
                          <a:gd name="connsiteX86" fmla="*/ 37930 w 43832"/>
                          <a:gd name="connsiteY86" fmla="*/ 3642 h 25244"/>
                          <a:gd name="connsiteX87" fmla="*/ 38181 w 43832"/>
                          <a:gd name="connsiteY87" fmla="*/ 3768 h 25244"/>
                          <a:gd name="connsiteX88" fmla="*/ 38809 w 43832"/>
                          <a:gd name="connsiteY88" fmla="*/ 4145 h 25244"/>
                          <a:gd name="connsiteX89" fmla="*/ 38935 w 43832"/>
                          <a:gd name="connsiteY89" fmla="*/ 4145 h 25244"/>
                          <a:gd name="connsiteX90" fmla="*/ 39186 w 43832"/>
                          <a:gd name="connsiteY90" fmla="*/ 4396 h 25244"/>
                          <a:gd name="connsiteX91" fmla="*/ 39311 w 43832"/>
                          <a:gd name="connsiteY91" fmla="*/ 4396 h 25244"/>
                          <a:gd name="connsiteX92" fmla="*/ 39563 w 43832"/>
                          <a:gd name="connsiteY92" fmla="*/ 4647 h 25244"/>
                          <a:gd name="connsiteX93" fmla="*/ 39813 w 43832"/>
                          <a:gd name="connsiteY93" fmla="*/ 4647 h 25244"/>
                          <a:gd name="connsiteX94" fmla="*/ 40316 w 43832"/>
                          <a:gd name="connsiteY94" fmla="*/ 5024 h 25244"/>
                          <a:gd name="connsiteX95" fmla="*/ 40442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823 w 43832"/>
                          <a:gd name="connsiteY104" fmla="*/ 5903 h 25244"/>
                          <a:gd name="connsiteX105" fmla="*/ 41949 w 43832"/>
                          <a:gd name="connsiteY105" fmla="*/ 6028 h 25244"/>
                          <a:gd name="connsiteX106" fmla="*/ 42451 w 43832"/>
                          <a:gd name="connsiteY106" fmla="*/ 6280 h 25244"/>
                          <a:gd name="connsiteX107" fmla="*/ 42577 w 43832"/>
                          <a:gd name="connsiteY107" fmla="*/ 6280 h 25244"/>
                          <a:gd name="connsiteX108" fmla="*/ 42828 w 43832"/>
                          <a:gd name="connsiteY108" fmla="*/ 6531 h 25244"/>
                          <a:gd name="connsiteX109" fmla="*/ 42953 w 43832"/>
                          <a:gd name="connsiteY109" fmla="*/ 6531 h 25244"/>
                          <a:gd name="connsiteX110" fmla="*/ 43330 w 43832"/>
                          <a:gd name="connsiteY110" fmla="*/ 6782 h 25244"/>
                          <a:gd name="connsiteX111" fmla="*/ 43330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5" y="8038"/>
                            </a:lnTo>
                            <a:lnTo>
                              <a:pt x="41823" y="8164"/>
                            </a:lnTo>
                            <a:lnTo>
                              <a:pt x="41823" y="8164"/>
                            </a:lnTo>
                            <a:lnTo>
                              <a:pt x="39060" y="9796"/>
                            </a:lnTo>
                            <a:lnTo>
                              <a:pt x="38935" y="9796"/>
                            </a:lnTo>
                            <a:lnTo>
                              <a:pt x="38432" y="10173"/>
                            </a:lnTo>
                            <a:lnTo>
                              <a:pt x="38181" y="10299"/>
                            </a:lnTo>
                            <a:lnTo>
                              <a:pt x="37553" y="10676"/>
                            </a:lnTo>
                            <a:lnTo>
                              <a:pt x="28133" y="16076"/>
                            </a:lnTo>
                            <a:lnTo>
                              <a:pt x="27631" y="16327"/>
                            </a:lnTo>
                            <a:lnTo>
                              <a:pt x="26500" y="17081"/>
                            </a:lnTo>
                            <a:lnTo>
                              <a:pt x="25998" y="17332"/>
                            </a:lnTo>
                            <a:lnTo>
                              <a:pt x="25998" y="17332"/>
                            </a:lnTo>
                            <a:lnTo>
                              <a:pt x="25998" y="17332"/>
                            </a:lnTo>
                            <a:lnTo>
                              <a:pt x="25747" y="17458"/>
                            </a:lnTo>
                            <a:lnTo>
                              <a:pt x="24240" y="18337"/>
                            </a:lnTo>
                            <a:lnTo>
                              <a:pt x="24240" y="18337"/>
                            </a:lnTo>
                            <a:lnTo>
                              <a:pt x="23989" y="18588"/>
                            </a:lnTo>
                            <a:lnTo>
                              <a:pt x="17584" y="22230"/>
                            </a:lnTo>
                            <a:lnTo>
                              <a:pt x="17206" y="22482"/>
                            </a:lnTo>
                            <a:lnTo>
                              <a:pt x="17206" y="22482"/>
                            </a:lnTo>
                            <a:lnTo>
                              <a:pt x="12308" y="25244"/>
                            </a:lnTo>
                            <a:lnTo>
                              <a:pt x="12183" y="25244"/>
                            </a:lnTo>
                            <a:lnTo>
                              <a:pt x="12183" y="25244"/>
                            </a:lnTo>
                            <a:lnTo>
                              <a:pt x="11806" y="24993"/>
                            </a:lnTo>
                            <a:lnTo>
                              <a:pt x="11680" y="24993"/>
                            </a:lnTo>
                            <a:lnTo>
                              <a:pt x="11304" y="24742"/>
                            </a:lnTo>
                            <a:lnTo>
                              <a:pt x="11178" y="24617"/>
                            </a:lnTo>
                            <a:lnTo>
                              <a:pt x="10173" y="23989"/>
                            </a:lnTo>
                            <a:lnTo>
                              <a:pt x="10047" y="23989"/>
                            </a:lnTo>
                            <a:lnTo>
                              <a:pt x="9420" y="23612"/>
                            </a:lnTo>
                            <a:lnTo>
                              <a:pt x="9168" y="23486"/>
                            </a:lnTo>
                            <a:lnTo>
                              <a:pt x="8666" y="23235"/>
                            </a:lnTo>
                            <a:lnTo>
                              <a:pt x="8540" y="23109"/>
                            </a:lnTo>
                            <a:lnTo>
                              <a:pt x="8164" y="22858"/>
                            </a:lnTo>
                            <a:lnTo>
                              <a:pt x="8038" y="22858"/>
                            </a:lnTo>
                            <a:lnTo>
                              <a:pt x="7410" y="22482"/>
                            </a:lnTo>
                            <a:lnTo>
                              <a:pt x="7285" y="22356"/>
                            </a:lnTo>
                            <a:lnTo>
                              <a:pt x="7285" y="22356"/>
                            </a:lnTo>
                            <a:lnTo>
                              <a:pt x="6531" y="21979"/>
                            </a:lnTo>
                            <a:lnTo>
                              <a:pt x="6531" y="21979"/>
                            </a:lnTo>
                            <a:lnTo>
                              <a:pt x="6154" y="21728"/>
                            </a:lnTo>
                            <a:lnTo>
                              <a:pt x="6028" y="21602"/>
                            </a:lnTo>
                            <a:lnTo>
                              <a:pt x="5526" y="21351"/>
                            </a:lnTo>
                            <a:lnTo>
                              <a:pt x="5400" y="21351"/>
                            </a:lnTo>
                            <a:lnTo>
                              <a:pt x="4521" y="20849"/>
                            </a:lnTo>
                            <a:lnTo>
                              <a:pt x="4396" y="20723"/>
                            </a:lnTo>
                            <a:lnTo>
                              <a:pt x="3642" y="20346"/>
                            </a:lnTo>
                            <a:lnTo>
                              <a:pt x="3642" y="20221"/>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086"/>
                            </a:lnTo>
                            <a:lnTo>
                              <a:pt x="4396" y="15574"/>
                            </a:lnTo>
                            <a:lnTo>
                              <a:pt x="4396" y="15574"/>
                            </a:lnTo>
                            <a:lnTo>
                              <a:pt x="4521" y="15574"/>
                            </a:lnTo>
                            <a:lnTo>
                              <a:pt x="4521" y="15448"/>
                            </a:lnTo>
                            <a:lnTo>
                              <a:pt x="4773" y="15323"/>
                            </a:lnTo>
                            <a:lnTo>
                              <a:pt x="4898" y="15323"/>
                            </a:lnTo>
                            <a:lnTo>
                              <a:pt x="5024" y="15197"/>
                            </a:lnTo>
                            <a:lnTo>
                              <a:pt x="5024" y="15197"/>
                            </a:lnTo>
                            <a:lnTo>
                              <a:pt x="17584" y="8038"/>
                            </a:lnTo>
                            <a:lnTo>
                              <a:pt x="17834" y="7913"/>
                            </a:lnTo>
                            <a:lnTo>
                              <a:pt x="18086" y="7661"/>
                            </a:lnTo>
                            <a:lnTo>
                              <a:pt x="18337" y="7536"/>
                            </a:lnTo>
                            <a:lnTo>
                              <a:pt x="31524" y="0"/>
                            </a:lnTo>
                            <a:lnTo>
                              <a:pt x="32278" y="377"/>
                            </a:lnTo>
                            <a:lnTo>
                              <a:pt x="32404" y="502"/>
                            </a:lnTo>
                            <a:lnTo>
                              <a:pt x="33409" y="1005"/>
                            </a:lnTo>
                            <a:lnTo>
                              <a:pt x="33659" y="1130"/>
                            </a:lnTo>
                            <a:lnTo>
                              <a:pt x="34539" y="1758"/>
                            </a:lnTo>
                            <a:lnTo>
                              <a:pt x="34664" y="1758"/>
                            </a:lnTo>
                            <a:lnTo>
                              <a:pt x="35166" y="2010"/>
                            </a:lnTo>
                            <a:lnTo>
                              <a:pt x="35166" y="2135"/>
                            </a:lnTo>
                            <a:lnTo>
                              <a:pt x="36046" y="2512"/>
                            </a:lnTo>
                            <a:lnTo>
                              <a:pt x="36171" y="2638"/>
                            </a:lnTo>
                            <a:lnTo>
                              <a:pt x="36799" y="3014"/>
                            </a:lnTo>
                            <a:lnTo>
                              <a:pt x="36799" y="3014"/>
                            </a:lnTo>
                            <a:lnTo>
                              <a:pt x="37804" y="3517"/>
                            </a:lnTo>
                            <a:lnTo>
                              <a:pt x="37930" y="3642"/>
                            </a:lnTo>
                            <a:lnTo>
                              <a:pt x="38181" y="3768"/>
                            </a:lnTo>
                            <a:lnTo>
                              <a:pt x="38809" y="4145"/>
                            </a:lnTo>
                            <a:lnTo>
                              <a:pt x="38935" y="4145"/>
                            </a:lnTo>
                            <a:lnTo>
                              <a:pt x="39186" y="4396"/>
                            </a:lnTo>
                            <a:lnTo>
                              <a:pt x="39311" y="4396"/>
                            </a:lnTo>
                            <a:lnTo>
                              <a:pt x="39563" y="4647"/>
                            </a:lnTo>
                            <a:lnTo>
                              <a:pt x="39813" y="4647"/>
                            </a:lnTo>
                            <a:lnTo>
                              <a:pt x="40316"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8"/>
                            </a:lnTo>
                            <a:lnTo>
                              <a:pt x="42451" y="6280"/>
                            </a:lnTo>
                            <a:lnTo>
                              <a:pt x="42577" y="6280"/>
                            </a:lnTo>
                            <a:lnTo>
                              <a:pt x="42828" y="6531"/>
                            </a:lnTo>
                            <a:lnTo>
                              <a:pt x="42953" y="6531"/>
                            </a:lnTo>
                            <a:lnTo>
                              <a:pt x="43330" y="6782"/>
                            </a:lnTo>
                            <a:lnTo>
                              <a:pt x="43330"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25" name="Freeform: Shape 4124">
                      <a:extLst>
                        <a:ext uri="{FF2B5EF4-FFF2-40B4-BE49-F238E27FC236}">
                          <a16:creationId xmlns:a16="http://schemas.microsoft.com/office/drawing/2014/main" id="{304C4085-C48D-4DC8-A2DF-1FD90A65974B}"/>
                        </a:ext>
                      </a:extLst>
                    </p:cNvPr>
                    <p:cNvSpPr/>
                    <p:nvPr/>
                  </p:nvSpPr>
                  <p:spPr>
                    <a:xfrm>
                      <a:off x="7259508" y="3885752"/>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26" name="Graphic 4">
                    <a:extLst>
                      <a:ext uri="{FF2B5EF4-FFF2-40B4-BE49-F238E27FC236}">
                        <a16:creationId xmlns:a16="http://schemas.microsoft.com/office/drawing/2014/main" id="{84FB7ED1-A2DF-40A1-A747-5F7CF3F14040}"/>
                      </a:ext>
                    </a:extLst>
                  </p:cNvPr>
                  <p:cNvGrpSpPr/>
                  <p:nvPr/>
                </p:nvGrpSpPr>
                <p:grpSpPr>
                  <a:xfrm>
                    <a:off x="7245442" y="3856740"/>
                    <a:ext cx="43832" cy="27002"/>
                    <a:chOff x="7245442" y="3856740"/>
                    <a:chExt cx="43832" cy="27002"/>
                  </a:xfrm>
                  <a:solidFill>
                    <a:schemeClr val="accent1"/>
                  </a:solidFill>
                </p:grpSpPr>
                <p:grpSp>
                  <p:nvGrpSpPr>
                    <p:cNvPr id="4127" name="Graphic 4">
                      <a:extLst>
                        <a:ext uri="{FF2B5EF4-FFF2-40B4-BE49-F238E27FC236}">
                          <a16:creationId xmlns:a16="http://schemas.microsoft.com/office/drawing/2014/main" id="{84FB7ED1-A2DF-40A1-A747-5F7CF3F14040}"/>
                        </a:ext>
                      </a:extLst>
                    </p:cNvPr>
                    <p:cNvGrpSpPr/>
                    <p:nvPr/>
                  </p:nvGrpSpPr>
                  <p:grpSpPr>
                    <a:xfrm>
                      <a:off x="7245442" y="3856740"/>
                      <a:ext cx="43832" cy="27002"/>
                      <a:chOff x="7245442" y="3856740"/>
                      <a:chExt cx="43832" cy="27002"/>
                    </a:xfrm>
                    <a:solidFill>
                      <a:schemeClr val="accent1"/>
                    </a:solidFill>
                  </p:grpSpPr>
                  <p:sp>
                    <p:nvSpPr>
                      <p:cNvPr id="4128" name="Freeform: Shape 4127">
                        <a:extLst>
                          <a:ext uri="{FF2B5EF4-FFF2-40B4-BE49-F238E27FC236}">
                            <a16:creationId xmlns:a16="http://schemas.microsoft.com/office/drawing/2014/main" id="{3148CD24-207E-4B2C-B5E2-F94015D79A43}"/>
                          </a:ext>
                        </a:extLst>
                      </p:cNvPr>
                      <p:cNvSpPr/>
                      <p:nvPr/>
                    </p:nvSpPr>
                    <p:spPr>
                      <a:xfrm>
                        <a:off x="7245442" y="3858498"/>
                        <a:ext cx="43832" cy="25244"/>
                      </a:xfrm>
                      <a:custGeom>
                        <a:avLst/>
                        <a:gdLst>
                          <a:gd name="connsiteX0" fmla="*/ 43832 w 43832"/>
                          <a:gd name="connsiteY0" fmla="*/ 7033 h 25244"/>
                          <a:gd name="connsiteX1" fmla="*/ 42074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9060 w 43832"/>
                          <a:gd name="connsiteY5" fmla="*/ 9922 h 25244"/>
                          <a:gd name="connsiteX6" fmla="*/ 38432 w 43832"/>
                          <a:gd name="connsiteY6" fmla="*/ 10173 h 25244"/>
                          <a:gd name="connsiteX7" fmla="*/ 38306 w 43832"/>
                          <a:gd name="connsiteY7" fmla="*/ 10299 h 25244"/>
                          <a:gd name="connsiteX8" fmla="*/ 37678 w 43832"/>
                          <a:gd name="connsiteY8" fmla="*/ 10676 h 25244"/>
                          <a:gd name="connsiteX9" fmla="*/ 28133 w 43832"/>
                          <a:gd name="connsiteY9" fmla="*/ 16202 h 25244"/>
                          <a:gd name="connsiteX10" fmla="*/ 28133 w 43832"/>
                          <a:gd name="connsiteY10" fmla="*/ 16202 h 25244"/>
                          <a:gd name="connsiteX11" fmla="*/ 27631 w 43832"/>
                          <a:gd name="connsiteY11" fmla="*/ 16453 h 25244"/>
                          <a:gd name="connsiteX12" fmla="*/ 26626 w 43832"/>
                          <a:gd name="connsiteY12" fmla="*/ 17081 h 25244"/>
                          <a:gd name="connsiteX13" fmla="*/ 26626 w 43832"/>
                          <a:gd name="connsiteY13" fmla="*/ 17081 h 25244"/>
                          <a:gd name="connsiteX14" fmla="*/ 26124 w 43832"/>
                          <a:gd name="connsiteY14" fmla="*/ 17332 h 25244"/>
                          <a:gd name="connsiteX15" fmla="*/ 25998 w 43832"/>
                          <a:gd name="connsiteY15" fmla="*/ 17458 h 25244"/>
                          <a:gd name="connsiteX16" fmla="*/ 25998 w 43832"/>
                          <a:gd name="connsiteY16" fmla="*/ 17458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8 w 43832"/>
                          <a:gd name="connsiteY21" fmla="*/ 18588 h 25244"/>
                          <a:gd name="connsiteX22" fmla="*/ 17584 w 43832"/>
                          <a:gd name="connsiteY22" fmla="*/ 22230 h 25244"/>
                          <a:gd name="connsiteX23" fmla="*/ 17584 w 43832"/>
                          <a:gd name="connsiteY23" fmla="*/ 22230 h 25244"/>
                          <a:gd name="connsiteX24" fmla="*/ 17206 w 43832"/>
                          <a:gd name="connsiteY24" fmla="*/ 22482 h 25244"/>
                          <a:gd name="connsiteX25" fmla="*/ 17206 w 43832"/>
                          <a:gd name="connsiteY25" fmla="*/ 22482 h 25244"/>
                          <a:gd name="connsiteX26" fmla="*/ 12308 w 43832"/>
                          <a:gd name="connsiteY26" fmla="*/ 25245 h 25244"/>
                          <a:gd name="connsiteX27" fmla="*/ 12308 w 43832"/>
                          <a:gd name="connsiteY27" fmla="*/ 25245 h 25244"/>
                          <a:gd name="connsiteX28" fmla="*/ 12183 w 43832"/>
                          <a:gd name="connsiteY28" fmla="*/ 25245 h 25244"/>
                          <a:gd name="connsiteX29" fmla="*/ 11806 w 43832"/>
                          <a:gd name="connsiteY29" fmla="*/ 24993 h 25244"/>
                          <a:gd name="connsiteX30" fmla="*/ 11806 w 43832"/>
                          <a:gd name="connsiteY30" fmla="*/ 24993 h 25244"/>
                          <a:gd name="connsiteX31" fmla="*/ 11806 w 43832"/>
                          <a:gd name="connsiteY31" fmla="*/ 24993 h 25244"/>
                          <a:gd name="connsiteX32" fmla="*/ 11304 w 43832"/>
                          <a:gd name="connsiteY32" fmla="*/ 24742 h 25244"/>
                          <a:gd name="connsiteX33" fmla="*/ 11178 w 43832"/>
                          <a:gd name="connsiteY33" fmla="*/ 24617 h 25244"/>
                          <a:gd name="connsiteX34" fmla="*/ 10173 w 43832"/>
                          <a:gd name="connsiteY34" fmla="*/ 24114 h 25244"/>
                          <a:gd name="connsiteX35" fmla="*/ 10173 w 43832"/>
                          <a:gd name="connsiteY35" fmla="*/ 23989 h 25244"/>
                          <a:gd name="connsiteX36" fmla="*/ 9420 w 43832"/>
                          <a:gd name="connsiteY36" fmla="*/ 23612 h 25244"/>
                          <a:gd name="connsiteX37" fmla="*/ 9294 w 43832"/>
                          <a:gd name="connsiteY37" fmla="*/ 23486 h 25244"/>
                          <a:gd name="connsiteX38" fmla="*/ 8666 w 43832"/>
                          <a:gd name="connsiteY38" fmla="*/ 23235 h 25244"/>
                          <a:gd name="connsiteX39" fmla="*/ 8666 w 43832"/>
                          <a:gd name="connsiteY39" fmla="*/ 23235 h 25244"/>
                          <a:gd name="connsiteX40" fmla="*/ 8164 w 43832"/>
                          <a:gd name="connsiteY40" fmla="*/ 22858 h 25244"/>
                          <a:gd name="connsiteX41" fmla="*/ 8038 w 43832"/>
                          <a:gd name="connsiteY41" fmla="*/ 22858 h 25244"/>
                          <a:gd name="connsiteX42" fmla="*/ 7410 w 43832"/>
                          <a:gd name="connsiteY42" fmla="*/ 22482 h 25244"/>
                          <a:gd name="connsiteX43" fmla="*/ 7285 w 43832"/>
                          <a:gd name="connsiteY43" fmla="*/ 22356 h 25244"/>
                          <a:gd name="connsiteX44" fmla="*/ 7285 w 43832"/>
                          <a:gd name="connsiteY44" fmla="*/ 22356 h 25244"/>
                          <a:gd name="connsiteX45" fmla="*/ 6657 w 43832"/>
                          <a:gd name="connsiteY45" fmla="*/ 21979 h 25244"/>
                          <a:gd name="connsiteX46" fmla="*/ 6531 w 43832"/>
                          <a:gd name="connsiteY46" fmla="*/ 21979 h 25244"/>
                          <a:gd name="connsiteX47" fmla="*/ 6154 w 43832"/>
                          <a:gd name="connsiteY47" fmla="*/ 21728 h 25244"/>
                          <a:gd name="connsiteX48" fmla="*/ 6028 w 43832"/>
                          <a:gd name="connsiteY48" fmla="*/ 21728 h 25244"/>
                          <a:gd name="connsiteX49" fmla="*/ 5526 w 43832"/>
                          <a:gd name="connsiteY49" fmla="*/ 21351 h 25244"/>
                          <a:gd name="connsiteX50" fmla="*/ 5526 w 43832"/>
                          <a:gd name="connsiteY50" fmla="*/ 21351 h 25244"/>
                          <a:gd name="connsiteX51" fmla="*/ 4647 w 43832"/>
                          <a:gd name="connsiteY51" fmla="*/ 20849 h 25244"/>
                          <a:gd name="connsiteX52" fmla="*/ 4396 w 43832"/>
                          <a:gd name="connsiteY52" fmla="*/ 20723 h 25244"/>
                          <a:gd name="connsiteX53" fmla="*/ 3768 w 43832"/>
                          <a:gd name="connsiteY53" fmla="*/ 20346 h 25244"/>
                          <a:gd name="connsiteX54" fmla="*/ 3642 w 43832"/>
                          <a:gd name="connsiteY54" fmla="*/ 20346 h 25244"/>
                          <a:gd name="connsiteX55" fmla="*/ 3391 w 43832"/>
                          <a:gd name="connsiteY55" fmla="*/ 20221 h 25244"/>
                          <a:gd name="connsiteX56" fmla="*/ 3391 w 43832"/>
                          <a:gd name="connsiteY56" fmla="*/ 20095 h 25244"/>
                          <a:gd name="connsiteX57" fmla="*/ 2763 w 43832"/>
                          <a:gd name="connsiteY57" fmla="*/ 19844 h 25244"/>
                          <a:gd name="connsiteX58" fmla="*/ 2763 w 43832"/>
                          <a:gd name="connsiteY58" fmla="*/ 19844 h 25244"/>
                          <a:gd name="connsiteX59" fmla="*/ 2638 w 43832"/>
                          <a:gd name="connsiteY59" fmla="*/ 19718 h 25244"/>
                          <a:gd name="connsiteX60" fmla="*/ 2009 w 43832"/>
                          <a:gd name="connsiteY60" fmla="*/ 19342 h 25244"/>
                          <a:gd name="connsiteX61" fmla="*/ 2009 w 43832"/>
                          <a:gd name="connsiteY61" fmla="*/ 19342 h 25244"/>
                          <a:gd name="connsiteX62" fmla="*/ 1633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8 w 43832"/>
                          <a:gd name="connsiteY69" fmla="*/ 1130 h 25244"/>
                          <a:gd name="connsiteX70" fmla="*/ 33659 w 43832"/>
                          <a:gd name="connsiteY70" fmla="*/ 1256 h 25244"/>
                          <a:gd name="connsiteX71" fmla="*/ 34539 w 43832"/>
                          <a:gd name="connsiteY71" fmla="*/ 1758 h 25244"/>
                          <a:gd name="connsiteX72" fmla="*/ 34790 w 43832"/>
                          <a:gd name="connsiteY72" fmla="*/ 1884 h 25244"/>
                          <a:gd name="connsiteX73" fmla="*/ 35166 w 43832"/>
                          <a:gd name="connsiteY73" fmla="*/ 2135 h 25244"/>
                          <a:gd name="connsiteX74" fmla="*/ 35166 w 43832"/>
                          <a:gd name="connsiteY74" fmla="*/ 2135 h 25244"/>
                          <a:gd name="connsiteX75" fmla="*/ 35166 w 43832"/>
                          <a:gd name="connsiteY75" fmla="*/ 2135 h 25244"/>
                          <a:gd name="connsiteX76" fmla="*/ 36046 w 43832"/>
                          <a:gd name="connsiteY76" fmla="*/ 2512 h 25244"/>
                          <a:gd name="connsiteX77" fmla="*/ 36297 w 43832"/>
                          <a:gd name="connsiteY77" fmla="*/ 2638 h 25244"/>
                          <a:gd name="connsiteX78" fmla="*/ 36799 w 43832"/>
                          <a:gd name="connsiteY78" fmla="*/ 3014 h 25244"/>
                          <a:gd name="connsiteX79" fmla="*/ 36925 w 43832"/>
                          <a:gd name="connsiteY79" fmla="*/ 3014 h 25244"/>
                          <a:gd name="connsiteX80" fmla="*/ 37804 w 43832"/>
                          <a:gd name="connsiteY80" fmla="*/ 3642 h 25244"/>
                          <a:gd name="connsiteX81" fmla="*/ 37930 w 43832"/>
                          <a:gd name="connsiteY81" fmla="*/ 3642 h 25244"/>
                          <a:gd name="connsiteX82" fmla="*/ 38181 w 43832"/>
                          <a:gd name="connsiteY82" fmla="*/ 3768 h 25244"/>
                          <a:gd name="connsiteX83" fmla="*/ 38306 w 43832"/>
                          <a:gd name="connsiteY83" fmla="*/ 3893 h 25244"/>
                          <a:gd name="connsiteX84" fmla="*/ 38809 w 43832"/>
                          <a:gd name="connsiteY84" fmla="*/ 4145 h 25244"/>
                          <a:gd name="connsiteX85" fmla="*/ 38934 w 43832"/>
                          <a:gd name="connsiteY85" fmla="*/ 4270 h 25244"/>
                          <a:gd name="connsiteX86" fmla="*/ 39186 w 43832"/>
                          <a:gd name="connsiteY86" fmla="*/ 4396 h 25244"/>
                          <a:gd name="connsiteX87" fmla="*/ 39311 w 43832"/>
                          <a:gd name="connsiteY87" fmla="*/ 4396 h 25244"/>
                          <a:gd name="connsiteX88" fmla="*/ 39688 w 43832"/>
                          <a:gd name="connsiteY88" fmla="*/ 4647 h 25244"/>
                          <a:gd name="connsiteX89" fmla="*/ 39813 w 43832"/>
                          <a:gd name="connsiteY89" fmla="*/ 4773 h 25244"/>
                          <a:gd name="connsiteX90" fmla="*/ 40316 w 43832"/>
                          <a:gd name="connsiteY90" fmla="*/ 5024 h 25244"/>
                          <a:gd name="connsiteX91" fmla="*/ 40567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949 w 43832"/>
                          <a:gd name="connsiteY100" fmla="*/ 6028 h 25244"/>
                          <a:gd name="connsiteX101" fmla="*/ 42074 w 43832"/>
                          <a:gd name="connsiteY101" fmla="*/ 6028 h 25244"/>
                          <a:gd name="connsiteX102" fmla="*/ 43832 w 43832"/>
                          <a:gd name="connsiteY102" fmla="*/ 5401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4" y="8164"/>
                            </a:lnTo>
                            <a:lnTo>
                              <a:pt x="41823" y="8289"/>
                            </a:lnTo>
                            <a:lnTo>
                              <a:pt x="41823" y="8289"/>
                            </a:lnTo>
                            <a:lnTo>
                              <a:pt x="39060" y="9922"/>
                            </a:lnTo>
                            <a:lnTo>
                              <a:pt x="39060" y="9922"/>
                            </a:lnTo>
                            <a:lnTo>
                              <a:pt x="38432" y="10173"/>
                            </a:lnTo>
                            <a:lnTo>
                              <a:pt x="38306" y="10299"/>
                            </a:lnTo>
                            <a:lnTo>
                              <a:pt x="37678" y="10676"/>
                            </a:lnTo>
                            <a:lnTo>
                              <a:pt x="28133" y="16202"/>
                            </a:lnTo>
                            <a:lnTo>
                              <a:pt x="28133" y="16202"/>
                            </a:lnTo>
                            <a:lnTo>
                              <a:pt x="27631" y="16453"/>
                            </a:lnTo>
                            <a:lnTo>
                              <a:pt x="26626" y="17081"/>
                            </a:lnTo>
                            <a:lnTo>
                              <a:pt x="26626" y="17081"/>
                            </a:lnTo>
                            <a:lnTo>
                              <a:pt x="26124" y="17332"/>
                            </a:lnTo>
                            <a:lnTo>
                              <a:pt x="25998" y="17458"/>
                            </a:lnTo>
                            <a:lnTo>
                              <a:pt x="25998" y="17458"/>
                            </a:lnTo>
                            <a:lnTo>
                              <a:pt x="25747" y="17583"/>
                            </a:lnTo>
                            <a:lnTo>
                              <a:pt x="25747" y="17583"/>
                            </a:lnTo>
                            <a:lnTo>
                              <a:pt x="24240" y="18462"/>
                            </a:lnTo>
                            <a:lnTo>
                              <a:pt x="24240" y="18462"/>
                            </a:lnTo>
                            <a:lnTo>
                              <a:pt x="23988" y="18588"/>
                            </a:lnTo>
                            <a:lnTo>
                              <a:pt x="17584" y="22230"/>
                            </a:lnTo>
                            <a:lnTo>
                              <a:pt x="17584" y="22230"/>
                            </a:lnTo>
                            <a:lnTo>
                              <a:pt x="17206" y="22482"/>
                            </a:lnTo>
                            <a:lnTo>
                              <a:pt x="17206" y="22482"/>
                            </a:lnTo>
                            <a:lnTo>
                              <a:pt x="12308" y="25245"/>
                            </a:lnTo>
                            <a:lnTo>
                              <a:pt x="12308" y="25245"/>
                            </a:lnTo>
                            <a:lnTo>
                              <a:pt x="12183" y="25245"/>
                            </a:lnTo>
                            <a:lnTo>
                              <a:pt x="11806" y="24993"/>
                            </a:lnTo>
                            <a:lnTo>
                              <a:pt x="11806" y="24993"/>
                            </a:lnTo>
                            <a:lnTo>
                              <a:pt x="11806" y="24993"/>
                            </a:lnTo>
                            <a:lnTo>
                              <a:pt x="11304" y="24742"/>
                            </a:lnTo>
                            <a:lnTo>
                              <a:pt x="11178" y="24617"/>
                            </a:lnTo>
                            <a:lnTo>
                              <a:pt x="10173" y="24114"/>
                            </a:lnTo>
                            <a:lnTo>
                              <a:pt x="10173" y="23989"/>
                            </a:lnTo>
                            <a:lnTo>
                              <a:pt x="9420" y="23612"/>
                            </a:lnTo>
                            <a:lnTo>
                              <a:pt x="9294" y="23486"/>
                            </a:lnTo>
                            <a:lnTo>
                              <a:pt x="8666" y="23235"/>
                            </a:lnTo>
                            <a:lnTo>
                              <a:pt x="8666" y="23235"/>
                            </a:lnTo>
                            <a:lnTo>
                              <a:pt x="8164" y="22858"/>
                            </a:lnTo>
                            <a:lnTo>
                              <a:pt x="8038" y="22858"/>
                            </a:lnTo>
                            <a:lnTo>
                              <a:pt x="7410" y="22482"/>
                            </a:lnTo>
                            <a:lnTo>
                              <a:pt x="7285" y="22356"/>
                            </a:lnTo>
                            <a:lnTo>
                              <a:pt x="7285" y="22356"/>
                            </a:lnTo>
                            <a:lnTo>
                              <a:pt x="6657" y="21979"/>
                            </a:lnTo>
                            <a:lnTo>
                              <a:pt x="6531" y="21979"/>
                            </a:lnTo>
                            <a:lnTo>
                              <a:pt x="6154" y="21728"/>
                            </a:lnTo>
                            <a:lnTo>
                              <a:pt x="6028" y="21728"/>
                            </a:lnTo>
                            <a:lnTo>
                              <a:pt x="5526" y="21351"/>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342"/>
                            </a:lnTo>
                            <a:lnTo>
                              <a:pt x="2009" y="19342"/>
                            </a:lnTo>
                            <a:lnTo>
                              <a:pt x="1633" y="19090"/>
                            </a:lnTo>
                            <a:lnTo>
                              <a:pt x="1381" y="18965"/>
                            </a:lnTo>
                            <a:lnTo>
                              <a:pt x="0" y="18211"/>
                            </a:lnTo>
                            <a:lnTo>
                              <a:pt x="0" y="16453"/>
                            </a:lnTo>
                            <a:lnTo>
                              <a:pt x="31524" y="0"/>
                            </a:lnTo>
                            <a:lnTo>
                              <a:pt x="32278" y="377"/>
                            </a:lnTo>
                            <a:lnTo>
                              <a:pt x="32404" y="502"/>
                            </a:lnTo>
                            <a:lnTo>
                              <a:pt x="33408" y="1130"/>
                            </a:lnTo>
                            <a:lnTo>
                              <a:pt x="33659" y="1256"/>
                            </a:lnTo>
                            <a:lnTo>
                              <a:pt x="34539" y="1758"/>
                            </a:lnTo>
                            <a:lnTo>
                              <a:pt x="34790" y="1884"/>
                            </a:lnTo>
                            <a:lnTo>
                              <a:pt x="35166" y="2135"/>
                            </a:lnTo>
                            <a:lnTo>
                              <a:pt x="35166" y="2135"/>
                            </a:lnTo>
                            <a:lnTo>
                              <a:pt x="35166" y="2135"/>
                            </a:lnTo>
                            <a:lnTo>
                              <a:pt x="36046" y="2512"/>
                            </a:lnTo>
                            <a:lnTo>
                              <a:pt x="36297" y="2638"/>
                            </a:lnTo>
                            <a:lnTo>
                              <a:pt x="36799" y="3014"/>
                            </a:lnTo>
                            <a:lnTo>
                              <a:pt x="36925" y="3014"/>
                            </a:lnTo>
                            <a:lnTo>
                              <a:pt x="37804" y="3642"/>
                            </a:lnTo>
                            <a:lnTo>
                              <a:pt x="37930" y="3642"/>
                            </a:lnTo>
                            <a:lnTo>
                              <a:pt x="38181" y="3768"/>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6028"/>
                            </a:lnTo>
                            <a:lnTo>
                              <a:pt x="42074" y="6028"/>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29" name="Freeform: Shape 4128">
                        <a:extLst>
                          <a:ext uri="{FF2B5EF4-FFF2-40B4-BE49-F238E27FC236}">
                            <a16:creationId xmlns:a16="http://schemas.microsoft.com/office/drawing/2014/main" id="{2CA651EA-6FA0-43A5-A3E2-50C5BA4D8398}"/>
                          </a:ext>
                        </a:extLst>
                      </p:cNvPr>
                      <p:cNvSpPr/>
                      <p:nvPr/>
                    </p:nvSpPr>
                    <p:spPr>
                      <a:xfrm>
                        <a:off x="7245442" y="3856740"/>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553 w 43832"/>
                          <a:gd name="connsiteY8" fmla="*/ 10676 h 25370"/>
                          <a:gd name="connsiteX9" fmla="*/ 28133 w 43832"/>
                          <a:gd name="connsiteY9" fmla="*/ 16202 h 25370"/>
                          <a:gd name="connsiteX10" fmla="*/ 27631 w 43832"/>
                          <a:gd name="connsiteY10" fmla="*/ 16453 h 25370"/>
                          <a:gd name="connsiteX11" fmla="*/ 26626 w 43832"/>
                          <a:gd name="connsiteY11" fmla="*/ 17081 h 25370"/>
                          <a:gd name="connsiteX12" fmla="*/ 26124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8 w 43832"/>
                          <a:gd name="connsiteY18" fmla="*/ 18588 h 25370"/>
                          <a:gd name="connsiteX19" fmla="*/ 17584 w 43832"/>
                          <a:gd name="connsiteY19" fmla="*/ 22230 h 25370"/>
                          <a:gd name="connsiteX20" fmla="*/ 17206 w 43832"/>
                          <a:gd name="connsiteY20" fmla="*/ 22482 h 25370"/>
                          <a:gd name="connsiteX21" fmla="*/ 17206 w 43832"/>
                          <a:gd name="connsiteY21" fmla="*/ 22482 h 25370"/>
                          <a:gd name="connsiteX22" fmla="*/ 12308 w 43832"/>
                          <a:gd name="connsiteY22" fmla="*/ 25370 h 25370"/>
                          <a:gd name="connsiteX23" fmla="*/ 12308 w 43832"/>
                          <a:gd name="connsiteY23" fmla="*/ 25245 h 25370"/>
                          <a:gd name="connsiteX24" fmla="*/ 12183 w 43832"/>
                          <a:gd name="connsiteY24" fmla="*/ 25245 h 25370"/>
                          <a:gd name="connsiteX25" fmla="*/ 11806 w 43832"/>
                          <a:gd name="connsiteY25" fmla="*/ 24993 h 25370"/>
                          <a:gd name="connsiteX26" fmla="*/ 11806 w 43832"/>
                          <a:gd name="connsiteY26" fmla="*/ 24993 h 25370"/>
                          <a:gd name="connsiteX27" fmla="*/ 11304 w 43832"/>
                          <a:gd name="connsiteY27" fmla="*/ 24742 h 25370"/>
                          <a:gd name="connsiteX28" fmla="*/ 11178 w 43832"/>
                          <a:gd name="connsiteY28" fmla="*/ 24617 h 25370"/>
                          <a:gd name="connsiteX29" fmla="*/ 10173 w 43832"/>
                          <a:gd name="connsiteY29" fmla="*/ 24114 h 25370"/>
                          <a:gd name="connsiteX30" fmla="*/ 10173 w 43832"/>
                          <a:gd name="connsiteY30" fmla="*/ 24114 h 25370"/>
                          <a:gd name="connsiteX31" fmla="*/ 9545 w 43832"/>
                          <a:gd name="connsiteY31" fmla="*/ 23737 h 25370"/>
                          <a:gd name="connsiteX32" fmla="*/ 9294 w 43832"/>
                          <a:gd name="connsiteY32" fmla="*/ 23612 h 25370"/>
                          <a:gd name="connsiteX33" fmla="*/ 8666 w 43832"/>
                          <a:gd name="connsiteY33" fmla="*/ 23235 h 25370"/>
                          <a:gd name="connsiteX34" fmla="*/ 8666 w 43832"/>
                          <a:gd name="connsiteY34" fmla="*/ 23235 h 25370"/>
                          <a:gd name="connsiteX35" fmla="*/ 8164 w 43832"/>
                          <a:gd name="connsiteY35" fmla="*/ 22984 h 25370"/>
                          <a:gd name="connsiteX36" fmla="*/ 8038 w 43832"/>
                          <a:gd name="connsiteY36" fmla="*/ 22858 h 25370"/>
                          <a:gd name="connsiteX37" fmla="*/ 7410 w 43832"/>
                          <a:gd name="connsiteY37" fmla="*/ 22482 h 25370"/>
                          <a:gd name="connsiteX38" fmla="*/ 7285 w 43832"/>
                          <a:gd name="connsiteY38" fmla="*/ 22356 h 25370"/>
                          <a:gd name="connsiteX39" fmla="*/ 7285 w 43832"/>
                          <a:gd name="connsiteY39" fmla="*/ 22356 h 25370"/>
                          <a:gd name="connsiteX40" fmla="*/ 6531 w 43832"/>
                          <a:gd name="connsiteY40" fmla="*/ 21979 h 25370"/>
                          <a:gd name="connsiteX41" fmla="*/ 6531 w 43832"/>
                          <a:gd name="connsiteY41" fmla="*/ 21979 h 25370"/>
                          <a:gd name="connsiteX42" fmla="*/ 6154 w 43832"/>
                          <a:gd name="connsiteY42" fmla="*/ 21728 h 25370"/>
                          <a:gd name="connsiteX43" fmla="*/ 6028 w 43832"/>
                          <a:gd name="connsiteY43" fmla="*/ 21728 h 25370"/>
                          <a:gd name="connsiteX44" fmla="*/ 5526 w 43832"/>
                          <a:gd name="connsiteY44" fmla="*/ 21477 h 25370"/>
                          <a:gd name="connsiteX45" fmla="*/ 5526 w 43832"/>
                          <a:gd name="connsiteY45" fmla="*/ 21351 h 25370"/>
                          <a:gd name="connsiteX46" fmla="*/ 4647 w 43832"/>
                          <a:gd name="connsiteY46" fmla="*/ 20849 h 25370"/>
                          <a:gd name="connsiteX47" fmla="*/ 4396 w 43832"/>
                          <a:gd name="connsiteY47" fmla="*/ 20723 h 25370"/>
                          <a:gd name="connsiteX48" fmla="*/ 3768 w 43832"/>
                          <a:gd name="connsiteY48" fmla="*/ 20346 h 25370"/>
                          <a:gd name="connsiteX49" fmla="*/ 3642 w 43832"/>
                          <a:gd name="connsiteY49" fmla="*/ 20346 h 25370"/>
                          <a:gd name="connsiteX50" fmla="*/ 3391 w 43832"/>
                          <a:gd name="connsiteY50" fmla="*/ 20221 h 25370"/>
                          <a:gd name="connsiteX51" fmla="*/ 3391 w 43832"/>
                          <a:gd name="connsiteY51" fmla="*/ 20095 h 25370"/>
                          <a:gd name="connsiteX52" fmla="*/ 2763 w 43832"/>
                          <a:gd name="connsiteY52" fmla="*/ 19844 h 25370"/>
                          <a:gd name="connsiteX53" fmla="*/ 2763 w 43832"/>
                          <a:gd name="connsiteY53" fmla="*/ 19844 h 25370"/>
                          <a:gd name="connsiteX54" fmla="*/ 2638 w 43832"/>
                          <a:gd name="connsiteY54" fmla="*/ 19718 h 25370"/>
                          <a:gd name="connsiteX55" fmla="*/ 2009 w 43832"/>
                          <a:gd name="connsiteY55" fmla="*/ 19467 h 25370"/>
                          <a:gd name="connsiteX56" fmla="*/ 2009 w 43832"/>
                          <a:gd name="connsiteY56" fmla="*/ 19342 h 25370"/>
                          <a:gd name="connsiteX57" fmla="*/ 1633 w 43832"/>
                          <a:gd name="connsiteY57" fmla="*/ 19090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647 w 43832"/>
                          <a:gd name="connsiteY63" fmla="*/ 15574 h 25370"/>
                          <a:gd name="connsiteX64" fmla="*/ 4898 w 43832"/>
                          <a:gd name="connsiteY64" fmla="*/ 15448 h 25370"/>
                          <a:gd name="connsiteX65" fmla="*/ 4898 w 43832"/>
                          <a:gd name="connsiteY65" fmla="*/ 15448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211 w 43832"/>
                          <a:gd name="connsiteY70" fmla="*/ 7787 h 25370"/>
                          <a:gd name="connsiteX71" fmla="*/ 18337 w 43832"/>
                          <a:gd name="connsiteY71" fmla="*/ 7661 h 25370"/>
                          <a:gd name="connsiteX72" fmla="*/ 31524 w 43832"/>
                          <a:gd name="connsiteY72" fmla="*/ 0 h 25370"/>
                          <a:gd name="connsiteX73" fmla="*/ 32278 w 43832"/>
                          <a:gd name="connsiteY73" fmla="*/ 377 h 25370"/>
                          <a:gd name="connsiteX74" fmla="*/ 32404 w 43832"/>
                          <a:gd name="connsiteY74" fmla="*/ 502 h 25370"/>
                          <a:gd name="connsiteX75" fmla="*/ 33408 w 43832"/>
                          <a:gd name="connsiteY75" fmla="*/ 1130 h 25370"/>
                          <a:gd name="connsiteX76" fmla="*/ 33659 w 43832"/>
                          <a:gd name="connsiteY76" fmla="*/ 1256 h 25370"/>
                          <a:gd name="connsiteX77" fmla="*/ 34539 w 43832"/>
                          <a:gd name="connsiteY77" fmla="*/ 1758 h 25370"/>
                          <a:gd name="connsiteX78" fmla="*/ 34790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297 w 43832"/>
                          <a:gd name="connsiteY82" fmla="*/ 2763 h 25370"/>
                          <a:gd name="connsiteX83" fmla="*/ 36799 w 43832"/>
                          <a:gd name="connsiteY83" fmla="*/ 3014 h 25370"/>
                          <a:gd name="connsiteX84" fmla="*/ 36925 w 43832"/>
                          <a:gd name="connsiteY84" fmla="*/ 3014 h 25370"/>
                          <a:gd name="connsiteX85" fmla="*/ 37804 w 43832"/>
                          <a:gd name="connsiteY85" fmla="*/ 3642 h 25370"/>
                          <a:gd name="connsiteX86" fmla="*/ 37930 w 43832"/>
                          <a:gd name="connsiteY86" fmla="*/ 3768 h 25370"/>
                          <a:gd name="connsiteX87" fmla="*/ 38306 w 43832"/>
                          <a:gd name="connsiteY87" fmla="*/ 3893 h 25370"/>
                          <a:gd name="connsiteX88" fmla="*/ 38809 w 43832"/>
                          <a:gd name="connsiteY88" fmla="*/ 4145 h 25370"/>
                          <a:gd name="connsiteX89" fmla="*/ 38934 w 43832"/>
                          <a:gd name="connsiteY89" fmla="*/ 4270 h 25370"/>
                          <a:gd name="connsiteX90" fmla="*/ 39186 w 43832"/>
                          <a:gd name="connsiteY90" fmla="*/ 4396 h 25370"/>
                          <a:gd name="connsiteX91" fmla="*/ 39311 w 43832"/>
                          <a:gd name="connsiteY91" fmla="*/ 4521 h 25370"/>
                          <a:gd name="connsiteX92" fmla="*/ 39688 w 43832"/>
                          <a:gd name="connsiteY92" fmla="*/ 4647 h 25370"/>
                          <a:gd name="connsiteX93" fmla="*/ 39813 w 43832"/>
                          <a:gd name="connsiteY93" fmla="*/ 4773 h 25370"/>
                          <a:gd name="connsiteX94" fmla="*/ 40316 w 43832"/>
                          <a:gd name="connsiteY94" fmla="*/ 5024 h 25370"/>
                          <a:gd name="connsiteX95" fmla="*/ 40567 w 43832"/>
                          <a:gd name="connsiteY95" fmla="*/ 5149 h 25370"/>
                          <a:gd name="connsiteX96" fmla="*/ 40693 w 43832"/>
                          <a:gd name="connsiteY96" fmla="*/ 5275 h 25370"/>
                          <a:gd name="connsiteX97" fmla="*/ 40693 w 43832"/>
                          <a:gd name="connsiteY97" fmla="*/ 5275 h 25370"/>
                          <a:gd name="connsiteX98" fmla="*/ 40818 w 43832"/>
                          <a:gd name="connsiteY98" fmla="*/ 5401 h 25370"/>
                          <a:gd name="connsiteX99" fmla="*/ 41195 w 43832"/>
                          <a:gd name="connsiteY99" fmla="*/ 5526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949 w 43832"/>
                          <a:gd name="connsiteY104" fmla="*/ 6028 h 25370"/>
                          <a:gd name="connsiteX105" fmla="*/ 42074 w 43832"/>
                          <a:gd name="connsiteY105" fmla="*/ 6028 h 25370"/>
                          <a:gd name="connsiteX106" fmla="*/ 42451 w 43832"/>
                          <a:gd name="connsiteY106" fmla="*/ 6280 h 25370"/>
                          <a:gd name="connsiteX107" fmla="*/ 42577 w 43832"/>
                          <a:gd name="connsiteY107" fmla="*/ 6405 h 25370"/>
                          <a:gd name="connsiteX108" fmla="*/ 42827 w 43832"/>
                          <a:gd name="connsiteY108" fmla="*/ 6531 h 25370"/>
                          <a:gd name="connsiteX109" fmla="*/ 42953 w 43832"/>
                          <a:gd name="connsiteY109" fmla="*/ 6657 h 25370"/>
                          <a:gd name="connsiteX110" fmla="*/ 43456 w 43832"/>
                          <a:gd name="connsiteY110" fmla="*/ 6908 h 25370"/>
                          <a:gd name="connsiteX111" fmla="*/ 43456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553" y="10676"/>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17584" y="22230"/>
                            </a:lnTo>
                            <a:lnTo>
                              <a:pt x="17206" y="22482"/>
                            </a:lnTo>
                            <a:lnTo>
                              <a:pt x="17206" y="22482"/>
                            </a:lnTo>
                            <a:lnTo>
                              <a:pt x="12308" y="25370"/>
                            </a:lnTo>
                            <a:lnTo>
                              <a:pt x="12308" y="25245"/>
                            </a:lnTo>
                            <a:lnTo>
                              <a:pt x="12183" y="25245"/>
                            </a:lnTo>
                            <a:lnTo>
                              <a:pt x="11806" y="24993"/>
                            </a:lnTo>
                            <a:lnTo>
                              <a:pt x="11806" y="24993"/>
                            </a:lnTo>
                            <a:lnTo>
                              <a:pt x="11304" y="24742"/>
                            </a:lnTo>
                            <a:lnTo>
                              <a:pt x="11178" y="24617"/>
                            </a:lnTo>
                            <a:lnTo>
                              <a:pt x="10173" y="24114"/>
                            </a:lnTo>
                            <a:lnTo>
                              <a:pt x="10173" y="24114"/>
                            </a:lnTo>
                            <a:lnTo>
                              <a:pt x="9545" y="23737"/>
                            </a:lnTo>
                            <a:lnTo>
                              <a:pt x="9294" y="23612"/>
                            </a:lnTo>
                            <a:lnTo>
                              <a:pt x="8666" y="23235"/>
                            </a:lnTo>
                            <a:lnTo>
                              <a:pt x="8666" y="23235"/>
                            </a:lnTo>
                            <a:lnTo>
                              <a:pt x="8164" y="22984"/>
                            </a:lnTo>
                            <a:lnTo>
                              <a:pt x="8038" y="22858"/>
                            </a:lnTo>
                            <a:lnTo>
                              <a:pt x="7410" y="22482"/>
                            </a:lnTo>
                            <a:lnTo>
                              <a:pt x="7285" y="22356"/>
                            </a:lnTo>
                            <a:lnTo>
                              <a:pt x="7285" y="22356"/>
                            </a:lnTo>
                            <a:lnTo>
                              <a:pt x="6531"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467"/>
                            </a:lnTo>
                            <a:lnTo>
                              <a:pt x="2009" y="19342"/>
                            </a:lnTo>
                            <a:lnTo>
                              <a:pt x="1633" y="19090"/>
                            </a:lnTo>
                            <a:lnTo>
                              <a:pt x="1381" y="19090"/>
                            </a:lnTo>
                            <a:lnTo>
                              <a:pt x="0" y="18211"/>
                            </a:lnTo>
                            <a:lnTo>
                              <a:pt x="4396" y="15699"/>
                            </a:lnTo>
                            <a:lnTo>
                              <a:pt x="4396" y="15699"/>
                            </a:lnTo>
                            <a:lnTo>
                              <a:pt x="4521" y="15574"/>
                            </a:lnTo>
                            <a:lnTo>
                              <a:pt x="4647" y="15574"/>
                            </a:lnTo>
                            <a:lnTo>
                              <a:pt x="4898" y="15448"/>
                            </a:lnTo>
                            <a:lnTo>
                              <a:pt x="4898" y="15448"/>
                            </a:lnTo>
                            <a:lnTo>
                              <a:pt x="5024" y="15323"/>
                            </a:lnTo>
                            <a:lnTo>
                              <a:pt x="5024" y="15323"/>
                            </a:lnTo>
                            <a:lnTo>
                              <a:pt x="17584" y="8038"/>
                            </a:lnTo>
                            <a:lnTo>
                              <a:pt x="17834" y="7913"/>
                            </a:lnTo>
                            <a:lnTo>
                              <a:pt x="18211" y="7787"/>
                            </a:lnTo>
                            <a:lnTo>
                              <a:pt x="18337" y="7661"/>
                            </a:lnTo>
                            <a:lnTo>
                              <a:pt x="31524" y="0"/>
                            </a:lnTo>
                            <a:lnTo>
                              <a:pt x="32278" y="377"/>
                            </a:lnTo>
                            <a:lnTo>
                              <a:pt x="32404" y="502"/>
                            </a:lnTo>
                            <a:lnTo>
                              <a:pt x="33408" y="1130"/>
                            </a:lnTo>
                            <a:lnTo>
                              <a:pt x="33659" y="1256"/>
                            </a:lnTo>
                            <a:lnTo>
                              <a:pt x="34539" y="1758"/>
                            </a:lnTo>
                            <a:lnTo>
                              <a:pt x="34790" y="1884"/>
                            </a:lnTo>
                            <a:lnTo>
                              <a:pt x="35166" y="2135"/>
                            </a:lnTo>
                            <a:lnTo>
                              <a:pt x="35166" y="2135"/>
                            </a:lnTo>
                            <a:lnTo>
                              <a:pt x="36046" y="2638"/>
                            </a:lnTo>
                            <a:lnTo>
                              <a:pt x="36297" y="2763"/>
                            </a:lnTo>
                            <a:lnTo>
                              <a:pt x="36799" y="3014"/>
                            </a:lnTo>
                            <a:lnTo>
                              <a:pt x="36925" y="3014"/>
                            </a:lnTo>
                            <a:lnTo>
                              <a:pt x="37804" y="3642"/>
                            </a:lnTo>
                            <a:lnTo>
                              <a:pt x="37930" y="3768"/>
                            </a:lnTo>
                            <a:lnTo>
                              <a:pt x="38306" y="3893"/>
                            </a:lnTo>
                            <a:lnTo>
                              <a:pt x="38809" y="4145"/>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526"/>
                            </a:lnTo>
                            <a:lnTo>
                              <a:pt x="41320" y="5652"/>
                            </a:lnTo>
                            <a:lnTo>
                              <a:pt x="41572" y="5777"/>
                            </a:lnTo>
                            <a:lnTo>
                              <a:pt x="41572" y="5777"/>
                            </a:lnTo>
                            <a:lnTo>
                              <a:pt x="41698" y="5903"/>
                            </a:lnTo>
                            <a:lnTo>
                              <a:pt x="41949" y="6028"/>
                            </a:lnTo>
                            <a:lnTo>
                              <a:pt x="42074" y="6028"/>
                            </a:lnTo>
                            <a:lnTo>
                              <a:pt x="42451" y="6280"/>
                            </a:lnTo>
                            <a:lnTo>
                              <a:pt x="42577" y="6405"/>
                            </a:lnTo>
                            <a:lnTo>
                              <a:pt x="42827" y="6531"/>
                            </a:lnTo>
                            <a:lnTo>
                              <a:pt x="42953" y="6657"/>
                            </a:lnTo>
                            <a:lnTo>
                              <a:pt x="43456" y="6908"/>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30" name="Freeform: Shape 4129">
                      <a:extLst>
                        <a:ext uri="{FF2B5EF4-FFF2-40B4-BE49-F238E27FC236}">
                          <a16:creationId xmlns:a16="http://schemas.microsoft.com/office/drawing/2014/main" id="{9A4839CB-8AA9-4610-B1C3-DFD57CA356CA}"/>
                        </a:ext>
                      </a:extLst>
                    </p:cNvPr>
                    <p:cNvSpPr/>
                    <p:nvPr/>
                  </p:nvSpPr>
                  <p:spPr>
                    <a:xfrm>
                      <a:off x="7245442" y="3874951"/>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31" name="Graphic 4">
                    <a:extLst>
                      <a:ext uri="{FF2B5EF4-FFF2-40B4-BE49-F238E27FC236}">
                        <a16:creationId xmlns:a16="http://schemas.microsoft.com/office/drawing/2014/main" id="{84FB7ED1-A2DF-40A1-A747-5F7CF3F14040}"/>
                      </a:ext>
                    </a:extLst>
                  </p:cNvPr>
                  <p:cNvGrpSpPr/>
                  <p:nvPr/>
                </p:nvGrpSpPr>
                <p:grpSpPr>
                  <a:xfrm>
                    <a:off x="7259508" y="3864778"/>
                    <a:ext cx="43832" cy="27002"/>
                    <a:chOff x="7259508" y="3864778"/>
                    <a:chExt cx="43832" cy="27002"/>
                  </a:xfrm>
                  <a:solidFill>
                    <a:schemeClr val="accent1"/>
                  </a:solidFill>
                </p:grpSpPr>
                <p:grpSp>
                  <p:nvGrpSpPr>
                    <p:cNvPr id="4132" name="Graphic 4">
                      <a:extLst>
                        <a:ext uri="{FF2B5EF4-FFF2-40B4-BE49-F238E27FC236}">
                          <a16:creationId xmlns:a16="http://schemas.microsoft.com/office/drawing/2014/main" id="{84FB7ED1-A2DF-40A1-A747-5F7CF3F14040}"/>
                        </a:ext>
                      </a:extLst>
                    </p:cNvPr>
                    <p:cNvGrpSpPr/>
                    <p:nvPr/>
                  </p:nvGrpSpPr>
                  <p:grpSpPr>
                    <a:xfrm>
                      <a:off x="7259508" y="3864778"/>
                      <a:ext cx="43832" cy="27002"/>
                      <a:chOff x="7259508" y="3864778"/>
                      <a:chExt cx="43832" cy="27002"/>
                    </a:xfrm>
                    <a:solidFill>
                      <a:schemeClr val="accent1"/>
                    </a:solidFill>
                  </p:grpSpPr>
                  <p:sp>
                    <p:nvSpPr>
                      <p:cNvPr id="4133" name="Freeform: Shape 4132">
                        <a:extLst>
                          <a:ext uri="{FF2B5EF4-FFF2-40B4-BE49-F238E27FC236}">
                            <a16:creationId xmlns:a16="http://schemas.microsoft.com/office/drawing/2014/main" id="{B563C765-08EA-4D83-AC80-734A2701B4E0}"/>
                          </a:ext>
                        </a:extLst>
                      </p:cNvPr>
                      <p:cNvSpPr/>
                      <p:nvPr/>
                    </p:nvSpPr>
                    <p:spPr>
                      <a:xfrm>
                        <a:off x="7259508" y="3866411"/>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356 h 25370"/>
                          <a:gd name="connsiteX23" fmla="*/ 17584 w 43832"/>
                          <a:gd name="connsiteY23" fmla="*/ 22356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370 h 25370"/>
                          <a:gd name="connsiteX29" fmla="*/ 11806 w 43832"/>
                          <a:gd name="connsiteY29" fmla="*/ 25119 h 25370"/>
                          <a:gd name="connsiteX30" fmla="*/ 11680 w 43832"/>
                          <a:gd name="connsiteY30" fmla="*/ 25119 h 25370"/>
                          <a:gd name="connsiteX31" fmla="*/ 11680 w 43832"/>
                          <a:gd name="connsiteY31" fmla="*/ 25119 h 25370"/>
                          <a:gd name="connsiteX32" fmla="*/ 11304 w 43832"/>
                          <a:gd name="connsiteY32" fmla="*/ 24868 h 25370"/>
                          <a:gd name="connsiteX33" fmla="*/ 11178 w 43832"/>
                          <a:gd name="connsiteY33" fmla="*/ 24742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361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1 h 25370"/>
                          <a:gd name="connsiteX44" fmla="*/ 7285 w 43832"/>
                          <a:gd name="connsiteY44" fmla="*/ 22481 h 25370"/>
                          <a:gd name="connsiteX45" fmla="*/ 6531 w 43832"/>
                          <a:gd name="connsiteY45" fmla="*/ 22105 h 25370"/>
                          <a:gd name="connsiteX46" fmla="*/ 6531 w 43832"/>
                          <a:gd name="connsiteY46" fmla="*/ 21979 h 25370"/>
                          <a:gd name="connsiteX47" fmla="*/ 6154 w 43832"/>
                          <a:gd name="connsiteY47" fmla="*/ 21854 h 25370"/>
                          <a:gd name="connsiteX48" fmla="*/ 6028 w 43832"/>
                          <a:gd name="connsiteY48" fmla="*/ 21728 h 25370"/>
                          <a:gd name="connsiteX49" fmla="*/ 5526 w 43832"/>
                          <a:gd name="connsiteY49" fmla="*/ 21477 h 25370"/>
                          <a:gd name="connsiteX50" fmla="*/ 5400 w 43832"/>
                          <a:gd name="connsiteY50" fmla="*/ 21477 h 25370"/>
                          <a:gd name="connsiteX51" fmla="*/ 4521 w 43832"/>
                          <a:gd name="connsiteY51" fmla="*/ 20974 h 25370"/>
                          <a:gd name="connsiteX52" fmla="*/ 4396 w 43832"/>
                          <a:gd name="connsiteY52" fmla="*/ 20849 h 25370"/>
                          <a:gd name="connsiteX53" fmla="*/ 3642 w 43832"/>
                          <a:gd name="connsiteY53" fmla="*/ 20472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844 h 25370"/>
                          <a:gd name="connsiteX60" fmla="*/ 2010 w 43832"/>
                          <a:gd name="connsiteY60" fmla="*/ 19467 h 25370"/>
                          <a:gd name="connsiteX61" fmla="*/ 2010 w 43832"/>
                          <a:gd name="connsiteY61" fmla="*/ 19467 h 25370"/>
                          <a:gd name="connsiteX62" fmla="*/ 1507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628 h 25370"/>
                          <a:gd name="connsiteX69" fmla="*/ 33409 w 43832"/>
                          <a:gd name="connsiteY69" fmla="*/ 1130 h 25370"/>
                          <a:gd name="connsiteX70" fmla="*/ 33659 w 43832"/>
                          <a:gd name="connsiteY70" fmla="*/ 1256 h 25370"/>
                          <a:gd name="connsiteX71" fmla="*/ 34539 w 43832"/>
                          <a:gd name="connsiteY71" fmla="*/ 1758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140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521 h 25370"/>
                          <a:gd name="connsiteX87" fmla="*/ 39311 w 43832"/>
                          <a:gd name="connsiteY87" fmla="*/ 4521 h 25370"/>
                          <a:gd name="connsiteX88" fmla="*/ 39563 w 43832"/>
                          <a:gd name="connsiteY88" fmla="*/ 4773 h 25370"/>
                          <a:gd name="connsiteX89" fmla="*/ 39813 w 43832"/>
                          <a:gd name="connsiteY89" fmla="*/ 4773 h 25370"/>
                          <a:gd name="connsiteX90" fmla="*/ 40190 w 43832"/>
                          <a:gd name="connsiteY90" fmla="*/ 5149 h 25370"/>
                          <a:gd name="connsiteX91" fmla="*/ 40442 w 43832"/>
                          <a:gd name="connsiteY91" fmla="*/ 5275 h 25370"/>
                          <a:gd name="connsiteX92" fmla="*/ 40693 w 43832"/>
                          <a:gd name="connsiteY92" fmla="*/ 5400 h 25370"/>
                          <a:gd name="connsiteX93" fmla="*/ 40693 w 43832"/>
                          <a:gd name="connsiteY93" fmla="*/ 5400 h 25370"/>
                          <a:gd name="connsiteX94" fmla="*/ 40818 w 43832"/>
                          <a:gd name="connsiteY94" fmla="*/ 5400 h 25370"/>
                          <a:gd name="connsiteX95" fmla="*/ 41195 w 43832"/>
                          <a:gd name="connsiteY95" fmla="*/ 5652 h 25370"/>
                          <a:gd name="connsiteX96" fmla="*/ 41320 w 43832"/>
                          <a:gd name="connsiteY96" fmla="*/ 5777 h 25370"/>
                          <a:gd name="connsiteX97" fmla="*/ 41572 w 43832"/>
                          <a:gd name="connsiteY97" fmla="*/ 5903 h 25370"/>
                          <a:gd name="connsiteX98" fmla="*/ 41572 w 43832"/>
                          <a:gd name="connsiteY98" fmla="*/ 5903 h 25370"/>
                          <a:gd name="connsiteX99" fmla="*/ 41698 w 43832"/>
                          <a:gd name="connsiteY99" fmla="*/ 5903 h 25370"/>
                          <a:gd name="connsiteX100" fmla="*/ 41823 w 43832"/>
                          <a:gd name="connsiteY100" fmla="*/ 6028 h 25370"/>
                          <a:gd name="connsiteX101" fmla="*/ 41949 w 43832"/>
                          <a:gd name="connsiteY101" fmla="*/ 6154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8133" y="16202"/>
                            </a:lnTo>
                            <a:lnTo>
                              <a:pt x="27631" y="16453"/>
                            </a:lnTo>
                            <a:lnTo>
                              <a:pt x="26500" y="17081"/>
                            </a:lnTo>
                            <a:lnTo>
                              <a:pt x="26500" y="17081"/>
                            </a:lnTo>
                            <a:lnTo>
                              <a:pt x="25998" y="17458"/>
                            </a:lnTo>
                            <a:lnTo>
                              <a:pt x="25998" y="17458"/>
                            </a:lnTo>
                            <a:lnTo>
                              <a:pt x="25998" y="17458"/>
                            </a:lnTo>
                            <a:lnTo>
                              <a:pt x="25747" y="17583"/>
                            </a:lnTo>
                            <a:lnTo>
                              <a:pt x="25747" y="17583"/>
                            </a:lnTo>
                            <a:lnTo>
                              <a:pt x="24240" y="18462"/>
                            </a:lnTo>
                            <a:lnTo>
                              <a:pt x="24240" y="18462"/>
                            </a:lnTo>
                            <a:lnTo>
                              <a:pt x="23989" y="18588"/>
                            </a:lnTo>
                            <a:lnTo>
                              <a:pt x="17584" y="22356"/>
                            </a:lnTo>
                            <a:lnTo>
                              <a:pt x="17584" y="22356"/>
                            </a:lnTo>
                            <a:lnTo>
                              <a:pt x="17206" y="22481"/>
                            </a:lnTo>
                            <a:lnTo>
                              <a:pt x="17206" y="22481"/>
                            </a:lnTo>
                            <a:lnTo>
                              <a:pt x="12308" y="25370"/>
                            </a:lnTo>
                            <a:lnTo>
                              <a:pt x="12183" y="25370"/>
                            </a:lnTo>
                            <a:lnTo>
                              <a:pt x="12183" y="25370"/>
                            </a:lnTo>
                            <a:lnTo>
                              <a:pt x="11806" y="25119"/>
                            </a:lnTo>
                            <a:lnTo>
                              <a:pt x="11680" y="25119"/>
                            </a:lnTo>
                            <a:lnTo>
                              <a:pt x="11680" y="25119"/>
                            </a:lnTo>
                            <a:lnTo>
                              <a:pt x="11304" y="24868"/>
                            </a:lnTo>
                            <a:lnTo>
                              <a:pt x="11178" y="24742"/>
                            </a:lnTo>
                            <a:lnTo>
                              <a:pt x="10173" y="24114"/>
                            </a:lnTo>
                            <a:lnTo>
                              <a:pt x="10047" y="24114"/>
                            </a:lnTo>
                            <a:lnTo>
                              <a:pt x="9420" y="23737"/>
                            </a:lnTo>
                            <a:lnTo>
                              <a:pt x="9168" y="23612"/>
                            </a:lnTo>
                            <a:lnTo>
                              <a:pt x="8666" y="23361"/>
                            </a:lnTo>
                            <a:lnTo>
                              <a:pt x="8540" y="23235"/>
                            </a:lnTo>
                            <a:lnTo>
                              <a:pt x="8164" y="22984"/>
                            </a:lnTo>
                            <a:lnTo>
                              <a:pt x="8038" y="22858"/>
                            </a:lnTo>
                            <a:lnTo>
                              <a:pt x="7410" y="22607"/>
                            </a:lnTo>
                            <a:lnTo>
                              <a:pt x="7285" y="22481"/>
                            </a:lnTo>
                            <a:lnTo>
                              <a:pt x="7285" y="22481"/>
                            </a:lnTo>
                            <a:lnTo>
                              <a:pt x="6531" y="22105"/>
                            </a:lnTo>
                            <a:lnTo>
                              <a:pt x="6531" y="21979"/>
                            </a:lnTo>
                            <a:lnTo>
                              <a:pt x="6154" y="21854"/>
                            </a:lnTo>
                            <a:lnTo>
                              <a:pt x="6028" y="21728"/>
                            </a:lnTo>
                            <a:lnTo>
                              <a:pt x="5526" y="21477"/>
                            </a:lnTo>
                            <a:lnTo>
                              <a:pt x="5400" y="21477"/>
                            </a:lnTo>
                            <a:lnTo>
                              <a:pt x="4521" y="20974"/>
                            </a:lnTo>
                            <a:lnTo>
                              <a:pt x="4396" y="20849"/>
                            </a:lnTo>
                            <a:lnTo>
                              <a:pt x="3642" y="20472"/>
                            </a:lnTo>
                            <a:lnTo>
                              <a:pt x="3642" y="20346"/>
                            </a:lnTo>
                            <a:lnTo>
                              <a:pt x="3391" y="20221"/>
                            </a:lnTo>
                            <a:lnTo>
                              <a:pt x="3266" y="20221"/>
                            </a:lnTo>
                            <a:lnTo>
                              <a:pt x="2763" y="19844"/>
                            </a:lnTo>
                            <a:lnTo>
                              <a:pt x="2763" y="19844"/>
                            </a:lnTo>
                            <a:lnTo>
                              <a:pt x="2638" y="19844"/>
                            </a:lnTo>
                            <a:lnTo>
                              <a:pt x="2010" y="19467"/>
                            </a:lnTo>
                            <a:lnTo>
                              <a:pt x="2010" y="19467"/>
                            </a:lnTo>
                            <a:lnTo>
                              <a:pt x="1507" y="19216"/>
                            </a:lnTo>
                            <a:lnTo>
                              <a:pt x="1381" y="19090"/>
                            </a:lnTo>
                            <a:lnTo>
                              <a:pt x="0" y="18211"/>
                            </a:lnTo>
                            <a:lnTo>
                              <a:pt x="0" y="16578"/>
                            </a:lnTo>
                            <a:lnTo>
                              <a:pt x="31524" y="0"/>
                            </a:lnTo>
                            <a:lnTo>
                              <a:pt x="32278" y="502"/>
                            </a:lnTo>
                            <a:lnTo>
                              <a:pt x="32404" y="628"/>
                            </a:lnTo>
                            <a:lnTo>
                              <a:pt x="33409" y="1130"/>
                            </a:lnTo>
                            <a:lnTo>
                              <a:pt x="33659" y="1256"/>
                            </a:lnTo>
                            <a:lnTo>
                              <a:pt x="34539" y="1758"/>
                            </a:lnTo>
                            <a:lnTo>
                              <a:pt x="34664" y="1884"/>
                            </a:lnTo>
                            <a:lnTo>
                              <a:pt x="35166" y="2135"/>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181" y="3893"/>
                            </a:lnTo>
                            <a:lnTo>
                              <a:pt x="38809" y="4270"/>
                            </a:lnTo>
                            <a:lnTo>
                              <a:pt x="38935" y="4270"/>
                            </a:lnTo>
                            <a:lnTo>
                              <a:pt x="39186" y="4521"/>
                            </a:lnTo>
                            <a:lnTo>
                              <a:pt x="39311" y="4521"/>
                            </a:lnTo>
                            <a:lnTo>
                              <a:pt x="39563" y="4773"/>
                            </a:lnTo>
                            <a:lnTo>
                              <a:pt x="39813" y="4773"/>
                            </a:lnTo>
                            <a:lnTo>
                              <a:pt x="40190" y="5149"/>
                            </a:lnTo>
                            <a:lnTo>
                              <a:pt x="40442" y="5275"/>
                            </a:lnTo>
                            <a:lnTo>
                              <a:pt x="40693" y="5400"/>
                            </a:lnTo>
                            <a:lnTo>
                              <a:pt x="40693" y="5400"/>
                            </a:lnTo>
                            <a:lnTo>
                              <a:pt x="40818" y="5400"/>
                            </a:lnTo>
                            <a:lnTo>
                              <a:pt x="41195" y="5652"/>
                            </a:lnTo>
                            <a:lnTo>
                              <a:pt x="41320" y="5777"/>
                            </a:lnTo>
                            <a:lnTo>
                              <a:pt x="41572" y="5903"/>
                            </a:lnTo>
                            <a:lnTo>
                              <a:pt x="41572" y="5903"/>
                            </a:lnTo>
                            <a:lnTo>
                              <a:pt x="41698" y="5903"/>
                            </a:lnTo>
                            <a:lnTo>
                              <a:pt x="41823" y="6028"/>
                            </a:lnTo>
                            <a:lnTo>
                              <a:pt x="41949" y="6154"/>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34" name="Freeform: Shape 4133">
                        <a:extLst>
                          <a:ext uri="{FF2B5EF4-FFF2-40B4-BE49-F238E27FC236}">
                            <a16:creationId xmlns:a16="http://schemas.microsoft.com/office/drawing/2014/main" id="{FB83D52E-D643-4C11-B2D2-28296F68584A}"/>
                          </a:ext>
                        </a:extLst>
                      </p:cNvPr>
                      <p:cNvSpPr/>
                      <p:nvPr/>
                    </p:nvSpPr>
                    <p:spPr>
                      <a:xfrm>
                        <a:off x="7259508" y="3864778"/>
                        <a:ext cx="43832" cy="25244"/>
                      </a:xfrm>
                      <a:custGeom>
                        <a:avLst/>
                        <a:gdLst>
                          <a:gd name="connsiteX0" fmla="*/ 43832 w 43832"/>
                          <a:gd name="connsiteY0" fmla="*/ 7033 h 25244"/>
                          <a:gd name="connsiteX1" fmla="*/ 42075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202 h 25244"/>
                          <a:gd name="connsiteX10" fmla="*/ 27631 w 43832"/>
                          <a:gd name="connsiteY10" fmla="*/ 16453 h 25244"/>
                          <a:gd name="connsiteX11" fmla="*/ 26500 w 43832"/>
                          <a:gd name="connsiteY11" fmla="*/ 17081 h 25244"/>
                          <a:gd name="connsiteX12" fmla="*/ 25998 w 43832"/>
                          <a:gd name="connsiteY12" fmla="*/ 17332 h 25244"/>
                          <a:gd name="connsiteX13" fmla="*/ 25998 w 43832"/>
                          <a:gd name="connsiteY13" fmla="*/ 17458 h 25244"/>
                          <a:gd name="connsiteX14" fmla="*/ 25998 w 43832"/>
                          <a:gd name="connsiteY14" fmla="*/ 17458 h 25244"/>
                          <a:gd name="connsiteX15" fmla="*/ 25747 w 43832"/>
                          <a:gd name="connsiteY15" fmla="*/ 17583 h 25244"/>
                          <a:gd name="connsiteX16" fmla="*/ 24240 w 43832"/>
                          <a:gd name="connsiteY16" fmla="*/ 18337 h 25244"/>
                          <a:gd name="connsiteX17" fmla="*/ 24240 w 43832"/>
                          <a:gd name="connsiteY17" fmla="*/ 18337 h 25244"/>
                          <a:gd name="connsiteX18" fmla="*/ 23989 w 43832"/>
                          <a:gd name="connsiteY18" fmla="*/ 18588 h 25244"/>
                          <a:gd name="connsiteX19" fmla="*/ 17584 w 43832"/>
                          <a:gd name="connsiteY19" fmla="*/ 22230 h 25244"/>
                          <a:gd name="connsiteX20" fmla="*/ 17206 w 43832"/>
                          <a:gd name="connsiteY20" fmla="*/ 22482 h 25244"/>
                          <a:gd name="connsiteX21" fmla="*/ 17206 w 43832"/>
                          <a:gd name="connsiteY21" fmla="*/ 22482 h 25244"/>
                          <a:gd name="connsiteX22" fmla="*/ 12308 w 43832"/>
                          <a:gd name="connsiteY22" fmla="*/ 25245 h 25244"/>
                          <a:gd name="connsiteX23" fmla="*/ 12183 w 43832"/>
                          <a:gd name="connsiteY23" fmla="*/ 25245 h 25244"/>
                          <a:gd name="connsiteX24" fmla="*/ 12183 w 43832"/>
                          <a:gd name="connsiteY24" fmla="*/ 25245 h 25244"/>
                          <a:gd name="connsiteX25" fmla="*/ 11806 w 43832"/>
                          <a:gd name="connsiteY25" fmla="*/ 24993 h 25244"/>
                          <a:gd name="connsiteX26" fmla="*/ 11680 w 43832"/>
                          <a:gd name="connsiteY26" fmla="*/ 24993 h 25244"/>
                          <a:gd name="connsiteX27" fmla="*/ 11304 w 43832"/>
                          <a:gd name="connsiteY27" fmla="*/ 24742 h 25244"/>
                          <a:gd name="connsiteX28" fmla="*/ 11178 w 43832"/>
                          <a:gd name="connsiteY28" fmla="*/ 24617 h 25244"/>
                          <a:gd name="connsiteX29" fmla="*/ 10173 w 43832"/>
                          <a:gd name="connsiteY29" fmla="*/ 23989 h 25244"/>
                          <a:gd name="connsiteX30" fmla="*/ 10047 w 43832"/>
                          <a:gd name="connsiteY30" fmla="*/ 23989 h 25244"/>
                          <a:gd name="connsiteX31" fmla="*/ 9420 w 43832"/>
                          <a:gd name="connsiteY31" fmla="*/ 23612 h 25244"/>
                          <a:gd name="connsiteX32" fmla="*/ 9168 w 43832"/>
                          <a:gd name="connsiteY32" fmla="*/ 23486 h 25244"/>
                          <a:gd name="connsiteX33" fmla="*/ 8666 w 43832"/>
                          <a:gd name="connsiteY33" fmla="*/ 23235 h 25244"/>
                          <a:gd name="connsiteX34" fmla="*/ 8540 w 43832"/>
                          <a:gd name="connsiteY34" fmla="*/ 23109 h 25244"/>
                          <a:gd name="connsiteX35" fmla="*/ 8164 w 43832"/>
                          <a:gd name="connsiteY35" fmla="*/ 22858 h 25244"/>
                          <a:gd name="connsiteX36" fmla="*/ 8038 w 43832"/>
                          <a:gd name="connsiteY36" fmla="*/ 22858 h 25244"/>
                          <a:gd name="connsiteX37" fmla="*/ 7410 w 43832"/>
                          <a:gd name="connsiteY37" fmla="*/ 22482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728 h 25244"/>
                          <a:gd name="connsiteX44" fmla="*/ 5526 w 43832"/>
                          <a:gd name="connsiteY44" fmla="*/ 21351 h 25244"/>
                          <a:gd name="connsiteX45" fmla="*/ 5400 w 43832"/>
                          <a:gd name="connsiteY45" fmla="*/ 21351 h 25244"/>
                          <a:gd name="connsiteX46" fmla="*/ 4521 w 43832"/>
                          <a:gd name="connsiteY46" fmla="*/ 20849 h 25244"/>
                          <a:gd name="connsiteX47" fmla="*/ 4396 w 43832"/>
                          <a:gd name="connsiteY47" fmla="*/ 20723 h 25244"/>
                          <a:gd name="connsiteX48" fmla="*/ 3642 w 43832"/>
                          <a:gd name="connsiteY48" fmla="*/ 20346 h 25244"/>
                          <a:gd name="connsiteX49" fmla="*/ 3642 w 43832"/>
                          <a:gd name="connsiteY49" fmla="*/ 20346 h 25244"/>
                          <a:gd name="connsiteX50" fmla="*/ 3391 w 43832"/>
                          <a:gd name="connsiteY50" fmla="*/ 20095 h 25244"/>
                          <a:gd name="connsiteX51" fmla="*/ 3266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10 w 43832"/>
                          <a:gd name="connsiteY55" fmla="*/ 19342 h 25244"/>
                          <a:gd name="connsiteX56" fmla="*/ 2010 w 43832"/>
                          <a:gd name="connsiteY56" fmla="*/ 19342 h 25244"/>
                          <a:gd name="connsiteX57" fmla="*/ 1507 w 43832"/>
                          <a:gd name="connsiteY57" fmla="*/ 19090 h 25244"/>
                          <a:gd name="connsiteX58" fmla="*/ 1381 w 43832"/>
                          <a:gd name="connsiteY58" fmla="*/ 18965 h 25244"/>
                          <a:gd name="connsiteX59" fmla="*/ 0 w 43832"/>
                          <a:gd name="connsiteY59" fmla="*/ 18211 h 25244"/>
                          <a:gd name="connsiteX60" fmla="*/ 4396 w 43832"/>
                          <a:gd name="connsiteY60" fmla="*/ 15574 h 25244"/>
                          <a:gd name="connsiteX61" fmla="*/ 4396 w 43832"/>
                          <a:gd name="connsiteY61" fmla="*/ 15574 h 25244"/>
                          <a:gd name="connsiteX62" fmla="*/ 4521 w 43832"/>
                          <a:gd name="connsiteY62" fmla="*/ 15574 h 25244"/>
                          <a:gd name="connsiteX63" fmla="*/ 4521 w 43832"/>
                          <a:gd name="connsiteY63" fmla="*/ 15574 h 25244"/>
                          <a:gd name="connsiteX64" fmla="*/ 4773 w 43832"/>
                          <a:gd name="connsiteY64" fmla="*/ 15323 h 25244"/>
                          <a:gd name="connsiteX65" fmla="*/ 4898 w 43832"/>
                          <a:gd name="connsiteY65" fmla="*/ 15323 h 25244"/>
                          <a:gd name="connsiteX66" fmla="*/ 5024 w 43832"/>
                          <a:gd name="connsiteY66" fmla="*/ 15323 h 25244"/>
                          <a:gd name="connsiteX67" fmla="*/ 5024 w 43832"/>
                          <a:gd name="connsiteY67" fmla="*/ 15197 h 25244"/>
                          <a:gd name="connsiteX68" fmla="*/ 17584 w 43832"/>
                          <a:gd name="connsiteY68" fmla="*/ 8038 h 25244"/>
                          <a:gd name="connsiteX69" fmla="*/ 17834 w 43832"/>
                          <a:gd name="connsiteY69" fmla="*/ 7913 h 25244"/>
                          <a:gd name="connsiteX70" fmla="*/ 18086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9 w 43832"/>
                          <a:gd name="connsiteY75" fmla="*/ 1005 h 25244"/>
                          <a:gd name="connsiteX76" fmla="*/ 33659 w 43832"/>
                          <a:gd name="connsiteY76" fmla="*/ 1256 h 25244"/>
                          <a:gd name="connsiteX77" fmla="*/ 34539 w 43832"/>
                          <a:gd name="connsiteY77" fmla="*/ 1758 h 25244"/>
                          <a:gd name="connsiteX78" fmla="*/ 34664 w 43832"/>
                          <a:gd name="connsiteY78" fmla="*/ 1758 h 25244"/>
                          <a:gd name="connsiteX79" fmla="*/ 35166 w 43832"/>
                          <a:gd name="connsiteY79" fmla="*/ 2135 h 25244"/>
                          <a:gd name="connsiteX80" fmla="*/ 35166 w 43832"/>
                          <a:gd name="connsiteY80" fmla="*/ 2135 h 25244"/>
                          <a:gd name="connsiteX81" fmla="*/ 36046 w 43832"/>
                          <a:gd name="connsiteY81" fmla="*/ 2512 h 25244"/>
                          <a:gd name="connsiteX82" fmla="*/ 36171 w 43832"/>
                          <a:gd name="connsiteY82" fmla="*/ 2638 h 25244"/>
                          <a:gd name="connsiteX83" fmla="*/ 36799 w 43832"/>
                          <a:gd name="connsiteY83" fmla="*/ 3014 h 25244"/>
                          <a:gd name="connsiteX84" fmla="*/ 36799 w 43832"/>
                          <a:gd name="connsiteY84" fmla="*/ 3014 h 25244"/>
                          <a:gd name="connsiteX85" fmla="*/ 37804 w 43832"/>
                          <a:gd name="connsiteY85" fmla="*/ 3517 h 25244"/>
                          <a:gd name="connsiteX86" fmla="*/ 37930 w 43832"/>
                          <a:gd name="connsiteY86" fmla="*/ 3642 h 25244"/>
                          <a:gd name="connsiteX87" fmla="*/ 38181 w 43832"/>
                          <a:gd name="connsiteY87" fmla="*/ 3893 h 25244"/>
                          <a:gd name="connsiteX88" fmla="*/ 38809 w 43832"/>
                          <a:gd name="connsiteY88" fmla="*/ 4145 h 25244"/>
                          <a:gd name="connsiteX89" fmla="*/ 38935 w 43832"/>
                          <a:gd name="connsiteY89" fmla="*/ 4270 h 25244"/>
                          <a:gd name="connsiteX90" fmla="*/ 39186 w 43832"/>
                          <a:gd name="connsiteY90" fmla="*/ 4396 h 25244"/>
                          <a:gd name="connsiteX91" fmla="*/ 39311 w 43832"/>
                          <a:gd name="connsiteY91" fmla="*/ 4396 h 25244"/>
                          <a:gd name="connsiteX92" fmla="*/ 39563 w 43832"/>
                          <a:gd name="connsiteY92" fmla="*/ 4647 h 25244"/>
                          <a:gd name="connsiteX93" fmla="*/ 39813 w 43832"/>
                          <a:gd name="connsiteY93" fmla="*/ 4773 h 25244"/>
                          <a:gd name="connsiteX94" fmla="*/ 40316 w 43832"/>
                          <a:gd name="connsiteY94" fmla="*/ 5024 h 25244"/>
                          <a:gd name="connsiteX95" fmla="*/ 40442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823 w 43832"/>
                          <a:gd name="connsiteY104" fmla="*/ 5903 h 25244"/>
                          <a:gd name="connsiteX105" fmla="*/ 41949 w 43832"/>
                          <a:gd name="connsiteY105" fmla="*/ 6028 h 25244"/>
                          <a:gd name="connsiteX106" fmla="*/ 42451 w 43832"/>
                          <a:gd name="connsiteY106" fmla="*/ 6280 h 25244"/>
                          <a:gd name="connsiteX107" fmla="*/ 42577 w 43832"/>
                          <a:gd name="connsiteY107" fmla="*/ 6280 h 25244"/>
                          <a:gd name="connsiteX108" fmla="*/ 42828 w 43832"/>
                          <a:gd name="connsiteY108" fmla="*/ 6531 h 25244"/>
                          <a:gd name="connsiteX109" fmla="*/ 42953 w 43832"/>
                          <a:gd name="connsiteY109" fmla="*/ 6531 h 25244"/>
                          <a:gd name="connsiteX110" fmla="*/ 43330 w 43832"/>
                          <a:gd name="connsiteY110" fmla="*/ 6782 h 25244"/>
                          <a:gd name="connsiteX111" fmla="*/ 43330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5" y="8038"/>
                            </a:lnTo>
                            <a:lnTo>
                              <a:pt x="41823" y="8164"/>
                            </a:lnTo>
                            <a:lnTo>
                              <a:pt x="41823" y="8164"/>
                            </a:lnTo>
                            <a:lnTo>
                              <a:pt x="39060" y="9796"/>
                            </a:lnTo>
                            <a:lnTo>
                              <a:pt x="38935" y="9796"/>
                            </a:lnTo>
                            <a:lnTo>
                              <a:pt x="38432" y="10173"/>
                            </a:lnTo>
                            <a:lnTo>
                              <a:pt x="38181" y="10299"/>
                            </a:lnTo>
                            <a:lnTo>
                              <a:pt x="37553" y="10676"/>
                            </a:lnTo>
                            <a:lnTo>
                              <a:pt x="28133" y="16202"/>
                            </a:lnTo>
                            <a:lnTo>
                              <a:pt x="27631" y="16453"/>
                            </a:lnTo>
                            <a:lnTo>
                              <a:pt x="26500" y="17081"/>
                            </a:lnTo>
                            <a:lnTo>
                              <a:pt x="25998" y="17332"/>
                            </a:lnTo>
                            <a:lnTo>
                              <a:pt x="25998" y="17458"/>
                            </a:lnTo>
                            <a:lnTo>
                              <a:pt x="25998" y="17458"/>
                            </a:lnTo>
                            <a:lnTo>
                              <a:pt x="25747" y="17583"/>
                            </a:lnTo>
                            <a:lnTo>
                              <a:pt x="24240" y="18337"/>
                            </a:lnTo>
                            <a:lnTo>
                              <a:pt x="24240" y="18337"/>
                            </a:lnTo>
                            <a:lnTo>
                              <a:pt x="23989" y="18588"/>
                            </a:lnTo>
                            <a:lnTo>
                              <a:pt x="17584" y="22230"/>
                            </a:lnTo>
                            <a:lnTo>
                              <a:pt x="17206" y="22482"/>
                            </a:lnTo>
                            <a:lnTo>
                              <a:pt x="17206" y="22482"/>
                            </a:lnTo>
                            <a:lnTo>
                              <a:pt x="12308" y="25245"/>
                            </a:lnTo>
                            <a:lnTo>
                              <a:pt x="12183" y="25245"/>
                            </a:lnTo>
                            <a:lnTo>
                              <a:pt x="12183" y="25245"/>
                            </a:lnTo>
                            <a:lnTo>
                              <a:pt x="11806" y="24993"/>
                            </a:lnTo>
                            <a:lnTo>
                              <a:pt x="11680" y="24993"/>
                            </a:lnTo>
                            <a:lnTo>
                              <a:pt x="11304" y="24742"/>
                            </a:lnTo>
                            <a:lnTo>
                              <a:pt x="11178" y="24617"/>
                            </a:lnTo>
                            <a:lnTo>
                              <a:pt x="10173" y="23989"/>
                            </a:lnTo>
                            <a:lnTo>
                              <a:pt x="10047" y="23989"/>
                            </a:lnTo>
                            <a:lnTo>
                              <a:pt x="9420" y="23612"/>
                            </a:lnTo>
                            <a:lnTo>
                              <a:pt x="9168" y="23486"/>
                            </a:lnTo>
                            <a:lnTo>
                              <a:pt x="8666" y="23235"/>
                            </a:lnTo>
                            <a:lnTo>
                              <a:pt x="8540" y="23109"/>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351"/>
                            </a:lnTo>
                            <a:lnTo>
                              <a:pt x="5400" y="21351"/>
                            </a:lnTo>
                            <a:lnTo>
                              <a:pt x="4521" y="20849"/>
                            </a:lnTo>
                            <a:lnTo>
                              <a:pt x="4396" y="20723"/>
                            </a:lnTo>
                            <a:lnTo>
                              <a:pt x="3642" y="20346"/>
                            </a:lnTo>
                            <a:lnTo>
                              <a:pt x="3642" y="20346"/>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211"/>
                            </a:lnTo>
                            <a:lnTo>
                              <a:pt x="4396" y="15574"/>
                            </a:lnTo>
                            <a:lnTo>
                              <a:pt x="4396" y="15574"/>
                            </a:lnTo>
                            <a:lnTo>
                              <a:pt x="4521" y="15574"/>
                            </a:lnTo>
                            <a:lnTo>
                              <a:pt x="4521" y="15574"/>
                            </a:lnTo>
                            <a:lnTo>
                              <a:pt x="4773" y="15323"/>
                            </a:lnTo>
                            <a:lnTo>
                              <a:pt x="4898" y="15323"/>
                            </a:lnTo>
                            <a:lnTo>
                              <a:pt x="5024" y="15323"/>
                            </a:lnTo>
                            <a:lnTo>
                              <a:pt x="5024" y="15197"/>
                            </a:lnTo>
                            <a:lnTo>
                              <a:pt x="17584" y="8038"/>
                            </a:lnTo>
                            <a:lnTo>
                              <a:pt x="17834" y="7913"/>
                            </a:lnTo>
                            <a:lnTo>
                              <a:pt x="18086" y="7661"/>
                            </a:lnTo>
                            <a:lnTo>
                              <a:pt x="18337" y="7536"/>
                            </a:lnTo>
                            <a:lnTo>
                              <a:pt x="31524" y="0"/>
                            </a:lnTo>
                            <a:lnTo>
                              <a:pt x="32278" y="377"/>
                            </a:lnTo>
                            <a:lnTo>
                              <a:pt x="32404" y="502"/>
                            </a:lnTo>
                            <a:lnTo>
                              <a:pt x="33409" y="1005"/>
                            </a:lnTo>
                            <a:lnTo>
                              <a:pt x="33659" y="1256"/>
                            </a:lnTo>
                            <a:lnTo>
                              <a:pt x="34539" y="1758"/>
                            </a:lnTo>
                            <a:lnTo>
                              <a:pt x="34664" y="1758"/>
                            </a:lnTo>
                            <a:lnTo>
                              <a:pt x="35166" y="2135"/>
                            </a:lnTo>
                            <a:lnTo>
                              <a:pt x="35166" y="2135"/>
                            </a:lnTo>
                            <a:lnTo>
                              <a:pt x="36046" y="2512"/>
                            </a:lnTo>
                            <a:lnTo>
                              <a:pt x="36171" y="2638"/>
                            </a:lnTo>
                            <a:lnTo>
                              <a:pt x="36799" y="3014"/>
                            </a:lnTo>
                            <a:lnTo>
                              <a:pt x="36799" y="3014"/>
                            </a:lnTo>
                            <a:lnTo>
                              <a:pt x="37804" y="3517"/>
                            </a:lnTo>
                            <a:lnTo>
                              <a:pt x="37930" y="3642"/>
                            </a:lnTo>
                            <a:lnTo>
                              <a:pt x="38181" y="3893"/>
                            </a:lnTo>
                            <a:lnTo>
                              <a:pt x="38809" y="4145"/>
                            </a:lnTo>
                            <a:lnTo>
                              <a:pt x="38935" y="4270"/>
                            </a:lnTo>
                            <a:lnTo>
                              <a:pt x="39186" y="4396"/>
                            </a:lnTo>
                            <a:lnTo>
                              <a:pt x="39311" y="4396"/>
                            </a:lnTo>
                            <a:lnTo>
                              <a:pt x="39563" y="4647"/>
                            </a:lnTo>
                            <a:lnTo>
                              <a:pt x="39813" y="4773"/>
                            </a:lnTo>
                            <a:lnTo>
                              <a:pt x="40316"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8"/>
                            </a:lnTo>
                            <a:lnTo>
                              <a:pt x="42451" y="6280"/>
                            </a:lnTo>
                            <a:lnTo>
                              <a:pt x="42577" y="6280"/>
                            </a:lnTo>
                            <a:lnTo>
                              <a:pt x="42828" y="6531"/>
                            </a:lnTo>
                            <a:lnTo>
                              <a:pt x="42953" y="6531"/>
                            </a:lnTo>
                            <a:lnTo>
                              <a:pt x="43330" y="6782"/>
                            </a:lnTo>
                            <a:lnTo>
                              <a:pt x="43330"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35" name="Freeform: Shape 4134">
                      <a:extLst>
                        <a:ext uri="{FF2B5EF4-FFF2-40B4-BE49-F238E27FC236}">
                          <a16:creationId xmlns:a16="http://schemas.microsoft.com/office/drawing/2014/main" id="{F91E958C-F62B-430D-BDD1-B93EC7901104}"/>
                        </a:ext>
                      </a:extLst>
                    </p:cNvPr>
                    <p:cNvSpPr/>
                    <p:nvPr/>
                  </p:nvSpPr>
                  <p:spPr>
                    <a:xfrm>
                      <a:off x="7259508" y="3882989"/>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36" name="Graphic 4">
                    <a:extLst>
                      <a:ext uri="{FF2B5EF4-FFF2-40B4-BE49-F238E27FC236}">
                        <a16:creationId xmlns:a16="http://schemas.microsoft.com/office/drawing/2014/main" id="{84FB7ED1-A2DF-40A1-A747-5F7CF3F14040}"/>
                      </a:ext>
                    </a:extLst>
                  </p:cNvPr>
                  <p:cNvGrpSpPr/>
                  <p:nvPr/>
                </p:nvGrpSpPr>
                <p:grpSpPr>
                  <a:xfrm>
                    <a:off x="7245442" y="3853977"/>
                    <a:ext cx="43832" cy="27128"/>
                    <a:chOff x="7245442" y="3853977"/>
                    <a:chExt cx="43832" cy="27128"/>
                  </a:xfrm>
                  <a:solidFill>
                    <a:schemeClr val="accent1"/>
                  </a:solidFill>
                </p:grpSpPr>
                <p:grpSp>
                  <p:nvGrpSpPr>
                    <p:cNvPr id="4137" name="Graphic 4">
                      <a:extLst>
                        <a:ext uri="{FF2B5EF4-FFF2-40B4-BE49-F238E27FC236}">
                          <a16:creationId xmlns:a16="http://schemas.microsoft.com/office/drawing/2014/main" id="{84FB7ED1-A2DF-40A1-A747-5F7CF3F14040}"/>
                        </a:ext>
                      </a:extLst>
                    </p:cNvPr>
                    <p:cNvGrpSpPr/>
                    <p:nvPr/>
                  </p:nvGrpSpPr>
                  <p:grpSpPr>
                    <a:xfrm>
                      <a:off x="7245442" y="3853977"/>
                      <a:ext cx="43832" cy="27128"/>
                      <a:chOff x="7245442" y="3853977"/>
                      <a:chExt cx="43832" cy="27128"/>
                    </a:xfrm>
                    <a:solidFill>
                      <a:schemeClr val="accent1"/>
                    </a:solidFill>
                  </p:grpSpPr>
                  <p:sp>
                    <p:nvSpPr>
                      <p:cNvPr id="4138" name="Freeform: Shape 4137">
                        <a:extLst>
                          <a:ext uri="{FF2B5EF4-FFF2-40B4-BE49-F238E27FC236}">
                            <a16:creationId xmlns:a16="http://schemas.microsoft.com/office/drawing/2014/main" id="{FF55341F-6708-4BF2-BB85-E039AE8757E6}"/>
                          </a:ext>
                        </a:extLst>
                      </p:cNvPr>
                      <p:cNvSpPr/>
                      <p:nvPr/>
                    </p:nvSpPr>
                    <p:spPr>
                      <a:xfrm>
                        <a:off x="7245442" y="3855735"/>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678 w 43832"/>
                          <a:gd name="connsiteY8" fmla="*/ 10676 h 25370"/>
                          <a:gd name="connsiteX9" fmla="*/ 28133 w 43832"/>
                          <a:gd name="connsiteY9" fmla="*/ 16202 h 25370"/>
                          <a:gd name="connsiteX10" fmla="*/ 28133 w 43832"/>
                          <a:gd name="connsiteY10" fmla="*/ 16202 h 25370"/>
                          <a:gd name="connsiteX11" fmla="*/ 27631 w 43832"/>
                          <a:gd name="connsiteY11" fmla="*/ 16453 h 25370"/>
                          <a:gd name="connsiteX12" fmla="*/ 26626 w 43832"/>
                          <a:gd name="connsiteY12" fmla="*/ 17081 h 25370"/>
                          <a:gd name="connsiteX13" fmla="*/ 26626 w 43832"/>
                          <a:gd name="connsiteY13" fmla="*/ 17081 h 25370"/>
                          <a:gd name="connsiteX14" fmla="*/ 26124 w 43832"/>
                          <a:gd name="connsiteY14" fmla="*/ 17332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8 w 43832"/>
                          <a:gd name="connsiteY21" fmla="*/ 18588 h 25370"/>
                          <a:gd name="connsiteX22" fmla="*/ 17584 w 43832"/>
                          <a:gd name="connsiteY22" fmla="*/ 22230 h 25370"/>
                          <a:gd name="connsiteX23" fmla="*/ 17584 w 43832"/>
                          <a:gd name="connsiteY23" fmla="*/ 22230 h 25370"/>
                          <a:gd name="connsiteX24" fmla="*/ 17206 w 43832"/>
                          <a:gd name="connsiteY24" fmla="*/ 22482 h 25370"/>
                          <a:gd name="connsiteX25" fmla="*/ 17206 w 43832"/>
                          <a:gd name="connsiteY25" fmla="*/ 22482 h 25370"/>
                          <a:gd name="connsiteX26" fmla="*/ 12308 w 43832"/>
                          <a:gd name="connsiteY26" fmla="*/ 25370 h 25370"/>
                          <a:gd name="connsiteX27" fmla="*/ 12308 w 43832"/>
                          <a:gd name="connsiteY27" fmla="*/ 25245 h 25370"/>
                          <a:gd name="connsiteX28" fmla="*/ 12183 w 43832"/>
                          <a:gd name="connsiteY28" fmla="*/ 25245 h 25370"/>
                          <a:gd name="connsiteX29" fmla="*/ 11806 w 43832"/>
                          <a:gd name="connsiteY29" fmla="*/ 24993 h 25370"/>
                          <a:gd name="connsiteX30" fmla="*/ 11806 w 43832"/>
                          <a:gd name="connsiteY30" fmla="*/ 24993 h 25370"/>
                          <a:gd name="connsiteX31" fmla="*/ 11806 w 43832"/>
                          <a:gd name="connsiteY31" fmla="*/ 24993 h 25370"/>
                          <a:gd name="connsiteX32" fmla="*/ 11304 w 43832"/>
                          <a:gd name="connsiteY32" fmla="*/ 24742 h 25370"/>
                          <a:gd name="connsiteX33" fmla="*/ 11178 w 43832"/>
                          <a:gd name="connsiteY33" fmla="*/ 24617 h 25370"/>
                          <a:gd name="connsiteX34" fmla="*/ 10173 w 43832"/>
                          <a:gd name="connsiteY34" fmla="*/ 24114 h 25370"/>
                          <a:gd name="connsiteX35" fmla="*/ 10173 w 43832"/>
                          <a:gd name="connsiteY35" fmla="*/ 24114 h 25370"/>
                          <a:gd name="connsiteX36" fmla="*/ 9420 w 43832"/>
                          <a:gd name="connsiteY36" fmla="*/ 23737 h 25370"/>
                          <a:gd name="connsiteX37" fmla="*/ 9294 w 43832"/>
                          <a:gd name="connsiteY37" fmla="*/ 23612 h 25370"/>
                          <a:gd name="connsiteX38" fmla="*/ 8666 w 43832"/>
                          <a:gd name="connsiteY38" fmla="*/ 23235 h 25370"/>
                          <a:gd name="connsiteX39" fmla="*/ 8666 w 43832"/>
                          <a:gd name="connsiteY39" fmla="*/ 23235 h 25370"/>
                          <a:gd name="connsiteX40" fmla="*/ 8164 w 43832"/>
                          <a:gd name="connsiteY40" fmla="*/ 22858 h 25370"/>
                          <a:gd name="connsiteX41" fmla="*/ 8038 w 43832"/>
                          <a:gd name="connsiteY41" fmla="*/ 22858 h 25370"/>
                          <a:gd name="connsiteX42" fmla="*/ 7410 w 43832"/>
                          <a:gd name="connsiteY42" fmla="*/ 22482 h 25370"/>
                          <a:gd name="connsiteX43" fmla="*/ 7285 w 43832"/>
                          <a:gd name="connsiteY43" fmla="*/ 22356 h 25370"/>
                          <a:gd name="connsiteX44" fmla="*/ 7285 w 43832"/>
                          <a:gd name="connsiteY44" fmla="*/ 22356 h 25370"/>
                          <a:gd name="connsiteX45" fmla="*/ 6657 w 43832"/>
                          <a:gd name="connsiteY45" fmla="*/ 21979 h 25370"/>
                          <a:gd name="connsiteX46" fmla="*/ 6531 w 43832"/>
                          <a:gd name="connsiteY46" fmla="*/ 21979 h 25370"/>
                          <a:gd name="connsiteX47" fmla="*/ 6154 w 43832"/>
                          <a:gd name="connsiteY47" fmla="*/ 21728 h 25370"/>
                          <a:gd name="connsiteX48" fmla="*/ 6028 w 43832"/>
                          <a:gd name="connsiteY48" fmla="*/ 21728 h 25370"/>
                          <a:gd name="connsiteX49" fmla="*/ 5526 w 43832"/>
                          <a:gd name="connsiteY49" fmla="*/ 21477 h 25370"/>
                          <a:gd name="connsiteX50" fmla="*/ 5526 w 43832"/>
                          <a:gd name="connsiteY50" fmla="*/ 21351 h 25370"/>
                          <a:gd name="connsiteX51" fmla="*/ 4647 w 43832"/>
                          <a:gd name="connsiteY51" fmla="*/ 20849 h 25370"/>
                          <a:gd name="connsiteX52" fmla="*/ 4396 w 43832"/>
                          <a:gd name="connsiteY52" fmla="*/ 20723 h 25370"/>
                          <a:gd name="connsiteX53" fmla="*/ 3768 w 43832"/>
                          <a:gd name="connsiteY53" fmla="*/ 20346 h 25370"/>
                          <a:gd name="connsiteX54" fmla="*/ 3642 w 43832"/>
                          <a:gd name="connsiteY54" fmla="*/ 20346 h 25370"/>
                          <a:gd name="connsiteX55" fmla="*/ 3391 w 43832"/>
                          <a:gd name="connsiteY55" fmla="*/ 20221 h 25370"/>
                          <a:gd name="connsiteX56" fmla="*/ 3391 w 43832"/>
                          <a:gd name="connsiteY56" fmla="*/ 20095 h 25370"/>
                          <a:gd name="connsiteX57" fmla="*/ 2763 w 43832"/>
                          <a:gd name="connsiteY57" fmla="*/ 19844 h 25370"/>
                          <a:gd name="connsiteX58" fmla="*/ 2763 w 43832"/>
                          <a:gd name="connsiteY58" fmla="*/ 19844 h 25370"/>
                          <a:gd name="connsiteX59" fmla="*/ 2638 w 43832"/>
                          <a:gd name="connsiteY59" fmla="*/ 19718 h 25370"/>
                          <a:gd name="connsiteX60" fmla="*/ 2009 w 43832"/>
                          <a:gd name="connsiteY60" fmla="*/ 19467 h 25370"/>
                          <a:gd name="connsiteX61" fmla="*/ 2009 w 43832"/>
                          <a:gd name="connsiteY61" fmla="*/ 19342 h 25370"/>
                          <a:gd name="connsiteX62" fmla="*/ 1633 w 43832"/>
                          <a:gd name="connsiteY62" fmla="*/ 19090 h 25370"/>
                          <a:gd name="connsiteX63" fmla="*/ 1381 w 43832"/>
                          <a:gd name="connsiteY63" fmla="*/ 19090 h 25370"/>
                          <a:gd name="connsiteX64" fmla="*/ 0 w 43832"/>
                          <a:gd name="connsiteY64" fmla="*/ 18211 h 25370"/>
                          <a:gd name="connsiteX65" fmla="*/ 0 w 43832"/>
                          <a:gd name="connsiteY65" fmla="*/ 16453 h 25370"/>
                          <a:gd name="connsiteX66" fmla="*/ 31524 w 43832"/>
                          <a:gd name="connsiteY66" fmla="*/ 0 h 25370"/>
                          <a:gd name="connsiteX67" fmla="*/ 32278 w 43832"/>
                          <a:gd name="connsiteY67" fmla="*/ 377 h 25370"/>
                          <a:gd name="connsiteX68" fmla="*/ 32404 w 43832"/>
                          <a:gd name="connsiteY68" fmla="*/ 502 h 25370"/>
                          <a:gd name="connsiteX69" fmla="*/ 33408 w 43832"/>
                          <a:gd name="connsiteY69" fmla="*/ 1130 h 25370"/>
                          <a:gd name="connsiteX70" fmla="*/ 33659 w 43832"/>
                          <a:gd name="connsiteY70" fmla="*/ 1256 h 25370"/>
                          <a:gd name="connsiteX71" fmla="*/ 34539 w 43832"/>
                          <a:gd name="connsiteY71" fmla="*/ 1758 h 25370"/>
                          <a:gd name="connsiteX72" fmla="*/ 34790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8 h 25370"/>
                          <a:gd name="connsiteX77" fmla="*/ 36297 w 43832"/>
                          <a:gd name="connsiteY77" fmla="*/ 2763 h 25370"/>
                          <a:gd name="connsiteX78" fmla="*/ 36799 w 43832"/>
                          <a:gd name="connsiteY78" fmla="*/ 3014 h 25370"/>
                          <a:gd name="connsiteX79" fmla="*/ 36925 w 43832"/>
                          <a:gd name="connsiteY79" fmla="*/ 3140 h 25370"/>
                          <a:gd name="connsiteX80" fmla="*/ 37804 w 43832"/>
                          <a:gd name="connsiteY80" fmla="*/ 3642 h 25370"/>
                          <a:gd name="connsiteX81" fmla="*/ 37930 w 43832"/>
                          <a:gd name="connsiteY81" fmla="*/ 3768 h 25370"/>
                          <a:gd name="connsiteX82" fmla="*/ 38181 w 43832"/>
                          <a:gd name="connsiteY82" fmla="*/ 3768 h 25370"/>
                          <a:gd name="connsiteX83" fmla="*/ 38306 w 43832"/>
                          <a:gd name="connsiteY83" fmla="*/ 3893 h 25370"/>
                          <a:gd name="connsiteX84" fmla="*/ 38809 w 43832"/>
                          <a:gd name="connsiteY84" fmla="*/ 4145 h 25370"/>
                          <a:gd name="connsiteX85" fmla="*/ 38934 w 43832"/>
                          <a:gd name="connsiteY85" fmla="*/ 4270 h 25370"/>
                          <a:gd name="connsiteX86" fmla="*/ 39186 w 43832"/>
                          <a:gd name="connsiteY86" fmla="*/ 4396 h 25370"/>
                          <a:gd name="connsiteX87" fmla="*/ 39311 w 43832"/>
                          <a:gd name="connsiteY87" fmla="*/ 4521 h 25370"/>
                          <a:gd name="connsiteX88" fmla="*/ 39688 w 43832"/>
                          <a:gd name="connsiteY88" fmla="*/ 4647 h 25370"/>
                          <a:gd name="connsiteX89" fmla="*/ 39813 w 43832"/>
                          <a:gd name="connsiteY89" fmla="*/ 4773 h 25370"/>
                          <a:gd name="connsiteX90" fmla="*/ 40316 w 43832"/>
                          <a:gd name="connsiteY90" fmla="*/ 5024 h 25370"/>
                          <a:gd name="connsiteX91" fmla="*/ 40567 w 43832"/>
                          <a:gd name="connsiteY91" fmla="*/ 5149 h 25370"/>
                          <a:gd name="connsiteX92" fmla="*/ 40693 w 43832"/>
                          <a:gd name="connsiteY92" fmla="*/ 5275 h 25370"/>
                          <a:gd name="connsiteX93" fmla="*/ 40693 w 43832"/>
                          <a:gd name="connsiteY93" fmla="*/ 5275 h 25370"/>
                          <a:gd name="connsiteX94" fmla="*/ 40818 w 43832"/>
                          <a:gd name="connsiteY94" fmla="*/ 5401 h 25370"/>
                          <a:gd name="connsiteX95" fmla="*/ 41195 w 43832"/>
                          <a:gd name="connsiteY95" fmla="*/ 5526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949 w 43832"/>
                          <a:gd name="connsiteY100" fmla="*/ 6029 h 25370"/>
                          <a:gd name="connsiteX101" fmla="*/ 42074 w 43832"/>
                          <a:gd name="connsiteY101" fmla="*/ 6029 h 25370"/>
                          <a:gd name="connsiteX102" fmla="*/ 43832 w 43832"/>
                          <a:gd name="connsiteY102" fmla="*/ 5401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678" y="10676"/>
                            </a:lnTo>
                            <a:lnTo>
                              <a:pt x="28133" y="16202"/>
                            </a:lnTo>
                            <a:lnTo>
                              <a:pt x="28133" y="16202"/>
                            </a:lnTo>
                            <a:lnTo>
                              <a:pt x="27631" y="16453"/>
                            </a:lnTo>
                            <a:lnTo>
                              <a:pt x="26626" y="17081"/>
                            </a:lnTo>
                            <a:lnTo>
                              <a:pt x="26626" y="17081"/>
                            </a:lnTo>
                            <a:lnTo>
                              <a:pt x="26124" y="17332"/>
                            </a:lnTo>
                            <a:lnTo>
                              <a:pt x="25998" y="17458"/>
                            </a:lnTo>
                            <a:lnTo>
                              <a:pt x="25998" y="17458"/>
                            </a:lnTo>
                            <a:lnTo>
                              <a:pt x="25747" y="17583"/>
                            </a:lnTo>
                            <a:lnTo>
                              <a:pt x="25747" y="17583"/>
                            </a:lnTo>
                            <a:lnTo>
                              <a:pt x="24240" y="18462"/>
                            </a:lnTo>
                            <a:lnTo>
                              <a:pt x="24240" y="18462"/>
                            </a:lnTo>
                            <a:lnTo>
                              <a:pt x="23988" y="18588"/>
                            </a:lnTo>
                            <a:lnTo>
                              <a:pt x="17584" y="22230"/>
                            </a:lnTo>
                            <a:lnTo>
                              <a:pt x="17584" y="22230"/>
                            </a:lnTo>
                            <a:lnTo>
                              <a:pt x="17206" y="22482"/>
                            </a:lnTo>
                            <a:lnTo>
                              <a:pt x="17206" y="22482"/>
                            </a:lnTo>
                            <a:lnTo>
                              <a:pt x="12308" y="25370"/>
                            </a:lnTo>
                            <a:lnTo>
                              <a:pt x="12308" y="25245"/>
                            </a:lnTo>
                            <a:lnTo>
                              <a:pt x="12183" y="25245"/>
                            </a:lnTo>
                            <a:lnTo>
                              <a:pt x="11806" y="24993"/>
                            </a:lnTo>
                            <a:lnTo>
                              <a:pt x="11806" y="24993"/>
                            </a:lnTo>
                            <a:lnTo>
                              <a:pt x="11806" y="24993"/>
                            </a:lnTo>
                            <a:lnTo>
                              <a:pt x="11304" y="24742"/>
                            </a:lnTo>
                            <a:lnTo>
                              <a:pt x="11178" y="24617"/>
                            </a:lnTo>
                            <a:lnTo>
                              <a:pt x="10173" y="24114"/>
                            </a:lnTo>
                            <a:lnTo>
                              <a:pt x="10173" y="24114"/>
                            </a:lnTo>
                            <a:lnTo>
                              <a:pt x="9420" y="23737"/>
                            </a:lnTo>
                            <a:lnTo>
                              <a:pt x="9294" y="23612"/>
                            </a:lnTo>
                            <a:lnTo>
                              <a:pt x="8666" y="23235"/>
                            </a:lnTo>
                            <a:lnTo>
                              <a:pt x="8666" y="23235"/>
                            </a:lnTo>
                            <a:lnTo>
                              <a:pt x="8164" y="22858"/>
                            </a:lnTo>
                            <a:lnTo>
                              <a:pt x="8038" y="22858"/>
                            </a:lnTo>
                            <a:lnTo>
                              <a:pt x="7410" y="22482"/>
                            </a:lnTo>
                            <a:lnTo>
                              <a:pt x="7285" y="22356"/>
                            </a:lnTo>
                            <a:lnTo>
                              <a:pt x="7285" y="22356"/>
                            </a:lnTo>
                            <a:lnTo>
                              <a:pt x="6657"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467"/>
                            </a:lnTo>
                            <a:lnTo>
                              <a:pt x="2009" y="19342"/>
                            </a:lnTo>
                            <a:lnTo>
                              <a:pt x="1633" y="19090"/>
                            </a:lnTo>
                            <a:lnTo>
                              <a:pt x="1381" y="19090"/>
                            </a:lnTo>
                            <a:lnTo>
                              <a:pt x="0" y="18211"/>
                            </a:lnTo>
                            <a:lnTo>
                              <a:pt x="0" y="16453"/>
                            </a:lnTo>
                            <a:lnTo>
                              <a:pt x="31524" y="0"/>
                            </a:lnTo>
                            <a:lnTo>
                              <a:pt x="32278" y="377"/>
                            </a:lnTo>
                            <a:lnTo>
                              <a:pt x="32404" y="502"/>
                            </a:lnTo>
                            <a:lnTo>
                              <a:pt x="33408" y="1130"/>
                            </a:lnTo>
                            <a:lnTo>
                              <a:pt x="33659" y="1256"/>
                            </a:lnTo>
                            <a:lnTo>
                              <a:pt x="34539" y="1758"/>
                            </a:lnTo>
                            <a:lnTo>
                              <a:pt x="34790" y="1884"/>
                            </a:lnTo>
                            <a:lnTo>
                              <a:pt x="35166" y="2135"/>
                            </a:lnTo>
                            <a:lnTo>
                              <a:pt x="35166" y="2135"/>
                            </a:lnTo>
                            <a:lnTo>
                              <a:pt x="35166" y="2135"/>
                            </a:lnTo>
                            <a:lnTo>
                              <a:pt x="36046" y="2638"/>
                            </a:lnTo>
                            <a:lnTo>
                              <a:pt x="36297" y="2763"/>
                            </a:lnTo>
                            <a:lnTo>
                              <a:pt x="36799" y="3014"/>
                            </a:lnTo>
                            <a:lnTo>
                              <a:pt x="36925" y="3140"/>
                            </a:lnTo>
                            <a:lnTo>
                              <a:pt x="37804" y="3642"/>
                            </a:lnTo>
                            <a:lnTo>
                              <a:pt x="37930" y="3768"/>
                            </a:lnTo>
                            <a:lnTo>
                              <a:pt x="38181" y="3768"/>
                            </a:lnTo>
                            <a:lnTo>
                              <a:pt x="38306" y="3893"/>
                            </a:lnTo>
                            <a:lnTo>
                              <a:pt x="38809" y="4145"/>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526"/>
                            </a:lnTo>
                            <a:lnTo>
                              <a:pt x="41320" y="5652"/>
                            </a:lnTo>
                            <a:lnTo>
                              <a:pt x="41572" y="5777"/>
                            </a:lnTo>
                            <a:lnTo>
                              <a:pt x="41572" y="5777"/>
                            </a:lnTo>
                            <a:lnTo>
                              <a:pt x="41698" y="5903"/>
                            </a:lnTo>
                            <a:lnTo>
                              <a:pt x="41949" y="6029"/>
                            </a:lnTo>
                            <a:lnTo>
                              <a:pt x="42074"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39" name="Freeform: Shape 4138">
                        <a:extLst>
                          <a:ext uri="{FF2B5EF4-FFF2-40B4-BE49-F238E27FC236}">
                            <a16:creationId xmlns:a16="http://schemas.microsoft.com/office/drawing/2014/main" id="{957132AD-F2EA-4AD7-BD0C-0F9B8812CB5C}"/>
                          </a:ext>
                        </a:extLst>
                      </p:cNvPr>
                      <p:cNvSpPr/>
                      <p:nvPr/>
                    </p:nvSpPr>
                    <p:spPr>
                      <a:xfrm>
                        <a:off x="7245442" y="3853977"/>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424 h 25370"/>
                          <a:gd name="connsiteX8" fmla="*/ 37553 w 43832"/>
                          <a:gd name="connsiteY8" fmla="*/ 10801 h 25370"/>
                          <a:gd name="connsiteX9" fmla="*/ 28133 w 43832"/>
                          <a:gd name="connsiteY9" fmla="*/ 16202 h 25370"/>
                          <a:gd name="connsiteX10" fmla="*/ 27631 w 43832"/>
                          <a:gd name="connsiteY10" fmla="*/ 16453 h 25370"/>
                          <a:gd name="connsiteX11" fmla="*/ 26626 w 43832"/>
                          <a:gd name="connsiteY11" fmla="*/ 17081 h 25370"/>
                          <a:gd name="connsiteX12" fmla="*/ 26124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8 w 43832"/>
                          <a:gd name="connsiteY18" fmla="*/ 18588 h 25370"/>
                          <a:gd name="connsiteX19" fmla="*/ 17584 w 43832"/>
                          <a:gd name="connsiteY19" fmla="*/ 22230 h 25370"/>
                          <a:gd name="connsiteX20" fmla="*/ 17206 w 43832"/>
                          <a:gd name="connsiteY20" fmla="*/ 22482 h 25370"/>
                          <a:gd name="connsiteX21" fmla="*/ 17206 w 43832"/>
                          <a:gd name="connsiteY21" fmla="*/ 22482 h 25370"/>
                          <a:gd name="connsiteX22" fmla="*/ 12308 w 43832"/>
                          <a:gd name="connsiteY22" fmla="*/ 25370 h 25370"/>
                          <a:gd name="connsiteX23" fmla="*/ 12308 w 43832"/>
                          <a:gd name="connsiteY23" fmla="*/ 25370 h 25370"/>
                          <a:gd name="connsiteX24" fmla="*/ 12183 w 43832"/>
                          <a:gd name="connsiteY24" fmla="*/ 25245 h 25370"/>
                          <a:gd name="connsiteX25" fmla="*/ 11806 w 43832"/>
                          <a:gd name="connsiteY25" fmla="*/ 25119 h 25370"/>
                          <a:gd name="connsiteX26" fmla="*/ 11806 w 43832"/>
                          <a:gd name="connsiteY26" fmla="*/ 24993 h 25370"/>
                          <a:gd name="connsiteX27" fmla="*/ 11304 w 43832"/>
                          <a:gd name="connsiteY27" fmla="*/ 24742 h 25370"/>
                          <a:gd name="connsiteX28" fmla="*/ 11178 w 43832"/>
                          <a:gd name="connsiteY28" fmla="*/ 24617 h 25370"/>
                          <a:gd name="connsiteX29" fmla="*/ 10173 w 43832"/>
                          <a:gd name="connsiteY29" fmla="*/ 24114 h 25370"/>
                          <a:gd name="connsiteX30" fmla="*/ 10173 w 43832"/>
                          <a:gd name="connsiteY30" fmla="*/ 24114 h 25370"/>
                          <a:gd name="connsiteX31" fmla="*/ 9545 w 43832"/>
                          <a:gd name="connsiteY31" fmla="*/ 23737 h 25370"/>
                          <a:gd name="connsiteX32" fmla="*/ 9294 w 43832"/>
                          <a:gd name="connsiteY32" fmla="*/ 23612 h 25370"/>
                          <a:gd name="connsiteX33" fmla="*/ 8666 w 43832"/>
                          <a:gd name="connsiteY33" fmla="*/ 23235 h 25370"/>
                          <a:gd name="connsiteX34" fmla="*/ 8666 w 43832"/>
                          <a:gd name="connsiteY34" fmla="*/ 23235 h 25370"/>
                          <a:gd name="connsiteX35" fmla="*/ 8164 w 43832"/>
                          <a:gd name="connsiteY35" fmla="*/ 22984 h 25370"/>
                          <a:gd name="connsiteX36" fmla="*/ 8038 w 43832"/>
                          <a:gd name="connsiteY36" fmla="*/ 22858 h 25370"/>
                          <a:gd name="connsiteX37" fmla="*/ 7410 w 43832"/>
                          <a:gd name="connsiteY37" fmla="*/ 22607 h 25370"/>
                          <a:gd name="connsiteX38" fmla="*/ 7285 w 43832"/>
                          <a:gd name="connsiteY38" fmla="*/ 22482 h 25370"/>
                          <a:gd name="connsiteX39" fmla="*/ 7285 w 43832"/>
                          <a:gd name="connsiteY39" fmla="*/ 22482 h 25370"/>
                          <a:gd name="connsiteX40" fmla="*/ 6531 w 43832"/>
                          <a:gd name="connsiteY40" fmla="*/ 22105 h 25370"/>
                          <a:gd name="connsiteX41" fmla="*/ 6531 w 43832"/>
                          <a:gd name="connsiteY41" fmla="*/ 21979 h 25370"/>
                          <a:gd name="connsiteX42" fmla="*/ 6154 w 43832"/>
                          <a:gd name="connsiteY42" fmla="*/ 21854 h 25370"/>
                          <a:gd name="connsiteX43" fmla="*/ 6028 w 43832"/>
                          <a:gd name="connsiteY43" fmla="*/ 21728 h 25370"/>
                          <a:gd name="connsiteX44" fmla="*/ 5526 w 43832"/>
                          <a:gd name="connsiteY44" fmla="*/ 21477 h 25370"/>
                          <a:gd name="connsiteX45" fmla="*/ 5526 w 43832"/>
                          <a:gd name="connsiteY45" fmla="*/ 21477 h 25370"/>
                          <a:gd name="connsiteX46" fmla="*/ 4647 w 43832"/>
                          <a:gd name="connsiteY46" fmla="*/ 20849 h 25370"/>
                          <a:gd name="connsiteX47" fmla="*/ 4396 w 43832"/>
                          <a:gd name="connsiteY47" fmla="*/ 20849 h 25370"/>
                          <a:gd name="connsiteX48" fmla="*/ 3768 w 43832"/>
                          <a:gd name="connsiteY48" fmla="*/ 20346 h 25370"/>
                          <a:gd name="connsiteX49" fmla="*/ 3642 w 43832"/>
                          <a:gd name="connsiteY49" fmla="*/ 20346 h 25370"/>
                          <a:gd name="connsiteX50" fmla="*/ 3391 w 43832"/>
                          <a:gd name="connsiteY50" fmla="*/ 20221 h 25370"/>
                          <a:gd name="connsiteX51" fmla="*/ 3391 w 43832"/>
                          <a:gd name="connsiteY51" fmla="*/ 20221 h 25370"/>
                          <a:gd name="connsiteX52" fmla="*/ 2763 w 43832"/>
                          <a:gd name="connsiteY52" fmla="*/ 19844 h 25370"/>
                          <a:gd name="connsiteX53" fmla="*/ 2763 w 43832"/>
                          <a:gd name="connsiteY53" fmla="*/ 19844 h 25370"/>
                          <a:gd name="connsiteX54" fmla="*/ 2638 w 43832"/>
                          <a:gd name="connsiteY54" fmla="*/ 19718 h 25370"/>
                          <a:gd name="connsiteX55" fmla="*/ 2009 w 43832"/>
                          <a:gd name="connsiteY55" fmla="*/ 19467 h 25370"/>
                          <a:gd name="connsiteX56" fmla="*/ 2009 w 43832"/>
                          <a:gd name="connsiteY56" fmla="*/ 19467 h 25370"/>
                          <a:gd name="connsiteX57" fmla="*/ 1633 w 43832"/>
                          <a:gd name="connsiteY57" fmla="*/ 19216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647 w 43832"/>
                          <a:gd name="connsiteY63" fmla="*/ 15574 h 25370"/>
                          <a:gd name="connsiteX64" fmla="*/ 4898 w 43832"/>
                          <a:gd name="connsiteY64" fmla="*/ 15448 h 25370"/>
                          <a:gd name="connsiteX65" fmla="*/ 4898 w 43832"/>
                          <a:gd name="connsiteY65" fmla="*/ 15448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211 w 43832"/>
                          <a:gd name="connsiteY70" fmla="*/ 7787 h 25370"/>
                          <a:gd name="connsiteX71" fmla="*/ 18337 w 43832"/>
                          <a:gd name="connsiteY71" fmla="*/ 7661 h 25370"/>
                          <a:gd name="connsiteX72" fmla="*/ 31524 w 43832"/>
                          <a:gd name="connsiteY72" fmla="*/ 0 h 25370"/>
                          <a:gd name="connsiteX73" fmla="*/ 32278 w 43832"/>
                          <a:gd name="connsiteY73" fmla="*/ 502 h 25370"/>
                          <a:gd name="connsiteX74" fmla="*/ 32404 w 43832"/>
                          <a:gd name="connsiteY74" fmla="*/ 502 h 25370"/>
                          <a:gd name="connsiteX75" fmla="*/ 33408 w 43832"/>
                          <a:gd name="connsiteY75" fmla="*/ 1130 h 25370"/>
                          <a:gd name="connsiteX76" fmla="*/ 33659 w 43832"/>
                          <a:gd name="connsiteY76" fmla="*/ 1256 h 25370"/>
                          <a:gd name="connsiteX77" fmla="*/ 34539 w 43832"/>
                          <a:gd name="connsiteY77" fmla="*/ 1758 h 25370"/>
                          <a:gd name="connsiteX78" fmla="*/ 34790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297 w 43832"/>
                          <a:gd name="connsiteY82" fmla="*/ 2763 h 25370"/>
                          <a:gd name="connsiteX83" fmla="*/ 36799 w 43832"/>
                          <a:gd name="connsiteY83" fmla="*/ 3014 h 25370"/>
                          <a:gd name="connsiteX84" fmla="*/ 36925 w 43832"/>
                          <a:gd name="connsiteY84" fmla="*/ 3140 h 25370"/>
                          <a:gd name="connsiteX85" fmla="*/ 37804 w 43832"/>
                          <a:gd name="connsiteY85" fmla="*/ 3642 h 25370"/>
                          <a:gd name="connsiteX86" fmla="*/ 37930 w 43832"/>
                          <a:gd name="connsiteY86" fmla="*/ 3768 h 25370"/>
                          <a:gd name="connsiteX87" fmla="*/ 38306 w 43832"/>
                          <a:gd name="connsiteY87" fmla="*/ 3893 h 25370"/>
                          <a:gd name="connsiteX88" fmla="*/ 38809 w 43832"/>
                          <a:gd name="connsiteY88" fmla="*/ 4270 h 25370"/>
                          <a:gd name="connsiteX89" fmla="*/ 38934 w 43832"/>
                          <a:gd name="connsiteY89" fmla="*/ 4270 h 25370"/>
                          <a:gd name="connsiteX90" fmla="*/ 39186 w 43832"/>
                          <a:gd name="connsiteY90" fmla="*/ 4396 h 25370"/>
                          <a:gd name="connsiteX91" fmla="*/ 39311 w 43832"/>
                          <a:gd name="connsiteY91" fmla="*/ 4521 h 25370"/>
                          <a:gd name="connsiteX92" fmla="*/ 39688 w 43832"/>
                          <a:gd name="connsiteY92" fmla="*/ 4647 h 25370"/>
                          <a:gd name="connsiteX93" fmla="*/ 39813 w 43832"/>
                          <a:gd name="connsiteY93" fmla="*/ 4773 h 25370"/>
                          <a:gd name="connsiteX94" fmla="*/ 40316 w 43832"/>
                          <a:gd name="connsiteY94" fmla="*/ 5024 h 25370"/>
                          <a:gd name="connsiteX95" fmla="*/ 40567 w 43832"/>
                          <a:gd name="connsiteY95" fmla="*/ 5149 h 25370"/>
                          <a:gd name="connsiteX96" fmla="*/ 40693 w 43832"/>
                          <a:gd name="connsiteY96" fmla="*/ 5275 h 25370"/>
                          <a:gd name="connsiteX97" fmla="*/ 40693 w 43832"/>
                          <a:gd name="connsiteY97" fmla="*/ 5275 h 25370"/>
                          <a:gd name="connsiteX98" fmla="*/ 40818 w 43832"/>
                          <a:gd name="connsiteY98" fmla="*/ 5401 h 25370"/>
                          <a:gd name="connsiteX99" fmla="*/ 41195 w 43832"/>
                          <a:gd name="connsiteY99" fmla="*/ 5652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949 w 43832"/>
                          <a:gd name="connsiteY104" fmla="*/ 6029 h 25370"/>
                          <a:gd name="connsiteX105" fmla="*/ 42074 w 43832"/>
                          <a:gd name="connsiteY105" fmla="*/ 6029 h 25370"/>
                          <a:gd name="connsiteX106" fmla="*/ 42451 w 43832"/>
                          <a:gd name="connsiteY106" fmla="*/ 6280 h 25370"/>
                          <a:gd name="connsiteX107" fmla="*/ 42577 w 43832"/>
                          <a:gd name="connsiteY107" fmla="*/ 6405 h 25370"/>
                          <a:gd name="connsiteX108" fmla="*/ 42827 w 43832"/>
                          <a:gd name="connsiteY108" fmla="*/ 6531 h 25370"/>
                          <a:gd name="connsiteX109" fmla="*/ 42953 w 43832"/>
                          <a:gd name="connsiteY109" fmla="*/ 6657 h 25370"/>
                          <a:gd name="connsiteX110" fmla="*/ 43456 w 43832"/>
                          <a:gd name="connsiteY110" fmla="*/ 6908 h 25370"/>
                          <a:gd name="connsiteX111" fmla="*/ 43456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424"/>
                            </a:lnTo>
                            <a:lnTo>
                              <a:pt x="37553" y="10801"/>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17584" y="22230"/>
                            </a:lnTo>
                            <a:lnTo>
                              <a:pt x="17206" y="22482"/>
                            </a:lnTo>
                            <a:lnTo>
                              <a:pt x="17206" y="22482"/>
                            </a:lnTo>
                            <a:lnTo>
                              <a:pt x="12308" y="25370"/>
                            </a:lnTo>
                            <a:lnTo>
                              <a:pt x="12308" y="25370"/>
                            </a:lnTo>
                            <a:lnTo>
                              <a:pt x="12183" y="25245"/>
                            </a:lnTo>
                            <a:lnTo>
                              <a:pt x="11806" y="25119"/>
                            </a:lnTo>
                            <a:lnTo>
                              <a:pt x="11806" y="24993"/>
                            </a:lnTo>
                            <a:lnTo>
                              <a:pt x="11304" y="24742"/>
                            </a:lnTo>
                            <a:lnTo>
                              <a:pt x="11178" y="24617"/>
                            </a:lnTo>
                            <a:lnTo>
                              <a:pt x="10173" y="24114"/>
                            </a:lnTo>
                            <a:lnTo>
                              <a:pt x="10173" y="24114"/>
                            </a:lnTo>
                            <a:lnTo>
                              <a:pt x="9545" y="23737"/>
                            </a:lnTo>
                            <a:lnTo>
                              <a:pt x="9294" y="23612"/>
                            </a:lnTo>
                            <a:lnTo>
                              <a:pt x="8666" y="23235"/>
                            </a:lnTo>
                            <a:lnTo>
                              <a:pt x="8666" y="23235"/>
                            </a:lnTo>
                            <a:lnTo>
                              <a:pt x="8164" y="22984"/>
                            </a:lnTo>
                            <a:lnTo>
                              <a:pt x="8038" y="22858"/>
                            </a:lnTo>
                            <a:lnTo>
                              <a:pt x="7410" y="22607"/>
                            </a:lnTo>
                            <a:lnTo>
                              <a:pt x="7285" y="22482"/>
                            </a:lnTo>
                            <a:lnTo>
                              <a:pt x="7285" y="22482"/>
                            </a:lnTo>
                            <a:lnTo>
                              <a:pt x="6531" y="22105"/>
                            </a:lnTo>
                            <a:lnTo>
                              <a:pt x="6531" y="21979"/>
                            </a:lnTo>
                            <a:lnTo>
                              <a:pt x="6154" y="21854"/>
                            </a:lnTo>
                            <a:lnTo>
                              <a:pt x="6028" y="21728"/>
                            </a:lnTo>
                            <a:lnTo>
                              <a:pt x="5526" y="21477"/>
                            </a:lnTo>
                            <a:lnTo>
                              <a:pt x="5526" y="21477"/>
                            </a:lnTo>
                            <a:lnTo>
                              <a:pt x="4647" y="20849"/>
                            </a:lnTo>
                            <a:lnTo>
                              <a:pt x="4396" y="20849"/>
                            </a:lnTo>
                            <a:lnTo>
                              <a:pt x="3768" y="20346"/>
                            </a:lnTo>
                            <a:lnTo>
                              <a:pt x="3642" y="20346"/>
                            </a:lnTo>
                            <a:lnTo>
                              <a:pt x="3391" y="20221"/>
                            </a:lnTo>
                            <a:lnTo>
                              <a:pt x="3391" y="20221"/>
                            </a:lnTo>
                            <a:lnTo>
                              <a:pt x="2763" y="19844"/>
                            </a:lnTo>
                            <a:lnTo>
                              <a:pt x="2763" y="19844"/>
                            </a:lnTo>
                            <a:lnTo>
                              <a:pt x="2638" y="19718"/>
                            </a:lnTo>
                            <a:lnTo>
                              <a:pt x="2009" y="19467"/>
                            </a:lnTo>
                            <a:lnTo>
                              <a:pt x="2009" y="19467"/>
                            </a:lnTo>
                            <a:lnTo>
                              <a:pt x="1633" y="19216"/>
                            </a:lnTo>
                            <a:lnTo>
                              <a:pt x="1381" y="19090"/>
                            </a:lnTo>
                            <a:lnTo>
                              <a:pt x="0" y="18211"/>
                            </a:lnTo>
                            <a:lnTo>
                              <a:pt x="4396" y="15699"/>
                            </a:lnTo>
                            <a:lnTo>
                              <a:pt x="4396" y="15699"/>
                            </a:lnTo>
                            <a:lnTo>
                              <a:pt x="4521" y="15574"/>
                            </a:lnTo>
                            <a:lnTo>
                              <a:pt x="4647" y="15574"/>
                            </a:lnTo>
                            <a:lnTo>
                              <a:pt x="4898" y="15448"/>
                            </a:lnTo>
                            <a:lnTo>
                              <a:pt x="4898" y="15448"/>
                            </a:lnTo>
                            <a:lnTo>
                              <a:pt x="5024" y="15323"/>
                            </a:lnTo>
                            <a:lnTo>
                              <a:pt x="5024" y="15323"/>
                            </a:lnTo>
                            <a:lnTo>
                              <a:pt x="17584" y="8038"/>
                            </a:lnTo>
                            <a:lnTo>
                              <a:pt x="17834" y="7913"/>
                            </a:lnTo>
                            <a:lnTo>
                              <a:pt x="18211" y="7787"/>
                            </a:lnTo>
                            <a:lnTo>
                              <a:pt x="18337" y="7661"/>
                            </a:lnTo>
                            <a:lnTo>
                              <a:pt x="31524" y="0"/>
                            </a:lnTo>
                            <a:lnTo>
                              <a:pt x="32278" y="502"/>
                            </a:lnTo>
                            <a:lnTo>
                              <a:pt x="32404" y="502"/>
                            </a:lnTo>
                            <a:lnTo>
                              <a:pt x="33408" y="1130"/>
                            </a:lnTo>
                            <a:lnTo>
                              <a:pt x="33659" y="1256"/>
                            </a:lnTo>
                            <a:lnTo>
                              <a:pt x="34539" y="1758"/>
                            </a:lnTo>
                            <a:lnTo>
                              <a:pt x="34790" y="1884"/>
                            </a:lnTo>
                            <a:lnTo>
                              <a:pt x="35166" y="2135"/>
                            </a:lnTo>
                            <a:lnTo>
                              <a:pt x="35166" y="2135"/>
                            </a:lnTo>
                            <a:lnTo>
                              <a:pt x="36046" y="2638"/>
                            </a:lnTo>
                            <a:lnTo>
                              <a:pt x="36297" y="2763"/>
                            </a:lnTo>
                            <a:lnTo>
                              <a:pt x="36799" y="3014"/>
                            </a:lnTo>
                            <a:lnTo>
                              <a:pt x="36925" y="3140"/>
                            </a:lnTo>
                            <a:lnTo>
                              <a:pt x="37804" y="3642"/>
                            </a:lnTo>
                            <a:lnTo>
                              <a:pt x="37930" y="3768"/>
                            </a:lnTo>
                            <a:lnTo>
                              <a:pt x="38306" y="3893"/>
                            </a:lnTo>
                            <a:lnTo>
                              <a:pt x="38809" y="4270"/>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652"/>
                            </a:lnTo>
                            <a:lnTo>
                              <a:pt x="41320" y="5652"/>
                            </a:lnTo>
                            <a:lnTo>
                              <a:pt x="41572" y="5777"/>
                            </a:lnTo>
                            <a:lnTo>
                              <a:pt x="41572" y="5777"/>
                            </a:lnTo>
                            <a:lnTo>
                              <a:pt x="41698" y="5903"/>
                            </a:lnTo>
                            <a:lnTo>
                              <a:pt x="41949" y="6029"/>
                            </a:lnTo>
                            <a:lnTo>
                              <a:pt x="42074" y="6029"/>
                            </a:lnTo>
                            <a:lnTo>
                              <a:pt x="42451" y="6280"/>
                            </a:lnTo>
                            <a:lnTo>
                              <a:pt x="42577" y="6405"/>
                            </a:lnTo>
                            <a:lnTo>
                              <a:pt x="42827" y="6531"/>
                            </a:lnTo>
                            <a:lnTo>
                              <a:pt x="42953" y="6657"/>
                            </a:lnTo>
                            <a:lnTo>
                              <a:pt x="43456" y="6908"/>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40" name="Freeform: Shape 4139">
                      <a:extLst>
                        <a:ext uri="{FF2B5EF4-FFF2-40B4-BE49-F238E27FC236}">
                          <a16:creationId xmlns:a16="http://schemas.microsoft.com/office/drawing/2014/main" id="{607DD66C-7F9C-4F06-9FDC-51121AFFCF95}"/>
                        </a:ext>
                      </a:extLst>
                    </p:cNvPr>
                    <p:cNvSpPr/>
                    <p:nvPr/>
                  </p:nvSpPr>
                  <p:spPr>
                    <a:xfrm>
                      <a:off x="7245442" y="3872188"/>
                      <a:ext cx="12308" cy="8917"/>
                    </a:xfrm>
                    <a:custGeom>
                      <a:avLst/>
                      <a:gdLst>
                        <a:gd name="connsiteX0" fmla="*/ 12308 w 12308"/>
                        <a:gd name="connsiteY0" fmla="*/ 7159 h 8917"/>
                        <a:gd name="connsiteX1" fmla="*/ 12308 w 12308"/>
                        <a:gd name="connsiteY1" fmla="*/ 8917 h 8917"/>
                        <a:gd name="connsiteX2" fmla="*/ 0 w 12308"/>
                        <a:gd name="connsiteY2" fmla="*/ 1758 h 8917"/>
                        <a:gd name="connsiteX3" fmla="*/ 0 w 12308"/>
                        <a:gd name="connsiteY3" fmla="*/ 0 h 8917"/>
                      </a:gdLst>
                      <a:ahLst/>
                      <a:cxnLst>
                        <a:cxn ang="0">
                          <a:pos x="connsiteX0" y="connsiteY0"/>
                        </a:cxn>
                        <a:cxn ang="0">
                          <a:pos x="connsiteX1" y="connsiteY1"/>
                        </a:cxn>
                        <a:cxn ang="0">
                          <a:pos x="connsiteX2" y="connsiteY2"/>
                        </a:cxn>
                        <a:cxn ang="0">
                          <a:pos x="connsiteX3" y="connsiteY3"/>
                        </a:cxn>
                      </a:cxnLst>
                      <a:rect l="l" t="t" r="r" b="b"/>
                      <a:pathLst>
                        <a:path w="12308" h="8917">
                          <a:moveTo>
                            <a:pt x="12308" y="7159"/>
                          </a:moveTo>
                          <a:lnTo>
                            <a:pt x="12308" y="8917"/>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41" name="Graphic 4">
                    <a:extLst>
                      <a:ext uri="{FF2B5EF4-FFF2-40B4-BE49-F238E27FC236}">
                        <a16:creationId xmlns:a16="http://schemas.microsoft.com/office/drawing/2014/main" id="{84FB7ED1-A2DF-40A1-A747-5F7CF3F14040}"/>
                      </a:ext>
                    </a:extLst>
                  </p:cNvPr>
                  <p:cNvGrpSpPr/>
                  <p:nvPr/>
                </p:nvGrpSpPr>
                <p:grpSpPr>
                  <a:xfrm>
                    <a:off x="7259508" y="3862015"/>
                    <a:ext cx="43832" cy="27002"/>
                    <a:chOff x="7259508" y="3862015"/>
                    <a:chExt cx="43832" cy="27002"/>
                  </a:xfrm>
                  <a:solidFill>
                    <a:schemeClr val="accent1"/>
                  </a:solidFill>
                </p:grpSpPr>
                <p:grpSp>
                  <p:nvGrpSpPr>
                    <p:cNvPr id="4142" name="Graphic 4">
                      <a:extLst>
                        <a:ext uri="{FF2B5EF4-FFF2-40B4-BE49-F238E27FC236}">
                          <a16:creationId xmlns:a16="http://schemas.microsoft.com/office/drawing/2014/main" id="{84FB7ED1-A2DF-40A1-A747-5F7CF3F14040}"/>
                        </a:ext>
                      </a:extLst>
                    </p:cNvPr>
                    <p:cNvGrpSpPr/>
                    <p:nvPr/>
                  </p:nvGrpSpPr>
                  <p:grpSpPr>
                    <a:xfrm>
                      <a:off x="7259508" y="3862015"/>
                      <a:ext cx="43832" cy="27002"/>
                      <a:chOff x="7259508" y="3862015"/>
                      <a:chExt cx="43832" cy="27002"/>
                    </a:xfrm>
                    <a:solidFill>
                      <a:schemeClr val="accent1"/>
                    </a:solidFill>
                  </p:grpSpPr>
                  <p:sp>
                    <p:nvSpPr>
                      <p:cNvPr id="4143" name="Freeform: Shape 4142">
                        <a:extLst>
                          <a:ext uri="{FF2B5EF4-FFF2-40B4-BE49-F238E27FC236}">
                            <a16:creationId xmlns:a16="http://schemas.microsoft.com/office/drawing/2014/main" id="{B7B15158-4136-4E85-B22A-F55A20B61528}"/>
                          </a:ext>
                        </a:extLst>
                      </p:cNvPr>
                      <p:cNvSpPr/>
                      <p:nvPr/>
                    </p:nvSpPr>
                    <p:spPr>
                      <a:xfrm>
                        <a:off x="7259508" y="3863773"/>
                        <a:ext cx="43832" cy="25244"/>
                      </a:xfrm>
                      <a:custGeom>
                        <a:avLst/>
                        <a:gdLst>
                          <a:gd name="connsiteX0" fmla="*/ 43832 w 43832"/>
                          <a:gd name="connsiteY0" fmla="*/ 7033 h 25244"/>
                          <a:gd name="connsiteX1" fmla="*/ 42075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076 h 25244"/>
                          <a:gd name="connsiteX10" fmla="*/ 28133 w 43832"/>
                          <a:gd name="connsiteY10" fmla="*/ 16076 h 25244"/>
                          <a:gd name="connsiteX11" fmla="*/ 27631 w 43832"/>
                          <a:gd name="connsiteY11" fmla="*/ 16453 h 25244"/>
                          <a:gd name="connsiteX12" fmla="*/ 26500 w 43832"/>
                          <a:gd name="connsiteY12" fmla="*/ 17081 h 25244"/>
                          <a:gd name="connsiteX13" fmla="*/ 26500 w 43832"/>
                          <a:gd name="connsiteY13" fmla="*/ 17081 h 25244"/>
                          <a:gd name="connsiteX14" fmla="*/ 25998 w 43832"/>
                          <a:gd name="connsiteY14" fmla="*/ 17332 h 25244"/>
                          <a:gd name="connsiteX15" fmla="*/ 25998 w 43832"/>
                          <a:gd name="connsiteY15" fmla="*/ 17332 h 25244"/>
                          <a:gd name="connsiteX16" fmla="*/ 25998 w 43832"/>
                          <a:gd name="connsiteY16" fmla="*/ 17332 h 25244"/>
                          <a:gd name="connsiteX17" fmla="*/ 25747 w 43832"/>
                          <a:gd name="connsiteY17" fmla="*/ 17583 h 25244"/>
                          <a:gd name="connsiteX18" fmla="*/ 25747 w 43832"/>
                          <a:gd name="connsiteY18" fmla="*/ 17583 h 25244"/>
                          <a:gd name="connsiteX19" fmla="*/ 24240 w 43832"/>
                          <a:gd name="connsiteY19" fmla="*/ 18337 h 25244"/>
                          <a:gd name="connsiteX20" fmla="*/ 24240 w 43832"/>
                          <a:gd name="connsiteY20" fmla="*/ 18337 h 25244"/>
                          <a:gd name="connsiteX21" fmla="*/ 23989 w 43832"/>
                          <a:gd name="connsiteY21" fmla="*/ 18588 h 25244"/>
                          <a:gd name="connsiteX22" fmla="*/ 17584 w 43832"/>
                          <a:gd name="connsiteY22" fmla="*/ 22230 h 25244"/>
                          <a:gd name="connsiteX23" fmla="*/ 17584 w 43832"/>
                          <a:gd name="connsiteY23" fmla="*/ 22230 h 25244"/>
                          <a:gd name="connsiteX24" fmla="*/ 17206 w 43832"/>
                          <a:gd name="connsiteY24" fmla="*/ 22482 h 25244"/>
                          <a:gd name="connsiteX25" fmla="*/ 17206 w 43832"/>
                          <a:gd name="connsiteY25" fmla="*/ 22482 h 25244"/>
                          <a:gd name="connsiteX26" fmla="*/ 12308 w 43832"/>
                          <a:gd name="connsiteY26" fmla="*/ 25245 h 25244"/>
                          <a:gd name="connsiteX27" fmla="*/ 12183 w 43832"/>
                          <a:gd name="connsiteY27" fmla="*/ 25245 h 25244"/>
                          <a:gd name="connsiteX28" fmla="*/ 12183 w 43832"/>
                          <a:gd name="connsiteY28" fmla="*/ 25245 h 25244"/>
                          <a:gd name="connsiteX29" fmla="*/ 11806 w 43832"/>
                          <a:gd name="connsiteY29" fmla="*/ 24993 h 25244"/>
                          <a:gd name="connsiteX30" fmla="*/ 11680 w 43832"/>
                          <a:gd name="connsiteY30" fmla="*/ 24993 h 25244"/>
                          <a:gd name="connsiteX31" fmla="*/ 11680 w 43832"/>
                          <a:gd name="connsiteY31" fmla="*/ 24993 h 25244"/>
                          <a:gd name="connsiteX32" fmla="*/ 11304 w 43832"/>
                          <a:gd name="connsiteY32" fmla="*/ 24742 h 25244"/>
                          <a:gd name="connsiteX33" fmla="*/ 11178 w 43832"/>
                          <a:gd name="connsiteY33" fmla="*/ 24617 h 25244"/>
                          <a:gd name="connsiteX34" fmla="*/ 10173 w 43832"/>
                          <a:gd name="connsiteY34" fmla="*/ 23989 h 25244"/>
                          <a:gd name="connsiteX35" fmla="*/ 10047 w 43832"/>
                          <a:gd name="connsiteY35" fmla="*/ 23989 h 25244"/>
                          <a:gd name="connsiteX36" fmla="*/ 9420 w 43832"/>
                          <a:gd name="connsiteY36" fmla="*/ 23612 h 25244"/>
                          <a:gd name="connsiteX37" fmla="*/ 9168 w 43832"/>
                          <a:gd name="connsiteY37" fmla="*/ 23486 h 25244"/>
                          <a:gd name="connsiteX38" fmla="*/ 8666 w 43832"/>
                          <a:gd name="connsiteY38" fmla="*/ 23235 h 25244"/>
                          <a:gd name="connsiteX39" fmla="*/ 8540 w 43832"/>
                          <a:gd name="connsiteY39" fmla="*/ 23110 h 25244"/>
                          <a:gd name="connsiteX40" fmla="*/ 8164 w 43832"/>
                          <a:gd name="connsiteY40" fmla="*/ 22858 h 25244"/>
                          <a:gd name="connsiteX41" fmla="*/ 8038 w 43832"/>
                          <a:gd name="connsiteY41" fmla="*/ 22858 h 25244"/>
                          <a:gd name="connsiteX42" fmla="*/ 7410 w 43832"/>
                          <a:gd name="connsiteY42" fmla="*/ 22482 h 25244"/>
                          <a:gd name="connsiteX43" fmla="*/ 7285 w 43832"/>
                          <a:gd name="connsiteY43" fmla="*/ 22356 h 25244"/>
                          <a:gd name="connsiteX44" fmla="*/ 7285 w 43832"/>
                          <a:gd name="connsiteY44" fmla="*/ 22356 h 25244"/>
                          <a:gd name="connsiteX45" fmla="*/ 6531 w 43832"/>
                          <a:gd name="connsiteY45" fmla="*/ 21979 h 25244"/>
                          <a:gd name="connsiteX46" fmla="*/ 6531 w 43832"/>
                          <a:gd name="connsiteY46" fmla="*/ 21979 h 25244"/>
                          <a:gd name="connsiteX47" fmla="*/ 6154 w 43832"/>
                          <a:gd name="connsiteY47" fmla="*/ 21728 h 25244"/>
                          <a:gd name="connsiteX48" fmla="*/ 6028 w 43832"/>
                          <a:gd name="connsiteY48" fmla="*/ 21602 h 25244"/>
                          <a:gd name="connsiteX49" fmla="*/ 5526 w 43832"/>
                          <a:gd name="connsiteY49" fmla="*/ 21351 h 25244"/>
                          <a:gd name="connsiteX50" fmla="*/ 5400 w 43832"/>
                          <a:gd name="connsiteY50" fmla="*/ 21351 h 25244"/>
                          <a:gd name="connsiteX51" fmla="*/ 4521 w 43832"/>
                          <a:gd name="connsiteY51" fmla="*/ 20849 h 25244"/>
                          <a:gd name="connsiteX52" fmla="*/ 4396 w 43832"/>
                          <a:gd name="connsiteY52" fmla="*/ 20723 h 25244"/>
                          <a:gd name="connsiteX53" fmla="*/ 3642 w 43832"/>
                          <a:gd name="connsiteY53" fmla="*/ 20346 h 25244"/>
                          <a:gd name="connsiteX54" fmla="*/ 3642 w 43832"/>
                          <a:gd name="connsiteY54" fmla="*/ 20346 h 25244"/>
                          <a:gd name="connsiteX55" fmla="*/ 3391 w 43832"/>
                          <a:gd name="connsiteY55" fmla="*/ 20095 h 25244"/>
                          <a:gd name="connsiteX56" fmla="*/ 3266 w 43832"/>
                          <a:gd name="connsiteY56" fmla="*/ 20095 h 25244"/>
                          <a:gd name="connsiteX57" fmla="*/ 2763 w 43832"/>
                          <a:gd name="connsiteY57" fmla="*/ 19718 h 25244"/>
                          <a:gd name="connsiteX58" fmla="*/ 2763 w 43832"/>
                          <a:gd name="connsiteY58" fmla="*/ 19718 h 25244"/>
                          <a:gd name="connsiteX59" fmla="*/ 2638 w 43832"/>
                          <a:gd name="connsiteY59" fmla="*/ 19718 h 25244"/>
                          <a:gd name="connsiteX60" fmla="*/ 2010 w 43832"/>
                          <a:gd name="connsiteY60" fmla="*/ 19342 h 25244"/>
                          <a:gd name="connsiteX61" fmla="*/ 2010 w 43832"/>
                          <a:gd name="connsiteY61" fmla="*/ 19342 h 25244"/>
                          <a:gd name="connsiteX62" fmla="*/ 1507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9 w 43832"/>
                          <a:gd name="connsiteY69" fmla="*/ 1005 h 25244"/>
                          <a:gd name="connsiteX70" fmla="*/ 33659 w 43832"/>
                          <a:gd name="connsiteY70" fmla="*/ 1130 h 25244"/>
                          <a:gd name="connsiteX71" fmla="*/ 34539 w 43832"/>
                          <a:gd name="connsiteY71" fmla="*/ 1758 h 25244"/>
                          <a:gd name="connsiteX72" fmla="*/ 34664 w 43832"/>
                          <a:gd name="connsiteY72" fmla="*/ 1758 h 25244"/>
                          <a:gd name="connsiteX73" fmla="*/ 35166 w 43832"/>
                          <a:gd name="connsiteY73" fmla="*/ 2010 h 25244"/>
                          <a:gd name="connsiteX74" fmla="*/ 35166 w 43832"/>
                          <a:gd name="connsiteY74" fmla="*/ 2010 h 25244"/>
                          <a:gd name="connsiteX75" fmla="*/ 35166 w 43832"/>
                          <a:gd name="connsiteY75" fmla="*/ 2135 h 25244"/>
                          <a:gd name="connsiteX76" fmla="*/ 36046 w 43832"/>
                          <a:gd name="connsiteY76" fmla="*/ 2512 h 25244"/>
                          <a:gd name="connsiteX77" fmla="*/ 36171 w 43832"/>
                          <a:gd name="connsiteY77" fmla="*/ 2638 h 25244"/>
                          <a:gd name="connsiteX78" fmla="*/ 36799 w 43832"/>
                          <a:gd name="connsiteY78" fmla="*/ 3014 h 25244"/>
                          <a:gd name="connsiteX79" fmla="*/ 36799 w 43832"/>
                          <a:gd name="connsiteY79" fmla="*/ 3014 h 25244"/>
                          <a:gd name="connsiteX80" fmla="*/ 37804 w 43832"/>
                          <a:gd name="connsiteY80" fmla="*/ 3517 h 25244"/>
                          <a:gd name="connsiteX81" fmla="*/ 37930 w 43832"/>
                          <a:gd name="connsiteY81" fmla="*/ 3642 h 25244"/>
                          <a:gd name="connsiteX82" fmla="*/ 38181 w 43832"/>
                          <a:gd name="connsiteY82" fmla="*/ 3768 h 25244"/>
                          <a:gd name="connsiteX83" fmla="*/ 38181 w 43832"/>
                          <a:gd name="connsiteY83" fmla="*/ 3893 h 25244"/>
                          <a:gd name="connsiteX84" fmla="*/ 38809 w 43832"/>
                          <a:gd name="connsiteY84" fmla="*/ 4145 h 25244"/>
                          <a:gd name="connsiteX85" fmla="*/ 38935 w 43832"/>
                          <a:gd name="connsiteY85" fmla="*/ 4270 h 25244"/>
                          <a:gd name="connsiteX86" fmla="*/ 39186 w 43832"/>
                          <a:gd name="connsiteY86" fmla="*/ 4396 h 25244"/>
                          <a:gd name="connsiteX87" fmla="*/ 39311 w 43832"/>
                          <a:gd name="connsiteY87" fmla="*/ 4396 h 25244"/>
                          <a:gd name="connsiteX88" fmla="*/ 39563 w 43832"/>
                          <a:gd name="connsiteY88" fmla="*/ 4647 h 25244"/>
                          <a:gd name="connsiteX89" fmla="*/ 39813 w 43832"/>
                          <a:gd name="connsiteY89" fmla="*/ 4773 h 25244"/>
                          <a:gd name="connsiteX90" fmla="*/ 40190 w 43832"/>
                          <a:gd name="connsiteY90" fmla="*/ 5024 h 25244"/>
                          <a:gd name="connsiteX91" fmla="*/ 40442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823 w 43832"/>
                          <a:gd name="connsiteY100" fmla="*/ 5903 h 25244"/>
                          <a:gd name="connsiteX101" fmla="*/ 41949 w 43832"/>
                          <a:gd name="connsiteY101" fmla="*/ 6029 h 25244"/>
                          <a:gd name="connsiteX102" fmla="*/ 43832 w 43832"/>
                          <a:gd name="connsiteY102" fmla="*/ 5275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5" y="8038"/>
                            </a:lnTo>
                            <a:lnTo>
                              <a:pt x="41823" y="8164"/>
                            </a:lnTo>
                            <a:lnTo>
                              <a:pt x="41823" y="8164"/>
                            </a:lnTo>
                            <a:lnTo>
                              <a:pt x="39060" y="9796"/>
                            </a:lnTo>
                            <a:lnTo>
                              <a:pt x="38935" y="9796"/>
                            </a:lnTo>
                            <a:lnTo>
                              <a:pt x="38432" y="10173"/>
                            </a:lnTo>
                            <a:lnTo>
                              <a:pt x="38181" y="10299"/>
                            </a:lnTo>
                            <a:lnTo>
                              <a:pt x="37553" y="10676"/>
                            </a:lnTo>
                            <a:lnTo>
                              <a:pt x="28133" y="16076"/>
                            </a:lnTo>
                            <a:lnTo>
                              <a:pt x="28133" y="16076"/>
                            </a:lnTo>
                            <a:lnTo>
                              <a:pt x="27631" y="16453"/>
                            </a:lnTo>
                            <a:lnTo>
                              <a:pt x="26500" y="17081"/>
                            </a:lnTo>
                            <a:lnTo>
                              <a:pt x="26500" y="17081"/>
                            </a:lnTo>
                            <a:lnTo>
                              <a:pt x="25998" y="17332"/>
                            </a:lnTo>
                            <a:lnTo>
                              <a:pt x="25998" y="17332"/>
                            </a:lnTo>
                            <a:lnTo>
                              <a:pt x="25998" y="17332"/>
                            </a:lnTo>
                            <a:lnTo>
                              <a:pt x="25747" y="17583"/>
                            </a:lnTo>
                            <a:lnTo>
                              <a:pt x="25747" y="17583"/>
                            </a:lnTo>
                            <a:lnTo>
                              <a:pt x="24240" y="18337"/>
                            </a:lnTo>
                            <a:lnTo>
                              <a:pt x="24240" y="18337"/>
                            </a:lnTo>
                            <a:lnTo>
                              <a:pt x="23989" y="18588"/>
                            </a:lnTo>
                            <a:lnTo>
                              <a:pt x="17584" y="22230"/>
                            </a:lnTo>
                            <a:lnTo>
                              <a:pt x="17584" y="22230"/>
                            </a:lnTo>
                            <a:lnTo>
                              <a:pt x="17206" y="22482"/>
                            </a:lnTo>
                            <a:lnTo>
                              <a:pt x="17206" y="22482"/>
                            </a:lnTo>
                            <a:lnTo>
                              <a:pt x="12308" y="25245"/>
                            </a:lnTo>
                            <a:lnTo>
                              <a:pt x="12183" y="25245"/>
                            </a:lnTo>
                            <a:lnTo>
                              <a:pt x="12183" y="25245"/>
                            </a:lnTo>
                            <a:lnTo>
                              <a:pt x="11806" y="24993"/>
                            </a:lnTo>
                            <a:lnTo>
                              <a:pt x="11680" y="24993"/>
                            </a:lnTo>
                            <a:lnTo>
                              <a:pt x="11680" y="24993"/>
                            </a:lnTo>
                            <a:lnTo>
                              <a:pt x="11304" y="24742"/>
                            </a:lnTo>
                            <a:lnTo>
                              <a:pt x="11178" y="24617"/>
                            </a:lnTo>
                            <a:lnTo>
                              <a:pt x="10173" y="23989"/>
                            </a:lnTo>
                            <a:lnTo>
                              <a:pt x="10047" y="23989"/>
                            </a:lnTo>
                            <a:lnTo>
                              <a:pt x="9420" y="23612"/>
                            </a:lnTo>
                            <a:lnTo>
                              <a:pt x="9168" y="23486"/>
                            </a:lnTo>
                            <a:lnTo>
                              <a:pt x="8666" y="23235"/>
                            </a:lnTo>
                            <a:lnTo>
                              <a:pt x="8540" y="23110"/>
                            </a:lnTo>
                            <a:lnTo>
                              <a:pt x="8164" y="22858"/>
                            </a:lnTo>
                            <a:lnTo>
                              <a:pt x="8038" y="22858"/>
                            </a:lnTo>
                            <a:lnTo>
                              <a:pt x="7410" y="22482"/>
                            </a:lnTo>
                            <a:lnTo>
                              <a:pt x="7285" y="22356"/>
                            </a:lnTo>
                            <a:lnTo>
                              <a:pt x="7285" y="22356"/>
                            </a:lnTo>
                            <a:lnTo>
                              <a:pt x="6531" y="21979"/>
                            </a:lnTo>
                            <a:lnTo>
                              <a:pt x="6531" y="21979"/>
                            </a:lnTo>
                            <a:lnTo>
                              <a:pt x="6154" y="21728"/>
                            </a:lnTo>
                            <a:lnTo>
                              <a:pt x="6028" y="21602"/>
                            </a:lnTo>
                            <a:lnTo>
                              <a:pt x="5526" y="21351"/>
                            </a:lnTo>
                            <a:lnTo>
                              <a:pt x="5400" y="21351"/>
                            </a:lnTo>
                            <a:lnTo>
                              <a:pt x="4521" y="20849"/>
                            </a:lnTo>
                            <a:lnTo>
                              <a:pt x="4396" y="20723"/>
                            </a:lnTo>
                            <a:lnTo>
                              <a:pt x="3642" y="20346"/>
                            </a:lnTo>
                            <a:lnTo>
                              <a:pt x="3642" y="20346"/>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211"/>
                            </a:lnTo>
                            <a:lnTo>
                              <a:pt x="0" y="16453"/>
                            </a:lnTo>
                            <a:lnTo>
                              <a:pt x="31524" y="0"/>
                            </a:lnTo>
                            <a:lnTo>
                              <a:pt x="32278" y="377"/>
                            </a:lnTo>
                            <a:lnTo>
                              <a:pt x="32404" y="502"/>
                            </a:lnTo>
                            <a:lnTo>
                              <a:pt x="33409" y="1005"/>
                            </a:lnTo>
                            <a:lnTo>
                              <a:pt x="33659" y="1130"/>
                            </a:lnTo>
                            <a:lnTo>
                              <a:pt x="34539" y="1758"/>
                            </a:lnTo>
                            <a:lnTo>
                              <a:pt x="34664" y="1758"/>
                            </a:lnTo>
                            <a:lnTo>
                              <a:pt x="35166" y="2010"/>
                            </a:lnTo>
                            <a:lnTo>
                              <a:pt x="35166" y="2010"/>
                            </a:lnTo>
                            <a:lnTo>
                              <a:pt x="35166" y="2135"/>
                            </a:lnTo>
                            <a:lnTo>
                              <a:pt x="36046" y="2512"/>
                            </a:lnTo>
                            <a:lnTo>
                              <a:pt x="36171" y="2638"/>
                            </a:lnTo>
                            <a:lnTo>
                              <a:pt x="36799" y="3014"/>
                            </a:lnTo>
                            <a:lnTo>
                              <a:pt x="36799" y="3014"/>
                            </a:lnTo>
                            <a:lnTo>
                              <a:pt x="37804" y="3517"/>
                            </a:lnTo>
                            <a:lnTo>
                              <a:pt x="37930" y="3642"/>
                            </a:lnTo>
                            <a:lnTo>
                              <a:pt x="38181" y="3768"/>
                            </a:lnTo>
                            <a:lnTo>
                              <a:pt x="38181" y="3893"/>
                            </a:lnTo>
                            <a:lnTo>
                              <a:pt x="38809" y="4145"/>
                            </a:lnTo>
                            <a:lnTo>
                              <a:pt x="38935" y="4270"/>
                            </a:lnTo>
                            <a:lnTo>
                              <a:pt x="39186" y="4396"/>
                            </a:lnTo>
                            <a:lnTo>
                              <a:pt x="39311" y="4396"/>
                            </a:lnTo>
                            <a:lnTo>
                              <a:pt x="39563" y="4647"/>
                            </a:lnTo>
                            <a:lnTo>
                              <a:pt x="39813" y="4773"/>
                            </a:lnTo>
                            <a:lnTo>
                              <a:pt x="40190"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9"/>
                            </a:lnTo>
                            <a:lnTo>
                              <a:pt x="43832" y="5275"/>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44" name="Freeform: Shape 4143">
                        <a:extLst>
                          <a:ext uri="{FF2B5EF4-FFF2-40B4-BE49-F238E27FC236}">
                            <a16:creationId xmlns:a16="http://schemas.microsoft.com/office/drawing/2014/main" id="{2A6FD569-136C-496F-B1EE-59752831ADE4}"/>
                          </a:ext>
                        </a:extLst>
                      </p:cNvPr>
                      <p:cNvSpPr/>
                      <p:nvPr/>
                    </p:nvSpPr>
                    <p:spPr>
                      <a:xfrm>
                        <a:off x="7259508" y="3862015"/>
                        <a:ext cx="43832" cy="25244"/>
                      </a:xfrm>
                      <a:custGeom>
                        <a:avLst/>
                        <a:gdLst>
                          <a:gd name="connsiteX0" fmla="*/ 43832 w 43832"/>
                          <a:gd name="connsiteY0" fmla="*/ 7033 h 25244"/>
                          <a:gd name="connsiteX1" fmla="*/ 42075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8935 w 43832"/>
                          <a:gd name="connsiteY5" fmla="*/ 9922 h 25244"/>
                          <a:gd name="connsiteX6" fmla="*/ 38432 w 43832"/>
                          <a:gd name="connsiteY6" fmla="*/ 10299 h 25244"/>
                          <a:gd name="connsiteX7" fmla="*/ 38181 w 43832"/>
                          <a:gd name="connsiteY7" fmla="*/ 10299 h 25244"/>
                          <a:gd name="connsiteX8" fmla="*/ 37553 w 43832"/>
                          <a:gd name="connsiteY8" fmla="*/ 10676 h 25244"/>
                          <a:gd name="connsiteX9" fmla="*/ 28133 w 43832"/>
                          <a:gd name="connsiteY9" fmla="*/ 16202 h 25244"/>
                          <a:gd name="connsiteX10" fmla="*/ 27631 w 43832"/>
                          <a:gd name="connsiteY10" fmla="*/ 16453 h 25244"/>
                          <a:gd name="connsiteX11" fmla="*/ 26500 w 43832"/>
                          <a:gd name="connsiteY11" fmla="*/ 17081 h 25244"/>
                          <a:gd name="connsiteX12" fmla="*/ 25998 w 43832"/>
                          <a:gd name="connsiteY12" fmla="*/ 17332 h 25244"/>
                          <a:gd name="connsiteX13" fmla="*/ 25998 w 43832"/>
                          <a:gd name="connsiteY13" fmla="*/ 17458 h 25244"/>
                          <a:gd name="connsiteX14" fmla="*/ 25998 w 43832"/>
                          <a:gd name="connsiteY14" fmla="*/ 17458 h 25244"/>
                          <a:gd name="connsiteX15" fmla="*/ 25747 w 43832"/>
                          <a:gd name="connsiteY15" fmla="*/ 17583 h 25244"/>
                          <a:gd name="connsiteX16" fmla="*/ 24240 w 43832"/>
                          <a:gd name="connsiteY16" fmla="*/ 18462 h 25244"/>
                          <a:gd name="connsiteX17" fmla="*/ 24240 w 43832"/>
                          <a:gd name="connsiteY17" fmla="*/ 18462 h 25244"/>
                          <a:gd name="connsiteX18" fmla="*/ 23989 w 43832"/>
                          <a:gd name="connsiteY18" fmla="*/ 18588 h 25244"/>
                          <a:gd name="connsiteX19" fmla="*/ 17584 w 43832"/>
                          <a:gd name="connsiteY19" fmla="*/ 22230 h 25244"/>
                          <a:gd name="connsiteX20" fmla="*/ 17206 w 43832"/>
                          <a:gd name="connsiteY20" fmla="*/ 22482 h 25244"/>
                          <a:gd name="connsiteX21" fmla="*/ 17206 w 43832"/>
                          <a:gd name="connsiteY21" fmla="*/ 22482 h 25244"/>
                          <a:gd name="connsiteX22" fmla="*/ 12308 w 43832"/>
                          <a:gd name="connsiteY22" fmla="*/ 25245 h 25244"/>
                          <a:gd name="connsiteX23" fmla="*/ 12183 w 43832"/>
                          <a:gd name="connsiteY23" fmla="*/ 25245 h 25244"/>
                          <a:gd name="connsiteX24" fmla="*/ 12183 w 43832"/>
                          <a:gd name="connsiteY24" fmla="*/ 25245 h 25244"/>
                          <a:gd name="connsiteX25" fmla="*/ 11806 w 43832"/>
                          <a:gd name="connsiteY25" fmla="*/ 24993 h 25244"/>
                          <a:gd name="connsiteX26" fmla="*/ 11680 w 43832"/>
                          <a:gd name="connsiteY26" fmla="*/ 24993 h 25244"/>
                          <a:gd name="connsiteX27" fmla="*/ 11304 w 43832"/>
                          <a:gd name="connsiteY27" fmla="*/ 24742 h 25244"/>
                          <a:gd name="connsiteX28" fmla="*/ 11178 w 43832"/>
                          <a:gd name="connsiteY28" fmla="*/ 24617 h 25244"/>
                          <a:gd name="connsiteX29" fmla="*/ 10173 w 43832"/>
                          <a:gd name="connsiteY29" fmla="*/ 24114 h 25244"/>
                          <a:gd name="connsiteX30" fmla="*/ 10047 w 43832"/>
                          <a:gd name="connsiteY30" fmla="*/ 23989 h 25244"/>
                          <a:gd name="connsiteX31" fmla="*/ 9420 w 43832"/>
                          <a:gd name="connsiteY31" fmla="*/ 23612 h 25244"/>
                          <a:gd name="connsiteX32" fmla="*/ 9168 w 43832"/>
                          <a:gd name="connsiteY32" fmla="*/ 23486 h 25244"/>
                          <a:gd name="connsiteX33" fmla="*/ 8666 w 43832"/>
                          <a:gd name="connsiteY33" fmla="*/ 23235 h 25244"/>
                          <a:gd name="connsiteX34" fmla="*/ 8540 w 43832"/>
                          <a:gd name="connsiteY34" fmla="*/ 23110 h 25244"/>
                          <a:gd name="connsiteX35" fmla="*/ 8164 w 43832"/>
                          <a:gd name="connsiteY35" fmla="*/ 22858 h 25244"/>
                          <a:gd name="connsiteX36" fmla="*/ 8038 w 43832"/>
                          <a:gd name="connsiteY36" fmla="*/ 22858 h 25244"/>
                          <a:gd name="connsiteX37" fmla="*/ 7410 w 43832"/>
                          <a:gd name="connsiteY37" fmla="*/ 22482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728 h 25244"/>
                          <a:gd name="connsiteX44" fmla="*/ 5526 w 43832"/>
                          <a:gd name="connsiteY44" fmla="*/ 21351 h 25244"/>
                          <a:gd name="connsiteX45" fmla="*/ 5400 w 43832"/>
                          <a:gd name="connsiteY45" fmla="*/ 21351 h 25244"/>
                          <a:gd name="connsiteX46" fmla="*/ 4521 w 43832"/>
                          <a:gd name="connsiteY46" fmla="*/ 20849 h 25244"/>
                          <a:gd name="connsiteX47" fmla="*/ 4396 w 43832"/>
                          <a:gd name="connsiteY47" fmla="*/ 20723 h 25244"/>
                          <a:gd name="connsiteX48" fmla="*/ 3642 w 43832"/>
                          <a:gd name="connsiteY48" fmla="*/ 20346 h 25244"/>
                          <a:gd name="connsiteX49" fmla="*/ 3642 w 43832"/>
                          <a:gd name="connsiteY49" fmla="*/ 20346 h 25244"/>
                          <a:gd name="connsiteX50" fmla="*/ 3391 w 43832"/>
                          <a:gd name="connsiteY50" fmla="*/ 20221 h 25244"/>
                          <a:gd name="connsiteX51" fmla="*/ 3266 w 43832"/>
                          <a:gd name="connsiteY51" fmla="*/ 20095 h 25244"/>
                          <a:gd name="connsiteX52" fmla="*/ 2763 w 43832"/>
                          <a:gd name="connsiteY52" fmla="*/ 19844 h 25244"/>
                          <a:gd name="connsiteX53" fmla="*/ 2763 w 43832"/>
                          <a:gd name="connsiteY53" fmla="*/ 19844 h 25244"/>
                          <a:gd name="connsiteX54" fmla="*/ 2638 w 43832"/>
                          <a:gd name="connsiteY54" fmla="*/ 19718 h 25244"/>
                          <a:gd name="connsiteX55" fmla="*/ 2010 w 43832"/>
                          <a:gd name="connsiteY55" fmla="*/ 19342 h 25244"/>
                          <a:gd name="connsiteX56" fmla="*/ 2010 w 43832"/>
                          <a:gd name="connsiteY56" fmla="*/ 19342 h 25244"/>
                          <a:gd name="connsiteX57" fmla="*/ 1507 w 43832"/>
                          <a:gd name="connsiteY57" fmla="*/ 19090 h 25244"/>
                          <a:gd name="connsiteX58" fmla="*/ 1381 w 43832"/>
                          <a:gd name="connsiteY58" fmla="*/ 18965 h 25244"/>
                          <a:gd name="connsiteX59" fmla="*/ 0 w 43832"/>
                          <a:gd name="connsiteY59" fmla="*/ 18211 h 25244"/>
                          <a:gd name="connsiteX60" fmla="*/ 4396 w 43832"/>
                          <a:gd name="connsiteY60" fmla="*/ 15699 h 25244"/>
                          <a:gd name="connsiteX61" fmla="*/ 4396 w 43832"/>
                          <a:gd name="connsiteY61" fmla="*/ 15574 h 25244"/>
                          <a:gd name="connsiteX62" fmla="*/ 4521 w 43832"/>
                          <a:gd name="connsiteY62" fmla="*/ 15574 h 25244"/>
                          <a:gd name="connsiteX63" fmla="*/ 4521 w 43832"/>
                          <a:gd name="connsiteY63" fmla="*/ 15574 h 25244"/>
                          <a:gd name="connsiteX64" fmla="*/ 4773 w 43832"/>
                          <a:gd name="connsiteY64" fmla="*/ 15323 h 25244"/>
                          <a:gd name="connsiteX65" fmla="*/ 4898 w 43832"/>
                          <a:gd name="connsiteY65" fmla="*/ 15323 h 25244"/>
                          <a:gd name="connsiteX66" fmla="*/ 5024 w 43832"/>
                          <a:gd name="connsiteY66" fmla="*/ 15323 h 25244"/>
                          <a:gd name="connsiteX67" fmla="*/ 5024 w 43832"/>
                          <a:gd name="connsiteY67" fmla="*/ 15323 h 25244"/>
                          <a:gd name="connsiteX68" fmla="*/ 17584 w 43832"/>
                          <a:gd name="connsiteY68" fmla="*/ 8038 h 25244"/>
                          <a:gd name="connsiteX69" fmla="*/ 17834 w 43832"/>
                          <a:gd name="connsiteY69" fmla="*/ 7913 h 25244"/>
                          <a:gd name="connsiteX70" fmla="*/ 18086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9 w 43832"/>
                          <a:gd name="connsiteY75" fmla="*/ 1130 h 25244"/>
                          <a:gd name="connsiteX76" fmla="*/ 33659 w 43832"/>
                          <a:gd name="connsiteY76" fmla="*/ 1256 h 25244"/>
                          <a:gd name="connsiteX77" fmla="*/ 34539 w 43832"/>
                          <a:gd name="connsiteY77" fmla="*/ 1758 h 25244"/>
                          <a:gd name="connsiteX78" fmla="*/ 34664 w 43832"/>
                          <a:gd name="connsiteY78" fmla="*/ 1884 h 25244"/>
                          <a:gd name="connsiteX79" fmla="*/ 35166 w 43832"/>
                          <a:gd name="connsiteY79" fmla="*/ 2135 h 25244"/>
                          <a:gd name="connsiteX80" fmla="*/ 35166 w 43832"/>
                          <a:gd name="connsiteY80" fmla="*/ 2135 h 25244"/>
                          <a:gd name="connsiteX81" fmla="*/ 36046 w 43832"/>
                          <a:gd name="connsiteY81" fmla="*/ 2638 h 25244"/>
                          <a:gd name="connsiteX82" fmla="*/ 36171 w 43832"/>
                          <a:gd name="connsiteY82" fmla="*/ 2638 h 25244"/>
                          <a:gd name="connsiteX83" fmla="*/ 36799 w 43832"/>
                          <a:gd name="connsiteY83" fmla="*/ 3014 h 25244"/>
                          <a:gd name="connsiteX84" fmla="*/ 36799 w 43832"/>
                          <a:gd name="connsiteY84" fmla="*/ 3014 h 25244"/>
                          <a:gd name="connsiteX85" fmla="*/ 37804 w 43832"/>
                          <a:gd name="connsiteY85" fmla="*/ 3642 h 25244"/>
                          <a:gd name="connsiteX86" fmla="*/ 37930 w 43832"/>
                          <a:gd name="connsiteY86" fmla="*/ 3642 h 25244"/>
                          <a:gd name="connsiteX87" fmla="*/ 38181 w 43832"/>
                          <a:gd name="connsiteY87" fmla="*/ 3893 h 25244"/>
                          <a:gd name="connsiteX88" fmla="*/ 38809 w 43832"/>
                          <a:gd name="connsiteY88" fmla="*/ 4145 h 25244"/>
                          <a:gd name="connsiteX89" fmla="*/ 38935 w 43832"/>
                          <a:gd name="connsiteY89" fmla="*/ 4270 h 25244"/>
                          <a:gd name="connsiteX90" fmla="*/ 39186 w 43832"/>
                          <a:gd name="connsiteY90" fmla="*/ 4396 h 25244"/>
                          <a:gd name="connsiteX91" fmla="*/ 39311 w 43832"/>
                          <a:gd name="connsiteY91" fmla="*/ 4396 h 25244"/>
                          <a:gd name="connsiteX92" fmla="*/ 39563 w 43832"/>
                          <a:gd name="connsiteY92" fmla="*/ 4647 h 25244"/>
                          <a:gd name="connsiteX93" fmla="*/ 39813 w 43832"/>
                          <a:gd name="connsiteY93" fmla="*/ 4773 h 25244"/>
                          <a:gd name="connsiteX94" fmla="*/ 40316 w 43832"/>
                          <a:gd name="connsiteY94" fmla="*/ 5024 h 25244"/>
                          <a:gd name="connsiteX95" fmla="*/ 40442 w 43832"/>
                          <a:gd name="connsiteY95" fmla="*/ 5149 h 25244"/>
                          <a:gd name="connsiteX96" fmla="*/ 40693 w 43832"/>
                          <a:gd name="connsiteY96" fmla="*/ 5275 h 25244"/>
                          <a:gd name="connsiteX97" fmla="*/ 40693 w 43832"/>
                          <a:gd name="connsiteY97" fmla="*/ 5275 h 25244"/>
                          <a:gd name="connsiteX98" fmla="*/ 40818 w 43832"/>
                          <a:gd name="connsiteY98" fmla="*/ 5401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823 w 43832"/>
                          <a:gd name="connsiteY104" fmla="*/ 6029 h 25244"/>
                          <a:gd name="connsiteX105" fmla="*/ 41949 w 43832"/>
                          <a:gd name="connsiteY105" fmla="*/ 6029 h 25244"/>
                          <a:gd name="connsiteX106" fmla="*/ 42451 w 43832"/>
                          <a:gd name="connsiteY106" fmla="*/ 6280 h 25244"/>
                          <a:gd name="connsiteX107" fmla="*/ 42577 w 43832"/>
                          <a:gd name="connsiteY107" fmla="*/ 6280 h 25244"/>
                          <a:gd name="connsiteX108" fmla="*/ 42828 w 43832"/>
                          <a:gd name="connsiteY108" fmla="*/ 6531 h 25244"/>
                          <a:gd name="connsiteX109" fmla="*/ 42953 w 43832"/>
                          <a:gd name="connsiteY109" fmla="*/ 6531 h 25244"/>
                          <a:gd name="connsiteX110" fmla="*/ 43330 w 43832"/>
                          <a:gd name="connsiteY110" fmla="*/ 6782 h 25244"/>
                          <a:gd name="connsiteX111" fmla="*/ 43330 w 43832"/>
                          <a:gd name="connsiteY111" fmla="*/ 6908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5" y="8164"/>
                            </a:lnTo>
                            <a:lnTo>
                              <a:pt x="41823" y="8289"/>
                            </a:lnTo>
                            <a:lnTo>
                              <a:pt x="41823" y="8289"/>
                            </a:lnTo>
                            <a:lnTo>
                              <a:pt x="39060" y="9922"/>
                            </a:lnTo>
                            <a:lnTo>
                              <a:pt x="38935" y="9922"/>
                            </a:lnTo>
                            <a:lnTo>
                              <a:pt x="38432" y="10299"/>
                            </a:lnTo>
                            <a:lnTo>
                              <a:pt x="38181" y="10299"/>
                            </a:lnTo>
                            <a:lnTo>
                              <a:pt x="37553" y="10676"/>
                            </a:lnTo>
                            <a:lnTo>
                              <a:pt x="28133" y="16202"/>
                            </a:lnTo>
                            <a:lnTo>
                              <a:pt x="27631" y="16453"/>
                            </a:lnTo>
                            <a:lnTo>
                              <a:pt x="26500" y="17081"/>
                            </a:lnTo>
                            <a:lnTo>
                              <a:pt x="25998" y="17332"/>
                            </a:lnTo>
                            <a:lnTo>
                              <a:pt x="25998" y="17458"/>
                            </a:lnTo>
                            <a:lnTo>
                              <a:pt x="25998" y="17458"/>
                            </a:lnTo>
                            <a:lnTo>
                              <a:pt x="25747" y="17583"/>
                            </a:lnTo>
                            <a:lnTo>
                              <a:pt x="24240" y="18462"/>
                            </a:lnTo>
                            <a:lnTo>
                              <a:pt x="24240" y="18462"/>
                            </a:lnTo>
                            <a:lnTo>
                              <a:pt x="23989" y="18588"/>
                            </a:lnTo>
                            <a:lnTo>
                              <a:pt x="17584" y="22230"/>
                            </a:lnTo>
                            <a:lnTo>
                              <a:pt x="17206" y="22482"/>
                            </a:lnTo>
                            <a:lnTo>
                              <a:pt x="17206" y="22482"/>
                            </a:lnTo>
                            <a:lnTo>
                              <a:pt x="12308" y="25245"/>
                            </a:lnTo>
                            <a:lnTo>
                              <a:pt x="12183" y="25245"/>
                            </a:lnTo>
                            <a:lnTo>
                              <a:pt x="12183" y="25245"/>
                            </a:lnTo>
                            <a:lnTo>
                              <a:pt x="11806" y="24993"/>
                            </a:lnTo>
                            <a:lnTo>
                              <a:pt x="11680" y="24993"/>
                            </a:lnTo>
                            <a:lnTo>
                              <a:pt x="11304" y="24742"/>
                            </a:lnTo>
                            <a:lnTo>
                              <a:pt x="11178" y="24617"/>
                            </a:lnTo>
                            <a:lnTo>
                              <a:pt x="10173" y="24114"/>
                            </a:lnTo>
                            <a:lnTo>
                              <a:pt x="10047" y="23989"/>
                            </a:lnTo>
                            <a:lnTo>
                              <a:pt x="9420" y="23612"/>
                            </a:lnTo>
                            <a:lnTo>
                              <a:pt x="9168" y="23486"/>
                            </a:lnTo>
                            <a:lnTo>
                              <a:pt x="8666" y="23235"/>
                            </a:lnTo>
                            <a:lnTo>
                              <a:pt x="8540" y="23110"/>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351"/>
                            </a:lnTo>
                            <a:lnTo>
                              <a:pt x="5400" y="21351"/>
                            </a:lnTo>
                            <a:lnTo>
                              <a:pt x="4521" y="20849"/>
                            </a:lnTo>
                            <a:lnTo>
                              <a:pt x="4396" y="20723"/>
                            </a:lnTo>
                            <a:lnTo>
                              <a:pt x="3642" y="20346"/>
                            </a:lnTo>
                            <a:lnTo>
                              <a:pt x="3642" y="20346"/>
                            </a:lnTo>
                            <a:lnTo>
                              <a:pt x="3391" y="20221"/>
                            </a:lnTo>
                            <a:lnTo>
                              <a:pt x="3266" y="20095"/>
                            </a:lnTo>
                            <a:lnTo>
                              <a:pt x="2763" y="19844"/>
                            </a:lnTo>
                            <a:lnTo>
                              <a:pt x="2763" y="19844"/>
                            </a:lnTo>
                            <a:lnTo>
                              <a:pt x="2638" y="19718"/>
                            </a:lnTo>
                            <a:lnTo>
                              <a:pt x="2010" y="19342"/>
                            </a:lnTo>
                            <a:lnTo>
                              <a:pt x="2010" y="19342"/>
                            </a:lnTo>
                            <a:lnTo>
                              <a:pt x="1507" y="19090"/>
                            </a:lnTo>
                            <a:lnTo>
                              <a:pt x="1381" y="18965"/>
                            </a:lnTo>
                            <a:lnTo>
                              <a:pt x="0" y="18211"/>
                            </a:lnTo>
                            <a:lnTo>
                              <a:pt x="4396" y="15699"/>
                            </a:lnTo>
                            <a:lnTo>
                              <a:pt x="4396" y="15574"/>
                            </a:lnTo>
                            <a:lnTo>
                              <a:pt x="4521" y="15574"/>
                            </a:lnTo>
                            <a:lnTo>
                              <a:pt x="4521" y="15574"/>
                            </a:lnTo>
                            <a:lnTo>
                              <a:pt x="4773" y="15323"/>
                            </a:lnTo>
                            <a:lnTo>
                              <a:pt x="4898" y="15323"/>
                            </a:lnTo>
                            <a:lnTo>
                              <a:pt x="5024" y="15323"/>
                            </a:lnTo>
                            <a:lnTo>
                              <a:pt x="5024" y="15323"/>
                            </a:lnTo>
                            <a:lnTo>
                              <a:pt x="17584" y="8038"/>
                            </a:lnTo>
                            <a:lnTo>
                              <a:pt x="17834" y="7913"/>
                            </a:lnTo>
                            <a:lnTo>
                              <a:pt x="18086" y="7661"/>
                            </a:lnTo>
                            <a:lnTo>
                              <a:pt x="18337" y="7536"/>
                            </a:lnTo>
                            <a:lnTo>
                              <a:pt x="31524" y="0"/>
                            </a:lnTo>
                            <a:lnTo>
                              <a:pt x="32278" y="377"/>
                            </a:lnTo>
                            <a:lnTo>
                              <a:pt x="32404" y="502"/>
                            </a:lnTo>
                            <a:lnTo>
                              <a:pt x="33409" y="1130"/>
                            </a:lnTo>
                            <a:lnTo>
                              <a:pt x="33659" y="1256"/>
                            </a:lnTo>
                            <a:lnTo>
                              <a:pt x="34539" y="1758"/>
                            </a:lnTo>
                            <a:lnTo>
                              <a:pt x="34664" y="1884"/>
                            </a:lnTo>
                            <a:lnTo>
                              <a:pt x="35166" y="2135"/>
                            </a:lnTo>
                            <a:lnTo>
                              <a:pt x="35166" y="2135"/>
                            </a:lnTo>
                            <a:lnTo>
                              <a:pt x="36046" y="2638"/>
                            </a:lnTo>
                            <a:lnTo>
                              <a:pt x="36171" y="2638"/>
                            </a:lnTo>
                            <a:lnTo>
                              <a:pt x="36799" y="3014"/>
                            </a:lnTo>
                            <a:lnTo>
                              <a:pt x="36799" y="3014"/>
                            </a:lnTo>
                            <a:lnTo>
                              <a:pt x="37804" y="3642"/>
                            </a:lnTo>
                            <a:lnTo>
                              <a:pt x="37930" y="3642"/>
                            </a:lnTo>
                            <a:lnTo>
                              <a:pt x="38181" y="3893"/>
                            </a:lnTo>
                            <a:lnTo>
                              <a:pt x="38809" y="4145"/>
                            </a:lnTo>
                            <a:lnTo>
                              <a:pt x="38935" y="4270"/>
                            </a:lnTo>
                            <a:lnTo>
                              <a:pt x="39186" y="4396"/>
                            </a:lnTo>
                            <a:lnTo>
                              <a:pt x="39311" y="4396"/>
                            </a:lnTo>
                            <a:lnTo>
                              <a:pt x="39563" y="4647"/>
                            </a:lnTo>
                            <a:lnTo>
                              <a:pt x="39813" y="4773"/>
                            </a:lnTo>
                            <a:lnTo>
                              <a:pt x="40316" y="5024"/>
                            </a:lnTo>
                            <a:lnTo>
                              <a:pt x="40442" y="5149"/>
                            </a:lnTo>
                            <a:lnTo>
                              <a:pt x="40693" y="5275"/>
                            </a:lnTo>
                            <a:lnTo>
                              <a:pt x="40693" y="5275"/>
                            </a:lnTo>
                            <a:lnTo>
                              <a:pt x="40818" y="5401"/>
                            </a:lnTo>
                            <a:lnTo>
                              <a:pt x="41195" y="5526"/>
                            </a:lnTo>
                            <a:lnTo>
                              <a:pt x="41320" y="5652"/>
                            </a:lnTo>
                            <a:lnTo>
                              <a:pt x="41572" y="5777"/>
                            </a:lnTo>
                            <a:lnTo>
                              <a:pt x="41572" y="5777"/>
                            </a:lnTo>
                            <a:lnTo>
                              <a:pt x="41698" y="5777"/>
                            </a:lnTo>
                            <a:lnTo>
                              <a:pt x="41823" y="6029"/>
                            </a:lnTo>
                            <a:lnTo>
                              <a:pt x="41949" y="6029"/>
                            </a:lnTo>
                            <a:lnTo>
                              <a:pt x="42451" y="6280"/>
                            </a:lnTo>
                            <a:lnTo>
                              <a:pt x="42577" y="6280"/>
                            </a:lnTo>
                            <a:lnTo>
                              <a:pt x="42828" y="6531"/>
                            </a:lnTo>
                            <a:lnTo>
                              <a:pt x="42953" y="6531"/>
                            </a:lnTo>
                            <a:lnTo>
                              <a:pt x="43330" y="6782"/>
                            </a:lnTo>
                            <a:lnTo>
                              <a:pt x="43330"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45" name="Freeform: Shape 4144">
                      <a:extLst>
                        <a:ext uri="{FF2B5EF4-FFF2-40B4-BE49-F238E27FC236}">
                          <a16:creationId xmlns:a16="http://schemas.microsoft.com/office/drawing/2014/main" id="{C959690B-3B6D-4615-A44D-EDC577EF8182}"/>
                        </a:ext>
                      </a:extLst>
                    </p:cNvPr>
                    <p:cNvSpPr/>
                    <p:nvPr/>
                  </p:nvSpPr>
                  <p:spPr>
                    <a:xfrm>
                      <a:off x="7259508" y="3880226"/>
                      <a:ext cx="12308" cy="8791"/>
                    </a:xfrm>
                    <a:custGeom>
                      <a:avLst/>
                      <a:gdLst>
                        <a:gd name="connsiteX0" fmla="*/ 12308 w 12308"/>
                        <a:gd name="connsiteY0" fmla="*/ 7033 h 8791"/>
                        <a:gd name="connsiteX1" fmla="*/ 12308 w 12308"/>
                        <a:gd name="connsiteY1" fmla="*/ 8792 h 8791"/>
                        <a:gd name="connsiteX2" fmla="*/ 0 w 12308"/>
                        <a:gd name="connsiteY2" fmla="*/ 1759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759"/>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46" name="Graphic 4">
                    <a:extLst>
                      <a:ext uri="{FF2B5EF4-FFF2-40B4-BE49-F238E27FC236}">
                        <a16:creationId xmlns:a16="http://schemas.microsoft.com/office/drawing/2014/main" id="{84FB7ED1-A2DF-40A1-A747-5F7CF3F14040}"/>
                      </a:ext>
                    </a:extLst>
                  </p:cNvPr>
                  <p:cNvGrpSpPr/>
                  <p:nvPr/>
                </p:nvGrpSpPr>
                <p:grpSpPr>
                  <a:xfrm>
                    <a:off x="7245442" y="3851214"/>
                    <a:ext cx="43832" cy="27128"/>
                    <a:chOff x="7245442" y="3851214"/>
                    <a:chExt cx="43832" cy="27128"/>
                  </a:xfrm>
                  <a:solidFill>
                    <a:schemeClr val="accent1"/>
                  </a:solidFill>
                </p:grpSpPr>
                <p:grpSp>
                  <p:nvGrpSpPr>
                    <p:cNvPr id="4147" name="Graphic 4">
                      <a:extLst>
                        <a:ext uri="{FF2B5EF4-FFF2-40B4-BE49-F238E27FC236}">
                          <a16:creationId xmlns:a16="http://schemas.microsoft.com/office/drawing/2014/main" id="{84FB7ED1-A2DF-40A1-A747-5F7CF3F14040}"/>
                        </a:ext>
                      </a:extLst>
                    </p:cNvPr>
                    <p:cNvGrpSpPr/>
                    <p:nvPr/>
                  </p:nvGrpSpPr>
                  <p:grpSpPr>
                    <a:xfrm>
                      <a:off x="7245442" y="3851214"/>
                      <a:ext cx="43832" cy="27128"/>
                      <a:chOff x="7245442" y="3851214"/>
                      <a:chExt cx="43832" cy="27128"/>
                    </a:xfrm>
                    <a:solidFill>
                      <a:schemeClr val="accent1"/>
                    </a:solidFill>
                  </p:grpSpPr>
                  <p:sp>
                    <p:nvSpPr>
                      <p:cNvPr id="4148" name="Freeform: Shape 4147">
                        <a:extLst>
                          <a:ext uri="{FF2B5EF4-FFF2-40B4-BE49-F238E27FC236}">
                            <a16:creationId xmlns:a16="http://schemas.microsoft.com/office/drawing/2014/main" id="{B0781437-63BE-4478-A7E8-31888C672561}"/>
                          </a:ext>
                        </a:extLst>
                      </p:cNvPr>
                      <p:cNvSpPr/>
                      <p:nvPr/>
                    </p:nvSpPr>
                    <p:spPr>
                      <a:xfrm>
                        <a:off x="7245442" y="3852972"/>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678 w 43832"/>
                          <a:gd name="connsiteY8" fmla="*/ 10676 h 25370"/>
                          <a:gd name="connsiteX9" fmla="*/ 28133 w 43832"/>
                          <a:gd name="connsiteY9" fmla="*/ 16202 h 25370"/>
                          <a:gd name="connsiteX10" fmla="*/ 28133 w 43832"/>
                          <a:gd name="connsiteY10" fmla="*/ 16202 h 25370"/>
                          <a:gd name="connsiteX11" fmla="*/ 27631 w 43832"/>
                          <a:gd name="connsiteY11" fmla="*/ 16453 h 25370"/>
                          <a:gd name="connsiteX12" fmla="*/ 26626 w 43832"/>
                          <a:gd name="connsiteY12" fmla="*/ 17081 h 25370"/>
                          <a:gd name="connsiteX13" fmla="*/ 26626 w 43832"/>
                          <a:gd name="connsiteY13" fmla="*/ 17081 h 25370"/>
                          <a:gd name="connsiteX14" fmla="*/ 26124 w 43832"/>
                          <a:gd name="connsiteY14" fmla="*/ 17332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8 w 43832"/>
                          <a:gd name="connsiteY21" fmla="*/ 18588 h 25370"/>
                          <a:gd name="connsiteX22" fmla="*/ 17584 w 43832"/>
                          <a:gd name="connsiteY22" fmla="*/ 22230 h 25370"/>
                          <a:gd name="connsiteX23" fmla="*/ 17584 w 43832"/>
                          <a:gd name="connsiteY23" fmla="*/ 22230 h 25370"/>
                          <a:gd name="connsiteX24" fmla="*/ 17206 w 43832"/>
                          <a:gd name="connsiteY24" fmla="*/ 22482 h 25370"/>
                          <a:gd name="connsiteX25" fmla="*/ 17206 w 43832"/>
                          <a:gd name="connsiteY25" fmla="*/ 22482 h 25370"/>
                          <a:gd name="connsiteX26" fmla="*/ 12308 w 43832"/>
                          <a:gd name="connsiteY26" fmla="*/ 25370 h 25370"/>
                          <a:gd name="connsiteX27" fmla="*/ 12308 w 43832"/>
                          <a:gd name="connsiteY27" fmla="*/ 25370 h 25370"/>
                          <a:gd name="connsiteX28" fmla="*/ 12183 w 43832"/>
                          <a:gd name="connsiteY28" fmla="*/ 25245 h 25370"/>
                          <a:gd name="connsiteX29" fmla="*/ 11806 w 43832"/>
                          <a:gd name="connsiteY29" fmla="*/ 25119 h 25370"/>
                          <a:gd name="connsiteX30" fmla="*/ 11806 w 43832"/>
                          <a:gd name="connsiteY30" fmla="*/ 24993 h 25370"/>
                          <a:gd name="connsiteX31" fmla="*/ 11806 w 43832"/>
                          <a:gd name="connsiteY31" fmla="*/ 24993 h 25370"/>
                          <a:gd name="connsiteX32" fmla="*/ 11304 w 43832"/>
                          <a:gd name="connsiteY32" fmla="*/ 24742 h 25370"/>
                          <a:gd name="connsiteX33" fmla="*/ 11178 w 43832"/>
                          <a:gd name="connsiteY33" fmla="*/ 24617 h 25370"/>
                          <a:gd name="connsiteX34" fmla="*/ 10173 w 43832"/>
                          <a:gd name="connsiteY34" fmla="*/ 24114 h 25370"/>
                          <a:gd name="connsiteX35" fmla="*/ 10173 w 43832"/>
                          <a:gd name="connsiteY35" fmla="*/ 24114 h 25370"/>
                          <a:gd name="connsiteX36" fmla="*/ 9420 w 43832"/>
                          <a:gd name="connsiteY36" fmla="*/ 23737 h 25370"/>
                          <a:gd name="connsiteX37" fmla="*/ 9294 w 43832"/>
                          <a:gd name="connsiteY37" fmla="*/ 23612 h 25370"/>
                          <a:gd name="connsiteX38" fmla="*/ 8666 w 43832"/>
                          <a:gd name="connsiteY38" fmla="*/ 23235 h 25370"/>
                          <a:gd name="connsiteX39" fmla="*/ 8666 w 43832"/>
                          <a:gd name="connsiteY39" fmla="*/ 23235 h 25370"/>
                          <a:gd name="connsiteX40" fmla="*/ 8164 w 43832"/>
                          <a:gd name="connsiteY40" fmla="*/ 22984 h 25370"/>
                          <a:gd name="connsiteX41" fmla="*/ 8038 w 43832"/>
                          <a:gd name="connsiteY41" fmla="*/ 22858 h 25370"/>
                          <a:gd name="connsiteX42" fmla="*/ 7410 w 43832"/>
                          <a:gd name="connsiteY42" fmla="*/ 22482 h 25370"/>
                          <a:gd name="connsiteX43" fmla="*/ 7285 w 43832"/>
                          <a:gd name="connsiteY43" fmla="*/ 22482 h 25370"/>
                          <a:gd name="connsiteX44" fmla="*/ 7285 w 43832"/>
                          <a:gd name="connsiteY44" fmla="*/ 22482 h 25370"/>
                          <a:gd name="connsiteX45" fmla="*/ 6657 w 43832"/>
                          <a:gd name="connsiteY45" fmla="*/ 21979 h 25370"/>
                          <a:gd name="connsiteX46" fmla="*/ 6531 w 43832"/>
                          <a:gd name="connsiteY46" fmla="*/ 21979 h 25370"/>
                          <a:gd name="connsiteX47" fmla="*/ 6154 w 43832"/>
                          <a:gd name="connsiteY47" fmla="*/ 21854 h 25370"/>
                          <a:gd name="connsiteX48" fmla="*/ 6028 w 43832"/>
                          <a:gd name="connsiteY48" fmla="*/ 21728 h 25370"/>
                          <a:gd name="connsiteX49" fmla="*/ 5526 w 43832"/>
                          <a:gd name="connsiteY49" fmla="*/ 21477 h 25370"/>
                          <a:gd name="connsiteX50" fmla="*/ 5526 w 43832"/>
                          <a:gd name="connsiteY50" fmla="*/ 21351 h 25370"/>
                          <a:gd name="connsiteX51" fmla="*/ 4647 w 43832"/>
                          <a:gd name="connsiteY51" fmla="*/ 20849 h 25370"/>
                          <a:gd name="connsiteX52" fmla="*/ 4396 w 43832"/>
                          <a:gd name="connsiteY52" fmla="*/ 20849 h 25370"/>
                          <a:gd name="connsiteX53" fmla="*/ 3768 w 43832"/>
                          <a:gd name="connsiteY53" fmla="*/ 20346 h 25370"/>
                          <a:gd name="connsiteX54" fmla="*/ 3642 w 43832"/>
                          <a:gd name="connsiteY54" fmla="*/ 20346 h 25370"/>
                          <a:gd name="connsiteX55" fmla="*/ 3391 w 43832"/>
                          <a:gd name="connsiteY55" fmla="*/ 20221 h 25370"/>
                          <a:gd name="connsiteX56" fmla="*/ 3391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09 w 43832"/>
                          <a:gd name="connsiteY60" fmla="*/ 19467 h 25370"/>
                          <a:gd name="connsiteX61" fmla="*/ 2009 w 43832"/>
                          <a:gd name="connsiteY61" fmla="*/ 19342 h 25370"/>
                          <a:gd name="connsiteX62" fmla="*/ 1633 w 43832"/>
                          <a:gd name="connsiteY62" fmla="*/ 19090 h 25370"/>
                          <a:gd name="connsiteX63" fmla="*/ 1381 w 43832"/>
                          <a:gd name="connsiteY63" fmla="*/ 19090 h 25370"/>
                          <a:gd name="connsiteX64" fmla="*/ 0 w 43832"/>
                          <a:gd name="connsiteY64" fmla="*/ 18211 h 25370"/>
                          <a:gd name="connsiteX65" fmla="*/ 0 w 43832"/>
                          <a:gd name="connsiteY65" fmla="*/ 16453 h 25370"/>
                          <a:gd name="connsiteX66" fmla="*/ 31524 w 43832"/>
                          <a:gd name="connsiteY66" fmla="*/ 0 h 25370"/>
                          <a:gd name="connsiteX67" fmla="*/ 32278 w 43832"/>
                          <a:gd name="connsiteY67" fmla="*/ 377 h 25370"/>
                          <a:gd name="connsiteX68" fmla="*/ 32404 w 43832"/>
                          <a:gd name="connsiteY68" fmla="*/ 502 h 25370"/>
                          <a:gd name="connsiteX69" fmla="*/ 33408 w 43832"/>
                          <a:gd name="connsiteY69" fmla="*/ 1130 h 25370"/>
                          <a:gd name="connsiteX70" fmla="*/ 33659 w 43832"/>
                          <a:gd name="connsiteY70" fmla="*/ 1256 h 25370"/>
                          <a:gd name="connsiteX71" fmla="*/ 34539 w 43832"/>
                          <a:gd name="connsiteY71" fmla="*/ 1758 h 25370"/>
                          <a:gd name="connsiteX72" fmla="*/ 34790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8 h 25370"/>
                          <a:gd name="connsiteX77" fmla="*/ 36297 w 43832"/>
                          <a:gd name="connsiteY77" fmla="*/ 2763 h 25370"/>
                          <a:gd name="connsiteX78" fmla="*/ 36799 w 43832"/>
                          <a:gd name="connsiteY78" fmla="*/ 3014 h 25370"/>
                          <a:gd name="connsiteX79" fmla="*/ 36925 w 43832"/>
                          <a:gd name="connsiteY79" fmla="*/ 3140 h 25370"/>
                          <a:gd name="connsiteX80" fmla="*/ 37804 w 43832"/>
                          <a:gd name="connsiteY80" fmla="*/ 3642 h 25370"/>
                          <a:gd name="connsiteX81" fmla="*/ 37930 w 43832"/>
                          <a:gd name="connsiteY81" fmla="*/ 3768 h 25370"/>
                          <a:gd name="connsiteX82" fmla="*/ 38181 w 43832"/>
                          <a:gd name="connsiteY82" fmla="*/ 3894 h 25370"/>
                          <a:gd name="connsiteX83" fmla="*/ 38306 w 43832"/>
                          <a:gd name="connsiteY83" fmla="*/ 3894 h 25370"/>
                          <a:gd name="connsiteX84" fmla="*/ 38809 w 43832"/>
                          <a:gd name="connsiteY84" fmla="*/ 4270 h 25370"/>
                          <a:gd name="connsiteX85" fmla="*/ 38934 w 43832"/>
                          <a:gd name="connsiteY85" fmla="*/ 4270 h 25370"/>
                          <a:gd name="connsiteX86" fmla="*/ 39186 w 43832"/>
                          <a:gd name="connsiteY86" fmla="*/ 4396 h 25370"/>
                          <a:gd name="connsiteX87" fmla="*/ 39311 w 43832"/>
                          <a:gd name="connsiteY87" fmla="*/ 4521 h 25370"/>
                          <a:gd name="connsiteX88" fmla="*/ 39688 w 43832"/>
                          <a:gd name="connsiteY88" fmla="*/ 4647 h 25370"/>
                          <a:gd name="connsiteX89" fmla="*/ 39813 w 43832"/>
                          <a:gd name="connsiteY89" fmla="*/ 4773 h 25370"/>
                          <a:gd name="connsiteX90" fmla="*/ 40316 w 43832"/>
                          <a:gd name="connsiteY90" fmla="*/ 5024 h 25370"/>
                          <a:gd name="connsiteX91" fmla="*/ 40567 w 43832"/>
                          <a:gd name="connsiteY91" fmla="*/ 5149 h 25370"/>
                          <a:gd name="connsiteX92" fmla="*/ 40693 w 43832"/>
                          <a:gd name="connsiteY92" fmla="*/ 5275 h 25370"/>
                          <a:gd name="connsiteX93" fmla="*/ 40693 w 43832"/>
                          <a:gd name="connsiteY93" fmla="*/ 5275 h 25370"/>
                          <a:gd name="connsiteX94" fmla="*/ 40818 w 43832"/>
                          <a:gd name="connsiteY94" fmla="*/ 5401 h 25370"/>
                          <a:gd name="connsiteX95" fmla="*/ 41195 w 43832"/>
                          <a:gd name="connsiteY95" fmla="*/ 5526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949 w 43832"/>
                          <a:gd name="connsiteY100" fmla="*/ 6029 h 25370"/>
                          <a:gd name="connsiteX101" fmla="*/ 42074 w 43832"/>
                          <a:gd name="connsiteY101" fmla="*/ 6029 h 25370"/>
                          <a:gd name="connsiteX102" fmla="*/ 43832 w 43832"/>
                          <a:gd name="connsiteY102" fmla="*/ 5401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678" y="10676"/>
                            </a:lnTo>
                            <a:lnTo>
                              <a:pt x="28133" y="16202"/>
                            </a:lnTo>
                            <a:lnTo>
                              <a:pt x="28133" y="16202"/>
                            </a:lnTo>
                            <a:lnTo>
                              <a:pt x="27631" y="16453"/>
                            </a:lnTo>
                            <a:lnTo>
                              <a:pt x="26626" y="17081"/>
                            </a:lnTo>
                            <a:lnTo>
                              <a:pt x="26626" y="17081"/>
                            </a:lnTo>
                            <a:lnTo>
                              <a:pt x="26124" y="17332"/>
                            </a:lnTo>
                            <a:lnTo>
                              <a:pt x="25998" y="17458"/>
                            </a:lnTo>
                            <a:lnTo>
                              <a:pt x="25998" y="17458"/>
                            </a:lnTo>
                            <a:lnTo>
                              <a:pt x="25747" y="17583"/>
                            </a:lnTo>
                            <a:lnTo>
                              <a:pt x="25747" y="17583"/>
                            </a:lnTo>
                            <a:lnTo>
                              <a:pt x="24240" y="18462"/>
                            </a:lnTo>
                            <a:lnTo>
                              <a:pt x="24240" y="18462"/>
                            </a:lnTo>
                            <a:lnTo>
                              <a:pt x="23988" y="18588"/>
                            </a:lnTo>
                            <a:lnTo>
                              <a:pt x="17584" y="22230"/>
                            </a:lnTo>
                            <a:lnTo>
                              <a:pt x="17584" y="22230"/>
                            </a:lnTo>
                            <a:lnTo>
                              <a:pt x="17206" y="22482"/>
                            </a:lnTo>
                            <a:lnTo>
                              <a:pt x="17206" y="22482"/>
                            </a:lnTo>
                            <a:lnTo>
                              <a:pt x="12308" y="25370"/>
                            </a:lnTo>
                            <a:lnTo>
                              <a:pt x="12308" y="25370"/>
                            </a:lnTo>
                            <a:lnTo>
                              <a:pt x="12183" y="25245"/>
                            </a:lnTo>
                            <a:lnTo>
                              <a:pt x="11806" y="25119"/>
                            </a:lnTo>
                            <a:lnTo>
                              <a:pt x="11806" y="24993"/>
                            </a:lnTo>
                            <a:lnTo>
                              <a:pt x="11806" y="24993"/>
                            </a:lnTo>
                            <a:lnTo>
                              <a:pt x="11304" y="24742"/>
                            </a:lnTo>
                            <a:lnTo>
                              <a:pt x="11178" y="24617"/>
                            </a:lnTo>
                            <a:lnTo>
                              <a:pt x="10173" y="24114"/>
                            </a:lnTo>
                            <a:lnTo>
                              <a:pt x="10173" y="24114"/>
                            </a:lnTo>
                            <a:lnTo>
                              <a:pt x="9420" y="23737"/>
                            </a:lnTo>
                            <a:lnTo>
                              <a:pt x="9294" y="23612"/>
                            </a:lnTo>
                            <a:lnTo>
                              <a:pt x="8666" y="23235"/>
                            </a:lnTo>
                            <a:lnTo>
                              <a:pt x="8666" y="23235"/>
                            </a:lnTo>
                            <a:lnTo>
                              <a:pt x="8164" y="22984"/>
                            </a:lnTo>
                            <a:lnTo>
                              <a:pt x="8038" y="22858"/>
                            </a:lnTo>
                            <a:lnTo>
                              <a:pt x="7410" y="22482"/>
                            </a:lnTo>
                            <a:lnTo>
                              <a:pt x="7285" y="22482"/>
                            </a:lnTo>
                            <a:lnTo>
                              <a:pt x="7285" y="22482"/>
                            </a:lnTo>
                            <a:lnTo>
                              <a:pt x="6657" y="21979"/>
                            </a:lnTo>
                            <a:lnTo>
                              <a:pt x="6531" y="21979"/>
                            </a:lnTo>
                            <a:lnTo>
                              <a:pt x="6154" y="21854"/>
                            </a:lnTo>
                            <a:lnTo>
                              <a:pt x="6028" y="21728"/>
                            </a:lnTo>
                            <a:lnTo>
                              <a:pt x="5526" y="21477"/>
                            </a:lnTo>
                            <a:lnTo>
                              <a:pt x="5526" y="21351"/>
                            </a:lnTo>
                            <a:lnTo>
                              <a:pt x="4647" y="20849"/>
                            </a:lnTo>
                            <a:lnTo>
                              <a:pt x="4396" y="20849"/>
                            </a:lnTo>
                            <a:lnTo>
                              <a:pt x="3768" y="20346"/>
                            </a:lnTo>
                            <a:lnTo>
                              <a:pt x="3642" y="20346"/>
                            </a:lnTo>
                            <a:lnTo>
                              <a:pt x="3391" y="20221"/>
                            </a:lnTo>
                            <a:lnTo>
                              <a:pt x="3391" y="20221"/>
                            </a:lnTo>
                            <a:lnTo>
                              <a:pt x="2763" y="19844"/>
                            </a:lnTo>
                            <a:lnTo>
                              <a:pt x="2763" y="19844"/>
                            </a:lnTo>
                            <a:lnTo>
                              <a:pt x="2638" y="19718"/>
                            </a:lnTo>
                            <a:lnTo>
                              <a:pt x="2009" y="19467"/>
                            </a:lnTo>
                            <a:lnTo>
                              <a:pt x="2009" y="19342"/>
                            </a:lnTo>
                            <a:lnTo>
                              <a:pt x="1633" y="19090"/>
                            </a:lnTo>
                            <a:lnTo>
                              <a:pt x="1381" y="19090"/>
                            </a:lnTo>
                            <a:lnTo>
                              <a:pt x="0" y="18211"/>
                            </a:lnTo>
                            <a:lnTo>
                              <a:pt x="0" y="16453"/>
                            </a:lnTo>
                            <a:lnTo>
                              <a:pt x="31524" y="0"/>
                            </a:lnTo>
                            <a:lnTo>
                              <a:pt x="32278" y="377"/>
                            </a:lnTo>
                            <a:lnTo>
                              <a:pt x="32404" y="502"/>
                            </a:lnTo>
                            <a:lnTo>
                              <a:pt x="33408" y="1130"/>
                            </a:lnTo>
                            <a:lnTo>
                              <a:pt x="33659" y="1256"/>
                            </a:lnTo>
                            <a:lnTo>
                              <a:pt x="34539" y="1758"/>
                            </a:lnTo>
                            <a:lnTo>
                              <a:pt x="34790" y="1884"/>
                            </a:lnTo>
                            <a:lnTo>
                              <a:pt x="35166" y="2135"/>
                            </a:lnTo>
                            <a:lnTo>
                              <a:pt x="35166" y="2135"/>
                            </a:lnTo>
                            <a:lnTo>
                              <a:pt x="35166" y="2135"/>
                            </a:lnTo>
                            <a:lnTo>
                              <a:pt x="36046" y="2638"/>
                            </a:lnTo>
                            <a:lnTo>
                              <a:pt x="36297" y="2763"/>
                            </a:lnTo>
                            <a:lnTo>
                              <a:pt x="36799" y="3014"/>
                            </a:lnTo>
                            <a:lnTo>
                              <a:pt x="36925" y="3140"/>
                            </a:lnTo>
                            <a:lnTo>
                              <a:pt x="37804" y="3642"/>
                            </a:lnTo>
                            <a:lnTo>
                              <a:pt x="37930" y="3768"/>
                            </a:lnTo>
                            <a:lnTo>
                              <a:pt x="38181" y="3894"/>
                            </a:lnTo>
                            <a:lnTo>
                              <a:pt x="38306" y="3894"/>
                            </a:lnTo>
                            <a:lnTo>
                              <a:pt x="38809" y="4270"/>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526"/>
                            </a:lnTo>
                            <a:lnTo>
                              <a:pt x="41320" y="5652"/>
                            </a:lnTo>
                            <a:lnTo>
                              <a:pt x="41572" y="5777"/>
                            </a:lnTo>
                            <a:lnTo>
                              <a:pt x="41572" y="5777"/>
                            </a:lnTo>
                            <a:lnTo>
                              <a:pt x="41698" y="5903"/>
                            </a:lnTo>
                            <a:lnTo>
                              <a:pt x="41949" y="6029"/>
                            </a:lnTo>
                            <a:lnTo>
                              <a:pt x="42074"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49" name="Freeform: Shape 4148">
                        <a:extLst>
                          <a:ext uri="{FF2B5EF4-FFF2-40B4-BE49-F238E27FC236}">
                            <a16:creationId xmlns:a16="http://schemas.microsoft.com/office/drawing/2014/main" id="{39D82B5F-8EE0-4F0D-AD44-B221221990C8}"/>
                          </a:ext>
                        </a:extLst>
                      </p:cNvPr>
                      <p:cNvSpPr/>
                      <p:nvPr/>
                    </p:nvSpPr>
                    <p:spPr>
                      <a:xfrm>
                        <a:off x="7245442" y="3851214"/>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424 h 25370"/>
                          <a:gd name="connsiteX8" fmla="*/ 37553 w 43832"/>
                          <a:gd name="connsiteY8" fmla="*/ 10801 h 25370"/>
                          <a:gd name="connsiteX9" fmla="*/ 28133 w 43832"/>
                          <a:gd name="connsiteY9" fmla="*/ 16202 h 25370"/>
                          <a:gd name="connsiteX10" fmla="*/ 27631 w 43832"/>
                          <a:gd name="connsiteY10" fmla="*/ 16453 h 25370"/>
                          <a:gd name="connsiteX11" fmla="*/ 26626 w 43832"/>
                          <a:gd name="connsiteY11" fmla="*/ 17081 h 25370"/>
                          <a:gd name="connsiteX12" fmla="*/ 26124 w 43832"/>
                          <a:gd name="connsiteY12" fmla="*/ 17458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8 w 43832"/>
                          <a:gd name="connsiteY18" fmla="*/ 18588 h 25370"/>
                          <a:gd name="connsiteX19" fmla="*/ 17584 w 43832"/>
                          <a:gd name="connsiteY19" fmla="*/ 22356 h 25370"/>
                          <a:gd name="connsiteX20" fmla="*/ 17206 w 43832"/>
                          <a:gd name="connsiteY20" fmla="*/ 22482 h 25370"/>
                          <a:gd name="connsiteX21" fmla="*/ 17206 w 43832"/>
                          <a:gd name="connsiteY21" fmla="*/ 22482 h 25370"/>
                          <a:gd name="connsiteX22" fmla="*/ 12308 w 43832"/>
                          <a:gd name="connsiteY22" fmla="*/ 25370 h 25370"/>
                          <a:gd name="connsiteX23" fmla="*/ 12308 w 43832"/>
                          <a:gd name="connsiteY23" fmla="*/ 25370 h 25370"/>
                          <a:gd name="connsiteX24" fmla="*/ 12183 w 43832"/>
                          <a:gd name="connsiteY24" fmla="*/ 25245 h 25370"/>
                          <a:gd name="connsiteX25" fmla="*/ 11806 w 43832"/>
                          <a:gd name="connsiteY25" fmla="*/ 25119 h 25370"/>
                          <a:gd name="connsiteX26" fmla="*/ 11806 w 43832"/>
                          <a:gd name="connsiteY26" fmla="*/ 24993 h 25370"/>
                          <a:gd name="connsiteX27" fmla="*/ 11304 w 43832"/>
                          <a:gd name="connsiteY27" fmla="*/ 24742 h 25370"/>
                          <a:gd name="connsiteX28" fmla="*/ 11178 w 43832"/>
                          <a:gd name="connsiteY28" fmla="*/ 24742 h 25370"/>
                          <a:gd name="connsiteX29" fmla="*/ 10173 w 43832"/>
                          <a:gd name="connsiteY29" fmla="*/ 24114 h 25370"/>
                          <a:gd name="connsiteX30" fmla="*/ 10173 w 43832"/>
                          <a:gd name="connsiteY30" fmla="*/ 24114 h 25370"/>
                          <a:gd name="connsiteX31" fmla="*/ 9545 w 43832"/>
                          <a:gd name="connsiteY31" fmla="*/ 23737 h 25370"/>
                          <a:gd name="connsiteX32" fmla="*/ 9294 w 43832"/>
                          <a:gd name="connsiteY32" fmla="*/ 23612 h 25370"/>
                          <a:gd name="connsiteX33" fmla="*/ 8666 w 43832"/>
                          <a:gd name="connsiteY33" fmla="*/ 23235 h 25370"/>
                          <a:gd name="connsiteX34" fmla="*/ 8666 w 43832"/>
                          <a:gd name="connsiteY34" fmla="*/ 23235 h 25370"/>
                          <a:gd name="connsiteX35" fmla="*/ 8164 w 43832"/>
                          <a:gd name="connsiteY35" fmla="*/ 22984 h 25370"/>
                          <a:gd name="connsiteX36" fmla="*/ 8038 w 43832"/>
                          <a:gd name="connsiteY36" fmla="*/ 22858 h 25370"/>
                          <a:gd name="connsiteX37" fmla="*/ 7410 w 43832"/>
                          <a:gd name="connsiteY37" fmla="*/ 22607 h 25370"/>
                          <a:gd name="connsiteX38" fmla="*/ 7285 w 43832"/>
                          <a:gd name="connsiteY38" fmla="*/ 22482 h 25370"/>
                          <a:gd name="connsiteX39" fmla="*/ 7285 w 43832"/>
                          <a:gd name="connsiteY39" fmla="*/ 22482 h 25370"/>
                          <a:gd name="connsiteX40" fmla="*/ 6531 w 43832"/>
                          <a:gd name="connsiteY40" fmla="*/ 22105 h 25370"/>
                          <a:gd name="connsiteX41" fmla="*/ 6531 w 43832"/>
                          <a:gd name="connsiteY41" fmla="*/ 21979 h 25370"/>
                          <a:gd name="connsiteX42" fmla="*/ 6154 w 43832"/>
                          <a:gd name="connsiteY42" fmla="*/ 21854 h 25370"/>
                          <a:gd name="connsiteX43" fmla="*/ 6028 w 43832"/>
                          <a:gd name="connsiteY43" fmla="*/ 21728 h 25370"/>
                          <a:gd name="connsiteX44" fmla="*/ 5526 w 43832"/>
                          <a:gd name="connsiteY44" fmla="*/ 21477 h 25370"/>
                          <a:gd name="connsiteX45" fmla="*/ 5526 w 43832"/>
                          <a:gd name="connsiteY45" fmla="*/ 21477 h 25370"/>
                          <a:gd name="connsiteX46" fmla="*/ 4647 w 43832"/>
                          <a:gd name="connsiteY46" fmla="*/ 20974 h 25370"/>
                          <a:gd name="connsiteX47" fmla="*/ 4396 w 43832"/>
                          <a:gd name="connsiteY47" fmla="*/ 20849 h 25370"/>
                          <a:gd name="connsiteX48" fmla="*/ 3768 w 43832"/>
                          <a:gd name="connsiteY48" fmla="*/ 20472 h 25370"/>
                          <a:gd name="connsiteX49" fmla="*/ 3642 w 43832"/>
                          <a:gd name="connsiteY49" fmla="*/ 20346 h 25370"/>
                          <a:gd name="connsiteX50" fmla="*/ 3391 w 43832"/>
                          <a:gd name="connsiteY50" fmla="*/ 20221 h 25370"/>
                          <a:gd name="connsiteX51" fmla="*/ 3391 w 43832"/>
                          <a:gd name="connsiteY51" fmla="*/ 20221 h 25370"/>
                          <a:gd name="connsiteX52" fmla="*/ 2763 w 43832"/>
                          <a:gd name="connsiteY52" fmla="*/ 19844 h 25370"/>
                          <a:gd name="connsiteX53" fmla="*/ 2763 w 43832"/>
                          <a:gd name="connsiteY53" fmla="*/ 19844 h 25370"/>
                          <a:gd name="connsiteX54" fmla="*/ 2638 w 43832"/>
                          <a:gd name="connsiteY54" fmla="*/ 19844 h 25370"/>
                          <a:gd name="connsiteX55" fmla="*/ 2009 w 43832"/>
                          <a:gd name="connsiteY55" fmla="*/ 19467 h 25370"/>
                          <a:gd name="connsiteX56" fmla="*/ 2009 w 43832"/>
                          <a:gd name="connsiteY56" fmla="*/ 19467 h 25370"/>
                          <a:gd name="connsiteX57" fmla="*/ 1633 w 43832"/>
                          <a:gd name="connsiteY57" fmla="*/ 19216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647 w 43832"/>
                          <a:gd name="connsiteY63" fmla="*/ 15574 h 25370"/>
                          <a:gd name="connsiteX64" fmla="*/ 4898 w 43832"/>
                          <a:gd name="connsiteY64" fmla="*/ 15448 h 25370"/>
                          <a:gd name="connsiteX65" fmla="*/ 4898 w 43832"/>
                          <a:gd name="connsiteY65" fmla="*/ 15448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211 w 43832"/>
                          <a:gd name="connsiteY70" fmla="*/ 7787 h 25370"/>
                          <a:gd name="connsiteX71" fmla="*/ 18337 w 43832"/>
                          <a:gd name="connsiteY71" fmla="*/ 7661 h 25370"/>
                          <a:gd name="connsiteX72" fmla="*/ 31524 w 43832"/>
                          <a:gd name="connsiteY72" fmla="*/ 0 h 25370"/>
                          <a:gd name="connsiteX73" fmla="*/ 32278 w 43832"/>
                          <a:gd name="connsiteY73" fmla="*/ 502 h 25370"/>
                          <a:gd name="connsiteX74" fmla="*/ 32404 w 43832"/>
                          <a:gd name="connsiteY74" fmla="*/ 628 h 25370"/>
                          <a:gd name="connsiteX75" fmla="*/ 33408 w 43832"/>
                          <a:gd name="connsiteY75" fmla="*/ 1130 h 25370"/>
                          <a:gd name="connsiteX76" fmla="*/ 33659 w 43832"/>
                          <a:gd name="connsiteY76" fmla="*/ 1256 h 25370"/>
                          <a:gd name="connsiteX77" fmla="*/ 34539 w 43832"/>
                          <a:gd name="connsiteY77" fmla="*/ 1758 h 25370"/>
                          <a:gd name="connsiteX78" fmla="*/ 34790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297 w 43832"/>
                          <a:gd name="connsiteY82" fmla="*/ 2763 h 25370"/>
                          <a:gd name="connsiteX83" fmla="*/ 36799 w 43832"/>
                          <a:gd name="connsiteY83" fmla="*/ 3140 h 25370"/>
                          <a:gd name="connsiteX84" fmla="*/ 36925 w 43832"/>
                          <a:gd name="connsiteY84" fmla="*/ 3140 h 25370"/>
                          <a:gd name="connsiteX85" fmla="*/ 37804 w 43832"/>
                          <a:gd name="connsiteY85" fmla="*/ 3642 h 25370"/>
                          <a:gd name="connsiteX86" fmla="*/ 37930 w 43832"/>
                          <a:gd name="connsiteY86" fmla="*/ 3768 h 25370"/>
                          <a:gd name="connsiteX87" fmla="*/ 38306 w 43832"/>
                          <a:gd name="connsiteY87" fmla="*/ 3893 h 25370"/>
                          <a:gd name="connsiteX88" fmla="*/ 38809 w 43832"/>
                          <a:gd name="connsiteY88" fmla="*/ 4270 h 25370"/>
                          <a:gd name="connsiteX89" fmla="*/ 38934 w 43832"/>
                          <a:gd name="connsiteY89" fmla="*/ 4270 h 25370"/>
                          <a:gd name="connsiteX90" fmla="*/ 39186 w 43832"/>
                          <a:gd name="connsiteY90" fmla="*/ 4521 h 25370"/>
                          <a:gd name="connsiteX91" fmla="*/ 39311 w 43832"/>
                          <a:gd name="connsiteY91" fmla="*/ 4521 h 25370"/>
                          <a:gd name="connsiteX92" fmla="*/ 39688 w 43832"/>
                          <a:gd name="connsiteY92" fmla="*/ 4773 h 25370"/>
                          <a:gd name="connsiteX93" fmla="*/ 39813 w 43832"/>
                          <a:gd name="connsiteY93" fmla="*/ 4773 h 25370"/>
                          <a:gd name="connsiteX94" fmla="*/ 40316 w 43832"/>
                          <a:gd name="connsiteY94" fmla="*/ 5149 h 25370"/>
                          <a:gd name="connsiteX95" fmla="*/ 40567 w 43832"/>
                          <a:gd name="connsiteY95" fmla="*/ 5275 h 25370"/>
                          <a:gd name="connsiteX96" fmla="*/ 40693 w 43832"/>
                          <a:gd name="connsiteY96" fmla="*/ 5401 h 25370"/>
                          <a:gd name="connsiteX97" fmla="*/ 40693 w 43832"/>
                          <a:gd name="connsiteY97" fmla="*/ 5401 h 25370"/>
                          <a:gd name="connsiteX98" fmla="*/ 40818 w 43832"/>
                          <a:gd name="connsiteY98" fmla="*/ 5401 h 25370"/>
                          <a:gd name="connsiteX99" fmla="*/ 41195 w 43832"/>
                          <a:gd name="connsiteY99" fmla="*/ 5652 h 25370"/>
                          <a:gd name="connsiteX100" fmla="*/ 41320 w 43832"/>
                          <a:gd name="connsiteY100" fmla="*/ 5777 h 25370"/>
                          <a:gd name="connsiteX101" fmla="*/ 41572 w 43832"/>
                          <a:gd name="connsiteY101" fmla="*/ 5903 h 25370"/>
                          <a:gd name="connsiteX102" fmla="*/ 41572 w 43832"/>
                          <a:gd name="connsiteY102" fmla="*/ 5903 h 25370"/>
                          <a:gd name="connsiteX103" fmla="*/ 41698 w 43832"/>
                          <a:gd name="connsiteY103" fmla="*/ 5903 h 25370"/>
                          <a:gd name="connsiteX104" fmla="*/ 41949 w 43832"/>
                          <a:gd name="connsiteY104" fmla="*/ 6029 h 25370"/>
                          <a:gd name="connsiteX105" fmla="*/ 42074 w 43832"/>
                          <a:gd name="connsiteY105" fmla="*/ 6029 h 25370"/>
                          <a:gd name="connsiteX106" fmla="*/ 42451 w 43832"/>
                          <a:gd name="connsiteY106" fmla="*/ 6405 h 25370"/>
                          <a:gd name="connsiteX107" fmla="*/ 42577 w 43832"/>
                          <a:gd name="connsiteY107" fmla="*/ 6405 h 25370"/>
                          <a:gd name="connsiteX108" fmla="*/ 42827 w 43832"/>
                          <a:gd name="connsiteY108" fmla="*/ 6531 h 25370"/>
                          <a:gd name="connsiteX109" fmla="*/ 42953 w 43832"/>
                          <a:gd name="connsiteY109" fmla="*/ 6657 h 25370"/>
                          <a:gd name="connsiteX110" fmla="*/ 43456 w 43832"/>
                          <a:gd name="connsiteY110" fmla="*/ 6908 h 25370"/>
                          <a:gd name="connsiteX111" fmla="*/ 43456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424"/>
                            </a:lnTo>
                            <a:lnTo>
                              <a:pt x="37553" y="10801"/>
                            </a:lnTo>
                            <a:lnTo>
                              <a:pt x="28133" y="16202"/>
                            </a:lnTo>
                            <a:lnTo>
                              <a:pt x="27631" y="16453"/>
                            </a:lnTo>
                            <a:lnTo>
                              <a:pt x="26626" y="17081"/>
                            </a:lnTo>
                            <a:lnTo>
                              <a:pt x="26124" y="17458"/>
                            </a:lnTo>
                            <a:lnTo>
                              <a:pt x="25998" y="17458"/>
                            </a:lnTo>
                            <a:lnTo>
                              <a:pt x="25998" y="17458"/>
                            </a:lnTo>
                            <a:lnTo>
                              <a:pt x="25747" y="17583"/>
                            </a:lnTo>
                            <a:lnTo>
                              <a:pt x="24240" y="18462"/>
                            </a:lnTo>
                            <a:lnTo>
                              <a:pt x="24240" y="18462"/>
                            </a:lnTo>
                            <a:lnTo>
                              <a:pt x="23988" y="18588"/>
                            </a:lnTo>
                            <a:lnTo>
                              <a:pt x="17584" y="22356"/>
                            </a:lnTo>
                            <a:lnTo>
                              <a:pt x="17206" y="22482"/>
                            </a:lnTo>
                            <a:lnTo>
                              <a:pt x="17206" y="22482"/>
                            </a:lnTo>
                            <a:lnTo>
                              <a:pt x="12308" y="25370"/>
                            </a:lnTo>
                            <a:lnTo>
                              <a:pt x="12308" y="25370"/>
                            </a:lnTo>
                            <a:lnTo>
                              <a:pt x="12183" y="25245"/>
                            </a:lnTo>
                            <a:lnTo>
                              <a:pt x="11806" y="25119"/>
                            </a:lnTo>
                            <a:lnTo>
                              <a:pt x="11806" y="24993"/>
                            </a:lnTo>
                            <a:lnTo>
                              <a:pt x="11304" y="24742"/>
                            </a:lnTo>
                            <a:lnTo>
                              <a:pt x="11178" y="24742"/>
                            </a:lnTo>
                            <a:lnTo>
                              <a:pt x="10173" y="24114"/>
                            </a:lnTo>
                            <a:lnTo>
                              <a:pt x="10173" y="24114"/>
                            </a:lnTo>
                            <a:lnTo>
                              <a:pt x="9545" y="23737"/>
                            </a:lnTo>
                            <a:lnTo>
                              <a:pt x="9294" y="23612"/>
                            </a:lnTo>
                            <a:lnTo>
                              <a:pt x="8666" y="23235"/>
                            </a:lnTo>
                            <a:lnTo>
                              <a:pt x="8666" y="23235"/>
                            </a:lnTo>
                            <a:lnTo>
                              <a:pt x="8164" y="22984"/>
                            </a:lnTo>
                            <a:lnTo>
                              <a:pt x="8038" y="22858"/>
                            </a:lnTo>
                            <a:lnTo>
                              <a:pt x="7410" y="22607"/>
                            </a:lnTo>
                            <a:lnTo>
                              <a:pt x="7285" y="22482"/>
                            </a:lnTo>
                            <a:lnTo>
                              <a:pt x="7285" y="22482"/>
                            </a:lnTo>
                            <a:lnTo>
                              <a:pt x="6531" y="22105"/>
                            </a:lnTo>
                            <a:lnTo>
                              <a:pt x="6531" y="21979"/>
                            </a:lnTo>
                            <a:lnTo>
                              <a:pt x="6154" y="21854"/>
                            </a:lnTo>
                            <a:lnTo>
                              <a:pt x="6028" y="21728"/>
                            </a:lnTo>
                            <a:lnTo>
                              <a:pt x="5526" y="21477"/>
                            </a:lnTo>
                            <a:lnTo>
                              <a:pt x="5526" y="21477"/>
                            </a:lnTo>
                            <a:lnTo>
                              <a:pt x="4647" y="20974"/>
                            </a:lnTo>
                            <a:lnTo>
                              <a:pt x="4396" y="20849"/>
                            </a:lnTo>
                            <a:lnTo>
                              <a:pt x="3768" y="20472"/>
                            </a:lnTo>
                            <a:lnTo>
                              <a:pt x="3642" y="20346"/>
                            </a:lnTo>
                            <a:lnTo>
                              <a:pt x="3391" y="20221"/>
                            </a:lnTo>
                            <a:lnTo>
                              <a:pt x="3391" y="20221"/>
                            </a:lnTo>
                            <a:lnTo>
                              <a:pt x="2763" y="19844"/>
                            </a:lnTo>
                            <a:lnTo>
                              <a:pt x="2763" y="19844"/>
                            </a:lnTo>
                            <a:lnTo>
                              <a:pt x="2638" y="19844"/>
                            </a:lnTo>
                            <a:lnTo>
                              <a:pt x="2009" y="19467"/>
                            </a:lnTo>
                            <a:lnTo>
                              <a:pt x="2009" y="19467"/>
                            </a:lnTo>
                            <a:lnTo>
                              <a:pt x="1633" y="19216"/>
                            </a:lnTo>
                            <a:lnTo>
                              <a:pt x="1381" y="19090"/>
                            </a:lnTo>
                            <a:lnTo>
                              <a:pt x="0" y="18211"/>
                            </a:lnTo>
                            <a:lnTo>
                              <a:pt x="4396" y="15699"/>
                            </a:lnTo>
                            <a:lnTo>
                              <a:pt x="4396" y="15699"/>
                            </a:lnTo>
                            <a:lnTo>
                              <a:pt x="4521" y="15574"/>
                            </a:lnTo>
                            <a:lnTo>
                              <a:pt x="4647" y="15574"/>
                            </a:lnTo>
                            <a:lnTo>
                              <a:pt x="4898" y="15448"/>
                            </a:lnTo>
                            <a:lnTo>
                              <a:pt x="4898" y="15448"/>
                            </a:lnTo>
                            <a:lnTo>
                              <a:pt x="5024" y="15323"/>
                            </a:lnTo>
                            <a:lnTo>
                              <a:pt x="5024" y="15323"/>
                            </a:lnTo>
                            <a:lnTo>
                              <a:pt x="17584" y="8038"/>
                            </a:lnTo>
                            <a:lnTo>
                              <a:pt x="17834" y="7913"/>
                            </a:lnTo>
                            <a:lnTo>
                              <a:pt x="18211" y="7787"/>
                            </a:lnTo>
                            <a:lnTo>
                              <a:pt x="18337" y="7661"/>
                            </a:lnTo>
                            <a:lnTo>
                              <a:pt x="31524" y="0"/>
                            </a:lnTo>
                            <a:lnTo>
                              <a:pt x="32278" y="502"/>
                            </a:lnTo>
                            <a:lnTo>
                              <a:pt x="32404" y="628"/>
                            </a:lnTo>
                            <a:lnTo>
                              <a:pt x="33408" y="1130"/>
                            </a:lnTo>
                            <a:lnTo>
                              <a:pt x="33659" y="1256"/>
                            </a:lnTo>
                            <a:lnTo>
                              <a:pt x="34539" y="1758"/>
                            </a:lnTo>
                            <a:lnTo>
                              <a:pt x="34790" y="1884"/>
                            </a:lnTo>
                            <a:lnTo>
                              <a:pt x="35166" y="2135"/>
                            </a:lnTo>
                            <a:lnTo>
                              <a:pt x="35166" y="2135"/>
                            </a:lnTo>
                            <a:lnTo>
                              <a:pt x="36046" y="2638"/>
                            </a:lnTo>
                            <a:lnTo>
                              <a:pt x="36297" y="2763"/>
                            </a:lnTo>
                            <a:lnTo>
                              <a:pt x="36799" y="3140"/>
                            </a:lnTo>
                            <a:lnTo>
                              <a:pt x="36925" y="3140"/>
                            </a:lnTo>
                            <a:lnTo>
                              <a:pt x="37804" y="3642"/>
                            </a:lnTo>
                            <a:lnTo>
                              <a:pt x="37930" y="3768"/>
                            </a:lnTo>
                            <a:lnTo>
                              <a:pt x="38306" y="3893"/>
                            </a:lnTo>
                            <a:lnTo>
                              <a:pt x="38809" y="4270"/>
                            </a:lnTo>
                            <a:lnTo>
                              <a:pt x="38934" y="4270"/>
                            </a:lnTo>
                            <a:lnTo>
                              <a:pt x="39186" y="4521"/>
                            </a:lnTo>
                            <a:lnTo>
                              <a:pt x="39311" y="4521"/>
                            </a:lnTo>
                            <a:lnTo>
                              <a:pt x="39688" y="4773"/>
                            </a:lnTo>
                            <a:lnTo>
                              <a:pt x="39813" y="4773"/>
                            </a:lnTo>
                            <a:lnTo>
                              <a:pt x="40316" y="5149"/>
                            </a:lnTo>
                            <a:lnTo>
                              <a:pt x="40567" y="5275"/>
                            </a:lnTo>
                            <a:lnTo>
                              <a:pt x="40693" y="5401"/>
                            </a:lnTo>
                            <a:lnTo>
                              <a:pt x="40693" y="5401"/>
                            </a:lnTo>
                            <a:lnTo>
                              <a:pt x="40818" y="5401"/>
                            </a:lnTo>
                            <a:lnTo>
                              <a:pt x="41195" y="5652"/>
                            </a:lnTo>
                            <a:lnTo>
                              <a:pt x="41320" y="5777"/>
                            </a:lnTo>
                            <a:lnTo>
                              <a:pt x="41572" y="5903"/>
                            </a:lnTo>
                            <a:lnTo>
                              <a:pt x="41572" y="5903"/>
                            </a:lnTo>
                            <a:lnTo>
                              <a:pt x="41698" y="5903"/>
                            </a:lnTo>
                            <a:lnTo>
                              <a:pt x="41949" y="6029"/>
                            </a:lnTo>
                            <a:lnTo>
                              <a:pt x="42074" y="6029"/>
                            </a:lnTo>
                            <a:lnTo>
                              <a:pt x="42451" y="6405"/>
                            </a:lnTo>
                            <a:lnTo>
                              <a:pt x="42577" y="6405"/>
                            </a:lnTo>
                            <a:lnTo>
                              <a:pt x="42827" y="6531"/>
                            </a:lnTo>
                            <a:lnTo>
                              <a:pt x="42953" y="6657"/>
                            </a:lnTo>
                            <a:lnTo>
                              <a:pt x="43456" y="6908"/>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50" name="Freeform: Shape 4149">
                      <a:extLst>
                        <a:ext uri="{FF2B5EF4-FFF2-40B4-BE49-F238E27FC236}">
                          <a16:creationId xmlns:a16="http://schemas.microsoft.com/office/drawing/2014/main" id="{E8C13E1A-AA67-4B7C-AFBA-5DDDEB57E07A}"/>
                        </a:ext>
                      </a:extLst>
                    </p:cNvPr>
                    <p:cNvSpPr/>
                    <p:nvPr/>
                  </p:nvSpPr>
                  <p:spPr>
                    <a:xfrm>
                      <a:off x="7245442" y="3869425"/>
                      <a:ext cx="12308" cy="8917"/>
                    </a:xfrm>
                    <a:custGeom>
                      <a:avLst/>
                      <a:gdLst>
                        <a:gd name="connsiteX0" fmla="*/ 12308 w 12308"/>
                        <a:gd name="connsiteY0" fmla="*/ 7159 h 8917"/>
                        <a:gd name="connsiteX1" fmla="*/ 12308 w 12308"/>
                        <a:gd name="connsiteY1" fmla="*/ 8917 h 8917"/>
                        <a:gd name="connsiteX2" fmla="*/ 0 w 12308"/>
                        <a:gd name="connsiteY2" fmla="*/ 1758 h 8917"/>
                        <a:gd name="connsiteX3" fmla="*/ 0 w 12308"/>
                        <a:gd name="connsiteY3" fmla="*/ 0 h 8917"/>
                      </a:gdLst>
                      <a:ahLst/>
                      <a:cxnLst>
                        <a:cxn ang="0">
                          <a:pos x="connsiteX0" y="connsiteY0"/>
                        </a:cxn>
                        <a:cxn ang="0">
                          <a:pos x="connsiteX1" y="connsiteY1"/>
                        </a:cxn>
                        <a:cxn ang="0">
                          <a:pos x="connsiteX2" y="connsiteY2"/>
                        </a:cxn>
                        <a:cxn ang="0">
                          <a:pos x="connsiteX3" y="connsiteY3"/>
                        </a:cxn>
                      </a:cxnLst>
                      <a:rect l="l" t="t" r="r" b="b"/>
                      <a:pathLst>
                        <a:path w="12308" h="8917">
                          <a:moveTo>
                            <a:pt x="12308" y="7159"/>
                          </a:moveTo>
                          <a:lnTo>
                            <a:pt x="12308" y="8917"/>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51" name="Graphic 4">
                    <a:extLst>
                      <a:ext uri="{FF2B5EF4-FFF2-40B4-BE49-F238E27FC236}">
                        <a16:creationId xmlns:a16="http://schemas.microsoft.com/office/drawing/2014/main" id="{84FB7ED1-A2DF-40A1-A747-5F7CF3F14040}"/>
                      </a:ext>
                    </a:extLst>
                  </p:cNvPr>
                  <p:cNvGrpSpPr/>
                  <p:nvPr/>
                </p:nvGrpSpPr>
                <p:grpSpPr>
                  <a:xfrm>
                    <a:off x="7259508" y="3859252"/>
                    <a:ext cx="43832" cy="27002"/>
                    <a:chOff x="7259508" y="3859252"/>
                    <a:chExt cx="43832" cy="27002"/>
                  </a:xfrm>
                  <a:solidFill>
                    <a:schemeClr val="accent1"/>
                  </a:solidFill>
                </p:grpSpPr>
                <p:grpSp>
                  <p:nvGrpSpPr>
                    <p:cNvPr id="4152" name="Graphic 4">
                      <a:extLst>
                        <a:ext uri="{FF2B5EF4-FFF2-40B4-BE49-F238E27FC236}">
                          <a16:creationId xmlns:a16="http://schemas.microsoft.com/office/drawing/2014/main" id="{84FB7ED1-A2DF-40A1-A747-5F7CF3F14040}"/>
                        </a:ext>
                      </a:extLst>
                    </p:cNvPr>
                    <p:cNvGrpSpPr/>
                    <p:nvPr/>
                  </p:nvGrpSpPr>
                  <p:grpSpPr>
                    <a:xfrm>
                      <a:off x="7259508" y="3859252"/>
                      <a:ext cx="43832" cy="27002"/>
                      <a:chOff x="7259508" y="3859252"/>
                      <a:chExt cx="43832" cy="27002"/>
                    </a:xfrm>
                    <a:solidFill>
                      <a:schemeClr val="accent1"/>
                    </a:solidFill>
                  </p:grpSpPr>
                  <p:sp>
                    <p:nvSpPr>
                      <p:cNvPr id="4153" name="Freeform: Shape 4152">
                        <a:extLst>
                          <a:ext uri="{FF2B5EF4-FFF2-40B4-BE49-F238E27FC236}">
                            <a16:creationId xmlns:a16="http://schemas.microsoft.com/office/drawing/2014/main" id="{AEFFCC00-2F94-4063-8A9D-10FA0CD5A992}"/>
                          </a:ext>
                        </a:extLst>
                      </p:cNvPr>
                      <p:cNvSpPr/>
                      <p:nvPr/>
                    </p:nvSpPr>
                    <p:spPr>
                      <a:xfrm>
                        <a:off x="7259508" y="3861010"/>
                        <a:ext cx="43832" cy="25244"/>
                      </a:xfrm>
                      <a:custGeom>
                        <a:avLst/>
                        <a:gdLst>
                          <a:gd name="connsiteX0" fmla="*/ 43832 w 43832"/>
                          <a:gd name="connsiteY0" fmla="*/ 7033 h 25244"/>
                          <a:gd name="connsiteX1" fmla="*/ 42075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8935 w 43832"/>
                          <a:gd name="connsiteY5" fmla="*/ 9922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202 h 25244"/>
                          <a:gd name="connsiteX10" fmla="*/ 28133 w 43832"/>
                          <a:gd name="connsiteY10" fmla="*/ 16202 h 25244"/>
                          <a:gd name="connsiteX11" fmla="*/ 27631 w 43832"/>
                          <a:gd name="connsiteY11" fmla="*/ 16453 h 25244"/>
                          <a:gd name="connsiteX12" fmla="*/ 26500 w 43832"/>
                          <a:gd name="connsiteY12" fmla="*/ 17081 h 25244"/>
                          <a:gd name="connsiteX13" fmla="*/ 26500 w 43832"/>
                          <a:gd name="connsiteY13" fmla="*/ 17081 h 25244"/>
                          <a:gd name="connsiteX14" fmla="*/ 25998 w 43832"/>
                          <a:gd name="connsiteY14" fmla="*/ 17332 h 25244"/>
                          <a:gd name="connsiteX15" fmla="*/ 25998 w 43832"/>
                          <a:gd name="connsiteY15" fmla="*/ 17458 h 25244"/>
                          <a:gd name="connsiteX16" fmla="*/ 25998 w 43832"/>
                          <a:gd name="connsiteY16" fmla="*/ 17458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9 w 43832"/>
                          <a:gd name="connsiteY21" fmla="*/ 18588 h 25244"/>
                          <a:gd name="connsiteX22" fmla="*/ 17584 w 43832"/>
                          <a:gd name="connsiteY22" fmla="*/ 22230 h 25244"/>
                          <a:gd name="connsiteX23" fmla="*/ 17584 w 43832"/>
                          <a:gd name="connsiteY23" fmla="*/ 22230 h 25244"/>
                          <a:gd name="connsiteX24" fmla="*/ 17206 w 43832"/>
                          <a:gd name="connsiteY24" fmla="*/ 22482 h 25244"/>
                          <a:gd name="connsiteX25" fmla="*/ 17206 w 43832"/>
                          <a:gd name="connsiteY25" fmla="*/ 22482 h 25244"/>
                          <a:gd name="connsiteX26" fmla="*/ 12308 w 43832"/>
                          <a:gd name="connsiteY26" fmla="*/ 25245 h 25244"/>
                          <a:gd name="connsiteX27" fmla="*/ 12183 w 43832"/>
                          <a:gd name="connsiteY27" fmla="*/ 25245 h 25244"/>
                          <a:gd name="connsiteX28" fmla="*/ 12183 w 43832"/>
                          <a:gd name="connsiteY28" fmla="*/ 25245 h 25244"/>
                          <a:gd name="connsiteX29" fmla="*/ 11806 w 43832"/>
                          <a:gd name="connsiteY29" fmla="*/ 24993 h 25244"/>
                          <a:gd name="connsiteX30" fmla="*/ 11680 w 43832"/>
                          <a:gd name="connsiteY30" fmla="*/ 24993 h 25244"/>
                          <a:gd name="connsiteX31" fmla="*/ 11680 w 43832"/>
                          <a:gd name="connsiteY31" fmla="*/ 24993 h 25244"/>
                          <a:gd name="connsiteX32" fmla="*/ 11304 w 43832"/>
                          <a:gd name="connsiteY32" fmla="*/ 24742 h 25244"/>
                          <a:gd name="connsiteX33" fmla="*/ 11178 w 43832"/>
                          <a:gd name="connsiteY33" fmla="*/ 24617 h 25244"/>
                          <a:gd name="connsiteX34" fmla="*/ 10173 w 43832"/>
                          <a:gd name="connsiteY34" fmla="*/ 24114 h 25244"/>
                          <a:gd name="connsiteX35" fmla="*/ 10047 w 43832"/>
                          <a:gd name="connsiteY35" fmla="*/ 23989 h 25244"/>
                          <a:gd name="connsiteX36" fmla="*/ 9420 w 43832"/>
                          <a:gd name="connsiteY36" fmla="*/ 23612 h 25244"/>
                          <a:gd name="connsiteX37" fmla="*/ 9168 w 43832"/>
                          <a:gd name="connsiteY37" fmla="*/ 23486 h 25244"/>
                          <a:gd name="connsiteX38" fmla="*/ 8666 w 43832"/>
                          <a:gd name="connsiteY38" fmla="*/ 23235 h 25244"/>
                          <a:gd name="connsiteX39" fmla="*/ 8540 w 43832"/>
                          <a:gd name="connsiteY39" fmla="*/ 23235 h 25244"/>
                          <a:gd name="connsiteX40" fmla="*/ 8164 w 43832"/>
                          <a:gd name="connsiteY40" fmla="*/ 22858 h 25244"/>
                          <a:gd name="connsiteX41" fmla="*/ 8038 w 43832"/>
                          <a:gd name="connsiteY41" fmla="*/ 22858 h 25244"/>
                          <a:gd name="connsiteX42" fmla="*/ 7410 w 43832"/>
                          <a:gd name="connsiteY42" fmla="*/ 22482 h 25244"/>
                          <a:gd name="connsiteX43" fmla="*/ 7285 w 43832"/>
                          <a:gd name="connsiteY43" fmla="*/ 22356 h 25244"/>
                          <a:gd name="connsiteX44" fmla="*/ 7285 w 43832"/>
                          <a:gd name="connsiteY44" fmla="*/ 22356 h 25244"/>
                          <a:gd name="connsiteX45" fmla="*/ 6531 w 43832"/>
                          <a:gd name="connsiteY45" fmla="*/ 21979 h 25244"/>
                          <a:gd name="connsiteX46" fmla="*/ 6531 w 43832"/>
                          <a:gd name="connsiteY46" fmla="*/ 21979 h 25244"/>
                          <a:gd name="connsiteX47" fmla="*/ 6154 w 43832"/>
                          <a:gd name="connsiteY47" fmla="*/ 21728 h 25244"/>
                          <a:gd name="connsiteX48" fmla="*/ 6028 w 43832"/>
                          <a:gd name="connsiteY48" fmla="*/ 21728 h 25244"/>
                          <a:gd name="connsiteX49" fmla="*/ 5526 w 43832"/>
                          <a:gd name="connsiteY49" fmla="*/ 21351 h 25244"/>
                          <a:gd name="connsiteX50" fmla="*/ 5400 w 43832"/>
                          <a:gd name="connsiteY50" fmla="*/ 21351 h 25244"/>
                          <a:gd name="connsiteX51" fmla="*/ 4521 w 43832"/>
                          <a:gd name="connsiteY51" fmla="*/ 20849 h 25244"/>
                          <a:gd name="connsiteX52" fmla="*/ 4396 w 43832"/>
                          <a:gd name="connsiteY52" fmla="*/ 20723 h 25244"/>
                          <a:gd name="connsiteX53" fmla="*/ 3642 w 43832"/>
                          <a:gd name="connsiteY53" fmla="*/ 20346 h 25244"/>
                          <a:gd name="connsiteX54" fmla="*/ 3642 w 43832"/>
                          <a:gd name="connsiteY54" fmla="*/ 20346 h 25244"/>
                          <a:gd name="connsiteX55" fmla="*/ 3391 w 43832"/>
                          <a:gd name="connsiteY55" fmla="*/ 20221 h 25244"/>
                          <a:gd name="connsiteX56" fmla="*/ 3266 w 43832"/>
                          <a:gd name="connsiteY56" fmla="*/ 20095 h 25244"/>
                          <a:gd name="connsiteX57" fmla="*/ 2763 w 43832"/>
                          <a:gd name="connsiteY57" fmla="*/ 19844 h 25244"/>
                          <a:gd name="connsiteX58" fmla="*/ 2763 w 43832"/>
                          <a:gd name="connsiteY58" fmla="*/ 19844 h 25244"/>
                          <a:gd name="connsiteX59" fmla="*/ 2638 w 43832"/>
                          <a:gd name="connsiteY59" fmla="*/ 19718 h 25244"/>
                          <a:gd name="connsiteX60" fmla="*/ 2010 w 43832"/>
                          <a:gd name="connsiteY60" fmla="*/ 19342 h 25244"/>
                          <a:gd name="connsiteX61" fmla="*/ 2010 w 43832"/>
                          <a:gd name="connsiteY61" fmla="*/ 19342 h 25244"/>
                          <a:gd name="connsiteX62" fmla="*/ 1507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9 w 43832"/>
                          <a:gd name="connsiteY69" fmla="*/ 1130 h 25244"/>
                          <a:gd name="connsiteX70" fmla="*/ 33659 w 43832"/>
                          <a:gd name="connsiteY70" fmla="*/ 1256 h 25244"/>
                          <a:gd name="connsiteX71" fmla="*/ 34539 w 43832"/>
                          <a:gd name="connsiteY71" fmla="*/ 1758 h 25244"/>
                          <a:gd name="connsiteX72" fmla="*/ 34664 w 43832"/>
                          <a:gd name="connsiteY72" fmla="*/ 1884 h 25244"/>
                          <a:gd name="connsiteX73" fmla="*/ 35166 w 43832"/>
                          <a:gd name="connsiteY73" fmla="*/ 2135 h 25244"/>
                          <a:gd name="connsiteX74" fmla="*/ 35166 w 43832"/>
                          <a:gd name="connsiteY74" fmla="*/ 2135 h 25244"/>
                          <a:gd name="connsiteX75" fmla="*/ 35166 w 43832"/>
                          <a:gd name="connsiteY75" fmla="*/ 2135 h 25244"/>
                          <a:gd name="connsiteX76" fmla="*/ 36046 w 43832"/>
                          <a:gd name="connsiteY76" fmla="*/ 2512 h 25244"/>
                          <a:gd name="connsiteX77" fmla="*/ 36171 w 43832"/>
                          <a:gd name="connsiteY77" fmla="*/ 2638 h 25244"/>
                          <a:gd name="connsiteX78" fmla="*/ 36799 w 43832"/>
                          <a:gd name="connsiteY78" fmla="*/ 3014 h 25244"/>
                          <a:gd name="connsiteX79" fmla="*/ 36799 w 43832"/>
                          <a:gd name="connsiteY79" fmla="*/ 3014 h 25244"/>
                          <a:gd name="connsiteX80" fmla="*/ 37804 w 43832"/>
                          <a:gd name="connsiteY80" fmla="*/ 3642 h 25244"/>
                          <a:gd name="connsiteX81" fmla="*/ 37930 w 43832"/>
                          <a:gd name="connsiteY81" fmla="*/ 3642 h 25244"/>
                          <a:gd name="connsiteX82" fmla="*/ 38181 w 43832"/>
                          <a:gd name="connsiteY82" fmla="*/ 3768 h 25244"/>
                          <a:gd name="connsiteX83" fmla="*/ 38181 w 43832"/>
                          <a:gd name="connsiteY83" fmla="*/ 3894 h 25244"/>
                          <a:gd name="connsiteX84" fmla="*/ 38809 w 43832"/>
                          <a:gd name="connsiteY84" fmla="*/ 4145 h 25244"/>
                          <a:gd name="connsiteX85" fmla="*/ 38935 w 43832"/>
                          <a:gd name="connsiteY85" fmla="*/ 4270 h 25244"/>
                          <a:gd name="connsiteX86" fmla="*/ 39186 w 43832"/>
                          <a:gd name="connsiteY86" fmla="*/ 4396 h 25244"/>
                          <a:gd name="connsiteX87" fmla="*/ 39311 w 43832"/>
                          <a:gd name="connsiteY87" fmla="*/ 4396 h 25244"/>
                          <a:gd name="connsiteX88" fmla="*/ 39563 w 43832"/>
                          <a:gd name="connsiteY88" fmla="*/ 4647 h 25244"/>
                          <a:gd name="connsiteX89" fmla="*/ 39813 w 43832"/>
                          <a:gd name="connsiteY89" fmla="*/ 4773 h 25244"/>
                          <a:gd name="connsiteX90" fmla="*/ 40190 w 43832"/>
                          <a:gd name="connsiteY90" fmla="*/ 5024 h 25244"/>
                          <a:gd name="connsiteX91" fmla="*/ 40442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823 w 43832"/>
                          <a:gd name="connsiteY100" fmla="*/ 6029 h 25244"/>
                          <a:gd name="connsiteX101" fmla="*/ 41949 w 43832"/>
                          <a:gd name="connsiteY101" fmla="*/ 6029 h 25244"/>
                          <a:gd name="connsiteX102" fmla="*/ 43832 w 43832"/>
                          <a:gd name="connsiteY102" fmla="*/ 5401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5" y="8164"/>
                            </a:lnTo>
                            <a:lnTo>
                              <a:pt x="41823" y="8289"/>
                            </a:lnTo>
                            <a:lnTo>
                              <a:pt x="41823" y="8289"/>
                            </a:lnTo>
                            <a:lnTo>
                              <a:pt x="39060" y="9922"/>
                            </a:lnTo>
                            <a:lnTo>
                              <a:pt x="38935" y="9922"/>
                            </a:lnTo>
                            <a:lnTo>
                              <a:pt x="38432" y="10173"/>
                            </a:lnTo>
                            <a:lnTo>
                              <a:pt x="38181" y="10299"/>
                            </a:lnTo>
                            <a:lnTo>
                              <a:pt x="37553" y="10676"/>
                            </a:lnTo>
                            <a:lnTo>
                              <a:pt x="28133" y="16202"/>
                            </a:lnTo>
                            <a:lnTo>
                              <a:pt x="28133" y="16202"/>
                            </a:lnTo>
                            <a:lnTo>
                              <a:pt x="27631" y="16453"/>
                            </a:lnTo>
                            <a:lnTo>
                              <a:pt x="26500" y="17081"/>
                            </a:lnTo>
                            <a:lnTo>
                              <a:pt x="26500" y="17081"/>
                            </a:lnTo>
                            <a:lnTo>
                              <a:pt x="25998" y="17332"/>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2"/>
                            </a:lnTo>
                            <a:lnTo>
                              <a:pt x="17206" y="22482"/>
                            </a:lnTo>
                            <a:lnTo>
                              <a:pt x="12308" y="25245"/>
                            </a:lnTo>
                            <a:lnTo>
                              <a:pt x="12183" y="25245"/>
                            </a:lnTo>
                            <a:lnTo>
                              <a:pt x="12183" y="25245"/>
                            </a:lnTo>
                            <a:lnTo>
                              <a:pt x="11806" y="24993"/>
                            </a:lnTo>
                            <a:lnTo>
                              <a:pt x="11680" y="24993"/>
                            </a:lnTo>
                            <a:lnTo>
                              <a:pt x="11680" y="24993"/>
                            </a:lnTo>
                            <a:lnTo>
                              <a:pt x="11304" y="24742"/>
                            </a:lnTo>
                            <a:lnTo>
                              <a:pt x="11178" y="24617"/>
                            </a:lnTo>
                            <a:lnTo>
                              <a:pt x="10173" y="24114"/>
                            </a:lnTo>
                            <a:lnTo>
                              <a:pt x="10047" y="23989"/>
                            </a:lnTo>
                            <a:lnTo>
                              <a:pt x="9420" y="23612"/>
                            </a:lnTo>
                            <a:lnTo>
                              <a:pt x="9168" y="23486"/>
                            </a:lnTo>
                            <a:lnTo>
                              <a:pt x="8666" y="23235"/>
                            </a:lnTo>
                            <a:lnTo>
                              <a:pt x="8540" y="23235"/>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351"/>
                            </a:lnTo>
                            <a:lnTo>
                              <a:pt x="5400" y="21351"/>
                            </a:lnTo>
                            <a:lnTo>
                              <a:pt x="4521" y="20849"/>
                            </a:lnTo>
                            <a:lnTo>
                              <a:pt x="4396" y="20723"/>
                            </a:lnTo>
                            <a:lnTo>
                              <a:pt x="3642" y="20346"/>
                            </a:lnTo>
                            <a:lnTo>
                              <a:pt x="3642" y="20346"/>
                            </a:lnTo>
                            <a:lnTo>
                              <a:pt x="3391" y="20221"/>
                            </a:lnTo>
                            <a:lnTo>
                              <a:pt x="3266" y="20095"/>
                            </a:lnTo>
                            <a:lnTo>
                              <a:pt x="2763" y="19844"/>
                            </a:lnTo>
                            <a:lnTo>
                              <a:pt x="2763" y="19844"/>
                            </a:lnTo>
                            <a:lnTo>
                              <a:pt x="2638" y="19718"/>
                            </a:lnTo>
                            <a:lnTo>
                              <a:pt x="2010" y="19342"/>
                            </a:lnTo>
                            <a:lnTo>
                              <a:pt x="2010" y="19342"/>
                            </a:lnTo>
                            <a:lnTo>
                              <a:pt x="1507" y="19090"/>
                            </a:lnTo>
                            <a:lnTo>
                              <a:pt x="1381" y="18965"/>
                            </a:lnTo>
                            <a:lnTo>
                              <a:pt x="0" y="18211"/>
                            </a:lnTo>
                            <a:lnTo>
                              <a:pt x="0" y="16453"/>
                            </a:lnTo>
                            <a:lnTo>
                              <a:pt x="31524" y="0"/>
                            </a:lnTo>
                            <a:lnTo>
                              <a:pt x="32278" y="377"/>
                            </a:lnTo>
                            <a:lnTo>
                              <a:pt x="32404" y="502"/>
                            </a:lnTo>
                            <a:lnTo>
                              <a:pt x="33409" y="1130"/>
                            </a:lnTo>
                            <a:lnTo>
                              <a:pt x="33659" y="1256"/>
                            </a:lnTo>
                            <a:lnTo>
                              <a:pt x="34539" y="1758"/>
                            </a:lnTo>
                            <a:lnTo>
                              <a:pt x="34664" y="1884"/>
                            </a:lnTo>
                            <a:lnTo>
                              <a:pt x="35166" y="2135"/>
                            </a:lnTo>
                            <a:lnTo>
                              <a:pt x="35166" y="2135"/>
                            </a:lnTo>
                            <a:lnTo>
                              <a:pt x="35166" y="2135"/>
                            </a:lnTo>
                            <a:lnTo>
                              <a:pt x="36046" y="2512"/>
                            </a:lnTo>
                            <a:lnTo>
                              <a:pt x="36171" y="2638"/>
                            </a:lnTo>
                            <a:lnTo>
                              <a:pt x="36799" y="3014"/>
                            </a:lnTo>
                            <a:lnTo>
                              <a:pt x="36799" y="3014"/>
                            </a:lnTo>
                            <a:lnTo>
                              <a:pt x="37804" y="3642"/>
                            </a:lnTo>
                            <a:lnTo>
                              <a:pt x="37930" y="3642"/>
                            </a:lnTo>
                            <a:lnTo>
                              <a:pt x="38181" y="3768"/>
                            </a:lnTo>
                            <a:lnTo>
                              <a:pt x="38181" y="3894"/>
                            </a:lnTo>
                            <a:lnTo>
                              <a:pt x="38809" y="4145"/>
                            </a:lnTo>
                            <a:lnTo>
                              <a:pt x="38935" y="4270"/>
                            </a:lnTo>
                            <a:lnTo>
                              <a:pt x="39186" y="4396"/>
                            </a:lnTo>
                            <a:lnTo>
                              <a:pt x="39311" y="4396"/>
                            </a:lnTo>
                            <a:lnTo>
                              <a:pt x="39563" y="4647"/>
                            </a:lnTo>
                            <a:lnTo>
                              <a:pt x="39813" y="4773"/>
                            </a:lnTo>
                            <a:lnTo>
                              <a:pt x="40190"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6029"/>
                            </a:lnTo>
                            <a:lnTo>
                              <a:pt x="41949"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54" name="Freeform: Shape 4153">
                        <a:extLst>
                          <a:ext uri="{FF2B5EF4-FFF2-40B4-BE49-F238E27FC236}">
                            <a16:creationId xmlns:a16="http://schemas.microsoft.com/office/drawing/2014/main" id="{0F7DEBB5-EF1C-4C02-A87B-4348FECDC087}"/>
                          </a:ext>
                        </a:extLst>
                      </p:cNvPr>
                      <p:cNvSpPr/>
                      <p:nvPr/>
                    </p:nvSpPr>
                    <p:spPr>
                      <a:xfrm>
                        <a:off x="7259508" y="3859252"/>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299 h 25370"/>
                          <a:gd name="connsiteX8" fmla="*/ 37553 w 43832"/>
                          <a:gd name="connsiteY8" fmla="*/ 10676 h 25370"/>
                          <a:gd name="connsiteX9" fmla="*/ 28133 w 43832"/>
                          <a:gd name="connsiteY9" fmla="*/ 16202 h 25370"/>
                          <a:gd name="connsiteX10" fmla="*/ 27631 w 43832"/>
                          <a:gd name="connsiteY10" fmla="*/ 16453 h 25370"/>
                          <a:gd name="connsiteX11" fmla="*/ 26500 w 43832"/>
                          <a:gd name="connsiteY11" fmla="*/ 17081 h 25370"/>
                          <a:gd name="connsiteX12" fmla="*/ 25998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9 w 43832"/>
                          <a:gd name="connsiteY18" fmla="*/ 18588 h 25370"/>
                          <a:gd name="connsiteX19" fmla="*/ 17584 w 43832"/>
                          <a:gd name="connsiteY19" fmla="*/ 22230 h 25370"/>
                          <a:gd name="connsiteX20" fmla="*/ 17206 w 43832"/>
                          <a:gd name="connsiteY20" fmla="*/ 22482 h 25370"/>
                          <a:gd name="connsiteX21" fmla="*/ 17206 w 43832"/>
                          <a:gd name="connsiteY21" fmla="*/ 22482 h 25370"/>
                          <a:gd name="connsiteX22" fmla="*/ 12308 w 43832"/>
                          <a:gd name="connsiteY22" fmla="*/ 25370 h 25370"/>
                          <a:gd name="connsiteX23" fmla="*/ 12183 w 43832"/>
                          <a:gd name="connsiteY23" fmla="*/ 25245 h 25370"/>
                          <a:gd name="connsiteX24" fmla="*/ 12183 w 43832"/>
                          <a:gd name="connsiteY24" fmla="*/ 25245 h 25370"/>
                          <a:gd name="connsiteX25" fmla="*/ 11806 w 43832"/>
                          <a:gd name="connsiteY25" fmla="*/ 24993 h 25370"/>
                          <a:gd name="connsiteX26" fmla="*/ 11680 w 43832"/>
                          <a:gd name="connsiteY26" fmla="*/ 24993 h 25370"/>
                          <a:gd name="connsiteX27" fmla="*/ 11304 w 43832"/>
                          <a:gd name="connsiteY27" fmla="*/ 24742 h 25370"/>
                          <a:gd name="connsiteX28" fmla="*/ 11178 w 43832"/>
                          <a:gd name="connsiteY28" fmla="*/ 24617 h 25370"/>
                          <a:gd name="connsiteX29" fmla="*/ 10173 w 43832"/>
                          <a:gd name="connsiteY29" fmla="*/ 24114 h 25370"/>
                          <a:gd name="connsiteX30" fmla="*/ 10047 w 43832"/>
                          <a:gd name="connsiteY30" fmla="*/ 24114 h 25370"/>
                          <a:gd name="connsiteX31" fmla="*/ 9420 w 43832"/>
                          <a:gd name="connsiteY31" fmla="*/ 23737 h 25370"/>
                          <a:gd name="connsiteX32" fmla="*/ 9168 w 43832"/>
                          <a:gd name="connsiteY32" fmla="*/ 23612 h 25370"/>
                          <a:gd name="connsiteX33" fmla="*/ 8666 w 43832"/>
                          <a:gd name="connsiteY33" fmla="*/ 23235 h 25370"/>
                          <a:gd name="connsiteX34" fmla="*/ 8540 w 43832"/>
                          <a:gd name="connsiteY34" fmla="*/ 23235 h 25370"/>
                          <a:gd name="connsiteX35" fmla="*/ 8164 w 43832"/>
                          <a:gd name="connsiteY35" fmla="*/ 22858 h 25370"/>
                          <a:gd name="connsiteX36" fmla="*/ 8038 w 43832"/>
                          <a:gd name="connsiteY36" fmla="*/ 22858 h 25370"/>
                          <a:gd name="connsiteX37" fmla="*/ 7410 w 43832"/>
                          <a:gd name="connsiteY37" fmla="*/ 22482 h 25370"/>
                          <a:gd name="connsiteX38" fmla="*/ 7285 w 43832"/>
                          <a:gd name="connsiteY38" fmla="*/ 22356 h 25370"/>
                          <a:gd name="connsiteX39" fmla="*/ 7285 w 43832"/>
                          <a:gd name="connsiteY39" fmla="*/ 22356 h 25370"/>
                          <a:gd name="connsiteX40" fmla="*/ 6531 w 43832"/>
                          <a:gd name="connsiteY40" fmla="*/ 21979 h 25370"/>
                          <a:gd name="connsiteX41" fmla="*/ 6531 w 43832"/>
                          <a:gd name="connsiteY41" fmla="*/ 21979 h 25370"/>
                          <a:gd name="connsiteX42" fmla="*/ 6154 w 43832"/>
                          <a:gd name="connsiteY42" fmla="*/ 21728 h 25370"/>
                          <a:gd name="connsiteX43" fmla="*/ 6028 w 43832"/>
                          <a:gd name="connsiteY43" fmla="*/ 21728 h 25370"/>
                          <a:gd name="connsiteX44" fmla="*/ 5526 w 43832"/>
                          <a:gd name="connsiteY44" fmla="*/ 21477 h 25370"/>
                          <a:gd name="connsiteX45" fmla="*/ 5400 w 43832"/>
                          <a:gd name="connsiteY45" fmla="*/ 21351 h 25370"/>
                          <a:gd name="connsiteX46" fmla="*/ 4521 w 43832"/>
                          <a:gd name="connsiteY46" fmla="*/ 20849 h 25370"/>
                          <a:gd name="connsiteX47" fmla="*/ 4396 w 43832"/>
                          <a:gd name="connsiteY47" fmla="*/ 20723 h 25370"/>
                          <a:gd name="connsiteX48" fmla="*/ 3642 w 43832"/>
                          <a:gd name="connsiteY48" fmla="*/ 20346 h 25370"/>
                          <a:gd name="connsiteX49" fmla="*/ 3642 w 43832"/>
                          <a:gd name="connsiteY49" fmla="*/ 20346 h 25370"/>
                          <a:gd name="connsiteX50" fmla="*/ 3391 w 43832"/>
                          <a:gd name="connsiteY50" fmla="*/ 20221 h 25370"/>
                          <a:gd name="connsiteX51" fmla="*/ 3266 w 43832"/>
                          <a:gd name="connsiteY51" fmla="*/ 20095 h 25370"/>
                          <a:gd name="connsiteX52" fmla="*/ 2763 w 43832"/>
                          <a:gd name="connsiteY52" fmla="*/ 19844 h 25370"/>
                          <a:gd name="connsiteX53" fmla="*/ 2763 w 43832"/>
                          <a:gd name="connsiteY53" fmla="*/ 19844 h 25370"/>
                          <a:gd name="connsiteX54" fmla="*/ 2638 w 43832"/>
                          <a:gd name="connsiteY54" fmla="*/ 19718 h 25370"/>
                          <a:gd name="connsiteX55" fmla="*/ 2010 w 43832"/>
                          <a:gd name="connsiteY55" fmla="*/ 19467 h 25370"/>
                          <a:gd name="connsiteX56" fmla="*/ 2010 w 43832"/>
                          <a:gd name="connsiteY56" fmla="*/ 19342 h 25370"/>
                          <a:gd name="connsiteX57" fmla="*/ 1507 w 43832"/>
                          <a:gd name="connsiteY57" fmla="*/ 19090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521 w 43832"/>
                          <a:gd name="connsiteY63" fmla="*/ 15574 h 25370"/>
                          <a:gd name="connsiteX64" fmla="*/ 4773 w 43832"/>
                          <a:gd name="connsiteY64" fmla="*/ 15448 h 25370"/>
                          <a:gd name="connsiteX65" fmla="*/ 4898 w 43832"/>
                          <a:gd name="connsiteY65" fmla="*/ 15323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086 w 43832"/>
                          <a:gd name="connsiteY70" fmla="*/ 7787 h 25370"/>
                          <a:gd name="connsiteX71" fmla="*/ 18337 w 43832"/>
                          <a:gd name="connsiteY71" fmla="*/ 7536 h 25370"/>
                          <a:gd name="connsiteX72" fmla="*/ 31524 w 43832"/>
                          <a:gd name="connsiteY72" fmla="*/ 0 h 25370"/>
                          <a:gd name="connsiteX73" fmla="*/ 32278 w 43832"/>
                          <a:gd name="connsiteY73" fmla="*/ 377 h 25370"/>
                          <a:gd name="connsiteX74" fmla="*/ 32404 w 43832"/>
                          <a:gd name="connsiteY74" fmla="*/ 502 h 25370"/>
                          <a:gd name="connsiteX75" fmla="*/ 33409 w 43832"/>
                          <a:gd name="connsiteY75" fmla="*/ 1130 h 25370"/>
                          <a:gd name="connsiteX76" fmla="*/ 33659 w 43832"/>
                          <a:gd name="connsiteY76" fmla="*/ 1256 h 25370"/>
                          <a:gd name="connsiteX77" fmla="*/ 34539 w 43832"/>
                          <a:gd name="connsiteY77" fmla="*/ 1758 h 25370"/>
                          <a:gd name="connsiteX78" fmla="*/ 34664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171 w 43832"/>
                          <a:gd name="connsiteY82" fmla="*/ 2763 h 25370"/>
                          <a:gd name="connsiteX83" fmla="*/ 36799 w 43832"/>
                          <a:gd name="connsiteY83" fmla="*/ 3014 h 25370"/>
                          <a:gd name="connsiteX84" fmla="*/ 36799 w 43832"/>
                          <a:gd name="connsiteY84" fmla="*/ 3014 h 25370"/>
                          <a:gd name="connsiteX85" fmla="*/ 37804 w 43832"/>
                          <a:gd name="connsiteY85" fmla="*/ 3642 h 25370"/>
                          <a:gd name="connsiteX86" fmla="*/ 37930 w 43832"/>
                          <a:gd name="connsiteY86" fmla="*/ 3642 h 25370"/>
                          <a:gd name="connsiteX87" fmla="*/ 38181 w 43832"/>
                          <a:gd name="connsiteY87" fmla="*/ 3894 h 25370"/>
                          <a:gd name="connsiteX88" fmla="*/ 38809 w 43832"/>
                          <a:gd name="connsiteY88" fmla="*/ 4145 h 25370"/>
                          <a:gd name="connsiteX89" fmla="*/ 38935 w 43832"/>
                          <a:gd name="connsiteY89" fmla="*/ 4270 h 25370"/>
                          <a:gd name="connsiteX90" fmla="*/ 39186 w 43832"/>
                          <a:gd name="connsiteY90" fmla="*/ 4396 h 25370"/>
                          <a:gd name="connsiteX91" fmla="*/ 39311 w 43832"/>
                          <a:gd name="connsiteY91" fmla="*/ 4521 h 25370"/>
                          <a:gd name="connsiteX92" fmla="*/ 39563 w 43832"/>
                          <a:gd name="connsiteY92" fmla="*/ 4647 h 25370"/>
                          <a:gd name="connsiteX93" fmla="*/ 39813 w 43832"/>
                          <a:gd name="connsiteY93" fmla="*/ 4773 h 25370"/>
                          <a:gd name="connsiteX94" fmla="*/ 40316 w 43832"/>
                          <a:gd name="connsiteY94" fmla="*/ 5024 h 25370"/>
                          <a:gd name="connsiteX95" fmla="*/ 40442 w 43832"/>
                          <a:gd name="connsiteY95" fmla="*/ 5149 h 25370"/>
                          <a:gd name="connsiteX96" fmla="*/ 40693 w 43832"/>
                          <a:gd name="connsiteY96" fmla="*/ 5275 h 25370"/>
                          <a:gd name="connsiteX97" fmla="*/ 40693 w 43832"/>
                          <a:gd name="connsiteY97" fmla="*/ 5275 h 25370"/>
                          <a:gd name="connsiteX98" fmla="*/ 40818 w 43832"/>
                          <a:gd name="connsiteY98" fmla="*/ 5401 h 25370"/>
                          <a:gd name="connsiteX99" fmla="*/ 41195 w 43832"/>
                          <a:gd name="connsiteY99" fmla="*/ 5526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823 w 43832"/>
                          <a:gd name="connsiteY104" fmla="*/ 6029 h 25370"/>
                          <a:gd name="connsiteX105" fmla="*/ 41949 w 43832"/>
                          <a:gd name="connsiteY105" fmla="*/ 6029 h 25370"/>
                          <a:gd name="connsiteX106" fmla="*/ 42451 w 43832"/>
                          <a:gd name="connsiteY106" fmla="*/ 6280 h 25370"/>
                          <a:gd name="connsiteX107" fmla="*/ 42577 w 43832"/>
                          <a:gd name="connsiteY107" fmla="*/ 6405 h 25370"/>
                          <a:gd name="connsiteX108" fmla="*/ 42828 w 43832"/>
                          <a:gd name="connsiteY108" fmla="*/ 6531 h 25370"/>
                          <a:gd name="connsiteX109" fmla="*/ 42953 w 43832"/>
                          <a:gd name="connsiteY109" fmla="*/ 6657 h 25370"/>
                          <a:gd name="connsiteX110" fmla="*/ 43330 w 43832"/>
                          <a:gd name="connsiteY110" fmla="*/ 6908 h 25370"/>
                          <a:gd name="connsiteX111" fmla="*/ 43330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299"/>
                            </a:lnTo>
                            <a:lnTo>
                              <a:pt x="37553" y="10676"/>
                            </a:lnTo>
                            <a:lnTo>
                              <a:pt x="28133" y="16202"/>
                            </a:lnTo>
                            <a:lnTo>
                              <a:pt x="27631" y="16453"/>
                            </a:lnTo>
                            <a:lnTo>
                              <a:pt x="26500" y="17081"/>
                            </a:lnTo>
                            <a:lnTo>
                              <a:pt x="25998" y="17332"/>
                            </a:lnTo>
                            <a:lnTo>
                              <a:pt x="25998" y="17458"/>
                            </a:lnTo>
                            <a:lnTo>
                              <a:pt x="25998" y="17458"/>
                            </a:lnTo>
                            <a:lnTo>
                              <a:pt x="25747" y="17583"/>
                            </a:lnTo>
                            <a:lnTo>
                              <a:pt x="24240" y="18462"/>
                            </a:lnTo>
                            <a:lnTo>
                              <a:pt x="24240" y="18462"/>
                            </a:lnTo>
                            <a:lnTo>
                              <a:pt x="23989" y="18588"/>
                            </a:lnTo>
                            <a:lnTo>
                              <a:pt x="17584" y="22230"/>
                            </a:lnTo>
                            <a:lnTo>
                              <a:pt x="17206" y="22482"/>
                            </a:lnTo>
                            <a:lnTo>
                              <a:pt x="17206" y="22482"/>
                            </a:lnTo>
                            <a:lnTo>
                              <a:pt x="12308" y="25370"/>
                            </a:lnTo>
                            <a:lnTo>
                              <a:pt x="12183" y="25245"/>
                            </a:lnTo>
                            <a:lnTo>
                              <a:pt x="12183" y="25245"/>
                            </a:lnTo>
                            <a:lnTo>
                              <a:pt x="11806" y="24993"/>
                            </a:lnTo>
                            <a:lnTo>
                              <a:pt x="11680" y="24993"/>
                            </a:lnTo>
                            <a:lnTo>
                              <a:pt x="11304" y="24742"/>
                            </a:lnTo>
                            <a:lnTo>
                              <a:pt x="11178" y="24617"/>
                            </a:lnTo>
                            <a:lnTo>
                              <a:pt x="10173" y="24114"/>
                            </a:lnTo>
                            <a:lnTo>
                              <a:pt x="10047" y="24114"/>
                            </a:lnTo>
                            <a:lnTo>
                              <a:pt x="9420" y="23737"/>
                            </a:lnTo>
                            <a:lnTo>
                              <a:pt x="9168" y="23612"/>
                            </a:lnTo>
                            <a:lnTo>
                              <a:pt x="8666" y="23235"/>
                            </a:lnTo>
                            <a:lnTo>
                              <a:pt x="8540" y="23235"/>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477"/>
                            </a:lnTo>
                            <a:lnTo>
                              <a:pt x="5400" y="21351"/>
                            </a:lnTo>
                            <a:lnTo>
                              <a:pt x="4521" y="20849"/>
                            </a:lnTo>
                            <a:lnTo>
                              <a:pt x="4396" y="20723"/>
                            </a:lnTo>
                            <a:lnTo>
                              <a:pt x="3642" y="20346"/>
                            </a:lnTo>
                            <a:lnTo>
                              <a:pt x="3642" y="20346"/>
                            </a:lnTo>
                            <a:lnTo>
                              <a:pt x="3391" y="20221"/>
                            </a:lnTo>
                            <a:lnTo>
                              <a:pt x="3266" y="20095"/>
                            </a:lnTo>
                            <a:lnTo>
                              <a:pt x="2763" y="19844"/>
                            </a:lnTo>
                            <a:lnTo>
                              <a:pt x="2763" y="19844"/>
                            </a:lnTo>
                            <a:lnTo>
                              <a:pt x="2638" y="19718"/>
                            </a:lnTo>
                            <a:lnTo>
                              <a:pt x="2010" y="19467"/>
                            </a:lnTo>
                            <a:lnTo>
                              <a:pt x="2010" y="19342"/>
                            </a:lnTo>
                            <a:lnTo>
                              <a:pt x="1507" y="19090"/>
                            </a:lnTo>
                            <a:lnTo>
                              <a:pt x="1381" y="19090"/>
                            </a:lnTo>
                            <a:lnTo>
                              <a:pt x="0" y="18211"/>
                            </a:lnTo>
                            <a:lnTo>
                              <a:pt x="4396" y="15699"/>
                            </a:lnTo>
                            <a:lnTo>
                              <a:pt x="4396" y="15699"/>
                            </a:lnTo>
                            <a:lnTo>
                              <a:pt x="4521" y="15574"/>
                            </a:lnTo>
                            <a:lnTo>
                              <a:pt x="4521" y="15574"/>
                            </a:lnTo>
                            <a:lnTo>
                              <a:pt x="4773" y="15448"/>
                            </a:lnTo>
                            <a:lnTo>
                              <a:pt x="4898" y="15323"/>
                            </a:lnTo>
                            <a:lnTo>
                              <a:pt x="5024" y="15323"/>
                            </a:lnTo>
                            <a:lnTo>
                              <a:pt x="5024" y="15323"/>
                            </a:lnTo>
                            <a:lnTo>
                              <a:pt x="17584" y="8038"/>
                            </a:lnTo>
                            <a:lnTo>
                              <a:pt x="17834" y="7913"/>
                            </a:lnTo>
                            <a:lnTo>
                              <a:pt x="18086" y="7787"/>
                            </a:lnTo>
                            <a:lnTo>
                              <a:pt x="18337" y="7536"/>
                            </a:lnTo>
                            <a:lnTo>
                              <a:pt x="31524" y="0"/>
                            </a:lnTo>
                            <a:lnTo>
                              <a:pt x="32278" y="377"/>
                            </a:lnTo>
                            <a:lnTo>
                              <a:pt x="32404" y="502"/>
                            </a:lnTo>
                            <a:lnTo>
                              <a:pt x="33409" y="1130"/>
                            </a:lnTo>
                            <a:lnTo>
                              <a:pt x="33659" y="1256"/>
                            </a:lnTo>
                            <a:lnTo>
                              <a:pt x="34539" y="1758"/>
                            </a:lnTo>
                            <a:lnTo>
                              <a:pt x="34664" y="1884"/>
                            </a:lnTo>
                            <a:lnTo>
                              <a:pt x="35166" y="2135"/>
                            </a:lnTo>
                            <a:lnTo>
                              <a:pt x="35166" y="2135"/>
                            </a:lnTo>
                            <a:lnTo>
                              <a:pt x="36046" y="2638"/>
                            </a:lnTo>
                            <a:lnTo>
                              <a:pt x="36171" y="2763"/>
                            </a:lnTo>
                            <a:lnTo>
                              <a:pt x="36799" y="3014"/>
                            </a:lnTo>
                            <a:lnTo>
                              <a:pt x="36799" y="3014"/>
                            </a:lnTo>
                            <a:lnTo>
                              <a:pt x="37804" y="3642"/>
                            </a:lnTo>
                            <a:lnTo>
                              <a:pt x="37930" y="3642"/>
                            </a:lnTo>
                            <a:lnTo>
                              <a:pt x="38181" y="3894"/>
                            </a:lnTo>
                            <a:lnTo>
                              <a:pt x="38809" y="4145"/>
                            </a:lnTo>
                            <a:lnTo>
                              <a:pt x="38935" y="4270"/>
                            </a:lnTo>
                            <a:lnTo>
                              <a:pt x="39186" y="4396"/>
                            </a:lnTo>
                            <a:lnTo>
                              <a:pt x="39311" y="4521"/>
                            </a:lnTo>
                            <a:lnTo>
                              <a:pt x="39563" y="4647"/>
                            </a:lnTo>
                            <a:lnTo>
                              <a:pt x="39813" y="4773"/>
                            </a:lnTo>
                            <a:lnTo>
                              <a:pt x="40316" y="5024"/>
                            </a:lnTo>
                            <a:lnTo>
                              <a:pt x="40442" y="5149"/>
                            </a:lnTo>
                            <a:lnTo>
                              <a:pt x="40693" y="5275"/>
                            </a:lnTo>
                            <a:lnTo>
                              <a:pt x="40693" y="5275"/>
                            </a:lnTo>
                            <a:lnTo>
                              <a:pt x="40818" y="5401"/>
                            </a:lnTo>
                            <a:lnTo>
                              <a:pt x="41195" y="5526"/>
                            </a:lnTo>
                            <a:lnTo>
                              <a:pt x="41320" y="5652"/>
                            </a:lnTo>
                            <a:lnTo>
                              <a:pt x="41572" y="5777"/>
                            </a:lnTo>
                            <a:lnTo>
                              <a:pt x="41572" y="5777"/>
                            </a:lnTo>
                            <a:lnTo>
                              <a:pt x="41698" y="5903"/>
                            </a:lnTo>
                            <a:lnTo>
                              <a:pt x="41823" y="6029"/>
                            </a:lnTo>
                            <a:lnTo>
                              <a:pt x="41949" y="6029"/>
                            </a:lnTo>
                            <a:lnTo>
                              <a:pt x="42451" y="6280"/>
                            </a:lnTo>
                            <a:lnTo>
                              <a:pt x="42577" y="6405"/>
                            </a:lnTo>
                            <a:lnTo>
                              <a:pt x="42828" y="6531"/>
                            </a:lnTo>
                            <a:lnTo>
                              <a:pt x="42953" y="6657"/>
                            </a:lnTo>
                            <a:lnTo>
                              <a:pt x="43330" y="6908"/>
                            </a:lnTo>
                            <a:lnTo>
                              <a:pt x="43330"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55" name="Freeform: Shape 4154">
                      <a:extLst>
                        <a:ext uri="{FF2B5EF4-FFF2-40B4-BE49-F238E27FC236}">
                          <a16:creationId xmlns:a16="http://schemas.microsoft.com/office/drawing/2014/main" id="{C0C4F7DF-6221-4B6E-8DD8-9144990F95B1}"/>
                        </a:ext>
                      </a:extLst>
                    </p:cNvPr>
                    <p:cNvSpPr/>
                    <p:nvPr/>
                  </p:nvSpPr>
                  <p:spPr>
                    <a:xfrm>
                      <a:off x="7259508" y="3877463"/>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56" name="Graphic 4">
                    <a:extLst>
                      <a:ext uri="{FF2B5EF4-FFF2-40B4-BE49-F238E27FC236}">
                        <a16:creationId xmlns:a16="http://schemas.microsoft.com/office/drawing/2014/main" id="{84FB7ED1-A2DF-40A1-A747-5F7CF3F14040}"/>
                      </a:ext>
                    </a:extLst>
                  </p:cNvPr>
                  <p:cNvGrpSpPr/>
                  <p:nvPr/>
                </p:nvGrpSpPr>
                <p:grpSpPr>
                  <a:xfrm>
                    <a:off x="7245442" y="3848576"/>
                    <a:ext cx="43832" cy="27002"/>
                    <a:chOff x="7245442" y="3848576"/>
                    <a:chExt cx="43832" cy="27002"/>
                  </a:xfrm>
                  <a:solidFill>
                    <a:schemeClr val="accent1"/>
                  </a:solidFill>
                </p:grpSpPr>
                <p:grpSp>
                  <p:nvGrpSpPr>
                    <p:cNvPr id="4157" name="Graphic 4">
                      <a:extLst>
                        <a:ext uri="{FF2B5EF4-FFF2-40B4-BE49-F238E27FC236}">
                          <a16:creationId xmlns:a16="http://schemas.microsoft.com/office/drawing/2014/main" id="{84FB7ED1-A2DF-40A1-A747-5F7CF3F14040}"/>
                        </a:ext>
                      </a:extLst>
                    </p:cNvPr>
                    <p:cNvGrpSpPr/>
                    <p:nvPr/>
                  </p:nvGrpSpPr>
                  <p:grpSpPr>
                    <a:xfrm>
                      <a:off x="7245442" y="3848576"/>
                      <a:ext cx="43832" cy="27002"/>
                      <a:chOff x="7245442" y="3848576"/>
                      <a:chExt cx="43832" cy="27002"/>
                    </a:xfrm>
                    <a:solidFill>
                      <a:schemeClr val="accent1"/>
                    </a:solidFill>
                  </p:grpSpPr>
                  <p:sp>
                    <p:nvSpPr>
                      <p:cNvPr id="4158" name="Freeform: Shape 4157">
                        <a:extLst>
                          <a:ext uri="{FF2B5EF4-FFF2-40B4-BE49-F238E27FC236}">
                            <a16:creationId xmlns:a16="http://schemas.microsoft.com/office/drawing/2014/main" id="{10FDB1A2-76E0-4FB6-9153-557E949FC819}"/>
                          </a:ext>
                        </a:extLst>
                      </p:cNvPr>
                      <p:cNvSpPr/>
                      <p:nvPr/>
                    </p:nvSpPr>
                    <p:spPr>
                      <a:xfrm>
                        <a:off x="7245442" y="3850209"/>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424 h 25370"/>
                          <a:gd name="connsiteX8" fmla="*/ 37678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626 w 43832"/>
                          <a:gd name="connsiteY12" fmla="*/ 17081 h 25370"/>
                          <a:gd name="connsiteX13" fmla="*/ 26626 w 43832"/>
                          <a:gd name="connsiteY13" fmla="*/ 17081 h 25370"/>
                          <a:gd name="connsiteX14" fmla="*/ 26124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8 w 43832"/>
                          <a:gd name="connsiteY21" fmla="*/ 18588 h 25370"/>
                          <a:gd name="connsiteX22" fmla="*/ 17584 w 43832"/>
                          <a:gd name="connsiteY22" fmla="*/ 22230 h 25370"/>
                          <a:gd name="connsiteX23" fmla="*/ 17584 w 43832"/>
                          <a:gd name="connsiteY23" fmla="*/ 22356 h 25370"/>
                          <a:gd name="connsiteX24" fmla="*/ 17206 w 43832"/>
                          <a:gd name="connsiteY24" fmla="*/ 22482 h 25370"/>
                          <a:gd name="connsiteX25" fmla="*/ 17206 w 43832"/>
                          <a:gd name="connsiteY25" fmla="*/ 22482 h 25370"/>
                          <a:gd name="connsiteX26" fmla="*/ 12308 w 43832"/>
                          <a:gd name="connsiteY26" fmla="*/ 25370 h 25370"/>
                          <a:gd name="connsiteX27" fmla="*/ 12308 w 43832"/>
                          <a:gd name="connsiteY27" fmla="*/ 25370 h 25370"/>
                          <a:gd name="connsiteX28" fmla="*/ 12183 w 43832"/>
                          <a:gd name="connsiteY28" fmla="*/ 25245 h 25370"/>
                          <a:gd name="connsiteX29" fmla="*/ 11806 w 43832"/>
                          <a:gd name="connsiteY29" fmla="*/ 25119 h 25370"/>
                          <a:gd name="connsiteX30" fmla="*/ 11806 w 43832"/>
                          <a:gd name="connsiteY30" fmla="*/ 24993 h 25370"/>
                          <a:gd name="connsiteX31" fmla="*/ 11806 w 43832"/>
                          <a:gd name="connsiteY31" fmla="*/ 24993 h 25370"/>
                          <a:gd name="connsiteX32" fmla="*/ 11304 w 43832"/>
                          <a:gd name="connsiteY32" fmla="*/ 24742 h 25370"/>
                          <a:gd name="connsiteX33" fmla="*/ 11178 w 43832"/>
                          <a:gd name="connsiteY33" fmla="*/ 24742 h 25370"/>
                          <a:gd name="connsiteX34" fmla="*/ 10173 w 43832"/>
                          <a:gd name="connsiteY34" fmla="*/ 24114 h 25370"/>
                          <a:gd name="connsiteX35" fmla="*/ 10173 w 43832"/>
                          <a:gd name="connsiteY35" fmla="*/ 24114 h 25370"/>
                          <a:gd name="connsiteX36" fmla="*/ 9420 w 43832"/>
                          <a:gd name="connsiteY36" fmla="*/ 23737 h 25370"/>
                          <a:gd name="connsiteX37" fmla="*/ 9294 w 43832"/>
                          <a:gd name="connsiteY37" fmla="*/ 23612 h 25370"/>
                          <a:gd name="connsiteX38" fmla="*/ 8666 w 43832"/>
                          <a:gd name="connsiteY38" fmla="*/ 23235 h 25370"/>
                          <a:gd name="connsiteX39" fmla="*/ 8666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2 h 25370"/>
                          <a:gd name="connsiteX44" fmla="*/ 7285 w 43832"/>
                          <a:gd name="connsiteY44" fmla="*/ 22482 h 25370"/>
                          <a:gd name="connsiteX45" fmla="*/ 6657 w 43832"/>
                          <a:gd name="connsiteY45" fmla="*/ 22105 h 25370"/>
                          <a:gd name="connsiteX46" fmla="*/ 6531 w 43832"/>
                          <a:gd name="connsiteY46" fmla="*/ 21979 h 25370"/>
                          <a:gd name="connsiteX47" fmla="*/ 6154 w 43832"/>
                          <a:gd name="connsiteY47" fmla="*/ 21854 h 25370"/>
                          <a:gd name="connsiteX48" fmla="*/ 6028 w 43832"/>
                          <a:gd name="connsiteY48" fmla="*/ 21728 h 25370"/>
                          <a:gd name="connsiteX49" fmla="*/ 5526 w 43832"/>
                          <a:gd name="connsiteY49" fmla="*/ 21477 h 25370"/>
                          <a:gd name="connsiteX50" fmla="*/ 5526 w 43832"/>
                          <a:gd name="connsiteY50" fmla="*/ 21477 h 25370"/>
                          <a:gd name="connsiteX51" fmla="*/ 4647 w 43832"/>
                          <a:gd name="connsiteY51" fmla="*/ 20974 h 25370"/>
                          <a:gd name="connsiteX52" fmla="*/ 4396 w 43832"/>
                          <a:gd name="connsiteY52" fmla="*/ 20849 h 25370"/>
                          <a:gd name="connsiteX53" fmla="*/ 3768 w 43832"/>
                          <a:gd name="connsiteY53" fmla="*/ 20472 h 25370"/>
                          <a:gd name="connsiteX54" fmla="*/ 3642 w 43832"/>
                          <a:gd name="connsiteY54" fmla="*/ 20346 h 25370"/>
                          <a:gd name="connsiteX55" fmla="*/ 3391 w 43832"/>
                          <a:gd name="connsiteY55" fmla="*/ 20221 h 25370"/>
                          <a:gd name="connsiteX56" fmla="*/ 3391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09 w 43832"/>
                          <a:gd name="connsiteY60" fmla="*/ 19467 h 25370"/>
                          <a:gd name="connsiteX61" fmla="*/ 2009 w 43832"/>
                          <a:gd name="connsiteY61" fmla="*/ 19467 h 25370"/>
                          <a:gd name="connsiteX62" fmla="*/ 1633 w 43832"/>
                          <a:gd name="connsiteY62" fmla="*/ 19216 h 25370"/>
                          <a:gd name="connsiteX63" fmla="*/ 1381 w 43832"/>
                          <a:gd name="connsiteY63" fmla="*/ 19090 h 25370"/>
                          <a:gd name="connsiteX64" fmla="*/ 0 w 43832"/>
                          <a:gd name="connsiteY64" fmla="*/ 18211 h 25370"/>
                          <a:gd name="connsiteX65" fmla="*/ 0 w 43832"/>
                          <a:gd name="connsiteY65" fmla="*/ 16579 h 25370"/>
                          <a:gd name="connsiteX66" fmla="*/ 31524 w 43832"/>
                          <a:gd name="connsiteY66" fmla="*/ 0 h 25370"/>
                          <a:gd name="connsiteX67" fmla="*/ 32278 w 43832"/>
                          <a:gd name="connsiteY67" fmla="*/ 502 h 25370"/>
                          <a:gd name="connsiteX68" fmla="*/ 32404 w 43832"/>
                          <a:gd name="connsiteY68" fmla="*/ 628 h 25370"/>
                          <a:gd name="connsiteX69" fmla="*/ 33408 w 43832"/>
                          <a:gd name="connsiteY69" fmla="*/ 1130 h 25370"/>
                          <a:gd name="connsiteX70" fmla="*/ 33659 w 43832"/>
                          <a:gd name="connsiteY70" fmla="*/ 1256 h 25370"/>
                          <a:gd name="connsiteX71" fmla="*/ 34539 w 43832"/>
                          <a:gd name="connsiteY71" fmla="*/ 1758 h 25370"/>
                          <a:gd name="connsiteX72" fmla="*/ 34790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8 h 25370"/>
                          <a:gd name="connsiteX77" fmla="*/ 36297 w 43832"/>
                          <a:gd name="connsiteY77" fmla="*/ 2763 h 25370"/>
                          <a:gd name="connsiteX78" fmla="*/ 36799 w 43832"/>
                          <a:gd name="connsiteY78" fmla="*/ 3140 h 25370"/>
                          <a:gd name="connsiteX79" fmla="*/ 36925 w 43832"/>
                          <a:gd name="connsiteY79" fmla="*/ 3140 h 25370"/>
                          <a:gd name="connsiteX80" fmla="*/ 37804 w 43832"/>
                          <a:gd name="connsiteY80" fmla="*/ 3642 h 25370"/>
                          <a:gd name="connsiteX81" fmla="*/ 37930 w 43832"/>
                          <a:gd name="connsiteY81" fmla="*/ 3768 h 25370"/>
                          <a:gd name="connsiteX82" fmla="*/ 38181 w 43832"/>
                          <a:gd name="connsiteY82" fmla="*/ 3894 h 25370"/>
                          <a:gd name="connsiteX83" fmla="*/ 38306 w 43832"/>
                          <a:gd name="connsiteY83" fmla="*/ 3894 h 25370"/>
                          <a:gd name="connsiteX84" fmla="*/ 38809 w 43832"/>
                          <a:gd name="connsiteY84" fmla="*/ 4270 h 25370"/>
                          <a:gd name="connsiteX85" fmla="*/ 38934 w 43832"/>
                          <a:gd name="connsiteY85" fmla="*/ 4270 h 25370"/>
                          <a:gd name="connsiteX86" fmla="*/ 39186 w 43832"/>
                          <a:gd name="connsiteY86" fmla="*/ 4521 h 25370"/>
                          <a:gd name="connsiteX87" fmla="*/ 39311 w 43832"/>
                          <a:gd name="connsiteY87" fmla="*/ 4521 h 25370"/>
                          <a:gd name="connsiteX88" fmla="*/ 39688 w 43832"/>
                          <a:gd name="connsiteY88" fmla="*/ 4773 h 25370"/>
                          <a:gd name="connsiteX89" fmla="*/ 39813 w 43832"/>
                          <a:gd name="connsiteY89" fmla="*/ 4773 h 25370"/>
                          <a:gd name="connsiteX90" fmla="*/ 40316 w 43832"/>
                          <a:gd name="connsiteY90" fmla="*/ 5149 h 25370"/>
                          <a:gd name="connsiteX91" fmla="*/ 40567 w 43832"/>
                          <a:gd name="connsiteY91" fmla="*/ 5275 h 25370"/>
                          <a:gd name="connsiteX92" fmla="*/ 40693 w 43832"/>
                          <a:gd name="connsiteY92" fmla="*/ 5401 h 25370"/>
                          <a:gd name="connsiteX93" fmla="*/ 40693 w 43832"/>
                          <a:gd name="connsiteY93" fmla="*/ 5401 h 25370"/>
                          <a:gd name="connsiteX94" fmla="*/ 40818 w 43832"/>
                          <a:gd name="connsiteY94" fmla="*/ 5401 h 25370"/>
                          <a:gd name="connsiteX95" fmla="*/ 41195 w 43832"/>
                          <a:gd name="connsiteY95" fmla="*/ 5652 h 25370"/>
                          <a:gd name="connsiteX96" fmla="*/ 41320 w 43832"/>
                          <a:gd name="connsiteY96" fmla="*/ 5777 h 25370"/>
                          <a:gd name="connsiteX97" fmla="*/ 41572 w 43832"/>
                          <a:gd name="connsiteY97" fmla="*/ 5777 h 25370"/>
                          <a:gd name="connsiteX98" fmla="*/ 41572 w 43832"/>
                          <a:gd name="connsiteY98" fmla="*/ 5777 h 25370"/>
                          <a:gd name="connsiteX99" fmla="*/ 41698 w 43832"/>
                          <a:gd name="connsiteY99" fmla="*/ 5903 h 25370"/>
                          <a:gd name="connsiteX100" fmla="*/ 41949 w 43832"/>
                          <a:gd name="connsiteY100" fmla="*/ 6029 h 25370"/>
                          <a:gd name="connsiteX101" fmla="*/ 42074 w 43832"/>
                          <a:gd name="connsiteY101" fmla="*/ 6029 h 25370"/>
                          <a:gd name="connsiteX102" fmla="*/ 43832 w 43832"/>
                          <a:gd name="connsiteY102" fmla="*/ 5401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424"/>
                            </a:lnTo>
                            <a:lnTo>
                              <a:pt x="37678" y="10801"/>
                            </a:lnTo>
                            <a:lnTo>
                              <a:pt x="28133" y="16202"/>
                            </a:lnTo>
                            <a:lnTo>
                              <a:pt x="28133" y="16202"/>
                            </a:lnTo>
                            <a:lnTo>
                              <a:pt x="27631" y="16453"/>
                            </a:lnTo>
                            <a:lnTo>
                              <a:pt x="26626" y="17081"/>
                            </a:lnTo>
                            <a:lnTo>
                              <a:pt x="26626" y="17081"/>
                            </a:lnTo>
                            <a:lnTo>
                              <a:pt x="26124" y="17458"/>
                            </a:lnTo>
                            <a:lnTo>
                              <a:pt x="25998" y="17458"/>
                            </a:lnTo>
                            <a:lnTo>
                              <a:pt x="25998" y="17458"/>
                            </a:lnTo>
                            <a:lnTo>
                              <a:pt x="25747" y="17583"/>
                            </a:lnTo>
                            <a:lnTo>
                              <a:pt x="25747" y="17583"/>
                            </a:lnTo>
                            <a:lnTo>
                              <a:pt x="24240" y="18462"/>
                            </a:lnTo>
                            <a:lnTo>
                              <a:pt x="24240" y="18462"/>
                            </a:lnTo>
                            <a:lnTo>
                              <a:pt x="23988" y="18588"/>
                            </a:lnTo>
                            <a:lnTo>
                              <a:pt x="17584" y="22230"/>
                            </a:lnTo>
                            <a:lnTo>
                              <a:pt x="17584" y="22356"/>
                            </a:lnTo>
                            <a:lnTo>
                              <a:pt x="17206" y="22482"/>
                            </a:lnTo>
                            <a:lnTo>
                              <a:pt x="17206" y="22482"/>
                            </a:lnTo>
                            <a:lnTo>
                              <a:pt x="12308" y="25370"/>
                            </a:lnTo>
                            <a:lnTo>
                              <a:pt x="12308" y="25370"/>
                            </a:lnTo>
                            <a:lnTo>
                              <a:pt x="12183" y="25245"/>
                            </a:lnTo>
                            <a:lnTo>
                              <a:pt x="11806" y="25119"/>
                            </a:lnTo>
                            <a:lnTo>
                              <a:pt x="11806" y="24993"/>
                            </a:lnTo>
                            <a:lnTo>
                              <a:pt x="11806" y="24993"/>
                            </a:lnTo>
                            <a:lnTo>
                              <a:pt x="11304" y="24742"/>
                            </a:lnTo>
                            <a:lnTo>
                              <a:pt x="11178" y="24742"/>
                            </a:lnTo>
                            <a:lnTo>
                              <a:pt x="10173" y="24114"/>
                            </a:lnTo>
                            <a:lnTo>
                              <a:pt x="10173" y="24114"/>
                            </a:lnTo>
                            <a:lnTo>
                              <a:pt x="9420" y="23737"/>
                            </a:lnTo>
                            <a:lnTo>
                              <a:pt x="9294" y="23612"/>
                            </a:lnTo>
                            <a:lnTo>
                              <a:pt x="8666" y="23235"/>
                            </a:lnTo>
                            <a:lnTo>
                              <a:pt x="8666" y="23235"/>
                            </a:lnTo>
                            <a:lnTo>
                              <a:pt x="8164" y="22984"/>
                            </a:lnTo>
                            <a:lnTo>
                              <a:pt x="8038" y="22858"/>
                            </a:lnTo>
                            <a:lnTo>
                              <a:pt x="7410" y="22607"/>
                            </a:lnTo>
                            <a:lnTo>
                              <a:pt x="7285" y="22482"/>
                            </a:lnTo>
                            <a:lnTo>
                              <a:pt x="7285" y="22482"/>
                            </a:lnTo>
                            <a:lnTo>
                              <a:pt x="6657" y="22105"/>
                            </a:lnTo>
                            <a:lnTo>
                              <a:pt x="6531" y="21979"/>
                            </a:lnTo>
                            <a:lnTo>
                              <a:pt x="6154" y="21854"/>
                            </a:lnTo>
                            <a:lnTo>
                              <a:pt x="6028" y="21728"/>
                            </a:lnTo>
                            <a:lnTo>
                              <a:pt x="5526" y="21477"/>
                            </a:lnTo>
                            <a:lnTo>
                              <a:pt x="5526" y="21477"/>
                            </a:lnTo>
                            <a:lnTo>
                              <a:pt x="4647" y="20974"/>
                            </a:lnTo>
                            <a:lnTo>
                              <a:pt x="4396" y="20849"/>
                            </a:lnTo>
                            <a:lnTo>
                              <a:pt x="3768" y="20472"/>
                            </a:lnTo>
                            <a:lnTo>
                              <a:pt x="3642" y="20346"/>
                            </a:lnTo>
                            <a:lnTo>
                              <a:pt x="3391" y="20221"/>
                            </a:lnTo>
                            <a:lnTo>
                              <a:pt x="3391" y="20221"/>
                            </a:lnTo>
                            <a:lnTo>
                              <a:pt x="2763" y="19844"/>
                            </a:lnTo>
                            <a:lnTo>
                              <a:pt x="2763" y="19844"/>
                            </a:lnTo>
                            <a:lnTo>
                              <a:pt x="2638" y="19718"/>
                            </a:lnTo>
                            <a:lnTo>
                              <a:pt x="2009" y="19467"/>
                            </a:lnTo>
                            <a:lnTo>
                              <a:pt x="2009" y="19467"/>
                            </a:lnTo>
                            <a:lnTo>
                              <a:pt x="1633" y="19216"/>
                            </a:lnTo>
                            <a:lnTo>
                              <a:pt x="1381" y="19090"/>
                            </a:lnTo>
                            <a:lnTo>
                              <a:pt x="0" y="18211"/>
                            </a:lnTo>
                            <a:lnTo>
                              <a:pt x="0" y="16579"/>
                            </a:lnTo>
                            <a:lnTo>
                              <a:pt x="31524" y="0"/>
                            </a:lnTo>
                            <a:lnTo>
                              <a:pt x="32278" y="502"/>
                            </a:lnTo>
                            <a:lnTo>
                              <a:pt x="32404" y="628"/>
                            </a:lnTo>
                            <a:lnTo>
                              <a:pt x="33408" y="1130"/>
                            </a:lnTo>
                            <a:lnTo>
                              <a:pt x="33659" y="1256"/>
                            </a:lnTo>
                            <a:lnTo>
                              <a:pt x="34539" y="1758"/>
                            </a:lnTo>
                            <a:lnTo>
                              <a:pt x="34790" y="1884"/>
                            </a:lnTo>
                            <a:lnTo>
                              <a:pt x="35166" y="2135"/>
                            </a:lnTo>
                            <a:lnTo>
                              <a:pt x="35166" y="2135"/>
                            </a:lnTo>
                            <a:lnTo>
                              <a:pt x="35166" y="2135"/>
                            </a:lnTo>
                            <a:lnTo>
                              <a:pt x="36046" y="2638"/>
                            </a:lnTo>
                            <a:lnTo>
                              <a:pt x="36297" y="2763"/>
                            </a:lnTo>
                            <a:lnTo>
                              <a:pt x="36799" y="3140"/>
                            </a:lnTo>
                            <a:lnTo>
                              <a:pt x="36925" y="3140"/>
                            </a:lnTo>
                            <a:lnTo>
                              <a:pt x="37804" y="3642"/>
                            </a:lnTo>
                            <a:lnTo>
                              <a:pt x="37930" y="3768"/>
                            </a:lnTo>
                            <a:lnTo>
                              <a:pt x="38181" y="3894"/>
                            </a:lnTo>
                            <a:lnTo>
                              <a:pt x="38306" y="3894"/>
                            </a:lnTo>
                            <a:lnTo>
                              <a:pt x="38809" y="4270"/>
                            </a:lnTo>
                            <a:lnTo>
                              <a:pt x="38934" y="4270"/>
                            </a:lnTo>
                            <a:lnTo>
                              <a:pt x="39186" y="4521"/>
                            </a:lnTo>
                            <a:lnTo>
                              <a:pt x="39311" y="4521"/>
                            </a:lnTo>
                            <a:lnTo>
                              <a:pt x="39688" y="4773"/>
                            </a:lnTo>
                            <a:lnTo>
                              <a:pt x="39813" y="4773"/>
                            </a:lnTo>
                            <a:lnTo>
                              <a:pt x="40316" y="5149"/>
                            </a:lnTo>
                            <a:lnTo>
                              <a:pt x="40567" y="5275"/>
                            </a:lnTo>
                            <a:lnTo>
                              <a:pt x="40693" y="5401"/>
                            </a:lnTo>
                            <a:lnTo>
                              <a:pt x="40693" y="5401"/>
                            </a:lnTo>
                            <a:lnTo>
                              <a:pt x="40818" y="5401"/>
                            </a:lnTo>
                            <a:lnTo>
                              <a:pt x="41195" y="5652"/>
                            </a:lnTo>
                            <a:lnTo>
                              <a:pt x="41320" y="5777"/>
                            </a:lnTo>
                            <a:lnTo>
                              <a:pt x="41572" y="5777"/>
                            </a:lnTo>
                            <a:lnTo>
                              <a:pt x="41572" y="5777"/>
                            </a:lnTo>
                            <a:lnTo>
                              <a:pt x="41698" y="5903"/>
                            </a:lnTo>
                            <a:lnTo>
                              <a:pt x="41949" y="6029"/>
                            </a:lnTo>
                            <a:lnTo>
                              <a:pt x="42074"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59" name="Freeform: Shape 4158">
                        <a:extLst>
                          <a:ext uri="{FF2B5EF4-FFF2-40B4-BE49-F238E27FC236}">
                            <a16:creationId xmlns:a16="http://schemas.microsoft.com/office/drawing/2014/main" id="{8035BD21-BA38-4975-95B1-A4052304C93B}"/>
                          </a:ext>
                        </a:extLst>
                      </p:cNvPr>
                      <p:cNvSpPr/>
                      <p:nvPr/>
                    </p:nvSpPr>
                    <p:spPr>
                      <a:xfrm>
                        <a:off x="7245442" y="3848576"/>
                        <a:ext cx="43832" cy="25244"/>
                      </a:xfrm>
                      <a:custGeom>
                        <a:avLst/>
                        <a:gdLst>
                          <a:gd name="connsiteX0" fmla="*/ 43832 w 43832"/>
                          <a:gd name="connsiteY0" fmla="*/ 7033 h 25244"/>
                          <a:gd name="connsiteX1" fmla="*/ 42074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9060 w 43832"/>
                          <a:gd name="connsiteY5" fmla="*/ 9796 h 25244"/>
                          <a:gd name="connsiteX6" fmla="*/ 38432 w 43832"/>
                          <a:gd name="connsiteY6" fmla="*/ 10173 h 25244"/>
                          <a:gd name="connsiteX7" fmla="*/ 38306 w 43832"/>
                          <a:gd name="connsiteY7" fmla="*/ 10299 h 25244"/>
                          <a:gd name="connsiteX8" fmla="*/ 37553 w 43832"/>
                          <a:gd name="connsiteY8" fmla="*/ 10675 h 25244"/>
                          <a:gd name="connsiteX9" fmla="*/ 28133 w 43832"/>
                          <a:gd name="connsiteY9" fmla="*/ 16076 h 25244"/>
                          <a:gd name="connsiteX10" fmla="*/ 27631 w 43832"/>
                          <a:gd name="connsiteY10" fmla="*/ 16327 h 25244"/>
                          <a:gd name="connsiteX11" fmla="*/ 26626 w 43832"/>
                          <a:gd name="connsiteY11" fmla="*/ 17081 h 25244"/>
                          <a:gd name="connsiteX12" fmla="*/ 26124 w 43832"/>
                          <a:gd name="connsiteY12" fmla="*/ 17332 h 25244"/>
                          <a:gd name="connsiteX13" fmla="*/ 25998 w 43832"/>
                          <a:gd name="connsiteY13" fmla="*/ 17332 h 25244"/>
                          <a:gd name="connsiteX14" fmla="*/ 25998 w 43832"/>
                          <a:gd name="connsiteY14" fmla="*/ 17332 h 25244"/>
                          <a:gd name="connsiteX15" fmla="*/ 25747 w 43832"/>
                          <a:gd name="connsiteY15" fmla="*/ 17458 h 25244"/>
                          <a:gd name="connsiteX16" fmla="*/ 24240 w 43832"/>
                          <a:gd name="connsiteY16" fmla="*/ 18337 h 25244"/>
                          <a:gd name="connsiteX17" fmla="*/ 24240 w 43832"/>
                          <a:gd name="connsiteY17" fmla="*/ 18337 h 25244"/>
                          <a:gd name="connsiteX18" fmla="*/ 23988 w 43832"/>
                          <a:gd name="connsiteY18" fmla="*/ 18588 h 25244"/>
                          <a:gd name="connsiteX19" fmla="*/ 17584 w 43832"/>
                          <a:gd name="connsiteY19" fmla="*/ 22230 h 25244"/>
                          <a:gd name="connsiteX20" fmla="*/ 17206 w 43832"/>
                          <a:gd name="connsiteY20" fmla="*/ 22481 h 25244"/>
                          <a:gd name="connsiteX21" fmla="*/ 17206 w 43832"/>
                          <a:gd name="connsiteY21" fmla="*/ 22481 h 25244"/>
                          <a:gd name="connsiteX22" fmla="*/ 12308 w 43832"/>
                          <a:gd name="connsiteY22" fmla="*/ 25244 h 25244"/>
                          <a:gd name="connsiteX23" fmla="*/ 12308 w 43832"/>
                          <a:gd name="connsiteY23" fmla="*/ 25244 h 25244"/>
                          <a:gd name="connsiteX24" fmla="*/ 12183 w 43832"/>
                          <a:gd name="connsiteY24" fmla="*/ 25244 h 25244"/>
                          <a:gd name="connsiteX25" fmla="*/ 11806 w 43832"/>
                          <a:gd name="connsiteY25" fmla="*/ 24993 h 25244"/>
                          <a:gd name="connsiteX26" fmla="*/ 11806 w 43832"/>
                          <a:gd name="connsiteY26" fmla="*/ 24993 h 25244"/>
                          <a:gd name="connsiteX27" fmla="*/ 11304 w 43832"/>
                          <a:gd name="connsiteY27" fmla="*/ 24742 h 25244"/>
                          <a:gd name="connsiteX28" fmla="*/ 11178 w 43832"/>
                          <a:gd name="connsiteY28" fmla="*/ 24616 h 25244"/>
                          <a:gd name="connsiteX29" fmla="*/ 10173 w 43832"/>
                          <a:gd name="connsiteY29" fmla="*/ 23989 h 25244"/>
                          <a:gd name="connsiteX30" fmla="*/ 10173 w 43832"/>
                          <a:gd name="connsiteY30" fmla="*/ 23989 h 25244"/>
                          <a:gd name="connsiteX31" fmla="*/ 9545 w 43832"/>
                          <a:gd name="connsiteY31" fmla="*/ 23612 h 25244"/>
                          <a:gd name="connsiteX32" fmla="*/ 9294 w 43832"/>
                          <a:gd name="connsiteY32" fmla="*/ 23486 h 25244"/>
                          <a:gd name="connsiteX33" fmla="*/ 8666 w 43832"/>
                          <a:gd name="connsiteY33" fmla="*/ 23235 h 25244"/>
                          <a:gd name="connsiteX34" fmla="*/ 8666 w 43832"/>
                          <a:gd name="connsiteY34" fmla="*/ 23109 h 25244"/>
                          <a:gd name="connsiteX35" fmla="*/ 8164 w 43832"/>
                          <a:gd name="connsiteY35" fmla="*/ 22858 h 25244"/>
                          <a:gd name="connsiteX36" fmla="*/ 8038 w 43832"/>
                          <a:gd name="connsiteY36" fmla="*/ 22858 h 25244"/>
                          <a:gd name="connsiteX37" fmla="*/ 7410 w 43832"/>
                          <a:gd name="connsiteY37" fmla="*/ 22481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602 h 25244"/>
                          <a:gd name="connsiteX44" fmla="*/ 5526 w 43832"/>
                          <a:gd name="connsiteY44" fmla="*/ 21351 h 25244"/>
                          <a:gd name="connsiteX45" fmla="*/ 5526 w 43832"/>
                          <a:gd name="connsiteY45" fmla="*/ 21351 h 25244"/>
                          <a:gd name="connsiteX46" fmla="*/ 4647 w 43832"/>
                          <a:gd name="connsiteY46" fmla="*/ 20849 h 25244"/>
                          <a:gd name="connsiteX47" fmla="*/ 4396 w 43832"/>
                          <a:gd name="connsiteY47" fmla="*/ 20723 h 25244"/>
                          <a:gd name="connsiteX48" fmla="*/ 3768 w 43832"/>
                          <a:gd name="connsiteY48" fmla="*/ 20346 h 25244"/>
                          <a:gd name="connsiteX49" fmla="*/ 3642 w 43832"/>
                          <a:gd name="connsiteY49" fmla="*/ 20346 h 25244"/>
                          <a:gd name="connsiteX50" fmla="*/ 3391 w 43832"/>
                          <a:gd name="connsiteY50" fmla="*/ 20095 h 25244"/>
                          <a:gd name="connsiteX51" fmla="*/ 3391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09 w 43832"/>
                          <a:gd name="connsiteY55" fmla="*/ 19342 h 25244"/>
                          <a:gd name="connsiteX56" fmla="*/ 2009 w 43832"/>
                          <a:gd name="connsiteY56" fmla="*/ 19342 h 25244"/>
                          <a:gd name="connsiteX57" fmla="*/ 1633 w 43832"/>
                          <a:gd name="connsiteY57" fmla="*/ 19090 h 25244"/>
                          <a:gd name="connsiteX58" fmla="*/ 1381 w 43832"/>
                          <a:gd name="connsiteY58" fmla="*/ 18965 h 25244"/>
                          <a:gd name="connsiteX59" fmla="*/ 0 w 43832"/>
                          <a:gd name="connsiteY59" fmla="*/ 18211 h 25244"/>
                          <a:gd name="connsiteX60" fmla="*/ 4396 w 43832"/>
                          <a:gd name="connsiteY60" fmla="*/ 15574 h 25244"/>
                          <a:gd name="connsiteX61" fmla="*/ 4396 w 43832"/>
                          <a:gd name="connsiteY61" fmla="*/ 15574 h 25244"/>
                          <a:gd name="connsiteX62" fmla="*/ 4521 w 43832"/>
                          <a:gd name="connsiteY62" fmla="*/ 15574 h 25244"/>
                          <a:gd name="connsiteX63" fmla="*/ 4647 w 43832"/>
                          <a:gd name="connsiteY63" fmla="*/ 15448 h 25244"/>
                          <a:gd name="connsiteX64" fmla="*/ 4898 w 43832"/>
                          <a:gd name="connsiteY64" fmla="*/ 15323 h 25244"/>
                          <a:gd name="connsiteX65" fmla="*/ 4898 w 43832"/>
                          <a:gd name="connsiteY65" fmla="*/ 15323 h 25244"/>
                          <a:gd name="connsiteX66" fmla="*/ 5024 w 43832"/>
                          <a:gd name="connsiteY66" fmla="*/ 15197 h 25244"/>
                          <a:gd name="connsiteX67" fmla="*/ 5024 w 43832"/>
                          <a:gd name="connsiteY67" fmla="*/ 15197 h 25244"/>
                          <a:gd name="connsiteX68" fmla="*/ 17584 w 43832"/>
                          <a:gd name="connsiteY68" fmla="*/ 8038 h 25244"/>
                          <a:gd name="connsiteX69" fmla="*/ 17834 w 43832"/>
                          <a:gd name="connsiteY69" fmla="*/ 7912 h 25244"/>
                          <a:gd name="connsiteX70" fmla="*/ 18211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8 w 43832"/>
                          <a:gd name="connsiteY75" fmla="*/ 1005 h 25244"/>
                          <a:gd name="connsiteX76" fmla="*/ 33659 w 43832"/>
                          <a:gd name="connsiteY76" fmla="*/ 1130 h 25244"/>
                          <a:gd name="connsiteX77" fmla="*/ 34539 w 43832"/>
                          <a:gd name="connsiteY77" fmla="*/ 1758 h 25244"/>
                          <a:gd name="connsiteX78" fmla="*/ 34790 w 43832"/>
                          <a:gd name="connsiteY78" fmla="*/ 1758 h 25244"/>
                          <a:gd name="connsiteX79" fmla="*/ 35166 w 43832"/>
                          <a:gd name="connsiteY79" fmla="*/ 2010 h 25244"/>
                          <a:gd name="connsiteX80" fmla="*/ 35166 w 43832"/>
                          <a:gd name="connsiteY80" fmla="*/ 2135 h 25244"/>
                          <a:gd name="connsiteX81" fmla="*/ 36046 w 43832"/>
                          <a:gd name="connsiteY81" fmla="*/ 2512 h 25244"/>
                          <a:gd name="connsiteX82" fmla="*/ 36297 w 43832"/>
                          <a:gd name="connsiteY82" fmla="*/ 2637 h 25244"/>
                          <a:gd name="connsiteX83" fmla="*/ 36799 w 43832"/>
                          <a:gd name="connsiteY83" fmla="*/ 3014 h 25244"/>
                          <a:gd name="connsiteX84" fmla="*/ 36925 w 43832"/>
                          <a:gd name="connsiteY84" fmla="*/ 3014 h 25244"/>
                          <a:gd name="connsiteX85" fmla="*/ 37804 w 43832"/>
                          <a:gd name="connsiteY85" fmla="*/ 3517 h 25244"/>
                          <a:gd name="connsiteX86" fmla="*/ 37930 w 43832"/>
                          <a:gd name="connsiteY86" fmla="*/ 3642 h 25244"/>
                          <a:gd name="connsiteX87" fmla="*/ 38306 w 43832"/>
                          <a:gd name="connsiteY87" fmla="*/ 3893 h 25244"/>
                          <a:gd name="connsiteX88" fmla="*/ 38809 w 43832"/>
                          <a:gd name="connsiteY88" fmla="*/ 4145 h 25244"/>
                          <a:gd name="connsiteX89" fmla="*/ 38934 w 43832"/>
                          <a:gd name="connsiteY89" fmla="*/ 4145 h 25244"/>
                          <a:gd name="connsiteX90" fmla="*/ 39186 w 43832"/>
                          <a:gd name="connsiteY90" fmla="*/ 4396 h 25244"/>
                          <a:gd name="connsiteX91" fmla="*/ 39311 w 43832"/>
                          <a:gd name="connsiteY91" fmla="*/ 4396 h 25244"/>
                          <a:gd name="connsiteX92" fmla="*/ 39688 w 43832"/>
                          <a:gd name="connsiteY92" fmla="*/ 4647 h 25244"/>
                          <a:gd name="connsiteX93" fmla="*/ 39813 w 43832"/>
                          <a:gd name="connsiteY93" fmla="*/ 4647 h 25244"/>
                          <a:gd name="connsiteX94" fmla="*/ 40316 w 43832"/>
                          <a:gd name="connsiteY94" fmla="*/ 5024 h 25244"/>
                          <a:gd name="connsiteX95" fmla="*/ 40567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949 w 43832"/>
                          <a:gd name="connsiteY104" fmla="*/ 5903 h 25244"/>
                          <a:gd name="connsiteX105" fmla="*/ 42074 w 43832"/>
                          <a:gd name="connsiteY105" fmla="*/ 6028 h 25244"/>
                          <a:gd name="connsiteX106" fmla="*/ 42451 w 43832"/>
                          <a:gd name="connsiteY106" fmla="*/ 6280 h 25244"/>
                          <a:gd name="connsiteX107" fmla="*/ 42577 w 43832"/>
                          <a:gd name="connsiteY107" fmla="*/ 6280 h 25244"/>
                          <a:gd name="connsiteX108" fmla="*/ 42827 w 43832"/>
                          <a:gd name="connsiteY108" fmla="*/ 6531 h 25244"/>
                          <a:gd name="connsiteX109" fmla="*/ 42953 w 43832"/>
                          <a:gd name="connsiteY109" fmla="*/ 6531 h 25244"/>
                          <a:gd name="connsiteX110" fmla="*/ 43456 w 43832"/>
                          <a:gd name="connsiteY110" fmla="*/ 6782 h 25244"/>
                          <a:gd name="connsiteX111" fmla="*/ 43456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4" y="8038"/>
                            </a:lnTo>
                            <a:lnTo>
                              <a:pt x="41823" y="8164"/>
                            </a:lnTo>
                            <a:lnTo>
                              <a:pt x="41823" y="8164"/>
                            </a:lnTo>
                            <a:lnTo>
                              <a:pt x="39060" y="9796"/>
                            </a:lnTo>
                            <a:lnTo>
                              <a:pt x="39060" y="9796"/>
                            </a:lnTo>
                            <a:lnTo>
                              <a:pt x="38432" y="10173"/>
                            </a:lnTo>
                            <a:lnTo>
                              <a:pt x="38306" y="10299"/>
                            </a:lnTo>
                            <a:lnTo>
                              <a:pt x="37553" y="10675"/>
                            </a:lnTo>
                            <a:lnTo>
                              <a:pt x="28133" y="16076"/>
                            </a:lnTo>
                            <a:lnTo>
                              <a:pt x="27631" y="16327"/>
                            </a:lnTo>
                            <a:lnTo>
                              <a:pt x="26626" y="17081"/>
                            </a:lnTo>
                            <a:lnTo>
                              <a:pt x="26124" y="17332"/>
                            </a:lnTo>
                            <a:lnTo>
                              <a:pt x="25998" y="17332"/>
                            </a:lnTo>
                            <a:lnTo>
                              <a:pt x="25998" y="17332"/>
                            </a:lnTo>
                            <a:lnTo>
                              <a:pt x="25747" y="17458"/>
                            </a:lnTo>
                            <a:lnTo>
                              <a:pt x="24240" y="18337"/>
                            </a:lnTo>
                            <a:lnTo>
                              <a:pt x="24240" y="18337"/>
                            </a:lnTo>
                            <a:lnTo>
                              <a:pt x="23988" y="18588"/>
                            </a:lnTo>
                            <a:lnTo>
                              <a:pt x="17584" y="22230"/>
                            </a:lnTo>
                            <a:lnTo>
                              <a:pt x="17206" y="22481"/>
                            </a:lnTo>
                            <a:lnTo>
                              <a:pt x="17206" y="22481"/>
                            </a:lnTo>
                            <a:lnTo>
                              <a:pt x="12308" y="25244"/>
                            </a:lnTo>
                            <a:lnTo>
                              <a:pt x="12308" y="25244"/>
                            </a:lnTo>
                            <a:lnTo>
                              <a:pt x="12183" y="25244"/>
                            </a:lnTo>
                            <a:lnTo>
                              <a:pt x="11806" y="24993"/>
                            </a:lnTo>
                            <a:lnTo>
                              <a:pt x="11806" y="24993"/>
                            </a:lnTo>
                            <a:lnTo>
                              <a:pt x="11304" y="24742"/>
                            </a:lnTo>
                            <a:lnTo>
                              <a:pt x="11178" y="24616"/>
                            </a:lnTo>
                            <a:lnTo>
                              <a:pt x="10173" y="23989"/>
                            </a:lnTo>
                            <a:lnTo>
                              <a:pt x="10173" y="23989"/>
                            </a:lnTo>
                            <a:lnTo>
                              <a:pt x="9545" y="23612"/>
                            </a:lnTo>
                            <a:lnTo>
                              <a:pt x="9294" y="23486"/>
                            </a:lnTo>
                            <a:lnTo>
                              <a:pt x="8666" y="23235"/>
                            </a:lnTo>
                            <a:lnTo>
                              <a:pt x="8666" y="23109"/>
                            </a:lnTo>
                            <a:lnTo>
                              <a:pt x="8164" y="22858"/>
                            </a:lnTo>
                            <a:lnTo>
                              <a:pt x="8038" y="22858"/>
                            </a:lnTo>
                            <a:lnTo>
                              <a:pt x="7410" y="22481"/>
                            </a:lnTo>
                            <a:lnTo>
                              <a:pt x="7285" y="22356"/>
                            </a:lnTo>
                            <a:lnTo>
                              <a:pt x="7285" y="22356"/>
                            </a:lnTo>
                            <a:lnTo>
                              <a:pt x="6531" y="21979"/>
                            </a:lnTo>
                            <a:lnTo>
                              <a:pt x="6531" y="21979"/>
                            </a:lnTo>
                            <a:lnTo>
                              <a:pt x="6154" y="21728"/>
                            </a:lnTo>
                            <a:lnTo>
                              <a:pt x="6028" y="21602"/>
                            </a:lnTo>
                            <a:lnTo>
                              <a:pt x="5526" y="21351"/>
                            </a:lnTo>
                            <a:lnTo>
                              <a:pt x="5526" y="21351"/>
                            </a:lnTo>
                            <a:lnTo>
                              <a:pt x="4647" y="20849"/>
                            </a:lnTo>
                            <a:lnTo>
                              <a:pt x="4396" y="20723"/>
                            </a:lnTo>
                            <a:lnTo>
                              <a:pt x="3768" y="20346"/>
                            </a:lnTo>
                            <a:lnTo>
                              <a:pt x="3642" y="20346"/>
                            </a:lnTo>
                            <a:lnTo>
                              <a:pt x="3391" y="20095"/>
                            </a:lnTo>
                            <a:lnTo>
                              <a:pt x="3391" y="20095"/>
                            </a:lnTo>
                            <a:lnTo>
                              <a:pt x="2763" y="19718"/>
                            </a:lnTo>
                            <a:lnTo>
                              <a:pt x="2763" y="19718"/>
                            </a:lnTo>
                            <a:lnTo>
                              <a:pt x="2638" y="19718"/>
                            </a:lnTo>
                            <a:lnTo>
                              <a:pt x="2009" y="19342"/>
                            </a:lnTo>
                            <a:lnTo>
                              <a:pt x="2009" y="19342"/>
                            </a:lnTo>
                            <a:lnTo>
                              <a:pt x="1633" y="19090"/>
                            </a:lnTo>
                            <a:lnTo>
                              <a:pt x="1381" y="18965"/>
                            </a:lnTo>
                            <a:lnTo>
                              <a:pt x="0" y="18211"/>
                            </a:lnTo>
                            <a:lnTo>
                              <a:pt x="4396" y="15574"/>
                            </a:lnTo>
                            <a:lnTo>
                              <a:pt x="4396" y="15574"/>
                            </a:lnTo>
                            <a:lnTo>
                              <a:pt x="4521" y="15574"/>
                            </a:lnTo>
                            <a:lnTo>
                              <a:pt x="4647" y="15448"/>
                            </a:lnTo>
                            <a:lnTo>
                              <a:pt x="4898" y="15323"/>
                            </a:lnTo>
                            <a:lnTo>
                              <a:pt x="4898" y="15323"/>
                            </a:lnTo>
                            <a:lnTo>
                              <a:pt x="5024" y="15197"/>
                            </a:lnTo>
                            <a:lnTo>
                              <a:pt x="5024" y="15197"/>
                            </a:lnTo>
                            <a:lnTo>
                              <a:pt x="17584" y="8038"/>
                            </a:lnTo>
                            <a:lnTo>
                              <a:pt x="17834" y="7912"/>
                            </a:lnTo>
                            <a:lnTo>
                              <a:pt x="18211" y="7661"/>
                            </a:lnTo>
                            <a:lnTo>
                              <a:pt x="18337" y="7536"/>
                            </a:lnTo>
                            <a:lnTo>
                              <a:pt x="31524" y="0"/>
                            </a:lnTo>
                            <a:lnTo>
                              <a:pt x="32278" y="377"/>
                            </a:lnTo>
                            <a:lnTo>
                              <a:pt x="32404" y="502"/>
                            </a:lnTo>
                            <a:lnTo>
                              <a:pt x="33408" y="1005"/>
                            </a:lnTo>
                            <a:lnTo>
                              <a:pt x="33659" y="1130"/>
                            </a:lnTo>
                            <a:lnTo>
                              <a:pt x="34539" y="1758"/>
                            </a:lnTo>
                            <a:lnTo>
                              <a:pt x="34790" y="1758"/>
                            </a:lnTo>
                            <a:lnTo>
                              <a:pt x="35166" y="2010"/>
                            </a:lnTo>
                            <a:lnTo>
                              <a:pt x="35166" y="2135"/>
                            </a:lnTo>
                            <a:lnTo>
                              <a:pt x="36046" y="2512"/>
                            </a:lnTo>
                            <a:lnTo>
                              <a:pt x="36297" y="2637"/>
                            </a:lnTo>
                            <a:lnTo>
                              <a:pt x="36799" y="3014"/>
                            </a:lnTo>
                            <a:lnTo>
                              <a:pt x="36925" y="3014"/>
                            </a:lnTo>
                            <a:lnTo>
                              <a:pt x="37804" y="3517"/>
                            </a:lnTo>
                            <a:lnTo>
                              <a:pt x="37930" y="3642"/>
                            </a:lnTo>
                            <a:lnTo>
                              <a:pt x="38306" y="3893"/>
                            </a:lnTo>
                            <a:lnTo>
                              <a:pt x="38809" y="4145"/>
                            </a:lnTo>
                            <a:lnTo>
                              <a:pt x="38934" y="4145"/>
                            </a:lnTo>
                            <a:lnTo>
                              <a:pt x="39186" y="4396"/>
                            </a:lnTo>
                            <a:lnTo>
                              <a:pt x="39311" y="4396"/>
                            </a:lnTo>
                            <a:lnTo>
                              <a:pt x="39688" y="4647"/>
                            </a:lnTo>
                            <a:lnTo>
                              <a:pt x="39813" y="4647"/>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5903"/>
                            </a:lnTo>
                            <a:lnTo>
                              <a:pt x="42074" y="6028"/>
                            </a:lnTo>
                            <a:lnTo>
                              <a:pt x="42451" y="6280"/>
                            </a:lnTo>
                            <a:lnTo>
                              <a:pt x="42577" y="6280"/>
                            </a:lnTo>
                            <a:lnTo>
                              <a:pt x="42827" y="6531"/>
                            </a:lnTo>
                            <a:lnTo>
                              <a:pt x="42953" y="6531"/>
                            </a:lnTo>
                            <a:lnTo>
                              <a:pt x="43456" y="6782"/>
                            </a:lnTo>
                            <a:lnTo>
                              <a:pt x="43456"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60" name="Freeform: Shape 4159">
                      <a:extLst>
                        <a:ext uri="{FF2B5EF4-FFF2-40B4-BE49-F238E27FC236}">
                          <a16:creationId xmlns:a16="http://schemas.microsoft.com/office/drawing/2014/main" id="{D864A435-D30F-46C8-A26A-50792586FA00}"/>
                        </a:ext>
                      </a:extLst>
                    </p:cNvPr>
                    <p:cNvSpPr/>
                    <p:nvPr/>
                  </p:nvSpPr>
                  <p:spPr>
                    <a:xfrm>
                      <a:off x="7245442" y="3866788"/>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61" name="Graphic 4">
                    <a:extLst>
                      <a:ext uri="{FF2B5EF4-FFF2-40B4-BE49-F238E27FC236}">
                        <a16:creationId xmlns:a16="http://schemas.microsoft.com/office/drawing/2014/main" id="{84FB7ED1-A2DF-40A1-A747-5F7CF3F14040}"/>
                      </a:ext>
                    </a:extLst>
                  </p:cNvPr>
                  <p:cNvGrpSpPr/>
                  <p:nvPr/>
                </p:nvGrpSpPr>
                <p:grpSpPr>
                  <a:xfrm>
                    <a:off x="7259508" y="3856489"/>
                    <a:ext cx="43832" cy="27128"/>
                    <a:chOff x="7259508" y="3856489"/>
                    <a:chExt cx="43832" cy="27128"/>
                  </a:xfrm>
                  <a:solidFill>
                    <a:schemeClr val="accent1"/>
                  </a:solidFill>
                </p:grpSpPr>
                <p:grpSp>
                  <p:nvGrpSpPr>
                    <p:cNvPr id="4162" name="Graphic 4">
                      <a:extLst>
                        <a:ext uri="{FF2B5EF4-FFF2-40B4-BE49-F238E27FC236}">
                          <a16:creationId xmlns:a16="http://schemas.microsoft.com/office/drawing/2014/main" id="{84FB7ED1-A2DF-40A1-A747-5F7CF3F14040}"/>
                        </a:ext>
                      </a:extLst>
                    </p:cNvPr>
                    <p:cNvGrpSpPr/>
                    <p:nvPr/>
                  </p:nvGrpSpPr>
                  <p:grpSpPr>
                    <a:xfrm>
                      <a:off x="7259508" y="3856489"/>
                      <a:ext cx="43832" cy="27128"/>
                      <a:chOff x="7259508" y="3856489"/>
                      <a:chExt cx="43832" cy="27128"/>
                    </a:xfrm>
                    <a:solidFill>
                      <a:schemeClr val="accent1"/>
                    </a:solidFill>
                  </p:grpSpPr>
                  <p:sp>
                    <p:nvSpPr>
                      <p:cNvPr id="4163" name="Freeform: Shape 4162">
                        <a:extLst>
                          <a:ext uri="{FF2B5EF4-FFF2-40B4-BE49-F238E27FC236}">
                            <a16:creationId xmlns:a16="http://schemas.microsoft.com/office/drawing/2014/main" id="{19F3259D-D05C-47A7-962D-E6D147ED7E4D}"/>
                          </a:ext>
                        </a:extLst>
                      </p:cNvPr>
                      <p:cNvSpPr/>
                      <p:nvPr/>
                    </p:nvSpPr>
                    <p:spPr>
                      <a:xfrm>
                        <a:off x="7259508" y="3858247"/>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299 h 25370"/>
                          <a:gd name="connsiteX8" fmla="*/ 37553 w 43832"/>
                          <a:gd name="connsiteY8" fmla="*/ 10676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332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230 h 25370"/>
                          <a:gd name="connsiteX23" fmla="*/ 17584 w 43832"/>
                          <a:gd name="connsiteY23" fmla="*/ 22230 h 25370"/>
                          <a:gd name="connsiteX24" fmla="*/ 17206 w 43832"/>
                          <a:gd name="connsiteY24" fmla="*/ 22482 h 25370"/>
                          <a:gd name="connsiteX25" fmla="*/ 17206 w 43832"/>
                          <a:gd name="connsiteY25" fmla="*/ 22482 h 25370"/>
                          <a:gd name="connsiteX26" fmla="*/ 12308 w 43832"/>
                          <a:gd name="connsiteY26" fmla="*/ 25370 h 25370"/>
                          <a:gd name="connsiteX27" fmla="*/ 12183 w 43832"/>
                          <a:gd name="connsiteY27" fmla="*/ 25245 h 25370"/>
                          <a:gd name="connsiteX28" fmla="*/ 12183 w 43832"/>
                          <a:gd name="connsiteY28" fmla="*/ 25245 h 25370"/>
                          <a:gd name="connsiteX29" fmla="*/ 11806 w 43832"/>
                          <a:gd name="connsiteY29" fmla="*/ 24993 h 25370"/>
                          <a:gd name="connsiteX30" fmla="*/ 11680 w 43832"/>
                          <a:gd name="connsiteY30" fmla="*/ 24993 h 25370"/>
                          <a:gd name="connsiteX31" fmla="*/ 11680 w 43832"/>
                          <a:gd name="connsiteY31" fmla="*/ 24993 h 25370"/>
                          <a:gd name="connsiteX32" fmla="*/ 11304 w 43832"/>
                          <a:gd name="connsiteY32" fmla="*/ 24742 h 25370"/>
                          <a:gd name="connsiteX33" fmla="*/ 11178 w 43832"/>
                          <a:gd name="connsiteY33" fmla="*/ 24617 h 25370"/>
                          <a:gd name="connsiteX34" fmla="*/ 10173 w 43832"/>
                          <a:gd name="connsiteY34" fmla="*/ 24114 h 25370"/>
                          <a:gd name="connsiteX35" fmla="*/ 10047 w 43832"/>
                          <a:gd name="connsiteY35" fmla="*/ 23989 h 25370"/>
                          <a:gd name="connsiteX36" fmla="*/ 9420 w 43832"/>
                          <a:gd name="connsiteY36" fmla="*/ 23738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858 h 25370"/>
                          <a:gd name="connsiteX41" fmla="*/ 8038 w 43832"/>
                          <a:gd name="connsiteY41" fmla="*/ 22858 h 25370"/>
                          <a:gd name="connsiteX42" fmla="*/ 7410 w 43832"/>
                          <a:gd name="connsiteY42" fmla="*/ 22482 h 25370"/>
                          <a:gd name="connsiteX43" fmla="*/ 7285 w 43832"/>
                          <a:gd name="connsiteY43" fmla="*/ 22356 h 25370"/>
                          <a:gd name="connsiteX44" fmla="*/ 7285 w 43832"/>
                          <a:gd name="connsiteY44" fmla="*/ 22356 h 25370"/>
                          <a:gd name="connsiteX45" fmla="*/ 6531 w 43832"/>
                          <a:gd name="connsiteY45" fmla="*/ 21979 h 25370"/>
                          <a:gd name="connsiteX46" fmla="*/ 6531 w 43832"/>
                          <a:gd name="connsiteY46" fmla="*/ 21979 h 25370"/>
                          <a:gd name="connsiteX47" fmla="*/ 6154 w 43832"/>
                          <a:gd name="connsiteY47" fmla="*/ 21728 h 25370"/>
                          <a:gd name="connsiteX48" fmla="*/ 6028 w 43832"/>
                          <a:gd name="connsiteY48" fmla="*/ 21728 h 25370"/>
                          <a:gd name="connsiteX49" fmla="*/ 5526 w 43832"/>
                          <a:gd name="connsiteY49" fmla="*/ 21477 h 25370"/>
                          <a:gd name="connsiteX50" fmla="*/ 5400 w 43832"/>
                          <a:gd name="connsiteY50" fmla="*/ 21351 h 25370"/>
                          <a:gd name="connsiteX51" fmla="*/ 4521 w 43832"/>
                          <a:gd name="connsiteY51" fmla="*/ 20849 h 25370"/>
                          <a:gd name="connsiteX52" fmla="*/ 4396 w 43832"/>
                          <a:gd name="connsiteY52" fmla="*/ 20723 h 25370"/>
                          <a:gd name="connsiteX53" fmla="*/ 3642 w 43832"/>
                          <a:gd name="connsiteY53" fmla="*/ 20346 h 25370"/>
                          <a:gd name="connsiteX54" fmla="*/ 3642 w 43832"/>
                          <a:gd name="connsiteY54" fmla="*/ 20346 h 25370"/>
                          <a:gd name="connsiteX55" fmla="*/ 3391 w 43832"/>
                          <a:gd name="connsiteY55" fmla="*/ 20221 h 25370"/>
                          <a:gd name="connsiteX56" fmla="*/ 3266 w 43832"/>
                          <a:gd name="connsiteY56" fmla="*/ 20095 h 25370"/>
                          <a:gd name="connsiteX57" fmla="*/ 2763 w 43832"/>
                          <a:gd name="connsiteY57" fmla="*/ 19844 h 25370"/>
                          <a:gd name="connsiteX58" fmla="*/ 2763 w 43832"/>
                          <a:gd name="connsiteY58" fmla="*/ 19844 h 25370"/>
                          <a:gd name="connsiteX59" fmla="*/ 2638 w 43832"/>
                          <a:gd name="connsiteY59" fmla="*/ 19718 h 25370"/>
                          <a:gd name="connsiteX60" fmla="*/ 2010 w 43832"/>
                          <a:gd name="connsiteY60" fmla="*/ 19342 h 25370"/>
                          <a:gd name="connsiteX61" fmla="*/ 2010 w 43832"/>
                          <a:gd name="connsiteY61" fmla="*/ 19342 h 25370"/>
                          <a:gd name="connsiteX62" fmla="*/ 1507 w 43832"/>
                          <a:gd name="connsiteY62" fmla="*/ 19090 h 25370"/>
                          <a:gd name="connsiteX63" fmla="*/ 1381 w 43832"/>
                          <a:gd name="connsiteY63" fmla="*/ 19090 h 25370"/>
                          <a:gd name="connsiteX64" fmla="*/ 0 w 43832"/>
                          <a:gd name="connsiteY64" fmla="*/ 18211 h 25370"/>
                          <a:gd name="connsiteX65" fmla="*/ 0 w 43832"/>
                          <a:gd name="connsiteY65" fmla="*/ 16453 h 25370"/>
                          <a:gd name="connsiteX66" fmla="*/ 31524 w 43832"/>
                          <a:gd name="connsiteY66" fmla="*/ 0 h 25370"/>
                          <a:gd name="connsiteX67" fmla="*/ 32278 w 43832"/>
                          <a:gd name="connsiteY67" fmla="*/ 377 h 25370"/>
                          <a:gd name="connsiteX68" fmla="*/ 32404 w 43832"/>
                          <a:gd name="connsiteY68" fmla="*/ 502 h 25370"/>
                          <a:gd name="connsiteX69" fmla="*/ 33409 w 43832"/>
                          <a:gd name="connsiteY69" fmla="*/ 1130 h 25370"/>
                          <a:gd name="connsiteX70" fmla="*/ 33659 w 43832"/>
                          <a:gd name="connsiteY70" fmla="*/ 1256 h 25370"/>
                          <a:gd name="connsiteX71" fmla="*/ 34539 w 43832"/>
                          <a:gd name="connsiteY71" fmla="*/ 1759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8 h 25370"/>
                          <a:gd name="connsiteX77" fmla="*/ 36171 w 43832"/>
                          <a:gd name="connsiteY77" fmla="*/ 2763 h 25370"/>
                          <a:gd name="connsiteX78" fmla="*/ 36799 w 43832"/>
                          <a:gd name="connsiteY78" fmla="*/ 3014 h 25370"/>
                          <a:gd name="connsiteX79" fmla="*/ 36799 w 43832"/>
                          <a:gd name="connsiteY79" fmla="*/ 3014 h 25370"/>
                          <a:gd name="connsiteX80" fmla="*/ 37804 w 43832"/>
                          <a:gd name="connsiteY80" fmla="*/ 3642 h 25370"/>
                          <a:gd name="connsiteX81" fmla="*/ 37930 w 43832"/>
                          <a:gd name="connsiteY81" fmla="*/ 3768 h 25370"/>
                          <a:gd name="connsiteX82" fmla="*/ 38181 w 43832"/>
                          <a:gd name="connsiteY82" fmla="*/ 3768 h 25370"/>
                          <a:gd name="connsiteX83" fmla="*/ 38181 w 43832"/>
                          <a:gd name="connsiteY83" fmla="*/ 3894 h 25370"/>
                          <a:gd name="connsiteX84" fmla="*/ 38809 w 43832"/>
                          <a:gd name="connsiteY84" fmla="*/ 4145 h 25370"/>
                          <a:gd name="connsiteX85" fmla="*/ 38935 w 43832"/>
                          <a:gd name="connsiteY85" fmla="*/ 4270 h 25370"/>
                          <a:gd name="connsiteX86" fmla="*/ 39186 w 43832"/>
                          <a:gd name="connsiteY86" fmla="*/ 4396 h 25370"/>
                          <a:gd name="connsiteX87" fmla="*/ 39311 w 43832"/>
                          <a:gd name="connsiteY87" fmla="*/ 4521 h 25370"/>
                          <a:gd name="connsiteX88" fmla="*/ 39563 w 43832"/>
                          <a:gd name="connsiteY88" fmla="*/ 4647 h 25370"/>
                          <a:gd name="connsiteX89" fmla="*/ 39813 w 43832"/>
                          <a:gd name="connsiteY89" fmla="*/ 4773 h 25370"/>
                          <a:gd name="connsiteX90" fmla="*/ 40190 w 43832"/>
                          <a:gd name="connsiteY90" fmla="*/ 5024 h 25370"/>
                          <a:gd name="connsiteX91" fmla="*/ 40442 w 43832"/>
                          <a:gd name="connsiteY91" fmla="*/ 5149 h 25370"/>
                          <a:gd name="connsiteX92" fmla="*/ 40693 w 43832"/>
                          <a:gd name="connsiteY92" fmla="*/ 5275 h 25370"/>
                          <a:gd name="connsiteX93" fmla="*/ 40693 w 43832"/>
                          <a:gd name="connsiteY93" fmla="*/ 5275 h 25370"/>
                          <a:gd name="connsiteX94" fmla="*/ 40818 w 43832"/>
                          <a:gd name="connsiteY94" fmla="*/ 5401 h 25370"/>
                          <a:gd name="connsiteX95" fmla="*/ 41195 w 43832"/>
                          <a:gd name="connsiteY95" fmla="*/ 5526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823 w 43832"/>
                          <a:gd name="connsiteY100" fmla="*/ 6029 h 25370"/>
                          <a:gd name="connsiteX101" fmla="*/ 41949 w 43832"/>
                          <a:gd name="connsiteY101" fmla="*/ 6029 h 25370"/>
                          <a:gd name="connsiteX102" fmla="*/ 43832 w 43832"/>
                          <a:gd name="connsiteY102" fmla="*/ 5401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299"/>
                            </a:lnTo>
                            <a:lnTo>
                              <a:pt x="37553" y="10676"/>
                            </a:lnTo>
                            <a:lnTo>
                              <a:pt x="28133" y="16202"/>
                            </a:lnTo>
                            <a:lnTo>
                              <a:pt x="28133" y="16202"/>
                            </a:lnTo>
                            <a:lnTo>
                              <a:pt x="27631" y="16453"/>
                            </a:lnTo>
                            <a:lnTo>
                              <a:pt x="26500" y="17081"/>
                            </a:lnTo>
                            <a:lnTo>
                              <a:pt x="26500" y="17081"/>
                            </a:lnTo>
                            <a:lnTo>
                              <a:pt x="25998" y="17332"/>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2"/>
                            </a:lnTo>
                            <a:lnTo>
                              <a:pt x="17206" y="22482"/>
                            </a:lnTo>
                            <a:lnTo>
                              <a:pt x="12308" y="25370"/>
                            </a:lnTo>
                            <a:lnTo>
                              <a:pt x="12183" y="25245"/>
                            </a:lnTo>
                            <a:lnTo>
                              <a:pt x="12183" y="25245"/>
                            </a:lnTo>
                            <a:lnTo>
                              <a:pt x="11806" y="24993"/>
                            </a:lnTo>
                            <a:lnTo>
                              <a:pt x="11680" y="24993"/>
                            </a:lnTo>
                            <a:lnTo>
                              <a:pt x="11680" y="24993"/>
                            </a:lnTo>
                            <a:lnTo>
                              <a:pt x="11304" y="24742"/>
                            </a:lnTo>
                            <a:lnTo>
                              <a:pt x="11178" y="24617"/>
                            </a:lnTo>
                            <a:lnTo>
                              <a:pt x="10173" y="24114"/>
                            </a:lnTo>
                            <a:lnTo>
                              <a:pt x="10047" y="23989"/>
                            </a:lnTo>
                            <a:lnTo>
                              <a:pt x="9420" y="23738"/>
                            </a:lnTo>
                            <a:lnTo>
                              <a:pt x="9168" y="23612"/>
                            </a:lnTo>
                            <a:lnTo>
                              <a:pt x="8666" y="23235"/>
                            </a:lnTo>
                            <a:lnTo>
                              <a:pt x="8540" y="23235"/>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477"/>
                            </a:lnTo>
                            <a:lnTo>
                              <a:pt x="5400" y="21351"/>
                            </a:lnTo>
                            <a:lnTo>
                              <a:pt x="4521" y="20849"/>
                            </a:lnTo>
                            <a:lnTo>
                              <a:pt x="4396" y="20723"/>
                            </a:lnTo>
                            <a:lnTo>
                              <a:pt x="3642" y="20346"/>
                            </a:lnTo>
                            <a:lnTo>
                              <a:pt x="3642" y="20346"/>
                            </a:lnTo>
                            <a:lnTo>
                              <a:pt x="3391" y="20221"/>
                            </a:lnTo>
                            <a:lnTo>
                              <a:pt x="3266" y="20095"/>
                            </a:lnTo>
                            <a:lnTo>
                              <a:pt x="2763" y="19844"/>
                            </a:lnTo>
                            <a:lnTo>
                              <a:pt x="2763" y="19844"/>
                            </a:lnTo>
                            <a:lnTo>
                              <a:pt x="2638" y="19718"/>
                            </a:lnTo>
                            <a:lnTo>
                              <a:pt x="2010" y="19342"/>
                            </a:lnTo>
                            <a:lnTo>
                              <a:pt x="2010" y="19342"/>
                            </a:lnTo>
                            <a:lnTo>
                              <a:pt x="1507" y="19090"/>
                            </a:lnTo>
                            <a:lnTo>
                              <a:pt x="1381" y="19090"/>
                            </a:lnTo>
                            <a:lnTo>
                              <a:pt x="0" y="18211"/>
                            </a:lnTo>
                            <a:lnTo>
                              <a:pt x="0" y="16453"/>
                            </a:lnTo>
                            <a:lnTo>
                              <a:pt x="31524" y="0"/>
                            </a:lnTo>
                            <a:lnTo>
                              <a:pt x="32278" y="377"/>
                            </a:lnTo>
                            <a:lnTo>
                              <a:pt x="32404" y="502"/>
                            </a:lnTo>
                            <a:lnTo>
                              <a:pt x="33409" y="1130"/>
                            </a:lnTo>
                            <a:lnTo>
                              <a:pt x="33659" y="1256"/>
                            </a:lnTo>
                            <a:lnTo>
                              <a:pt x="34539" y="1759"/>
                            </a:lnTo>
                            <a:lnTo>
                              <a:pt x="34664" y="1884"/>
                            </a:lnTo>
                            <a:lnTo>
                              <a:pt x="35166" y="2135"/>
                            </a:lnTo>
                            <a:lnTo>
                              <a:pt x="35166" y="2135"/>
                            </a:lnTo>
                            <a:lnTo>
                              <a:pt x="35166" y="2135"/>
                            </a:lnTo>
                            <a:lnTo>
                              <a:pt x="36046" y="2638"/>
                            </a:lnTo>
                            <a:lnTo>
                              <a:pt x="36171" y="2763"/>
                            </a:lnTo>
                            <a:lnTo>
                              <a:pt x="36799" y="3014"/>
                            </a:lnTo>
                            <a:lnTo>
                              <a:pt x="36799" y="3014"/>
                            </a:lnTo>
                            <a:lnTo>
                              <a:pt x="37804" y="3642"/>
                            </a:lnTo>
                            <a:lnTo>
                              <a:pt x="37930" y="3768"/>
                            </a:lnTo>
                            <a:lnTo>
                              <a:pt x="38181" y="3768"/>
                            </a:lnTo>
                            <a:lnTo>
                              <a:pt x="38181" y="3894"/>
                            </a:lnTo>
                            <a:lnTo>
                              <a:pt x="38809" y="4145"/>
                            </a:lnTo>
                            <a:lnTo>
                              <a:pt x="38935" y="4270"/>
                            </a:lnTo>
                            <a:lnTo>
                              <a:pt x="39186" y="4396"/>
                            </a:lnTo>
                            <a:lnTo>
                              <a:pt x="39311" y="4521"/>
                            </a:lnTo>
                            <a:lnTo>
                              <a:pt x="39563" y="4647"/>
                            </a:lnTo>
                            <a:lnTo>
                              <a:pt x="39813" y="4773"/>
                            </a:lnTo>
                            <a:lnTo>
                              <a:pt x="40190" y="5024"/>
                            </a:lnTo>
                            <a:lnTo>
                              <a:pt x="40442" y="5149"/>
                            </a:lnTo>
                            <a:lnTo>
                              <a:pt x="40693" y="5275"/>
                            </a:lnTo>
                            <a:lnTo>
                              <a:pt x="40693" y="5275"/>
                            </a:lnTo>
                            <a:lnTo>
                              <a:pt x="40818" y="5401"/>
                            </a:lnTo>
                            <a:lnTo>
                              <a:pt x="41195" y="5526"/>
                            </a:lnTo>
                            <a:lnTo>
                              <a:pt x="41320" y="5652"/>
                            </a:lnTo>
                            <a:lnTo>
                              <a:pt x="41572" y="5777"/>
                            </a:lnTo>
                            <a:lnTo>
                              <a:pt x="41572" y="5777"/>
                            </a:lnTo>
                            <a:lnTo>
                              <a:pt x="41698" y="5903"/>
                            </a:lnTo>
                            <a:lnTo>
                              <a:pt x="41823" y="6029"/>
                            </a:lnTo>
                            <a:lnTo>
                              <a:pt x="41949"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64" name="Freeform: Shape 4163">
                        <a:extLst>
                          <a:ext uri="{FF2B5EF4-FFF2-40B4-BE49-F238E27FC236}">
                            <a16:creationId xmlns:a16="http://schemas.microsoft.com/office/drawing/2014/main" id="{9F1B994A-01E1-4967-A832-8FE78CB3FD73}"/>
                          </a:ext>
                        </a:extLst>
                      </p:cNvPr>
                      <p:cNvSpPr/>
                      <p:nvPr/>
                    </p:nvSpPr>
                    <p:spPr>
                      <a:xfrm>
                        <a:off x="7259508" y="3856489"/>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7631 w 43832"/>
                          <a:gd name="connsiteY10" fmla="*/ 16453 h 25370"/>
                          <a:gd name="connsiteX11" fmla="*/ 26500 w 43832"/>
                          <a:gd name="connsiteY11" fmla="*/ 17081 h 25370"/>
                          <a:gd name="connsiteX12" fmla="*/ 25998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9 w 43832"/>
                          <a:gd name="connsiteY18" fmla="*/ 18588 h 25370"/>
                          <a:gd name="connsiteX19" fmla="*/ 17584 w 43832"/>
                          <a:gd name="connsiteY19" fmla="*/ 22230 h 25370"/>
                          <a:gd name="connsiteX20" fmla="*/ 17206 w 43832"/>
                          <a:gd name="connsiteY20" fmla="*/ 22482 h 25370"/>
                          <a:gd name="connsiteX21" fmla="*/ 17206 w 43832"/>
                          <a:gd name="connsiteY21" fmla="*/ 22482 h 25370"/>
                          <a:gd name="connsiteX22" fmla="*/ 12308 w 43832"/>
                          <a:gd name="connsiteY22" fmla="*/ 25370 h 25370"/>
                          <a:gd name="connsiteX23" fmla="*/ 12183 w 43832"/>
                          <a:gd name="connsiteY23" fmla="*/ 25370 h 25370"/>
                          <a:gd name="connsiteX24" fmla="*/ 12183 w 43832"/>
                          <a:gd name="connsiteY24" fmla="*/ 25245 h 25370"/>
                          <a:gd name="connsiteX25" fmla="*/ 11806 w 43832"/>
                          <a:gd name="connsiteY25" fmla="*/ 25119 h 25370"/>
                          <a:gd name="connsiteX26" fmla="*/ 11680 w 43832"/>
                          <a:gd name="connsiteY26" fmla="*/ 24993 h 25370"/>
                          <a:gd name="connsiteX27" fmla="*/ 11304 w 43832"/>
                          <a:gd name="connsiteY27" fmla="*/ 24742 h 25370"/>
                          <a:gd name="connsiteX28" fmla="*/ 11178 w 43832"/>
                          <a:gd name="connsiteY28" fmla="*/ 24617 h 25370"/>
                          <a:gd name="connsiteX29" fmla="*/ 10173 w 43832"/>
                          <a:gd name="connsiteY29" fmla="*/ 24114 h 25370"/>
                          <a:gd name="connsiteX30" fmla="*/ 10047 w 43832"/>
                          <a:gd name="connsiteY30" fmla="*/ 24114 h 25370"/>
                          <a:gd name="connsiteX31" fmla="*/ 9420 w 43832"/>
                          <a:gd name="connsiteY31" fmla="*/ 23737 h 25370"/>
                          <a:gd name="connsiteX32" fmla="*/ 9168 w 43832"/>
                          <a:gd name="connsiteY32" fmla="*/ 23612 h 25370"/>
                          <a:gd name="connsiteX33" fmla="*/ 8666 w 43832"/>
                          <a:gd name="connsiteY33" fmla="*/ 23235 h 25370"/>
                          <a:gd name="connsiteX34" fmla="*/ 8540 w 43832"/>
                          <a:gd name="connsiteY34" fmla="*/ 23235 h 25370"/>
                          <a:gd name="connsiteX35" fmla="*/ 8164 w 43832"/>
                          <a:gd name="connsiteY35" fmla="*/ 22984 h 25370"/>
                          <a:gd name="connsiteX36" fmla="*/ 8038 w 43832"/>
                          <a:gd name="connsiteY36" fmla="*/ 22858 h 25370"/>
                          <a:gd name="connsiteX37" fmla="*/ 7410 w 43832"/>
                          <a:gd name="connsiteY37" fmla="*/ 22607 h 25370"/>
                          <a:gd name="connsiteX38" fmla="*/ 7285 w 43832"/>
                          <a:gd name="connsiteY38" fmla="*/ 22482 h 25370"/>
                          <a:gd name="connsiteX39" fmla="*/ 7285 w 43832"/>
                          <a:gd name="connsiteY39" fmla="*/ 22482 h 25370"/>
                          <a:gd name="connsiteX40" fmla="*/ 6531 w 43832"/>
                          <a:gd name="connsiteY40" fmla="*/ 22105 h 25370"/>
                          <a:gd name="connsiteX41" fmla="*/ 6531 w 43832"/>
                          <a:gd name="connsiteY41" fmla="*/ 21979 h 25370"/>
                          <a:gd name="connsiteX42" fmla="*/ 6154 w 43832"/>
                          <a:gd name="connsiteY42" fmla="*/ 21854 h 25370"/>
                          <a:gd name="connsiteX43" fmla="*/ 6028 w 43832"/>
                          <a:gd name="connsiteY43" fmla="*/ 21728 h 25370"/>
                          <a:gd name="connsiteX44" fmla="*/ 5526 w 43832"/>
                          <a:gd name="connsiteY44" fmla="*/ 21477 h 25370"/>
                          <a:gd name="connsiteX45" fmla="*/ 5400 w 43832"/>
                          <a:gd name="connsiteY45" fmla="*/ 21351 h 25370"/>
                          <a:gd name="connsiteX46" fmla="*/ 4521 w 43832"/>
                          <a:gd name="connsiteY46" fmla="*/ 20849 h 25370"/>
                          <a:gd name="connsiteX47" fmla="*/ 4396 w 43832"/>
                          <a:gd name="connsiteY47" fmla="*/ 20849 h 25370"/>
                          <a:gd name="connsiteX48" fmla="*/ 3642 w 43832"/>
                          <a:gd name="connsiteY48" fmla="*/ 20346 h 25370"/>
                          <a:gd name="connsiteX49" fmla="*/ 3642 w 43832"/>
                          <a:gd name="connsiteY49" fmla="*/ 20346 h 25370"/>
                          <a:gd name="connsiteX50" fmla="*/ 3391 w 43832"/>
                          <a:gd name="connsiteY50" fmla="*/ 20221 h 25370"/>
                          <a:gd name="connsiteX51" fmla="*/ 3266 w 43832"/>
                          <a:gd name="connsiteY51" fmla="*/ 20221 h 25370"/>
                          <a:gd name="connsiteX52" fmla="*/ 2763 w 43832"/>
                          <a:gd name="connsiteY52" fmla="*/ 19844 h 25370"/>
                          <a:gd name="connsiteX53" fmla="*/ 2763 w 43832"/>
                          <a:gd name="connsiteY53" fmla="*/ 19844 h 25370"/>
                          <a:gd name="connsiteX54" fmla="*/ 2638 w 43832"/>
                          <a:gd name="connsiteY54" fmla="*/ 19718 h 25370"/>
                          <a:gd name="connsiteX55" fmla="*/ 2010 w 43832"/>
                          <a:gd name="connsiteY55" fmla="*/ 19467 h 25370"/>
                          <a:gd name="connsiteX56" fmla="*/ 2010 w 43832"/>
                          <a:gd name="connsiteY56" fmla="*/ 19342 h 25370"/>
                          <a:gd name="connsiteX57" fmla="*/ 1507 w 43832"/>
                          <a:gd name="connsiteY57" fmla="*/ 19216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521 w 43832"/>
                          <a:gd name="connsiteY63" fmla="*/ 15574 h 25370"/>
                          <a:gd name="connsiteX64" fmla="*/ 4773 w 43832"/>
                          <a:gd name="connsiteY64" fmla="*/ 15448 h 25370"/>
                          <a:gd name="connsiteX65" fmla="*/ 4898 w 43832"/>
                          <a:gd name="connsiteY65" fmla="*/ 15448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086 w 43832"/>
                          <a:gd name="connsiteY70" fmla="*/ 7787 h 25370"/>
                          <a:gd name="connsiteX71" fmla="*/ 18337 w 43832"/>
                          <a:gd name="connsiteY71" fmla="*/ 7661 h 25370"/>
                          <a:gd name="connsiteX72" fmla="*/ 31524 w 43832"/>
                          <a:gd name="connsiteY72" fmla="*/ 0 h 25370"/>
                          <a:gd name="connsiteX73" fmla="*/ 32278 w 43832"/>
                          <a:gd name="connsiteY73" fmla="*/ 502 h 25370"/>
                          <a:gd name="connsiteX74" fmla="*/ 32404 w 43832"/>
                          <a:gd name="connsiteY74" fmla="*/ 502 h 25370"/>
                          <a:gd name="connsiteX75" fmla="*/ 33409 w 43832"/>
                          <a:gd name="connsiteY75" fmla="*/ 1130 h 25370"/>
                          <a:gd name="connsiteX76" fmla="*/ 33659 w 43832"/>
                          <a:gd name="connsiteY76" fmla="*/ 1256 h 25370"/>
                          <a:gd name="connsiteX77" fmla="*/ 34539 w 43832"/>
                          <a:gd name="connsiteY77" fmla="*/ 1758 h 25370"/>
                          <a:gd name="connsiteX78" fmla="*/ 34664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171 w 43832"/>
                          <a:gd name="connsiteY82" fmla="*/ 2763 h 25370"/>
                          <a:gd name="connsiteX83" fmla="*/ 36799 w 43832"/>
                          <a:gd name="connsiteY83" fmla="*/ 3014 h 25370"/>
                          <a:gd name="connsiteX84" fmla="*/ 36799 w 43832"/>
                          <a:gd name="connsiteY84" fmla="*/ 3140 h 25370"/>
                          <a:gd name="connsiteX85" fmla="*/ 37804 w 43832"/>
                          <a:gd name="connsiteY85" fmla="*/ 3642 h 25370"/>
                          <a:gd name="connsiteX86" fmla="*/ 37930 w 43832"/>
                          <a:gd name="connsiteY86" fmla="*/ 3768 h 25370"/>
                          <a:gd name="connsiteX87" fmla="*/ 38181 w 43832"/>
                          <a:gd name="connsiteY87" fmla="*/ 3894 h 25370"/>
                          <a:gd name="connsiteX88" fmla="*/ 38809 w 43832"/>
                          <a:gd name="connsiteY88" fmla="*/ 4270 h 25370"/>
                          <a:gd name="connsiteX89" fmla="*/ 38935 w 43832"/>
                          <a:gd name="connsiteY89" fmla="*/ 4270 h 25370"/>
                          <a:gd name="connsiteX90" fmla="*/ 39186 w 43832"/>
                          <a:gd name="connsiteY90" fmla="*/ 4396 h 25370"/>
                          <a:gd name="connsiteX91" fmla="*/ 39311 w 43832"/>
                          <a:gd name="connsiteY91" fmla="*/ 4521 h 25370"/>
                          <a:gd name="connsiteX92" fmla="*/ 39563 w 43832"/>
                          <a:gd name="connsiteY92" fmla="*/ 4647 h 25370"/>
                          <a:gd name="connsiteX93" fmla="*/ 39813 w 43832"/>
                          <a:gd name="connsiteY93" fmla="*/ 4773 h 25370"/>
                          <a:gd name="connsiteX94" fmla="*/ 40316 w 43832"/>
                          <a:gd name="connsiteY94" fmla="*/ 5024 h 25370"/>
                          <a:gd name="connsiteX95" fmla="*/ 40442 w 43832"/>
                          <a:gd name="connsiteY95" fmla="*/ 5149 h 25370"/>
                          <a:gd name="connsiteX96" fmla="*/ 40693 w 43832"/>
                          <a:gd name="connsiteY96" fmla="*/ 5275 h 25370"/>
                          <a:gd name="connsiteX97" fmla="*/ 40693 w 43832"/>
                          <a:gd name="connsiteY97" fmla="*/ 5275 h 25370"/>
                          <a:gd name="connsiteX98" fmla="*/ 40818 w 43832"/>
                          <a:gd name="connsiteY98" fmla="*/ 5401 h 25370"/>
                          <a:gd name="connsiteX99" fmla="*/ 41195 w 43832"/>
                          <a:gd name="connsiteY99" fmla="*/ 5526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823 w 43832"/>
                          <a:gd name="connsiteY104" fmla="*/ 6029 h 25370"/>
                          <a:gd name="connsiteX105" fmla="*/ 41949 w 43832"/>
                          <a:gd name="connsiteY105" fmla="*/ 6029 h 25370"/>
                          <a:gd name="connsiteX106" fmla="*/ 42451 w 43832"/>
                          <a:gd name="connsiteY106" fmla="*/ 6280 h 25370"/>
                          <a:gd name="connsiteX107" fmla="*/ 42577 w 43832"/>
                          <a:gd name="connsiteY107" fmla="*/ 6405 h 25370"/>
                          <a:gd name="connsiteX108" fmla="*/ 42828 w 43832"/>
                          <a:gd name="connsiteY108" fmla="*/ 6531 h 25370"/>
                          <a:gd name="connsiteX109" fmla="*/ 42953 w 43832"/>
                          <a:gd name="connsiteY109" fmla="*/ 6657 h 25370"/>
                          <a:gd name="connsiteX110" fmla="*/ 43330 w 43832"/>
                          <a:gd name="connsiteY110" fmla="*/ 6908 h 25370"/>
                          <a:gd name="connsiteX111" fmla="*/ 43330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7631" y="16453"/>
                            </a:lnTo>
                            <a:lnTo>
                              <a:pt x="26500" y="17081"/>
                            </a:lnTo>
                            <a:lnTo>
                              <a:pt x="25998" y="17332"/>
                            </a:lnTo>
                            <a:lnTo>
                              <a:pt x="25998" y="17458"/>
                            </a:lnTo>
                            <a:lnTo>
                              <a:pt x="25998" y="17458"/>
                            </a:lnTo>
                            <a:lnTo>
                              <a:pt x="25747" y="17583"/>
                            </a:lnTo>
                            <a:lnTo>
                              <a:pt x="24240" y="18462"/>
                            </a:lnTo>
                            <a:lnTo>
                              <a:pt x="24240" y="18462"/>
                            </a:lnTo>
                            <a:lnTo>
                              <a:pt x="23989" y="18588"/>
                            </a:lnTo>
                            <a:lnTo>
                              <a:pt x="17584" y="22230"/>
                            </a:lnTo>
                            <a:lnTo>
                              <a:pt x="17206" y="22482"/>
                            </a:lnTo>
                            <a:lnTo>
                              <a:pt x="17206" y="22482"/>
                            </a:lnTo>
                            <a:lnTo>
                              <a:pt x="12308" y="25370"/>
                            </a:lnTo>
                            <a:lnTo>
                              <a:pt x="12183" y="25370"/>
                            </a:lnTo>
                            <a:lnTo>
                              <a:pt x="12183" y="25245"/>
                            </a:lnTo>
                            <a:lnTo>
                              <a:pt x="11806" y="25119"/>
                            </a:lnTo>
                            <a:lnTo>
                              <a:pt x="11680" y="24993"/>
                            </a:lnTo>
                            <a:lnTo>
                              <a:pt x="11304" y="24742"/>
                            </a:lnTo>
                            <a:lnTo>
                              <a:pt x="11178" y="24617"/>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2"/>
                            </a:lnTo>
                            <a:lnTo>
                              <a:pt x="7285" y="22482"/>
                            </a:lnTo>
                            <a:lnTo>
                              <a:pt x="6531" y="22105"/>
                            </a:lnTo>
                            <a:lnTo>
                              <a:pt x="6531" y="21979"/>
                            </a:lnTo>
                            <a:lnTo>
                              <a:pt x="6154" y="21854"/>
                            </a:lnTo>
                            <a:lnTo>
                              <a:pt x="6028" y="21728"/>
                            </a:lnTo>
                            <a:lnTo>
                              <a:pt x="5526" y="21477"/>
                            </a:lnTo>
                            <a:lnTo>
                              <a:pt x="5400" y="21351"/>
                            </a:lnTo>
                            <a:lnTo>
                              <a:pt x="4521" y="20849"/>
                            </a:lnTo>
                            <a:lnTo>
                              <a:pt x="4396" y="20849"/>
                            </a:lnTo>
                            <a:lnTo>
                              <a:pt x="3642" y="20346"/>
                            </a:lnTo>
                            <a:lnTo>
                              <a:pt x="3642" y="20346"/>
                            </a:lnTo>
                            <a:lnTo>
                              <a:pt x="3391" y="20221"/>
                            </a:lnTo>
                            <a:lnTo>
                              <a:pt x="3266" y="20221"/>
                            </a:lnTo>
                            <a:lnTo>
                              <a:pt x="2763" y="19844"/>
                            </a:lnTo>
                            <a:lnTo>
                              <a:pt x="2763" y="19844"/>
                            </a:lnTo>
                            <a:lnTo>
                              <a:pt x="2638" y="19718"/>
                            </a:lnTo>
                            <a:lnTo>
                              <a:pt x="2010" y="19467"/>
                            </a:lnTo>
                            <a:lnTo>
                              <a:pt x="2010" y="19342"/>
                            </a:lnTo>
                            <a:lnTo>
                              <a:pt x="1507" y="19216"/>
                            </a:lnTo>
                            <a:lnTo>
                              <a:pt x="1381" y="19090"/>
                            </a:lnTo>
                            <a:lnTo>
                              <a:pt x="0" y="18211"/>
                            </a:lnTo>
                            <a:lnTo>
                              <a:pt x="4396" y="15699"/>
                            </a:lnTo>
                            <a:lnTo>
                              <a:pt x="4396" y="15699"/>
                            </a:lnTo>
                            <a:lnTo>
                              <a:pt x="4521" y="15574"/>
                            </a:lnTo>
                            <a:lnTo>
                              <a:pt x="4521" y="15574"/>
                            </a:lnTo>
                            <a:lnTo>
                              <a:pt x="4773" y="15448"/>
                            </a:lnTo>
                            <a:lnTo>
                              <a:pt x="4898" y="15448"/>
                            </a:lnTo>
                            <a:lnTo>
                              <a:pt x="5024" y="15323"/>
                            </a:lnTo>
                            <a:lnTo>
                              <a:pt x="5024" y="15323"/>
                            </a:lnTo>
                            <a:lnTo>
                              <a:pt x="17584" y="8038"/>
                            </a:lnTo>
                            <a:lnTo>
                              <a:pt x="17834" y="7913"/>
                            </a:lnTo>
                            <a:lnTo>
                              <a:pt x="18086" y="7787"/>
                            </a:lnTo>
                            <a:lnTo>
                              <a:pt x="18337" y="7661"/>
                            </a:lnTo>
                            <a:lnTo>
                              <a:pt x="31524" y="0"/>
                            </a:lnTo>
                            <a:lnTo>
                              <a:pt x="32278" y="502"/>
                            </a:lnTo>
                            <a:lnTo>
                              <a:pt x="32404" y="502"/>
                            </a:lnTo>
                            <a:lnTo>
                              <a:pt x="33409" y="1130"/>
                            </a:lnTo>
                            <a:lnTo>
                              <a:pt x="33659" y="1256"/>
                            </a:lnTo>
                            <a:lnTo>
                              <a:pt x="34539" y="1758"/>
                            </a:lnTo>
                            <a:lnTo>
                              <a:pt x="34664" y="1884"/>
                            </a:lnTo>
                            <a:lnTo>
                              <a:pt x="35166" y="2135"/>
                            </a:lnTo>
                            <a:lnTo>
                              <a:pt x="35166" y="2135"/>
                            </a:lnTo>
                            <a:lnTo>
                              <a:pt x="36046" y="2638"/>
                            </a:lnTo>
                            <a:lnTo>
                              <a:pt x="36171" y="2763"/>
                            </a:lnTo>
                            <a:lnTo>
                              <a:pt x="36799" y="3014"/>
                            </a:lnTo>
                            <a:lnTo>
                              <a:pt x="36799" y="3140"/>
                            </a:lnTo>
                            <a:lnTo>
                              <a:pt x="37804" y="3642"/>
                            </a:lnTo>
                            <a:lnTo>
                              <a:pt x="37930" y="3768"/>
                            </a:lnTo>
                            <a:lnTo>
                              <a:pt x="38181" y="3894"/>
                            </a:lnTo>
                            <a:lnTo>
                              <a:pt x="38809" y="4270"/>
                            </a:lnTo>
                            <a:lnTo>
                              <a:pt x="38935" y="4270"/>
                            </a:lnTo>
                            <a:lnTo>
                              <a:pt x="39186" y="4396"/>
                            </a:lnTo>
                            <a:lnTo>
                              <a:pt x="39311" y="4521"/>
                            </a:lnTo>
                            <a:lnTo>
                              <a:pt x="39563" y="4647"/>
                            </a:lnTo>
                            <a:lnTo>
                              <a:pt x="39813" y="4773"/>
                            </a:lnTo>
                            <a:lnTo>
                              <a:pt x="40316" y="5024"/>
                            </a:lnTo>
                            <a:lnTo>
                              <a:pt x="40442" y="5149"/>
                            </a:lnTo>
                            <a:lnTo>
                              <a:pt x="40693" y="5275"/>
                            </a:lnTo>
                            <a:lnTo>
                              <a:pt x="40693" y="5275"/>
                            </a:lnTo>
                            <a:lnTo>
                              <a:pt x="40818" y="5401"/>
                            </a:lnTo>
                            <a:lnTo>
                              <a:pt x="41195" y="5526"/>
                            </a:lnTo>
                            <a:lnTo>
                              <a:pt x="41320" y="5652"/>
                            </a:lnTo>
                            <a:lnTo>
                              <a:pt x="41572" y="5777"/>
                            </a:lnTo>
                            <a:lnTo>
                              <a:pt x="41572" y="5777"/>
                            </a:lnTo>
                            <a:lnTo>
                              <a:pt x="41698" y="5903"/>
                            </a:lnTo>
                            <a:lnTo>
                              <a:pt x="41823" y="6029"/>
                            </a:lnTo>
                            <a:lnTo>
                              <a:pt x="41949" y="6029"/>
                            </a:lnTo>
                            <a:lnTo>
                              <a:pt x="42451" y="6280"/>
                            </a:lnTo>
                            <a:lnTo>
                              <a:pt x="42577" y="6405"/>
                            </a:lnTo>
                            <a:lnTo>
                              <a:pt x="42828" y="6531"/>
                            </a:lnTo>
                            <a:lnTo>
                              <a:pt x="42953" y="6657"/>
                            </a:lnTo>
                            <a:lnTo>
                              <a:pt x="43330" y="6908"/>
                            </a:lnTo>
                            <a:lnTo>
                              <a:pt x="43330"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65" name="Freeform: Shape 4164">
                      <a:extLst>
                        <a:ext uri="{FF2B5EF4-FFF2-40B4-BE49-F238E27FC236}">
                          <a16:creationId xmlns:a16="http://schemas.microsoft.com/office/drawing/2014/main" id="{D2BA7930-9C08-4BA2-B383-3A64C2704F17}"/>
                        </a:ext>
                      </a:extLst>
                    </p:cNvPr>
                    <p:cNvSpPr/>
                    <p:nvPr/>
                  </p:nvSpPr>
                  <p:spPr>
                    <a:xfrm>
                      <a:off x="7259508" y="3874700"/>
                      <a:ext cx="12308" cy="8917"/>
                    </a:xfrm>
                    <a:custGeom>
                      <a:avLst/>
                      <a:gdLst>
                        <a:gd name="connsiteX0" fmla="*/ 12308 w 12308"/>
                        <a:gd name="connsiteY0" fmla="*/ 7159 h 8917"/>
                        <a:gd name="connsiteX1" fmla="*/ 12308 w 12308"/>
                        <a:gd name="connsiteY1" fmla="*/ 8917 h 8917"/>
                        <a:gd name="connsiteX2" fmla="*/ 0 w 12308"/>
                        <a:gd name="connsiteY2" fmla="*/ 1758 h 8917"/>
                        <a:gd name="connsiteX3" fmla="*/ 0 w 12308"/>
                        <a:gd name="connsiteY3" fmla="*/ 0 h 8917"/>
                      </a:gdLst>
                      <a:ahLst/>
                      <a:cxnLst>
                        <a:cxn ang="0">
                          <a:pos x="connsiteX0" y="connsiteY0"/>
                        </a:cxn>
                        <a:cxn ang="0">
                          <a:pos x="connsiteX1" y="connsiteY1"/>
                        </a:cxn>
                        <a:cxn ang="0">
                          <a:pos x="connsiteX2" y="connsiteY2"/>
                        </a:cxn>
                        <a:cxn ang="0">
                          <a:pos x="connsiteX3" y="connsiteY3"/>
                        </a:cxn>
                      </a:cxnLst>
                      <a:rect l="l" t="t" r="r" b="b"/>
                      <a:pathLst>
                        <a:path w="12308" h="8917">
                          <a:moveTo>
                            <a:pt x="12308" y="7159"/>
                          </a:moveTo>
                          <a:lnTo>
                            <a:pt x="12308" y="8917"/>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66" name="Graphic 4">
                    <a:extLst>
                      <a:ext uri="{FF2B5EF4-FFF2-40B4-BE49-F238E27FC236}">
                        <a16:creationId xmlns:a16="http://schemas.microsoft.com/office/drawing/2014/main" id="{84FB7ED1-A2DF-40A1-A747-5F7CF3F14040}"/>
                      </a:ext>
                    </a:extLst>
                  </p:cNvPr>
                  <p:cNvGrpSpPr/>
                  <p:nvPr/>
                </p:nvGrpSpPr>
                <p:grpSpPr>
                  <a:xfrm>
                    <a:off x="7245442" y="3845813"/>
                    <a:ext cx="43832" cy="27002"/>
                    <a:chOff x="7245442" y="3845813"/>
                    <a:chExt cx="43832" cy="27002"/>
                  </a:xfrm>
                  <a:solidFill>
                    <a:schemeClr val="accent1"/>
                  </a:solidFill>
                </p:grpSpPr>
                <p:grpSp>
                  <p:nvGrpSpPr>
                    <p:cNvPr id="4167" name="Graphic 4">
                      <a:extLst>
                        <a:ext uri="{FF2B5EF4-FFF2-40B4-BE49-F238E27FC236}">
                          <a16:creationId xmlns:a16="http://schemas.microsoft.com/office/drawing/2014/main" id="{84FB7ED1-A2DF-40A1-A747-5F7CF3F14040}"/>
                        </a:ext>
                      </a:extLst>
                    </p:cNvPr>
                    <p:cNvGrpSpPr/>
                    <p:nvPr/>
                  </p:nvGrpSpPr>
                  <p:grpSpPr>
                    <a:xfrm>
                      <a:off x="7245442" y="3845813"/>
                      <a:ext cx="43832" cy="27002"/>
                      <a:chOff x="7245442" y="3845813"/>
                      <a:chExt cx="43832" cy="27002"/>
                    </a:xfrm>
                    <a:solidFill>
                      <a:schemeClr val="accent1"/>
                    </a:solidFill>
                  </p:grpSpPr>
                  <p:sp>
                    <p:nvSpPr>
                      <p:cNvPr id="4168" name="Freeform: Shape 4167">
                        <a:extLst>
                          <a:ext uri="{FF2B5EF4-FFF2-40B4-BE49-F238E27FC236}">
                            <a16:creationId xmlns:a16="http://schemas.microsoft.com/office/drawing/2014/main" id="{60082DF2-B3AC-45A7-A647-75B54CFC3550}"/>
                          </a:ext>
                        </a:extLst>
                      </p:cNvPr>
                      <p:cNvSpPr/>
                      <p:nvPr/>
                    </p:nvSpPr>
                    <p:spPr>
                      <a:xfrm>
                        <a:off x="7245442" y="3847446"/>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424 h 25370"/>
                          <a:gd name="connsiteX8" fmla="*/ 37678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626 w 43832"/>
                          <a:gd name="connsiteY12" fmla="*/ 17206 h 25370"/>
                          <a:gd name="connsiteX13" fmla="*/ 26626 w 43832"/>
                          <a:gd name="connsiteY13" fmla="*/ 17206 h 25370"/>
                          <a:gd name="connsiteX14" fmla="*/ 26124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8 w 43832"/>
                          <a:gd name="connsiteY21" fmla="*/ 18714 h 25370"/>
                          <a:gd name="connsiteX22" fmla="*/ 17584 w 43832"/>
                          <a:gd name="connsiteY22" fmla="*/ 22356 h 25370"/>
                          <a:gd name="connsiteX23" fmla="*/ 17584 w 43832"/>
                          <a:gd name="connsiteY23" fmla="*/ 22356 h 25370"/>
                          <a:gd name="connsiteX24" fmla="*/ 17206 w 43832"/>
                          <a:gd name="connsiteY24" fmla="*/ 22481 h 25370"/>
                          <a:gd name="connsiteX25" fmla="*/ 17206 w 43832"/>
                          <a:gd name="connsiteY25" fmla="*/ 22607 h 25370"/>
                          <a:gd name="connsiteX26" fmla="*/ 12308 w 43832"/>
                          <a:gd name="connsiteY26" fmla="*/ 25370 h 25370"/>
                          <a:gd name="connsiteX27" fmla="*/ 12308 w 43832"/>
                          <a:gd name="connsiteY27" fmla="*/ 25370 h 25370"/>
                          <a:gd name="connsiteX28" fmla="*/ 12183 w 43832"/>
                          <a:gd name="connsiteY28" fmla="*/ 25370 h 25370"/>
                          <a:gd name="connsiteX29" fmla="*/ 11806 w 43832"/>
                          <a:gd name="connsiteY29" fmla="*/ 25119 h 25370"/>
                          <a:gd name="connsiteX30" fmla="*/ 11806 w 43832"/>
                          <a:gd name="connsiteY30" fmla="*/ 25119 h 25370"/>
                          <a:gd name="connsiteX31" fmla="*/ 11806 w 43832"/>
                          <a:gd name="connsiteY31" fmla="*/ 25119 h 25370"/>
                          <a:gd name="connsiteX32" fmla="*/ 11304 w 43832"/>
                          <a:gd name="connsiteY32" fmla="*/ 24868 h 25370"/>
                          <a:gd name="connsiteX33" fmla="*/ 11178 w 43832"/>
                          <a:gd name="connsiteY33" fmla="*/ 24742 h 25370"/>
                          <a:gd name="connsiteX34" fmla="*/ 10173 w 43832"/>
                          <a:gd name="connsiteY34" fmla="*/ 24114 h 25370"/>
                          <a:gd name="connsiteX35" fmla="*/ 10173 w 43832"/>
                          <a:gd name="connsiteY35" fmla="*/ 24114 h 25370"/>
                          <a:gd name="connsiteX36" fmla="*/ 9420 w 43832"/>
                          <a:gd name="connsiteY36" fmla="*/ 23737 h 25370"/>
                          <a:gd name="connsiteX37" fmla="*/ 9294 w 43832"/>
                          <a:gd name="connsiteY37" fmla="*/ 23612 h 25370"/>
                          <a:gd name="connsiteX38" fmla="*/ 8666 w 43832"/>
                          <a:gd name="connsiteY38" fmla="*/ 23360 h 25370"/>
                          <a:gd name="connsiteX39" fmla="*/ 8666 w 43832"/>
                          <a:gd name="connsiteY39" fmla="*/ 23235 h 25370"/>
                          <a:gd name="connsiteX40" fmla="*/ 8164 w 43832"/>
                          <a:gd name="connsiteY40" fmla="*/ 22984 h 25370"/>
                          <a:gd name="connsiteX41" fmla="*/ 8038 w 43832"/>
                          <a:gd name="connsiteY41" fmla="*/ 22984 h 25370"/>
                          <a:gd name="connsiteX42" fmla="*/ 7410 w 43832"/>
                          <a:gd name="connsiteY42" fmla="*/ 22607 h 25370"/>
                          <a:gd name="connsiteX43" fmla="*/ 7285 w 43832"/>
                          <a:gd name="connsiteY43" fmla="*/ 22481 h 25370"/>
                          <a:gd name="connsiteX44" fmla="*/ 7285 w 43832"/>
                          <a:gd name="connsiteY44" fmla="*/ 22481 h 25370"/>
                          <a:gd name="connsiteX45" fmla="*/ 6657 w 43832"/>
                          <a:gd name="connsiteY45" fmla="*/ 22105 h 25370"/>
                          <a:gd name="connsiteX46" fmla="*/ 6531 w 43832"/>
                          <a:gd name="connsiteY46" fmla="*/ 22105 h 25370"/>
                          <a:gd name="connsiteX47" fmla="*/ 6154 w 43832"/>
                          <a:gd name="connsiteY47" fmla="*/ 21853 h 25370"/>
                          <a:gd name="connsiteX48" fmla="*/ 6028 w 43832"/>
                          <a:gd name="connsiteY48" fmla="*/ 21728 h 25370"/>
                          <a:gd name="connsiteX49" fmla="*/ 5526 w 43832"/>
                          <a:gd name="connsiteY49" fmla="*/ 21477 h 25370"/>
                          <a:gd name="connsiteX50" fmla="*/ 5526 w 43832"/>
                          <a:gd name="connsiteY50" fmla="*/ 21477 h 25370"/>
                          <a:gd name="connsiteX51" fmla="*/ 4647 w 43832"/>
                          <a:gd name="connsiteY51" fmla="*/ 20974 h 25370"/>
                          <a:gd name="connsiteX52" fmla="*/ 4396 w 43832"/>
                          <a:gd name="connsiteY52" fmla="*/ 20849 h 25370"/>
                          <a:gd name="connsiteX53" fmla="*/ 3768 w 43832"/>
                          <a:gd name="connsiteY53" fmla="*/ 20472 h 25370"/>
                          <a:gd name="connsiteX54" fmla="*/ 3642 w 43832"/>
                          <a:gd name="connsiteY54" fmla="*/ 20346 h 25370"/>
                          <a:gd name="connsiteX55" fmla="*/ 3391 w 43832"/>
                          <a:gd name="connsiteY55" fmla="*/ 20221 h 25370"/>
                          <a:gd name="connsiteX56" fmla="*/ 3391 w 43832"/>
                          <a:gd name="connsiteY56" fmla="*/ 20221 h 25370"/>
                          <a:gd name="connsiteX57" fmla="*/ 2763 w 43832"/>
                          <a:gd name="connsiteY57" fmla="*/ 19844 h 25370"/>
                          <a:gd name="connsiteX58" fmla="*/ 2763 w 43832"/>
                          <a:gd name="connsiteY58" fmla="*/ 19844 h 25370"/>
                          <a:gd name="connsiteX59" fmla="*/ 2638 w 43832"/>
                          <a:gd name="connsiteY59" fmla="*/ 19844 h 25370"/>
                          <a:gd name="connsiteX60" fmla="*/ 2009 w 43832"/>
                          <a:gd name="connsiteY60" fmla="*/ 19467 h 25370"/>
                          <a:gd name="connsiteX61" fmla="*/ 2009 w 43832"/>
                          <a:gd name="connsiteY61" fmla="*/ 19467 h 25370"/>
                          <a:gd name="connsiteX62" fmla="*/ 1633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628 h 25370"/>
                          <a:gd name="connsiteX69" fmla="*/ 33408 w 43832"/>
                          <a:gd name="connsiteY69" fmla="*/ 1130 h 25370"/>
                          <a:gd name="connsiteX70" fmla="*/ 33659 w 43832"/>
                          <a:gd name="connsiteY70" fmla="*/ 1256 h 25370"/>
                          <a:gd name="connsiteX71" fmla="*/ 34539 w 43832"/>
                          <a:gd name="connsiteY71" fmla="*/ 1758 h 25370"/>
                          <a:gd name="connsiteX72" fmla="*/ 34790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297 w 43832"/>
                          <a:gd name="connsiteY77" fmla="*/ 2763 h 25370"/>
                          <a:gd name="connsiteX78" fmla="*/ 36799 w 43832"/>
                          <a:gd name="connsiteY78" fmla="*/ 3140 h 25370"/>
                          <a:gd name="connsiteX79" fmla="*/ 36925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306 w 43832"/>
                          <a:gd name="connsiteY83" fmla="*/ 3893 h 25370"/>
                          <a:gd name="connsiteX84" fmla="*/ 38809 w 43832"/>
                          <a:gd name="connsiteY84" fmla="*/ 4270 h 25370"/>
                          <a:gd name="connsiteX85" fmla="*/ 38934 w 43832"/>
                          <a:gd name="connsiteY85" fmla="*/ 4270 h 25370"/>
                          <a:gd name="connsiteX86" fmla="*/ 39186 w 43832"/>
                          <a:gd name="connsiteY86" fmla="*/ 4521 h 25370"/>
                          <a:gd name="connsiteX87" fmla="*/ 39311 w 43832"/>
                          <a:gd name="connsiteY87" fmla="*/ 4521 h 25370"/>
                          <a:gd name="connsiteX88" fmla="*/ 39688 w 43832"/>
                          <a:gd name="connsiteY88" fmla="*/ 4772 h 25370"/>
                          <a:gd name="connsiteX89" fmla="*/ 39813 w 43832"/>
                          <a:gd name="connsiteY89" fmla="*/ 4772 h 25370"/>
                          <a:gd name="connsiteX90" fmla="*/ 40316 w 43832"/>
                          <a:gd name="connsiteY90" fmla="*/ 5149 h 25370"/>
                          <a:gd name="connsiteX91" fmla="*/ 40567 w 43832"/>
                          <a:gd name="connsiteY91" fmla="*/ 5275 h 25370"/>
                          <a:gd name="connsiteX92" fmla="*/ 40693 w 43832"/>
                          <a:gd name="connsiteY92" fmla="*/ 5400 h 25370"/>
                          <a:gd name="connsiteX93" fmla="*/ 40693 w 43832"/>
                          <a:gd name="connsiteY93" fmla="*/ 5400 h 25370"/>
                          <a:gd name="connsiteX94" fmla="*/ 40818 w 43832"/>
                          <a:gd name="connsiteY94" fmla="*/ 5400 h 25370"/>
                          <a:gd name="connsiteX95" fmla="*/ 41195 w 43832"/>
                          <a:gd name="connsiteY95" fmla="*/ 5652 h 25370"/>
                          <a:gd name="connsiteX96" fmla="*/ 41320 w 43832"/>
                          <a:gd name="connsiteY96" fmla="*/ 5777 h 25370"/>
                          <a:gd name="connsiteX97" fmla="*/ 41572 w 43832"/>
                          <a:gd name="connsiteY97" fmla="*/ 5903 h 25370"/>
                          <a:gd name="connsiteX98" fmla="*/ 41572 w 43832"/>
                          <a:gd name="connsiteY98" fmla="*/ 5903 h 25370"/>
                          <a:gd name="connsiteX99" fmla="*/ 41698 w 43832"/>
                          <a:gd name="connsiteY99" fmla="*/ 5903 h 25370"/>
                          <a:gd name="connsiteX100" fmla="*/ 41949 w 43832"/>
                          <a:gd name="connsiteY100" fmla="*/ 6028 h 25370"/>
                          <a:gd name="connsiteX101" fmla="*/ 42074 w 43832"/>
                          <a:gd name="connsiteY101" fmla="*/ 6154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424"/>
                            </a:lnTo>
                            <a:lnTo>
                              <a:pt x="37678" y="10801"/>
                            </a:lnTo>
                            <a:lnTo>
                              <a:pt x="28133" y="16202"/>
                            </a:lnTo>
                            <a:lnTo>
                              <a:pt x="28133" y="16202"/>
                            </a:lnTo>
                            <a:lnTo>
                              <a:pt x="27631" y="16453"/>
                            </a:lnTo>
                            <a:lnTo>
                              <a:pt x="26626" y="17206"/>
                            </a:lnTo>
                            <a:lnTo>
                              <a:pt x="26626" y="17206"/>
                            </a:lnTo>
                            <a:lnTo>
                              <a:pt x="26124" y="17458"/>
                            </a:lnTo>
                            <a:lnTo>
                              <a:pt x="25998" y="17458"/>
                            </a:lnTo>
                            <a:lnTo>
                              <a:pt x="25998" y="17458"/>
                            </a:lnTo>
                            <a:lnTo>
                              <a:pt x="25747" y="17583"/>
                            </a:lnTo>
                            <a:lnTo>
                              <a:pt x="25747" y="17583"/>
                            </a:lnTo>
                            <a:lnTo>
                              <a:pt x="24240" y="18462"/>
                            </a:lnTo>
                            <a:lnTo>
                              <a:pt x="24240" y="18462"/>
                            </a:lnTo>
                            <a:lnTo>
                              <a:pt x="23988" y="18714"/>
                            </a:lnTo>
                            <a:lnTo>
                              <a:pt x="17584" y="22356"/>
                            </a:lnTo>
                            <a:lnTo>
                              <a:pt x="17584" y="22356"/>
                            </a:lnTo>
                            <a:lnTo>
                              <a:pt x="17206" y="22481"/>
                            </a:lnTo>
                            <a:lnTo>
                              <a:pt x="17206" y="22607"/>
                            </a:lnTo>
                            <a:lnTo>
                              <a:pt x="12308" y="25370"/>
                            </a:lnTo>
                            <a:lnTo>
                              <a:pt x="12308" y="25370"/>
                            </a:lnTo>
                            <a:lnTo>
                              <a:pt x="12183" y="25370"/>
                            </a:lnTo>
                            <a:lnTo>
                              <a:pt x="11806" y="25119"/>
                            </a:lnTo>
                            <a:lnTo>
                              <a:pt x="11806" y="25119"/>
                            </a:lnTo>
                            <a:lnTo>
                              <a:pt x="11806" y="25119"/>
                            </a:lnTo>
                            <a:lnTo>
                              <a:pt x="11304" y="24868"/>
                            </a:lnTo>
                            <a:lnTo>
                              <a:pt x="11178" y="24742"/>
                            </a:lnTo>
                            <a:lnTo>
                              <a:pt x="10173" y="24114"/>
                            </a:lnTo>
                            <a:lnTo>
                              <a:pt x="10173" y="24114"/>
                            </a:lnTo>
                            <a:lnTo>
                              <a:pt x="9420" y="23737"/>
                            </a:lnTo>
                            <a:lnTo>
                              <a:pt x="9294" y="23612"/>
                            </a:lnTo>
                            <a:lnTo>
                              <a:pt x="8666" y="23360"/>
                            </a:lnTo>
                            <a:lnTo>
                              <a:pt x="8666" y="23235"/>
                            </a:lnTo>
                            <a:lnTo>
                              <a:pt x="8164" y="22984"/>
                            </a:lnTo>
                            <a:lnTo>
                              <a:pt x="8038" y="22984"/>
                            </a:lnTo>
                            <a:lnTo>
                              <a:pt x="7410" y="22607"/>
                            </a:lnTo>
                            <a:lnTo>
                              <a:pt x="7285" y="22481"/>
                            </a:lnTo>
                            <a:lnTo>
                              <a:pt x="7285" y="22481"/>
                            </a:lnTo>
                            <a:lnTo>
                              <a:pt x="6657" y="22105"/>
                            </a:lnTo>
                            <a:lnTo>
                              <a:pt x="6531" y="22105"/>
                            </a:lnTo>
                            <a:lnTo>
                              <a:pt x="6154" y="21853"/>
                            </a:lnTo>
                            <a:lnTo>
                              <a:pt x="6028" y="21728"/>
                            </a:lnTo>
                            <a:lnTo>
                              <a:pt x="5526" y="21477"/>
                            </a:lnTo>
                            <a:lnTo>
                              <a:pt x="5526" y="21477"/>
                            </a:lnTo>
                            <a:lnTo>
                              <a:pt x="4647" y="20974"/>
                            </a:lnTo>
                            <a:lnTo>
                              <a:pt x="4396" y="20849"/>
                            </a:lnTo>
                            <a:lnTo>
                              <a:pt x="3768" y="20472"/>
                            </a:lnTo>
                            <a:lnTo>
                              <a:pt x="3642" y="20346"/>
                            </a:lnTo>
                            <a:lnTo>
                              <a:pt x="3391" y="20221"/>
                            </a:lnTo>
                            <a:lnTo>
                              <a:pt x="3391" y="20221"/>
                            </a:lnTo>
                            <a:lnTo>
                              <a:pt x="2763" y="19844"/>
                            </a:lnTo>
                            <a:lnTo>
                              <a:pt x="2763" y="19844"/>
                            </a:lnTo>
                            <a:lnTo>
                              <a:pt x="2638" y="19844"/>
                            </a:lnTo>
                            <a:lnTo>
                              <a:pt x="2009" y="19467"/>
                            </a:lnTo>
                            <a:lnTo>
                              <a:pt x="2009" y="19467"/>
                            </a:lnTo>
                            <a:lnTo>
                              <a:pt x="1633" y="19216"/>
                            </a:lnTo>
                            <a:lnTo>
                              <a:pt x="1381" y="19090"/>
                            </a:lnTo>
                            <a:lnTo>
                              <a:pt x="0" y="18211"/>
                            </a:lnTo>
                            <a:lnTo>
                              <a:pt x="0" y="16578"/>
                            </a:lnTo>
                            <a:lnTo>
                              <a:pt x="31524" y="0"/>
                            </a:lnTo>
                            <a:lnTo>
                              <a:pt x="32278" y="502"/>
                            </a:lnTo>
                            <a:lnTo>
                              <a:pt x="32404" y="628"/>
                            </a:lnTo>
                            <a:lnTo>
                              <a:pt x="33408" y="1130"/>
                            </a:lnTo>
                            <a:lnTo>
                              <a:pt x="33659" y="1256"/>
                            </a:lnTo>
                            <a:lnTo>
                              <a:pt x="34539" y="1758"/>
                            </a:lnTo>
                            <a:lnTo>
                              <a:pt x="34790" y="1884"/>
                            </a:lnTo>
                            <a:lnTo>
                              <a:pt x="35166" y="2135"/>
                            </a:lnTo>
                            <a:lnTo>
                              <a:pt x="35166" y="2135"/>
                            </a:lnTo>
                            <a:lnTo>
                              <a:pt x="35166" y="2135"/>
                            </a:lnTo>
                            <a:lnTo>
                              <a:pt x="36046" y="2637"/>
                            </a:lnTo>
                            <a:lnTo>
                              <a:pt x="36297" y="2763"/>
                            </a:lnTo>
                            <a:lnTo>
                              <a:pt x="36799" y="3140"/>
                            </a:lnTo>
                            <a:lnTo>
                              <a:pt x="36925" y="3140"/>
                            </a:lnTo>
                            <a:lnTo>
                              <a:pt x="37804" y="3642"/>
                            </a:lnTo>
                            <a:lnTo>
                              <a:pt x="37930" y="3768"/>
                            </a:lnTo>
                            <a:lnTo>
                              <a:pt x="38181" y="3893"/>
                            </a:lnTo>
                            <a:lnTo>
                              <a:pt x="38306" y="3893"/>
                            </a:lnTo>
                            <a:lnTo>
                              <a:pt x="38809" y="4270"/>
                            </a:lnTo>
                            <a:lnTo>
                              <a:pt x="38934" y="4270"/>
                            </a:lnTo>
                            <a:lnTo>
                              <a:pt x="39186" y="4521"/>
                            </a:lnTo>
                            <a:lnTo>
                              <a:pt x="39311" y="4521"/>
                            </a:lnTo>
                            <a:lnTo>
                              <a:pt x="39688" y="4772"/>
                            </a:lnTo>
                            <a:lnTo>
                              <a:pt x="39813" y="4772"/>
                            </a:lnTo>
                            <a:lnTo>
                              <a:pt x="40316" y="5149"/>
                            </a:lnTo>
                            <a:lnTo>
                              <a:pt x="40567" y="5275"/>
                            </a:lnTo>
                            <a:lnTo>
                              <a:pt x="40693" y="5400"/>
                            </a:lnTo>
                            <a:lnTo>
                              <a:pt x="40693" y="5400"/>
                            </a:lnTo>
                            <a:lnTo>
                              <a:pt x="40818" y="5400"/>
                            </a:lnTo>
                            <a:lnTo>
                              <a:pt x="41195" y="5652"/>
                            </a:lnTo>
                            <a:lnTo>
                              <a:pt x="41320" y="5777"/>
                            </a:lnTo>
                            <a:lnTo>
                              <a:pt x="41572" y="5903"/>
                            </a:lnTo>
                            <a:lnTo>
                              <a:pt x="41572" y="5903"/>
                            </a:lnTo>
                            <a:lnTo>
                              <a:pt x="41698" y="5903"/>
                            </a:lnTo>
                            <a:lnTo>
                              <a:pt x="41949" y="6028"/>
                            </a:lnTo>
                            <a:lnTo>
                              <a:pt x="42074" y="6154"/>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69" name="Freeform: Shape 4168">
                        <a:extLst>
                          <a:ext uri="{FF2B5EF4-FFF2-40B4-BE49-F238E27FC236}">
                            <a16:creationId xmlns:a16="http://schemas.microsoft.com/office/drawing/2014/main" id="{71E8E414-91C0-4E80-86D9-C8E77BF4525F}"/>
                          </a:ext>
                        </a:extLst>
                      </p:cNvPr>
                      <p:cNvSpPr/>
                      <p:nvPr/>
                    </p:nvSpPr>
                    <p:spPr>
                      <a:xfrm>
                        <a:off x="7245442" y="3845813"/>
                        <a:ext cx="43832" cy="25244"/>
                      </a:xfrm>
                      <a:custGeom>
                        <a:avLst/>
                        <a:gdLst>
                          <a:gd name="connsiteX0" fmla="*/ 43832 w 43832"/>
                          <a:gd name="connsiteY0" fmla="*/ 7033 h 25244"/>
                          <a:gd name="connsiteX1" fmla="*/ 42074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9060 w 43832"/>
                          <a:gd name="connsiteY5" fmla="*/ 9922 h 25244"/>
                          <a:gd name="connsiteX6" fmla="*/ 38432 w 43832"/>
                          <a:gd name="connsiteY6" fmla="*/ 10173 h 25244"/>
                          <a:gd name="connsiteX7" fmla="*/ 38306 w 43832"/>
                          <a:gd name="connsiteY7" fmla="*/ 10299 h 25244"/>
                          <a:gd name="connsiteX8" fmla="*/ 37553 w 43832"/>
                          <a:gd name="connsiteY8" fmla="*/ 10675 h 25244"/>
                          <a:gd name="connsiteX9" fmla="*/ 28133 w 43832"/>
                          <a:gd name="connsiteY9" fmla="*/ 16202 h 25244"/>
                          <a:gd name="connsiteX10" fmla="*/ 27631 w 43832"/>
                          <a:gd name="connsiteY10" fmla="*/ 16453 h 25244"/>
                          <a:gd name="connsiteX11" fmla="*/ 26626 w 43832"/>
                          <a:gd name="connsiteY11" fmla="*/ 17081 h 25244"/>
                          <a:gd name="connsiteX12" fmla="*/ 26124 w 43832"/>
                          <a:gd name="connsiteY12" fmla="*/ 17332 h 25244"/>
                          <a:gd name="connsiteX13" fmla="*/ 25998 w 43832"/>
                          <a:gd name="connsiteY13" fmla="*/ 17458 h 25244"/>
                          <a:gd name="connsiteX14" fmla="*/ 25998 w 43832"/>
                          <a:gd name="connsiteY14" fmla="*/ 17458 h 25244"/>
                          <a:gd name="connsiteX15" fmla="*/ 25747 w 43832"/>
                          <a:gd name="connsiteY15" fmla="*/ 17583 h 25244"/>
                          <a:gd name="connsiteX16" fmla="*/ 24240 w 43832"/>
                          <a:gd name="connsiteY16" fmla="*/ 18337 h 25244"/>
                          <a:gd name="connsiteX17" fmla="*/ 24240 w 43832"/>
                          <a:gd name="connsiteY17" fmla="*/ 18337 h 25244"/>
                          <a:gd name="connsiteX18" fmla="*/ 23988 w 43832"/>
                          <a:gd name="connsiteY18" fmla="*/ 18588 h 25244"/>
                          <a:gd name="connsiteX19" fmla="*/ 17584 w 43832"/>
                          <a:gd name="connsiteY19" fmla="*/ 22230 h 25244"/>
                          <a:gd name="connsiteX20" fmla="*/ 17206 w 43832"/>
                          <a:gd name="connsiteY20" fmla="*/ 22481 h 25244"/>
                          <a:gd name="connsiteX21" fmla="*/ 17206 w 43832"/>
                          <a:gd name="connsiteY21" fmla="*/ 22481 h 25244"/>
                          <a:gd name="connsiteX22" fmla="*/ 12308 w 43832"/>
                          <a:gd name="connsiteY22" fmla="*/ 25244 h 25244"/>
                          <a:gd name="connsiteX23" fmla="*/ 12308 w 43832"/>
                          <a:gd name="connsiteY23" fmla="*/ 25244 h 25244"/>
                          <a:gd name="connsiteX24" fmla="*/ 12183 w 43832"/>
                          <a:gd name="connsiteY24" fmla="*/ 25244 h 25244"/>
                          <a:gd name="connsiteX25" fmla="*/ 11806 w 43832"/>
                          <a:gd name="connsiteY25" fmla="*/ 24993 h 25244"/>
                          <a:gd name="connsiteX26" fmla="*/ 11806 w 43832"/>
                          <a:gd name="connsiteY26" fmla="*/ 24993 h 25244"/>
                          <a:gd name="connsiteX27" fmla="*/ 11304 w 43832"/>
                          <a:gd name="connsiteY27" fmla="*/ 24742 h 25244"/>
                          <a:gd name="connsiteX28" fmla="*/ 11178 w 43832"/>
                          <a:gd name="connsiteY28" fmla="*/ 24616 h 25244"/>
                          <a:gd name="connsiteX29" fmla="*/ 10173 w 43832"/>
                          <a:gd name="connsiteY29" fmla="*/ 23989 h 25244"/>
                          <a:gd name="connsiteX30" fmla="*/ 10173 w 43832"/>
                          <a:gd name="connsiteY30" fmla="*/ 23989 h 25244"/>
                          <a:gd name="connsiteX31" fmla="*/ 9545 w 43832"/>
                          <a:gd name="connsiteY31" fmla="*/ 23612 h 25244"/>
                          <a:gd name="connsiteX32" fmla="*/ 9294 w 43832"/>
                          <a:gd name="connsiteY32" fmla="*/ 23486 h 25244"/>
                          <a:gd name="connsiteX33" fmla="*/ 8666 w 43832"/>
                          <a:gd name="connsiteY33" fmla="*/ 23235 h 25244"/>
                          <a:gd name="connsiteX34" fmla="*/ 8666 w 43832"/>
                          <a:gd name="connsiteY34" fmla="*/ 23109 h 25244"/>
                          <a:gd name="connsiteX35" fmla="*/ 8164 w 43832"/>
                          <a:gd name="connsiteY35" fmla="*/ 22858 h 25244"/>
                          <a:gd name="connsiteX36" fmla="*/ 8038 w 43832"/>
                          <a:gd name="connsiteY36" fmla="*/ 22858 h 25244"/>
                          <a:gd name="connsiteX37" fmla="*/ 7410 w 43832"/>
                          <a:gd name="connsiteY37" fmla="*/ 22481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728 h 25244"/>
                          <a:gd name="connsiteX44" fmla="*/ 5526 w 43832"/>
                          <a:gd name="connsiteY44" fmla="*/ 21351 h 25244"/>
                          <a:gd name="connsiteX45" fmla="*/ 5526 w 43832"/>
                          <a:gd name="connsiteY45" fmla="*/ 21351 h 25244"/>
                          <a:gd name="connsiteX46" fmla="*/ 4647 w 43832"/>
                          <a:gd name="connsiteY46" fmla="*/ 20849 h 25244"/>
                          <a:gd name="connsiteX47" fmla="*/ 4396 w 43832"/>
                          <a:gd name="connsiteY47" fmla="*/ 20723 h 25244"/>
                          <a:gd name="connsiteX48" fmla="*/ 3768 w 43832"/>
                          <a:gd name="connsiteY48" fmla="*/ 20346 h 25244"/>
                          <a:gd name="connsiteX49" fmla="*/ 3642 w 43832"/>
                          <a:gd name="connsiteY49" fmla="*/ 20346 h 25244"/>
                          <a:gd name="connsiteX50" fmla="*/ 3391 w 43832"/>
                          <a:gd name="connsiteY50" fmla="*/ 20095 h 25244"/>
                          <a:gd name="connsiteX51" fmla="*/ 3391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09 w 43832"/>
                          <a:gd name="connsiteY55" fmla="*/ 19342 h 25244"/>
                          <a:gd name="connsiteX56" fmla="*/ 2009 w 43832"/>
                          <a:gd name="connsiteY56" fmla="*/ 19342 h 25244"/>
                          <a:gd name="connsiteX57" fmla="*/ 1633 w 43832"/>
                          <a:gd name="connsiteY57" fmla="*/ 19090 h 25244"/>
                          <a:gd name="connsiteX58" fmla="*/ 1381 w 43832"/>
                          <a:gd name="connsiteY58" fmla="*/ 18965 h 25244"/>
                          <a:gd name="connsiteX59" fmla="*/ 0 w 43832"/>
                          <a:gd name="connsiteY59" fmla="*/ 18211 h 25244"/>
                          <a:gd name="connsiteX60" fmla="*/ 4396 w 43832"/>
                          <a:gd name="connsiteY60" fmla="*/ 15574 h 25244"/>
                          <a:gd name="connsiteX61" fmla="*/ 4396 w 43832"/>
                          <a:gd name="connsiteY61" fmla="*/ 15574 h 25244"/>
                          <a:gd name="connsiteX62" fmla="*/ 4521 w 43832"/>
                          <a:gd name="connsiteY62" fmla="*/ 15574 h 25244"/>
                          <a:gd name="connsiteX63" fmla="*/ 4647 w 43832"/>
                          <a:gd name="connsiteY63" fmla="*/ 15574 h 25244"/>
                          <a:gd name="connsiteX64" fmla="*/ 4898 w 43832"/>
                          <a:gd name="connsiteY64" fmla="*/ 15323 h 25244"/>
                          <a:gd name="connsiteX65" fmla="*/ 4898 w 43832"/>
                          <a:gd name="connsiteY65" fmla="*/ 15323 h 25244"/>
                          <a:gd name="connsiteX66" fmla="*/ 5024 w 43832"/>
                          <a:gd name="connsiteY66" fmla="*/ 15323 h 25244"/>
                          <a:gd name="connsiteX67" fmla="*/ 5024 w 43832"/>
                          <a:gd name="connsiteY67" fmla="*/ 15197 h 25244"/>
                          <a:gd name="connsiteX68" fmla="*/ 17584 w 43832"/>
                          <a:gd name="connsiteY68" fmla="*/ 8038 h 25244"/>
                          <a:gd name="connsiteX69" fmla="*/ 17834 w 43832"/>
                          <a:gd name="connsiteY69" fmla="*/ 7913 h 25244"/>
                          <a:gd name="connsiteX70" fmla="*/ 18211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8 w 43832"/>
                          <a:gd name="connsiteY75" fmla="*/ 1005 h 25244"/>
                          <a:gd name="connsiteX76" fmla="*/ 33659 w 43832"/>
                          <a:gd name="connsiteY76" fmla="*/ 1256 h 25244"/>
                          <a:gd name="connsiteX77" fmla="*/ 34539 w 43832"/>
                          <a:gd name="connsiteY77" fmla="*/ 1758 h 25244"/>
                          <a:gd name="connsiteX78" fmla="*/ 34790 w 43832"/>
                          <a:gd name="connsiteY78" fmla="*/ 1758 h 25244"/>
                          <a:gd name="connsiteX79" fmla="*/ 35166 w 43832"/>
                          <a:gd name="connsiteY79" fmla="*/ 2135 h 25244"/>
                          <a:gd name="connsiteX80" fmla="*/ 35166 w 43832"/>
                          <a:gd name="connsiteY80" fmla="*/ 2135 h 25244"/>
                          <a:gd name="connsiteX81" fmla="*/ 36046 w 43832"/>
                          <a:gd name="connsiteY81" fmla="*/ 2512 h 25244"/>
                          <a:gd name="connsiteX82" fmla="*/ 36297 w 43832"/>
                          <a:gd name="connsiteY82" fmla="*/ 2637 h 25244"/>
                          <a:gd name="connsiteX83" fmla="*/ 36799 w 43832"/>
                          <a:gd name="connsiteY83" fmla="*/ 3014 h 25244"/>
                          <a:gd name="connsiteX84" fmla="*/ 36925 w 43832"/>
                          <a:gd name="connsiteY84" fmla="*/ 3014 h 25244"/>
                          <a:gd name="connsiteX85" fmla="*/ 37804 w 43832"/>
                          <a:gd name="connsiteY85" fmla="*/ 3517 h 25244"/>
                          <a:gd name="connsiteX86" fmla="*/ 37930 w 43832"/>
                          <a:gd name="connsiteY86" fmla="*/ 3642 h 25244"/>
                          <a:gd name="connsiteX87" fmla="*/ 38306 w 43832"/>
                          <a:gd name="connsiteY87" fmla="*/ 3893 h 25244"/>
                          <a:gd name="connsiteX88" fmla="*/ 38809 w 43832"/>
                          <a:gd name="connsiteY88" fmla="*/ 4145 h 25244"/>
                          <a:gd name="connsiteX89" fmla="*/ 38934 w 43832"/>
                          <a:gd name="connsiteY89" fmla="*/ 4270 h 25244"/>
                          <a:gd name="connsiteX90" fmla="*/ 39186 w 43832"/>
                          <a:gd name="connsiteY90" fmla="*/ 4396 h 25244"/>
                          <a:gd name="connsiteX91" fmla="*/ 39311 w 43832"/>
                          <a:gd name="connsiteY91" fmla="*/ 4396 h 25244"/>
                          <a:gd name="connsiteX92" fmla="*/ 39688 w 43832"/>
                          <a:gd name="connsiteY92" fmla="*/ 4647 h 25244"/>
                          <a:gd name="connsiteX93" fmla="*/ 39813 w 43832"/>
                          <a:gd name="connsiteY93" fmla="*/ 4773 h 25244"/>
                          <a:gd name="connsiteX94" fmla="*/ 40316 w 43832"/>
                          <a:gd name="connsiteY94" fmla="*/ 5024 h 25244"/>
                          <a:gd name="connsiteX95" fmla="*/ 40567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949 w 43832"/>
                          <a:gd name="connsiteY104" fmla="*/ 5903 h 25244"/>
                          <a:gd name="connsiteX105" fmla="*/ 42074 w 43832"/>
                          <a:gd name="connsiteY105" fmla="*/ 6028 h 25244"/>
                          <a:gd name="connsiteX106" fmla="*/ 42451 w 43832"/>
                          <a:gd name="connsiteY106" fmla="*/ 6280 h 25244"/>
                          <a:gd name="connsiteX107" fmla="*/ 42577 w 43832"/>
                          <a:gd name="connsiteY107" fmla="*/ 6280 h 25244"/>
                          <a:gd name="connsiteX108" fmla="*/ 42827 w 43832"/>
                          <a:gd name="connsiteY108" fmla="*/ 6531 h 25244"/>
                          <a:gd name="connsiteX109" fmla="*/ 42953 w 43832"/>
                          <a:gd name="connsiteY109" fmla="*/ 6531 h 25244"/>
                          <a:gd name="connsiteX110" fmla="*/ 43456 w 43832"/>
                          <a:gd name="connsiteY110" fmla="*/ 6782 h 25244"/>
                          <a:gd name="connsiteX111" fmla="*/ 43456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4" y="8038"/>
                            </a:lnTo>
                            <a:lnTo>
                              <a:pt x="41823" y="8164"/>
                            </a:lnTo>
                            <a:lnTo>
                              <a:pt x="41823" y="8164"/>
                            </a:lnTo>
                            <a:lnTo>
                              <a:pt x="39060" y="9796"/>
                            </a:lnTo>
                            <a:lnTo>
                              <a:pt x="39060" y="9922"/>
                            </a:lnTo>
                            <a:lnTo>
                              <a:pt x="38432" y="10173"/>
                            </a:lnTo>
                            <a:lnTo>
                              <a:pt x="38306" y="10299"/>
                            </a:lnTo>
                            <a:lnTo>
                              <a:pt x="37553" y="10675"/>
                            </a:lnTo>
                            <a:lnTo>
                              <a:pt x="28133" y="16202"/>
                            </a:lnTo>
                            <a:lnTo>
                              <a:pt x="27631" y="16453"/>
                            </a:lnTo>
                            <a:lnTo>
                              <a:pt x="26626" y="17081"/>
                            </a:lnTo>
                            <a:lnTo>
                              <a:pt x="26124" y="17332"/>
                            </a:lnTo>
                            <a:lnTo>
                              <a:pt x="25998" y="17458"/>
                            </a:lnTo>
                            <a:lnTo>
                              <a:pt x="25998" y="17458"/>
                            </a:lnTo>
                            <a:lnTo>
                              <a:pt x="25747" y="17583"/>
                            </a:lnTo>
                            <a:lnTo>
                              <a:pt x="24240" y="18337"/>
                            </a:lnTo>
                            <a:lnTo>
                              <a:pt x="24240" y="18337"/>
                            </a:lnTo>
                            <a:lnTo>
                              <a:pt x="23988" y="18588"/>
                            </a:lnTo>
                            <a:lnTo>
                              <a:pt x="17584" y="22230"/>
                            </a:lnTo>
                            <a:lnTo>
                              <a:pt x="17206" y="22481"/>
                            </a:lnTo>
                            <a:lnTo>
                              <a:pt x="17206" y="22481"/>
                            </a:lnTo>
                            <a:lnTo>
                              <a:pt x="12308" y="25244"/>
                            </a:lnTo>
                            <a:lnTo>
                              <a:pt x="12308" y="25244"/>
                            </a:lnTo>
                            <a:lnTo>
                              <a:pt x="12183" y="25244"/>
                            </a:lnTo>
                            <a:lnTo>
                              <a:pt x="11806" y="24993"/>
                            </a:lnTo>
                            <a:lnTo>
                              <a:pt x="11806" y="24993"/>
                            </a:lnTo>
                            <a:lnTo>
                              <a:pt x="11304" y="24742"/>
                            </a:lnTo>
                            <a:lnTo>
                              <a:pt x="11178" y="24616"/>
                            </a:lnTo>
                            <a:lnTo>
                              <a:pt x="10173" y="23989"/>
                            </a:lnTo>
                            <a:lnTo>
                              <a:pt x="10173" y="23989"/>
                            </a:lnTo>
                            <a:lnTo>
                              <a:pt x="9545" y="23612"/>
                            </a:lnTo>
                            <a:lnTo>
                              <a:pt x="9294" y="23486"/>
                            </a:lnTo>
                            <a:lnTo>
                              <a:pt x="8666" y="23235"/>
                            </a:lnTo>
                            <a:lnTo>
                              <a:pt x="8666" y="23109"/>
                            </a:lnTo>
                            <a:lnTo>
                              <a:pt x="8164" y="22858"/>
                            </a:lnTo>
                            <a:lnTo>
                              <a:pt x="8038" y="22858"/>
                            </a:lnTo>
                            <a:lnTo>
                              <a:pt x="7410" y="22481"/>
                            </a:lnTo>
                            <a:lnTo>
                              <a:pt x="7285" y="22356"/>
                            </a:lnTo>
                            <a:lnTo>
                              <a:pt x="7285" y="22356"/>
                            </a:lnTo>
                            <a:lnTo>
                              <a:pt x="6531" y="21979"/>
                            </a:lnTo>
                            <a:lnTo>
                              <a:pt x="6531" y="21979"/>
                            </a:lnTo>
                            <a:lnTo>
                              <a:pt x="6154" y="21728"/>
                            </a:lnTo>
                            <a:lnTo>
                              <a:pt x="6028" y="21728"/>
                            </a:lnTo>
                            <a:lnTo>
                              <a:pt x="5526" y="21351"/>
                            </a:lnTo>
                            <a:lnTo>
                              <a:pt x="5526" y="21351"/>
                            </a:lnTo>
                            <a:lnTo>
                              <a:pt x="4647" y="20849"/>
                            </a:lnTo>
                            <a:lnTo>
                              <a:pt x="4396" y="20723"/>
                            </a:lnTo>
                            <a:lnTo>
                              <a:pt x="3768" y="20346"/>
                            </a:lnTo>
                            <a:lnTo>
                              <a:pt x="3642" y="20346"/>
                            </a:lnTo>
                            <a:lnTo>
                              <a:pt x="3391" y="20095"/>
                            </a:lnTo>
                            <a:lnTo>
                              <a:pt x="3391" y="20095"/>
                            </a:lnTo>
                            <a:lnTo>
                              <a:pt x="2763" y="19718"/>
                            </a:lnTo>
                            <a:lnTo>
                              <a:pt x="2763" y="19718"/>
                            </a:lnTo>
                            <a:lnTo>
                              <a:pt x="2638" y="19718"/>
                            </a:lnTo>
                            <a:lnTo>
                              <a:pt x="2009" y="19342"/>
                            </a:lnTo>
                            <a:lnTo>
                              <a:pt x="2009" y="19342"/>
                            </a:lnTo>
                            <a:lnTo>
                              <a:pt x="1633" y="19090"/>
                            </a:lnTo>
                            <a:lnTo>
                              <a:pt x="1381" y="18965"/>
                            </a:lnTo>
                            <a:lnTo>
                              <a:pt x="0" y="18211"/>
                            </a:lnTo>
                            <a:lnTo>
                              <a:pt x="4396" y="15574"/>
                            </a:lnTo>
                            <a:lnTo>
                              <a:pt x="4396" y="15574"/>
                            </a:lnTo>
                            <a:lnTo>
                              <a:pt x="4521" y="15574"/>
                            </a:lnTo>
                            <a:lnTo>
                              <a:pt x="4647" y="15574"/>
                            </a:lnTo>
                            <a:lnTo>
                              <a:pt x="4898" y="15323"/>
                            </a:lnTo>
                            <a:lnTo>
                              <a:pt x="4898" y="15323"/>
                            </a:lnTo>
                            <a:lnTo>
                              <a:pt x="5024" y="15323"/>
                            </a:lnTo>
                            <a:lnTo>
                              <a:pt x="5024" y="15197"/>
                            </a:lnTo>
                            <a:lnTo>
                              <a:pt x="17584" y="8038"/>
                            </a:lnTo>
                            <a:lnTo>
                              <a:pt x="17834" y="7913"/>
                            </a:lnTo>
                            <a:lnTo>
                              <a:pt x="18211" y="7661"/>
                            </a:lnTo>
                            <a:lnTo>
                              <a:pt x="18337" y="7536"/>
                            </a:lnTo>
                            <a:lnTo>
                              <a:pt x="31524" y="0"/>
                            </a:lnTo>
                            <a:lnTo>
                              <a:pt x="32278" y="377"/>
                            </a:lnTo>
                            <a:lnTo>
                              <a:pt x="32404" y="502"/>
                            </a:lnTo>
                            <a:lnTo>
                              <a:pt x="33408" y="1005"/>
                            </a:lnTo>
                            <a:lnTo>
                              <a:pt x="33659" y="1256"/>
                            </a:lnTo>
                            <a:lnTo>
                              <a:pt x="34539" y="1758"/>
                            </a:lnTo>
                            <a:lnTo>
                              <a:pt x="34790" y="1758"/>
                            </a:lnTo>
                            <a:lnTo>
                              <a:pt x="35166" y="2135"/>
                            </a:lnTo>
                            <a:lnTo>
                              <a:pt x="35166" y="2135"/>
                            </a:lnTo>
                            <a:lnTo>
                              <a:pt x="36046" y="2512"/>
                            </a:lnTo>
                            <a:lnTo>
                              <a:pt x="36297" y="2637"/>
                            </a:lnTo>
                            <a:lnTo>
                              <a:pt x="36799" y="3014"/>
                            </a:lnTo>
                            <a:lnTo>
                              <a:pt x="36925" y="3014"/>
                            </a:lnTo>
                            <a:lnTo>
                              <a:pt x="37804" y="3517"/>
                            </a:lnTo>
                            <a:lnTo>
                              <a:pt x="37930" y="3642"/>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5903"/>
                            </a:lnTo>
                            <a:lnTo>
                              <a:pt x="42074" y="6028"/>
                            </a:lnTo>
                            <a:lnTo>
                              <a:pt x="42451" y="6280"/>
                            </a:lnTo>
                            <a:lnTo>
                              <a:pt x="42577" y="6280"/>
                            </a:lnTo>
                            <a:lnTo>
                              <a:pt x="42827" y="6531"/>
                            </a:lnTo>
                            <a:lnTo>
                              <a:pt x="42953" y="6531"/>
                            </a:lnTo>
                            <a:lnTo>
                              <a:pt x="43456" y="6782"/>
                            </a:lnTo>
                            <a:lnTo>
                              <a:pt x="43456"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70" name="Freeform: Shape 4169">
                      <a:extLst>
                        <a:ext uri="{FF2B5EF4-FFF2-40B4-BE49-F238E27FC236}">
                          <a16:creationId xmlns:a16="http://schemas.microsoft.com/office/drawing/2014/main" id="{43DF5B27-56C1-4D5B-B8AF-919A7E2C4EFF}"/>
                        </a:ext>
                      </a:extLst>
                    </p:cNvPr>
                    <p:cNvSpPr/>
                    <p:nvPr/>
                  </p:nvSpPr>
                  <p:spPr>
                    <a:xfrm>
                      <a:off x="7245442" y="3864025"/>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71" name="Graphic 4">
                    <a:extLst>
                      <a:ext uri="{FF2B5EF4-FFF2-40B4-BE49-F238E27FC236}">
                        <a16:creationId xmlns:a16="http://schemas.microsoft.com/office/drawing/2014/main" id="{84FB7ED1-A2DF-40A1-A747-5F7CF3F14040}"/>
                      </a:ext>
                    </a:extLst>
                  </p:cNvPr>
                  <p:cNvGrpSpPr/>
                  <p:nvPr/>
                </p:nvGrpSpPr>
                <p:grpSpPr>
                  <a:xfrm>
                    <a:off x="7259508" y="3853726"/>
                    <a:ext cx="43832" cy="27128"/>
                    <a:chOff x="7259508" y="3853726"/>
                    <a:chExt cx="43832" cy="27128"/>
                  </a:xfrm>
                  <a:solidFill>
                    <a:schemeClr val="accent1"/>
                  </a:solidFill>
                </p:grpSpPr>
                <p:grpSp>
                  <p:nvGrpSpPr>
                    <p:cNvPr id="4172" name="Graphic 4">
                      <a:extLst>
                        <a:ext uri="{FF2B5EF4-FFF2-40B4-BE49-F238E27FC236}">
                          <a16:creationId xmlns:a16="http://schemas.microsoft.com/office/drawing/2014/main" id="{84FB7ED1-A2DF-40A1-A747-5F7CF3F14040}"/>
                        </a:ext>
                      </a:extLst>
                    </p:cNvPr>
                    <p:cNvGrpSpPr/>
                    <p:nvPr/>
                  </p:nvGrpSpPr>
                  <p:grpSpPr>
                    <a:xfrm>
                      <a:off x="7259508" y="3853726"/>
                      <a:ext cx="43832" cy="27128"/>
                      <a:chOff x="7259508" y="3853726"/>
                      <a:chExt cx="43832" cy="27128"/>
                    </a:xfrm>
                    <a:solidFill>
                      <a:schemeClr val="accent1"/>
                    </a:solidFill>
                  </p:grpSpPr>
                  <p:sp>
                    <p:nvSpPr>
                      <p:cNvPr id="4173" name="Freeform: Shape 4172">
                        <a:extLst>
                          <a:ext uri="{FF2B5EF4-FFF2-40B4-BE49-F238E27FC236}">
                            <a16:creationId xmlns:a16="http://schemas.microsoft.com/office/drawing/2014/main" id="{BCC41AD7-B1BB-4E52-8FE7-BE91DBD51FF4}"/>
                          </a:ext>
                        </a:extLst>
                      </p:cNvPr>
                      <p:cNvSpPr/>
                      <p:nvPr/>
                    </p:nvSpPr>
                    <p:spPr>
                      <a:xfrm>
                        <a:off x="7259508" y="3855484"/>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299 h 25370"/>
                          <a:gd name="connsiteX8" fmla="*/ 37553 w 43832"/>
                          <a:gd name="connsiteY8" fmla="*/ 10675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332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230 h 25370"/>
                          <a:gd name="connsiteX23" fmla="*/ 17584 w 43832"/>
                          <a:gd name="connsiteY23" fmla="*/ 22230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244 h 25370"/>
                          <a:gd name="connsiteX29" fmla="*/ 11806 w 43832"/>
                          <a:gd name="connsiteY29" fmla="*/ 25119 h 25370"/>
                          <a:gd name="connsiteX30" fmla="*/ 11680 w 43832"/>
                          <a:gd name="connsiteY30" fmla="*/ 24993 h 25370"/>
                          <a:gd name="connsiteX31" fmla="*/ 11680 w 43832"/>
                          <a:gd name="connsiteY31" fmla="*/ 24993 h 25370"/>
                          <a:gd name="connsiteX32" fmla="*/ 11304 w 43832"/>
                          <a:gd name="connsiteY32" fmla="*/ 24742 h 25370"/>
                          <a:gd name="connsiteX33" fmla="*/ 11178 w 43832"/>
                          <a:gd name="connsiteY33" fmla="*/ 24616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481 h 25370"/>
                          <a:gd name="connsiteX43" fmla="*/ 7285 w 43832"/>
                          <a:gd name="connsiteY43" fmla="*/ 22481 h 25370"/>
                          <a:gd name="connsiteX44" fmla="*/ 7285 w 43832"/>
                          <a:gd name="connsiteY44" fmla="*/ 22481 h 25370"/>
                          <a:gd name="connsiteX45" fmla="*/ 6531 w 43832"/>
                          <a:gd name="connsiteY45" fmla="*/ 21979 h 25370"/>
                          <a:gd name="connsiteX46" fmla="*/ 6531 w 43832"/>
                          <a:gd name="connsiteY46" fmla="*/ 21979 h 25370"/>
                          <a:gd name="connsiteX47" fmla="*/ 6154 w 43832"/>
                          <a:gd name="connsiteY47" fmla="*/ 21853 h 25370"/>
                          <a:gd name="connsiteX48" fmla="*/ 6028 w 43832"/>
                          <a:gd name="connsiteY48" fmla="*/ 21728 h 25370"/>
                          <a:gd name="connsiteX49" fmla="*/ 5526 w 43832"/>
                          <a:gd name="connsiteY49" fmla="*/ 21477 h 25370"/>
                          <a:gd name="connsiteX50" fmla="*/ 5400 w 43832"/>
                          <a:gd name="connsiteY50" fmla="*/ 21351 h 25370"/>
                          <a:gd name="connsiteX51" fmla="*/ 4521 w 43832"/>
                          <a:gd name="connsiteY51" fmla="*/ 20849 h 25370"/>
                          <a:gd name="connsiteX52" fmla="*/ 4396 w 43832"/>
                          <a:gd name="connsiteY52" fmla="*/ 20723 h 25370"/>
                          <a:gd name="connsiteX53" fmla="*/ 3642 w 43832"/>
                          <a:gd name="connsiteY53" fmla="*/ 20346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10 w 43832"/>
                          <a:gd name="connsiteY60" fmla="*/ 19467 h 25370"/>
                          <a:gd name="connsiteX61" fmla="*/ 2010 w 43832"/>
                          <a:gd name="connsiteY61" fmla="*/ 19467 h 25370"/>
                          <a:gd name="connsiteX62" fmla="*/ 1507 w 43832"/>
                          <a:gd name="connsiteY62" fmla="*/ 19090 h 25370"/>
                          <a:gd name="connsiteX63" fmla="*/ 1381 w 43832"/>
                          <a:gd name="connsiteY63" fmla="*/ 19090 h 25370"/>
                          <a:gd name="connsiteX64" fmla="*/ 0 w 43832"/>
                          <a:gd name="connsiteY64" fmla="*/ 18211 h 25370"/>
                          <a:gd name="connsiteX65" fmla="*/ 0 w 43832"/>
                          <a:gd name="connsiteY65" fmla="*/ 16453 h 25370"/>
                          <a:gd name="connsiteX66" fmla="*/ 31524 w 43832"/>
                          <a:gd name="connsiteY66" fmla="*/ 0 h 25370"/>
                          <a:gd name="connsiteX67" fmla="*/ 32278 w 43832"/>
                          <a:gd name="connsiteY67" fmla="*/ 377 h 25370"/>
                          <a:gd name="connsiteX68" fmla="*/ 32404 w 43832"/>
                          <a:gd name="connsiteY68" fmla="*/ 502 h 25370"/>
                          <a:gd name="connsiteX69" fmla="*/ 33409 w 43832"/>
                          <a:gd name="connsiteY69" fmla="*/ 1130 h 25370"/>
                          <a:gd name="connsiteX70" fmla="*/ 33659 w 43832"/>
                          <a:gd name="connsiteY70" fmla="*/ 1256 h 25370"/>
                          <a:gd name="connsiteX71" fmla="*/ 34539 w 43832"/>
                          <a:gd name="connsiteY71" fmla="*/ 1758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014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396 h 25370"/>
                          <a:gd name="connsiteX87" fmla="*/ 39311 w 43832"/>
                          <a:gd name="connsiteY87" fmla="*/ 4521 h 25370"/>
                          <a:gd name="connsiteX88" fmla="*/ 39563 w 43832"/>
                          <a:gd name="connsiteY88" fmla="*/ 4647 h 25370"/>
                          <a:gd name="connsiteX89" fmla="*/ 39813 w 43832"/>
                          <a:gd name="connsiteY89" fmla="*/ 4772 h 25370"/>
                          <a:gd name="connsiteX90" fmla="*/ 40190 w 43832"/>
                          <a:gd name="connsiteY90" fmla="*/ 5024 h 25370"/>
                          <a:gd name="connsiteX91" fmla="*/ 40442 w 43832"/>
                          <a:gd name="connsiteY91" fmla="*/ 5149 h 25370"/>
                          <a:gd name="connsiteX92" fmla="*/ 40693 w 43832"/>
                          <a:gd name="connsiteY92" fmla="*/ 5275 h 25370"/>
                          <a:gd name="connsiteX93" fmla="*/ 40693 w 43832"/>
                          <a:gd name="connsiteY93" fmla="*/ 5275 h 25370"/>
                          <a:gd name="connsiteX94" fmla="*/ 40818 w 43832"/>
                          <a:gd name="connsiteY94" fmla="*/ 5400 h 25370"/>
                          <a:gd name="connsiteX95" fmla="*/ 41195 w 43832"/>
                          <a:gd name="connsiteY95" fmla="*/ 5526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823 w 43832"/>
                          <a:gd name="connsiteY100" fmla="*/ 6028 h 25370"/>
                          <a:gd name="connsiteX101" fmla="*/ 41949 w 43832"/>
                          <a:gd name="connsiteY101" fmla="*/ 6028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299"/>
                            </a:lnTo>
                            <a:lnTo>
                              <a:pt x="37553" y="10675"/>
                            </a:lnTo>
                            <a:lnTo>
                              <a:pt x="28133" y="16202"/>
                            </a:lnTo>
                            <a:lnTo>
                              <a:pt x="28133" y="16202"/>
                            </a:lnTo>
                            <a:lnTo>
                              <a:pt x="27631" y="16453"/>
                            </a:lnTo>
                            <a:lnTo>
                              <a:pt x="26500" y="17081"/>
                            </a:lnTo>
                            <a:lnTo>
                              <a:pt x="26500" y="17081"/>
                            </a:lnTo>
                            <a:lnTo>
                              <a:pt x="25998" y="17332"/>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1"/>
                            </a:lnTo>
                            <a:lnTo>
                              <a:pt x="17206" y="22481"/>
                            </a:lnTo>
                            <a:lnTo>
                              <a:pt x="12308" y="25370"/>
                            </a:lnTo>
                            <a:lnTo>
                              <a:pt x="12183" y="25370"/>
                            </a:lnTo>
                            <a:lnTo>
                              <a:pt x="12183" y="25244"/>
                            </a:lnTo>
                            <a:lnTo>
                              <a:pt x="11806" y="25119"/>
                            </a:lnTo>
                            <a:lnTo>
                              <a:pt x="11680" y="24993"/>
                            </a:lnTo>
                            <a:lnTo>
                              <a:pt x="11680" y="24993"/>
                            </a:lnTo>
                            <a:lnTo>
                              <a:pt x="11304" y="24742"/>
                            </a:lnTo>
                            <a:lnTo>
                              <a:pt x="11178" y="24616"/>
                            </a:lnTo>
                            <a:lnTo>
                              <a:pt x="10173" y="24114"/>
                            </a:lnTo>
                            <a:lnTo>
                              <a:pt x="10047" y="24114"/>
                            </a:lnTo>
                            <a:lnTo>
                              <a:pt x="9420" y="23737"/>
                            </a:lnTo>
                            <a:lnTo>
                              <a:pt x="9168" y="23612"/>
                            </a:lnTo>
                            <a:lnTo>
                              <a:pt x="8666" y="23235"/>
                            </a:lnTo>
                            <a:lnTo>
                              <a:pt x="8540" y="23235"/>
                            </a:lnTo>
                            <a:lnTo>
                              <a:pt x="8164" y="22984"/>
                            </a:lnTo>
                            <a:lnTo>
                              <a:pt x="8038" y="22858"/>
                            </a:lnTo>
                            <a:lnTo>
                              <a:pt x="7410" y="22481"/>
                            </a:lnTo>
                            <a:lnTo>
                              <a:pt x="7285" y="22481"/>
                            </a:lnTo>
                            <a:lnTo>
                              <a:pt x="7285" y="22481"/>
                            </a:lnTo>
                            <a:lnTo>
                              <a:pt x="6531" y="21979"/>
                            </a:lnTo>
                            <a:lnTo>
                              <a:pt x="6531" y="21979"/>
                            </a:lnTo>
                            <a:lnTo>
                              <a:pt x="6154" y="21853"/>
                            </a:lnTo>
                            <a:lnTo>
                              <a:pt x="6028" y="21728"/>
                            </a:lnTo>
                            <a:lnTo>
                              <a:pt x="5526" y="21477"/>
                            </a:lnTo>
                            <a:lnTo>
                              <a:pt x="5400" y="21351"/>
                            </a:lnTo>
                            <a:lnTo>
                              <a:pt x="4521" y="20849"/>
                            </a:lnTo>
                            <a:lnTo>
                              <a:pt x="4396" y="20723"/>
                            </a:lnTo>
                            <a:lnTo>
                              <a:pt x="3642" y="20346"/>
                            </a:lnTo>
                            <a:lnTo>
                              <a:pt x="3642" y="20346"/>
                            </a:lnTo>
                            <a:lnTo>
                              <a:pt x="3391" y="20221"/>
                            </a:lnTo>
                            <a:lnTo>
                              <a:pt x="3266" y="20221"/>
                            </a:lnTo>
                            <a:lnTo>
                              <a:pt x="2763" y="19844"/>
                            </a:lnTo>
                            <a:lnTo>
                              <a:pt x="2763" y="19844"/>
                            </a:lnTo>
                            <a:lnTo>
                              <a:pt x="2638" y="19718"/>
                            </a:lnTo>
                            <a:lnTo>
                              <a:pt x="2010" y="19467"/>
                            </a:lnTo>
                            <a:lnTo>
                              <a:pt x="2010" y="19467"/>
                            </a:lnTo>
                            <a:lnTo>
                              <a:pt x="1507" y="19090"/>
                            </a:lnTo>
                            <a:lnTo>
                              <a:pt x="1381" y="19090"/>
                            </a:lnTo>
                            <a:lnTo>
                              <a:pt x="0" y="18211"/>
                            </a:lnTo>
                            <a:lnTo>
                              <a:pt x="0" y="16453"/>
                            </a:lnTo>
                            <a:lnTo>
                              <a:pt x="31524" y="0"/>
                            </a:lnTo>
                            <a:lnTo>
                              <a:pt x="32278" y="377"/>
                            </a:lnTo>
                            <a:lnTo>
                              <a:pt x="32404" y="502"/>
                            </a:lnTo>
                            <a:lnTo>
                              <a:pt x="33409" y="1130"/>
                            </a:lnTo>
                            <a:lnTo>
                              <a:pt x="33659" y="1256"/>
                            </a:lnTo>
                            <a:lnTo>
                              <a:pt x="34539" y="1758"/>
                            </a:lnTo>
                            <a:lnTo>
                              <a:pt x="34664" y="1884"/>
                            </a:lnTo>
                            <a:lnTo>
                              <a:pt x="35166" y="2135"/>
                            </a:lnTo>
                            <a:lnTo>
                              <a:pt x="35166" y="2135"/>
                            </a:lnTo>
                            <a:lnTo>
                              <a:pt x="35166" y="2135"/>
                            </a:lnTo>
                            <a:lnTo>
                              <a:pt x="36046" y="2637"/>
                            </a:lnTo>
                            <a:lnTo>
                              <a:pt x="36171" y="2763"/>
                            </a:lnTo>
                            <a:lnTo>
                              <a:pt x="36799" y="3014"/>
                            </a:lnTo>
                            <a:lnTo>
                              <a:pt x="36799" y="3140"/>
                            </a:lnTo>
                            <a:lnTo>
                              <a:pt x="37804" y="3642"/>
                            </a:lnTo>
                            <a:lnTo>
                              <a:pt x="37930" y="3768"/>
                            </a:lnTo>
                            <a:lnTo>
                              <a:pt x="38181" y="3893"/>
                            </a:lnTo>
                            <a:lnTo>
                              <a:pt x="38181" y="3893"/>
                            </a:lnTo>
                            <a:lnTo>
                              <a:pt x="38809" y="4270"/>
                            </a:lnTo>
                            <a:lnTo>
                              <a:pt x="38935" y="4270"/>
                            </a:lnTo>
                            <a:lnTo>
                              <a:pt x="39186" y="4396"/>
                            </a:lnTo>
                            <a:lnTo>
                              <a:pt x="39311" y="4521"/>
                            </a:lnTo>
                            <a:lnTo>
                              <a:pt x="39563" y="4647"/>
                            </a:lnTo>
                            <a:lnTo>
                              <a:pt x="39813" y="4772"/>
                            </a:lnTo>
                            <a:lnTo>
                              <a:pt x="40190" y="5024"/>
                            </a:lnTo>
                            <a:lnTo>
                              <a:pt x="40442" y="5149"/>
                            </a:lnTo>
                            <a:lnTo>
                              <a:pt x="40693" y="5275"/>
                            </a:lnTo>
                            <a:lnTo>
                              <a:pt x="40693" y="5275"/>
                            </a:lnTo>
                            <a:lnTo>
                              <a:pt x="40818" y="5400"/>
                            </a:lnTo>
                            <a:lnTo>
                              <a:pt x="41195" y="5526"/>
                            </a:lnTo>
                            <a:lnTo>
                              <a:pt x="41320" y="5652"/>
                            </a:lnTo>
                            <a:lnTo>
                              <a:pt x="41572" y="5777"/>
                            </a:lnTo>
                            <a:lnTo>
                              <a:pt x="41572" y="5777"/>
                            </a:lnTo>
                            <a:lnTo>
                              <a:pt x="41698" y="5903"/>
                            </a:lnTo>
                            <a:lnTo>
                              <a:pt x="41823" y="6028"/>
                            </a:lnTo>
                            <a:lnTo>
                              <a:pt x="41949" y="6028"/>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74" name="Freeform: Shape 4173">
                        <a:extLst>
                          <a:ext uri="{FF2B5EF4-FFF2-40B4-BE49-F238E27FC236}">
                            <a16:creationId xmlns:a16="http://schemas.microsoft.com/office/drawing/2014/main" id="{156AE423-F348-4ABA-A9F2-84BA9BB7B518}"/>
                          </a:ext>
                        </a:extLst>
                      </p:cNvPr>
                      <p:cNvSpPr/>
                      <p:nvPr/>
                    </p:nvSpPr>
                    <p:spPr>
                      <a:xfrm>
                        <a:off x="7259508" y="3853726"/>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7631 w 43832"/>
                          <a:gd name="connsiteY10" fmla="*/ 16453 h 25370"/>
                          <a:gd name="connsiteX11" fmla="*/ 26500 w 43832"/>
                          <a:gd name="connsiteY11" fmla="*/ 17081 h 25370"/>
                          <a:gd name="connsiteX12" fmla="*/ 25998 w 43832"/>
                          <a:gd name="connsiteY12" fmla="*/ 17458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9 w 43832"/>
                          <a:gd name="connsiteY18" fmla="*/ 18588 h 25370"/>
                          <a:gd name="connsiteX19" fmla="*/ 17584 w 43832"/>
                          <a:gd name="connsiteY19" fmla="*/ 22356 h 25370"/>
                          <a:gd name="connsiteX20" fmla="*/ 17206 w 43832"/>
                          <a:gd name="connsiteY20" fmla="*/ 22481 h 25370"/>
                          <a:gd name="connsiteX21" fmla="*/ 17206 w 43832"/>
                          <a:gd name="connsiteY21" fmla="*/ 22481 h 25370"/>
                          <a:gd name="connsiteX22" fmla="*/ 12308 w 43832"/>
                          <a:gd name="connsiteY22" fmla="*/ 25370 h 25370"/>
                          <a:gd name="connsiteX23" fmla="*/ 12183 w 43832"/>
                          <a:gd name="connsiteY23" fmla="*/ 25370 h 25370"/>
                          <a:gd name="connsiteX24" fmla="*/ 12183 w 43832"/>
                          <a:gd name="connsiteY24" fmla="*/ 25244 h 25370"/>
                          <a:gd name="connsiteX25" fmla="*/ 11806 w 43832"/>
                          <a:gd name="connsiteY25" fmla="*/ 25119 h 25370"/>
                          <a:gd name="connsiteX26" fmla="*/ 11680 w 43832"/>
                          <a:gd name="connsiteY26" fmla="*/ 24993 h 25370"/>
                          <a:gd name="connsiteX27" fmla="*/ 11304 w 43832"/>
                          <a:gd name="connsiteY27" fmla="*/ 24742 h 25370"/>
                          <a:gd name="connsiteX28" fmla="*/ 11178 w 43832"/>
                          <a:gd name="connsiteY28" fmla="*/ 24742 h 25370"/>
                          <a:gd name="connsiteX29" fmla="*/ 10173 w 43832"/>
                          <a:gd name="connsiteY29" fmla="*/ 24114 h 25370"/>
                          <a:gd name="connsiteX30" fmla="*/ 10047 w 43832"/>
                          <a:gd name="connsiteY30" fmla="*/ 24114 h 25370"/>
                          <a:gd name="connsiteX31" fmla="*/ 9420 w 43832"/>
                          <a:gd name="connsiteY31" fmla="*/ 23737 h 25370"/>
                          <a:gd name="connsiteX32" fmla="*/ 9168 w 43832"/>
                          <a:gd name="connsiteY32" fmla="*/ 23612 h 25370"/>
                          <a:gd name="connsiteX33" fmla="*/ 8666 w 43832"/>
                          <a:gd name="connsiteY33" fmla="*/ 23235 h 25370"/>
                          <a:gd name="connsiteX34" fmla="*/ 8540 w 43832"/>
                          <a:gd name="connsiteY34" fmla="*/ 23235 h 25370"/>
                          <a:gd name="connsiteX35" fmla="*/ 8164 w 43832"/>
                          <a:gd name="connsiteY35" fmla="*/ 22984 h 25370"/>
                          <a:gd name="connsiteX36" fmla="*/ 8038 w 43832"/>
                          <a:gd name="connsiteY36" fmla="*/ 22858 h 25370"/>
                          <a:gd name="connsiteX37" fmla="*/ 7410 w 43832"/>
                          <a:gd name="connsiteY37" fmla="*/ 22607 h 25370"/>
                          <a:gd name="connsiteX38" fmla="*/ 7285 w 43832"/>
                          <a:gd name="connsiteY38" fmla="*/ 22481 h 25370"/>
                          <a:gd name="connsiteX39" fmla="*/ 7285 w 43832"/>
                          <a:gd name="connsiteY39" fmla="*/ 22481 h 25370"/>
                          <a:gd name="connsiteX40" fmla="*/ 6531 w 43832"/>
                          <a:gd name="connsiteY40" fmla="*/ 22105 h 25370"/>
                          <a:gd name="connsiteX41" fmla="*/ 6531 w 43832"/>
                          <a:gd name="connsiteY41" fmla="*/ 21979 h 25370"/>
                          <a:gd name="connsiteX42" fmla="*/ 6154 w 43832"/>
                          <a:gd name="connsiteY42" fmla="*/ 21853 h 25370"/>
                          <a:gd name="connsiteX43" fmla="*/ 6028 w 43832"/>
                          <a:gd name="connsiteY43" fmla="*/ 21728 h 25370"/>
                          <a:gd name="connsiteX44" fmla="*/ 5526 w 43832"/>
                          <a:gd name="connsiteY44" fmla="*/ 21477 h 25370"/>
                          <a:gd name="connsiteX45" fmla="*/ 5400 w 43832"/>
                          <a:gd name="connsiteY45" fmla="*/ 21477 h 25370"/>
                          <a:gd name="connsiteX46" fmla="*/ 4521 w 43832"/>
                          <a:gd name="connsiteY46" fmla="*/ 20974 h 25370"/>
                          <a:gd name="connsiteX47" fmla="*/ 4396 w 43832"/>
                          <a:gd name="connsiteY47" fmla="*/ 20849 h 25370"/>
                          <a:gd name="connsiteX48" fmla="*/ 3642 w 43832"/>
                          <a:gd name="connsiteY48" fmla="*/ 20472 h 25370"/>
                          <a:gd name="connsiteX49" fmla="*/ 3642 w 43832"/>
                          <a:gd name="connsiteY49" fmla="*/ 20346 h 25370"/>
                          <a:gd name="connsiteX50" fmla="*/ 3391 w 43832"/>
                          <a:gd name="connsiteY50" fmla="*/ 20221 h 25370"/>
                          <a:gd name="connsiteX51" fmla="*/ 3266 w 43832"/>
                          <a:gd name="connsiteY51" fmla="*/ 20221 h 25370"/>
                          <a:gd name="connsiteX52" fmla="*/ 2763 w 43832"/>
                          <a:gd name="connsiteY52" fmla="*/ 19844 h 25370"/>
                          <a:gd name="connsiteX53" fmla="*/ 2763 w 43832"/>
                          <a:gd name="connsiteY53" fmla="*/ 19844 h 25370"/>
                          <a:gd name="connsiteX54" fmla="*/ 2638 w 43832"/>
                          <a:gd name="connsiteY54" fmla="*/ 19718 h 25370"/>
                          <a:gd name="connsiteX55" fmla="*/ 2010 w 43832"/>
                          <a:gd name="connsiteY55" fmla="*/ 19467 h 25370"/>
                          <a:gd name="connsiteX56" fmla="*/ 2010 w 43832"/>
                          <a:gd name="connsiteY56" fmla="*/ 19467 h 25370"/>
                          <a:gd name="connsiteX57" fmla="*/ 1507 w 43832"/>
                          <a:gd name="connsiteY57" fmla="*/ 19216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521 w 43832"/>
                          <a:gd name="connsiteY63" fmla="*/ 15574 h 25370"/>
                          <a:gd name="connsiteX64" fmla="*/ 4773 w 43832"/>
                          <a:gd name="connsiteY64" fmla="*/ 15448 h 25370"/>
                          <a:gd name="connsiteX65" fmla="*/ 4898 w 43832"/>
                          <a:gd name="connsiteY65" fmla="*/ 15448 h 25370"/>
                          <a:gd name="connsiteX66" fmla="*/ 5024 w 43832"/>
                          <a:gd name="connsiteY66" fmla="*/ 15322 h 25370"/>
                          <a:gd name="connsiteX67" fmla="*/ 5024 w 43832"/>
                          <a:gd name="connsiteY67" fmla="*/ 15322 h 25370"/>
                          <a:gd name="connsiteX68" fmla="*/ 17584 w 43832"/>
                          <a:gd name="connsiteY68" fmla="*/ 8038 h 25370"/>
                          <a:gd name="connsiteX69" fmla="*/ 17834 w 43832"/>
                          <a:gd name="connsiteY69" fmla="*/ 7912 h 25370"/>
                          <a:gd name="connsiteX70" fmla="*/ 18086 w 43832"/>
                          <a:gd name="connsiteY70" fmla="*/ 7787 h 25370"/>
                          <a:gd name="connsiteX71" fmla="*/ 18337 w 43832"/>
                          <a:gd name="connsiteY71" fmla="*/ 7661 h 25370"/>
                          <a:gd name="connsiteX72" fmla="*/ 31524 w 43832"/>
                          <a:gd name="connsiteY72" fmla="*/ 0 h 25370"/>
                          <a:gd name="connsiteX73" fmla="*/ 32278 w 43832"/>
                          <a:gd name="connsiteY73" fmla="*/ 502 h 25370"/>
                          <a:gd name="connsiteX74" fmla="*/ 32404 w 43832"/>
                          <a:gd name="connsiteY74" fmla="*/ 628 h 25370"/>
                          <a:gd name="connsiteX75" fmla="*/ 33409 w 43832"/>
                          <a:gd name="connsiteY75" fmla="*/ 1130 h 25370"/>
                          <a:gd name="connsiteX76" fmla="*/ 33659 w 43832"/>
                          <a:gd name="connsiteY76" fmla="*/ 1256 h 25370"/>
                          <a:gd name="connsiteX77" fmla="*/ 34539 w 43832"/>
                          <a:gd name="connsiteY77" fmla="*/ 1758 h 25370"/>
                          <a:gd name="connsiteX78" fmla="*/ 34664 w 43832"/>
                          <a:gd name="connsiteY78" fmla="*/ 1884 h 25370"/>
                          <a:gd name="connsiteX79" fmla="*/ 35166 w 43832"/>
                          <a:gd name="connsiteY79" fmla="*/ 2135 h 25370"/>
                          <a:gd name="connsiteX80" fmla="*/ 35166 w 43832"/>
                          <a:gd name="connsiteY80" fmla="*/ 2135 h 25370"/>
                          <a:gd name="connsiteX81" fmla="*/ 36046 w 43832"/>
                          <a:gd name="connsiteY81" fmla="*/ 2637 h 25370"/>
                          <a:gd name="connsiteX82" fmla="*/ 36171 w 43832"/>
                          <a:gd name="connsiteY82" fmla="*/ 2763 h 25370"/>
                          <a:gd name="connsiteX83" fmla="*/ 36799 w 43832"/>
                          <a:gd name="connsiteY83" fmla="*/ 3140 h 25370"/>
                          <a:gd name="connsiteX84" fmla="*/ 36799 w 43832"/>
                          <a:gd name="connsiteY84" fmla="*/ 3140 h 25370"/>
                          <a:gd name="connsiteX85" fmla="*/ 37804 w 43832"/>
                          <a:gd name="connsiteY85" fmla="*/ 3642 h 25370"/>
                          <a:gd name="connsiteX86" fmla="*/ 37930 w 43832"/>
                          <a:gd name="connsiteY86" fmla="*/ 3768 h 25370"/>
                          <a:gd name="connsiteX87" fmla="*/ 38181 w 43832"/>
                          <a:gd name="connsiteY87" fmla="*/ 3893 h 25370"/>
                          <a:gd name="connsiteX88" fmla="*/ 38809 w 43832"/>
                          <a:gd name="connsiteY88" fmla="*/ 4270 h 25370"/>
                          <a:gd name="connsiteX89" fmla="*/ 38935 w 43832"/>
                          <a:gd name="connsiteY89" fmla="*/ 4270 h 25370"/>
                          <a:gd name="connsiteX90" fmla="*/ 39186 w 43832"/>
                          <a:gd name="connsiteY90" fmla="*/ 4521 h 25370"/>
                          <a:gd name="connsiteX91" fmla="*/ 39311 w 43832"/>
                          <a:gd name="connsiteY91" fmla="*/ 4521 h 25370"/>
                          <a:gd name="connsiteX92" fmla="*/ 39563 w 43832"/>
                          <a:gd name="connsiteY92" fmla="*/ 4647 h 25370"/>
                          <a:gd name="connsiteX93" fmla="*/ 39813 w 43832"/>
                          <a:gd name="connsiteY93" fmla="*/ 4772 h 25370"/>
                          <a:gd name="connsiteX94" fmla="*/ 40316 w 43832"/>
                          <a:gd name="connsiteY94" fmla="*/ 5149 h 25370"/>
                          <a:gd name="connsiteX95" fmla="*/ 40442 w 43832"/>
                          <a:gd name="connsiteY95" fmla="*/ 5275 h 25370"/>
                          <a:gd name="connsiteX96" fmla="*/ 40693 w 43832"/>
                          <a:gd name="connsiteY96" fmla="*/ 5400 h 25370"/>
                          <a:gd name="connsiteX97" fmla="*/ 40693 w 43832"/>
                          <a:gd name="connsiteY97" fmla="*/ 5400 h 25370"/>
                          <a:gd name="connsiteX98" fmla="*/ 40818 w 43832"/>
                          <a:gd name="connsiteY98" fmla="*/ 5400 h 25370"/>
                          <a:gd name="connsiteX99" fmla="*/ 41195 w 43832"/>
                          <a:gd name="connsiteY99" fmla="*/ 5652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823 w 43832"/>
                          <a:gd name="connsiteY104" fmla="*/ 6028 h 25370"/>
                          <a:gd name="connsiteX105" fmla="*/ 41949 w 43832"/>
                          <a:gd name="connsiteY105" fmla="*/ 6028 h 25370"/>
                          <a:gd name="connsiteX106" fmla="*/ 42451 w 43832"/>
                          <a:gd name="connsiteY106" fmla="*/ 6280 h 25370"/>
                          <a:gd name="connsiteX107" fmla="*/ 42577 w 43832"/>
                          <a:gd name="connsiteY107" fmla="*/ 6405 h 25370"/>
                          <a:gd name="connsiteX108" fmla="*/ 42828 w 43832"/>
                          <a:gd name="connsiteY108" fmla="*/ 6531 h 25370"/>
                          <a:gd name="connsiteX109" fmla="*/ 42953 w 43832"/>
                          <a:gd name="connsiteY109" fmla="*/ 6657 h 25370"/>
                          <a:gd name="connsiteX110" fmla="*/ 43330 w 43832"/>
                          <a:gd name="connsiteY110" fmla="*/ 6908 h 25370"/>
                          <a:gd name="connsiteX111" fmla="*/ 43330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7631" y="16453"/>
                            </a:lnTo>
                            <a:lnTo>
                              <a:pt x="26500" y="17081"/>
                            </a:lnTo>
                            <a:lnTo>
                              <a:pt x="25998" y="17458"/>
                            </a:lnTo>
                            <a:lnTo>
                              <a:pt x="25998" y="17458"/>
                            </a:lnTo>
                            <a:lnTo>
                              <a:pt x="25998" y="17458"/>
                            </a:lnTo>
                            <a:lnTo>
                              <a:pt x="25747" y="17583"/>
                            </a:lnTo>
                            <a:lnTo>
                              <a:pt x="24240" y="18462"/>
                            </a:lnTo>
                            <a:lnTo>
                              <a:pt x="24240" y="18462"/>
                            </a:lnTo>
                            <a:lnTo>
                              <a:pt x="23989" y="18588"/>
                            </a:lnTo>
                            <a:lnTo>
                              <a:pt x="17584" y="22356"/>
                            </a:lnTo>
                            <a:lnTo>
                              <a:pt x="17206" y="22481"/>
                            </a:lnTo>
                            <a:lnTo>
                              <a:pt x="17206" y="22481"/>
                            </a:lnTo>
                            <a:lnTo>
                              <a:pt x="12308" y="25370"/>
                            </a:lnTo>
                            <a:lnTo>
                              <a:pt x="12183" y="25370"/>
                            </a:lnTo>
                            <a:lnTo>
                              <a:pt x="12183" y="25244"/>
                            </a:lnTo>
                            <a:lnTo>
                              <a:pt x="11806" y="25119"/>
                            </a:lnTo>
                            <a:lnTo>
                              <a:pt x="11680" y="24993"/>
                            </a:lnTo>
                            <a:lnTo>
                              <a:pt x="11304" y="24742"/>
                            </a:lnTo>
                            <a:lnTo>
                              <a:pt x="11178" y="24742"/>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1"/>
                            </a:lnTo>
                            <a:lnTo>
                              <a:pt x="7285" y="22481"/>
                            </a:lnTo>
                            <a:lnTo>
                              <a:pt x="6531" y="22105"/>
                            </a:lnTo>
                            <a:lnTo>
                              <a:pt x="6531" y="21979"/>
                            </a:lnTo>
                            <a:lnTo>
                              <a:pt x="6154" y="21853"/>
                            </a:lnTo>
                            <a:lnTo>
                              <a:pt x="6028" y="21728"/>
                            </a:lnTo>
                            <a:lnTo>
                              <a:pt x="5526" y="21477"/>
                            </a:lnTo>
                            <a:lnTo>
                              <a:pt x="5400" y="21477"/>
                            </a:lnTo>
                            <a:lnTo>
                              <a:pt x="4521" y="20974"/>
                            </a:lnTo>
                            <a:lnTo>
                              <a:pt x="4396" y="20849"/>
                            </a:lnTo>
                            <a:lnTo>
                              <a:pt x="3642" y="20472"/>
                            </a:lnTo>
                            <a:lnTo>
                              <a:pt x="3642" y="20346"/>
                            </a:lnTo>
                            <a:lnTo>
                              <a:pt x="3391" y="20221"/>
                            </a:lnTo>
                            <a:lnTo>
                              <a:pt x="3266" y="20221"/>
                            </a:lnTo>
                            <a:lnTo>
                              <a:pt x="2763" y="19844"/>
                            </a:lnTo>
                            <a:lnTo>
                              <a:pt x="2763" y="19844"/>
                            </a:lnTo>
                            <a:lnTo>
                              <a:pt x="2638" y="19718"/>
                            </a:lnTo>
                            <a:lnTo>
                              <a:pt x="2010" y="19467"/>
                            </a:lnTo>
                            <a:lnTo>
                              <a:pt x="2010" y="19467"/>
                            </a:lnTo>
                            <a:lnTo>
                              <a:pt x="1507" y="19216"/>
                            </a:lnTo>
                            <a:lnTo>
                              <a:pt x="1381" y="19090"/>
                            </a:lnTo>
                            <a:lnTo>
                              <a:pt x="0" y="18211"/>
                            </a:lnTo>
                            <a:lnTo>
                              <a:pt x="4396" y="15699"/>
                            </a:lnTo>
                            <a:lnTo>
                              <a:pt x="4396" y="15699"/>
                            </a:lnTo>
                            <a:lnTo>
                              <a:pt x="4521" y="15574"/>
                            </a:lnTo>
                            <a:lnTo>
                              <a:pt x="4521" y="15574"/>
                            </a:lnTo>
                            <a:lnTo>
                              <a:pt x="4773" y="15448"/>
                            </a:lnTo>
                            <a:lnTo>
                              <a:pt x="4898" y="15448"/>
                            </a:lnTo>
                            <a:lnTo>
                              <a:pt x="5024" y="15322"/>
                            </a:lnTo>
                            <a:lnTo>
                              <a:pt x="5024" y="15322"/>
                            </a:lnTo>
                            <a:lnTo>
                              <a:pt x="17584" y="8038"/>
                            </a:lnTo>
                            <a:lnTo>
                              <a:pt x="17834" y="7912"/>
                            </a:lnTo>
                            <a:lnTo>
                              <a:pt x="18086" y="7787"/>
                            </a:lnTo>
                            <a:lnTo>
                              <a:pt x="18337" y="7661"/>
                            </a:lnTo>
                            <a:lnTo>
                              <a:pt x="31524" y="0"/>
                            </a:lnTo>
                            <a:lnTo>
                              <a:pt x="32278" y="502"/>
                            </a:lnTo>
                            <a:lnTo>
                              <a:pt x="32404" y="628"/>
                            </a:lnTo>
                            <a:lnTo>
                              <a:pt x="33409" y="1130"/>
                            </a:lnTo>
                            <a:lnTo>
                              <a:pt x="33659" y="1256"/>
                            </a:lnTo>
                            <a:lnTo>
                              <a:pt x="34539" y="1758"/>
                            </a:lnTo>
                            <a:lnTo>
                              <a:pt x="34664" y="1884"/>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809" y="4270"/>
                            </a:lnTo>
                            <a:lnTo>
                              <a:pt x="38935" y="4270"/>
                            </a:lnTo>
                            <a:lnTo>
                              <a:pt x="39186" y="4521"/>
                            </a:lnTo>
                            <a:lnTo>
                              <a:pt x="39311" y="4521"/>
                            </a:lnTo>
                            <a:lnTo>
                              <a:pt x="39563" y="4647"/>
                            </a:lnTo>
                            <a:lnTo>
                              <a:pt x="39813" y="4772"/>
                            </a:lnTo>
                            <a:lnTo>
                              <a:pt x="40316" y="5149"/>
                            </a:lnTo>
                            <a:lnTo>
                              <a:pt x="40442" y="5275"/>
                            </a:lnTo>
                            <a:lnTo>
                              <a:pt x="40693" y="5400"/>
                            </a:lnTo>
                            <a:lnTo>
                              <a:pt x="40693" y="5400"/>
                            </a:lnTo>
                            <a:lnTo>
                              <a:pt x="40818" y="5400"/>
                            </a:lnTo>
                            <a:lnTo>
                              <a:pt x="41195" y="5652"/>
                            </a:lnTo>
                            <a:lnTo>
                              <a:pt x="41320" y="5652"/>
                            </a:lnTo>
                            <a:lnTo>
                              <a:pt x="41572" y="5777"/>
                            </a:lnTo>
                            <a:lnTo>
                              <a:pt x="41572" y="5777"/>
                            </a:lnTo>
                            <a:lnTo>
                              <a:pt x="41698" y="5903"/>
                            </a:lnTo>
                            <a:lnTo>
                              <a:pt x="41823" y="6028"/>
                            </a:lnTo>
                            <a:lnTo>
                              <a:pt x="41949" y="6028"/>
                            </a:lnTo>
                            <a:lnTo>
                              <a:pt x="42451" y="6280"/>
                            </a:lnTo>
                            <a:lnTo>
                              <a:pt x="42577" y="6405"/>
                            </a:lnTo>
                            <a:lnTo>
                              <a:pt x="42828" y="6531"/>
                            </a:lnTo>
                            <a:lnTo>
                              <a:pt x="42953" y="6657"/>
                            </a:lnTo>
                            <a:lnTo>
                              <a:pt x="43330" y="6908"/>
                            </a:lnTo>
                            <a:lnTo>
                              <a:pt x="43330"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75" name="Freeform: Shape 4174">
                      <a:extLst>
                        <a:ext uri="{FF2B5EF4-FFF2-40B4-BE49-F238E27FC236}">
                          <a16:creationId xmlns:a16="http://schemas.microsoft.com/office/drawing/2014/main" id="{07DC61A3-C64F-4E63-94A3-4A1D829BD4E8}"/>
                        </a:ext>
                      </a:extLst>
                    </p:cNvPr>
                    <p:cNvSpPr/>
                    <p:nvPr/>
                  </p:nvSpPr>
                  <p:spPr>
                    <a:xfrm>
                      <a:off x="7259508" y="3871937"/>
                      <a:ext cx="12308" cy="8917"/>
                    </a:xfrm>
                    <a:custGeom>
                      <a:avLst/>
                      <a:gdLst>
                        <a:gd name="connsiteX0" fmla="*/ 12308 w 12308"/>
                        <a:gd name="connsiteY0" fmla="*/ 7159 h 8917"/>
                        <a:gd name="connsiteX1" fmla="*/ 12308 w 12308"/>
                        <a:gd name="connsiteY1" fmla="*/ 8917 h 8917"/>
                        <a:gd name="connsiteX2" fmla="*/ 0 w 12308"/>
                        <a:gd name="connsiteY2" fmla="*/ 1758 h 8917"/>
                        <a:gd name="connsiteX3" fmla="*/ 0 w 12308"/>
                        <a:gd name="connsiteY3" fmla="*/ 0 h 8917"/>
                      </a:gdLst>
                      <a:ahLst/>
                      <a:cxnLst>
                        <a:cxn ang="0">
                          <a:pos x="connsiteX0" y="connsiteY0"/>
                        </a:cxn>
                        <a:cxn ang="0">
                          <a:pos x="connsiteX1" y="connsiteY1"/>
                        </a:cxn>
                        <a:cxn ang="0">
                          <a:pos x="connsiteX2" y="connsiteY2"/>
                        </a:cxn>
                        <a:cxn ang="0">
                          <a:pos x="connsiteX3" y="connsiteY3"/>
                        </a:cxn>
                      </a:cxnLst>
                      <a:rect l="l" t="t" r="r" b="b"/>
                      <a:pathLst>
                        <a:path w="12308" h="8917">
                          <a:moveTo>
                            <a:pt x="12308" y="7159"/>
                          </a:moveTo>
                          <a:lnTo>
                            <a:pt x="12308" y="8917"/>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76" name="Graphic 4">
                    <a:extLst>
                      <a:ext uri="{FF2B5EF4-FFF2-40B4-BE49-F238E27FC236}">
                        <a16:creationId xmlns:a16="http://schemas.microsoft.com/office/drawing/2014/main" id="{84FB7ED1-A2DF-40A1-A747-5F7CF3F14040}"/>
                      </a:ext>
                    </a:extLst>
                  </p:cNvPr>
                  <p:cNvGrpSpPr/>
                  <p:nvPr/>
                </p:nvGrpSpPr>
                <p:grpSpPr>
                  <a:xfrm>
                    <a:off x="7245442" y="3843050"/>
                    <a:ext cx="43832" cy="27002"/>
                    <a:chOff x="7245442" y="3843050"/>
                    <a:chExt cx="43832" cy="27002"/>
                  </a:xfrm>
                  <a:solidFill>
                    <a:schemeClr val="accent1"/>
                  </a:solidFill>
                </p:grpSpPr>
                <p:grpSp>
                  <p:nvGrpSpPr>
                    <p:cNvPr id="4177" name="Graphic 4">
                      <a:extLst>
                        <a:ext uri="{FF2B5EF4-FFF2-40B4-BE49-F238E27FC236}">
                          <a16:creationId xmlns:a16="http://schemas.microsoft.com/office/drawing/2014/main" id="{84FB7ED1-A2DF-40A1-A747-5F7CF3F14040}"/>
                        </a:ext>
                      </a:extLst>
                    </p:cNvPr>
                    <p:cNvGrpSpPr/>
                    <p:nvPr/>
                  </p:nvGrpSpPr>
                  <p:grpSpPr>
                    <a:xfrm>
                      <a:off x="7245442" y="3843050"/>
                      <a:ext cx="43832" cy="27002"/>
                      <a:chOff x="7245442" y="3843050"/>
                      <a:chExt cx="43832" cy="27002"/>
                    </a:xfrm>
                    <a:solidFill>
                      <a:schemeClr val="accent1"/>
                    </a:solidFill>
                  </p:grpSpPr>
                  <p:sp>
                    <p:nvSpPr>
                      <p:cNvPr id="4178" name="Freeform: Shape 4177">
                        <a:extLst>
                          <a:ext uri="{FF2B5EF4-FFF2-40B4-BE49-F238E27FC236}">
                            <a16:creationId xmlns:a16="http://schemas.microsoft.com/office/drawing/2014/main" id="{4B9FE977-35D7-415A-B9B9-2756A470F280}"/>
                          </a:ext>
                        </a:extLst>
                      </p:cNvPr>
                      <p:cNvSpPr/>
                      <p:nvPr/>
                    </p:nvSpPr>
                    <p:spPr>
                      <a:xfrm>
                        <a:off x="7245442" y="3844809"/>
                        <a:ext cx="43832" cy="25244"/>
                      </a:xfrm>
                      <a:custGeom>
                        <a:avLst/>
                        <a:gdLst>
                          <a:gd name="connsiteX0" fmla="*/ 43832 w 43832"/>
                          <a:gd name="connsiteY0" fmla="*/ 7033 h 25244"/>
                          <a:gd name="connsiteX1" fmla="*/ 42074 w 43832"/>
                          <a:gd name="connsiteY1" fmla="*/ 8164 h 25244"/>
                          <a:gd name="connsiteX2" fmla="*/ 41823 w 43832"/>
                          <a:gd name="connsiteY2" fmla="*/ 8164 h 25244"/>
                          <a:gd name="connsiteX3" fmla="*/ 41823 w 43832"/>
                          <a:gd name="connsiteY3" fmla="*/ 8164 h 25244"/>
                          <a:gd name="connsiteX4" fmla="*/ 39060 w 43832"/>
                          <a:gd name="connsiteY4" fmla="*/ 9796 h 25244"/>
                          <a:gd name="connsiteX5" fmla="*/ 39060 w 43832"/>
                          <a:gd name="connsiteY5" fmla="*/ 9796 h 25244"/>
                          <a:gd name="connsiteX6" fmla="*/ 38432 w 43832"/>
                          <a:gd name="connsiteY6" fmla="*/ 10173 h 25244"/>
                          <a:gd name="connsiteX7" fmla="*/ 38306 w 43832"/>
                          <a:gd name="connsiteY7" fmla="*/ 10299 h 25244"/>
                          <a:gd name="connsiteX8" fmla="*/ 37678 w 43832"/>
                          <a:gd name="connsiteY8" fmla="*/ 10676 h 25244"/>
                          <a:gd name="connsiteX9" fmla="*/ 28133 w 43832"/>
                          <a:gd name="connsiteY9" fmla="*/ 16076 h 25244"/>
                          <a:gd name="connsiteX10" fmla="*/ 28133 w 43832"/>
                          <a:gd name="connsiteY10" fmla="*/ 16076 h 25244"/>
                          <a:gd name="connsiteX11" fmla="*/ 27631 w 43832"/>
                          <a:gd name="connsiteY11" fmla="*/ 16453 h 25244"/>
                          <a:gd name="connsiteX12" fmla="*/ 26626 w 43832"/>
                          <a:gd name="connsiteY12" fmla="*/ 17081 h 25244"/>
                          <a:gd name="connsiteX13" fmla="*/ 26626 w 43832"/>
                          <a:gd name="connsiteY13" fmla="*/ 17081 h 25244"/>
                          <a:gd name="connsiteX14" fmla="*/ 26124 w 43832"/>
                          <a:gd name="connsiteY14" fmla="*/ 17332 h 25244"/>
                          <a:gd name="connsiteX15" fmla="*/ 25998 w 43832"/>
                          <a:gd name="connsiteY15" fmla="*/ 17332 h 25244"/>
                          <a:gd name="connsiteX16" fmla="*/ 25998 w 43832"/>
                          <a:gd name="connsiteY16" fmla="*/ 17332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8 w 43832"/>
                          <a:gd name="connsiteY21" fmla="*/ 18588 h 25244"/>
                          <a:gd name="connsiteX22" fmla="*/ 17584 w 43832"/>
                          <a:gd name="connsiteY22" fmla="*/ 22230 h 25244"/>
                          <a:gd name="connsiteX23" fmla="*/ 17584 w 43832"/>
                          <a:gd name="connsiteY23" fmla="*/ 22230 h 25244"/>
                          <a:gd name="connsiteX24" fmla="*/ 17206 w 43832"/>
                          <a:gd name="connsiteY24" fmla="*/ 22481 h 25244"/>
                          <a:gd name="connsiteX25" fmla="*/ 17206 w 43832"/>
                          <a:gd name="connsiteY25" fmla="*/ 22481 h 25244"/>
                          <a:gd name="connsiteX26" fmla="*/ 12308 w 43832"/>
                          <a:gd name="connsiteY26" fmla="*/ 25244 h 25244"/>
                          <a:gd name="connsiteX27" fmla="*/ 12308 w 43832"/>
                          <a:gd name="connsiteY27" fmla="*/ 25244 h 25244"/>
                          <a:gd name="connsiteX28" fmla="*/ 12183 w 43832"/>
                          <a:gd name="connsiteY28" fmla="*/ 25244 h 25244"/>
                          <a:gd name="connsiteX29" fmla="*/ 11806 w 43832"/>
                          <a:gd name="connsiteY29" fmla="*/ 24993 h 25244"/>
                          <a:gd name="connsiteX30" fmla="*/ 11806 w 43832"/>
                          <a:gd name="connsiteY30" fmla="*/ 24993 h 25244"/>
                          <a:gd name="connsiteX31" fmla="*/ 11806 w 43832"/>
                          <a:gd name="connsiteY31" fmla="*/ 24993 h 25244"/>
                          <a:gd name="connsiteX32" fmla="*/ 11304 w 43832"/>
                          <a:gd name="connsiteY32" fmla="*/ 24742 h 25244"/>
                          <a:gd name="connsiteX33" fmla="*/ 11178 w 43832"/>
                          <a:gd name="connsiteY33" fmla="*/ 24617 h 25244"/>
                          <a:gd name="connsiteX34" fmla="*/ 10173 w 43832"/>
                          <a:gd name="connsiteY34" fmla="*/ 23989 h 25244"/>
                          <a:gd name="connsiteX35" fmla="*/ 10173 w 43832"/>
                          <a:gd name="connsiteY35" fmla="*/ 23989 h 25244"/>
                          <a:gd name="connsiteX36" fmla="*/ 9420 w 43832"/>
                          <a:gd name="connsiteY36" fmla="*/ 23612 h 25244"/>
                          <a:gd name="connsiteX37" fmla="*/ 9294 w 43832"/>
                          <a:gd name="connsiteY37" fmla="*/ 23486 h 25244"/>
                          <a:gd name="connsiteX38" fmla="*/ 8666 w 43832"/>
                          <a:gd name="connsiteY38" fmla="*/ 23235 h 25244"/>
                          <a:gd name="connsiteX39" fmla="*/ 8666 w 43832"/>
                          <a:gd name="connsiteY39" fmla="*/ 23109 h 25244"/>
                          <a:gd name="connsiteX40" fmla="*/ 8164 w 43832"/>
                          <a:gd name="connsiteY40" fmla="*/ 22858 h 25244"/>
                          <a:gd name="connsiteX41" fmla="*/ 8038 w 43832"/>
                          <a:gd name="connsiteY41" fmla="*/ 22858 h 25244"/>
                          <a:gd name="connsiteX42" fmla="*/ 7410 w 43832"/>
                          <a:gd name="connsiteY42" fmla="*/ 22481 h 25244"/>
                          <a:gd name="connsiteX43" fmla="*/ 7285 w 43832"/>
                          <a:gd name="connsiteY43" fmla="*/ 22356 h 25244"/>
                          <a:gd name="connsiteX44" fmla="*/ 7285 w 43832"/>
                          <a:gd name="connsiteY44" fmla="*/ 22356 h 25244"/>
                          <a:gd name="connsiteX45" fmla="*/ 6657 w 43832"/>
                          <a:gd name="connsiteY45" fmla="*/ 21979 h 25244"/>
                          <a:gd name="connsiteX46" fmla="*/ 6531 w 43832"/>
                          <a:gd name="connsiteY46" fmla="*/ 21979 h 25244"/>
                          <a:gd name="connsiteX47" fmla="*/ 6154 w 43832"/>
                          <a:gd name="connsiteY47" fmla="*/ 21728 h 25244"/>
                          <a:gd name="connsiteX48" fmla="*/ 6028 w 43832"/>
                          <a:gd name="connsiteY48" fmla="*/ 21602 h 25244"/>
                          <a:gd name="connsiteX49" fmla="*/ 5526 w 43832"/>
                          <a:gd name="connsiteY49" fmla="*/ 21351 h 25244"/>
                          <a:gd name="connsiteX50" fmla="*/ 5526 w 43832"/>
                          <a:gd name="connsiteY50" fmla="*/ 21351 h 25244"/>
                          <a:gd name="connsiteX51" fmla="*/ 4647 w 43832"/>
                          <a:gd name="connsiteY51" fmla="*/ 20849 h 25244"/>
                          <a:gd name="connsiteX52" fmla="*/ 4396 w 43832"/>
                          <a:gd name="connsiteY52" fmla="*/ 20723 h 25244"/>
                          <a:gd name="connsiteX53" fmla="*/ 3768 w 43832"/>
                          <a:gd name="connsiteY53" fmla="*/ 20346 h 25244"/>
                          <a:gd name="connsiteX54" fmla="*/ 3642 w 43832"/>
                          <a:gd name="connsiteY54" fmla="*/ 20346 h 25244"/>
                          <a:gd name="connsiteX55" fmla="*/ 3391 w 43832"/>
                          <a:gd name="connsiteY55" fmla="*/ 20095 h 25244"/>
                          <a:gd name="connsiteX56" fmla="*/ 3391 w 43832"/>
                          <a:gd name="connsiteY56" fmla="*/ 20095 h 25244"/>
                          <a:gd name="connsiteX57" fmla="*/ 2763 w 43832"/>
                          <a:gd name="connsiteY57" fmla="*/ 19844 h 25244"/>
                          <a:gd name="connsiteX58" fmla="*/ 2763 w 43832"/>
                          <a:gd name="connsiteY58" fmla="*/ 19844 h 25244"/>
                          <a:gd name="connsiteX59" fmla="*/ 2638 w 43832"/>
                          <a:gd name="connsiteY59" fmla="*/ 19718 h 25244"/>
                          <a:gd name="connsiteX60" fmla="*/ 2009 w 43832"/>
                          <a:gd name="connsiteY60" fmla="*/ 19342 h 25244"/>
                          <a:gd name="connsiteX61" fmla="*/ 2009 w 43832"/>
                          <a:gd name="connsiteY61" fmla="*/ 19342 h 25244"/>
                          <a:gd name="connsiteX62" fmla="*/ 1633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8 w 43832"/>
                          <a:gd name="connsiteY69" fmla="*/ 1005 h 25244"/>
                          <a:gd name="connsiteX70" fmla="*/ 33659 w 43832"/>
                          <a:gd name="connsiteY70" fmla="*/ 1256 h 25244"/>
                          <a:gd name="connsiteX71" fmla="*/ 34539 w 43832"/>
                          <a:gd name="connsiteY71" fmla="*/ 1758 h 25244"/>
                          <a:gd name="connsiteX72" fmla="*/ 34790 w 43832"/>
                          <a:gd name="connsiteY72" fmla="*/ 1758 h 25244"/>
                          <a:gd name="connsiteX73" fmla="*/ 35166 w 43832"/>
                          <a:gd name="connsiteY73" fmla="*/ 2010 h 25244"/>
                          <a:gd name="connsiteX74" fmla="*/ 35166 w 43832"/>
                          <a:gd name="connsiteY74" fmla="*/ 2010 h 25244"/>
                          <a:gd name="connsiteX75" fmla="*/ 35166 w 43832"/>
                          <a:gd name="connsiteY75" fmla="*/ 2135 h 25244"/>
                          <a:gd name="connsiteX76" fmla="*/ 36046 w 43832"/>
                          <a:gd name="connsiteY76" fmla="*/ 2512 h 25244"/>
                          <a:gd name="connsiteX77" fmla="*/ 36297 w 43832"/>
                          <a:gd name="connsiteY77" fmla="*/ 2638 h 25244"/>
                          <a:gd name="connsiteX78" fmla="*/ 36799 w 43832"/>
                          <a:gd name="connsiteY78" fmla="*/ 3014 h 25244"/>
                          <a:gd name="connsiteX79" fmla="*/ 36925 w 43832"/>
                          <a:gd name="connsiteY79" fmla="*/ 3014 h 25244"/>
                          <a:gd name="connsiteX80" fmla="*/ 37804 w 43832"/>
                          <a:gd name="connsiteY80" fmla="*/ 3517 h 25244"/>
                          <a:gd name="connsiteX81" fmla="*/ 37930 w 43832"/>
                          <a:gd name="connsiteY81" fmla="*/ 3642 h 25244"/>
                          <a:gd name="connsiteX82" fmla="*/ 38181 w 43832"/>
                          <a:gd name="connsiteY82" fmla="*/ 3768 h 25244"/>
                          <a:gd name="connsiteX83" fmla="*/ 38306 w 43832"/>
                          <a:gd name="connsiteY83" fmla="*/ 3893 h 25244"/>
                          <a:gd name="connsiteX84" fmla="*/ 38809 w 43832"/>
                          <a:gd name="connsiteY84" fmla="*/ 4145 h 25244"/>
                          <a:gd name="connsiteX85" fmla="*/ 38934 w 43832"/>
                          <a:gd name="connsiteY85" fmla="*/ 4270 h 25244"/>
                          <a:gd name="connsiteX86" fmla="*/ 39186 w 43832"/>
                          <a:gd name="connsiteY86" fmla="*/ 4396 h 25244"/>
                          <a:gd name="connsiteX87" fmla="*/ 39311 w 43832"/>
                          <a:gd name="connsiteY87" fmla="*/ 4396 h 25244"/>
                          <a:gd name="connsiteX88" fmla="*/ 39688 w 43832"/>
                          <a:gd name="connsiteY88" fmla="*/ 4647 h 25244"/>
                          <a:gd name="connsiteX89" fmla="*/ 39813 w 43832"/>
                          <a:gd name="connsiteY89" fmla="*/ 4773 h 25244"/>
                          <a:gd name="connsiteX90" fmla="*/ 40316 w 43832"/>
                          <a:gd name="connsiteY90" fmla="*/ 5024 h 25244"/>
                          <a:gd name="connsiteX91" fmla="*/ 40567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949 w 43832"/>
                          <a:gd name="connsiteY100" fmla="*/ 5903 h 25244"/>
                          <a:gd name="connsiteX101" fmla="*/ 42074 w 43832"/>
                          <a:gd name="connsiteY101" fmla="*/ 6028 h 25244"/>
                          <a:gd name="connsiteX102" fmla="*/ 43832 w 43832"/>
                          <a:gd name="connsiteY102" fmla="*/ 5275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4" y="8164"/>
                            </a:lnTo>
                            <a:lnTo>
                              <a:pt x="41823" y="8164"/>
                            </a:lnTo>
                            <a:lnTo>
                              <a:pt x="41823" y="8164"/>
                            </a:lnTo>
                            <a:lnTo>
                              <a:pt x="39060" y="9796"/>
                            </a:lnTo>
                            <a:lnTo>
                              <a:pt x="39060" y="9796"/>
                            </a:lnTo>
                            <a:lnTo>
                              <a:pt x="38432" y="10173"/>
                            </a:lnTo>
                            <a:lnTo>
                              <a:pt x="38306" y="10299"/>
                            </a:lnTo>
                            <a:lnTo>
                              <a:pt x="37678" y="10676"/>
                            </a:lnTo>
                            <a:lnTo>
                              <a:pt x="28133" y="16076"/>
                            </a:lnTo>
                            <a:lnTo>
                              <a:pt x="28133" y="16076"/>
                            </a:lnTo>
                            <a:lnTo>
                              <a:pt x="27631" y="16453"/>
                            </a:lnTo>
                            <a:lnTo>
                              <a:pt x="26626" y="17081"/>
                            </a:lnTo>
                            <a:lnTo>
                              <a:pt x="26626" y="17081"/>
                            </a:lnTo>
                            <a:lnTo>
                              <a:pt x="26124" y="17332"/>
                            </a:lnTo>
                            <a:lnTo>
                              <a:pt x="25998" y="17332"/>
                            </a:lnTo>
                            <a:lnTo>
                              <a:pt x="25998" y="17332"/>
                            </a:lnTo>
                            <a:lnTo>
                              <a:pt x="25747" y="17583"/>
                            </a:lnTo>
                            <a:lnTo>
                              <a:pt x="25747" y="17583"/>
                            </a:lnTo>
                            <a:lnTo>
                              <a:pt x="24240" y="18462"/>
                            </a:lnTo>
                            <a:lnTo>
                              <a:pt x="24240" y="18462"/>
                            </a:lnTo>
                            <a:lnTo>
                              <a:pt x="23988" y="18588"/>
                            </a:lnTo>
                            <a:lnTo>
                              <a:pt x="17584" y="22230"/>
                            </a:lnTo>
                            <a:lnTo>
                              <a:pt x="17584" y="22230"/>
                            </a:lnTo>
                            <a:lnTo>
                              <a:pt x="17206" y="22481"/>
                            </a:lnTo>
                            <a:lnTo>
                              <a:pt x="17206" y="22481"/>
                            </a:lnTo>
                            <a:lnTo>
                              <a:pt x="12308" y="25244"/>
                            </a:lnTo>
                            <a:lnTo>
                              <a:pt x="12308" y="25244"/>
                            </a:lnTo>
                            <a:lnTo>
                              <a:pt x="12183" y="25244"/>
                            </a:lnTo>
                            <a:lnTo>
                              <a:pt x="11806" y="24993"/>
                            </a:lnTo>
                            <a:lnTo>
                              <a:pt x="11806" y="24993"/>
                            </a:lnTo>
                            <a:lnTo>
                              <a:pt x="11806" y="24993"/>
                            </a:lnTo>
                            <a:lnTo>
                              <a:pt x="11304" y="24742"/>
                            </a:lnTo>
                            <a:lnTo>
                              <a:pt x="11178" y="24617"/>
                            </a:lnTo>
                            <a:lnTo>
                              <a:pt x="10173" y="23989"/>
                            </a:lnTo>
                            <a:lnTo>
                              <a:pt x="10173" y="23989"/>
                            </a:lnTo>
                            <a:lnTo>
                              <a:pt x="9420" y="23612"/>
                            </a:lnTo>
                            <a:lnTo>
                              <a:pt x="9294" y="23486"/>
                            </a:lnTo>
                            <a:lnTo>
                              <a:pt x="8666" y="23235"/>
                            </a:lnTo>
                            <a:lnTo>
                              <a:pt x="8666" y="23109"/>
                            </a:lnTo>
                            <a:lnTo>
                              <a:pt x="8164" y="22858"/>
                            </a:lnTo>
                            <a:lnTo>
                              <a:pt x="8038" y="22858"/>
                            </a:lnTo>
                            <a:lnTo>
                              <a:pt x="7410" y="22481"/>
                            </a:lnTo>
                            <a:lnTo>
                              <a:pt x="7285" y="22356"/>
                            </a:lnTo>
                            <a:lnTo>
                              <a:pt x="7285" y="22356"/>
                            </a:lnTo>
                            <a:lnTo>
                              <a:pt x="6657" y="21979"/>
                            </a:lnTo>
                            <a:lnTo>
                              <a:pt x="6531" y="21979"/>
                            </a:lnTo>
                            <a:lnTo>
                              <a:pt x="6154" y="21728"/>
                            </a:lnTo>
                            <a:lnTo>
                              <a:pt x="6028" y="21602"/>
                            </a:lnTo>
                            <a:lnTo>
                              <a:pt x="5526" y="21351"/>
                            </a:lnTo>
                            <a:lnTo>
                              <a:pt x="5526" y="21351"/>
                            </a:lnTo>
                            <a:lnTo>
                              <a:pt x="4647" y="20849"/>
                            </a:lnTo>
                            <a:lnTo>
                              <a:pt x="4396" y="20723"/>
                            </a:lnTo>
                            <a:lnTo>
                              <a:pt x="3768" y="20346"/>
                            </a:lnTo>
                            <a:lnTo>
                              <a:pt x="3642" y="20346"/>
                            </a:lnTo>
                            <a:lnTo>
                              <a:pt x="3391" y="20095"/>
                            </a:lnTo>
                            <a:lnTo>
                              <a:pt x="3391" y="20095"/>
                            </a:lnTo>
                            <a:lnTo>
                              <a:pt x="2763" y="19844"/>
                            </a:lnTo>
                            <a:lnTo>
                              <a:pt x="2763" y="19844"/>
                            </a:lnTo>
                            <a:lnTo>
                              <a:pt x="2638" y="19718"/>
                            </a:lnTo>
                            <a:lnTo>
                              <a:pt x="2009" y="19342"/>
                            </a:lnTo>
                            <a:lnTo>
                              <a:pt x="2009" y="19342"/>
                            </a:lnTo>
                            <a:lnTo>
                              <a:pt x="1633" y="19090"/>
                            </a:lnTo>
                            <a:lnTo>
                              <a:pt x="1381" y="18965"/>
                            </a:lnTo>
                            <a:lnTo>
                              <a:pt x="0" y="18211"/>
                            </a:lnTo>
                            <a:lnTo>
                              <a:pt x="0" y="16453"/>
                            </a:lnTo>
                            <a:lnTo>
                              <a:pt x="31524" y="0"/>
                            </a:lnTo>
                            <a:lnTo>
                              <a:pt x="32278" y="377"/>
                            </a:lnTo>
                            <a:lnTo>
                              <a:pt x="32404" y="502"/>
                            </a:lnTo>
                            <a:lnTo>
                              <a:pt x="33408" y="1005"/>
                            </a:lnTo>
                            <a:lnTo>
                              <a:pt x="33659" y="1256"/>
                            </a:lnTo>
                            <a:lnTo>
                              <a:pt x="34539" y="1758"/>
                            </a:lnTo>
                            <a:lnTo>
                              <a:pt x="34790" y="1758"/>
                            </a:lnTo>
                            <a:lnTo>
                              <a:pt x="35166" y="2010"/>
                            </a:lnTo>
                            <a:lnTo>
                              <a:pt x="35166" y="2010"/>
                            </a:lnTo>
                            <a:lnTo>
                              <a:pt x="35166" y="2135"/>
                            </a:lnTo>
                            <a:lnTo>
                              <a:pt x="36046" y="2512"/>
                            </a:lnTo>
                            <a:lnTo>
                              <a:pt x="36297" y="2638"/>
                            </a:lnTo>
                            <a:lnTo>
                              <a:pt x="36799" y="3014"/>
                            </a:lnTo>
                            <a:lnTo>
                              <a:pt x="36925" y="3014"/>
                            </a:lnTo>
                            <a:lnTo>
                              <a:pt x="37804" y="3517"/>
                            </a:lnTo>
                            <a:lnTo>
                              <a:pt x="37930" y="3642"/>
                            </a:lnTo>
                            <a:lnTo>
                              <a:pt x="38181" y="3768"/>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5903"/>
                            </a:lnTo>
                            <a:lnTo>
                              <a:pt x="42074" y="6028"/>
                            </a:lnTo>
                            <a:lnTo>
                              <a:pt x="43832" y="5275"/>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79" name="Freeform: Shape 4178">
                        <a:extLst>
                          <a:ext uri="{FF2B5EF4-FFF2-40B4-BE49-F238E27FC236}">
                            <a16:creationId xmlns:a16="http://schemas.microsoft.com/office/drawing/2014/main" id="{D0EA9BAD-51D6-479D-B07E-3096B246B018}"/>
                          </a:ext>
                        </a:extLst>
                      </p:cNvPr>
                      <p:cNvSpPr/>
                      <p:nvPr/>
                    </p:nvSpPr>
                    <p:spPr>
                      <a:xfrm>
                        <a:off x="7245442" y="3843050"/>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553 w 43832"/>
                          <a:gd name="connsiteY8" fmla="*/ 10676 h 25370"/>
                          <a:gd name="connsiteX9" fmla="*/ 28133 w 43832"/>
                          <a:gd name="connsiteY9" fmla="*/ 16202 h 25370"/>
                          <a:gd name="connsiteX10" fmla="*/ 27631 w 43832"/>
                          <a:gd name="connsiteY10" fmla="*/ 16453 h 25370"/>
                          <a:gd name="connsiteX11" fmla="*/ 26626 w 43832"/>
                          <a:gd name="connsiteY11" fmla="*/ 17081 h 25370"/>
                          <a:gd name="connsiteX12" fmla="*/ 26124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8 w 43832"/>
                          <a:gd name="connsiteY18" fmla="*/ 18588 h 25370"/>
                          <a:gd name="connsiteX19" fmla="*/ 17584 w 43832"/>
                          <a:gd name="connsiteY19" fmla="*/ 22230 h 25370"/>
                          <a:gd name="connsiteX20" fmla="*/ 17206 w 43832"/>
                          <a:gd name="connsiteY20" fmla="*/ 22481 h 25370"/>
                          <a:gd name="connsiteX21" fmla="*/ 17206 w 43832"/>
                          <a:gd name="connsiteY21" fmla="*/ 22481 h 25370"/>
                          <a:gd name="connsiteX22" fmla="*/ 12308 w 43832"/>
                          <a:gd name="connsiteY22" fmla="*/ 25370 h 25370"/>
                          <a:gd name="connsiteX23" fmla="*/ 12308 w 43832"/>
                          <a:gd name="connsiteY23" fmla="*/ 25244 h 25370"/>
                          <a:gd name="connsiteX24" fmla="*/ 12183 w 43832"/>
                          <a:gd name="connsiteY24" fmla="*/ 25244 h 25370"/>
                          <a:gd name="connsiteX25" fmla="*/ 11806 w 43832"/>
                          <a:gd name="connsiteY25" fmla="*/ 24993 h 25370"/>
                          <a:gd name="connsiteX26" fmla="*/ 11806 w 43832"/>
                          <a:gd name="connsiteY26" fmla="*/ 24993 h 25370"/>
                          <a:gd name="connsiteX27" fmla="*/ 11304 w 43832"/>
                          <a:gd name="connsiteY27" fmla="*/ 24742 h 25370"/>
                          <a:gd name="connsiteX28" fmla="*/ 11178 w 43832"/>
                          <a:gd name="connsiteY28" fmla="*/ 24616 h 25370"/>
                          <a:gd name="connsiteX29" fmla="*/ 10173 w 43832"/>
                          <a:gd name="connsiteY29" fmla="*/ 24114 h 25370"/>
                          <a:gd name="connsiteX30" fmla="*/ 10173 w 43832"/>
                          <a:gd name="connsiteY30" fmla="*/ 23989 h 25370"/>
                          <a:gd name="connsiteX31" fmla="*/ 9545 w 43832"/>
                          <a:gd name="connsiteY31" fmla="*/ 23612 h 25370"/>
                          <a:gd name="connsiteX32" fmla="*/ 9294 w 43832"/>
                          <a:gd name="connsiteY32" fmla="*/ 23486 h 25370"/>
                          <a:gd name="connsiteX33" fmla="*/ 8666 w 43832"/>
                          <a:gd name="connsiteY33" fmla="*/ 23235 h 25370"/>
                          <a:gd name="connsiteX34" fmla="*/ 8666 w 43832"/>
                          <a:gd name="connsiteY34" fmla="*/ 23235 h 25370"/>
                          <a:gd name="connsiteX35" fmla="*/ 8164 w 43832"/>
                          <a:gd name="connsiteY35" fmla="*/ 22858 h 25370"/>
                          <a:gd name="connsiteX36" fmla="*/ 8038 w 43832"/>
                          <a:gd name="connsiteY36" fmla="*/ 22858 h 25370"/>
                          <a:gd name="connsiteX37" fmla="*/ 7410 w 43832"/>
                          <a:gd name="connsiteY37" fmla="*/ 22481 h 25370"/>
                          <a:gd name="connsiteX38" fmla="*/ 7285 w 43832"/>
                          <a:gd name="connsiteY38" fmla="*/ 22356 h 25370"/>
                          <a:gd name="connsiteX39" fmla="*/ 7285 w 43832"/>
                          <a:gd name="connsiteY39" fmla="*/ 22356 h 25370"/>
                          <a:gd name="connsiteX40" fmla="*/ 6531 w 43832"/>
                          <a:gd name="connsiteY40" fmla="*/ 21979 h 25370"/>
                          <a:gd name="connsiteX41" fmla="*/ 6531 w 43832"/>
                          <a:gd name="connsiteY41" fmla="*/ 21979 h 25370"/>
                          <a:gd name="connsiteX42" fmla="*/ 6154 w 43832"/>
                          <a:gd name="connsiteY42" fmla="*/ 21728 h 25370"/>
                          <a:gd name="connsiteX43" fmla="*/ 6028 w 43832"/>
                          <a:gd name="connsiteY43" fmla="*/ 21728 h 25370"/>
                          <a:gd name="connsiteX44" fmla="*/ 5526 w 43832"/>
                          <a:gd name="connsiteY44" fmla="*/ 21477 h 25370"/>
                          <a:gd name="connsiteX45" fmla="*/ 5526 w 43832"/>
                          <a:gd name="connsiteY45" fmla="*/ 21351 h 25370"/>
                          <a:gd name="connsiteX46" fmla="*/ 4647 w 43832"/>
                          <a:gd name="connsiteY46" fmla="*/ 20849 h 25370"/>
                          <a:gd name="connsiteX47" fmla="*/ 4396 w 43832"/>
                          <a:gd name="connsiteY47" fmla="*/ 20723 h 25370"/>
                          <a:gd name="connsiteX48" fmla="*/ 3768 w 43832"/>
                          <a:gd name="connsiteY48" fmla="*/ 20346 h 25370"/>
                          <a:gd name="connsiteX49" fmla="*/ 3642 w 43832"/>
                          <a:gd name="connsiteY49" fmla="*/ 20346 h 25370"/>
                          <a:gd name="connsiteX50" fmla="*/ 3391 w 43832"/>
                          <a:gd name="connsiteY50" fmla="*/ 20221 h 25370"/>
                          <a:gd name="connsiteX51" fmla="*/ 3391 w 43832"/>
                          <a:gd name="connsiteY51" fmla="*/ 20095 h 25370"/>
                          <a:gd name="connsiteX52" fmla="*/ 2763 w 43832"/>
                          <a:gd name="connsiteY52" fmla="*/ 19844 h 25370"/>
                          <a:gd name="connsiteX53" fmla="*/ 2763 w 43832"/>
                          <a:gd name="connsiteY53" fmla="*/ 19844 h 25370"/>
                          <a:gd name="connsiteX54" fmla="*/ 2638 w 43832"/>
                          <a:gd name="connsiteY54" fmla="*/ 19718 h 25370"/>
                          <a:gd name="connsiteX55" fmla="*/ 2009 w 43832"/>
                          <a:gd name="connsiteY55" fmla="*/ 19342 h 25370"/>
                          <a:gd name="connsiteX56" fmla="*/ 2009 w 43832"/>
                          <a:gd name="connsiteY56" fmla="*/ 19342 h 25370"/>
                          <a:gd name="connsiteX57" fmla="*/ 1633 w 43832"/>
                          <a:gd name="connsiteY57" fmla="*/ 19090 h 25370"/>
                          <a:gd name="connsiteX58" fmla="*/ 1381 w 43832"/>
                          <a:gd name="connsiteY58" fmla="*/ 18965 h 25370"/>
                          <a:gd name="connsiteX59" fmla="*/ 0 w 43832"/>
                          <a:gd name="connsiteY59" fmla="*/ 18211 h 25370"/>
                          <a:gd name="connsiteX60" fmla="*/ 4396 w 43832"/>
                          <a:gd name="connsiteY60" fmla="*/ 15699 h 25370"/>
                          <a:gd name="connsiteX61" fmla="*/ 4396 w 43832"/>
                          <a:gd name="connsiteY61" fmla="*/ 15574 h 25370"/>
                          <a:gd name="connsiteX62" fmla="*/ 4521 w 43832"/>
                          <a:gd name="connsiteY62" fmla="*/ 15574 h 25370"/>
                          <a:gd name="connsiteX63" fmla="*/ 4647 w 43832"/>
                          <a:gd name="connsiteY63" fmla="*/ 15574 h 25370"/>
                          <a:gd name="connsiteX64" fmla="*/ 4898 w 43832"/>
                          <a:gd name="connsiteY64" fmla="*/ 15448 h 25370"/>
                          <a:gd name="connsiteX65" fmla="*/ 4898 w 43832"/>
                          <a:gd name="connsiteY65" fmla="*/ 15323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211 w 43832"/>
                          <a:gd name="connsiteY70" fmla="*/ 7661 h 25370"/>
                          <a:gd name="connsiteX71" fmla="*/ 18337 w 43832"/>
                          <a:gd name="connsiteY71" fmla="*/ 7536 h 25370"/>
                          <a:gd name="connsiteX72" fmla="*/ 31524 w 43832"/>
                          <a:gd name="connsiteY72" fmla="*/ 0 h 25370"/>
                          <a:gd name="connsiteX73" fmla="*/ 32278 w 43832"/>
                          <a:gd name="connsiteY73" fmla="*/ 377 h 25370"/>
                          <a:gd name="connsiteX74" fmla="*/ 32404 w 43832"/>
                          <a:gd name="connsiteY74" fmla="*/ 502 h 25370"/>
                          <a:gd name="connsiteX75" fmla="*/ 33408 w 43832"/>
                          <a:gd name="connsiteY75" fmla="*/ 1130 h 25370"/>
                          <a:gd name="connsiteX76" fmla="*/ 33659 w 43832"/>
                          <a:gd name="connsiteY76" fmla="*/ 1256 h 25370"/>
                          <a:gd name="connsiteX77" fmla="*/ 34539 w 43832"/>
                          <a:gd name="connsiteY77" fmla="*/ 1758 h 25370"/>
                          <a:gd name="connsiteX78" fmla="*/ 34790 w 43832"/>
                          <a:gd name="connsiteY78" fmla="*/ 1884 h 25370"/>
                          <a:gd name="connsiteX79" fmla="*/ 35166 w 43832"/>
                          <a:gd name="connsiteY79" fmla="*/ 2135 h 25370"/>
                          <a:gd name="connsiteX80" fmla="*/ 35166 w 43832"/>
                          <a:gd name="connsiteY80" fmla="*/ 2135 h 25370"/>
                          <a:gd name="connsiteX81" fmla="*/ 36046 w 43832"/>
                          <a:gd name="connsiteY81" fmla="*/ 2637 h 25370"/>
                          <a:gd name="connsiteX82" fmla="*/ 36297 w 43832"/>
                          <a:gd name="connsiteY82" fmla="*/ 2637 h 25370"/>
                          <a:gd name="connsiteX83" fmla="*/ 36799 w 43832"/>
                          <a:gd name="connsiteY83" fmla="*/ 3014 h 25370"/>
                          <a:gd name="connsiteX84" fmla="*/ 36925 w 43832"/>
                          <a:gd name="connsiteY84" fmla="*/ 3014 h 25370"/>
                          <a:gd name="connsiteX85" fmla="*/ 37804 w 43832"/>
                          <a:gd name="connsiteY85" fmla="*/ 3642 h 25370"/>
                          <a:gd name="connsiteX86" fmla="*/ 37930 w 43832"/>
                          <a:gd name="connsiteY86" fmla="*/ 3642 h 25370"/>
                          <a:gd name="connsiteX87" fmla="*/ 38306 w 43832"/>
                          <a:gd name="connsiteY87" fmla="*/ 3893 h 25370"/>
                          <a:gd name="connsiteX88" fmla="*/ 38809 w 43832"/>
                          <a:gd name="connsiteY88" fmla="*/ 4145 h 25370"/>
                          <a:gd name="connsiteX89" fmla="*/ 38934 w 43832"/>
                          <a:gd name="connsiteY89" fmla="*/ 4270 h 25370"/>
                          <a:gd name="connsiteX90" fmla="*/ 39186 w 43832"/>
                          <a:gd name="connsiteY90" fmla="*/ 4396 h 25370"/>
                          <a:gd name="connsiteX91" fmla="*/ 39311 w 43832"/>
                          <a:gd name="connsiteY91" fmla="*/ 4521 h 25370"/>
                          <a:gd name="connsiteX92" fmla="*/ 39688 w 43832"/>
                          <a:gd name="connsiteY92" fmla="*/ 4647 h 25370"/>
                          <a:gd name="connsiteX93" fmla="*/ 39813 w 43832"/>
                          <a:gd name="connsiteY93" fmla="*/ 4773 h 25370"/>
                          <a:gd name="connsiteX94" fmla="*/ 40316 w 43832"/>
                          <a:gd name="connsiteY94" fmla="*/ 5024 h 25370"/>
                          <a:gd name="connsiteX95" fmla="*/ 40567 w 43832"/>
                          <a:gd name="connsiteY95" fmla="*/ 5149 h 25370"/>
                          <a:gd name="connsiteX96" fmla="*/ 40693 w 43832"/>
                          <a:gd name="connsiteY96" fmla="*/ 5275 h 25370"/>
                          <a:gd name="connsiteX97" fmla="*/ 40693 w 43832"/>
                          <a:gd name="connsiteY97" fmla="*/ 5275 h 25370"/>
                          <a:gd name="connsiteX98" fmla="*/ 40818 w 43832"/>
                          <a:gd name="connsiteY98" fmla="*/ 5400 h 25370"/>
                          <a:gd name="connsiteX99" fmla="*/ 41195 w 43832"/>
                          <a:gd name="connsiteY99" fmla="*/ 5526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949 w 43832"/>
                          <a:gd name="connsiteY104" fmla="*/ 6028 h 25370"/>
                          <a:gd name="connsiteX105" fmla="*/ 42074 w 43832"/>
                          <a:gd name="connsiteY105" fmla="*/ 6028 h 25370"/>
                          <a:gd name="connsiteX106" fmla="*/ 42451 w 43832"/>
                          <a:gd name="connsiteY106" fmla="*/ 6280 h 25370"/>
                          <a:gd name="connsiteX107" fmla="*/ 42577 w 43832"/>
                          <a:gd name="connsiteY107" fmla="*/ 6280 h 25370"/>
                          <a:gd name="connsiteX108" fmla="*/ 42827 w 43832"/>
                          <a:gd name="connsiteY108" fmla="*/ 6531 h 25370"/>
                          <a:gd name="connsiteX109" fmla="*/ 42953 w 43832"/>
                          <a:gd name="connsiteY109" fmla="*/ 6531 h 25370"/>
                          <a:gd name="connsiteX110" fmla="*/ 43456 w 43832"/>
                          <a:gd name="connsiteY110" fmla="*/ 6782 h 25370"/>
                          <a:gd name="connsiteX111" fmla="*/ 43456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553" y="10676"/>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17584" y="22230"/>
                            </a:lnTo>
                            <a:lnTo>
                              <a:pt x="17206" y="22481"/>
                            </a:lnTo>
                            <a:lnTo>
                              <a:pt x="17206" y="22481"/>
                            </a:lnTo>
                            <a:lnTo>
                              <a:pt x="12308" y="25370"/>
                            </a:lnTo>
                            <a:lnTo>
                              <a:pt x="12308" y="25244"/>
                            </a:lnTo>
                            <a:lnTo>
                              <a:pt x="12183" y="25244"/>
                            </a:lnTo>
                            <a:lnTo>
                              <a:pt x="11806" y="24993"/>
                            </a:lnTo>
                            <a:lnTo>
                              <a:pt x="11806" y="24993"/>
                            </a:lnTo>
                            <a:lnTo>
                              <a:pt x="11304" y="24742"/>
                            </a:lnTo>
                            <a:lnTo>
                              <a:pt x="11178" y="24616"/>
                            </a:lnTo>
                            <a:lnTo>
                              <a:pt x="10173" y="24114"/>
                            </a:lnTo>
                            <a:lnTo>
                              <a:pt x="10173" y="23989"/>
                            </a:lnTo>
                            <a:lnTo>
                              <a:pt x="9545" y="23612"/>
                            </a:lnTo>
                            <a:lnTo>
                              <a:pt x="9294" y="23486"/>
                            </a:lnTo>
                            <a:lnTo>
                              <a:pt x="8666" y="23235"/>
                            </a:lnTo>
                            <a:lnTo>
                              <a:pt x="8666" y="23235"/>
                            </a:lnTo>
                            <a:lnTo>
                              <a:pt x="8164" y="22858"/>
                            </a:lnTo>
                            <a:lnTo>
                              <a:pt x="8038" y="22858"/>
                            </a:lnTo>
                            <a:lnTo>
                              <a:pt x="7410" y="22481"/>
                            </a:lnTo>
                            <a:lnTo>
                              <a:pt x="7285" y="22356"/>
                            </a:lnTo>
                            <a:lnTo>
                              <a:pt x="7285" y="22356"/>
                            </a:lnTo>
                            <a:lnTo>
                              <a:pt x="6531"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342"/>
                            </a:lnTo>
                            <a:lnTo>
                              <a:pt x="2009" y="19342"/>
                            </a:lnTo>
                            <a:lnTo>
                              <a:pt x="1633" y="19090"/>
                            </a:lnTo>
                            <a:lnTo>
                              <a:pt x="1381" y="18965"/>
                            </a:lnTo>
                            <a:lnTo>
                              <a:pt x="0" y="18211"/>
                            </a:lnTo>
                            <a:lnTo>
                              <a:pt x="4396" y="15699"/>
                            </a:lnTo>
                            <a:lnTo>
                              <a:pt x="4396" y="15574"/>
                            </a:lnTo>
                            <a:lnTo>
                              <a:pt x="4521" y="15574"/>
                            </a:lnTo>
                            <a:lnTo>
                              <a:pt x="4647" y="15574"/>
                            </a:lnTo>
                            <a:lnTo>
                              <a:pt x="4898" y="15448"/>
                            </a:lnTo>
                            <a:lnTo>
                              <a:pt x="4898" y="15323"/>
                            </a:lnTo>
                            <a:lnTo>
                              <a:pt x="5024" y="15323"/>
                            </a:lnTo>
                            <a:lnTo>
                              <a:pt x="5024" y="15323"/>
                            </a:lnTo>
                            <a:lnTo>
                              <a:pt x="17584" y="8038"/>
                            </a:lnTo>
                            <a:lnTo>
                              <a:pt x="17834" y="7913"/>
                            </a:lnTo>
                            <a:lnTo>
                              <a:pt x="18211" y="7661"/>
                            </a:lnTo>
                            <a:lnTo>
                              <a:pt x="18337" y="7536"/>
                            </a:lnTo>
                            <a:lnTo>
                              <a:pt x="31524" y="0"/>
                            </a:lnTo>
                            <a:lnTo>
                              <a:pt x="32278" y="377"/>
                            </a:lnTo>
                            <a:lnTo>
                              <a:pt x="32404" y="502"/>
                            </a:lnTo>
                            <a:lnTo>
                              <a:pt x="33408" y="1130"/>
                            </a:lnTo>
                            <a:lnTo>
                              <a:pt x="33659" y="1256"/>
                            </a:lnTo>
                            <a:lnTo>
                              <a:pt x="34539" y="1758"/>
                            </a:lnTo>
                            <a:lnTo>
                              <a:pt x="34790" y="1884"/>
                            </a:lnTo>
                            <a:lnTo>
                              <a:pt x="35166" y="2135"/>
                            </a:lnTo>
                            <a:lnTo>
                              <a:pt x="35166" y="2135"/>
                            </a:lnTo>
                            <a:lnTo>
                              <a:pt x="36046" y="2637"/>
                            </a:lnTo>
                            <a:lnTo>
                              <a:pt x="36297" y="2637"/>
                            </a:lnTo>
                            <a:lnTo>
                              <a:pt x="36799" y="3014"/>
                            </a:lnTo>
                            <a:lnTo>
                              <a:pt x="36925" y="3014"/>
                            </a:lnTo>
                            <a:lnTo>
                              <a:pt x="37804" y="3642"/>
                            </a:lnTo>
                            <a:lnTo>
                              <a:pt x="37930" y="3642"/>
                            </a:lnTo>
                            <a:lnTo>
                              <a:pt x="38306" y="3893"/>
                            </a:lnTo>
                            <a:lnTo>
                              <a:pt x="38809" y="4145"/>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0"/>
                            </a:lnTo>
                            <a:lnTo>
                              <a:pt x="41195" y="5526"/>
                            </a:lnTo>
                            <a:lnTo>
                              <a:pt x="41320" y="5652"/>
                            </a:lnTo>
                            <a:lnTo>
                              <a:pt x="41572" y="5777"/>
                            </a:lnTo>
                            <a:lnTo>
                              <a:pt x="41572" y="5777"/>
                            </a:lnTo>
                            <a:lnTo>
                              <a:pt x="41698" y="5903"/>
                            </a:lnTo>
                            <a:lnTo>
                              <a:pt x="41949" y="6028"/>
                            </a:lnTo>
                            <a:lnTo>
                              <a:pt x="42074" y="6028"/>
                            </a:lnTo>
                            <a:lnTo>
                              <a:pt x="42451" y="6280"/>
                            </a:lnTo>
                            <a:lnTo>
                              <a:pt x="42577" y="6280"/>
                            </a:lnTo>
                            <a:lnTo>
                              <a:pt x="42827" y="6531"/>
                            </a:lnTo>
                            <a:lnTo>
                              <a:pt x="42953" y="6531"/>
                            </a:lnTo>
                            <a:lnTo>
                              <a:pt x="43456" y="6782"/>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80" name="Freeform: Shape 4179">
                      <a:extLst>
                        <a:ext uri="{FF2B5EF4-FFF2-40B4-BE49-F238E27FC236}">
                          <a16:creationId xmlns:a16="http://schemas.microsoft.com/office/drawing/2014/main" id="{7BF611A3-C4E6-4117-9C0E-B4BA443F942A}"/>
                        </a:ext>
                      </a:extLst>
                    </p:cNvPr>
                    <p:cNvSpPr/>
                    <p:nvPr/>
                  </p:nvSpPr>
                  <p:spPr>
                    <a:xfrm>
                      <a:off x="7245442" y="3861261"/>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81" name="Graphic 4">
                    <a:extLst>
                      <a:ext uri="{FF2B5EF4-FFF2-40B4-BE49-F238E27FC236}">
                        <a16:creationId xmlns:a16="http://schemas.microsoft.com/office/drawing/2014/main" id="{84FB7ED1-A2DF-40A1-A747-5F7CF3F14040}"/>
                      </a:ext>
                    </a:extLst>
                  </p:cNvPr>
                  <p:cNvGrpSpPr/>
                  <p:nvPr/>
                </p:nvGrpSpPr>
                <p:grpSpPr>
                  <a:xfrm>
                    <a:off x="7259508" y="3851088"/>
                    <a:ext cx="43832" cy="27002"/>
                    <a:chOff x="7259508" y="3851088"/>
                    <a:chExt cx="43832" cy="27002"/>
                  </a:xfrm>
                  <a:solidFill>
                    <a:schemeClr val="accent1"/>
                  </a:solidFill>
                </p:grpSpPr>
                <p:grpSp>
                  <p:nvGrpSpPr>
                    <p:cNvPr id="4182" name="Graphic 4">
                      <a:extLst>
                        <a:ext uri="{FF2B5EF4-FFF2-40B4-BE49-F238E27FC236}">
                          <a16:creationId xmlns:a16="http://schemas.microsoft.com/office/drawing/2014/main" id="{84FB7ED1-A2DF-40A1-A747-5F7CF3F14040}"/>
                        </a:ext>
                      </a:extLst>
                    </p:cNvPr>
                    <p:cNvGrpSpPr/>
                    <p:nvPr/>
                  </p:nvGrpSpPr>
                  <p:grpSpPr>
                    <a:xfrm>
                      <a:off x="7259508" y="3851088"/>
                      <a:ext cx="43832" cy="27002"/>
                      <a:chOff x="7259508" y="3851088"/>
                      <a:chExt cx="43832" cy="27002"/>
                    </a:xfrm>
                    <a:solidFill>
                      <a:schemeClr val="accent1"/>
                    </a:solidFill>
                  </p:grpSpPr>
                  <p:sp>
                    <p:nvSpPr>
                      <p:cNvPr id="4183" name="Freeform: Shape 4182">
                        <a:extLst>
                          <a:ext uri="{FF2B5EF4-FFF2-40B4-BE49-F238E27FC236}">
                            <a16:creationId xmlns:a16="http://schemas.microsoft.com/office/drawing/2014/main" id="{C8C40DC0-C39B-4523-8451-1534A0247931}"/>
                          </a:ext>
                        </a:extLst>
                      </p:cNvPr>
                      <p:cNvSpPr/>
                      <p:nvPr/>
                    </p:nvSpPr>
                    <p:spPr>
                      <a:xfrm>
                        <a:off x="7259508" y="3852721"/>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230 h 25370"/>
                          <a:gd name="connsiteX23" fmla="*/ 17584 w 43832"/>
                          <a:gd name="connsiteY23" fmla="*/ 22230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244 h 25370"/>
                          <a:gd name="connsiteX29" fmla="*/ 11806 w 43832"/>
                          <a:gd name="connsiteY29" fmla="*/ 25119 h 25370"/>
                          <a:gd name="connsiteX30" fmla="*/ 11680 w 43832"/>
                          <a:gd name="connsiteY30" fmla="*/ 24993 h 25370"/>
                          <a:gd name="connsiteX31" fmla="*/ 11680 w 43832"/>
                          <a:gd name="connsiteY31" fmla="*/ 24993 h 25370"/>
                          <a:gd name="connsiteX32" fmla="*/ 11304 w 43832"/>
                          <a:gd name="connsiteY32" fmla="*/ 24742 h 25370"/>
                          <a:gd name="connsiteX33" fmla="*/ 11178 w 43832"/>
                          <a:gd name="connsiteY33" fmla="*/ 24742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1 h 25370"/>
                          <a:gd name="connsiteX44" fmla="*/ 7285 w 43832"/>
                          <a:gd name="connsiteY44" fmla="*/ 22481 h 25370"/>
                          <a:gd name="connsiteX45" fmla="*/ 6531 w 43832"/>
                          <a:gd name="connsiteY45" fmla="*/ 22105 h 25370"/>
                          <a:gd name="connsiteX46" fmla="*/ 6531 w 43832"/>
                          <a:gd name="connsiteY46" fmla="*/ 21979 h 25370"/>
                          <a:gd name="connsiteX47" fmla="*/ 6154 w 43832"/>
                          <a:gd name="connsiteY47" fmla="*/ 21853 h 25370"/>
                          <a:gd name="connsiteX48" fmla="*/ 6028 w 43832"/>
                          <a:gd name="connsiteY48" fmla="*/ 21728 h 25370"/>
                          <a:gd name="connsiteX49" fmla="*/ 5526 w 43832"/>
                          <a:gd name="connsiteY49" fmla="*/ 21477 h 25370"/>
                          <a:gd name="connsiteX50" fmla="*/ 5400 w 43832"/>
                          <a:gd name="connsiteY50" fmla="*/ 21477 h 25370"/>
                          <a:gd name="connsiteX51" fmla="*/ 4521 w 43832"/>
                          <a:gd name="connsiteY51" fmla="*/ 20974 h 25370"/>
                          <a:gd name="connsiteX52" fmla="*/ 4396 w 43832"/>
                          <a:gd name="connsiteY52" fmla="*/ 20849 h 25370"/>
                          <a:gd name="connsiteX53" fmla="*/ 3642 w 43832"/>
                          <a:gd name="connsiteY53" fmla="*/ 20346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10 w 43832"/>
                          <a:gd name="connsiteY60" fmla="*/ 19467 h 25370"/>
                          <a:gd name="connsiteX61" fmla="*/ 2010 w 43832"/>
                          <a:gd name="connsiteY61" fmla="*/ 19467 h 25370"/>
                          <a:gd name="connsiteX62" fmla="*/ 1507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502 h 25370"/>
                          <a:gd name="connsiteX69" fmla="*/ 33409 w 43832"/>
                          <a:gd name="connsiteY69" fmla="*/ 1130 h 25370"/>
                          <a:gd name="connsiteX70" fmla="*/ 33659 w 43832"/>
                          <a:gd name="connsiteY70" fmla="*/ 1256 h 25370"/>
                          <a:gd name="connsiteX71" fmla="*/ 34539 w 43832"/>
                          <a:gd name="connsiteY71" fmla="*/ 1758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140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521 h 25370"/>
                          <a:gd name="connsiteX87" fmla="*/ 39311 w 43832"/>
                          <a:gd name="connsiteY87" fmla="*/ 4521 h 25370"/>
                          <a:gd name="connsiteX88" fmla="*/ 39563 w 43832"/>
                          <a:gd name="connsiteY88" fmla="*/ 4647 h 25370"/>
                          <a:gd name="connsiteX89" fmla="*/ 39813 w 43832"/>
                          <a:gd name="connsiteY89" fmla="*/ 4772 h 25370"/>
                          <a:gd name="connsiteX90" fmla="*/ 40190 w 43832"/>
                          <a:gd name="connsiteY90" fmla="*/ 5149 h 25370"/>
                          <a:gd name="connsiteX91" fmla="*/ 40442 w 43832"/>
                          <a:gd name="connsiteY91" fmla="*/ 5149 h 25370"/>
                          <a:gd name="connsiteX92" fmla="*/ 40693 w 43832"/>
                          <a:gd name="connsiteY92" fmla="*/ 5400 h 25370"/>
                          <a:gd name="connsiteX93" fmla="*/ 40693 w 43832"/>
                          <a:gd name="connsiteY93" fmla="*/ 5400 h 25370"/>
                          <a:gd name="connsiteX94" fmla="*/ 40818 w 43832"/>
                          <a:gd name="connsiteY94" fmla="*/ 5400 h 25370"/>
                          <a:gd name="connsiteX95" fmla="*/ 41195 w 43832"/>
                          <a:gd name="connsiteY95" fmla="*/ 5652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823 w 43832"/>
                          <a:gd name="connsiteY100" fmla="*/ 6028 h 25370"/>
                          <a:gd name="connsiteX101" fmla="*/ 41949 w 43832"/>
                          <a:gd name="connsiteY101" fmla="*/ 6028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8133" y="16202"/>
                            </a:lnTo>
                            <a:lnTo>
                              <a:pt x="27631" y="16453"/>
                            </a:lnTo>
                            <a:lnTo>
                              <a:pt x="26500" y="17081"/>
                            </a:lnTo>
                            <a:lnTo>
                              <a:pt x="26500" y="17081"/>
                            </a:lnTo>
                            <a:lnTo>
                              <a:pt x="25998" y="17458"/>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1"/>
                            </a:lnTo>
                            <a:lnTo>
                              <a:pt x="17206" y="22481"/>
                            </a:lnTo>
                            <a:lnTo>
                              <a:pt x="12308" y="25370"/>
                            </a:lnTo>
                            <a:lnTo>
                              <a:pt x="12183" y="25370"/>
                            </a:lnTo>
                            <a:lnTo>
                              <a:pt x="12183" y="25244"/>
                            </a:lnTo>
                            <a:lnTo>
                              <a:pt x="11806" y="25119"/>
                            </a:lnTo>
                            <a:lnTo>
                              <a:pt x="11680" y="24993"/>
                            </a:lnTo>
                            <a:lnTo>
                              <a:pt x="11680" y="24993"/>
                            </a:lnTo>
                            <a:lnTo>
                              <a:pt x="11304" y="24742"/>
                            </a:lnTo>
                            <a:lnTo>
                              <a:pt x="11178" y="24742"/>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1"/>
                            </a:lnTo>
                            <a:lnTo>
                              <a:pt x="7285" y="22481"/>
                            </a:lnTo>
                            <a:lnTo>
                              <a:pt x="6531" y="22105"/>
                            </a:lnTo>
                            <a:lnTo>
                              <a:pt x="6531" y="21979"/>
                            </a:lnTo>
                            <a:lnTo>
                              <a:pt x="6154" y="21853"/>
                            </a:lnTo>
                            <a:lnTo>
                              <a:pt x="6028" y="21728"/>
                            </a:lnTo>
                            <a:lnTo>
                              <a:pt x="5526" y="21477"/>
                            </a:lnTo>
                            <a:lnTo>
                              <a:pt x="5400" y="21477"/>
                            </a:lnTo>
                            <a:lnTo>
                              <a:pt x="4521" y="20974"/>
                            </a:lnTo>
                            <a:lnTo>
                              <a:pt x="4396" y="20849"/>
                            </a:lnTo>
                            <a:lnTo>
                              <a:pt x="3642" y="20346"/>
                            </a:lnTo>
                            <a:lnTo>
                              <a:pt x="3642" y="20346"/>
                            </a:lnTo>
                            <a:lnTo>
                              <a:pt x="3391" y="20221"/>
                            </a:lnTo>
                            <a:lnTo>
                              <a:pt x="3266" y="20221"/>
                            </a:lnTo>
                            <a:lnTo>
                              <a:pt x="2763" y="19844"/>
                            </a:lnTo>
                            <a:lnTo>
                              <a:pt x="2763" y="19844"/>
                            </a:lnTo>
                            <a:lnTo>
                              <a:pt x="2638" y="19718"/>
                            </a:lnTo>
                            <a:lnTo>
                              <a:pt x="2010" y="19467"/>
                            </a:lnTo>
                            <a:lnTo>
                              <a:pt x="2010" y="19467"/>
                            </a:lnTo>
                            <a:lnTo>
                              <a:pt x="1507" y="19216"/>
                            </a:lnTo>
                            <a:lnTo>
                              <a:pt x="1381" y="19090"/>
                            </a:lnTo>
                            <a:lnTo>
                              <a:pt x="0" y="18211"/>
                            </a:lnTo>
                            <a:lnTo>
                              <a:pt x="0" y="16578"/>
                            </a:lnTo>
                            <a:lnTo>
                              <a:pt x="31524" y="0"/>
                            </a:lnTo>
                            <a:lnTo>
                              <a:pt x="32278" y="502"/>
                            </a:lnTo>
                            <a:lnTo>
                              <a:pt x="32404" y="502"/>
                            </a:lnTo>
                            <a:lnTo>
                              <a:pt x="33409" y="1130"/>
                            </a:lnTo>
                            <a:lnTo>
                              <a:pt x="33659" y="1256"/>
                            </a:lnTo>
                            <a:lnTo>
                              <a:pt x="34539" y="1758"/>
                            </a:lnTo>
                            <a:lnTo>
                              <a:pt x="34664" y="1884"/>
                            </a:lnTo>
                            <a:lnTo>
                              <a:pt x="35166" y="2135"/>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181" y="3893"/>
                            </a:lnTo>
                            <a:lnTo>
                              <a:pt x="38809" y="4270"/>
                            </a:lnTo>
                            <a:lnTo>
                              <a:pt x="38935" y="4270"/>
                            </a:lnTo>
                            <a:lnTo>
                              <a:pt x="39186" y="4521"/>
                            </a:lnTo>
                            <a:lnTo>
                              <a:pt x="39311" y="4521"/>
                            </a:lnTo>
                            <a:lnTo>
                              <a:pt x="39563" y="4647"/>
                            </a:lnTo>
                            <a:lnTo>
                              <a:pt x="39813" y="4772"/>
                            </a:lnTo>
                            <a:lnTo>
                              <a:pt x="40190" y="5149"/>
                            </a:lnTo>
                            <a:lnTo>
                              <a:pt x="40442" y="5149"/>
                            </a:lnTo>
                            <a:lnTo>
                              <a:pt x="40693" y="5400"/>
                            </a:lnTo>
                            <a:lnTo>
                              <a:pt x="40693" y="5400"/>
                            </a:lnTo>
                            <a:lnTo>
                              <a:pt x="40818" y="5400"/>
                            </a:lnTo>
                            <a:lnTo>
                              <a:pt x="41195" y="5652"/>
                            </a:lnTo>
                            <a:lnTo>
                              <a:pt x="41320" y="5652"/>
                            </a:lnTo>
                            <a:lnTo>
                              <a:pt x="41572" y="5777"/>
                            </a:lnTo>
                            <a:lnTo>
                              <a:pt x="41572" y="5777"/>
                            </a:lnTo>
                            <a:lnTo>
                              <a:pt x="41698" y="5903"/>
                            </a:lnTo>
                            <a:lnTo>
                              <a:pt x="41823" y="6028"/>
                            </a:lnTo>
                            <a:lnTo>
                              <a:pt x="41949" y="6028"/>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84" name="Freeform: Shape 4183">
                        <a:extLst>
                          <a:ext uri="{FF2B5EF4-FFF2-40B4-BE49-F238E27FC236}">
                            <a16:creationId xmlns:a16="http://schemas.microsoft.com/office/drawing/2014/main" id="{0F8923EA-FD97-4775-A4E1-15872D5BFADF}"/>
                          </a:ext>
                        </a:extLst>
                      </p:cNvPr>
                      <p:cNvSpPr/>
                      <p:nvPr/>
                    </p:nvSpPr>
                    <p:spPr>
                      <a:xfrm>
                        <a:off x="7259508" y="3851088"/>
                        <a:ext cx="43832" cy="25244"/>
                      </a:xfrm>
                      <a:custGeom>
                        <a:avLst/>
                        <a:gdLst>
                          <a:gd name="connsiteX0" fmla="*/ 43832 w 43832"/>
                          <a:gd name="connsiteY0" fmla="*/ 7033 h 25244"/>
                          <a:gd name="connsiteX1" fmla="*/ 42075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076 h 25244"/>
                          <a:gd name="connsiteX10" fmla="*/ 27631 w 43832"/>
                          <a:gd name="connsiteY10" fmla="*/ 16327 h 25244"/>
                          <a:gd name="connsiteX11" fmla="*/ 26500 w 43832"/>
                          <a:gd name="connsiteY11" fmla="*/ 17081 h 25244"/>
                          <a:gd name="connsiteX12" fmla="*/ 25998 w 43832"/>
                          <a:gd name="connsiteY12" fmla="*/ 17332 h 25244"/>
                          <a:gd name="connsiteX13" fmla="*/ 25998 w 43832"/>
                          <a:gd name="connsiteY13" fmla="*/ 17332 h 25244"/>
                          <a:gd name="connsiteX14" fmla="*/ 25998 w 43832"/>
                          <a:gd name="connsiteY14" fmla="*/ 17332 h 25244"/>
                          <a:gd name="connsiteX15" fmla="*/ 25747 w 43832"/>
                          <a:gd name="connsiteY15" fmla="*/ 17458 h 25244"/>
                          <a:gd name="connsiteX16" fmla="*/ 24240 w 43832"/>
                          <a:gd name="connsiteY16" fmla="*/ 18337 h 25244"/>
                          <a:gd name="connsiteX17" fmla="*/ 24240 w 43832"/>
                          <a:gd name="connsiteY17" fmla="*/ 18337 h 25244"/>
                          <a:gd name="connsiteX18" fmla="*/ 23989 w 43832"/>
                          <a:gd name="connsiteY18" fmla="*/ 18588 h 25244"/>
                          <a:gd name="connsiteX19" fmla="*/ 17584 w 43832"/>
                          <a:gd name="connsiteY19" fmla="*/ 22230 h 25244"/>
                          <a:gd name="connsiteX20" fmla="*/ 17206 w 43832"/>
                          <a:gd name="connsiteY20" fmla="*/ 22481 h 25244"/>
                          <a:gd name="connsiteX21" fmla="*/ 17206 w 43832"/>
                          <a:gd name="connsiteY21" fmla="*/ 22481 h 25244"/>
                          <a:gd name="connsiteX22" fmla="*/ 12308 w 43832"/>
                          <a:gd name="connsiteY22" fmla="*/ 25244 h 25244"/>
                          <a:gd name="connsiteX23" fmla="*/ 12183 w 43832"/>
                          <a:gd name="connsiteY23" fmla="*/ 25244 h 25244"/>
                          <a:gd name="connsiteX24" fmla="*/ 12183 w 43832"/>
                          <a:gd name="connsiteY24" fmla="*/ 25244 h 25244"/>
                          <a:gd name="connsiteX25" fmla="*/ 11806 w 43832"/>
                          <a:gd name="connsiteY25" fmla="*/ 24993 h 25244"/>
                          <a:gd name="connsiteX26" fmla="*/ 11680 w 43832"/>
                          <a:gd name="connsiteY26" fmla="*/ 24993 h 25244"/>
                          <a:gd name="connsiteX27" fmla="*/ 11304 w 43832"/>
                          <a:gd name="connsiteY27" fmla="*/ 24742 h 25244"/>
                          <a:gd name="connsiteX28" fmla="*/ 11178 w 43832"/>
                          <a:gd name="connsiteY28" fmla="*/ 24617 h 25244"/>
                          <a:gd name="connsiteX29" fmla="*/ 10173 w 43832"/>
                          <a:gd name="connsiteY29" fmla="*/ 23989 h 25244"/>
                          <a:gd name="connsiteX30" fmla="*/ 10047 w 43832"/>
                          <a:gd name="connsiteY30" fmla="*/ 23989 h 25244"/>
                          <a:gd name="connsiteX31" fmla="*/ 9420 w 43832"/>
                          <a:gd name="connsiteY31" fmla="*/ 23612 h 25244"/>
                          <a:gd name="connsiteX32" fmla="*/ 9168 w 43832"/>
                          <a:gd name="connsiteY32" fmla="*/ 23486 h 25244"/>
                          <a:gd name="connsiteX33" fmla="*/ 8666 w 43832"/>
                          <a:gd name="connsiteY33" fmla="*/ 23235 h 25244"/>
                          <a:gd name="connsiteX34" fmla="*/ 8540 w 43832"/>
                          <a:gd name="connsiteY34" fmla="*/ 23109 h 25244"/>
                          <a:gd name="connsiteX35" fmla="*/ 8164 w 43832"/>
                          <a:gd name="connsiteY35" fmla="*/ 22858 h 25244"/>
                          <a:gd name="connsiteX36" fmla="*/ 8038 w 43832"/>
                          <a:gd name="connsiteY36" fmla="*/ 22858 h 25244"/>
                          <a:gd name="connsiteX37" fmla="*/ 7410 w 43832"/>
                          <a:gd name="connsiteY37" fmla="*/ 22481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602 h 25244"/>
                          <a:gd name="connsiteX44" fmla="*/ 5526 w 43832"/>
                          <a:gd name="connsiteY44" fmla="*/ 21351 h 25244"/>
                          <a:gd name="connsiteX45" fmla="*/ 5400 w 43832"/>
                          <a:gd name="connsiteY45" fmla="*/ 21351 h 25244"/>
                          <a:gd name="connsiteX46" fmla="*/ 4521 w 43832"/>
                          <a:gd name="connsiteY46" fmla="*/ 20849 h 25244"/>
                          <a:gd name="connsiteX47" fmla="*/ 4396 w 43832"/>
                          <a:gd name="connsiteY47" fmla="*/ 20723 h 25244"/>
                          <a:gd name="connsiteX48" fmla="*/ 3642 w 43832"/>
                          <a:gd name="connsiteY48" fmla="*/ 20346 h 25244"/>
                          <a:gd name="connsiteX49" fmla="*/ 3642 w 43832"/>
                          <a:gd name="connsiteY49" fmla="*/ 20221 h 25244"/>
                          <a:gd name="connsiteX50" fmla="*/ 3391 w 43832"/>
                          <a:gd name="connsiteY50" fmla="*/ 20095 h 25244"/>
                          <a:gd name="connsiteX51" fmla="*/ 3266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10 w 43832"/>
                          <a:gd name="connsiteY55" fmla="*/ 19342 h 25244"/>
                          <a:gd name="connsiteX56" fmla="*/ 2010 w 43832"/>
                          <a:gd name="connsiteY56" fmla="*/ 19342 h 25244"/>
                          <a:gd name="connsiteX57" fmla="*/ 1507 w 43832"/>
                          <a:gd name="connsiteY57" fmla="*/ 19090 h 25244"/>
                          <a:gd name="connsiteX58" fmla="*/ 1381 w 43832"/>
                          <a:gd name="connsiteY58" fmla="*/ 18965 h 25244"/>
                          <a:gd name="connsiteX59" fmla="*/ 0 w 43832"/>
                          <a:gd name="connsiteY59" fmla="*/ 18086 h 25244"/>
                          <a:gd name="connsiteX60" fmla="*/ 4396 w 43832"/>
                          <a:gd name="connsiteY60" fmla="*/ 15574 h 25244"/>
                          <a:gd name="connsiteX61" fmla="*/ 4396 w 43832"/>
                          <a:gd name="connsiteY61" fmla="*/ 15574 h 25244"/>
                          <a:gd name="connsiteX62" fmla="*/ 4521 w 43832"/>
                          <a:gd name="connsiteY62" fmla="*/ 15574 h 25244"/>
                          <a:gd name="connsiteX63" fmla="*/ 4521 w 43832"/>
                          <a:gd name="connsiteY63" fmla="*/ 15448 h 25244"/>
                          <a:gd name="connsiteX64" fmla="*/ 4773 w 43832"/>
                          <a:gd name="connsiteY64" fmla="*/ 15323 h 25244"/>
                          <a:gd name="connsiteX65" fmla="*/ 4898 w 43832"/>
                          <a:gd name="connsiteY65" fmla="*/ 15323 h 25244"/>
                          <a:gd name="connsiteX66" fmla="*/ 5024 w 43832"/>
                          <a:gd name="connsiteY66" fmla="*/ 15197 h 25244"/>
                          <a:gd name="connsiteX67" fmla="*/ 5024 w 43832"/>
                          <a:gd name="connsiteY67" fmla="*/ 15197 h 25244"/>
                          <a:gd name="connsiteX68" fmla="*/ 17584 w 43832"/>
                          <a:gd name="connsiteY68" fmla="*/ 8038 h 25244"/>
                          <a:gd name="connsiteX69" fmla="*/ 17834 w 43832"/>
                          <a:gd name="connsiteY69" fmla="*/ 7913 h 25244"/>
                          <a:gd name="connsiteX70" fmla="*/ 18086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9 w 43832"/>
                          <a:gd name="connsiteY75" fmla="*/ 1005 h 25244"/>
                          <a:gd name="connsiteX76" fmla="*/ 33659 w 43832"/>
                          <a:gd name="connsiteY76" fmla="*/ 1130 h 25244"/>
                          <a:gd name="connsiteX77" fmla="*/ 34539 w 43832"/>
                          <a:gd name="connsiteY77" fmla="*/ 1758 h 25244"/>
                          <a:gd name="connsiteX78" fmla="*/ 34664 w 43832"/>
                          <a:gd name="connsiteY78" fmla="*/ 1758 h 25244"/>
                          <a:gd name="connsiteX79" fmla="*/ 35166 w 43832"/>
                          <a:gd name="connsiteY79" fmla="*/ 2010 h 25244"/>
                          <a:gd name="connsiteX80" fmla="*/ 35166 w 43832"/>
                          <a:gd name="connsiteY80" fmla="*/ 2135 h 25244"/>
                          <a:gd name="connsiteX81" fmla="*/ 36046 w 43832"/>
                          <a:gd name="connsiteY81" fmla="*/ 2512 h 25244"/>
                          <a:gd name="connsiteX82" fmla="*/ 36171 w 43832"/>
                          <a:gd name="connsiteY82" fmla="*/ 2638 h 25244"/>
                          <a:gd name="connsiteX83" fmla="*/ 36799 w 43832"/>
                          <a:gd name="connsiteY83" fmla="*/ 3014 h 25244"/>
                          <a:gd name="connsiteX84" fmla="*/ 36799 w 43832"/>
                          <a:gd name="connsiteY84" fmla="*/ 3014 h 25244"/>
                          <a:gd name="connsiteX85" fmla="*/ 37804 w 43832"/>
                          <a:gd name="connsiteY85" fmla="*/ 3517 h 25244"/>
                          <a:gd name="connsiteX86" fmla="*/ 37930 w 43832"/>
                          <a:gd name="connsiteY86" fmla="*/ 3642 h 25244"/>
                          <a:gd name="connsiteX87" fmla="*/ 38181 w 43832"/>
                          <a:gd name="connsiteY87" fmla="*/ 3893 h 25244"/>
                          <a:gd name="connsiteX88" fmla="*/ 38809 w 43832"/>
                          <a:gd name="connsiteY88" fmla="*/ 4145 h 25244"/>
                          <a:gd name="connsiteX89" fmla="*/ 38935 w 43832"/>
                          <a:gd name="connsiteY89" fmla="*/ 4145 h 25244"/>
                          <a:gd name="connsiteX90" fmla="*/ 39186 w 43832"/>
                          <a:gd name="connsiteY90" fmla="*/ 4396 h 25244"/>
                          <a:gd name="connsiteX91" fmla="*/ 39311 w 43832"/>
                          <a:gd name="connsiteY91" fmla="*/ 4396 h 25244"/>
                          <a:gd name="connsiteX92" fmla="*/ 39563 w 43832"/>
                          <a:gd name="connsiteY92" fmla="*/ 4647 h 25244"/>
                          <a:gd name="connsiteX93" fmla="*/ 39813 w 43832"/>
                          <a:gd name="connsiteY93" fmla="*/ 4647 h 25244"/>
                          <a:gd name="connsiteX94" fmla="*/ 40316 w 43832"/>
                          <a:gd name="connsiteY94" fmla="*/ 5024 h 25244"/>
                          <a:gd name="connsiteX95" fmla="*/ 40442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823 w 43832"/>
                          <a:gd name="connsiteY104" fmla="*/ 5903 h 25244"/>
                          <a:gd name="connsiteX105" fmla="*/ 41949 w 43832"/>
                          <a:gd name="connsiteY105" fmla="*/ 6028 h 25244"/>
                          <a:gd name="connsiteX106" fmla="*/ 42451 w 43832"/>
                          <a:gd name="connsiteY106" fmla="*/ 6280 h 25244"/>
                          <a:gd name="connsiteX107" fmla="*/ 42577 w 43832"/>
                          <a:gd name="connsiteY107" fmla="*/ 6280 h 25244"/>
                          <a:gd name="connsiteX108" fmla="*/ 42828 w 43832"/>
                          <a:gd name="connsiteY108" fmla="*/ 6531 h 25244"/>
                          <a:gd name="connsiteX109" fmla="*/ 42953 w 43832"/>
                          <a:gd name="connsiteY109" fmla="*/ 6531 h 25244"/>
                          <a:gd name="connsiteX110" fmla="*/ 43330 w 43832"/>
                          <a:gd name="connsiteY110" fmla="*/ 6782 h 25244"/>
                          <a:gd name="connsiteX111" fmla="*/ 43330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5" y="8038"/>
                            </a:lnTo>
                            <a:lnTo>
                              <a:pt x="41823" y="8164"/>
                            </a:lnTo>
                            <a:lnTo>
                              <a:pt x="41823" y="8164"/>
                            </a:lnTo>
                            <a:lnTo>
                              <a:pt x="39060" y="9796"/>
                            </a:lnTo>
                            <a:lnTo>
                              <a:pt x="38935" y="9796"/>
                            </a:lnTo>
                            <a:lnTo>
                              <a:pt x="38432" y="10173"/>
                            </a:lnTo>
                            <a:lnTo>
                              <a:pt x="38181" y="10299"/>
                            </a:lnTo>
                            <a:lnTo>
                              <a:pt x="37553" y="10676"/>
                            </a:lnTo>
                            <a:lnTo>
                              <a:pt x="28133" y="16076"/>
                            </a:lnTo>
                            <a:lnTo>
                              <a:pt x="27631" y="16327"/>
                            </a:lnTo>
                            <a:lnTo>
                              <a:pt x="26500" y="17081"/>
                            </a:lnTo>
                            <a:lnTo>
                              <a:pt x="25998" y="17332"/>
                            </a:lnTo>
                            <a:lnTo>
                              <a:pt x="25998" y="17332"/>
                            </a:lnTo>
                            <a:lnTo>
                              <a:pt x="25998" y="17332"/>
                            </a:lnTo>
                            <a:lnTo>
                              <a:pt x="25747" y="17458"/>
                            </a:lnTo>
                            <a:lnTo>
                              <a:pt x="24240" y="18337"/>
                            </a:lnTo>
                            <a:lnTo>
                              <a:pt x="24240" y="18337"/>
                            </a:lnTo>
                            <a:lnTo>
                              <a:pt x="23989" y="18588"/>
                            </a:lnTo>
                            <a:lnTo>
                              <a:pt x="17584" y="22230"/>
                            </a:lnTo>
                            <a:lnTo>
                              <a:pt x="17206" y="22481"/>
                            </a:lnTo>
                            <a:lnTo>
                              <a:pt x="17206" y="22481"/>
                            </a:lnTo>
                            <a:lnTo>
                              <a:pt x="12308" y="25244"/>
                            </a:lnTo>
                            <a:lnTo>
                              <a:pt x="12183" y="25244"/>
                            </a:lnTo>
                            <a:lnTo>
                              <a:pt x="12183" y="25244"/>
                            </a:lnTo>
                            <a:lnTo>
                              <a:pt x="11806" y="24993"/>
                            </a:lnTo>
                            <a:lnTo>
                              <a:pt x="11680" y="24993"/>
                            </a:lnTo>
                            <a:lnTo>
                              <a:pt x="11304" y="24742"/>
                            </a:lnTo>
                            <a:lnTo>
                              <a:pt x="11178" y="24617"/>
                            </a:lnTo>
                            <a:lnTo>
                              <a:pt x="10173" y="23989"/>
                            </a:lnTo>
                            <a:lnTo>
                              <a:pt x="10047" y="23989"/>
                            </a:lnTo>
                            <a:lnTo>
                              <a:pt x="9420" y="23612"/>
                            </a:lnTo>
                            <a:lnTo>
                              <a:pt x="9168" y="23486"/>
                            </a:lnTo>
                            <a:lnTo>
                              <a:pt x="8666" y="23235"/>
                            </a:lnTo>
                            <a:lnTo>
                              <a:pt x="8540" y="23109"/>
                            </a:lnTo>
                            <a:lnTo>
                              <a:pt x="8164" y="22858"/>
                            </a:lnTo>
                            <a:lnTo>
                              <a:pt x="8038" y="22858"/>
                            </a:lnTo>
                            <a:lnTo>
                              <a:pt x="7410" y="22481"/>
                            </a:lnTo>
                            <a:lnTo>
                              <a:pt x="7285" y="22356"/>
                            </a:lnTo>
                            <a:lnTo>
                              <a:pt x="7285" y="22356"/>
                            </a:lnTo>
                            <a:lnTo>
                              <a:pt x="6531" y="21979"/>
                            </a:lnTo>
                            <a:lnTo>
                              <a:pt x="6531" y="21979"/>
                            </a:lnTo>
                            <a:lnTo>
                              <a:pt x="6154" y="21728"/>
                            </a:lnTo>
                            <a:lnTo>
                              <a:pt x="6028" y="21602"/>
                            </a:lnTo>
                            <a:lnTo>
                              <a:pt x="5526" y="21351"/>
                            </a:lnTo>
                            <a:lnTo>
                              <a:pt x="5400" y="21351"/>
                            </a:lnTo>
                            <a:lnTo>
                              <a:pt x="4521" y="20849"/>
                            </a:lnTo>
                            <a:lnTo>
                              <a:pt x="4396" y="20723"/>
                            </a:lnTo>
                            <a:lnTo>
                              <a:pt x="3642" y="20346"/>
                            </a:lnTo>
                            <a:lnTo>
                              <a:pt x="3642" y="20221"/>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086"/>
                            </a:lnTo>
                            <a:lnTo>
                              <a:pt x="4396" y="15574"/>
                            </a:lnTo>
                            <a:lnTo>
                              <a:pt x="4396" y="15574"/>
                            </a:lnTo>
                            <a:lnTo>
                              <a:pt x="4521" y="15574"/>
                            </a:lnTo>
                            <a:lnTo>
                              <a:pt x="4521" y="15448"/>
                            </a:lnTo>
                            <a:lnTo>
                              <a:pt x="4773" y="15323"/>
                            </a:lnTo>
                            <a:lnTo>
                              <a:pt x="4898" y="15323"/>
                            </a:lnTo>
                            <a:lnTo>
                              <a:pt x="5024" y="15197"/>
                            </a:lnTo>
                            <a:lnTo>
                              <a:pt x="5024" y="15197"/>
                            </a:lnTo>
                            <a:lnTo>
                              <a:pt x="17584" y="8038"/>
                            </a:lnTo>
                            <a:lnTo>
                              <a:pt x="17834" y="7913"/>
                            </a:lnTo>
                            <a:lnTo>
                              <a:pt x="18086" y="7661"/>
                            </a:lnTo>
                            <a:lnTo>
                              <a:pt x="18337" y="7536"/>
                            </a:lnTo>
                            <a:lnTo>
                              <a:pt x="31524" y="0"/>
                            </a:lnTo>
                            <a:lnTo>
                              <a:pt x="32278" y="377"/>
                            </a:lnTo>
                            <a:lnTo>
                              <a:pt x="32404" y="502"/>
                            </a:lnTo>
                            <a:lnTo>
                              <a:pt x="33409" y="1005"/>
                            </a:lnTo>
                            <a:lnTo>
                              <a:pt x="33659" y="1130"/>
                            </a:lnTo>
                            <a:lnTo>
                              <a:pt x="34539" y="1758"/>
                            </a:lnTo>
                            <a:lnTo>
                              <a:pt x="34664" y="1758"/>
                            </a:lnTo>
                            <a:lnTo>
                              <a:pt x="35166" y="2010"/>
                            </a:lnTo>
                            <a:lnTo>
                              <a:pt x="35166" y="2135"/>
                            </a:lnTo>
                            <a:lnTo>
                              <a:pt x="36046" y="2512"/>
                            </a:lnTo>
                            <a:lnTo>
                              <a:pt x="36171" y="2638"/>
                            </a:lnTo>
                            <a:lnTo>
                              <a:pt x="36799" y="3014"/>
                            </a:lnTo>
                            <a:lnTo>
                              <a:pt x="36799" y="3014"/>
                            </a:lnTo>
                            <a:lnTo>
                              <a:pt x="37804" y="3517"/>
                            </a:lnTo>
                            <a:lnTo>
                              <a:pt x="37930" y="3642"/>
                            </a:lnTo>
                            <a:lnTo>
                              <a:pt x="38181" y="3893"/>
                            </a:lnTo>
                            <a:lnTo>
                              <a:pt x="38809" y="4145"/>
                            </a:lnTo>
                            <a:lnTo>
                              <a:pt x="38935" y="4145"/>
                            </a:lnTo>
                            <a:lnTo>
                              <a:pt x="39186" y="4396"/>
                            </a:lnTo>
                            <a:lnTo>
                              <a:pt x="39311" y="4396"/>
                            </a:lnTo>
                            <a:lnTo>
                              <a:pt x="39563" y="4647"/>
                            </a:lnTo>
                            <a:lnTo>
                              <a:pt x="39813" y="4647"/>
                            </a:lnTo>
                            <a:lnTo>
                              <a:pt x="40316"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8"/>
                            </a:lnTo>
                            <a:lnTo>
                              <a:pt x="42451" y="6280"/>
                            </a:lnTo>
                            <a:lnTo>
                              <a:pt x="42577" y="6280"/>
                            </a:lnTo>
                            <a:lnTo>
                              <a:pt x="42828" y="6531"/>
                            </a:lnTo>
                            <a:lnTo>
                              <a:pt x="42953" y="6531"/>
                            </a:lnTo>
                            <a:lnTo>
                              <a:pt x="43330" y="6782"/>
                            </a:lnTo>
                            <a:lnTo>
                              <a:pt x="43330"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85" name="Freeform: Shape 4184">
                      <a:extLst>
                        <a:ext uri="{FF2B5EF4-FFF2-40B4-BE49-F238E27FC236}">
                          <a16:creationId xmlns:a16="http://schemas.microsoft.com/office/drawing/2014/main" id="{7CC8A013-1161-4970-8987-8316323D6683}"/>
                        </a:ext>
                      </a:extLst>
                    </p:cNvPr>
                    <p:cNvSpPr/>
                    <p:nvPr/>
                  </p:nvSpPr>
                  <p:spPr>
                    <a:xfrm>
                      <a:off x="7259508" y="3869299"/>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86" name="Graphic 4">
                    <a:extLst>
                      <a:ext uri="{FF2B5EF4-FFF2-40B4-BE49-F238E27FC236}">
                        <a16:creationId xmlns:a16="http://schemas.microsoft.com/office/drawing/2014/main" id="{84FB7ED1-A2DF-40A1-A747-5F7CF3F14040}"/>
                      </a:ext>
                    </a:extLst>
                  </p:cNvPr>
                  <p:cNvGrpSpPr/>
                  <p:nvPr/>
                </p:nvGrpSpPr>
                <p:grpSpPr>
                  <a:xfrm>
                    <a:off x="7245442" y="3840287"/>
                    <a:ext cx="43832" cy="27002"/>
                    <a:chOff x="7245442" y="3840287"/>
                    <a:chExt cx="43832" cy="27002"/>
                  </a:xfrm>
                  <a:solidFill>
                    <a:schemeClr val="accent1"/>
                  </a:solidFill>
                </p:grpSpPr>
                <p:grpSp>
                  <p:nvGrpSpPr>
                    <p:cNvPr id="4187" name="Graphic 4">
                      <a:extLst>
                        <a:ext uri="{FF2B5EF4-FFF2-40B4-BE49-F238E27FC236}">
                          <a16:creationId xmlns:a16="http://schemas.microsoft.com/office/drawing/2014/main" id="{84FB7ED1-A2DF-40A1-A747-5F7CF3F14040}"/>
                        </a:ext>
                      </a:extLst>
                    </p:cNvPr>
                    <p:cNvGrpSpPr/>
                    <p:nvPr/>
                  </p:nvGrpSpPr>
                  <p:grpSpPr>
                    <a:xfrm>
                      <a:off x="7245442" y="3840287"/>
                      <a:ext cx="43832" cy="27002"/>
                      <a:chOff x="7245442" y="3840287"/>
                      <a:chExt cx="43832" cy="27002"/>
                    </a:xfrm>
                    <a:solidFill>
                      <a:schemeClr val="accent1"/>
                    </a:solidFill>
                  </p:grpSpPr>
                  <p:sp>
                    <p:nvSpPr>
                      <p:cNvPr id="4188" name="Freeform: Shape 4187">
                        <a:extLst>
                          <a:ext uri="{FF2B5EF4-FFF2-40B4-BE49-F238E27FC236}">
                            <a16:creationId xmlns:a16="http://schemas.microsoft.com/office/drawing/2014/main" id="{48415B5C-AA76-45E9-9D80-B69D2BEA3614}"/>
                          </a:ext>
                        </a:extLst>
                      </p:cNvPr>
                      <p:cNvSpPr/>
                      <p:nvPr/>
                    </p:nvSpPr>
                    <p:spPr>
                      <a:xfrm>
                        <a:off x="7245442" y="3842045"/>
                        <a:ext cx="43832" cy="25244"/>
                      </a:xfrm>
                      <a:custGeom>
                        <a:avLst/>
                        <a:gdLst>
                          <a:gd name="connsiteX0" fmla="*/ 43832 w 43832"/>
                          <a:gd name="connsiteY0" fmla="*/ 7033 h 25244"/>
                          <a:gd name="connsiteX1" fmla="*/ 42074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9060 w 43832"/>
                          <a:gd name="connsiteY5" fmla="*/ 9922 h 25244"/>
                          <a:gd name="connsiteX6" fmla="*/ 38432 w 43832"/>
                          <a:gd name="connsiteY6" fmla="*/ 10299 h 25244"/>
                          <a:gd name="connsiteX7" fmla="*/ 38306 w 43832"/>
                          <a:gd name="connsiteY7" fmla="*/ 10299 h 25244"/>
                          <a:gd name="connsiteX8" fmla="*/ 37678 w 43832"/>
                          <a:gd name="connsiteY8" fmla="*/ 10676 h 25244"/>
                          <a:gd name="connsiteX9" fmla="*/ 28133 w 43832"/>
                          <a:gd name="connsiteY9" fmla="*/ 16202 h 25244"/>
                          <a:gd name="connsiteX10" fmla="*/ 28133 w 43832"/>
                          <a:gd name="connsiteY10" fmla="*/ 16202 h 25244"/>
                          <a:gd name="connsiteX11" fmla="*/ 27631 w 43832"/>
                          <a:gd name="connsiteY11" fmla="*/ 16453 h 25244"/>
                          <a:gd name="connsiteX12" fmla="*/ 26626 w 43832"/>
                          <a:gd name="connsiteY12" fmla="*/ 17081 h 25244"/>
                          <a:gd name="connsiteX13" fmla="*/ 26626 w 43832"/>
                          <a:gd name="connsiteY13" fmla="*/ 17081 h 25244"/>
                          <a:gd name="connsiteX14" fmla="*/ 26124 w 43832"/>
                          <a:gd name="connsiteY14" fmla="*/ 17332 h 25244"/>
                          <a:gd name="connsiteX15" fmla="*/ 25998 w 43832"/>
                          <a:gd name="connsiteY15" fmla="*/ 17458 h 25244"/>
                          <a:gd name="connsiteX16" fmla="*/ 25998 w 43832"/>
                          <a:gd name="connsiteY16" fmla="*/ 17458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8 w 43832"/>
                          <a:gd name="connsiteY21" fmla="*/ 18588 h 25244"/>
                          <a:gd name="connsiteX22" fmla="*/ 17584 w 43832"/>
                          <a:gd name="connsiteY22" fmla="*/ 22230 h 25244"/>
                          <a:gd name="connsiteX23" fmla="*/ 17584 w 43832"/>
                          <a:gd name="connsiteY23" fmla="*/ 22230 h 25244"/>
                          <a:gd name="connsiteX24" fmla="*/ 17206 w 43832"/>
                          <a:gd name="connsiteY24" fmla="*/ 22481 h 25244"/>
                          <a:gd name="connsiteX25" fmla="*/ 17206 w 43832"/>
                          <a:gd name="connsiteY25" fmla="*/ 22481 h 25244"/>
                          <a:gd name="connsiteX26" fmla="*/ 12308 w 43832"/>
                          <a:gd name="connsiteY26" fmla="*/ 25244 h 25244"/>
                          <a:gd name="connsiteX27" fmla="*/ 12308 w 43832"/>
                          <a:gd name="connsiteY27" fmla="*/ 25244 h 25244"/>
                          <a:gd name="connsiteX28" fmla="*/ 12183 w 43832"/>
                          <a:gd name="connsiteY28" fmla="*/ 25244 h 25244"/>
                          <a:gd name="connsiteX29" fmla="*/ 11806 w 43832"/>
                          <a:gd name="connsiteY29" fmla="*/ 24993 h 25244"/>
                          <a:gd name="connsiteX30" fmla="*/ 11806 w 43832"/>
                          <a:gd name="connsiteY30" fmla="*/ 24993 h 25244"/>
                          <a:gd name="connsiteX31" fmla="*/ 11806 w 43832"/>
                          <a:gd name="connsiteY31" fmla="*/ 24993 h 25244"/>
                          <a:gd name="connsiteX32" fmla="*/ 11304 w 43832"/>
                          <a:gd name="connsiteY32" fmla="*/ 24742 h 25244"/>
                          <a:gd name="connsiteX33" fmla="*/ 11178 w 43832"/>
                          <a:gd name="connsiteY33" fmla="*/ 24617 h 25244"/>
                          <a:gd name="connsiteX34" fmla="*/ 10173 w 43832"/>
                          <a:gd name="connsiteY34" fmla="*/ 24114 h 25244"/>
                          <a:gd name="connsiteX35" fmla="*/ 10173 w 43832"/>
                          <a:gd name="connsiteY35" fmla="*/ 23989 h 25244"/>
                          <a:gd name="connsiteX36" fmla="*/ 9420 w 43832"/>
                          <a:gd name="connsiteY36" fmla="*/ 23612 h 25244"/>
                          <a:gd name="connsiteX37" fmla="*/ 9294 w 43832"/>
                          <a:gd name="connsiteY37" fmla="*/ 23486 h 25244"/>
                          <a:gd name="connsiteX38" fmla="*/ 8666 w 43832"/>
                          <a:gd name="connsiteY38" fmla="*/ 23235 h 25244"/>
                          <a:gd name="connsiteX39" fmla="*/ 8666 w 43832"/>
                          <a:gd name="connsiteY39" fmla="*/ 23235 h 25244"/>
                          <a:gd name="connsiteX40" fmla="*/ 8164 w 43832"/>
                          <a:gd name="connsiteY40" fmla="*/ 22858 h 25244"/>
                          <a:gd name="connsiteX41" fmla="*/ 8038 w 43832"/>
                          <a:gd name="connsiteY41" fmla="*/ 22858 h 25244"/>
                          <a:gd name="connsiteX42" fmla="*/ 7410 w 43832"/>
                          <a:gd name="connsiteY42" fmla="*/ 22481 h 25244"/>
                          <a:gd name="connsiteX43" fmla="*/ 7285 w 43832"/>
                          <a:gd name="connsiteY43" fmla="*/ 22356 h 25244"/>
                          <a:gd name="connsiteX44" fmla="*/ 7285 w 43832"/>
                          <a:gd name="connsiteY44" fmla="*/ 22356 h 25244"/>
                          <a:gd name="connsiteX45" fmla="*/ 6657 w 43832"/>
                          <a:gd name="connsiteY45" fmla="*/ 21979 h 25244"/>
                          <a:gd name="connsiteX46" fmla="*/ 6531 w 43832"/>
                          <a:gd name="connsiteY46" fmla="*/ 21979 h 25244"/>
                          <a:gd name="connsiteX47" fmla="*/ 6154 w 43832"/>
                          <a:gd name="connsiteY47" fmla="*/ 21728 h 25244"/>
                          <a:gd name="connsiteX48" fmla="*/ 6028 w 43832"/>
                          <a:gd name="connsiteY48" fmla="*/ 21728 h 25244"/>
                          <a:gd name="connsiteX49" fmla="*/ 5526 w 43832"/>
                          <a:gd name="connsiteY49" fmla="*/ 21351 h 25244"/>
                          <a:gd name="connsiteX50" fmla="*/ 5526 w 43832"/>
                          <a:gd name="connsiteY50" fmla="*/ 21351 h 25244"/>
                          <a:gd name="connsiteX51" fmla="*/ 4647 w 43832"/>
                          <a:gd name="connsiteY51" fmla="*/ 20849 h 25244"/>
                          <a:gd name="connsiteX52" fmla="*/ 4396 w 43832"/>
                          <a:gd name="connsiteY52" fmla="*/ 20723 h 25244"/>
                          <a:gd name="connsiteX53" fmla="*/ 3768 w 43832"/>
                          <a:gd name="connsiteY53" fmla="*/ 20346 h 25244"/>
                          <a:gd name="connsiteX54" fmla="*/ 3642 w 43832"/>
                          <a:gd name="connsiteY54" fmla="*/ 20346 h 25244"/>
                          <a:gd name="connsiteX55" fmla="*/ 3391 w 43832"/>
                          <a:gd name="connsiteY55" fmla="*/ 20221 h 25244"/>
                          <a:gd name="connsiteX56" fmla="*/ 3391 w 43832"/>
                          <a:gd name="connsiteY56" fmla="*/ 20095 h 25244"/>
                          <a:gd name="connsiteX57" fmla="*/ 2763 w 43832"/>
                          <a:gd name="connsiteY57" fmla="*/ 19844 h 25244"/>
                          <a:gd name="connsiteX58" fmla="*/ 2763 w 43832"/>
                          <a:gd name="connsiteY58" fmla="*/ 19844 h 25244"/>
                          <a:gd name="connsiteX59" fmla="*/ 2638 w 43832"/>
                          <a:gd name="connsiteY59" fmla="*/ 19718 h 25244"/>
                          <a:gd name="connsiteX60" fmla="*/ 2009 w 43832"/>
                          <a:gd name="connsiteY60" fmla="*/ 19342 h 25244"/>
                          <a:gd name="connsiteX61" fmla="*/ 2009 w 43832"/>
                          <a:gd name="connsiteY61" fmla="*/ 19342 h 25244"/>
                          <a:gd name="connsiteX62" fmla="*/ 1633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8 w 43832"/>
                          <a:gd name="connsiteY69" fmla="*/ 1130 h 25244"/>
                          <a:gd name="connsiteX70" fmla="*/ 33659 w 43832"/>
                          <a:gd name="connsiteY70" fmla="*/ 1256 h 25244"/>
                          <a:gd name="connsiteX71" fmla="*/ 34539 w 43832"/>
                          <a:gd name="connsiteY71" fmla="*/ 1758 h 25244"/>
                          <a:gd name="connsiteX72" fmla="*/ 34790 w 43832"/>
                          <a:gd name="connsiteY72" fmla="*/ 1884 h 25244"/>
                          <a:gd name="connsiteX73" fmla="*/ 35166 w 43832"/>
                          <a:gd name="connsiteY73" fmla="*/ 2135 h 25244"/>
                          <a:gd name="connsiteX74" fmla="*/ 35166 w 43832"/>
                          <a:gd name="connsiteY74" fmla="*/ 2135 h 25244"/>
                          <a:gd name="connsiteX75" fmla="*/ 35166 w 43832"/>
                          <a:gd name="connsiteY75" fmla="*/ 2135 h 25244"/>
                          <a:gd name="connsiteX76" fmla="*/ 36046 w 43832"/>
                          <a:gd name="connsiteY76" fmla="*/ 2638 h 25244"/>
                          <a:gd name="connsiteX77" fmla="*/ 36297 w 43832"/>
                          <a:gd name="connsiteY77" fmla="*/ 2638 h 25244"/>
                          <a:gd name="connsiteX78" fmla="*/ 36799 w 43832"/>
                          <a:gd name="connsiteY78" fmla="*/ 3014 h 25244"/>
                          <a:gd name="connsiteX79" fmla="*/ 36925 w 43832"/>
                          <a:gd name="connsiteY79" fmla="*/ 3014 h 25244"/>
                          <a:gd name="connsiteX80" fmla="*/ 37804 w 43832"/>
                          <a:gd name="connsiteY80" fmla="*/ 3642 h 25244"/>
                          <a:gd name="connsiteX81" fmla="*/ 37930 w 43832"/>
                          <a:gd name="connsiteY81" fmla="*/ 3642 h 25244"/>
                          <a:gd name="connsiteX82" fmla="*/ 38181 w 43832"/>
                          <a:gd name="connsiteY82" fmla="*/ 3768 h 25244"/>
                          <a:gd name="connsiteX83" fmla="*/ 38306 w 43832"/>
                          <a:gd name="connsiteY83" fmla="*/ 3893 h 25244"/>
                          <a:gd name="connsiteX84" fmla="*/ 38809 w 43832"/>
                          <a:gd name="connsiteY84" fmla="*/ 4145 h 25244"/>
                          <a:gd name="connsiteX85" fmla="*/ 38934 w 43832"/>
                          <a:gd name="connsiteY85" fmla="*/ 4270 h 25244"/>
                          <a:gd name="connsiteX86" fmla="*/ 39186 w 43832"/>
                          <a:gd name="connsiteY86" fmla="*/ 4396 h 25244"/>
                          <a:gd name="connsiteX87" fmla="*/ 39311 w 43832"/>
                          <a:gd name="connsiteY87" fmla="*/ 4396 h 25244"/>
                          <a:gd name="connsiteX88" fmla="*/ 39688 w 43832"/>
                          <a:gd name="connsiteY88" fmla="*/ 4647 h 25244"/>
                          <a:gd name="connsiteX89" fmla="*/ 39813 w 43832"/>
                          <a:gd name="connsiteY89" fmla="*/ 4773 h 25244"/>
                          <a:gd name="connsiteX90" fmla="*/ 40316 w 43832"/>
                          <a:gd name="connsiteY90" fmla="*/ 5024 h 25244"/>
                          <a:gd name="connsiteX91" fmla="*/ 40567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949 w 43832"/>
                          <a:gd name="connsiteY100" fmla="*/ 6028 h 25244"/>
                          <a:gd name="connsiteX101" fmla="*/ 42074 w 43832"/>
                          <a:gd name="connsiteY101" fmla="*/ 6028 h 25244"/>
                          <a:gd name="connsiteX102" fmla="*/ 43832 w 43832"/>
                          <a:gd name="connsiteY102" fmla="*/ 5401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4" y="8164"/>
                            </a:lnTo>
                            <a:lnTo>
                              <a:pt x="41823" y="8289"/>
                            </a:lnTo>
                            <a:lnTo>
                              <a:pt x="41823" y="8289"/>
                            </a:lnTo>
                            <a:lnTo>
                              <a:pt x="39060" y="9922"/>
                            </a:lnTo>
                            <a:lnTo>
                              <a:pt x="39060" y="9922"/>
                            </a:lnTo>
                            <a:lnTo>
                              <a:pt x="38432" y="10299"/>
                            </a:lnTo>
                            <a:lnTo>
                              <a:pt x="38306" y="10299"/>
                            </a:lnTo>
                            <a:lnTo>
                              <a:pt x="37678" y="10676"/>
                            </a:lnTo>
                            <a:lnTo>
                              <a:pt x="28133" y="16202"/>
                            </a:lnTo>
                            <a:lnTo>
                              <a:pt x="28133" y="16202"/>
                            </a:lnTo>
                            <a:lnTo>
                              <a:pt x="27631" y="16453"/>
                            </a:lnTo>
                            <a:lnTo>
                              <a:pt x="26626" y="17081"/>
                            </a:lnTo>
                            <a:lnTo>
                              <a:pt x="26626" y="17081"/>
                            </a:lnTo>
                            <a:lnTo>
                              <a:pt x="26124" y="17332"/>
                            </a:lnTo>
                            <a:lnTo>
                              <a:pt x="25998" y="17458"/>
                            </a:lnTo>
                            <a:lnTo>
                              <a:pt x="25998" y="17458"/>
                            </a:lnTo>
                            <a:lnTo>
                              <a:pt x="25747" y="17583"/>
                            </a:lnTo>
                            <a:lnTo>
                              <a:pt x="25747" y="17583"/>
                            </a:lnTo>
                            <a:lnTo>
                              <a:pt x="24240" y="18462"/>
                            </a:lnTo>
                            <a:lnTo>
                              <a:pt x="24240" y="18462"/>
                            </a:lnTo>
                            <a:lnTo>
                              <a:pt x="23988" y="18588"/>
                            </a:lnTo>
                            <a:lnTo>
                              <a:pt x="17584" y="22230"/>
                            </a:lnTo>
                            <a:lnTo>
                              <a:pt x="17584" y="22230"/>
                            </a:lnTo>
                            <a:lnTo>
                              <a:pt x="17206" y="22481"/>
                            </a:lnTo>
                            <a:lnTo>
                              <a:pt x="17206" y="22481"/>
                            </a:lnTo>
                            <a:lnTo>
                              <a:pt x="12308" y="25244"/>
                            </a:lnTo>
                            <a:lnTo>
                              <a:pt x="12308" y="25244"/>
                            </a:lnTo>
                            <a:lnTo>
                              <a:pt x="12183" y="25244"/>
                            </a:lnTo>
                            <a:lnTo>
                              <a:pt x="11806" y="24993"/>
                            </a:lnTo>
                            <a:lnTo>
                              <a:pt x="11806" y="24993"/>
                            </a:lnTo>
                            <a:lnTo>
                              <a:pt x="11806" y="24993"/>
                            </a:lnTo>
                            <a:lnTo>
                              <a:pt x="11304" y="24742"/>
                            </a:lnTo>
                            <a:lnTo>
                              <a:pt x="11178" y="24617"/>
                            </a:lnTo>
                            <a:lnTo>
                              <a:pt x="10173" y="24114"/>
                            </a:lnTo>
                            <a:lnTo>
                              <a:pt x="10173" y="23989"/>
                            </a:lnTo>
                            <a:lnTo>
                              <a:pt x="9420" y="23612"/>
                            </a:lnTo>
                            <a:lnTo>
                              <a:pt x="9294" y="23486"/>
                            </a:lnTo>
                            <a:lnTo>
                              <a:pt x="8666" y="23235"/>
                            </a:lnTo>
                            <a:lnTo>
                              <a:pt x="8666" y="23235"/>
                            </a:lnTo>
                            <a:lnTo>
                              <a:pt x="8164" y="22858"/>
                            </a:lnTo>
                            <a:lnTo>
                              <a:pt x="8038" y="22858"/>
                            </a:lnTo>
                            <a:lnTo>
                              <a:pt x="7410" y="22481"/>
                            </a:lnTo>
                            <a:lnTo>
                              <a:pt x="7285" y="22356"/>
                            </a:lnTo>
                            <a:lnTo>
                              <a:pt x="7285" y="22356"/>
                            </a:lnTo>
                            <a:lnTo>
                              <a:pt x="6657" y="21979"/>
                            </a:lnTo>
                            <a:lnTo>
                              <a:pt x="6531" y="21979"/>
                            </a:lnTo>
                            <a:lnTo>
                              <a:pt x="6154" y="21728"/>
                            </a:lnTo>
                            <a:lnTo>
                              <a:pt x="6028" y="21728"/>
                            </a:lnTo>
                            <a:lnTo>
                              <a:pt x="5526" y="21351"/>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342"/>
                            </a:lnTo>
                            <a:lnTo>
                              <a:pt x="2009" y="19342"/>
                            </a:lnTo>
                            <a:lnTo>
                              <a:pt x="1633" y="19090"/>
                            </a:lnTo>
                            <a:lnTo>
                              <a:pt x="1381" y="18965"/>
                            </a:lnTo>
                            <a:lnTo>
                              <a:pt x="0" y="18211"/>
                            </a:lnTo>
                            <a:lnTo>
                              <a:pt x="0" y="16453"/>
                            </a:lnTo>
                            <a:lnTo>
                              <a:pt x="31524" y="0"/>
                            </a:lnTo>
                            <a:lnTo>
                              <a:pt x="32278" y="377"/>
                            </a:lnTo>
                            <a:lnTo>
                              <a:pt x="32404" y="502"/>
                            </a:lnTo>
                            <a:lnTo>
                              <a:pt x="33408" y="1130"/>
                            </a:lnTo>
                            <a:lnTo>
                              <a:pt x="33659" y="1256"/>
                            </a:lnTo>
                            <a:lnTo>
                              <a:pt x="34539" y="1758"/>
                            </a:lnTo>
                            <a:lnTo>
                              <a:pt x="34790" y="1884"/>
                            </a:lnTo>
                            <a:lnTo>
                              <a:pt x="35166" y="2135"/>
                            </a:lnTo>
                            <a:lnTo>
                              <a:pt x="35166" y="2135"/>
                            </a:lnTo>
                            <a:lnTo>
                              <a:pt x="35166" y="2135"/>
                            </a:lnTo>
                            <a:lnTo>
                              <a:pt x="36046" y="2638"/>
                            </a:lnTo>
                            <a:lnTo>
                              <a:pt x="36297" y="2638"/>
                            </a:lnTo>
                            <a:lnTo>
                              <a:pt x="36799" y="3014"/>
                            </a:lnTo>
                            <a:lnTo>
                              <a:pt x="36925" y="3014"/>
                            </a:lnTo>
                            <a:lnTo>
                              <a:pt x="37804" y="3642"/>
                            </a:lnTo>
                            <a:lnTo>
                              <a:pt x="37930" y="3642"/>
                            </a:lnTo>
                            <a:lnTo>
                              <a:pt x="38181" y="3768"/>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6028"/>
                            </a:lnTo>
                            <a:lnTo>
                              <a:pt x="42074" y="6028"/>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89" name="Freeform: Shape 4188">
                        <a:extLst>
                          <a:ext uri="{FF2B5EF4-FFF2-40B4-BE49-F238E27FC236}">
                            <a16:creationId xmlns:a16="http://schemas.microsoft.com/office/drawing/2014/main" id="{C8F8A189-73D9-4354-B1AC-564915BC3C4F}"/>
                          </a:ext>
                        </a:extLst>
                      </p:cNvPr>
                      <p:cNvSpPr/>
                      <p:nvPr/>
                    </p:nvSpPr>
                    <p:spPr>
                      <a:xfrm>
                        <a:off x="7245442" y="3840287"/>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553 w 43832"/>
                          <a:gd name="connsiteY8" fmla="*/ 10676 h 25370"/>
                          <a:gd name="connsiteX9" fmla="*/ 34413 w 43832"/>
                          <a:gd name="connsiteY9" fmla="*/ 12559 h 25370"/>
                          <a:gd name="connsiteX10" fmla="*/ 28133 w 43832"/>
                          <a:gd name="connsiteY10" fmla="*/ 16202 h 25370"/>
                          <a:gd name="connsiteX11" fmla="*/ 27631 w 43832"/>
                          <a:gd name="connsiteY11" fmla="*/ 16453 h 25370"/>
                          <a:gd name="connsiteX12" fmla="*/ 26626 w 43832"/>
                          <a:gd name="connsiteY12" fmla="*/ 17081 h 25370"/>
                          <a:gd name="connsiteX13" fmla="*/ 26124 w 43832"/>
                          <a:gd name="connsiteY13" fmla="*/ 17332 h 25370"/>
                          <a:gd name="connsiteX14" fmla="*/ 25998 w 43832"/>
                          <a:gd name="connsiteY14" fmla="*/ 17458 h 25370"/>
                          <a:gd name="connsiteX15" fmla="*/ 25998 w 43832"/>
                          <a:gd name="connsiteY15" fmla="*/ 17458 h 25370"/>
                          <a:gd name="connsiteX16" fmla="*/ 25747 w 43832"/>
                          <a:gd name="connsiteY16" fmla="*/ 17583 h 25370"/>
                          <a:gd name="connsiteX17" fmla="*/ 24240 w 43832"/>
                          <a:gd name="connsiteY17" fmla="*/ 18462 h 25370"/>
                          <a:gd name="connsiteX18" fmla="*/ 24240 w 43832"/>
                          <a:gd name="connsiteY18" fmla="*/ 18462 h 25370"/>
                          <a:gd name="connsiteX19" fmla="*/ 23988 w 43832"/>
                          <a:gd name="connsiteY19" fmla="*/ 18588 h 25370"/>
                          <a:gd name="connsiteX20" fmla="*/ 22733 w 43832"/>
                          <a:gd name="connsiteY20" fmla="*/ 19216 h 25370"/>
                          <a:gd name="connsiteX21" fmla="*/ 17584 w 43832"/>
                          <a:gd name="connsiteY21" fmla="*/ 22230 h 25370"/>
                          <a:gd name="connsiteX22" fmla="*/ 17206 w 43832"/>
                          <a:gd name="connsiteY22" fmla="*/ 22481 h 25370"/>
                          <a:gd name="connsiteX23" fmla="*/ 17206 w 43832"/>
                          <a:gd name="connsiteY23" fmla="*/ 22481 h 25370"/>
                          <a:gd name="connsiteX24" fmla="*/ 12308 w 43832"/>
                          <a:gd name="connsiteY24" fmla="*/ 25370 h 25370"/>
                          <a:gd name="connsiteX25" fmla="*/ 12308 w 43832"/>
                          <a:gd name="connsiteY25" fmla="*/ 25244 h 25370"/>
                          <a:gd name="connsiteX26" fmla="*/ 12183 w 43832"/>
                          <a:gd name="connsiteY26" fmla="*/ 25244 h 25370"/>
                          <a:gd name="connsiteX27" fmla="*/ 11806 w 43832"/>
                          <a:gd name="connsiteY27" fmla="*/ 24993 h 25370"/>
                          <a:gd name="connsiteX28" fmla="*/ 11806 w 43832"/>
                          <a:gd name="connsiteY28" fmla="*/ 24993 h 25370"/>
                          <a:gd name="connsiteX29" fmla="*/ 11304 w 43832"/>
                          <a:gd name="connsiteY29" fmla="*/ 24742 h 25370"/>
                          <a:gd name="connsiteX30" fmla="*/ 11178 w 43832"/>
                          <a:gd name="connsiteY30" fmla="*/ 24617 h 25370"/>
                          <a:gd name="connsiteX31" fmla="*/ 10173 w 43832"/>
                          <a:gd name="connsiteY31" fmla="*/ 24114 h 25370"/>
                          <a:gd name="connsiteX32" fmla="*/ 10173 w 43832"/>
                          <a:gd name="connsiteY32" fmla="*/ 24114 h 25370"/>
                          <a:gd name="connsiteX33" fmla="*/ 9545 w 43832"/>
                          <a:gd name="connsiteY33" fmla="*/ 23737 h 25370"/>
                          <a:gd name="connsiteX34" fmla="*/ 9294 w 43832"/>
                          <a:gd name="connsiteY34" fmla="*/ 23612 h 25370"/>
                          <a:gd name="connsiteX35" fmla="*/ 8666 w 43832"/>
                          <a:gd name="connsiteY35" fmla="*/ 23235 h 25370"/>
                          <a:gd name="connsiteX36" fmla="*/ 8666 w 43832"/>
                          <a:gd name="connsiteY36" fmla="*/ 23235 h 25370"/>
                          <a:gd name="connsiteX37" fmla="*/ 8164 w 43832"/>
                          <a:gd name="connsiteY37" fmla="*/ 22984 h 25370"/>
                          <a:gd name="connsiteX38" fmla="*/ 8038 w 43832"/>
                          <a:gd name="connsiteY38" fmla="*/ 22858 h 25370"/>
                          <a:gd name="connsiteX39" fmla="*/ 7410 w 43832"/>
                          <a:gd name="connsiteY39" fmla="*/ 22481 h 25370"/>
                          <a:gd name="connsiteX40" fmla="*/ 7285 w 43832"/>
                          <a:gd name="connsiteY40" fmla="*/ 22356 h 25370"/>
                          <a:gd name="connsiteX41" fmla="*/ 7285 w 43832"/>
                          <a:gd name="connsiteY41" fmla="*/ 22356 h 25370"/>
                          <a:gd name="connsiteX42" fmla="*/ 6531 w 43832"/>
                          <a:gd name="connsiteY42" fmla="*/ 21979 h 25370"/>
                          <a:gd name="connsiteX43" fmla="*/ 6531 w 43832"/>
                          <a:gd name="connsiteY43" fmla="*/ 21979 h 25370"/>
                          <a:gd name="connsiteX44" fmla="*/ 6154 w 43832"/>
                          <a:gd name="connsiteY44" fmla="*/ 21728 h 25370"/>
                          <a:gd name="connsiteX45" fmla="*/ 6028 w 43832"/>
                          <a:gd name="connsiteY45" fmla="*/ 21728 h 25370"/>
                          <a:gd name="connsiteX46" fmla="*/ 5526 w 43832"/>
                          <a:gd name="connsiteY46" fmla="*/ 21477 h 25370"/>
                          <a:gd name="connsiteX47" fmla="*/ 5526 w 43832"/>
                          <a:gd name="connsiteY47" fmla="*/ 21351 h 25370"/>
                          <a:gd name="connsiteX48" fmla="*/ 4647 w 43832"/>
                          <a:gd name="connsiteY48" fmla="*/ 20849 h 25370"/>
                          <a:gd name="connsiteX49" fmla="*/ 4396 w 43832"/>
                          <a:gd name="connsiteY49" fmla="*/ 20723 h 25370"/>
                          <a:gd name="connsiteX50" fmla="*/ 3768 w 43832"/>
                          <a:gd name="connsiteY50" fmla="*/ 20346 h 25370"/>
                          <a:gd name="connsiteX51" fmla="*/ 3642 w 43832"/>
                          <a:gd name="connsiteY51" fmla="*/ 20346 h 25370"/>
                          <a:gd name="connsiteX52" fmla="*/ 3391 w 43832"/>
                          <a:gd name="connsiteY52" fmla="*/ 20221 h 25370"/>
                          <a:gd name="connsiteX53" fmla="*/ 3391 w 43832"/>
                          <a:gd name="connsiteY53" fmla="*/ 20095 h 25370"/>
                          <a:gd name="connsiteX54" fmla="*/ 2763 w 43832"/>
                          <a:gd name="connsiteY54" fmla="*/ 19844 h 25370"/>
                          <a:gd name="connsiteX55" fmla="*/ 2763 w 43832"/>
                          <a:gd name="connsiteY55" fmla="*/ 19844 h 25370"/>
                          <a:gd name="connsiteX56" fmla="*/ 2638 w 43832"/>
                          <a:gd name="connsiteY56" fmla="*/ 19718 h 25370"/>
                          <a:gd name="connsiteX57" fmla="*/ 2009 w 43832"/>
                          <a:gd name="connsiteY57" fmla="*/ 19467 h 25370"/>
                          <a:gd name="connsiteX58" fmla="*/ 2009 w 43832"/>
                          <a:gd name="connsiteY58" fmla="*/ 19342 h 25370"/>
                          <a:gd name="connsiteX59" fmla="*/ 1633 w 43832"/>
                          <a:gd name="connsiteY59" fmla="*/ 19090 h 25370"/>
                          <a:gd name="connsiteX60" fmla="*/ 1381 w 43832"/>
                          <a:gd name="connsiteY60" fmla="*/ 19090 h 25370"/>
                          <a:gd name="connsiteX61" fmla="*/ 0 w 43832"/>
                          <a:gd name="connsiteY61" fmla="*/ 18211 h 25370"/>
                          <a:gd name="connsiteX62" fmla="*/ 4396 w 43832"/>
                          <a:gd name="connsiteY62" fmla="*/ 15699 h 25370"/>
                          <a:gd name="connsiteX63" fmla="*/ 4396 w 43832"/>
                          <a:gd name="connsiteY63" fmla="*/ 15699 h 25370"/>
                          <a:gd name="connsiteX64" fmla="*/ 4521 w 43832"/>
                          <a:gd name="connsiteY64" fmla="*/ 15574 h 25370"/>
                          <a:gd name="connsiteX65" fmla="*/ 4647 w 43832"/>
                          <a:gd name="connsiteY65" fmla="*/ 15574 h 25370"/>
                          <a:gd name="connsiteX66" fmla="*/ 4898 w 43832"/>
                          <a:gd name="connsiteY66" fmla="*/ 15448 h 25370"/>
                          <a:gd name="connsiteX67" fmla="*/ 4898 w 43832"/>
                          <a:gd name="connsiteY67" fmla="*/ 15448 h 25370"/>
                          <a:gd name="connsiteX68" fmla="*/ 5024 w 43832"/>
                          <a:gd name="connsiteY68" fmla="*/ 15323 h 25370"/>
                          <a:gd name="connsiteX69" fmla="*/ 5024 w 43832"/>
                          <a:gd name="connsiteY69" fmla="*/ 15323 h 25370"/>
                          <a:gd name="connsiteX70" fmla="*/ 10425 w 43832"/>
                          <a:gd name="connsiteY70" fmla="*/ 12183 h 25370"/>
                          <a:gd name="connsiteX71" fmla="*/ 17584 w 43832"/>
                          <a:gd name="connsiteY71" fmla="*/ 8038 h 25370"/>
                          <a:gd name="connsiteX72" fmla="*/ 17834 w 43832"/>
                          <a:gd name="connsiteY72" fmla="*/ 7913 h 25370"/>
                          <a:gd name="connsiteX73" fmla="*/ 18211 w 43832"/>
                          <a:gd name="connsiteY73" fmla="*/ 7787 h 25370"/>
                          <a:gd name="connsiteX74" fmla="*/ 18337 w 43832"/>
                          <a:gd name="connsiteY74" fmla="*/ 7536 h 25370"/>
                          <a:gd name="connsiteX75" fmla="*/ 22105 w 43832"/>
                          <a:gd name="connsiteY75" fmla="*/ 5526 h 25370"/>
                          <a:gd name="connsiteX76" fmla="*/ 31524 w 43832"/>
                          <a:gd name="connsiteY76" fmla="*/ 0 h 25370"/>
                          <a:gd name="connsiteX77" fmla="*/ 32278 w 43832"/>
                          <a:gd name="connsiteY77" fmla="*/ 377 h 25370"/>
                          <a:gd name="connsiteX78" fmla="*/ 32404 w 43832"/>
                          <a:gd name="connsiteY78" fmla="*/ 502 h 25370"/>
                          <a:gd name="connsiteX79" fmla="*/ 33408 w 43832"/>
                          <a:gd name="connsiteY79" fmla="*/ 1130 h 25370"/>
                          <a:gd name="connsiteX80" fmla="*/ 33659 w 43832"/>
                          <a:gd name="connsiteY80" fmla="*/ 1256 h 25370"/>
                          <a:gd name="connsiteX81" fmla="*/ 34539 w 43832"/>
                          <a:gd name="connsiteY81" fmla="*/ 1758 h 25370"/>
                          <a:gd name="connsiteX82" fmla="*/ 34790 w 43832"/>
                          <a:gd name="connsiteY82" fmla="*/ 1884 h 25370"/>
                          <a:gd name="connsiteX83" fmla="*/ 35166 w 43832"/>
                          <a:gd name="connsiteY83" fmla="*/ 2135 h 25370"/>
                          <a:gd name="connsiteX84" fmla="*/ 35166 w 43832"/>
                          <a:gd name="connsiteY84" fmla="*/ 2135 h 25370"/>
                          <a:gd name="connsiteX85" fmla="*/ 36046 w 43832"/>
                          <a:gd name="connsiteY85" fmla="*/ 2638 h 25370"/>
                          <a:gd name="connsiteX86" fmla="*/ 36297 w 43832"/>
                          <a:gd name="connsiteY86" fmla="*/ 2763 h 25370"/>
                          <a:gd name="connsiteX87" fmla="*/ 36799 w 43832"/>
                          <a:gd name="connsiteY87" fmla="*/ 3014 h 25370"/>
                          <a:gd name="connsiteX88" fmla="*/ 36925 w 43832"/>
                          <a:gd name="connsiteY88" fmla="*/ 3014 h 25370"/>
                          <a:gd name="connsiteX89" fmla="*/ 37804 w 43832"/>
                          <a:gd name="connsiteY89" fmla="*/ 3642 h 25370"/>
                          <a:gd name="connsiteX90" fmla="*/ 37930 w 43832"/>
                          <a:gd name="connsiteY90" fmla="*/ 3768 h 25370"/>
                          <a:gd name="connsiteX91" fmla="*/ 38306 w 43832"/>
                          <a:gd name="connsiteY91" fmla="*/ 3893 h 25370"/>
                          <a:gd name="connsiteX92" fmla="*/ 38809 w 43832"/>
                          <a:gd name="connsiteY92" fmla="*/ 4270 h 25370"/>
                          <a:gd name="connsiteX93" fmla="*/ 38934 w 43832"/>
                          <a:gd name="connsiteY93" fmla="*/ 4270 h 25370"/>
                          <a:gd name="connsiteX94" fmla="*/ 39186 w 43832"/>
                          <a:gd name="connsiteY94" fmla="*/ 4396 h 25370"/>
                          <a:gd name="connsiteX95" fmla="*/ 39311 w 43832"/>
                          <a:gd name="connsiteY95" fmla="*/ 4521 h 25370"/>
                          <a:gd name="connsiteX96" fmla="*/ 39688 w 43832"/>
                          <a:gd name="connsiteY96" fmla="*/ 4647 h 25370"/>
                          <a:gd name="connsiteX97" fmla="*/ 39813 w 43832"/>
                          <a:gd name="connsiteY97" fmla="*/ 4773 h 25370"/>
                          <a:gd name="connsiteX98" fmla="*/ 40316 w 43832"/>
                          <a:gd name="connsiteY98" fmla="*/ 5024 h 25370"/>
                          <a:gd name="connsiteX99" fmla="*/ 40567 w 43832"/>
                          <a:gd name="connsiteY99" fmla="*/ 5149 h 25370"/>
                          <a:gd name="connsiteX100" fmla="*/ 40693 w 43832"/>
                          <a:gd name="connsiteY100" fmla="*/ 5275 h 25370"/>
                          <a:gd name="connsiteX101" fmla="*/ 40693 w 43832"/>
                          <a:gd name="connsiteY101" fmla="*/ 5275 h 25370"/>
                          <a:gd name="connsiteX102" fmla="*/ 40818 w 43832"/>
                          <a:gd name="connsiteY102" fmla="*/ 5400 h 25370"/>
                          <a:gd name="connsiteX103" fmla="*/ 41195 w 43832"/>
                          <a:gd name="connsiteY103" fmla="*/ 5526 h 25370"/>
                          <a:gd name="connsiteX104" fmla="*/ 41320 w 43832"/>
                          <a:gd name="connsiteY104" fmla="*/ 5652 h 25370"/>
                          <a:gd name="connsiteX105" fmla="*/ 41572 w 43832"/>
                          <a:gd name="connsiteY105" fmla="*/ 5777 h 25370"/>
                          <a:gd name="connsiteX106" fmla="*/ 41572 w 43832"/>
                          <a:gd name="connsiteY106" fmla="*/ 5777 h 25370"/>
                          <a:gd name="connsiteX107" fmla="*/ 41698 w 43832"/>
                          <a:gd name="connsiteY107" fmla="*/ 5903 h 25370"/>
                          <a:gd name="connsiteX108" fmla="*/ 41949 w 43832"/>
                          <a:gd name="connsiteY108" fmla="*/ 6028 h 25370"/>
                          <a:gd name="connsiteX109" fmla="*/ 42074 w 43832"/>
                          <a:gd name="connsiteY109" fmla="*/ 6028 h 25370"/>
                          <a:gd name="connsiteX110" fmla="*/ 42451 w 43832"/>
                          <a:gd name="connsiteY110" fmla="*/ 6280 h 25370"/>
                          <a:gd name="connsiteX111" fmla="*/ 42577 w 43832"/>
                          <a:gd name="connsiteY111" fmla="*/ 6405 h 25370"/>
                          <a:gd name="connsiteX112" fmla="*/ 42827 w 43832"/>
                          <a:gd name="connsiteY112" fmla="*/ 6531 h 25370"/>
                          <a:gd name="connsiteX113" fmla="*/ 42953 w 43832"/>
                          <a:gd name="connsiteY113" fmla="*/ 6657 h 25370"/>
                          <a:gd name="connsiteX114" fmla="*/ 43330 w 43832"/>
                          <a:gd name="connsiteY114" fmla="*/ 6908 h 25370"/>
                          <a:gd name="connsiteX115" fmla="*/ 43456 w 43832"/>
                          <a:gd name="connsiteY115"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553" y="10676"/>
                            </a:lnTo>
                            <a:lnTo>
                              <a:pt x="34413" y="12559"/>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22733" y="19216"/>
                            </a:lnTo>
                            <a:lnTo>
                              <a:pt x="17584" y="22230"/>
                            </a:lnTo>
                            <a:lnTo>
                              <a:pt x="17206" y="22481"/>
                            </a:lnTo>
                            <a:lnTo>
                              <a:pt x="17206" y="22481"/>
                            </a:lnTo>
                            <a:lnTo>
                              <a:pt x="12308" y="25370"/>
                            </a:lnTo>
                            <a:lnTo>
                              <a:pt x="12308" y="25244"/>
                            </a:lnTo>
                            <a:lnTo>
                              <a:pt x="12183" y="25244"/>
                            </a:lnTo>
                            <a:lnTo>
                              <a:pt x="11806" y="24993"/>
                            </a:lnTo>
                            <a:lnTo>
                              <a:pt x="11806" y="24993"/>
                            </a:lnTo>
                            <a:lnTo>
                              <a:pt x="11304" y="24742"/>
                            </a:lnTo>
                            <a:lnTo>
                              <a:pt x="11178" y="24617"/>
                            </a:lnTo>
                            <a:lnTo>
                              <a:pt x="10173" y="24114"/>
                            </a:lnTo>
                            <a:lnTo>
                              <a:pt x="10173" y="24114"/>
                            </a:lnTo>
                            <a:lnTo>
                              <a:pt x="9545" y="23737"/>
                            </a:lnTo>
                            <a:lnTo>
                              <a:pt x="9294" y="23612"/>
                            </a:lnTo>
                            <a:lnTo>
                              <a:pt x="8666" y="23235"/>
                            </a:lnTo>
                            <a:lnTo>
                              <a:pt x="8666" y="23235"/>
                            </a:lnTo>
                            <a:lnTo>
                              <a:pt x="8164" y="22984"/>
                            </a:lnTo>
                            <a:lnTo>
                              <a:pt x="8038" y="22858"/>
                            </a:lnTo>
                            <a:lnTo>
                              <a:pt x="7410" y="22481"/>
                            </a:lnTo>
                            <a:lnTo>
                              <a:pt x="7285" y="22356"/>
                            </a:lnTo>
                            <a:lnTo>
                              <a:pt x="7285" y="22356"/>
                            </a:lnTo>
                            <a:lnTo>
                              <a:pt x="6531"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467"/>
                            </a:lnTo>
                            <a:lnTo>
                              <a:pt x="2009" y="19342"/>
                            </a:lnTo>
                            <a:lnTo>
                              <a:pt x="1633" y="19090"/>
                            </a:lnTo>
                            <a:lnTo>
                              <a:pt x="1381" y="19090"/>
                            </a:lnTo>
                            <a:lnTo>
                              <a:pt x="0" y="18211"/>
                            </a:lnTo>
                            <a:lnTo>
                              <a:pt x="4396" y="15699"/>
                            </a:lnTo>
                            <a:lnTo>
                              <a:pt x="4396" y="15699"/>
                            </a:lnTo>
                            <a:lnTo>
                              <a:pt x="4521" y="15574"/>
                            </a:lnTo>
                            <a:lnTo>
                              <a:pt x="4647" y="15574"/>
                            </a:lnTo>
                            <a:lnTo>
                              <a:pt x="4898" y="15448"/>
                            </a:lnTo>
                            <a:lnTo>
                              <a:pt x="4898" y="15448"/>
                            </a:lnTo>
                            <a:lnTo>
                              <a:pt x="5024" y="15323"/>
                            </a:lnTo>
                            <a:lnTo>
                              <a:pt x="5024" y="15323"/>
                            </a:lnTo>
                            <a:lnTo>
                              <a:pt x="10425" y="12183"/>
                            </a:lnTo>
                            <a:lnTo>
                              <a:pt x="17584" y="8038"/>
                            </a:lnTo>
                            <a:lnTo>
                              <a:pt x="17834" y="7913"/>
                            </a:lnTo>
                            <a:lnTo>
                              <a:pt x="18211" y="7787"/>
                            </a:lnTo>
                            <a:lnTo>
                              <a:pt x="18337" y="7536"/>
                            </a:lnTo>
                            <a:lnTo>
                              <a:pt x="22105" y="5526"/>
                            </a:lnTo>
                            <a:lnTo>
                              <a:pt x="31524" y="0"/>
                            </a:lnTo>
                            <a:lnTo>
                              <a:pt x="32278" y="377"/>
                            </a:lnTo>
                            <a:lnTo>
                              <a:pt x="32404" y="502"/>
                            </a:lnTo>
                            <a:lnTo>
                              <a:pt x="33408" y="1130"/>
                            </a:lnTo>
                            <a:lnTo>
                              <a:pt x="33659" y="1256"/>
                            </a:lnTo>
                            <a:lnTo>
                              <a:pt x="34539" y="1758"/>
                            </a:lnTo>
                            <a:lnTo>
                              <a:pt x="34790" y="1884"/>
                            </a:lnTo>
                            <a:lnTo>
                              <a:pt x="35166" y="2135"/>
                            </a:lnTo>
                            <a:lnTo>
                              <a:pt x="35166" y="2135"/>
                            </a:lnTo>
                            <a:lnTo>
                              <a:pt x="36046" y="2638"/>
                            </a:lnTo>
                            <a:lnTo>
                              <a:pt x="36297" y="2763"/>
                            </a:lnTo>
                            <a:lnTo>
                              <a:pt x="36799" y="3014"/>
                            </a:lnTo>
                            <a:lnTo>
                              <a:pt x="36925" y="3014"/>
                            </a:lnTo>
                            <a:lnTo>
                              <a:pt x="37804" y="3642"/>
                            </a:lnTo>
                            <a:lnTo>
                              <a:pt x="37930" y="3768"/>
                            </a:lnTo>
                            <a:lnTo>
                              <a:pt x="38306" y="3893"/>
                            </a:lnTo>
                            <a:lnTo>
                              <a:pt x="38809" y="4270"/>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0"/>
                            </a:lnTo>
                            <a:lnTo>
                              <a:pt x="41195" y="5526"/>
                            </a:lnTo>
                            <a:lnTo>
                              <a:pt x="41320" y="5652"/>
                            </a:lnTo>
                            <a:lnTo>
                              <a:pt x="41572" y="5777"/>
                            </a:lnTo>
                            <a:lnTo>
                              <a:pt x="41572" y="5777"/>
                            </a:lnTo>
                            <a:lnTo>
                              <a:pt x="41698" y="5903"/>
                            </a:lnTo>
                            <a:lnTo>
                              <a:pt x="41949" y="6028"/>
                            </a:lnTo>
                            <a:lnTo>
                              <a:pt x="42074" y="6028"/>
                            </a:lnTo>
                            <a:lnTo>
                              <a:pt x="42451" y="6280"/>
                            </a:lnTo>
                            <a:lnTo>
                              <a:pt x="42577" y="6405"/>
                            </a:lnTo>
                            <a:lnTo>
                              <a:pt x="42827" y="6531"/>
                            </a:lnTo>
                            <a:lnTo>
                              <a:pt x="42953" y="6657"/>
                            </a:lnTo>
                            <a:lnTo>
                              <a:pt x="43330" y="6908"/>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90" name="Freeform: Shape 4189">
                      <a:extLst>
                        <a:ext uri="{FF2B5EF4-FFF2-40B4-BE49-F238E27FC236}">
                          <a16:creationId xmlns:a16="http://schemas.microsoft.com/office/drawing/2014/main" id="{C0533A36-4449-419A-B066-2A453336158F}"/>
                        </a:ext>
                      </a:extLst>
                    </p:cNvPr>
                    <p:cNvSpPr/>
                    <p:nvPr/>
                  </p:nvSpPr>
                  <p:spPr>
                    <a:xfrm>
                      <a:off x="7245442" y="3858498"/>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91" name="Graphic 4">
                    <a:extLst>
                      <a:ext uri="{FF2B5EF4-FFF2-40B4-BE49-F238E27FC236}">
                        <a16:creationId xmlns:a16="http://schemas.microsoft.com/office/drawing/2014/main" id="{84FB7ED1-A2DF-40A1-A747-5F7CF3F14040}"/>
                      </a:ext>
                    </a:extLst>
                  </p:cNvPr>
                  <p:cNvGrpSpPr/>
                  <p:nvPr/>
                </p:nvGrpSpPr>
                <p:grpSpPr>
                  <a:xfrm>
                    <a:off x="7259508" y="3848325"/>
                    <a:ext cx="43832" cy="27002"/>
                    <a:chOff x="7259508" y="3848325"/>
                    <a:chExt cx="43832" cy="27002"/>
                  </a:xfrm>
                  <a:solidFill>
                    <a:schemeClr val="accent1"/>
                  </a:solidFill>
                </p:grpSpPr>
                <p:grpSp>
                  <p:nvGrpSpPr>
                    <p:cNvPr id="4192" name="Graphic 4">
                      <a:extLst>
                        <a:ext uri="{FF2B5EF4-FFF2-40B4-BE49-F238E27FC236}">
                          <a16:creationId xmlns:a16="http://schemas.microsoft.com/office/drawing/2014/main" id="{84FB7ED1-A2DF-40A1-A747-5F7CF3F14040}"/>
                        </a:ext>
                      </a:extLst>
                    </p:cNvPr>
                    <p:cNvGrpSpPr/>
                    <p:nvPr/>
                  </p:nvGrpSpPr>
                  <p:grpSpPr>
                    <a:xfrm>
                      <a:off x="7259508" y="3848325"/>
                      <a:ext cx="43832" cy="27002"/>
                      <a:chOff x="7259508" y="3848325"/>
                      <a:chExt cx="43832" cy="27002"/>
                    </a:xfrm>
                    <a:solidFill>
                      <a:schemeClr val="accent1"/>
                    </a:solidFill>
                  </p:grpSpPr>
                  <p:sp>
                    <p:nvSpPr>
                      <p:cNvPr id="4193" name="Freeform: Shape 4192">
                        <a:extLst>
                          <a:ext uri="{FF2B5EF4-FFF2-40B4-BE49-F238E27FC236}">
                            <a16:creationId xmlns:a16="http://schemas.microsoft.com/office/drawing/2014/main" id="{8E1656B9-57CE-4892-85BA-8ACB73FC81D1}"/>
                          </a:ext>
                        </a:extLst>
                      </p:cNvPr>
                      <p:cNvSpPr/>
                      <p:nvPr/>
                    </p:nvSpPr>
                    <p:spPr>
                      <a:xfrm>
                        <a:off x="7259508" y="3849958"/>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714 h 25370"/>
                          <a:gd name="connsiteX22" fmla="*/ 17584 w 43832"/>
                          <a:gd name="connsiteY22" fmla="*/ 22356 h 25370"/>
                          <a:gd name="connsiteX23" fmla="*/ 17584 w 43832"/>
                          <a:gd name="connsiteY23" fmla="*/ 22356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370 h 25370"/>
                          <a:gd name="connsiteX29" fmla="*/ 11806 w 43832"/>
                          <a:gd name="connsiteY29" fmla="*/ 25119 h 25370"/>
                          <a:gd name="connsiteX30" fmla="*/ 11680 w 43832"/>
                          <a:gd name="connsiteY30" fmla="*/ 25119 h 25370"/>
                          <a:gd name="connsiteX31" fmla="*/ 11680 w 43832"/>
                          <a:gd name="connsiteY31" fmla="*/ 25119 h 25370"/>
                          <a:gd name="connsiteX32" fmla="*/ 11304 w 43832"/>
                          <a:gd name="connsiteY32" fmla="*/ 24868 h 25370"/>
                          <a:gd name="connsiteX33" fmla="*/ 11178 w 43832"/>
                          <a:gd name="connsiteY33" fmla="*/ 24742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1 h 25370"/>
                          <a:gd name="connsiteX44" fmla="*/ 7285 w 43832"/>
                          <a:gd name="connsiteY44" fmla="*/ 22481 h 25370"/>
                          <a:gd name="connsiteX45" fmla="*/ 6531 w 43832"/>
                          <a:gd name="connsiteY45" fmla="*/ 22105 h 25370"/>
                          <a:gd name="connsiteX46" fmla="*/ 6531 w 43832"/>
                          <a:gd name="connsiteY46" fmla="*/ 21979 h 25370"/>
                          <a:gd name="connsiteX47" fmla="*/ 6154 w 43832"/>
                          <a:gd name="connsiteY47" fmla="*/ 21853 h 25370"/>
                          <a:gd name="connsiteX48" fmla="*/ 6028 w 43832"/>
                          <a:gd name="connsiteY48" fmla="*/ 21728 h 25370"/>
                          <a:gd name="connsiteX49" fmla="*/ 5526 w 43832"/>
                          <a:gd name="connsiteY49" fmla="*/ 21477 h 25370"/>
                          <a:gd name="connsiteX50" fmla="*/ 5400 w 43832"/>
                          <a:gd name="connsiteY50" fmla="*/ 21477 h 25370"/>
                          <a:gd name="connsiteX51" fmla="*/ 4521 w 43832"/>
                          <a:gd name="connsiteY51" fmla="*/ 20974 h 25370"/>
                          <a:gd name="connsiteX52" fmla="*/ 4396 w 43832"/>
                          <a:gd name="connsiteY52" fmla="*/ 20849 h 25370"/>
                          <a:gd name="connsiteX53" fmla="*/ 3642 w 43832"/>
                          <a:gd name="connsiteY53" fmla="*/ 20472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844 h 25370"/>
                          <a:gd name="connsiteX60" fmla="*/ 2010 w 43832"/>
                          <a:gd name="connsiteY60" fmla="*/ 19467 h 25370"/>
                          <a:gd name="connsiteX61" fmla="*/ 2010 w 43832"/>
                          <a:gd name="connsiteY61" fmla="*/ 19467 h 25370"/>
                          <a:gd name="connsiteX62" fmla="*/ 1507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628 h 25370"/>
                          <a:gd name="connsiteX69" fmla="*/ 33409 w 43832"/>
                          <a:gd name="connsiteY69" fmla="*/ 1130 h 25370"/>
                          <a:gd name="connsiteX70" fmla="*/ 33659 w 43832"/>
                          <a:gd name="connsiteY70" fmla="*/ 1256 h 25370"/>
                          <a:gd name="connsiteX71" fmla="*/ 34539 w 43832"/>
                          <a:gd name="connsiteY71" fmla="*/ 1884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140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521 h 25370"/>
                          <a:gd name="connsiteX87" fmla="*/ 39311 w 43832"/>
                          <a:gd name="connsiteY87" fmla="*/ 4521 h 25370"/>
                          <a:gd name="connsiteX88" fmla="*/ 39563 w 43832"/>
                          <a:gd name="connsiteY88" fmla="*/ 4772 h 25370"/>
                          <a:gd name="connsiteX89" fmla="*/ 39813 w 43832"/>
                          <a:gd name="connsiteY89" fmla="*/ 4772 h 25370"/>
                          <a:gd name="connsiteX90" fmla="*/ 40190 w 43832"/>
                          <a:gd name="connsiteY90" fmla="*/ 5149 h 25370"/>
                          <a:gd name="connsiteX91" fmla="*/ 40442 w 43832"/>
                          <a:gd name="connsiteY91" fmla="*/ 5275 h 25370"/>
                          <a:gd name="connsiteX92" fmla="*/ 40693 w 43832"/>
                          <a:gd name="connsiteY92" fmla="*/ 5400 h 25370"/>
                          <a:gd name="connsiteX93" fmla="*/ 40693 w 43832"/>
                          <a:gd name="connsiteY93" fmla="*/ 5400 h 25370"/>
                          <a:gd name="connsiteX94" fmla="*/ 40818 w 43832"/>
                          <a:gd name="connsiteY94" fmla="*/ 5400 h 25370"/>
                          <a:gd name="connsiteX95" fmla="*/ 41195 w 43832"/>
                          <a:gd name="connsiteY95" fmla="*/ 5652 h 25370"/>
                          <a:gd name="connsiteX96" fmla="*/ 41320 w 43832"/>
                          <a:gd name="connsiteY96" fmla="*/ 5777 h 25370"/>
                          <a:gd name="connsiteX97" fmla="*/ 41572 w 43832"/>
                          <a:gd name="connsiteY97" fmla="*/ 5903 h 25370"/>
                          <a:gd name="connsiteX98" fmla="*/ 41572 w 43832"/>
                          <a:gd name="connsiteY98" fmla="*/ 5903 h 25370"/>
                          <a:gd name="connsiteX99" fmla="*/ 41698 w 43832"/>
                          <a:gd name="connsiteY99" fmla="*/ 5903 h 25370"/>
                          <a:gd name="connsiteX100" fmla="*/ 41823 w 43832"/>
                          <a:gd name="connsiteY100" fmla="*/ 6028 h 25370"/>
                          <a:gd name="connsiteX101" fmla="*/ 41949 w 43832"/>
                          <a:gd name="connsiteY101" fmla="*/ 6154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8133" y="16202"/>
                            </a:lnTo>
                            <a:lnTo>
                              <a:pt x="27631" y="16453"/>
                            </a:lnTo>
                            <a:lnTo>
                              <a:pt x="26500" y="17081"/>
                            </a:lnTo>
                            <a:lnTo>
                              <a:pt x="26500" y="17081"/>
                            </a:lnTo>
                            <a:lnTo>
                              <a:pt x="25998" y="17458"/>
                            </a:lnTo>
                            <a:lnTo>
                              <a:pt x="25998" y="17458"/>
                            </a:lnTo>
                            <a:lnTo>
                              <a:pt x="25998" y="17458"/>
                            </a:lnTo>
                            <a:lnTo>
                              <a:pt x="25747" y="17583"/>
                            </a:lnTo>
                            <a:lnTo>
                              <a:pt x="25747" y="17583"/>
                            </a:lnTo>
                            <a:lnTo>
                              <a:pt x="24240" y="18462"/>
                            </a:lnTo>
                            <a:lnTo>
                              <a:pt x="24240" y="18462"/>
                            </a:lnTo>
                            <a:lnTo>
                              <a:pt x="23989" y="18714"/>
                            </a:lnTo>
                            <a:lnTo>
                              <a:pt x="17584" y="22356"/>
                            </a:lnTo>
                            <a:lnTo>
                              <a:pt x="17584" y="22356"/>
                            </a:lnTo>
                            <a:lnTo>
                              <a:pt x="17206" y="22481"/>
                            </a:lnTo>
                            <a:lnTo>
                              <a:pt x="17206" y="22481"/>
                            </a:lnTo>
                            <a:lnTo>
                              <a:pt x="12308" y="25370"/>
                            </a:lnTo>
                            <a:lnTo>
                              <a:pt x="12183" y="25370"/>
                            </a:lnTo>
                            <a:lnTo>
                              <a:pt x="12183" y="25370"/>
                            </a:lnTo>
                            <a:lnTo>
                              <a:pt x="11806" y="25119"/>
                            </a:lnTo>
                            <a:lnTo>
                              <a:pt x="11680" y="25119"/>
                            </a:lnTo>
                            <a:lnTo>
                              <a:pt x="11680" y="25119"/>
                            </a:lnTo>
                            <a:lnTo>
                              <a:pt x="11304" y="24868"/>
                            </a:lnTo>
                            <a:lnTo>
                              <a:pt x="11178" y="24742"/>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1"/>
                            </a:lnTo>
                            <a:lnTo>
                              <a:pt x="7285" y="22481"/>
                            </a:lnTo>
                            <a:lnTo>
                              <a:pt x="6531" y="22105"/>
                            </a:lnTo>
                            <a:lnTo>
                              <a:pt x="6531" y="21979"/>
                            </a:lnTo>
                            <a:lnTo>
                              <a:pt x="6154" y="21853"/>
                            </a:lnTo>
                            <a:lnTo>
                              <a:pt x="6028" y="21728"/>
                            </a:lnTo>
                            <a:lnTo>
                              <a:pt x="5526" y="21477"/>
                            </a:lnTo>
                            <a:lnTo>
                              <a:pt x="5400" y="21477"/>
                            </a:lnTo>
                            <a:lnTo>
                              <a:pt x="4521" y="20974"/>
                            </a:lnTo>
                            <a:lnTo>
                              <a:pt x="4396" y="20849"/>
                            </a:lnTo>
                            <a:lnTo>
                              <a:pt x="3642" y="20472"/>
                            </a:lnTo>
                            <a:lnTo>
                              <a:pt x="3642" y="20346"/>
                            </a:lnTo>
                            <a:lnTo>
                              <a:pt x="3391" y="20221"/>
                            </a:lnTo>
                            <a:lnTo>
                              <a:pt x="3266" y="20221"/>
                            </a:lnTo>
                            <a:lnTo>
                              <a:pt x="2763" y="19844"/>
                            </a:lnTo>
                            <a:lnTo>
                              <a:pt x="2763" y="19844"/>
                            </a:lnTo>
                            <a:lnTo>
                              <a:pt x="2638" y="19844"/>
                            </a:lnTo>
                            <a:lnTo>
                              <a:pt x="2010" y="19467"/>
                            </a:lnTo>
                            <a:lnTo>
                              <a:pt x="2010" y="19467"/>
                            </a:lnTo>
                            <a:lnTo>
                              <a:pt x="1507" y="19216"/>
                            </a:lnTo>
                            <a:lnTo>
                              <a:pt x="1381" y="19090"/>
                            </a:lnTo>
                            <a:lnTo>
                              <a:pt x="0" y="18211"/>
                            </a:lnTo>
                            <a:lnTo>
                              <a:pt x="0" y="16578"/>
                            </a:lnTo>
                            <a:lnTo>
                              <a:pt x="31524" y="0"/>
                            </a:lnTo>
                            <a:lnTo>
                              <a:pt x="32278" y="502"/>
                            </a:lnTo>
                            <a:lnTo>
                              <a:pt x="32404" y="628"/>
                            </a:lnTo>
                            <a:lnTo>
                              <a:pt x="33409" y="1130"/>
                            </a:lnTo>
                            <a:lnTo>
                              <a:pt x="33659" y="1256"/>
                            </a:lnTo>
                            <a:lnTo>
                              <a:pt x="34539" y="1884"/>
                            </a:lnTo>
                            <a:lnTo>
                              <a:pt x="34664" y="1884"/>
                            </a:lnTo>
                            <a:lnTo>
                              <a:pt x="35166" y="2135"/>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181" y="3893"/>
                            </a:lnTo>
                            <a:lnTo>
                              <a:pt x="38809" y="4270"/>
                            </a:lnTo>
                            <a:lnTo>
                              <a:pt x="38935" y="4270"/>
                            </a:lnTo>
                            <a:lnTo>
                              <a:pt x="39186" y="4521"/>
                            </a:lnTo>
                            <a:lnTo>
                              <a:pt x="39311" y="4521"/>
                            </a:lnTo>
                            <a:lnTo>
                              <a:pt x="39563" y="4772"/>
                            </a:lnTo>
                            <a:lnTo>
                              <a:pt x="39813" y="4772"/>
                            </a:lnTo>
                            <a:lnTo>
                              <a:pt x="40190" y="5149"/>
                            </a:lnTo>
                            <a:lnTo>
                              <a:pt x="40442" y="5275"/>
                            </a:lnTo>
                            <a:lnTo>
                              <a:pt x="40693" y="5400"/>
                            </a:lnTo>
                            <a:lnTo>
                              <a:pt x="40693" y="5400"/>
                            </a:lnTo>
                            <a:lnTo>
                              <a:pt x="40818" y="5400"/>
                            </a:lnTo>
                            <a:lnTo>
                              <a:pt x="41195" y="5652"/>
                            </a:lnTo>
                            <a:lnTo>
                              <a:pt x="41320" y="5777"/>
                            </a:lnTo>
                            <a:lnTo>
                              <a:pt x="41572" y="5903"/>
                            </a:lnTo>
                            <a:lnTo>
                              <a:pt x="41572" y="5903"/>
                            </a:lnTo>
                            <a:lnTo>
                              <a:pt x="41698" y="5903"/>
                            </a:lnTo>
                            <a:lnTo>
                              <a:pt x="41823" y="6028"/>
                            </a:lnTo>
                            <a:lnTo>
                              <a:pt x="41949" y="6154"/>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94" name="Freeform: Shape 4193">
                        <a:extLst>
                          <a:ext uri="{FF2B5EF4-FFF2-40B4-BE49-F238E27FC236}">
                            <a16:creationId xmlns:a16="http://schemas.microsoft.com/office/drawing/2014/main" id="{6D5878F3-547E-49C5-93ED-3712A782B0A5}"/>
                          </a:ext>
                        </a:extLst>
                      </p:cNvPr>
                      <p:cNvSpPr/>
                      <p:nvPr/>
                    </p:nvSpPr>
                    <p:spPr>
                      <a:xfrm>
                        <a:off x="7259508" y="3848325"/>
                        <a:ext cx="43832" cy="25244"/>
                      </a:xfrm>
                      <a:custGeom>
                        <a:avLst/>
                        <a:gdLst>
                          <a:gd name="connsiteX0" fmla="*/ 43832 w 43832"/>
                          <a:gd name="connsiteY0" fmla="*/ 7033 h 25244"/>
                          <a:gd name="connsiteX1" fmla="*/ 42075 w 43832"/>
                          <a:gd name="connsiteY1" fmla="*/ 8164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34287 w 43832"/>
                          <a:gd name="connsiteY9" fmla="*/ 12559 h 25244"/>
                          <a:gd name="connsiteX10" fmla="*/ 28133 w 43832"/>
                          <a:gd name="connsiteY10" fmla="*/ 16076 h 25244"/>
                          <a:gd name="connsiteX11" fmla="*/ 27631 w 43832"/>
                          <a:gd name="connsiteY11" fmla="*/ 16453 h 25244"/>
                          <a:gd name="connsiteX12" fmla="*/ 26500 w 43832"/>
                          <a:gd name="connsiteY12" fmla="*/ 17081 h 25244"/>
                          <a:gd name="connsiteX13" fmla="*/ 25998 w 43832"/>
                          <a:gd name="connsiteY13" fmla="*/ 17332 h 25244"/>
                          <a:gd name="connsiteX14" fmla="*/ 25998 w 43832"/>
                          <a:gd name="connsiteY14" fmla="*/ 17458 h 25244"/>
                          <a:gd name="connsiteX15" fmla="*/ 25998 w 43832"/>
                          <a:gd name="connsiteY15" fmla="*/ 17458 h 25244"/>
                          <a:gd name="connsiteX16" fmla="*/ 25747 w 43832"/>
                          <a:gd name="connsiteY16" fmla="*/ 17583 h 25244"/>
                          <a:gd name="connsiteX17" fmla="*/ 24240 w 43832"/>
                          <a:gd name="connsiteY17" fmla="*/ 18337 h 25244"/>
                          <a:gd name="connsiteX18" fmla="*/ 24240 w 43832"/>
                          <a:gd name="connsiteY18" fmla="*/ 18337 h 25244"/>
                          <a:gd name="connsiteX19" fmla="*/ 23989 w 43832"/>
                          <a:gd name="connsiteY19" fmla="*/ 18588 h 25244"/>
                          <a:gd name="connsiteX20" fmla="*/ 22607 w 43832"/>
                          <a:gd name="connsiteY20" fmla="*/ 19342 h 25244"/>
                          <a:gd name="connsiteX21" fmla="*/ 17584 w 43832"/>
                          <a:gd name="connsiteY21" fmla="*/ 22230 h 25244"/>
                          <a:gd name="connsiteX22" fmla="*/ 17206 w 43832"/>
                          <a:gd name="connsiteY22" fmla="*/ 22481 h 25244"/>
                          <a:gd name="connsiteX23" fmla="*/ 17206 w 43832"/>
                          <a:gd name="connsiteY23" fmla="*/ 22481 h 25244"/>
                          <a:gd name="connsiteX24" fmla="*/ 12308 w 43832"/>
                          <a:gd name="connsiteY24" fmla="*/ 25244 h 25244"/>
                          <a:gd name="connsiteX25" fmla="*/ 12183 w 43832"/>
                          <a:gd name="connsiteY25" fmla="*/ 25244 h 25244"/>
                          <a:gd name="connsiteX26" fmla="*/ 12183 w 43832"/>
                          <a:gd name="connsiteY26" fmla="*/ 25244 h 25244"/>
                          <a:gd name="connsiteX27" fmla="*/ 11806 w 43832"/>
                          <a:gd name="connsiteY27" fmla="*/ 24993 h 25244"/>
                          <a:gd name="connsiteX28" fmla="*/ 11680 w 43832"/>
                          <a:gd name="connsiteY28" fmla="*/ 24993 h 25244"/>
                          <a:gd name="connsiteX29" fmla="*/ 11304 w 43832"/>
                          <a:gd name="connsiteY29" fmla="*/ 24742 h 25244"/>
                          <a:gd name="connsiteX30" fmla="*/ 11178 w 43832"/>
                          <a:gd name="connsiteY30" fmla="*/ 24617 h 25244"/>
                          <a:gd name="connsiteX31" fmla="*/ 10173 w 43832"/>
                          <a:gd name="connsiteY31" fmla="*/ 23989 h 25244"/>
                          <a:gd name="connsiteX32" fmla="*/ 10047 w 43832"/>
                          <a:gd name="connsiteY32" fmla="*/ 23989 h 25244"/>
                          <a:gd name="connsiteX33" fmla="*/ 9420 w 43832"/>
                          <a:gd name="connsiteY33" fmla="*/ 23612 h 25244"/>
                          <a:gd name="connsiteX34" fmla="*/ 9168 w 43832"/>
                          <a:gd name="connsiteY34" fmla="*/ 23486 h 25244"/>
                          <a:gd name="connsiteX35" fmla="*/ 8666 w 43832"/>
                          <a:gd name="connsiteY35" fmla="*/ 23235 h 25244"/>
                          <a:gd name="connsiteX36" fmla="*/ 8540 w 43832"/>
                          <a:gd name="connsiteY36" fmla="*/ 23109 h 25244"/>
                          <a:gd name="connsiteX37" fmla="*/ 8164 w 43832"/>
                          <a:gd name="connsiteY37" fmla="*/ 22858 h 25244"/>
                          <a:gd name="connsiteX38" fmla="*/ 8038 w 43832"/>
                          <a:gd name="connsiteY38" fmla="*/ 22858 h 25244"/>
                          <a:gd name="connsiteX39" fmla="*/ 7410 w 43832"/>
                          <a:gd name="connsiteY39" fmla="*/ 22481 h 25244"/>
                          <a:gd name="connsiteX40" fmla="*/ 7285 w 43832"/>
                          <a:gd name="connsiteY40" fmla="*/ 22356 h 25244"/>
                          <a:gd name="connsiteX41" fmla="*/ 7285 w 43832"/>
                          <a:gd name="connsiteY41" fmla="*/ 22356 h 25244"/>
                          <a:gd name="connsiteX42" fmla="*/ 6531 w 43832"/>
                          <a:gd name="connsiteY42" fmla="*/ 21979 h 25244"/>
                          <a:gd name="connsiteX43" fmla="*/ 6531 w 43832"/>
                          <a:gd name="connsiteY43" fmla="*/ 21979 h 25244"/>
                          <a:gd name="connsiteX44" fmla="*/ 6154 w 43832"/>
                          <a:gd name="connsiteY44" fmla="*/ 21728 h 25244"/>
                          <a:gd name="connsiteX45" fmla="*/ 6028 w 43832"/>
                          <a:gd name="connsiteY45" fmla="*/ 21728 h 25244"/>
                          <a:gd name="connsiteX46" fmla="*/ 5526 w 43832"/>
                          <a:gd name="connsiteY46" fmla="*/ 21351 h 25244"/>
                          <a:gd name="connsiteX47" fmla="*/ 5400 w 43832"/>
                          <a:gd name="connsiteY47" fmla="*/ 21351 h 25244"/>
                          <a:gd name="connsiteX48" fmla="*/ 4521 w 43832"/>
                          <a:gd name="connsiteY48" fmla="*/ 20849 h 25244"/>
                          <a:gd name="connsiteX49" fmla="*/ 4396 w 43832"/>
                          <a:gd name="connsiteY49" fmla="*/ 20723 h 25244"/>
                          <a:gd name="connsiteX50" fmla="*/ 3642 w 43832"/>
                          <a:gd name="connsiteY50" fmla="*/ 20346 h 25244"/>
                          <a:gd name="connsiteX51" fmla="*/ 3642 w 43832"/>
                          <a:gd name="connsiteY51" fmla="*/ 20346 h 25244"/>
                          <a:gd name="connsiteX52" fmla="*/ 3391 w 43832"/>
                          <a:gd name="connsiteY52" fmla="*/ 20095 h 25244"/>
                          <a:gd name="connsiteX53" fmla="*/ 3266 w 43832"/>
                          <a:gd name="connsiteY53" fmla="*/ 20095 h 25244"/>
                          <a:gd name="connsiteX54" fmla="*/ 2763 w 43832"/>
                          <a:gd name="connsiteY54" fmla="*/ 19718 h 25244"/>
                          <a:gd name="connsiteX55" fmla="*/ 2763 w 43832"/>
                          <a:gd name="connsiteY55" fmla="*/ 19718 h 25244"/>
                          <a:gd name="connsiteX56" fmla="*/ 2638 w 43832"/>
                          <a:gd name="connsiteY56" fmla="*/ 19718 h 25244"/>
                          <a:gd name="connsiteX57" fmla="*/ 2010 w 43832"/>
                          <a:gd name="connsiteY57" fmla="*/ 19342 h 25244"/>
                          <a:gd name="connsiteX58" fmla="*/ 2010 w 43832"/>
                          <a:gd name="connsiteY58" fmla="*/ 19342 h 25244"/>
                          <a:gd name="connsiteX59" fmla="*/ 1507 w 43832"/>
                          <a:gd name="connsiteY59" fmla="*/ 19090 h 25244"/>
                          <a:gd name="connsiteX60" fmla="*/ 1381 w 43832"/>
                          <a:gd name="connsiteY60" fmla="*/ 18965 h 25244"/>
                          <a:gd name="connsiteX61" fmla="*/ 0 w 43832"/>
                          <a:gd name="connsiteY61" fmla="*/ 18211 h 25244"/>
                          <a:gd name="connsiteX62" fmla="*/ 4396 w 43832"/>
                          <a:gd name="connsiteY62" fmla="*/ 15574 h 25244"/>
                          <a:gd name="connsiteX63" fmla="*/ 4396 w 43832"/>
                          <a:gd name="connsiteY63" fmla="*/ 15574 h 25244"/>
                          <a:gd name="connsiteX64" fmla="*/ 4521 w 43832"/>
                          <a:gd name="connsiteY64" fmla="*/ 15574 h 25244"/>
                          <a:gd name="connsiteX65" fmla="*/ 4521 w 43832"/>
                          <a:gd name="connsiteY65" fmla="*/ 15574 h 25244"/>
                          <a:gd name="connsiteX66" fmla="*/ 4773 w 43832"/>
                          <a:gd name="connsiteY66" fmla="*/ 15323 h 25244"/>
                          <a:gd name="connsiteX67" fmla="*/ 4898 w 43832"/>
                          <a:gd name="connsiteY67" fmla="*/ 15323 h 25244"/>
                          <a:gd name="connsiteX68" fmla="*/ 5024 w 43832"/>
                          <a:gd name="connsiteY68" fmla="*/ 15197 h 25244"/>
                          <a:gd name="connsiteX69" fmla="*/ 5024 w 43832"/>
                          <a:gd name="connsiteY69" fmla="*/ 15197 h 25244"/>
                          <a:gd name="connsiteX70" fmla="*/ 10299 w 43832"/>
                          <a:gd name="connsiteY70" fmla="*/ 12183 h 25244"/>
                          <a:gd name="connsiteX71" fmla="*/ 17584 w 43832"/>
                          <a:gd name="connsiteY71" fmla="*/ 8038 h 25244"/>
                          <a:gd name="connsiteX72" fmla="*/ 17834 w 43832"/>
                          <a:gd name="connsiteY72" fmla="*/ 7913 h 25244"/>
                          <a:gd name="connsiteX73" fmla="*/ 18086 w 43832"/>
                          <a:gd name="connsiteY73" fmla="*/ 7661 h 25244"/>
                          <a:gd name="connsiteX74" fmla="*/ 18337 w 43832"/>
                          <a:gd name="connsiteY74" fmla="*/ 7536 h 25244"/>
                          <a:gd name="connsiteX75" fmla="*/ 21979 w 43832"/>
                          <a:gd name="connsiteY75" fmla="*/ 5526 h 25244"/>
                          <a:gd name="connsiteX76" fmla="*/ 31524 w 43832"/>
                          <a:gd name="connsiteY76" fmla="*/ 0 h 25244"/>
                          <a:gd name="connsiteX77" fmla="*/ 32278 w 43832"/>
                          <a:gd name="connsiteY77" fmla="*/ 377 h 25244"/>
                          <a:gd name="connsiteX78" fmla="*/ 32404 w 43832"/>
                          <a:gd name="connsiteY78" fmla="*/ 502 h 25244"/>
                          <a:gd name="connsiteX79" fmla="*/ 33409 w 43832"/>
                          <a:gd name="connsiteY79" fmla="*/ 1005 h 25244"/>
                          <a:gd name="connsiteX80" fmla="*/ 33659 w 43832"/>
                          <a:gd name="connsiteY80" fmla="*/ 1256 h 25244"/>
                          <a:gd name="connsiteX81" fmla="*/ 34539 w 43832"/>
                          <a:gd name="connsiteY81" fmla="*/ 1758 h 25244"/>
                          <a:gd name="connsiteX82" fmla="*/ 34664 w 43832"/>
                          <a:gd name="connsiteY82" fmla="*/ 1758 h 25244"/>
                          <a:gd name="connsiteX83" fmla="*/ 35166 w 43832"/>
                          <a:gd name="connsiteY83" fmla="*/ 2010 h 25244"/>
                          <a:gd name="connsiteX84" fmla="*/ 35166 w 43832"/>
                          <a:gd name="connsiteY84" fmla="*/ 2135 h 25244"/>
                          <a:gd name="connsiteX85" fmla="*/ 36046 w 43832"/>
                          <a:gd name="connsiteY85" fmla="*/ 2512 h 25244"/>
                          <a:gd name="connsiteX86" fmla="*/ 36171 w 43832"/>
                          <a:gd name="connsiteY86" fmla="*/ 2638 h 25244"/>
                          <a:gd name="connsiteX87" fmla="*/ 36799 w 43832"/>
                          <a:gd name="connsiteY87" fmla="*/ 3014 h 25244"/>
                          <a:gd name="connsiteX88" fmla="*/ 36799 w 43832"/>
                          <a:gd name="connsiteY88" fmla="*/ 3014 h 25244"/>
                          <a:gd name="connsiteX89" fmla="*/ 37804 w 43832"/>
                          <a:gd name="connsiteY89" fmla="*/ 3517 h 25244"/>
                          <a:gd name="connsiteX90" fmla="*/ 37930 w 43832"/>
                          <a:gd name="connsiteY90" fmla="*/ 3642 h 25244"/>
                          <a:gd name="connsiteX91" fmla="*/ 38181 w 43832"/>
                          <a:gd name="connsiteY91" fmla="*/ 3893 h 25244"/>
                          <a:gd name="connsiteX92" fmla="*/ 38809 w 43832"/>
                          <a:gd name="connsiteY92" fmla="*/ 4145 h 25244"/>
                          <a:gd name="connsiteX93" fmla="*/ 38935 w 43832"/>
                          <a:gd name="connsiteY93" fmla="*/ 4145 h 25244"/>
                          <a:gd name="connsiteX94" fmla="*/ 39186 w 43832"/>
                          <a:gd name="connsiteY94" fmla="*/ 4396 h 25244"/>
                          <a:gd name="connsiteX95" fmla="*/ 39311 w 43832"/>
                          <a:gd name="connsiteY95" fmla="*/ 4396 h 25244"/>
                          <a:gd name="connsiteX96" fmla="*/ 39563 w 43832"/>
                          <a:gd name="connsiteY96" fmla="*/ 4647 h 25244"/>
                          <a:gd name="connsiteX97" fmla="*/ 39813 w 43832"/>
                          <a:gd name="connsiteY97" fmla="*/ 4773 h 25244"/>
                          <a:gd name="connsiteX98" fmla="*/ 40190 w 43832"/>
                          <a:gd name="connsiteY98" fmla="*/ 5024 h 25244"/>
                          <a:gd name="connsiteX99" fmla="*/ 40442 w 43832"/>
                          <a:gd name="connsiteY99" fmla="*/ 5149 h 25244"/>
                          <a:gd name="connsiteX100" fmla="*/ 40693 w 43832"/>
                          <a:gd name="connsiteY100" fmla="*/ 5275 h 25244"/>
                          <a:gd name="connsiteX101" fmla="*/ 40693 w 43832"/>
                          <a:gd name="connsiteY101" fmla="*/ 5275 h 25244"/>
                          <a:gd name="connsiteX102" fmla="*/ 40818 w 43832"/>
                          <a:gd name="connsiteY102" fmla="*/ 5275 h 25244"/>
                          <a:gd name="connsiteX103" fmla="*/ 41195 w 43832"/>
                          <a:gd name="connsiteY103" fmla="*/ 5526 h 25244"/>
                          <a:gd name="connsiteX104" fmla="*/ 41320 w 43832"/>
                          <a:gd name="connsiteY104" fmla="*/ 5652 h 25244"/>
                          <a:gd name="connsiteX105" fmla="*/ 41572 w 43832"/>
                          <a:gd name="connsiteY105" fmla="*/ 5777 h 25244"/>
                          <a:gd name="connsiteX106" fmla="*/ 41572 w 43832"/>
                          <a:gd name="connsiteY106" fmla="*/ 5777 h 25244"/>
                          <a:gd name="connsiteX107" fmla="*/ 41698 w 43832"/>
                          <a:gd name="connsiteY107" fmla="*/ 5777 h 25244"/>
                          <a:gd name="connsiteX108" fmla="*/ 41823 w 43832"/>
                          <a:gd name="connsiteY108" fmla="*/ 5903 h 25244"/>
                          <a:gd name="connsiteX109" fmla="*/ 41949 w 43832"/>
                          <a:gd name="connsiteY109" fmla="*/ 6028 h 25244"/>
                          <a:gd name="connsiteX110" fmla="*/ 42451 w 43832"/>
                          <a:gd name="connsiteY110" fmla="*/ 6280 h 25244"/>
                          <a:gd name="connsiteX111" fmla="*/ 42577 w 43832"/>
                          <a:gd name="connsiteY111" fmla="*/ 6280 h 25244"/>
                          <a:gd name="connsiteX112" fmla="*/ 42828 w 43832"/>
                          <a:gd name="connsiteY112" fmla="*/ 6531 h 25244"/>
                          <a:gd name="connsiteX113" fmla="*/ 42953 w 43832"/>
                          <a:gd name="connsiteY113" fmla="*/ 6531 h 25244"/>
                          <a:gd name="connsiteX114" fmla="*/ 43330 w 43832"/>
                          <a:gd name="connsiteY114" fmla="*/ 6782 h 25244"/>
                          <a:gd name="connsiteX115" fmla="*/ 43330 w 43832"/>
                          <a:gd name="connsiteY115"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832" h="25244">
                            <a:moveTo>
                              <a:pt x="43832" y="7033"/>
                            </a:moveTo>
                            <a:lnTo>
                              <a:pt x="42075" y="8164"/>
                            </a:lnTo>
                            <a:lnTo>
                              <a:pt x="41823" y="8164"/>
                            </a:lnTo>
                            <a:lnTo>
                              <a:pt x="41823" y="8164"/>
                            </a:lnTo>
                            <a:lnTo>
                              <a:pt x="39060" y="9796"/>
                            </a:lnTo>
                            <a:lnTo>
                              <a:pt x="38935" y="9796"/>
                            </a:lnTo>
                            <a:lnTo>
                              <a:pt x="38432" y="10173"/>
                            </a:lnTo>
                            <a:lnTo>
                              <a:pt x="38181" y="10299"/>
                            </a:lnTo>
                            <a:lnTo>
                              <a:pt x="37553" y="10676"/>
                            </a:lnTo>
                            <a:lnTo>
                              <a:pt x="34287" y="12559"/>
                            </a:lnTo>
                            <a:lnTo>
                              <a:pt x="28133" y="16076"/>
                            </a:lnTo>
                            <a:lnTo>
                              <a:pt x="27631" y="16453"/>
                            </a:lnTo>
                            <a:lnTo>
                              <a:pt x="26500" y="17081"/>
                            </a:lnTo>
                            <a:lnTo>
                              <a:pt x="25998" y="17332"/>
                            </a:lnTo>
                            <a:lnTo>
                              <a:pt x="25998" y="17458"/>
                            </a:lnTo>
                            <a:lnTo>
                              <a:pt x="25998" y="17458"/>
                            </a:lnTo>
                            <a:lnTo>
                              <a:pt x="25747" y="17583"/>
                            </a:lnTo>
                            <a:lnTo>
                              <a:pt x="24240" y="18337"/>
                            </a:lnTo>
                            <a:lnTo>
                              <a:pt x="24240" y="18337"/>
                            </a:lnTo>
                            <a:lnTo>
                              <a:pt x="23989" y="18588"/>
                            </a:lnTo>
                            <a:lnTo>
                              <a:pt x="22607" y="19342"/>
                            </a:lnTo>
                            <a:lnTo>
                              <a:pt x="17584" y="22230"/>
                            </a:lnTo>
                            <a:lnTo>
                              <a:pt x="17206" y="22481"/>
                            </a:lnTo>
                            <a:lnTo>
                              <a:pt x="17206" y="22481"/>
                            </a:lnTo>
                            <a:lnTo>
                              <a:pt x="12308" y="25244"/>
                            </a:lnTo>
                            <a:lnTo>
                              <a:pt x="12183" y="25244"/>
                            </a:lnTo>
                            <a:lnTo>
                              <a:pt x="12183" y="25244"/>
                            </a:lnTo>
                            <a:lnTo>
                              <a:pt x="11806" y="24993"/>
                            </a:lnTo>
                            <a:lnTo>
                              <a:pt x="11680" y="24993"/>
                            </a:lnTo>
                            <a:lnTo>
                              <a:pt x="11304" y="24742"/>
                            </a:lnTo>
                            <a:lnTo>
                              <a:pt x="11178" y="24617"/>
                            </a:lnTo>
                            <a:lnTo>
                              <a:pt x="10173" y="23989"/>
                            </a:lnTo>
                            <a:lnTo>
                              <a:pt x="10047" y="23989"/>
                            </a:lnTo>
                            <a:lnTo>
                              <a:pt x="9420" y="23612"/>
                            </a:lnTo>
                            <a:lnTo>
                              <a:pt x="9168" y="23486"/>
                            </a:lnTo>
                            <a:lnTo>
                              <a:pt x="8666" y="23235"/>
                            </a:lnTo>
                            <a:lnTo>
                              <a:pt x="8540" y="23109"/>
                            </a:lnTo>
                            <a:lnTo>
                              <a:pt x="8164" y="22858"/>
                            </a:lnTo>
                            <a:lnTo>
                              <a:pt x="8038" y="22858"/>
                            </a:lnTo>
                            <a:lnTo>
                              <a:pt x="7410" y="22481"/>
                            </a:lnTo>
                            <a:lnTo>
                              <a:pt x="7285" y="22356"/>
                            </a:lnTo>
                            <a:lnTo>
                              <a:pt x="7285" y="22356"/>
                            </a:lnTo>
                            <a:lnTo>
                              <a:pt x="6531" y="21979"/>
                            </a:lnTo>
                            <a:lnTo>
                              <a:pt x="6531" y="21979"/>
                            </a:lnTo>
                            <a:lnTo>
                              <a:pt x="6154" y="21728"/>
                            </a:lnTo>
                            <a:lnTo>
                              <a:pt x="6028" y="21728"/>
                            </a:lnTo>
                            <a:lnTo>
                              <a:pt x="5526" y="21351"/>
                            </a:lnTo>
                            <a:lnTo>
                              <a:pt x="5400" y="21351"/>
                            </a:lnTo>
                            <a:lnTo>
                              <a:pt x="4521" y="20849"/>
                            </a:lnTo>
                            <a:lnTo>
                              <a:pt x="4396" y="20723"/>
                            </a:lnTo>
                            <a:lnTo>
                              <a:pt x="3642" y="20346"/>
                            </a:lnTo>
                            <a:lnTo>
                              <a:pt x="3642" y="20346"/>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211"/>
                            </a:lnTo>
                            <a:lnTo>
                              <a:pt x="4396" y="15574"/>
                            </a:lnTo>
                            <a:lnTo>
                              <a:pt x="4396" y="15574"/>
                            </a:lnTo>
                            <a:lnTo>
                              <a:pt x="4521" y="15574"/>
                            </a:lnTo>
                            <a:lnTo>
                              <a:pt x="4521" y="15574"/>
                            </a:lnTo>
                            <a:lnTo>
                              <a:pt x="4773" y="15323"/>
                            </a:lnTo>
                            <a:lnTo>
                              <a:pt x="4898" y="15323"/>
                            </a:lnTo>
                            <a:lnTo>
                              <a:pt x="5024" y="15197"/>
                            </a:lnTo>
                            <a:lnTo>
                              <a:pt x="5024" y="15197"/>
                            </a:lnTo>
                            <a:lnTo>
                              <a:pt x="10299" y="12183"/>
                            </a:lnTo>
                            <a:lnTo>
                              <a:pt x="17584" y="8038"/>
                            </a:lnTo>
                            <a:lnTo>
                              <a:pt x="17834" y="7913"/>
                            </a:lnTo>
                            <a:lnTo>
                              <a:pt x="18086" y="7661"/>
                            </a:lnTo>
                            <a:lnTo>
                              <a:pt x="18337" y="7536"/>
                            </a:lnTo>
                            <a:lnTo>
                              <a:pt x="21979" y="5526"/>
                            </a:lnTo>
                            <a:lnTo>
                              <a:pt x="31524" y="0"/>
                            </a:lnTo>
                            <a:lnTo>
                              <a:pt x="32278" y="377"/>
                            </a:lnTo>
                            <a:lnTo>
                              <a:pt x="32404" y="502"/>
                            </a:lnTo>
                            <a:lnTo>
                              <a:pt x="33409" y="1005"/>
                            </a:lnTo>
                            <a:lnTo>
                              <a:pt x="33659" y="1256"/>
                            </a:lnTo>
                            <a:lnTo>
                              <a:pt x="34539" y="1758"/>
                            </a:lnTo>
                            <a:lnTo>
                              <a:pt x="34664" y="1758"/>
                            </a:lnTo>
                            <a:lnTo>
                              <a:pt x="35166" y="2010"/>
                            </a:lnTo>
                            <a:lnTo>
                              <a:pt x="35166" y="2135"/>
                            </a:lnTo>
                            <a:lnTo>
                              <a:pt x="36046" y="2512"/>
                            </a:lnTo>
                            <a:lnTo>
                              <a:pt x="36171" y="2638"/>
                            </a:lnTo>
                            <a:lnTo>
                              <a:pt x="36799" y="3014"/>
                            </a:lnTo>
                            <a:lnTo>
                              <a:pt x="36799" y="3014"/>
                            </a:lnTo>
                            <a:lnTo>
                              <a:pt x="37804" y="3517"/>
                            </a:lnTo>
                            <a:lnTo>
                              <a:pt x="37930" y="3642"/>
                            </a:lnTo>
                            <a:lnTo>
                              <a:pt x="38181" y="3893"/>
                            </a:lnTo>
                            <a:lnTo>
                              <a:pt x="38809" y="4145"/>
                            </a:lnTo>
                            <a:lnTo>
                              <a:pt x="38935" y="4145"/>
                            </a:lnTo>
                            <a:lnTo>
                              <a:pt x="39186" y="4396"/>
                            </a:lnTo>
                            <a:lnTo>
                              <a:pt x="39311" y="4396"/>
                            </a:lnTo>
                            <a:lnTo>
                              <a:pt x="39563" y="4647"/>
                            </a:lnTo>
                            <a:lnTo>
                              <a:pt x="39813" y="4773"/>
                            </a:lnTo>
                            <a:lnTo>
                              <a:pt x="40190"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8"/>
                            </a:lnTo>
                            <a:lnTo>
                              <a:pt x="42451" y="6280"/>
                            </a:lnTo>
                            <a:lnTo>
                              <a:pt x="42577" y="6280"/>
                            </a:lnTo>
                            <a:lnTo>
                              <a:pt x="42828" y="6531"/>
                            </a:lnTo>
                            <a:lnTo>
                              <a:pt x="42953" y="6531"/>
                            </a:lnTo>
                            <a:lnTo>
                              <a:pt x="43330" y="6782"/>
                            </a:lnTo>
                            <a:lnTo>
                              <a:pt x="43330"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95" name="Freeform: Shape 4194">
                      <a:extLst>
                        <a:ext uri="{FF2B5EF4-FFF2-40B4-BE49-F238E27FC236}">
                          <a16:creationId xmlns:a16="http://schemas.microsoft.com/office/drawing/2014/main" id="{AC983E13-B7CA-449E-8A83-1687A14BD106}"/>
                        </a:ext>
                      </a:extLst>
                    </p:cNvPr>
                    <p:cNvSpPr/>
                    <p:nvPr/>
                  </p:nvSpPr>
                  <p:spPr>
                    <a:xfrm>
                      <a:off x="7259508" y="3866536"/>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96" name="Freeform: Shape 4195">
                    <a:extLst>
                      <a:ext uri="{FF2B5EF4-FFF2-40B4-BE49-F238E27FC236}">
                        <a16:creationId xmlns:a16="http://schemas.microsoft.com/office/drawing/2014/main" id="{A2292299-C40C-46E7-96BF-D5A2461577B5}"/>
                      </a:ext>
                    </a:extLst>
                  </p:cNvPr>
                  <p:cNvSpPr/>
                  <p:nvPr/>
                </p:nvSpPr>
                <p:spPr>
                  <a:xfrm>
                    <a:off x="7245316" y="3859378"/>
                    <a:ext cx="26500" cy="33910"/>
                  </a:xfrm>
                  <a:custGeom>
                    <a:avLst/>
                    <a:gdLst>
                      <a:gd name="connsiteX0" fmla="*/ 0 w 26500"/>
                      <a:gd name="connsiteY0" fmla="*/ 0 h 33910"/>
                      <a:gd name="connsiteX1" fmla="*/ 0 w 26500"/>
                      <a:gd name="connsiteY1" fmla="*/ 18588 h 33910"/>
                      <a:gd name="connsiteX2" fmla="*/ 26500 w 26500"/>
                      <a:gd name="connsiteY2" fmla="*/ 33911 h 33910"/>
                      <a:gd name="connsiteX3" fmla="*/ 26500 w 26500"/>
                      <a:gd name="connsiteY3" fmla="*/ 15197 h 33910"/>
                    </a:gdLst>
                    <a:ahLst/>
                    <a:cxnLst>
                      <a:cxn ang="0">
                        <a:pos x="connsiteX0" y="connsiteY0"/>
                      </a:cxn>
                      <a:cxn ang="0">
                        <a:pos x="connsiteX1" y="connsiteY1"/>
                      </a:cxn>
                      <a:cxn ang="0">
                        <a:pos x="connsiteX2" y="connsiteY2"/>
                      </a:cxn>
                      <a:cxn ang="0">
                        <a:pos x="connsiteX3" y="connsiteY3"/>
                      </a:cxn>
                    </a:cxnLst>
                    <a:rect l="l" t="t" r="r" b="b"/>
                    <a:pathLst>
                      <a:path w="26500" h="33910">
                        <a:moveTo>
                          <a:pt x="0" y="0"/>
                        </a:moveTo>
                        <a:lnTo>
                          <a:pt x="0" y="18588"/>
                        </a:lnTo>
                        <a:lnTo>
                          <a:pt x="26500" y="33911"/>
                        </a:lnTo>
                        <a:lnTo>
                          <a:pt x="26500" y="1519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97" name="Freeform: Shape 4196">
                    <a:extLst>
                      <a:ext uri="{FF2B5EF4-FFF2-40B4-BE49-F238E27FC236}">
                        <a16:creationId xmlns:a16="http://schemas.microsoft.com/office/drawing/2014/main" id="{90E2E17C-4244-4603-BA17-268F2C48EF83}"/>
                      </a:ext>
                    </a:extLst>
                  </p:cNvPr>
                  <p:cNvSpPr/>
                  <p:nvPr/>
                </p:nvSpPr>
                <p:spPr>
                  <a:xfrm>
                    <a:off x="7271816" y="3856363"/>
                    <a:ext cx="31524" cy="36924"/>
                  </a:xfrm>
                  <a:custGeom>
                    <a:avLst/>
                    <a:gdLst>
                      <a:gd name="connsiteX0" fmla="*/ 0 w 31524"/>
                      <a:gd name="connsiteY0" fmla="*/ 36925 h 36924"/>
                      <a:gd name="connsiteX1" fmla="*/ 31524 w 31524"/>
                      <a:gd name="connsiteY1" fmla="*/ 18714 h 36924"/>
                      <a:gd name="connsiteX2" fmla="*/ 31524 w 31524"/>
                      <a:gd name="connsiteY2" fmla="*/ 0 h 36924"/>
                      <a:gd name="connsiteX3" fmla="*/ 0 w 31524"/>
                      <a:gd name="connsiteY3" fmla="*/ 18211 h 36924"/>
                    </a:gdLst>
                    <a:ahLst/>
                    <a:cxnLst>
                      <a:cxn ang="0">
                        <a:pos x="connsiteX0" y="connsiteY0"/>
                      </a:cxn>
                      <a:cxn ang="0">
                        <a:pos x="connsiteX1" y="connsiteY1"/>
                      </a:cxn>
                      <a:cxn ang="0">
                        <a:pos x="connsiteX2" y="connsiteY2"/>
                      </a:cxn>
                      <a:cxn ang="0">
                        <a:pos x="connsiteX3" y="connsiteY3"/>
                      </a:cxn>
                    </a:cxnLst>
                    <a:rect l="l" t="t" r="r" b="b"/>
                    <a:pathLst>
                      <a:path w="31524" h="36924">
                        <a:moveTo>
                          <a:pt x="0" y="36925"/>
                        </a:moveTo>
                        <a:lnTo>
                          <a:pt x="31524" y="18714"/>
                        </a:lnTo>
                        <a:lnTo>
                          <a:pt x="31524" y="0"/>
                        </a:lnTo>
                        <a:lnTo>
                          <a:pt x="0" y="182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198" name="Graphic 4">
                    <a:extLst>
                      <a:ext uri="{FF2B5EF4-FFF2-40B4-BE49-F238E27FC236}">
                        <a16:creationId xmlns:a16="http://schemas.microsoft.com/office/drawing/2014/main" id="{84FB7ED1-A2DF-40A1-A747-5F7CF3F14040}"/>
                      </a:ext>
                    </a:extLst>
                  </p:cNvPr>
                  <p:cNvGrpSpPr/>
                  <p:nvPr/>
                </p:nvGrpSpPr>
                <p:grpSpPr>
                  <a:xfrm>
                    <a:off x="7294675" y="3861889"/>
                    <a:ext cx="6154" cy="8917"/>
                    <a:chOff x="7294675" y="3861889"/>
                    <a:chExt cx="6154" cy="8917"/>
                  </a:xfrm>
                  <a:solidFill>
                    <a:schemeClr val="accent1"/>
                  </a:solidFill>
                </p:grpSpPr>
                <p:sp>
                  <p:nvSpPr>
                    <p:cNvPr id="4199" name="Freeform: Shape 4198">
                      <a:extLst>
                        <a:ext uri="{FF2B5EF4-FFF2-40B4-BE49-F238E27FC236}">
                          <a16:creationId xmlns:a16="http://schemas.microsoft.com/office/drawing/2014/main" id="{C5F2BC6F-EEE5-4B09-8041-CF569F16709E}"/>
                        </a:ext>
                      </a:extLst>
                    </p:cNvPr>
                    <p:cNvSpPr/>
                    <p:nvPr/>
                  </p:nvSpPr>
                  <p:spPr>
                    <a:xfrm>
                      <a:off x="7294675" y="3861889"/>
                      <a:ext cx="6154" cy="8917"/>
                    </a:xfrm>
                    <a:custGeom>
                      <a:avLst/>
                      <a:gdLst>
                        <a:gd name="connsiteX0" fmla="*/ 6154 w 6154"/>
                        <a:gd name="connsiteY0" fmla="*/ 5400 h 8917"/>
                        <a:gd name="connsiteX1" fmla="*/ 0 w 6154"/>
                        <a:gd name="connsiteY1" fmla="*/ 8917 h 8917"/>
                        <a:gd name="connsiteX2" fmla="*/ 0 w 6154"/>
                        <a:gd name="connsiteY2" fmla="*/ 3642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400"/>
                          </a:moveTo>
                          <a:lnTo>
                            <a:pt x="0" y="8917"/>
                          </a:lnTo>
                          <a:lnTo>
                            <a:pt x="0" y="3642"/>
                          </a:lnTo>
                          <a:lnTo>
                            <a:pt x="6154"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0" name="Freeform: Shape 4199">
                      <a:extLst>
                        <a:ext uri="{FF2B5EF4-FFF2-40B4-BE49-F238E27FC236}">
                          <a16:creationId xmlns:a16="http://schemas.microsoft.com/office/drawing/2014/main" id="{2D9074EB-FA48-4AC7-B71A-9F3BDA5481B6}"/>
                        </a:ext>
                      </a:extLst>
                    </p:cNvPr>
                    <p:cNvSpPr/>
                    <p:nvPr/>
                  </p:nvSpPr>
                  <p:spPr>
                    <a:xfrm>
                      <a:off x="7295178" y="3862894"/>
                      <a:ext cx="5023" cy="3516"/>
                    </a:xfrm>
                    <a:custGeom>
                      <a:avLst/>
                      <a:gdLst>
                        <a:gd name="connsiteX0" fmla="*/ 5023 w 5023"/>
                        <a:gd name="connsiteY0" fmla="*/ 628 h 3516"/>
                        <a:gd name="connsiteX1" fmla="*/ 0 w 5023"/>
                        <a:gd name="connsiteY1" fmla="*/ 3517 h 3516"/>
                        <a:gd name="connsiteX2" fmla="*/ 0 w 5023"/>
                        <a:gd name="connsiteY2" fmla="*/ 2889 h 3516"/>
                        <a:gd name="connsiteX3" fmla="*/ 5023 w 5023"/>
                        <a:gd name="connsiteY3" fmla="*/ 0 h 3516"/>
                      </a:gdLst>
                      <a:ahLst/>
                      <a:cxnLst>
                        <a:cxn ang="0">
                          <a:pos x="connsiteX0" y="connsiteY0"/>
                        </a:cxn>
                        <a:cxn ang="0">
                          <a:pos x="connsiteX1" y="connsiteY1"/>
                        </a:cxn>
                        <a:cxn ang="0">
                          <a:pos x="connsiteX2" y="connsiteY2"/>
                        </a:cxn>
                        <a:cxn ang="0">
                          <a:pos x="connsiteX3" y="connsiteY3"/>
                        </a:cxn>
                      </a:cxnLst>
                      <a:rect l="l" t="t" r="r" b="b"/>
                      <a:pathLst>
                        <a:path w="5023" h="3516">
                          <a:moveTo>
                            <a:pt x="5023" y="628"/>
                          </a:moveTo>
                          <a:lnTo>
                            <a:pt x="0" y="3517"/>
                          </a:lnTo>
                          <a:lnTo>
                            <a:pt x="0" y="2889"/>
                          </a:lnTo>
                          <a:lnTo>
                            <a:pt x="5023"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1" name="Freeform: Shape 4200">
                      <a:extLst>
                        <a:ext uri="{FF2B5EF4-FFF2-40B4-BE49-F238E27FC236}">
                          <a16:creationId xmlns:a16="http://schemas.microsoft.com/office/drawing/2014/main" id="{794AABD1-7442-472F-86A5-94842A535DB7}"/>
                        </a:ext>
                      </a:extLst>
                    </p:cNvPr>
                    <p:cNvSpPr/>
                    <p:nvPr/>
                  </p:nvSpPr>
                  <p:spPr>
                    <a:xfrm>
                      <a:off x="7295178" y="3864276"/>
                      <a:ext cx="5023" cy="3139"/>
                    </a:xfrm>
                    <a:custGeom>
                      <a:avLst/>
                      <a:gdLst>
                        <a:gd name="connsiteX0" fmla="*/ 5023 w 5023"/>
                        <a:gd name="connsiteY0" fmla="*/ 251 h 3139"/>
                        <a:gd name="connsiteX1" fmla="*/ 0 w 5023"/>
                        <a:gd name="connsiteY1" fmla="*/ 3140 h 3139"/>
                        <a:gd name="connsiteX2" fmla="*/ 0 w 5023"/>
                        <a:gd name="connsiteY2" fmla="*/ 2889 h 3139"/>
                        <a:gd name="connsiteX3" fmla="*/ 5023 w 5023"/>
                        <a:gd name="connsiteY3" fmla="*/ 0 h 3139"/>
                      </a:gdLst>
                      <a:ahLst/>
                      <a:cxnLst>
                        <a:cxn ang="0">
                          <a:pos x="connsiteX0" y="connsiteY0"/>
                        </a:cxn>
                        <a:cxn ang="0">
                          <a:pos x="connsiteX1" y="connsiteY1"/>
                        </a:cxn>
                        <a:cxn ang="0">
                          <a:pos x="connsiteX2" y="connsiteY2"/>
                        </a:cxn>
                        <a:cxn ang="0">
                          <a:pos x="connsiteX3" y="connsiteY3"/>
                        </a:cxn>
                      </a:cxnLst>
                      <a:rect l="l" t="t" r="r" b="b"/>
                      <a:pathLst>
                        <a:path w="5023" h="3139">
                          <a:moveTo>
                            <a:pt x="5023" y="251"/>
                          </a:moveTo>
                          <a:lnTo>
                            <a:pt x="0" y="3140"/>
                          </a:lnTo>
                          <a:lnTo>
                            <a:pt x="0" y="2889"/>
                          </a:lnTo>
                          <a:lnTo>
                            <a:pt x="50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2" name="Freeform: Shape 4201">
                      <a:extLst>
                        <a:ext uri="{FF2B5EF4-FFF2-40B4-BE49-F238E27FC236}">
                          <a16:creationId xmlns:a16="http://schemas.microsoft.com/office/drawing/2014/main" id="{1B6448CE-6842-4FFC-8403-B8684EBCC297}"/>
                        </a:ext>
                      </a:extLst>
                    </p:cNvPr>
                    <p:cNvSpPr/>
                    <p:nvPr/>
                  </p:nvSpPr>
                  <p:spPr>
                    <a:xfrm>
                      <a:off x="7295178" y="3865029"/>
                      <a:ext cx="5023" cy="3139"/>
                    </a:xfrm>
                    <a:custGeom>
                      <a:avLst/>
                      <a:gdLst>
                        <a:gd name="connsiteX0" fmla="*/ 5023 w 5023"/>
                        <a:gd name="connsiteY0" fmla="*/ 251 h 3139"/>
                        <a:gd name="connsiteX1" fmla="*/ 0 w 5023"/>
                        <a:gd name="connsiteY1" fmla="*/ 3140 h 3139"/>
                        <a:gd name="connsiteX2" fmla="*/ 0 w 5023"/>
                        <a:gd name="connsiteY2" fmla="*/ 2889 h 3139"/>
                        <a:gd name="connsiteX3" fmla="*/ 5023 w 5023"/>
                        <a:gd name="connsiteY3" fmla="*/ 0 h 3139"/>
                      </a:gdLst>
                      <a:ahLst/>
                      <a:cxnLst>
                        <a:cxn ang="0">
                          <a:pos x="connsiteX0" y="connsiteY0"/>
                        </a:cxn>
                        <a:cxn ang="0">
                          <a:pos x="connsiteX1" y="connsiteY1"/>
                        </a:cxn>
                        <a:cxn ang="0">
                          <a:pos x="connsiteX2" y="connsiteY2"/>
                        </a:cxn>
                        <a:cxn ang="0">
                          <a:pos x="connsiteX3" y="connsiteY3"/>
                        </a:cxn>
                      </a:cxnLst>
                      <a:rect l="l" t="t" r="r" b="b"/>
                      <a:pathLst>
                        <a:path w="5023" h="3139">
                          <a:moveTo>
                            <a:pt x="5023" y="251"/>
                          </a:moveTo>
                          <a:lnTo>
                            <a:pt x="0" y="3140"/>
                          </a:lnTo>
                          <a:lnTo>
                            <a:pt x="0" y="2889"/>
                          </a:lnTo>
                          <a:lnTo>
                            <a:pt x="50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3" name="Freeform: Shape 4202">
                      <a:extLst>
                        <a:ext uri="{FF2B5EF4-FFF2-40B4-BE49-F238E27FC236}">
                          <a16:creationId xmlns:a16="http://schemas.microsoft.com/office/drawing/2014/main" id="{349C0F0F-E0EC-4DD8-9215-09EEACB190B4}"/>
                        </a:ext>
                      </a:extLst>
                    </p:cNvPr>
                    <p:cNvSpPr/>
                    <p:nvPr/>
                  </p:nvSpPr>
                  <p:spPr>
                    <a:xfrm>
                      <a:off x="7295178" y="3865783"/>
                      <a:ext cx="5023" cy="3139"/>
                    </a:xfrm>
                    <a:custGeom>
                      <a:avLst/>
                      <a:gdLst>
                        <a:gd name="connsiteX0" fmla="*/ 5023 w 5023"/>
                        <a:gd name="connsiteY0" fmla="*/ 251 h 3139"/>
                        <a:gd name="connsiteX1" fmla="*/ 0 w 5023"/>
                        <a:gd name="connsiteY1" fmla="*/ 3140 h 3139"/>
                        <a:gd name="connsiteX2" fmla="*/ 0 w 5023"/>
                        <a:gd name="connsiteY2" fmla="*/ 2889 h 3139"/>
                        <a:gd name="connsiteX3" fmla="*/ 5023 w 5023"/>
                        <a:gd name="connsiteY3" fmla="*/ 0 h 3139"/>
                      </a:gdLst>
                      <a:ahLst/>
                      <a:cxnLst>
                        <a:cxn ang="0">
                          <a:pos x="connsiteX0" y="connsiteY0"/>
                        </a:cxn>
                        <a:cxn ang="0">
                          <a:pos x="connsiteX1" y="connsiteY1"/>
                        </a:cxn>
                        <a:cxn ang="0">
                          <a:pos x="connsiteX2" y="connsiteY2"/>
                        </a:cxn>
                        <a:cxn ang="0">
                          <a:pos x="connsiteX3" y="connsiteY3"/>
                        </a:cxn>
                      </a:cxnLst>
                      <a:rect l="l" t="t" r="r" b="b"/>
                      <a:pathLst>
                        <a:path w="5023" h="3139">
                          <a:moveTo>
                            <a:pt x="5023" y="251"/>
                          </a:moveTo>
                          <a:lnTo>
                            <a:pt x="0" y="3140"/>
                          </a:lnTo>
                          <a:lnTo>
                            <a:pt x="0" y="2889"/>
                          </a:lnTo>
                          <a:lnTo>
                            <a:pt x="50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4" name="Freeform: Shape 4203">
                      <a:extLst>
                        <a:ext uri="{FF2B5EF4-FFF2-40B4-BE49-F238E27FC236}">
                          <a16:creationId xmlns:a16="http://schemas.microsoft.com/office/drawing/2014/main" id="{74AEE5D8-9B47-4C31-9DA5-A2815D36F14E}"/>
                        </a:ext>
                      </a:extLst>
                    </p:cNvPr>
                    <p:cNvSpPr/>
                    <p:nvPr/>
                  </p:nvSpPr>
                  <p:spPr>
                    <a:xfrm>
                      <a:off x="7295178" y="3866411"/>
                      <a:ext cx="5023" cy="3265"/>
                    </a:xfrm>
                    <a:custGeom>
                      <a:avLst/>
                      <a:gdLst>
                        <a:gd name="connsiteX0" fmla="*/ 5023 w 5023"/>
                        <a:gd name="connsiteY0" fmla="*/ 377 h 3265"/>
                        <a:gd name="connsiteX1" fmla="*/ 0 w 5023"/>
                        <a:gd name="connsiteY1" fmla="*/ 3265 h 3265"/>
                        <a:gd name="connsiteX2" fmla="*/ 0 w 5023"/>
                        <a:gd name="connsiteY2" fmla="*/ 2889 h 3265"/>
                        <a:gd name="connsiteX3" fmla="*/ 5023 w 5023"/>
                        <a:gd name="connsiteY3" fmla="*/ 0 h 3265"/>
                      </a:gdLst>
                      <a:ahLst/>
                      <a:cxnLst>
                        <a:cxn ang="0">
                          <a:pos x="connsiteX0" y="connsiteY0"/>
                        </a:cxn>
                        <a:cxn ang="0">
                          <a:pos x="connsiteX1" y="connsiteY1"/>
                        </a:cxn>
                        <a:cxn ang="0">
                          <a:pos x="connsiteX2" y="connsiteY2"/>
                        </a:cxn>
                        <a:cxn ang="0">
                          <a:pos x="connsiteX3" y="connsiteY3"/>
                        </a:cxn>
                      </a:cxnLst>
                      <a:rect l="l" t="t" r="r" b="b"/>
                      <a:pathLst>
                        <a:path w="5023" h="3265">
                          <a:moveTo>
                            <a:pt x="5023" y="377"/>
                          </a:moveTo>
                          <a:lnTo>
                            <a:pt x="0" y="3265"/>
                          </a:lnTo>
                          <a:lnTo>
                            <a:pt x="0" y="2889"/>
                          </a:lnTo>
                          <a:lnTo>
                            <a:pt x="50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205" name="Freeform: Shape 4204">
                  <a:extLst>
                    <a:ext uri="{FF2B5EF4-FFF2-40B4-BE49-F238E27FC236}">
                      <a16:creationId xmlns:a16="http://schemas.microsoft.com/office/drawing/2014/main" id="{84C7B7EC-2C02-48A5-AD20-53A6A9885060}"/>
                    </a:ext>
                  </a:extLst>
                </p:cNvPr>
                <p:cNvSpPr/>
                <p:nvPr/>
              </p:nvSpPr>
              <p:spPr>
                <a:xfrm>
                  <a:off x="7255866" y="3845813"/>
                  <a:ext cx="37929" cy="21853"/>
                </a:xfrm>
                <a:custGeom>
                  <a:avLst/>
                  <a:gdLst>
                    <a:gd name="connsiteX0" fmla="*/ 37929 w 37929"/>
                    <a:gd name="connsiteY0" fmla="*/ 15071 h 21853"/>
                    <a:gd name="connsiteX1" fmla="*/ 31775 w 37929"/>
                    <a:gd name="connsiteY1" fmla="*/ 18588 h 21853"/>
                    <a:gd name="connsiteX2" fmla="*/ 31273 w 37929"/>
                    <a:gd name="connsiteY2" fmla="*/ 18965 h 21853"/>
                    <a:gd name="connsiteX3" fmla="*/ 30142 w 37929"/>
                    <a:gd name="connsiteY3" fmla="*/ 19593 h 21853"/>
                    <a:gd name="connsiteX4" fmla="*/ 29640 w 37929"/>
                    <a:gd name="connsiteY4" fmla="*/ 19844 h 21853"/>
                    <a:gd name="connsiteX5" fmla="*/ 29640 w 37929"/>
                    <a:gd name="connsiteY5" fmla="*/ 19970 h 21853"/>
                    <a:gd name="connsiteX6" fmla="*/ 29640 w 37929"/>
                    <a:gd name="connsiteY6" fmla="*/ 19970 h 21853"/>
                    <a:gd name="connsiteX7" fmla="*/ 29389 w 37929"/>
                    <a:gd name="connsiteY7" fmla="*/ 20095 h 21853"/>
                    <a:gd name="connsiteX8" fmla="*/ 27882 w 37929"/>
                    <a:gd name="connsiteY8" fmla="*/ 20849 h 21853"/>
                    <a:gd name="connsiteX9" fmla="*/ 27882 w 37929"/>
                    <a:gd name="connsiteY9" fmla="*/ 20849 h 21853"/>
                    <a:gd name="connsiteX10" fmla="*/ 27631 w 37929"/>
                    <a:gd name="connsiteY10" fmla="*/ 21100 h 21853"/>
                    <a:gd name="connsiteX11" fmla="*/ 26249 w 37929"/>
                    <a:gd name="connsiteY11" fmla="*/ 21853 h 21853"/>
                    <a:gd name="connsiteX12" fmla="*/ 13941 w 37929"/>
                    <a:gd name="connsiteY12" fmla="*/ 14695 h 21853"/>
                    <a:gd name="connsiteX13" fmla="*/ 12308 w 37929"/>
                    <a:gd name="connsiteY13" fmla="*/ 13690 h 21853"/>
                    <a:gd name="connsiteX14" fmla="*/ 0 w 37929"/>
                    <a:gd name="connsiteY14" fmla="*/ 6657 h 21853"/>
                    <a:gd name="connsiteX15" fmla="*/ 7159 w 37929"/>
                    <a:gd name="connsiteY15" fmla="*/ 2512 h 21853"/>
                    <a:gd name="connsiteX16" fmla="*/ 7410 w 37929"/>
                    <a:gd name="connsiteY16" fmla="*/ 2386 h 21853"/>
                    <a:gd name="connsiteX17" fmla="*/ 7787 w 37929"/>
                    <a:gd name="connsiteY17" fmla="*/ 2261 h 21853"/>
                    <a:gd name="connsiteX18" fmla="*/ 7913 w 37929"/>
                    <a:gd name="connsiteY18" fmla="*/ 2010 h 21853"/>
                    <a:gd name="connsiteX19" fmla="*/ 11680 w 37929"/>
                    <a:gd name="connsiteY19" fmla="*/ 0 h 21853"/>
                    <a:gd name="connsiteX20" fmla="*/ 23988 w 37929"/>
                    <a:gd name="connsiteY20" fmla="*/ 7033 h 21853"/>
                    <a:gd name="connsiteX21" fmla="*/ 25621 w 37929"/>
                    <a:gd name="connsiteY21" fmla="*/ 8038 h 21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929" h="21853">
                      <a:moveTo>
                        <a:pt x="37929" y="15071"/>
                      </a:moveTo>
                      <a:lnTo>
                        <a:pt x="31775" y="18588"/>
                      </a:lnTo>
                      <a:lnTo>
                        <a:pt x="31273" y="18965"/>
                      </a:lnTo>
                      <a:lnTo>
                        <a:pt x="30142" y="19593"/>
                      </a:lnTo>
                      <a:lnTo>
                        <a:pt x="29640" y="19844"/>
                      </a:lnTo>
                      <a:lnTo>
                        <a:pt x="29640" y="19970"/>
                      </a:lnTo>
                      <a:lnTo>
                        <a:pt x="29640" y="19970"/>
                      </a:lnTo>
                      <a:lnTo>
                        <a:pt x="29389" y="20095"/>
                      </a:lnTo>
                      <a:lnTo>
                        <a:pt x="27882" y="20849"/>
                      </a:lnTo>
                      <a:lnTo>
                        <a:pt x="27882" y="20849"/>
                      </a:lnTo>
                      <a:lnTo>
                        <a:pt x="27631" y="21100"/>
                      </a:lnTo>
                      <a:lnTo>
                        <a:pt x="26249" y="21853"/>
                      </a:lnTo>
                      <a:lnTo>
                        <a:pt x="13941" y="14695"/>
                      </a:lnTo>
                      <a:lnTo>
                        <a:pt x="12308" y="13690"/>
                      </a:lnTo>
                      <a:lnTo>
                        <a:pt x="0" y="6657"/>
                      </a:lnTo>
                      <a:lnTo>
                        <a:pt x="7159" y="2512"/>
                      </a:lnTo>
                      <a:lnTo>
                        <a:pt x="7410" y="2386"/>
                      </a:lnTo>
                      <a:lnTo>
                        <a:pt x="7787" y="2261"/>
                      </a:lnTo>
                      <a:lnTo>
                        <a:pt x="7913" y="2010"/>
                      </a:lnTo>
                      <a:lnTo>
                        <a:pt x="11680" y="0"/>
                      </a:lnTo>
                      <a:lnTo>
                        <a:pt x="23988" y="7033"/>
                      </a:lnTo>
                      <a:lnTo>
                        <a:pt x="25621" y="8038"/>
                      </a:lnTo>
                      <a:close/>
                    </a:path>
                  </a:pathLst>
                </a:custGeom>
                <a:solidFill>
                  <a:srgbClr val="FFFFFF">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6" name="Freeform: Shape 4205">
                  <a:extLst>
                    <a:ext uri="{FF2B5EF4-FFF2-40B4-BE49-F238E27FC236}">
                      <a16:creationId xmlns:a16="http://schemas.microsoft.com/office/drawing/2014/main" id="{8F8939D4-48A6-48FC-8527-043AB7128C4B}"/>
                    </a:ext>
                  </a:extLst>
                </p:cNvPr>
                <p:cNvSpPr/>
                <p:nvPr/>
              </p:nvSpPr>
              <p:spPr>
                <a:xfrm>
                  <a:off x="7282241" y="3860885"/>
                  <a:ext cx="11554" cy="27630"/>
                </a:xfrm>
                <a:custGeom>
                  <a:avLst/>
                  <a:gdLst>
                    <a:gd name="connsiteX0" fmla="*/ 0 w 11554"/>
                    <a:gd name="connsiteY0" fmla="*/ 27631 h 27630"/>
                    <a:gd name="connsiteX1" fmla="*/ 11555 w 11554"/>
                    <a:gd name="connsiteY1" fmla="*/ 20974 h 27630"/>
                    <a:gd name="connsiteX2" fmla="*/ 11555 w 11554"/>
                    <a:gd name="connsiteY2" fmla="*/ 0 h 27630"/>
                    <a:gd name="connsiteX3" fmla="*/ 0 w 11554"/>
                    <a:gd name="connsiteY3" fmla="*/ 6782 h 27630"/>
                  </a:gdLst>
                  <a:ahLst/>
                  <a:cxnLst>
                    <a:cxn ang="0">
                      <a:pos x="connsiteX0" y="connsiteY0"/>
                    </a:cxn>
                    <a:cxn ang="0">
                      <a:pos x="connsiteX1" y="connsiteY1"/>
                    </a:cxn>
                    <a:cxn ang="0">
                      <a:pos x="connsiteX2" y="connsiteY2"/>
                    </a:cxn>
                    <a:cxn ang="0">
                      <a:pos x="connsiteX3" y="connsiteY3"/>
                    </a:cxn>
                  </a:cxnLst>
                  <a:rect l="l" t="t" r="r" b="b"/>
                  <a:pathLst>
                    <a:path w="11554" h="27630">
                      <a:moveTo>
                        <a:pt x="0" y="27631"/>
                      </a:moveTo>
                      <a:lnTo>
                        <a:pt x="11555" y="20974"/>
                      </a:lnTo>
                      <a:lnTo>
                        <a:pt x="11555" y="0"/>
                      </a:lnTo>
                      <a:lnTo>
                        <a:pt x="0" y="6782"/>
                      </a:lnTo>
                      <a:close/>
                    </a:path>
                  </a:pathLst>
                </a:custGeom>
                <a:solidFill>
                  <a:srgbClr val="FFFFFF">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07" name="Graphic 4">
                <a:extLst>
                  <a:ext uri="{FF2B5EF4-FFF2-40B4-BE49-F238E27FC236}">
                    <a16:creationId xmlns:a16="http://schemas.microsoft.com/office/drawing/2014/main" id="{84FB7ED1-A2DF-40A1-A747-5F7CF3F14040}"/>
                  </a:ext>
                </a:extLst>
              </p:cNvPr>
              <p:cNvGrpSpPr/>
              <p:nvPr/>
            </p:nvGrpSpPr>
            <p:grpSpPr>
              <a:xfrm>
                <a:off x="7185659" y="3873821"/>
                <a:ext cx="64304" cy="40316"/>
                <a:chOff x="7185659" y="3873821"/>
                <a:chExt cx="64304" cy="40316"/>
              </a:xfrm>
              <a:solidFill>
                <a:schemeClr val="accent1"/>
              </a:solidFill>
            </p:grpSpPr>
            <p:sp>
              <p:nvSpPr>
                <p:cNvPr id="4208" name="Freeform: Shape 4207">
                  <a:extLst>
                    <a:ext uri="{FF2B5EF4-FFF2-40B4-BE49-F238E27FC236}">
                      <a16:creationId xmlns:a16="http://schemas.microsoft.com/office/drawing/2014/main" id="{F99A4F47-2704-43F8-BA92-48032C8D4B76}"/>
                    </a:ext>
                  </a:extLst>
                </p:cNvPr>
                <p:cNvSpPr/>
                <p:nvPr/>
              </p:nvSpPr>
              <p:spPr>
                <a:xfrm>
                  <a:off x="7185659" y="3876961"/>
                  <a:ext cx="64304" cy="37176"/>
                </a:xfrm>
                <a:custGeom>
                  <a:avLst/>
                  <a:gdLst>
                    <a:gd name="connsiteX0" fmla="*/ 64304 w 64304"/>
                    <a:gd name="connsiteY0" fmla="*/ 18337 h 37176"/>
                    <a:gd name="connsiteX1" fmla="*/ 31650 w 64304"/>
                    <a:gd name="connsiteY1" fmla="*/ 37176 h 37176"/>
                    <a:gd name="connsiteX2" fmla="*/ 30269 w 64304"/>
                    <a:gd name="connsiteY2" fmla="*/ 36423 h 37176"/>
                    <a:gd name="connsiteX3" fmla="*/ 27882 w 64304"/>
                    <a:gd name="connsiteY3" fmla="*/ 35041 h 37176"/>
                    <a:gd name="connsiteX4" fmla="*/ 23738 w 64304"/>
                    <a:gd name="connsiteY4" fmla="*/ 32529 h 37176"/>
                    <a:gd name="connsiteX5" fmla="*/ 19091 w 64304"/>
                    <a:gd name="connsiteY5" fmla="*/ 29892 h 37176"/>
                    <a:gd name="connsiteX6" fmla="*/ 16704 w 64304"/>
                    <a:gd name="connsiteY6" fmla="*/ 28510 h 37176"/>
                    <a:gd name="connsiteX7" fmla="*/ 12559 w 64304"/>
                    <a:gd name="connsiteY7" fmla="*/ 26124 h 37176"/>
                    <a:gd name="connsiteX8" fmla="*/ 8038 w 64304"/>
                    <a:gd name="connsiteY8" fmla="*/ 23486 h 37176"/>
                    <a:gd name="connsiteX9" fmla="*/ 5652 w 64304"/>
                    <a:gd name="connsiteY9" fmla="*/ 22105 h 37176"/>
                    <a:gd name="connsiteX10" fmla="*/ 1507 w 64304"/>
                    <a:gd name="connsiteY10" fmla="*/ 19718 h 37176"/>
                    <a:gd name="connsiteX11" fmla="*/ 0 w 64304"/>
                    <a:gd name="connsiteY11" fmla="*/ 18839 h 37176"/>
                    <a:gd name="connsiteX12" fmla="*/ 1507 w 64304"/>
                    <a:gd name="connsiteY12" fmla="*/ 18086 h 37176"/>
                    <a:gd name="connsiteX13" fmla="*/ 5652 w 64304"/>
                    <a:gd name="connsiteY13" fmla="*/ 15574 h 37176"/>
                    <a:gd name="connsiteX14" fmla="*/ 8038 w 64304"/>
                    <a:gd name="connsiteY14" fmla="*/ 14192 h 37176"/>
                    <a:gd name="connsiteX15" fmla="*/ 32655 w 64304"/>
                    <a:gd name="connsiteY15" fmla="*/ 0 h 3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304" h="37176">
                      <a:moveTo>
                        <a:pt x="64304" y="18337"/>
                      </a:moveTo>
                      <a:lnTo>
                        <a:pt x="31650" y="37176"/>
                      </a:lnTo>
                      <a:lnTo>
                        <a:pt x="30269" y="36423"/>
                      </a:lnTo>
                      <a:lnTo>
                        <a:pt x="27882" y="35041"/>
                      </a:lnTo>
                      <a:lnTo>
                        <a:pt x="23738" y="32529"/>
                      </a:lnTo>
                      <a:lnTo>
                        <a:pt x="19091" y="29892"/>
                      </a:lnTo>
                      <a:lnTo>
                        <a:pt x="16704" y="28510"/>
                      </a:lnTo>
                      <a:lnTo>
                        <a:pt x="12559" y="26124"/>
                      </a:lnTo>
                      <a:lnTo>
                        <a:pt x="8038" y="23486"/>
                      </a:lnTo>
                      <a:lnTo>
                        <a:pt x="5652" y="22105"/>
                      </a:lnTo>
                      <a:lnTo>
                        <a:pt x="1507" y="19718"/>
                      </a:lnTo>
                      <a:lnTo>
                        <a:pt x="0" y="18839"/>
                      </a:lnTo>
                      <a:lnTo>
                        <a:pt x="1507" y="18086"/>
                      </a:lnTo>
                      <a:lnTo>
                        <a:pt x="5652" y="15574"/>
                      </a:lnTo>
                      <a:lnTo>
                        <a:pt x="8038" y="14192"/>
                      </a:lnTo>
                      <a:lnTo>
                        <a:pt x="32655"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9" name="Freeform: Shape 4208">
                  <a:extLst>
                    <a:ext uri="{FF2B5EF4-FFF2-40B4-BE49-F238E27FC236}">
                      <a16:creationId xmlns:a16="http://schemas.microsoft.com/office/drawing/2014/main" id="{3CE525A3-EE2C-4589-8369-CC2132C541BA}"/>
                    </a:ext>
                  </a:extLst>
                </p:cNvPr>
                <p:cNvSpPr/>
                <p:nvPr/>
              </p:nvSpPr>
              <p:spPr>
                <a:xfrm>
                  <a:off x="7188798" y="3877589"/>
                  <a:ext cx="61164" cy="35292"/>
                </a:xfrm>
                <a:custGeom>
                  <a:avLst/>
                  <a:gdLst>
                    <a:gd name="connsiteX0" fmla="*/ 61165 w 61164"/>
                    <a:gd name="connsiteY0" fmla="*/ 17332 h 35292"/>
                    <a:gd name="connsiteX1" fmla="*/ 30143 w 61164"/>
                    <a:gd name="connsiteY1" fmla="*/ 35292 h 35292"/>
                    <a:gd name="connsiteX2" fmla="*/ 0 w 61164"/>
                    <a:gd name="connsiteY2" fmla="*/ 17960 h 35292"/>
                    <a:gd name="connsiteX3" fmla="*/ 0 w 61164"/>
                    <a:gd name="connsiteY3" fmla="*/ 17206 h 35292"/>
                    <a:gd name="connsiteX4" fmla="*/ 31022 w 61164"/>
                    <a:gd name="connsiteY4" fmla="*/ 0 h 35292"/>
                    <a:gd name="connsiteX5" fmla="*/ 61165 w 61164"/>
                    <a:gd name="connsiteY5" fmla="*/ 16704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64" h="35292">
                      <a:moveTo>
                        <a:pt x="61165" y="17332"/>
                      </a:moveTo>
                      <a:lnTo>
                        <a:pt x="30143" y="35292"/>
                      </a:lnTo>
                      <a:lnTo>
                        <a:pt x="0" y="17960"/>
                      </a:lnTo>
                      <a:lnTo>
                        <a:pt x="0" y="17206"/>
                      </a:lnTo>
                      <a:lnTo>
                        <a:pt x="31022" y="0"/>
                      </a:lnTo>
                      <a:lnTo>
                        <a:pt x="61165" y="16704"/>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0" name="Freeform: Shape 4209">
                  <a:extLst>
                    <a:ext uri="{FF2B5EF4-FFF2-40B4-BE49-F238E27FC236}">
                      <a16:creationId xmlns:a16="http://schemas.microsoft.com/office/drawing/2014/main" id="{282D676E-E0F4-4FD5-88EF-43F593226473}"/>
                    </a:ext>
                  </a:extLst>
                </p:cNvPr>
                <p:cNvSpPr/>
                <p:nvPr/>
              </p:nvSpPr>
              <p:spPr>
                <a:xfrm>
                  <a:off x="7188798" y="3876835"/>
                  <a:ext cx="61164" cy="35292"/>
                </a:xfrm>
                <a:custGeom>
                  <a:avLst/>
                  <a:gdLst>
                    <a:gd name="connsiteX0" fmla="*/ 61165 w 61164"/>
                    <a:gd name="connsiteY0" fmla="*/ 17458 h 35292"/>
                    <a:gd name="connsiteX1" fmla="*/ 30143 w 61164"/>
                    <a:gd name="connsiteY1" fmla="*/ 35292 h 35292"/>
                    <a:gd name="connsiteX2" fmla="*/ 28762 w 61164"/>
                    <a:gd name="connsiteY2" fmla="*/ 34539 h 35292"/>
                    <a:gd name="connsiteX3" fmla="*/ 26626 w 61164"/>
                    <a:gd name="connsiteY3" fmla="*/ 33283 h 35292"/>
                    <a:gd name="connsiteX4" fmla="*/ 22607 w 61164"/>
                    <a:gd name="connsiteY4" fmla="*/ 31022 h 35292"/>
                    <a:gd name="connsiteX5" fmla="*/ 18211 w 61164"/>
                    <a:gd name="connsiteY5" fmla="*/ 28384 h 35292"/>
                    <a:gd name="connsiteX6" fmla="*/ 15951 w 61164"/>
                    <a:gd name="connsiteY6" fmla="*/ 27129 h 35292"/>
                    <a:gd name="connsiteX7" fmla="*/ 11932 w 61164"/>
                    <a:gd name="connsiteY7" fmla="*/ 24868 h 35292"/>
                    <a:gd name="connsiteX8" fmla="*/ 7661 w 61164"/>
                    <a:gd name="connsiteY8" fmla="*/ 22356 h 35292"/>
                    <a:gd name="connsiteX9" fmla="*/ 5400 w 61164"/>
                    <a:gd name="connsiteY9" fmla="*/ 21100 h 35292"/>
                    <a:gd name="connsiteX10" fmla="*/ 1381 w 61164"/>
                    <a:gd name="connsiteY10" fmla="*/ 18714 h 35292"/>
                    <a:gd name="connsiteX11" fmla="*/ 0 w 61164"/>
                    <a:gd name="connsiteY11" fmla="*/ 17960 h 35292"/>
                    <a:gd name="connsiteX12" fmla="*/ 1381 w 61164"/>
                    <a:gd name="connsiteY12" fmla="*/ 17206 h 35292"/>
                    <a:gd name="connsiteX13" fmla="*/ 5400 w 61164"/>
                    <a:gd name="connsiteY13" fmla="*/ 14820 h 35292"/>
                    <a:gd name="connsiteX14" fmla="*/ 7661 w 61164"/>
                    <a:gd name="connsiteY14" fmla="*/ 13564 h 35292"/>
                    <a:gd name="connsiteX15" fmla="*/ 31022 w 61164"/>
                    <a:gd name="connsiteY15" fmla="*/ 0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164" h="35292">
                      <a:moveTo>
                        <a:pt x="61165" y="17458"/>
                      </a:moveTo>
                      <a:lnTo>
                        <a:pt x="30143" y="35292"/>
                      </a:lnTo>
                      <a:lnTo>
                        <a:pt x="28762" y="34539"/>
                      </a:lnTo>
                      <a:lnTo>
                        <a:pt x="26626" y="33283"/>
                      </a:lnTo>
                      <a:lnTo>
                        <a:pt x="22607" y="31022"/>
                      </a:lnTo>
                      <a:lnTo>
                        <a:pt x="18211" y="28384"/>
                      </a:lnTo>
                      <a:lnTo>
                        <a:pt x="15951" y="27129"/>
                      </a:lnTo>
                      <a:lnTo>
                        <a:pt x="11932" y="24868"/>
                      </a:lnTo>
                      <a:lnTo>
                        <a:pt x="7661" y="22356"/>
                      </a:lnTo>
                      <a:lnTo>
                        <a:pt x="5400" y="21100"/>
                      </a:lnTo>
                      <a:lnTo>
                        <a:pt x="1381" y="18714"/>
                      </a:lnTo>
                      <a:lnTo>
                        <a:pt x="0" y="17960"/>
                      </a:lnTo>
                      <a:lnTo>
                        <a:pt x="1381" y="17206"/>
                      </a:lnTo>
                      <a:lnTo>
                        <a:pt x="5400" y="14820"/>
                      </a:lnTo>
                      <a:lnTo>
                        <a:pt x="7661" y="13564"/>
                      </a:lnTo>
                      <a:lnTo>
                        <a:pt x="31022"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1" name="Freeform: Shape 4210">
                  <a:extLst>
                    <a:ext uri="{FF2B5EF4-FFF2-40B4-BE49-F238E27FC236}">
                      <a16:creationId xmlns:a16="http://schemas.microsoft.com/office/drawing/2014/main" id="{34319EE0-384A-4B2F-BB24-B072A0E3502C}"/>
                    </a:ext>
                  </a:extLst>
                </p:cNvPr>
                <p:cNvSpPr/>
                <p:nvPr/>
              </p:nvSpPr>
              <p:spPr>
                <a:xfrm>
                  <a:off x="7192566" y="3878970"/>
                  <a:ext cx="31148" cy="17959"/>
                </a:xfrm>
                <a:custGeom>
                  <a:avLst/>
                  <a:gdLst>
                    <a:gd name="connsiteX0" fmla="*/ 31148 w 31148"/>
                    <a:gd name="connsiteY0" fmla="*/ 126 h 17959"/>
                    <a:gd name="connsiteX1" fmla="*/ 126 w 31148"/>
                    <a:gd name="connsiteY1" fmla="*/ 17960 h 17959"/>
                    <a:gd name="connsiteX2" fmla="*/ 0 w 31148"/>
                    <a:gd name="connsiteY2" fmla="*/ 17960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126"/>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2" name="Freeform: Shape 4211">
                  <a:extLst>
                    <a:ext uri="{FF2B5EF4-FFF2-40B4-BE49-F238E27FC236}">
                      <a16:creationId xmlns:a16="http://schemas.microsoft.com/office/drawing/2014/main" id="{370A43FC-8B13-4A04-9176-1F8E1BFA7316}"/>
                    </a:ext>
                  </a:extLst>
                </p:cNvPr>
                <p:cNvSpPr/>
                <p:nvPr/>
              </p:nvSpPr>
              <p:spPr>
                <a:xfrm>
                  <a:off x="7196335" y="3881231"/>
                  <a:ext cx="31147" cy="17960"/>
                </a:xfrm>
                <a:custGeom>
                  <a:avLst/>
                  <a:gdLst>
                    <a:gd name="connsiteX0" fmla="*/ 31147 w 31147"/>
                    <a:gd name="connsiteY0" fmla="*/ 0 h 17960"/>
                    <a:gd name="connsiteX1" fmla="*/ 125 w 31147"/>
                    <a:gd name="connsiteY1" fmla="*/ 17960 h 17960"/>
                    <a:gd name="connsiteX2" fmla="*/ 0 w 31147"/>
                    <a:gd name="connsiteY2" fmla="*/ 17834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0"/>
                      </a:moveTo>
                      <a:lnTo>
                        <a:pt x="125"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3" name="Freeform: Shape 4212">
                  <a:extLst>
                    <a:ext uri="{FF2B5EF4-FFF2-40B4-BE49-F238E27FC236}">
                      <a16:creationId xmlns:a16="http://schemas.microsoft.com/office/drawing/2014/main" id="{3248295B-B503-4182-AD11-B7694D843E5D}"/>
                    </a:ext>
                  </a:extLst>
                </p:cNvPr>
                <p:cNvSpPr/>
                <p:nvPr/>
              </p:nvSpPr>
              <p:spPr>
                <a:xfrm>
                  <a:off x="7200102" y="3883366"/>
                  <a:ext cx="31147" cy="17960"/>
                </a:xfrm>
                <a:custGeom>
                  <a:avLst/>
                  <a:gdLst>
                    <a:gd name="connsiteX0" fmla="*/ 31147 w 31147"/>
                    <a:gd name="connsiteY0" fmla="*/ 0 h 17960"/>
                    <a:gd name="connsiteX1" fmla="*/ 126 w 31147"/>
                    <a:gd name="connsiteY1" fmla="*/ 17960 h 17960"/>
                    <a:gd name="connsiteX2" fmla="*/ 0 w 31147"/>
                    <a:gd name="connsiteY2" fmla="*/ 17960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0"/>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4" name="Freeform: Shape 4213">
                  <a:extLst>
                    <a:ext uri="{FF2B5EF4-FFF2-40B4-BE49-F238E27FC236}">
                      <a16:creationId xmlns:a16="http://schemas.microsoft.com/office/drawing/2014/main" id="{8237A924-DB4F-4C48-A577-7CFC2C896B94}"/>
                    </a:ext>
                  </a:extLst>
                </p:cNvPr>
                <p:cNvSpPr/>
                <p:nvPr/>
              </p:nvSpPr>
              <p:spPr>
                <a:xfrm>
                  <a:off x="7203870" y="3885501"/>
                  <a:ext cx="31147" cy="17959"/>
                </a:xfrm>
                <a:custGeom>
                  <a:avLst/>
                  <a:gdLst>
                    <a:gd name="connsiteX0" fmla="*/ 31147 w 31147"/>
                    <a:gd name="connsiteY0" fmla="*/ 126 h 17959"/>
                    <a:gd name="connsiteX1" fmla="*/ 0 w 31147"/>
                    <a:gd name="connsiteY1" fmla="*/ 17960 h 17959"/>
                    <a:gd name="connsiteX2" fmla="*/ 0 w 31147"/>
                    <a:gd name="connsiteY2" fmla="*/ 17960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126"/>
                      </a:moveTo>
                      <a:lnTo>
                        <a:pt x="0"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5" name="Freeform: Shape 4214">
                  <a:extLst>
                    <a:ext uri="{FF2B5EF4-FFF2-40B4-BE49-F238E27FC236}">
                      <a16:creationId xmlns:a16="http://schemas.microsoft.com/office/drawing/2014/main" id="{24F16E5D-6ACE-4DE2-B14D-20EFAAC6EFBC}"/>
                    </a:ext>
                  </a:extLst>
                </p:cNvPr>
                <p:cNvSpPr/>
                <p:nvPr/>
              </p:nvSpPr>
              <p:spPr>
                <a:xfrm>
                  <a:off x="7207638" y="3887762"/>
                  <a:ext cx="31148" cy="17960"/>
                </a:xfrm>
                <a:custGeom>
                  <a:avLst/>
                  <a:gdLst>
                    <a:gd name="connsiteX0" fmla="*/ 31148 w 31148"/>
                    <a:gd name="connsiteY0" fmla="*/ 0 h 17960"/>
                    <a:gd name="connsiteX1" fmla="*/ 0 w 31148"/>
                    <a:gd name="connsiteY1" fmla="*/ 17960 h 17960"/>
                    <a:gd name="connsiteX2" fmla="*/ 0 w 31148"/>
                    <a:gd name="connsiteY2" fmla="*/ 17834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0"/>
                      </a:moveTo>
                      <a:lnTo>
                        <a:pt x="0"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6" name="Freeform: Shape 4215">
                  <a:extLst>
                    <a:ext uri="{FF2B5EF4-FFF2-40B4-BE49-F238E27FC236}">
                      <a16:creationId xmlns:a16="http://schemas.microsoft.com/office/drawing/2014/main" id="{A7FD4AFC-66E1-4D26-BC8D-D93EA5B8D851}"/>
                    </a:ext>
                  </a:extLst>
                </p:cNvPr>
                <p:cNvSpPr/>
                <p:nvPr/>
              </p:nvSpPr>
              <p:spPr>
                <a:xfrm>
                  <a:off x="7211405" y="3889897"/>
                  <a:ext cx="31022" cy="17960"/>
                </a:xfrm>
                <a:custGeom>
                  <a:avLst/>
                  <a:gdLst>
                    <a:gd name="connsiteX0" fmla="*/ 31022 w 31022"/>
                    <a:gd name="connsiteY0" fmla="*/ 0 h 17960"/>
                    <a:gd name="connsiteX1" fmla="*/ 0 w 31022"/>
                    <a:gd name="connsiteY1" fmla="*/ 17960 h 17960"/>
                    <a:gd name="connsiteX2" fmla="*/ 0 w 31022"/>
                    <a:gd name="connsiteY2" fmla="*/ 17960 h 17960"/>
                    <a:gd name="connsiteX3" fmla="*/ 31022 w 31022"/>
                    <a:gd name="connsiteY3" fmla="*/ 0 h 17960"/>
                  </a:gdLst>
                  <a:ahLst/>
                  <a:cxnLst>
                    <a:cxn ang="0">
                      <a:pos x="connsiteX0" y="connsiteY0"/>
                    </a:cxn>
                    <a:cxn ang="0">
                      <a:pos x="connsiteX1" y="connsiteY1"/>
                    </a:cxn>
                    <a:cxn ang="0">
                      <a:pos x="connsiteX2" y="connsiteY2"/>
                    </a:cxn>
                    <a:cxn ang="0">
                      <a:pos x="connsiteX3" y="connsiteY3"/>
                    </a:cxn>
                  </a:cxnLst>
                  <a:rect l="l" t="t" r="r" b="b"/>
                  <a:pathLst>
                    <a:path w="31022" h="17960">
                      <a:moveTo>
                        <a:pt x="31022" y="0"/>
                      </a:moveTo>
                      <a:lnTo>
                        <a:pt x="0"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7" name="Freeform: Shape 4216">
                  <a:extLst>
                    <a:ext uri="{FF2B5EF4-FFF2-40B4-BE49-F238E27FC236}">
                      <a16:creationId xmlns:a16="http://schemas.microsoft.com/office/drawing/2014/main" id="{0FB063AA-219B-4219-9D22-B1F3EFE5ABD7}"/>
                    </a:ext>
                  </a:extLst>
                </p:cNvPr>
                <p:cNvSpPr/>
                <p:nvPr/>
              </p:nvSpPr>
              <p:spPr>
                <a:xfrm>
                  <a:off x="7215174" y="3892032"/>
                  <a:ext cx="31021" cy="17960"/>
                </a:xfrm>
                <a:custGeom>
                  <a:avLst/>
                  <a:gdLst>
                    <a:gd name="connsiteX0" fmla="*/ 31022 w 31021"/>
                    <a:gd name="connsiteY0" fmla="*/ 126 h 17960"/>
                    <a:gd name="connsiteX1" fmla="*/ 0 w 31021"/>
                    <a:gd name="connsiteY1" fmla="*/ 17960 h 17960"/>
                    <a:gd name="connsiteX2" fmla="*/ 0 w 31021"/>
                    <a:gd name="connsiteY2" fmla="*/ 17960 h 17960"/>
                    <a:gd name="connsiteX3" fmla="*/ 31022 w 31021"/>
                    <a:gd name="connsiteY3" fmla="*/ 0 h 17960"/>
                  </a:gdLst>
                  <a:ahLst/>
                  <a:cxnLst>
                    <a:cxn ang="0">
                      <a:pos x="connsiteX0" y="connsiteY0"/>
                    </a:cxn>
                    <a:cxn ang="0">
                      <a:pos x="connsiteX1" y="connsiteY1"/>
                    </a:cxn>
                    <a:cxn ang="0">
                      <a:pos x="connsiteX2" y="connsiteY2"/>
                    </a:cxn>
                    <a:cxn ang="0">
                      <a:pos x="connsiteX3" y="connsiteY3"/>
                    </a:cxn>
                  </a:cxnLst>
                  <a:rect l="l" t="t" r="r" b="b"/>
                  <a:pathLst>
                    <a:path w="31021" h="17960">
                      <a:moveTo>
                        <a:pt x="31022" y="126"/>
                      </a:moveTo>
                      <a:lnTo>
                        <a:pt x="0"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8" name="Freeform: Shape 4217">
                  <a:extLst>
                    <a:ext uri="{FF2B5EF4-FFF2-40B4-BE49-F238E27FC236}">
                      <a16:creationId xmlns:a16="http://schemas.microsoft.com/office/drawing/2014/main" id="{F9F155E3-3D3A-4F4A-AD27-7F71F03A6ABC}"/>
                    </a:ext>
                  </a:extLst>
                </p:cNvPr>
                <p:cNvSpPr/>
                <p:nvPr/>
              </p:nvSpPr>
              <p:spPr>
                <a:xfrm>
                  <a:off x="7191185" y="3890400"/>
                  <a:ext cx="4019" cy="8038"/>
                </a:xfrm>
                <a:custGeom>
                  <a:avLst/>
                  <a:gdLst>
                    <a:gd name="connsiteX0" fmla="*/ 4019 w 4019"/>
                    <a:gd name="connsiteY0" fmla="*/ 0 h 8038"/>
                    <a:gd name="connsiteX1" fmla="*/ 4019 w 4019"/>
                    <a:gd name="connsiteY1" fmla="*/ 8038 h 8038"/>
                    <a:gd name="connsiteX2" fmla="*/ 0 w 4019"/>
                    <a:gd name="connsiteY2" fmla="*/ 5777 h 8038"/>
                    <a:gd name="connsiteX3" fmla="*/ 0 w 4019"/>
                    <a:gd name="connsiteY3" fmla="*/ 2135 h 8038"/>
                    <a:gd name="connsiteX4" fmla="*/ 4019 w 4019"/>
                    <a:gd name="connsiteY4" fmla="*/ 0 h 8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8038">
                      <a:moveTo>
                        <a:pt x="4019" y="0"/>
                      </a:moveTo>
                      <a:lnTo>
                        <a:pt x="4019" y="8038"/>
                      </a:lnTo>
                      <a:lnTo>
                        <a:pt x="0" y="5777"/>
                      </a:lnTo>
                      <a:lnTo>
                        <a:pt x="0" y="2135"/>
                      </a:lnTo>
                      <a:cubicBezTo>
                        <a:pt x="1381" y="1382"/>
                        <a:pt x="2763" y="754"/>
                        <a:pt x="4019"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9" name="Freeform: Shape 4218">
                  <a:extLst>
                    <a:ext uri="{FF2B5EF4-FFF2-40B4-BE49-F238E27FC236}">
                      <a16:creationId xmlns:a16="http://schemas.microsoft.com/office/drawing/2014/main" id="{A7808E03-51CA-40F2-962B-E96521485AF0}"/>
                    </a:ext>
                  </a:extLst>
                </p:cNvPr>
                <p:cNvSpPr/>
                <p:nvPr/>
              </p:nvSpPr>
              <p:spPr>
                <a:xfrm>
                  <a:off x="7195204" y="3890400"/>
                  <a:ext cx="2260" cy="8163"/>
                </a:xfrm>
                <a:custGeom>
                  <a:avLst/>
                  <a:gdLst>
                    <a:gd name="connsiteX0" fmla="*/ 2261 w 2260"/>
                    <a:gd name="connsiteY0" fmla="*/ 0 h 8163"/>
                    <a:gd name="connsiteX1" fmla="*/ 2261 w 2260"/>
                    <a:gd name="connsiteY1" fmla="*/ 6782 h 8163"/>
                    <a:gd name="connsiteX2" fmla="*/ 0 w 2260"/>
                    <a:gd name="connsiteY2" fmla="*/ 8164 h 8163"/>
                    <a:gd name="connsiteX3" fmla="*/ 0 w 2260"/>
                    <a:gd name="connsiteY3" fmla="*/ 0 h 8163"/>
                  </a:gdLst>
                  <a:ahLst/>
                  <a:cxnLst>
                    <a:cxn ang="0">
                      <a:pos x="connsiteX0" y="connsiteY0"/>
                    </a:cxn>
                    <a:cxn ang="0">
                      <a:pos x="connsiteX1" y="connsiteY1"/>
                    </a:cxn>
                    <a:cxn ang="0">
                      <a:pos x="connsiteX2" y="connsiteY2"/>
                    </a:cxn>
                    <a:cxn ang="0">
                      <a:pos x="connsiteX3" y="connsiteY3"/>
                    </a:cxn>
                  </a:cxnLst>
                  <a:rect l="l" t="t" r="r" b="b"/>
                  <a:pathLst>
                    <a:path w="2260" h="8163">
                      <a:moveTo>
                        <a:pt x="2261" y="0"/>
                      </a:moveTo>
                      <a:lnTo>
                        <a:pt x="2261" y="6782"/>
                      </a:lnTo>
                      <a:lnTo>
                        <a:pt x="0" y="8164"/>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0" name="Freeform: Shape 4219">
                  <a:extLst>
                    <a:ext uri="{FF2B5EF4-FFF2-40B4-BE49-F238E27FC236}">
                      <a16:creationId xmlns:a16="http://schemas.microsoft.com/office/drawing/2014/main" id="{1E69B1F8-3EA5-413F-AF1F-8475FB874950}"/>
                    </a:ext>
                  </a:extLst>
                </p:cNvPr>
                <p:cNvSpPr/>
                <p:nvPr/>
              </p:nvSpPr>
              <p:spPr>
                <a:xfrm>
                  <a:off x="7201735" y="3896679"/>
                  <a:ext cx="4019" cy="7912"/>
                </a:xfrm>
                <a:custGeom>
                  <a:avLst/>
                  <a:gdLst>
                    <a:gd name="connsiteX0" fmla="*/ 4019 w 4019"/>
                    <a:gd name="connsiteY0" fmla="*/ 0 h 7912"/>
                    <a:gd name="connsiteX1" fmla="*/ 4019 w 4019"/>
                    <a:gd name="connsiteY1" fmla="*/ 7912 h 7912"/>
                    <a:gd name="connsiteX2" fmla="*/ 0 w 4019"/>
                    <a:gd name="connsiteY2" fmla="*/ 5652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2"/>
                      </a:lnTo>
                      <a:lnTo>
                        <a:pt x="0" y="565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1" name="Freeform: Shape 4220">
                  <a:extLst>
                    <a:ext uri="{FF2B5EF4-FFF2-40B4-BE49-F238E27FC236}">
                      <a16:creationId xmlns:a16="http://schemas.microsoft.com/office/drawing/2014/main" id="{5D7D19A8-F8AB-4DB2-A0FF-680A128BF1A6}"/>
                    </a:ext>
                  </a:extLst>
                </p:cNvPr>
                <p:cNvSpPr/>
                <p:nvPr/>
              </p:nvSpPr>
              <p:spPr>
                <a:xfrm>
                  <a:off x="7205754" y="3896679"/>
                  <a:ext cx="2260" cy="7912"/>
                </a:xfrm>
                <a:custGeom>
                  <a:avLst/>
                  <a:gdLst>
                    <a:gd name="connsiteX0" fmla="*/ 2261 w 2260"/>
                    <a:gd name="connsiteY0" fmla="*/ 0 h 7912"/>
                    <a:gd name="connsiteX1" fmla="*/ 2261 w 2260"/>
                    <a:gd name="connsiteY1" fmla="*/ 6531 h 7912"/>
                    <a:gd name="connsiteX2" fmla="*/ 0 w 2260"/>
                    <a:gd name="connsiteY2" fmla="*/ 7912 h 7912"/>
                    <a:gd name="connsiteX3" fmla="*/ 0 w 2260"/>
                    <a:gd name="connsiteY3" fmla="*/ 0 h 7912"/>
                  </a:gdLst>
                  <a:ahLst/>
                  <a:cxnLst>
                    <a:cxn ang="0">
                      <a:pos x="connsiteX0" y="connsiteY0"/>
                    </a:cxn>
                    <a:cxn ang="0">
                      <a:pos x="connsiteX1" y="connsiteY1"/>
                    </a:cxn>
                    <a:cxn ang="0">
                      <a:pos x="connsiteX2" y="connsiteY2"/>
                    </a:cxn>
                    <a:cxn ang="0">
                      <a:pos x="connsiteX3" y="connsiteY3"/>
                    </a:cxn>
                  </a:cxnLst>
                  <a:rect l="l" t="t" r="r" b="b"/>
                  <a:pathLst>
                    <a:path w="2260" h="7912">
                      <a:moveTo>
                        <a:pt x="2261" y="0"/>
                      </a:moveTo>
                      <a:lnTo>
                        <a:pt x="2261" y="6531"/>
                      </a:lnTo>
                      <a:lnTo>
                        <a:pt x="0" y="7912"/>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2" name="Freeform: Shape 4221">
                  <a:extLst>
                    <a:ext uri="{FF2B5EF4-FFF2-40B4-BE49-F238E27FC236}">
                      <a16:creationId xmlns:a16="http://schemas.microsoft.com/office/drawing/2014/main" id="{A3BA91F6-65BF-441B-889A-2AB5E367ABCB}"/>
                    </a:ext>
                  </a:extLst>
                </p:cNvPr>
                <p:cNvSpPr/>
                <p:nvPr/>
              </p:nvSpPr>
              <p:spPr>
                <a:xfrm>
                  <a:off x="7228989" y="3896302"/>
                  <a:ext cx="4019" cy="7786"/>
                </a:xfrm>
                <a:custGeom>
                  <a:avLst/>
                  <a:gdLst>
                    <a:gd name="connsiteX0" fmla="*/ 4019 w 4019"/>
                    <a:gd name="connsiteY0" fmla="*/ 0 h 7786"/>
                    <a:gd name="connsiteX1" fmla="*/ 4019 w 4019"/>
                    <a:gd name="connsiteY1" fmla="*/ 7787 h 7786"/>
                    <a:gd name="connsiteX2" fmla="*/ 0 w 4019"/>
                    <a:gd name="connsiteY2" fmla="*/ 5526 h 7786"/>
                    <a:gd name="connsiteX3" fmla="*/ 0 w 4019"/>
                    <a:gd name="connsiteY3" fmla="*/ 0 h 7786"/>
                  </a:gdLst>
                  <a:ahLst/>
                  <a:cxnLst>
                    <a:cxn ang="0">
                      <a:pos x="connsiteX0" y="connsiteY0"/>
                    </a:cxn>
                    <a:cxn ang="0">
                      <a:pos x="connsiteX1" y="connsiteY1"/>
                    </a:cxn>
                    <a:cxn ang="0">
                      <a:pos x="connsiteX2" y="connsiteY2"/>
                    </a:cxn>
                    <a:cxn ang="0">
                      <a:pos x="connsiteX3" y="connsiteY3"/>
                    </a:cxn>
                  </a:cxnLst>
                  <a:rect l="l" t="t" r="r" b="b"/>
                  <a:pathLst>
                    <a:path w="4019" h="7786">
                      <a:moveTo>
                        <a:pt x="4019" y="0"/>
                      </a:moveTo>
                      <a:lnTo>
                        <a:pt x="4019" y="7787"/>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3" name="Freeform: Shape 4222">
                  <a:extLst>
                    <a:ext uri="{FF2B5EF4-FFF2-40B4-BE49-F238E27FC236}">
                      <a16:creationId xmlns:a16="http://schemas.microsoft.com/office/drawing/2014/main" id="{220C39CA-C4F0-4245-94E7-32A7F05846E0}"/>
                    </a:ext>
                  </a:extLst>
                </p:cNvPr>
                <p:cNvSpPr/>
                <p:nvPr/>
              </p:nvSpPr>
              <p:spPr>
                <a:xfrm>
                  <a:off x="7233008" y="3896302"/>
                  <a:ext cx="2260" cy="7786"/>
                </a:xfrm>
                <a:custGeom>
                  <a:avLst/>
                  <a:gdLst>
                    <a:gd name="connsiteX0" fmla="*/ 2261 w 2260"/>
                    <a:gd name="connsiteY0" fmla="*/ 0 h 7786"/>
                    <a:gd name="connsiteX1" fmla="*/ 2261 w 2260"/>
                    <a:gd name="connsiteY1" fmla="*/ 6531 h 7786"/>
                    <a:gd name="connsiteX2" fmla="*/ 0 w 2260"/>
                    <a:gd name="connsiteY2" fmla="*/ 7787 h 7786"/>
                    <a:gd name="connsiteX3" fmla="*/ 0 w 2260"/>
                    <a:gd name="connsiteY3" fmla="*/ 0 h 7786"/>
                  </a:gdLst>
                  <a:ahLst/>
                  <a:cxnLst>
                    <a:cxn ang="0">
                      <a:pos x="connsiteX0" y="connsiteY0"/>
                    </a:cxn>
                    <a:cxn ang="0">
                      <a:pos x="connsiteX1" y="connsiteY1"/>
                    </a:cxn>
                    <a:cxn ang="0">
                      <a:pos x="connsiteX2" y="connsiteY2"/>
                    </a:cxn>
                    <a:cxn ang="0">
                      <a:pos x="connsiteX3" y="connsiteY3"/>
                    </a:cxn>
                  </a:cxnLst>
                  <a:rect l="l" t="t" r="r" b="b"/>
                  <a:pathLst>
                    <a:path w="2260" h="7786">
                      <a:moveTo>
                        <a:pt x="2261" y="0"/>
                      </a:moveTo>
                      <a:lnTo>
                        <a:pt x="2261" y="6531"/>
                      </a:lnTo>
                      <a:lnTo>
                        <a:pt x="0" y="7787"/>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4" name="Freeform: Shape 4223">
                  <a:extLst>
                    <a:ext uri="{FF2B5EF4-FFF2-40B4-BE49-F238E27FC236}">
                      <a16:creationId xmlns:a16="http://schemas.microsoft.com/office/drawing/2014/main" id="{13AA389B-258B-4505-838E-BF87E73A1614}"/>
                    </a:ext>
                  </a:extLst>
                </p:cNvPr>
                <p:cNvSpPr/>
                <p:nvPr/>
              </p:nvSpPr>
              <p:spPr>
                <a:xfrm>
                  <a:off x="7214922" y="3904466"/>
                  <a:ext cx="4019" cy="7912"/>
                </a:xfrm>
                <a:custGeom>
                  <a:avLst/>
                  <a:gdLst>
                    <a:gd name="connsiteX0" fmla="*/ 4019 w 4019"/>
                    <a:gd name="connsiteY0" fmla="*/ 0 h 7912"/>
                    <a:gd name="connsiteX1" fmla="*/ 4019 w 4019"/>
                    <a:gd name="connsiteY1" fmla="*/ 7913 h 7912"/>
                    <a:gd name="connsiteX2" fmla="*/ 0 w 4019"/>
                    <a:gd name="connsiteY2" fmla="*/ 5526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3"/>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5" name="Freeform: Shape 4224">
                  <a:extLst>
                    <a:ext uri="{FF2B5EF4-FFF2-40B4-BE49-F238E27FC236}">
                      <a16:creationId xmlns:a16="http://schemas.microsoft.com/office/drawing/2014/main" id="{E4F73351-C4DE-4718-BEE2-1A6124F7A062}"/>
                    </a:ext>
                  </a:extLst>
                </p:cNvPr>
                <p:cNvSpPr/>
                <p:nvPr/>
              </p:nvSpPr>
              <p:spPr>
                <a:xfrm>
                  <a:off x="7218941" y="3904466"/>
                  <a:ext cx="2134" cy="7912"/>
                </a:xfrm>
                <a:custGeom>
                  <a:avLst/>
                  <a:gdLst>
                    <a:gd name="connsiteX0" fmla="*/ 2135 w 2134"/>
                    <a:gd name="connsiteY0" fmla="*/ 0 h 7912"/>
                    <a:gd name="connsiteX1" fmla="*/ 2135 w 2134"/>
                    <a:gd name="connsiteY1" fmla="*/ 6531 h 7912"/>
                    <a:gd name="connsiteX2" fmla="*/ 0 w 2134"/>
                    <a:gd name="connsiteY2" fmla="*/ 7913 h 7912"/>
                    <a:gd name="connsiteX3" fmla="*/ 0 w 2134"/>
                    <a:gd name="connsiteY3" fmla="*/ 0 h 7912"/>
                  </a:gdLst>
                  <a:ahLst/>
                  <a:cxnLst>
                    <a:cxn ang="0">
                      <a:pos x="connsiteX0" y="connsiteY0"/>
                    </a:cxn>
                    <a:cxn ang="0">
                      <a:pos x="connsiteX1" y="connsiteY1"/>
                    </a:cxn>
                    <a:cxn ang="0">
                      <a:pos x="connsiteX2" y="connsiteY2"/>
                    </a:cxn>
                    <a:cxn ang="0">
                      <a:pos x="connsiteX3" y="connsiteY3"/>
                    </a:cxn>
                  </a:cxnLst>
                  <a:rect l="l" t="t" r="r" b="b"/>
                  <a:pathLst>
                    <a:path w="2134" h="7912">
                      <a:moveTo>
                        <a:pt x="2135" y="0"/>
                      </a:moveTo>
                      <a:lnTo>
                        <a:pt x="2135" y="6531"/>
                      </a:lnTo>
                      <a:lnTo>
                        <a:pt x="0" y="7913"/>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6" name="Freeform: Shape 4225">
                  <a:extLst>
                    <a:ext uri="{FF2B5EF4-FFF2-40B4-BE49-F238E27FC236}">
                      <a16:creationId xmlns:a16="http://schemas.microsoft.com/office/drawing/2014/main" id="{F9228D24-3A3A-4390-A83C-41504B16057F}"/>
                    </a:ext>
                  </a:extLst>
                </p:cNvPr>
                <p:cNvSpPr/>
                <p:nvPr/>
              </p:nvSpPr>
              <p:spPr>
                <a:xfrm>
                  <a:off x="7242428" y="3891655"/>
                  <a:ext cx="4019" cy="4647"/>
                </a:xfrm>
                <a:custGeom>
                  <a:avLst/>
                  <a:gdLst>
                    <a:gd name="connsiteX0" fmla="*/ 0 w 4019"/>
                    <a:gd name="connsiteY0" fmla="*/ 0 h 4647"/>
                    <a:gd name="connsiteX1" fmla="*/ 0 w 4019"/>
                    <a:gd name="connsiteY1" fmla="*/ 2261 h 4647"/>
                    <a:gd name="connsiteX2" fmla="*/ 4019 w 4019"/>
                    <a:gd name="connsiteY2" fmla="*/ 4647 h 4647"/>
                    <a:gd name="connsiteX3" fmla="*/ 4019 w 4019"/>
                    <a:gd name="connsiteY3" fmla="*/ 0 h 4647"/>
                  </a:gdLst>
                  <a:ahLst/>
                  <a:cxnLst>
                    <a:cxn ang="0">
                      <a:pos x="connsiteX0" y="connsiteY0"/>
                    </a:cxn>
                    <a:cxn ang="0">
                      <a:pos x="connsiteX1" y="connsiteY1"/>
                    </a:cxn>
                    <a:cxn ang="0">
                      <a:pos x="connsiteX2" y="connsiteY2"/>
                    </a:cxn>
                    <a:cxn ang="0">
                      <a:pos x="connsiteX3" y="connsiteY3"/>
                    </a:cxn>
                  </a:cxnLst>
                  <a:rect l="l" t="t" r="r" b="b"/>
                  <a:pathLst>
                    <a:path w="4019" h="4647">
                      <a:moveTo>
                        <a:pt x="0" y="0"/>
                      </a:moveTo>
                      <a:lnTo>
                        <a:pt x="0" y="2261"/>
                      </a:lnTo>
                      <a:lnTo>
                        <a:pt x="4019" y="4647"/>
                      </a:lnTo>
                      <a:lnTo>
                        <a:pt x="4019"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7" name="Freeform: Shape 4226">
                  <a:extLst>
                    <a:ext uri="{FF2B5EF4-FFF2-40B4-BE49-F238E27FC236}">
                      <a16:creationId xmlns:a16="http://schemas.microsoft.com/office/drawing/2014/main" id="{E3D54AAB-93DB-4104-82A0-5C4382973286}"/>
                    </a:ext>
                  </a:extLst>
                </p:cNvPr>
                <p:cNvSpPr/>
                <p:nvPr/>
              </p:nvSpPr>
              <p:spPr>
                <a:xfrm>
                  <a:off x="7246447" y="3891655"/>
                  <a:ext cx="2260" cy="4647"/>
                </a:xfrm>
                <a:custGeom>
                  <a:avLst/>
                  <a:gdLst>
                    <a:gd name="connsiteX0" fmla="*/ 0 w 2260"/>
                    <a:gd name="connsiteY0" fmla="*/ 0 h 4647"/>
                    <a:gd name="connsiteX1" fmla="*/ 0 w 2260"/>
                    <a:gd name="connsiteY1" fmla="*/ 4647 h 4647"/>
                    <a:gd name="connsiteX2" fmla="*/ 2261 w 2260"/>
                    <a:gd name="connsiteY2" fmla="*/ 3266 h 4647"/>
                    <a:gd name="connsiteX3" fmla="*/ 2261 w 2260"/>
                    <a:gd name="connsiteY3" fmla="*/ 0 h 4647"/>
                  </a:gdLst>
                  <a:ahLst/>
                  <a:cxnLst>
                    <a:cxn ang="0">
                      <a:pos x="connsiteX0" y="connsiteY0"/>
                    </a:cxn>
                    <a:cxn ang="0">
                      <a:pos x="connsiteX1" y="connsiteY1"/>
                    </a:cxn>
                    <a:cxn ang="0">
                      <a:pos x="connsiteX2" y="connsiteY2"/>
                    </a:cxn>
                    <a:cxn ang="0">
                      <a:pos x="connsiteX3" y="connsiteY3"/>
                    </a:cxn>
                  </a:cxnLst>
                  <a:rect l="l" t="t" r="r" b="b"/>
                  <a:pathLst>
                    <a:path w="2260" h="4647">
                      <a:moveTo>
                        <a:pt x="0" y="0"/>
                      </a:moveTo>
                      <a:lnTo>
                        <a:pt x="0" y="4647"/>
                      </a:lnTo>
                      <a:lnTo>
                        <a:pt x="2261" y="3266"/>
                      </a:lnTo>
                      <a:lnTo>
                        <a:pt x="2261"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8" name="Freeform: Shape 4227">
                  <a:extLst>
                    <a:ext uri="{FF2B5EF4-FFF2-40B4-BE49-F238E27FC236}">
                      <a16:creationId xmlns:a16="http://schemas.microsoft.com/office/drawing/2014/main" id="{41140A39-AB61-48FA-9037-37910444F8B4}"/>
                    </a:ext>
                  </a:extLst>
                </p:cNvPr>
                <p:cNvSpPr/>
                <p:nvPr/>
              </p:nvSpPr>
              <p:spPr>
                <a:xfrm>
                  <a:off x="7188798" y="3874574"/>
                  <a:ext cx="61164" cy="35292"/>
                </a:xfrm>
                <a:custGeom>
                  <a:avLst/>
                  <a:gdLst>
                    <a:gd name="connsiteX0" fmla="*/ 61165 w 61164"/>
                    <a:gd name="connsiteY0" fmla="*/ 17332 h 35292"/>
                    <a:gd name="connsiteX1" fmla="*/ 30143 w 61164"/>
                    <a:gd name="connsiteY1" fmla="*/ 35292 h 35292"/>
                    <a:gd name="connsiteX2" fmla="*/ 0 w 61164"/>
                    <a:gd name="connsiteY2" fmla="*/ 17834 h 35292"/>
                    <a:gd name="connsiteX3" fmla="*/ 0 w 61164"/>
                    <a:gd name="connsiteY3" fmla="*/ 17207 h 35292"/>
                    <a:gd name="connsiteX4" fmla="*/ 31022 w 61164"/>
                    <a:gd name="connsiteY4" fmla="*/ 0 h 35292"/>
                    <a:gd name="connsiteX5" fmla="*/ 61165 w 61164"/>
                    <a:gd name="connsiteY5" fmla="*/ 16704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64" h="35292">
                      <a:moveTo>
                        <a:pt x="61165" y="17332"/>
                      </a:moveTo>
                      <a:lnTo>
                        <a:pt x="30143" y="35292"/>
                      </a:lnTo>
                      <a:lnTo>
                        <a:pt x="0" y="17834"/>
                      </a:lnTo>
                      <a:lnTo>
                        <a:pt x="0" y="17207"/>
                      </a:lnTo>
                      <a:lnTo>
                        <a:pt x="31022" y="0"/>
                      </a:lnTo>
                      <a:lnTo>
                        <a:pt x="61165" y="16704"/>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229" name="Graphic 4">
                  <a:extLst>
                    <a:ext uri="{FF2B5EF4-FFF2-40B4-BE49-F238E27FC236}">
                      <a16:creationId xmlns:a16="http://schemas.microsoft.com/office/drawing/2014/main" id="{84FB7ED1-A2DF-40A1-A747-5F7CF3F14040}"/>
                    </a:ext>
                  </a:extLst>
                </p:cNvPr>
                <p:cNvGrpSpPr/>
                <p:nvPr/>
              </p:nvGrpSpPr>
              <p:grpSpPr>
                <a:xfrm>
                  <a:off x="7188798" y="3873821"/>
                  <a:ext cx="61164" cy="35292"/>
                  <a:chOff x="7188798" y="3873821"/>
                  <a:chExt cx="61164" cy="35292"/>
                </a:xfrm>
                <a:solidFill>
                  <a:schemeClr val="accent1"/>
                </a:solidFill>
              </p:grpSpPr>
              <p:sp>
                <p:nvSpPr>
                  <p:cNvPr id="4230" name="Freeform: Shape 4229">
                    <a:extLst>
                      <a:ext uri="{FF2B5EF4-FFF2-40B4-BE49-F238E27FC236}">
                        <a16:creationId xmlns:a16="http://schemas.microsoft.com/office/drawing/2014/main" id="{EFA02F67-71DF-47A4-BF8E-19CD17C6F554}"/>
                      </a:ext>
                    </a:extLst>
                  </p:cNvPr>
                  <p:cNvSpPr/>
                  <p:nvPr/>
                </p:nvSpPr>
                <p:spPr>
                  <a:xfrm>
                    <a:off x="7188798" y="3873821"/>
                    <a:ext cx="61164" cy="35292"/>
                  </a:xfrm>
                  <a:custGeom>
                    <a:avLst/>
                    <a:gdLst>
                      <a:gd name="connsiteX0" fmla="*/ 61165 w 61164"/>
                      <a:gd name="connsiteY0" fmla="*/ 17458 h 35292"/>
                      <a:gd name="connsiteX1" fmla="*/ 30143 w 61164"/>
                      <a:gd name="connsiteY1" fmla="*/ 35292 h 35292"/>
                      <a:gd name="connsiteX2" fmla="*/ 0 w 61164"/>
                      <a:gd name="connsiteY2" fmla="*/ 17960 h 35292"/>
                      <a:gd name="connsiteX3" fmla="*/ 31022 w 61164"/>
                      <a:gd name="connsiteY3" fmla="*/ 0 h 35292"/>
                    </a:gdLst>
                    <a:ahLst/>
                    <a:cxnLst>
                      <a:cxn ang="0">
                        <a:pos x="connsiteX0" y="connsiteY0"/>
                      </a:cxn>
                      <a:cxn ang="0">
                        <a:pos x="connsiteX1" y="connsiteY1"/>
                      </a:cxn>
                      <a:cxn ang="0">
                        <a:pos x="connsiteX2" y="connsiteY2"/>
                      </a:cxn>
                      <a:cxn ang="0">
                        <a:pos x="connsiteX3" y="connsiteY3"/>
                      </a:cxn>
                    </a:cxnLst>
                    <a:rect l="l" t="t" r="r" b="b"/>
                    <a:pathLst>
                      <a:path w="61164" h="35292">
                        <a:moveTo>
                          <a:pt x="61165" y="17458"/>
                        </a:moveTo>
                        <a:lnTo>
                          <a:pt x="30143" y="35292"/>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1" name="Freeform: Shape 4230">
                    <a:extLst>
                      <a:ext uri="{FF2B5EF4-FFF2-40B4-BE49-F238E27FC236}">
                        <a16:creationId xmlns:a16="http://schemas.microsoft.com/office/drawing/2014/main" id="{95B1B9A5-ECCD-403D-8F72-829B88639D5C}"/>
                      </a:ext>
                    </a:extLst>
                  </p:cNvPr>
                  <p:cNvSpPr/>
                  <p:nvPr/>
                </p:nvSpPr>
                <p:spPr>
                  <a:xfrm>
                    <a:off x="7192566" y="3875956"/>
                    <a:ext cx="31148" cy="17960"/>
                  </a:xfrm>
                  <a:custGeom>
                    <a:avLst/>
                    <a:gdLst>
                      <a:gd name="connsiteX0" fmla="*/ 31148 w 31148"/>
                      <a:gd name="connsiteY0" fmla="*/ 126 h 17960"/>
                      <a:gd name="connsiteX1" fmla="*/ 126 w 31148"/>
                      <a:gd name="connsiteY1" fmla="*/ 17960 h 17960"/>
                      <a:gd name="connsiteX2" fmla="*/ 0 w 31148"/>
                      <a:gd name="connsiteY2" fmla="*/ 17960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126"/>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2" name="Freeform: Shape 4231">
                    <a:extLst>
                      <a:ext uri="{FF2B5EF4-FFF2-40B4-BE49-F238E27FC236}">
                        <a16:creationId xmlns:a16="http://schemas.microsoft.com/office/drawing/2014/main" id="{6B359C25-1A31-4848-9BCA-C7498337C850}"/>
                      </a:ext>
                    </a:extLst>
                  </p:cNvPr>
                  <p:cNvSpPr/>
                  <p:nvPr/>
                </p:nvSpPr>
                <p:spPr>
                  <a:xfrm>
                    <a:off x="7196335" y="3878217"/>
                    <a:ext cx="31147" cy="17959"/>
                  </a:xfrm>
                  <a:custGeom>
                    <a:avLst/>
                    <a:gdLst>
                      <a:gd name="connsiteX0" fmla="*/ 31147 w 31147"/>
                      <a:gd name="connsiteY0" fmla="*/ 0 h 17959"/>
                      <a:gd name="connsiteX1" fmla="*/ 125 w 31147"/>
                      <a:gd name="connsiteY1" fmla="*/ 17960 h 17959"/>
                      <a:gd name="connsiteX2" fmla="*/ 0 w 31147"/>
                      <a:gd name="connsiteY2" fmla="*/ 17834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5" y="17960"/>
                        </a:lnTo>
                        <a:lnTo>
                          <a:pt x="0" y="17834"/>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3" name="Freeform: Shape 4232">
                    <a:extLst>
                      <a:ext uri="{FF2B5EF4-FFF2-40B4-BE49-F238E27FC236}">
                        <a16:creationId xmlns:a16="http://schemas.microsoft.com/office/drawing/2014/main" id="{1F8C528D-0B45-49C7-92FB-5553DEF6F1ED}"/>
                      </a:ext>
                    </a:extLst>
                  </p:cNvPr>
                  <p:cNvSpPr/>
                  <p:nvPr/>
                </p:nvSpPr>
                <p:spPr>
                  <a:xfrm>
                    <a:off x="7200102" y="3880352"/>
                    <a:ext cx="31147" cy="17959"/>
                  </a:xfrm>
                  <a:custGeom>
                    <a:avLst/>
                    <a:gdLst>
                      <a:gd name="connsiteX0" fmla="*/ 31147 w 31147"/>
                      <a:gd name="connsiteY0" fmla="*/ 0 h 17959"/>
                      <a:gd name="connsiteX1" fmla="*/ 126 w 31147"/>
                      <a:gd name="connsiteY1" fmla="*/ 17960 h 17959"/>
                      <a:gd name="connsiteX2" fmla="*/ 0 w 31147"/>
                      <a:gd name="connsiteY2" fmla="*/ 17960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4" name="Freeform: Shape 4233">
                    <a:extLst>
                      <a:ext uri="{FF2B5EF4-FFF2-40B4-BE49-F238E27FC236}">
                        <a16:creationId xmlns:a16="http://schemas.microsoft.com/office/drawing/2014/main" id="{61B3D994-FDF8-45EE-A406-E1C02BD1C504}"/>
                      </a:ext>
                    </a:extLst>
                  </p:cNvPr>
                  <p:cNvSpPr/>
                  <p:nvPr/>
                </p:nvSpPr>
                <p:spPr>
                  <a:xfrm>
                    <a:off x="7203870" y="3882487"/>
                    <a:ext cx="31147" cy="17959"/>
                  </a:xfrm>
                  <a:custGeom>
                    <a:avLst/>
                    <a:gdLst>
                      <a:gd name="connsiteX0" fmla="*/ 31147 w 31147"/>
                      <a:gd name="connsiteY0" fmla="*/ 126 h 17959"/>
                      <a:gd name="connsiteX1" fmla="*/ 0 w 31147"/>
                      <a:gd name="connsiteY1" fmla="*/ 17960 h 17959"/>
                      <a:gd name="connsiteX2" fmla="*/ 0 w 31147"/>
                      <a:gd name="connsiteY2" fmla="*/ 17960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126"/>
                        </a:moveTo>
                        <a:lnTo>
                          <a:pt x="0"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5" name="Freeform: Shape 4234">
                    <a:extLst>
                      <a:ext uri="{FF2B5EF4-FFF2-40B4-BE49-F238E27FC236}">
                        <a16:creationId xmlns:a16="http://schemas.microsoft.com/office/drawing/2014/main" id="{AC4D3EA5-490F-4C34-AD03-58F9F7876DB0}"/>
                      </a:ext>
                    </a:extLst>
                  </p:cNvPr>
                  <p:cNvSpPr/>
                  <p:nvPr/>
                </p:nvSpPr>
                <p:spPr>
                  <a:xfrm>
                    <a:off x="7207638" y="3884748"/>
                    <a:ext cx="31148" cy="17960"/>
                  </a:xfrm>
                  <a:custGeom>
                    <a:avLst/>
                    <a:gdLst>
                      <a:gd name="connsiteX0" fmla="*/ 31148 w 31148"/>
                      <a:gd name="connsiteY0" fmla="*/ 0 h 17960"/>
                      <a:gd name="connsiteX1" fmla="*/ 0 w 31148"/>
                      <a:gd name="connsiteY1" fmla="*/ 17960 h 17960"/>
                      <a:gd name="connsiteX2" fmla="*/ 0 w 31148"/>
                      <a:gd name="connsiteY2" fmla="*/ 17835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0"/>
                        </a:moveTo>
                        <a:lnTo>
                          <a:pt x="0" y="17960"/>
                        </a:lnTo>
                        <a:lnTo>
                          <a:pt x="0" y="17835"/>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6" name="Freeform: Shape 4235">
                    <a:extLst>
                      <a:ext uri="{FF2B5EF4-FFF2-40B4-BE49-F238E27FC236}">
                        <a16:creationId xmlns:a16="http://schemas.microsoft.com/office/drawing/2014/main" id="{88EE46CB-7ADD-4CB4-BA37-EBA047E2D8A2}"/>
                      </a:ext>
                    </a:extLst>
                  </p:cNvPr>
                  <p:cNvSpPr/>
                  <p:nvPr/>
                </p:nvSpPr>
                <p:spPr>
                  <a:xfrm>
                    <a:off x="7211405" y="3886883"/>
                    <a:ext cx="31022" cy="17959"/>
                  </a:xfrm>
                  <a:custGeom>
                    <a:avLst/>
                    <a:gdLst>
                      <a:gd name="connsiteX0" fmla="*/ 31022 w 31022"/>
                      <a:gd name="connsiteY0" fmla="*/ 0 h 17959"/>
                      <a:gd name="connsiteX1" fmla="*/ 0 w 31022"/>
                      <a:gd name="connsiteY1" fmla="*/ 17960 h 17959"/>
                      <a:gd name="connsiteX2" fmla="*/ 0 w 31022"/>
                      <a:gd name="connsiteY2" fmla="*/ 17960 h 17959"/>
                      <a:gd name="connsiteX3" fmla="*/ 31022 w 31022"/>
                      <a:gd name="connsiteY3" fmla="*/ 0 h 17959"/>
                    </a:gdLst>
                    <a:ahLst/>
                    <a:cxnLst>
                      <a:cxn ang="0">
                        <a:pos x="connsiteX0" y="connsiteY0"/>
                      </a:cxn>
                      <a:cxn ang="0">
                        <a:pos x="connsiteX1" y="connsiteY1"/>
                      </a:cxn>
                      <a:cxn ang="0">
                        <a:pos x="connsiteX2" y="connsiteY2"/>
                      </a:cxn>
                      <a:cxn ang="0">
                        <a:pos x="connsiteX3" y="connsiteY3"/>
                      </a:cxn>
                    </a:cxnLst>
                    <a:rect l="l" t="t" r="r" b="b"/>
                    <a:pathLst>
                      <a:path w="31022" h="17959">
                        <a:moveTo>
                          <a:pt x="31022" y="0"/>
                        </a:moveTo>
                        <a:lnTo>
                          <a:pt x="0"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7" name="Freeform: Shape 4236">
                    <a:extLst>
                      <a:ext uri="{FF2B5EF4-FFF2-40B4-BE49-F238E27FC236}">
                        <a16:creationId xmlns:a16="http://schemas.microsoft.com/office/drawing/2014/main" id="{0CC14724-6543-460E-8A5F-3ACA62B04674}"/>
                      </a:ext>
                    </a:extLst>
                  </p:cNvPr>
                  <p:cNvSpPr/>
                  <p:nvPr/>
                </p:nvSpPr>
                <p:spPr>
                  <a:xfrm>
                    <a:off x="7215174" y="3889018"/>
                    <a:ext cx="31021" cy="17959"/>
                  </a:xfrm>
                  <a:custGeom>
                    <a:avLst/>
                    <a:gdLst>
                      <a:gd name="connsiteX0" fmla="*/ 31022 w 31021"/>
                      <a:gd name="connsiteY0" fmla="*/ 126 h 17959"/>
                      <a:gd name="connsiteX1" fmla="*/ 0 w 31021"/>
                      <a:gd name="connsiteY1" fmla="*/ 17960 h 17959"/>
                      <a:gd name="connsiteX2" fmla="*/ 0 w 31021"/>
                      <a:gd name="connsiteY2" fmla="*/ 17960 h 17959"/>
                      <a:gd name="connsiteX3" fmla="*/ 31022 w 31021"/>
                      <a:gd name="connsiteY3" fmla="*/ 0 h 17959"/>
                    </a:gdLst>
                    <a:ahLst/>
                    <a:cxnLst>
                      <a:cxn ang="0">
                        <a:pos x="connsiteX0" y="connsiteY0"/>
                      </a:cxn>
                      <a:cxn ang="0">
                        <a:pos x="connsiteX1" y="connsiteY1"/>
                      </a:cxn>
                      <a:cxn ang="0">
                        <a:pos x="connsiteX2" y="connsiteY2"/>
                      </a:cxn>
                      <a:cxn ang="0">
                        <a:pos x="connsiteX3" y="connsiteY3"/>
                      </a:cxn>
                    </a:cxnLst>
                    <a:rect l="l" t="t" r="r" b="b"/>
                    <a:pathLst>
                      <a:path w="31021" h="17959">
                        <a:moveTo>
                          <a:pt x="31022" y="126"/>
                        </a:moveTo>
                        <a:lnTo>
                          <a:pt x="0"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238" name="Freeform: Shape 4237">
                  <a:extLst>
                    <a:ext uri="{FF2B5EF4-FFF2-40B4-BE49-F238E27FC236}">
                      <a16:creationId xmlns:a16="http://schemas.microsoft.com/office/drawing/2014/main" id="{C16E88E1-B44D-474E-A453-E388BE4ABB8A}"/>
                    </a:ext>
                  </a:extLst>
                </p:cNvPr>
                <p:cNvSpPr/>
                <p:nvPr/>
              </p:nvSpPr>
              <p:spPr>
                <a:xfrm>
                  <a:off x="7188798" y="3894795"/>
                  <a:ext cx="30143" cy="18085"/>
                </a:xfrm>
                <a:custGeom>
                  <a:avLst/>
                  <a:gdLst>
                    <a:gd name="connsiteX0" fmla="*/ 30143 w 30143"/>
                    <a:gd name="connsiteY0" fmla="*/ 18086 h 18085"/>
                    <a:gd name="connsiteX1" fmla="*/ 30143 w 30143"/>
                    <a:gd name="connsiteY1" fmla="*/ 17332 h 18085"/>
                    <a:gd name="connsiteX2" fmla="*/ 0 w 30143"/>
                    <a:gd name="connsiteY2" fmla="*/ 0 h 18085"/>
                    <a:gd name="connsiteX3" fmla="*/ 0 w 30143"/>
                    <a:gd name="connsiteY3" fmla="*/ 754 h 18085"/>
                  </a:gdLst>
                  <a:ahLst/>
                  <a:cxnLst>
                    <a:cxn ang="0">
                      <a:pos x="connsiteX0" y="connsiteY0"/>
                    </a:cxn>
                    <a:cxn ang="0">
                      <a:pos x="connsiteX1" y="connsiteY1"/>
                    </a:cxn>
                    <a:cxn ang="0">
                      <a:pos x="connsiteX2" y="connsiteY2"/>
                    </a:cxn>
                    <a:cxn ang="0">
                      <a:pos x="connsiteX3" y="connsiteY3"/>
                    </a:cxn>
                  </a:cxnLst>
                  <a:rect l="l" t="t" r="r" b="b"/>
                  <a:pathLst>
                    <a:path w="30143" h="18085">
                      <a:moveTo>
                        <a:pt x="30143" y="18086"/>
                      </a:moveTo>
                      <a:lnTo>
                        <a:pt x="30143" y="17332"/>
                      </a:lnTo>
                      <a:lnTo>
                        <a:pt x="0" y="0"/>
                      </a:lnTo>
                      <a:lnTo>
                        <a:pt x="0" y="754"/>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39" name="Graphic 4">
                <a:extLst>
                  <a:ext uri="{FF2B5EF4-FFF2-40B4-BE49-F238E27FC236}">
                    <a16:creationId xmlns:a16="http://schemas.microsoft.com/office/drawing/2014/main" id="{84FB7ED1-A2DF-40A1-A747-5F7CF3F14040}"/>
                  </a:ext>
                </a:extLst>
              </p:cNvPr>
              <p:cNvGrpSpPr/>
              <p:nvPr/>
            </p:nvGrpSpPr>
            <p:grpSpPr>
              <a:xfrm>
                <a:off x="7196335" y="3856238"/>
                <a:ext cx="43706" cy="48228"/>
                <a:chOff x="7196335" y="3856238"/>
                <a:chExt cx="43706" cy="48228"/>
              </a:xfrm>
              <a:solidFill>
                <a:schemeClr val="accent1"/>
              </a:solidFill>
            </p:grpSpPr>
            <p:grpSp>
              <p:nvGrpSpPr>
                <p:cNvPr id="4240" name="Graphic 4">
                  <a:extLst>
                    <a:ext uri="{FF2B5EF4-FFF2-40B4-BE49-F238E27FC236}">
                      <a16:creationId xmlns:a16="http://schemas.microsoft.com/office/drawing/2014/main" id="{84FB7ED1-A2DF-40A1-A747-5F7CF3F14040}"/>
                    </a:ext>
                  </a:extLst>
                </p:cNvPr>
                <p:cNvGrpSpPr/>
                <p:nvPr/>
              </p:nvGrpSpPr>
              <p:grpSpPr>
                <a:xfrm>
                  <a:off x="7196335" y="3856238"/>
                  <a:ext cx="43706" cy="48228"/>
                  <a:chOff x="7196335" y="3856238"/>
                  <a:chExt cx="43706" cy="48228"/>
                </a:xfrm>
                <a:solidFill>
                  <a:schemeClr val="accent1"/>
                </a:solidFill>
              </p:grpSpPr>
              <p:sp>
                <p:nvSpPr>
                  <p:cNvPr id="4241" name="Freeform: Shape 4240">
                    <a:extLst>
                      <a:ext uri="{FF2B5EF4-FFF2-40B4-BE49-F238E27FC236}">
                        <a16:creationId xmlns:a16="http://schemas.microsoft.com/office/drawing/2014/main" id="{B8DB453B-387C-4004-9A01-7F43816AC53A}"/>
                      </a:ext>
                    </a:extLst>
                  </p:cNvPr>
                  <p:cNvSpPr/>
                  <p:nvPr/>
                </p:nvSpPr>
                <p:spPr>
                  <a:xfrm>
                    <a:off x="7196335" y="3879096"/>
                    <a:ext cx="41948" cy="25370"/>
                  </a:xfrm>
                  <a:custGeom>
                    <a:avLst/>
                    <a:gdLst>
                      <a:gd name="connsiteX0" fmla="*/ 41948 w 41948"/>
                      <a:gd name="connsiteY0" fmla="*/ 12685 h 25370"/>
                      <a:gd name="connsiteX1" fmla="*/ 38557 w 41948"/>
                      <a:gd name="connsiteY1" fmla="*/ 14695 h 25370"/>
                      <a:gd name="connsiteX2" fmla="*/ 20095 w 41948"/>
                      <a:gd name="connsiteY2" fmla="*/ 25370 h 25370"/>
                      <a:gd name="connsiteX3" fmla="*/ 0 w 41948"/>
                      <a:gd name="connsiteY3" fmla="*/ 13690 h 25370"/>
                      <a:gd name="connsiteX4" fmla="*/ 7033 w 41948"/>
                      <a:gd name="connsiteY4" fmla="*/ 9671 h 25370"/>
                      <a:gd name="connsiteX5" fmla="*/ 7033 w 41948"/>
                      <a:gd name="connsiteY5" fmla="*/ 7410 h 25370"/>
                      <a:gd name="connsiteX6" fmla="*/ 14317 w 41948"/>
                      <a:gd name="connsiteY6" fmla="*/ 3266 h 25370"/>
                      <a:gd name="connsiteX7" fmla="*/ 16704 w 41948"/>
                      <a:gd name="connsiteY7" fmla="*/ 1884 h 25370"/>
                      <a:gd name="connsiteX8" fmla="*/ 19843 w 41948"/>
                      <a:gd name="connsiteY8" fmla="*/ 0 h 25370"/>
                      <a:gd name="connsiteX9" fmla="*/ 21853 w 41948"/>
                      <a:gd name="connsiteY9" fmla="*/ 1130 h 25370"/>
                      <a:gd name="connsiteX10" fmla="*/ 24868 w 41948"/>
                      <a:gd name="connsiteY10" fmla="*/ 2889 h 25370"/>
                      <a:gd name="connsiteX11" fmla="*/ 24868 w 41948"/>
                      <a:gd name="connsiteY11" fmla="*/ 2889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948" h="25370">
                        <a:moveTo>
                          <a:pt x="41948" y="12685"/>
                        </a:moveTo>
                        <a:lnTo>
                          <a:pt x="38557" y="14695"/>
                        </a:lnTo>
                        <a:lnTo>
                          <a:pt x="20095" y="25370"/>
                        </a:lnTo>
                        <a:lnTo>
                          <a:pt x="0" y="13690"/>
                        </a:lnTo>
                        <a:lnTo>
                          <a:pt x="7033" y="9671"/>
                        </a:lnTo>
                        <a:lnTo>
                          <a:pt x="7033" y="7410"/>
                        </a:lnTo>
                        <a:lnTo>
                          <a:pt x="14317" y="3266"/>
                        </a:lnTo>
                        <a:lnTo>
                          <a:pt x="16704" y="1884"/>
                        </a:lnTo>
                        <a:lnTo>
                          <a:pt x="19843" y="0"/>
                        </a:lnTo>
                        <a:lnTo>
                          <a:pt x="21853" y="1130"/>
                        </a:lnTo>
                        <a:lnTo>
                          <a:pt x="24868" y="2889"/>
                        </a:lnTo>
                        <a:lnTo>
                          <a:pt x="24868" y="2889"/>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242" name="Graphic 4">
                    <a:extLst>
                      <a:ext uri="{FF2B5EF4-FFF2-40B4-BE49-F238E27FC236}">
                        <a16:creationId xmlns:a16="http://schemas.microsoft.com/office/drawing/2014/main" id="{84FB7ED1-A2DF-40A1-A747-5F7CF3F14040}"/>
                      </a:ext>
                    </a:extLst>
                  </p:cNvPr>
                  <p:cNvGrpSpPr/>
                  <p:nvPr/>
                </p:nvGrpSpPr>
                <p:grpSpPr>
                  <a:xfrm>
                    <a:off x="7203368" y="3856238"/>
                    <a:ext cx="36673" cy="45339"/>
                    <a:chOff x="7203368" y="3856238"/>
                    <a:chExt cx="36673" cy="45339"/>
                  </a:xfrm>
                  <a:solidFill>
                    <a:schemeClr val="accent1"/>
                  </a:solidFill>
                </p:grpSpPr>
                <p:sp>
                  <p:nvSpPr>
                    <p:cNvPr id="4243" name="Freeform: Shape 4242">
                      <a:extLst>
                        <a:ext uri="{FF2B5EF4-FFF2-40B4-BE49-F238E27FC236}">
                          <a16:creationId xmlns:a16="http://schemas.microsoft.com/office/drawing/2014/main" id="{062EC5BF-1A89-4713-A488-7F5DB09767C1}"/>
                        </a:ext>
                      </a:extLst>
                    </p:cNvPr>
                    <p:cNvSpPr/>
                    <p:nvPr/>
                  </p:nvSpPr>
                  <p:spPr>
                    <a:xfrm>
                      <a:off x="7203368" y="3856238"/>
                      <a:ext cx="36673" cy="21351"/>
                    </a:xfrm>
                    <a:custGeom>
                      <a:avLst/>
                      <a:gdLst>
                        <a:gd name="connsiteX0" fmla="*/ 28510 w 36673"/>
                        <a:gd name="connsiteY0" fmla="*/ 5652 h 21351"/>
                        <a:gd name="connsiteX1" fmla="*/ 26123 w 36673"/>
                        <a:gd name="connsiteY1" fmla="*/ 4270 h 21351"/>
                        <a:gd name="connsiteX2" fmla="*/ 18839 w 36673"/>
                        <a:gd name="connsiteY2" fmla="*/ 0 h 21351"/>
                        <a:gd name="connsiteX3" fmla="*/ 18839 w 36673"/>
                        <a:gd name="connsiteY3" fmla="*/ 0 h 21351"/>
                        <a:gd name="connsiteX4" fmla="*/ 0 w 36673"/>
                        <a:gd name="connsiteY4" fmla="*/ 10927 h 21351"/>
                        <a:gd name="connsiteX5" fmla="*/ 7284 w 36673"/>
                        <a:gd name="connsiteY5" fmla="*/ 15197 h 21351"/>
                        <a:gd name="connsiteX6" fmla="*/ 9670 w 36673"/>
                        <a:gd name="connsiteY6" fmla="*/ 16578 h 21351"/>
                        <a:gd name="connsiteX7" fmla="*/ 9670 w 36673"/>
                        <a:gd name="connsiteY7" fmla="*/ 16578 h 21351"/>
                        <a:gd name="connsiteX8" fmla="*/ 15950 w 36673"/>
                        <a:gd name="connsiteY8" fmla="*/ 20221 h 21351"/>
                        <a:gd name="connsiteX9" fmla="*/ 17834 w 36673"/>
                        <a:gd name="connsiteY9" fmla="*/ 21351 h 21351"/>
                        <a:gd name="connsiteX10" fmla="*/ 17834 w 36673"/>
                        <a:gd name="connsiteY10" fmla="*/ 21351 h 21351"/>
                        <a:gd name="connsiteX11" fmla="*/ 22607 w 36673"/>
                        <a:gd name="connsiteY11" fmla="*/ 18588 h 21351"/>
                        <a:gd name="connsiteX12" fmla="*/ 36673 w 36673"/>
                        <a:gd name="connsiteY12" fmla="*/ 10424 h 21351"/>
                        <a:gd name="connsiteX13" fmla="*/ 36673 w 36673"/>
                        <a:gd name="connsiteY13" fmla="*/ 10424 h 21351"/>
                        <a:gd name="connsiteX14" fmla="*/ 28510 w 36673"/>
                        <a:gd name="connsiteY14" fmla="*/ 5652 h 21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673" h="21351">
                          <a:moveTo>
                            <a:pt x="28510" y="5652"/>
                          </a:moveTo>
                          <a:lnTo>
                            <a:pt x="26123" y="4270"/>
                          </a:lnTo>
                          <a:lnTo>
                            <a:pt x="18839" y="0"/>
                          </a:lnTo>
                          <a:lnTo>
                            <a:pt x="18839" y="0"/>
                          </a:lnTo>
                          <a:lnTo>
                            <a:pt x="0" y="10927"/>
                          </a:lnTo>
                          <a:lnTo>
                            <a:pt x="7284" y="15197"/>
                          </a:lnTo>
                          <a:lnTo>
                            <a:pt x="9670" y="16578"/>
                          </a:lnTo>
                          <a:lnTo>
                            <a:pt x="9670" y="16578"/>
                          </a:lnTo>
                          <a:lnTo>
                            <a:pt x="15950" y="20221"/>
                          </a:lnTo>
                          <a:lnTo>
                            <a:pt x="17834" y="21351"/>
                          </a:lnTo>
                          <a:lnTo>
                            <a:pt x="17834" y="21351"/>
                          </a:lnTo>
                          <a:lnTo>
                            <a:pt x="22607" y="18588"/>
                          </a:lnTo>
                          <a:lnTo>
                            <a:pt x="36673" y="10424"/>
                          </a:lnTo>
                          <a:lnTo>
                            <a:pt x="36673" y="10424"/>
                          </a:lnTo>
                          <a:lnTo>
                            <a:pt x="28510" y="565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44" name="Freeform: Shape 4243">
                      <a:extLst>
                        <a:ext uri="{FF2B5EF4-FFF2-40B4-BE49-F238E27FC236}">
                          <a16:creationId xmlns:a16="http://schemas.microsoft.com/office/drawing/2014/main" id="{0A0764CA-7CEB-4D9A-919D-470E04B59235}"/>
                        </a:ext>
                      </a:extLst>
                    </p:cNvPr>
                    <p:cNvSpPr/>
                    <p:nvPr/>
                  </p:nvSpPr>
                  <p:spPr>
                    <a:xfrm>
                      <a:off x="7203996" y="3856614"/>
                      <a:ext cx="35292" cy="20346"/>
                    </a:xfrm>
                    <a:custGeom>
                      <a:avLst/>
                      <a:gdLst>
                        <a:gd name="connsiteX0" fmla="*/ 27631 w 35292"/>
                        <a:gd name="connsiteY0" fmla="*/ 5400 h 20346"/>
                        <a:gd name="connsiteX1" fmla="*/ 25245 w 35292"/>
                        <a:gd name="connsiteY1" fmla="*/ 4019 h 20346"/>
                        <a:gd name="connsiteX2" fmla="*/ 18211 w 35292"/>
                        <a:gd name="connsiteY2" fmla="*/ 0 h 20346"/>
                        <a:gd name="connsiteX3" fmla="*/ 0 w 35292"/>
                        <a:gd name="connsiteY3" fmla="*/ 10550 h 20346"/>
                        <a:gd name="connsiteX4" fmla="*/ 7033 w 35292"/>
                        <a:gd name="connsiteY4" fmla="*/ 14569 h 20346"/>
                        <a:gd name="connsiteX5" fmla="*/ 9420 w 35292"/>
                        <a:gd name="connsiteY5" fmla="*/ 15951 h 20346"/>
                        <a:gd name="connsiteX6" fmla="*/ 17081 w 35292"/>
                        <a:gd name="connsiteY6" fmla="*/ 20346 h 20346"/>
                        <a:gd name="connsiteX7" fmla="*/ 35292 w 35292"/>
                        <a:gd name="connsiteY7" fmla="*/ 9922 h 20346"/>
                        <a:gd name="connsiteX8" fmla="*/ 27631 w 35292"/>
                        <a:gd name="connsiteY8" fmla="*/ 5400 h 20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92" h="20346">
                          <a:moveTo>
                            <a:pt x="27631" y="5400"/>
                          </a:moveTo>
                          <a:lnTo>
                            <a:pt x="25245" y="4019"/>
                          </a:lnTo>
                          <a:lnTo>
                            <a:pt x="18211" y="0"/>
                          </a:lnTo>
                          <a:lnTo>
                            <a:pt x="0" y="10550"/>
                          </a:lnTo>
                          <a:lnTo>
                            <a:pt x="7033" y="14569"/>
                          </a:lnTo>
                          <a:lnTo>
                            <a:pt x="9420" y="15951"/>
                          </a:lnTo>
                          <a:lnTo>
                            <a:pt x="17081" y="20346"/>
                          </a:lnTo>
                          <a:lnTo>
                            <a:pt x="35292" y="9922"/>
                          </a:lnTo>
                          <a:lnTo>
                            <a:pt x="27631" y="540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45" name="Freeform: Shape 4244">
                      <a:extLst>
                        <a:ext uri="{FF2B5EF4-FFF2-40B4-BE49-F238E27FC236}">
                          <a16:creationId xmlns:a16="http://schemas.microsoft.com/office/drawing/2014/main" id="{8948AE7E-6380-4B49-9D3E-C033B02FD9B7}"/>
                        </a:ext>
                      </a:extLst>
                    </p:cNvPr>
                    <p:cNvSpPr/>
                    <p:nvPr/>
                  </p:nvSpPr>
                  <p:spPr>
                    <a:xfrm>
                      <a:off x="7203368" y="3867164"/>
                      <a:ext cx="17834" cy="34413"/>
                    </a:xfrm>
                    <a:custGeom>
                      <a:avLst/>
                      <a:gdLst>
                        <a:gd name="connsiteX0" fmla="*/ 17834 w 17834"/>
                        <a:gd name="connsiteY0" fmla="*/ 10173 h 34413"/>
                        <a:gd name="connsiteX1" fmla="*/ 17834 w 17834"/>
                        <a:gd name="connsiteY1" fmla="*/ 11303 h 34413"/>
                        <a:gd name="connsiteX2" fmla="*/ 17834 w 17834"/>
                        <a:gd name="connsiteY2" fmla="*/ 14820 h 34413"/>
                        <a:gd name="connsiteX3" fmla="*/ 17709 w 17834"/>
                        <a:gd name="connsiteY3" fmla="*/ 34413 h 34413"/>
                        <a:gd name="connsiteX4" fmla="*/ 17709 w 17834"/>
                        <a:gd name="connsiteY4" fmla="*/ 34413 h 34413"/>
                        <a:gd name="connsiteX5" fmla="*/ 17709 w 17834"/>
                        <a:gd name="connsiteY5" fmla="*/ 34413 h 34413"/>
                        <a:gd name="connsiteX6" fmla="*/ 9670 w 17834"/>
                        <a:gd name="connsiteY6" fmla="*/ 29766 h 34413"/>
                        <a:gd name="connsiteX7" fmla="*/ 7284 w 17834"/>
                        <a:gd name="connsiteY7" fmla="*/ 28510 h 34413"/>
                        <a:gd name="connsiteX8" fmla="*/ 0 w 17834"/>
                        <a:gd name="connsiteY8" fmla="*/ 24365 h 34413"/>
                        <a:gd name="connsiteX9" fmla="*/ 0 w 17834"/>
                        <a:gd name="connsiteY9" fmla="*/ 0 h 34413"/>
                        <a:gd name="connsiteX10" fmla="*/ 7284 w 17834"/>
                        <a:gd name="connsiteY10" fmla="*/ 4145 h 34413"/>
                        <a:gd name="connsiteX11" fmla="*/ 9670 w 17834"/>
                        <a:gd name="connsiteY11" fmla="*/ 5526 h 34413"/>
                        <a:gd name="connsiteX12" fmla="*/ 17834 w 17834"/>
                        <a:gd name="connsiteY12" fmla="*/ 10173 h 3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34" h="34413">
                          <a:moveTo>
                            <a:pt x="17834" y="10173"/>
                          </a:moveTo>
                          <a:lnTo>
                            <a:pt x="17834" y="11303"/>
                          </a:lnTo>
                          <a:lnTo>
                            <a:pt x="17834" y="14820"/>
                          </a:lnTo>
                          <a:lnTo>
                            <a:pt x="17709" y="34413"/>
                          </a:lnTo>
                          <a:lnTo>
                            <a:pt x="17709" y="34413"/>
                          </a:lnTo>
                          <a:lnTo>
                            <a:pt x="17709" y="34413"/>
                          </a:lnTo>
                          <a:lnTo>
                            <a:pt x="9670" y="29766"/>
                          </a:lnTo>
                          <a:lnTo>
                            <a:pt x="7284" y="28510"/>
                          </a:lnTo>
                          <a:lnTo>
                            <a:pt x="0" y="24365"/>
                          </a:lnTo>
                          <a:lnTo>
                            <a:pt x="0" y="0"/>
                          </a:lnTo>
                          <a:lnTo>
                            <a:pt x="7284" y="4145"/>
                          </a:lnTo>
                          <a:lnTo>
                            <a:pt x="9670" y="5526"/>
                          </a:lnTo>
                          <a:lnTo>
                            <a:pt x="17834" y="10173"/>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46" name="Freeform: Shape 4245">
                      <a:extLst>
                        <a:ext uri="{FF2B5EF4-FFF2-40B4-BE49-F238E27FC236}">
                          <a16:creationId xmlns:a16="http://schemas.microsoft.com/office/drawing/2014/main" id="{9CD975CD-5443-4758-B890-27059131B02B}"/>
                        </a:ext>
                      </a:extLst>
                    </p:cNvPr>
                    <p:cNvSpPr/>
                    <p:nvPr/>
                  </p:nvSpPr>
                  <p:spPr>
                    <a:xfrm>
                      <a:off x="7221202" y="3866411"/>
                      <a:ext cx="18839" cy="35166"/>
                    </a:xfrm>
                    <a:custGeom>
                      <a:avLst/>
                      <a:gdLst>
                        <a:gd name="connsiteX0" fmla="*/ 4773 w 18839"/>
                        <a:gd name="connsiteY0" fmla="*/ 8164 h 35166"/>
                        <a:gd name="connsiteX1" fmla="*/ 0 w 18839"/>
                        <a:gd name="connsiteY1" fmla="*/ 10927 h 35166"/>
                        <a:gd name="connsiteX2" fmla="*/ 0 w 18839"/>
                        <a:gd name="connsiteY2" fmla="*/ 12057 h 35166"/>
                        <a:gd name="connsiteX3" fmla="*/ 0 w 18839"/>
                        <a:gd name="connsiteY3" fmla="*/ 15448 h 35166"/>
                        <a:gd name="connsiteX4" fmla="*/ 0 w 18839"/>
                        <a:gd name="connsiteY4" fmla="*/ 35167 h 35166"/>
                        <a:gd name="connsiteX5" fmla="*/ 0 w 18839"/>
                        <a:gd name="connsiteY5" fmla="*/ 35167 h 35166"/>
                        <a:gd name="connsiteX6" fmla="*/ 0 w 18839"/>
                        <a:gd name="connsiteY6" fmla="*/ 35167 h 35166"/>
                        <a:gd name="connsiteX7" fmla="*/ 13689 w 18839"/>
                        <a:gd name="connsiteY7" fmla="*/ 27254 h 35166"/>
                        <a:gd name="connsiteX8" fmla="*/ 18839 w 18839"/>
                        <a:gd name="connsiteY8" fmla="*/ 24365 h 35166"/>
                        <a:gd name="connsiteX9" fmla="*/ 18839 w 18839"/>
                        <a:gd name="connsiteY9" fmla="*/ 0 h 35166"/>
                        <a:gd name="connsiteX10" fmla="*/ 4773 w 18839"/>
                        <a:gd name="connsiteY10" fmla="*/ 8164 h 35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39" h="35166">
                          <a:moveTo>
                            <a:pt x="4773" y="8164"/>
                          </a:moveTo>
                          <a:lnTo>
                            <a:pt x="0" y="10927"/>
                          </a:lnTo>
                          <a:lnTo>
                            <a:pt x="0" y="12057"/>
                          </a:lnTo>
                          <a:lnTo>
                            <a:pt x="0" y="15448"/>
                          </a:lnTo>
                          <a:lnTo>
                            <a:pt x="0" y="35167"/>
                          </a:lnTo>
                          <a:lnTo>
                            <a:pt x="0" y="35167"/>
                          </a:lnTo>
                          <a:lnTo>
                            <a:pt x="0" y="35167"/>
                          </a:lnTo>
                          <a:lnTo>
                            <a:pt x="13689" y="27254"/>
                          </a:lnTo>
                          <a:lnTo>
                            <a:pt x="18839" y="24365"/>
                          </a:lnTo>
                          <a:lnTo>
                            <a:pt x="18839" y="0"/>
                          </a:lnTo>
                          <a:lnTo>
                            <a:pt x="4773" y="8164"/>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247" name="Freeform: Shape 4246">
                    <a:extLst>
                      <a:ext uri="{FF2B5EF4-FFF2-40B4-BE49-F238E27FC236}">
                        <a16:creationId xmlns:a16="http://schemas.microsoft.com/office/drawing/2014/main" id="{07D5BBAF-CA74-4A91-B27B-31E454FE9DEB}"/>
                      </a:ext>
                    </a:extLst>
                  </p:cNvPr>
                  <p:cNvSpPr/>
                  <p:nvPr/>
                </p:nvSpPr>
                <p:spPr>
                  <a:xfrm>
                    <a:off x="7210652" y="3871435"/>
                    <a:ext cx="2386" cy="25495"/>
                  </a:xfrm>
                  <a:custGeom>
                    <a:avLst/>
                    <a:gdLst>
                      <a:gd name="connsiteX0" fmla="*/ 2386 w 2386"/>
                      <a:gd name="connsiteY0" fmla="*/ 1382 h 25495"/>
                      <a:gd name="connsiteX1" fmla="*/ 2386 w 2386"/>
                      <a:gd name="connsiteY1" fmla="*/ 25496 h 25495"/>
                      <a:gd name="connsiteX2" fmla="*/ 0 w 2386"/>
                      <a:gd name="connsiteY2" fmla="*/ 24240 h 25495"/>
                      <a:gd name="connsiteX3" fmla="*/ 0 w 2386"/>
                      <a:gd name="connsiteY3" fmla="*/ 0 h 25495"/>
                    </a:gdLst>
                    <a:ahLst/>
                    <a:cxnLst>
                      <a:cxn ang="0">
                        <a:pos x="connsiteX0" y="connsiteY0"/>
                      </a:cxn>
                      <a:cxn ang="0">
                        <a:pos x="connsiteX1" y="connsiteY1"/>
                      </a:cxn>
                      <a:cxn ang="0">
                        <a:pos x="connsiteX2" y="connsiteY2"/>
                      </a:cxn>
                      <a:cxn ang="0">
                        <a:pos x="connsiteX3" y="connsiteY3"/>
                      </a:cxn>
                    </a:cxnLst>
                    <a:rect l="l" t="t" r="r" b="b"/>
                    <a:pathLst>
                      <a:path w="2386" h="25495">
                        <a:moveTo>
                          <a:pt x="2386" y="1382"/>
                        </a:moveTo>
                        <a:lnTo>
                          <a:pt x="2386" y="25496"/>
                        </a:lnTo>
                        <a:lnTo>
                          <a:pt x="0" y="24240"/>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48" name="Freeform: Shape 4247">
                    <a:extLst>
                      <a:ext uri="{FF2B5EF4-FFF2-40B4-BE49-F238E27FC236}">
                        <a16:creationId xmlns:a16="http://schemas.microsoft.com/office/drawing/2014/main" id="{0ADF7FE9-006B-43EA-907B-0F6C373423F2}"/>
                      </a:ext>
                    </a:extLst>
                  </p:cNvPr>
                  <p:cNvSpPr/>
                  <p:nvPr/>
                </p:nvSpPr>
                <p:spPr>
                  <a:xfrm>
                    <a:off x="7210652" y="3860508"/>
                    <a:ext cx="21225" cy="12308"/>
                  </a:xfrm>
                  <a:custGeom>
                    <a:avLst/>
                    <a:gdLst>
                      <a:gd name="connsiteX0" fmla="*/ 21226 w 21225"/>
                      <a:gd name="connsiteY0" fmla="*/ 1382 h 12308"/>
                      <a:gd name="connsiteX1" fmla="*/ 14695 w 21225"/>
                      <a:gd name="connsiteY1" fmla="*/ 5149 h 12308"/>
                      <a:gd name="connsiteX2" fmla="*/ 12309 w 21225"/>
                      <a:gd name="connsiteY2" fmla="*/ 6531 h 12308"/>
                      <a:gd name="connsiteX3" fmla="*/ 2386 w 21225"/>
                      <a:gd name="connsiteY3" fmla="*/ 12183 h 12308"/>
                      <a:gd name="connsiteX4" fmla="*/ 2386 w 21225"/>
                      <a:gd name="connsiteY4" fmla="*/ 12308 h 12308"/>
                      <a:gd name="connsiteX5" fmla="*/ 0 w 21225"/>
                      <a:gd name="connsiteY5" fmla="*/ 10927 h 12308"/>
                      <a:gd name="connsiteX6" fmla="*/ 0 w 21225"/>
                      <a:gd name="connsiteY6" fmla="*/ 10801 h 12308"/>
                      <a:gd name="connsiteX7" fmla="*/ 9922 w 21225"/>
                      <a:gd name="connsiteY7" fmla="*/ 5149 h 12308"/>
                      <a:gd name="connsiteX8" fmla="*/ 12309 w 21225"/>
                      <a:gd name="connsiteY8" fmla="*/ 3768 h 12308"/>
                      <a:gd name="connsiteX9" fmla="*/ 18965 w 21225"/>
                      <a:gd name="connsiteY9" fmla="*/ 0 h 1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25" h="12308">
                        <a:moveTo>
                          <a:pt x="21226" y="1382"/>
                        </a:moveTo>
                        <a:lnTo>
                          <a:pt x="14695" y="5149"/>
                        </a:lnTo>
                        <a:lnTo>
                          <a:pt x="12309" y="6531"/>
                        </a:lnTo>
                        <a:lnTo>
                          <a:pt x="2386" y="12183"/>
                        </a:lnTo>
                        <a:lnTo>
                          <a:pt x="2386" y="12308"/>
                        </a:lnTo>
                        <a:lnTo>
                          <a:pt x="0" y="10927"/>
                        </a:lnTo>
                        <a:lnTo>
                          <a:pt x="0" y="10801"/>
                        </a:lnTo>
                        <a:lnTo>
                          <a:pt x="9922" y="5149"/>
                        </a:lnTo>
                        <a:lnTo>
                          <a:pt x="12309" y="3768"/>
                        </a:lnTo>
                        <a:lnTo>
                          <a:pt x="18965"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49" name="Graphic 4">
                  <a:extLst>
                    <a:ext uri="{FF2B5EF4-FFF2-40B4-BE49-F238E27FC236}">
                      <a16:creationId xmlns:a16="http://schemas.microsoft.com/office/drawing/2014/main" id="{84FB7ED1-A2DF-40A1-A747-5F7CF3F14040}"/>
                    </a:ext>
                  </a:extLst>
                </p:cNvPr>
                <p:cNvGrpSpPr/>
                <p:nvPr/>
              </p:nvGrpSpPr>
              <p:grpSpPr>
                <a:xfrm>
                  <a:off x="7229491" y="3869551"/>
                  <a:ext cx="8666" cy="12433"/>
                  <a:chOff x="7229491" y="3869551"/>
                  <a:chExt cx="8666" cy="12433"/>
                </a:xfrm>
                <a:solidFill>
                  <a:schemeClr val="accent1"/>
                </a:solidFill>
              </p:grpSpPr>
              <p:sp>
                <p:nvSpPr>
                  <p:cNvPr id="4250" name="Freeform: Shape 4249">
                    <a:extLst>
                      <a:ext uri="{FF2B5EF4-FFF2-40B4-BE49-F238E27FC236}">
                        <a16:creationId xmlns:a16="http://schemas.microsoft.com/office/drawing/2014/main" id="{06670BA5-FD8C-461F-9910-58F602C1369F}"/>
                      </a:ext>
                    </a:extLst>
                  </p:cNvPr>
                  <p:cNvSpPr/>
                  <p:nvPr/>
                </p:nvSpPr>
                <p:spPr>
                  <a:xfrm>
                    <a:off x="7229491" y="3869551"/>
                    <a:ext cx="8666" cy="12433"/>
                  </a:xfrm>
                  <a:custGeom>
                    <a:avLst/>
                    <a:gdLst>
                      <a:gd name="connsiteX0" fmla="*/ 8666 w 8666"/>
                      <a:gd name="connsiteY0" fmla="*/ 7410 h 12433"/>
                      <a:gd name="connsiteX1" fmla="*/ 0 w 8666"/>
                      <a:gd name="connsiteY1" fmla="*/ 12434 h 12433"/>
                      <a:gd name="connsiteX2" fmla="*/ 0 w 8666"/>
                      <a:gd name="connsiteY2" fmla="*/ 4898 h 12433"/>
                      <a:gd name="connsiteX3" fmla="*/ 8666 w 8666"/>
                      <a:gd name="connsiteY3" fmla="*/ 0 h 12433"/>
                    </a:gdLst>
                    <a:ahLst/>
                    <a:cxnLst>
                      <a:cxn ang="0">
                        <a:pos x="connsiteX0" y="connsiteY0"/>
                      </a:cxn>
                      <a:cxn ang="0">
                        <a:pos x="connsiteX1" y="connsiteY1"/>
                      </a:cxn>
                      <a:cxn ang="0">
                        <a:pos x="connsiteX2" y="connsiteY2"/>
                      </a:cxn>
                      <a:cxn ang="0">
                        <a:pos x="connsiteX3" y="connsiteY3"/>
                      </a:cxn>
                    </a:cxnLst>
                    <a:rect l="l" t="t" r="r" b="b"/>
                    <a:pathLst>
                      <a:path w="8666" h="12433">
                        <a:moveTo>
                          <a:pt x="8666" y="7410"/>
                        </a:moveTo>
                        <a:lnTo>
                          <a:pt x="0" y="12434"/>
                        </a:lnTo>
                        <a:lnTo>
                          <a:pt x="0" y="4898"/>
                        </a:lnTo>
                        <a:lnTo>
                          <a:pt x="866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1" name="Freeform: Shape 4250">
                    <a:extLst>
                      <a:ext uri="{FF2B5EF4-FFF2-40B4-BE49-F238E27FC236}">
                        <a16:creationId xmlns:a16="http://schemas.microsoft.com/office/drawing/2014/main" id="{B7D42D2B-B925-4678-B361-7206A9EAD806}"/>
                      </a:ext>
                    </a:extLst>
                  </p:cNvPr>
                  <p:cNvSpPr/>
                  <p:nvPr/>
                </p:nvSpPr>
                <p:spPr>
                  <a:xfrm>
                    <a:off x="7230370" y="3870932"/>
                    <a:ext cx="6907" cy="4898"/>
                  </a:xfrm>
                  <a:custGeom>
                    <a:avLst/>
                    <a:gdLst>
                      <a:gd name="connsiteX0" fmla="*/ 6908 w 6907"/>
                      <a:gd name="connsiteY0" fmla="*/ 879 h 4898"/>
                      <a:gd name="connsiteX1" fmla="*/ 0 w 6907"/>
                      <a:gd name="connsiteY1" fmla="*/ 4898 h 4898"/>
                      <a:gd name="connsiteX2" fmla="*/ 0 w 6907"/>
                      <a:gd name="connsiteY2" fmla="*/ 4019 h 4898"/>
                      <a:gd name="connsiteX3" fmla="*/ 6908 w 6907"/>
                      <a:gd name="connsiteY3" fmla="*/ 0 h 4898"/>
                    </a:gdLst>
                    <a:ahLst/>
                    <a:cxnLst>
                      <a:cxn ang="0">
                        <a:pos x="connsiteX0" y="connsiteY0"/>
                      </a:cxn>
                      <a:cxn ang="0">
                        <a:pos x="connsiteX1" y="connsiteY1"/>
                      </a:cxn>
                      <a:cxn ang="0">
                        <a:pos x="connsiteX2" y="connsiteY2"/>
                      </a:cxn>
                      <a:cxn ang="0">
                        <a:pos x="connsiteX3" y="connsiteY3"/>
                      </a:cxn>
                    </a:cxnLst>
                    <a:rect l="l" t="t" r="r" b="b"/>
                    <a:pathLst>
                      <a:path w="6907" h="4898">
                        <a:moveTo>
                          <a:pt x="6908" y="879"/>
                        </a:moveTo>
                        <a:lnTo>
                          <a:pt x="0" y="4898"/>
                        </a:lnTo>
                        <a:lnTo>
                          <a:pt x="0" y="4019"/>
                        </a:lnTo>
                        <a:lnTo>
                          <a:pt x="6908"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2" name="Freeform: Shape 4251">
                    <a:extLst>
                      <a:ext uri="{FF2B5EF4-FFF2-40B4-BE49-F238E27FC236}">
                        <a16:creationId xmlns:a16="http://schemas.microsoft.com/office/drawing/2014/main" id="{54340C59-B1EF-438D-921D-EC84B5A14D5F}"/>
                      </a:ext>
                    </a:extLst>
                  </p:cNvPr>
                  <p:cNvSpPr/>
                  <p:nvPr/>
                </p:nvSpPr>
                <p:spPr>
                  <a:xfrm>
                    <a:off x="7230370" y="3872942"/>
                    <a:ext cx="6907" cy="4395"/>
                  </a:xfrm>
                  <a:custGeom>
                    <a:avLst/>
                    <a:gdLst>
                      <a:gd name="connsiteX0" fmla="*/ 6908 w 6907"/>
                      <a:gd name="connsiteY0" fmla="*/ 251 h 4395"/>
                      <a:gd name="connsiteX1" fmla="*/ 0 w 6907"/>
                      <a:gd name="connsiteY1" fmla="*/ 4396 h 4395"/>
                      <a:gd name="connsiteX2" fmla="*/ 0 w 6907"/>
                      <a:gd name="connsiteY2" fmla="*/ 4019 h 4395"/>
                      <a:gd name="connsiteX3" fmla="*/ 6908 w 6907"/>
                      <a:gd name="connsiteY3" fmla="*/ 0 h 4395"/>
                    </a:gdLst>
                    <a:ahLst/>
                    <a:cxnLst>
                      <a:cxn ang="0">
                        <a:pos x="connsiteX0" y="connsiteY0"/>
                      </a:cxn>
                      <a:cxn ang="0">
                        <a:pos x="connsiteX1" y="connsiteY1"/>
                      </a:cxn>
                      <a:cxn ang="0">
                        <a:pos x="connsiteX2" y="connsiteY2"/>
                      </a:cxn>
                      <a:cxn ang="0">
                        <a:pos x="connsiteX3" y="connsiteY3"/>
                      </a:cxn>
                    </a:cxnLst>
                    <a:rect l="l" t="t" r="r" b="b"/>
                    <a:pathLst>
                      <a:path w="6907" h="4395">
                        <a:moveTo>
                          <a:pt x="6908" y="251"/>
                        </a:moveTo>
                        <a:lnTo>
                          <a:pt x="0" y="4396"/>
                        </a:lnTo>
                        <a:lnTo>
                          <a:pt x="0" y="4019"/>
                        </a:lnTo>
                        <a:lnTo>
                          <a:pt x="6908"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3" name="Freeform: Shape 4252">
                    <a:extLst>
                      <a:ext uri="{FF2B5EF4-FFF2-40B4-BE49-F238E27FC236}">
                        <a16:creationId xmlns:a16="http://schemas.microsoft.com/office/drawing/2014/main" id="{D2760C8B-F500-44BF-B103-D33C8EF3588C}"/>
                      </a:ext>
                    </a:extLst>
                  </p:cNvPr>
                  <p:cNvSpPr/>
                  <p:nvPr/>
                </p:nvSpPr>
                <p:spPr>
                  <a:xfrm>
                    <a:off x="7230370" y="3873821"/>
                    <a:ext cx="6907" cy="4395"/>
                  </a:xfrm>
                  <a:custGeom>
                    <a:avLst/>
                    <a:gdLst>
                      <a:gd name="connsiteX0" fmla="*/ 6908 w 6907"/>
                      <a:gd name="connsiteY0" fmla="*/ 377 h 4395"/>
                      <a:gd name="connsiteX1" fmla="*/ 0 w 6907"/>
                      <a:gd name="connsiteY1" fmla="*/ 4396 h 4395"/>
                      <a:gd name="connsiteX2" fmla="*/ 0 w 6907"/>
                      <a:gd name="connsiteY2" fmla="*/ 4019 h 4395"/>
                      <a:gd name="connsiteX3" fmla="*/ 6908 w 6907"/>
                      <a:gd name="connsiteY3" fmla="*/ 0 h 4395"/>
                    </a:gdLst>
                    <a:ahLst/>
                    <a:cxnLst>
                      <a:cxn ang="0">
                        <a:pos x="connsiteX0" y="connsiteY0"/>
                      </a:cxn>
                      <a:cxn ang="0">
                        <a:pos x="connsiteX1" y="connsiteY1"/>
                      </a:cxn>
                      <a:cxn ang="0">
                        <a:pos x="connsiteX2" y="connsiteY2"/>
                      </a:cxn>
                      <a:cxn ang="0">
                        <a:pos x="connsiteX3" y="connsiteY3"/>
                      </a:cxn>
                    </a:cxnLst>
                    <a:rect l="l" t="t" r="r" b="b"/>
                    <a:pathLst>
                      <a:path w="6907" h="4395">
                        <a:moveTo>
                          <a:pt x="6908" y="377"/>
                        </a:moveTo>
                        <a:lnTo>
                          <a:pt x="0" y="4396"/>
                        </a:lnTo>
                        <a:lnTo>
                          <a:pt x="0" y="4019"/>
                        </a:lnTo>
                        <a:lnTo>
                          <a:pt x="6908"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4" name="Freeform: Shape 4253">
                    <a:extLst>
                      <a:ext uri="{FF2B5EF4-FFF2-40B4-BE49-F238E27FC236}">
                        <a16:creationId xmlns:a16="http://schemas.microsoft.com/office/drawing/2014/main" id="{B69B2E51-60EE-4880-B87C-D544ACE81944}"/>
                      </a:ext>
                    </a:extLst>
                  </p:cNvPr>
                  <p:cNvSpPr/>
                  <p:nvPr/>
                </p:nvSpPr>
                <p:spPr>
                  <a:xfrm>
                    <a:off x="7230370" y="3874951"/>
                    <a:ext cx="6907" cy="4395"/>
                  </a:xfrm>
                  <a:custGeom>
                    <a:avLst/>
                    <a:gdLst>
                      <a:gd name="connsiteX0" fmla="*/ 6908 w 6907"/>
                      <a:gd name="connsiteY0" fmla="*/ 251 h 4395"/>
                      <a:gd name="connsiteX1" fmla="*/ 0 w 6907"/>
                      <a:gd name="connsiteY1" fmla="*/ 4396 h 4395"/>
                      <a:gd name="connsiteX2" fmla="*/ 0 w 6907"/>
                      <a:gd name="connsiteY2" fmla="*/ 4019 h 4395"/>
                      <a:gd name="connsiteX3" fmla="*/ 6908 w 6907"/>
                      <a:gd name="connsiteY3" fmla="*/ 0 h 4395"/>
                    </a:gdLst>
                    <a:ahLst/>
                    <a:cxnLst>
                      <a:cxn ang="0">
                        <a:pos x="connsiteX0" y="connsiteY0"/>
                      </a:cxn>
                      <a:cxn ang="0">
                        <a:pos x="connsiteX1" y="connsiteY1"/>
                      </a:cxn>
                      <a:cxn ang="0">
                        <a:pos x="connsiteX2" y="connsiteY2"/>
                      </a:cxn>
                      <a:cxn ang="0">
                        <a:pos x="connsiteX3" y="connsiteY3"/>
                      </a:cxn>
                    </a:cxnLst>
                    <a:rect l="l" t="t" r="r" b="b"/>
                    <a:pathLst>
                      <a:path w="6907" h="4395">
                        <a:moveTo>
                          <a:pt x="6908" y="251"/>
                        </a:moveTo>
                        <a:lnTo>
                          <a:pt x="0" y="4396"/>
                        </a:lnTo>
                        <a:lnTo>
                          <a:pt x="0" y="4019"/>
                        </a:lnTo>
                        <a:lnTo>
                          <a:pt x="6908"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5" name="Freeform: Shape 4254">
                    <a:extLst>
                      <a:ext uri="{FF2B5EF4-FFF2-40B4-BE49-F238E27FC236}">
                        <a16:creationId xmlns:a16="http://schemas.microsoft.com/office/drawing/2014/main" id="{0E018E7F-6FE0-4EB1-B97D-73A651AD8FAE}"/>
                      </a:ext>
                    </a:extLst>
                  </p:cNvPr>
                  <p:cNvSpPr/>
                  <p:nvPr/>
                </p:nvSpPr>
                <p:spPr>
                  <a:xfrm>
                    <a:off x="7230370" y="3875830"/>
                    <a:ext cx="6907" cy="4395"/>
                  </a:xfrm>
                  <a:custGeom>
                    <a:avLst/>
                    <a:gdLst>
                      <a:gd name="connsiteX0" fmla="*/ 6908 w 6907"/>
                      <a:gd name="connsiteY0" fmla="*/ 377 h 4395"/>
                      <a:gd name="connsiteX1" fmla="*/ 0 w 6907"/>
                      <a:gd name="connsiteY1" fmla="*/ 4396 h 4395"/>
                      <a:gd name="connsiteX2" fmla="*/ 0 w 6907"/>
                      <a:gd name="connsiteY2" fmla="*/ 4145 h 4395"/>
                      <a:gd name="connsiteX3" fmla="*/ 6908 w 6907"/>
                      <a:gd name="connsiteY3" fmla="*/ 0 h 4395"/>
                    </a:gdLst>
                    <a:ahLst/>
                    <a:cxnLst>
                      <a:cxn ang="0">
                        <a:pos x="connsiteX0" y="connsiteY0"/>
                      </a:cxn>
                      <a:cxn ang="0">
                        <a:pos x="connsiteX1" y="connsiteY1"/>
                      </a:cxn>
                      <a:cxn ang="0">
                        <a:pos x="connsiteX2" y="connsiteY2"/>
                      </a:cxn>
                      <a:cxn ang="0">
                        <a:pos x="connsiteX3" y="connsiteY3"/>
                      </a:cxn>
                    </a:cxnLst>
                    <a:rect l="l" t="t" r="r" b="b"/>
                    <a:pathLst>
                      <a:path w="6907" h="4395">
                        <a:moveTo>
                          <a:pt x="6908" y="377"/>
                        </a:moveTo>
                        <a:lnTo>
                          <a:pt x="0" y="4396"/>
                        </a:lnTo>
                        <a:lnTo>
                          <a:pt x="0" y="4145"/>
                        </a:lnTo>
                        <a:lnTo>
                          <a:pt x="6908"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4256" name="Freeform: Shape 4255">
              <a:extLst>
                <a:ext uri="{FF2B5EF4-FFF2-40B4-BE49-F238E27FC236}">
                  <a16:creationId xmlns:a16="http://schemas.microsoft.com/office/drawing/2014/main" id="{769A4C18-ADC3-4103-9E46-1117CBB6AD70}"/>
                </a:ext>
              </a:extLst>
            </p:cNvPr>
            <p:cNvSpPr/>
            <p:nvPr/>
          </p:nvSpPr>
          <p:spPr>
            <a:xfrm>
              <a:off x="6702998" y="3596633"/>
              <a:ext cx="408057" cy="398135"/>
            </a:xfrm>
            <a:custGeom>
              <a:avLst/>
              <a:gdLst>
                <a:gd name="connsiteX0" fmla="*/ 0 w 408057"/>
                <a:gd name="connsiteY0" fmla="*/ 0 h 398135"/>
                <a:gd name="connsiteX1" fmla="*/ 408057 w 408057"/>
                <a:gd name="connsiteY1" fmla="*/ 235867 h 398135"/>
                <a:gd name="connsiteX2" fmla="*/ 408057 w 408057"/>
                <a:gd name="connsiteY2" fmla="*/ 398135 h 398135"/>
                <a:gd name="connsiteX3" fmla="*/ 0 w 408057"/>
                <a:gd name="connsiteY3" fmla="*/ 162268 h 398135"/>
              </a:gdLst>
              <a:ahLst/>
              <a:cxnLst>
                <a:cxn ang="0">
                  <a:pos x="connsiteX0" y="connsiteY0"/>
                </a:cxn>
                <a:cxn ang="0">
                  <a:pos x="connsiteX1" y="connsiteY1"/>
                </a:cxn>
                <a:cxn ang="0">
                  <a:pos x="connsiteX2" y="connsiteY2"/>
                </a:cxn>
                <a:cxn ang="0">
                  <a:pos x="connsiteX3" y="connsiteY3"/>
                </a:cxn>
              </a:cxnLst>
              <a:rect l="l" t="t" r="r" b="b"/>
              <a:pathLst>
                <a:path w="408057" h="398135">
                  <a:moveTo>
                    <a:pt x="0" y="0"/>
                  </a:moveTo>
                  <a:lnTo>
                    <a:pt x="408057" y="235867"/>
                  </a:lnTo>
                  <a:lnTo>
                    <a:pt x="408057" y="398135"/>
                  </a:lnTo>
                  <a:lnTo>
                    <a:pt x="0" y="162268"/>
                  </a:lnTo>
                  <a:close/>
                </a:path>
              </a:pathLst>
            </a:custGeom>
            <a:solidFill>
              <a:srgbClr val="3577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7" name="Freeform: Shape 4256">
              <a:extLst>
                <a:ext uri="{FF2B5EF4-FFF2-40B4-BE49-F238E27FC236}">
                  <a16:creationId xmlns:a16="http://schemas.microsoft.com/office/drawing/2014/main" id="{33027A39-DFAE-410B-8CBC-60F6E58BB630}"/>
                </a:ext>
              </a:extLst>
            </p:cNvPr>
            <p:cNvSpPr/>
            <p:nvPr/>
          </p:nvSpPr>
          <p:spPr>
            <a:xfrm>
              <a:off x="6842785" y="3431225"/>
              <a:ext cx="536917" cy="271033"/>
            </a:xfrm>
            <a:custGeom>
              <a:avLst/>
              <a:gdLst>
                <a:gd name="connsiteX0" fmla="*/ 536918 w 536917"/>
                <a:gd name="connsiteY0" fmla="*/ 235867 h 271033"/>
                <a:gd name="connsiteX1" fmla="*/ 408183 w 536917"/>
                <a:gd name="connsiteY1" fmla="*/ 271034 h 271033"/>
                <a:gd name="connsiteX2" fmla="*/ 0 w 536917"/>
                <a:gd name="connsiteY2" fmla="*/ 35167 h 271033"/>
                <a:gd name="connsiteX3" fmla="*/ 128609 w 536917"/>
                <a:gd name="connsiteY3" fmla="*/ 0 h 271033"/>
              </a:gdLst>
              <a:ahLst/>
              <a:cxnLst>
                <a:cxn ang="0">
                  <a:pos x="connsiteX0" y="connsiteY0"/>
                </a:cxn>
                <a:cxn ang="0">
                  <a:pos x="connsiteX1" y="connsiteY1"/>
                </a:cxn>
                <a:cxn ang="0">
                  <a:pos x="connsiteX2" y="connsiteY2"/>
                </a:cxn>
                <a:cxn ang="0">
                  <a:pos x="connsiteX3" y="connsiteY3"/>
                </a:cxn>
              </a:cxnLst>
              <a:rect l="l" t="t" r="r" b="b"/>
              <a:pathLst>
                <a:path w="536917" h="271033">
                  <a:moveTo>
                    <a:pt x="536918" y="235867"/>
                  </a:moveTo>
                  <a:lnTo>
                    <a:pt x="408183" y="271034"/>
                  </a:lnTo>
                  <a:lnTo>
                    <a:pt x="0" y="35167"/>
                  </a:lnTo>
                  <a:lnTo>
                    <a:pt x="128609"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8" name="Freeform: Shape 4257">
              <a:extLst>
                <a:ext uri="{FF2B5EF4-FFF2-40B4-BE49-F238E27FC236}">
                  <a16:creationId xmlns:a16="http://schemas.microsoft.com/office/drawing/2014/main" id="{A760C715-5D3D-4507-B6FA-4937BF07918F}"/>
                </a:ext>
              </a:extLst>
            </p:cNvPr>
            <p:cNvSpPr/>
            <p:nvPr/>
          </p:nvSpPr>
          <p:spPr>
            <a:xfrm>
              <a:off x="6697095" y="3466391"/>
              <a:ext cx="553872" cy="359452"/>
            </a:xfrm>
            <a:custGeom>
              <a:avLst/>
              <a:gdLst>
                <a:gd name="connsiteX0" fmla="*/ 553873 w 553872"/>
                <a:gd name="connsiteY0" fmla="*/ 235867 h 359452"/>
                <a:gd name="connsiteX1" fmla="*/ 145690 w 553872"/>
                <a:gd name="connsiteY1" fmla="*/ 0 h 359452"/>
                <a:gd name="connsiteX2" fmla="*/ 0 w 553872"/>
                <a:gd name="connsiteY2" fmla="*/ 123585 h 359452"/>
                <a:gd name="connsiteX3" fmla="*/ 408183 w 553872"/>
                <a:gd name="connsiteY3" fmla="*/ 359452 h 359452"/>
              </a:gdLst>
              <a:ahLst/>
              <a:cxnLst>
                <a:cxn ang="0">
                  <a:pos x="connsiteX0" y="connsiteY0"/>
                </a:cxn>
                <a:cxn ang="0">
                  <a:pos x="connsiteX1" y="connsiteY1"/>
                </a:cxn>
                <a:cxn ang="0">
                  <a:pos x="connsiteX2" y="connsiteY2"/>
                </a:cxn>
                <a:cxn ang="0">
                  <a:pos x="connsiteX3" y="connsiteY3"/>
                </a:cxn>
              </a:cxnLst>
              <a:rect l="l" t="t" r="r" b="b"/>
              <a:pathLst>
                <a:path w="553872" h="359452">
                  <a:moveTo>
                    <a:pt x="553873" y="235867"/>
                  </a:moveTo>
                  <a:lnTo>
                    <a:pt x="145690" y="0"/>
                  </a:lnTo>
                  <a:lnTo>
                    <a:pt x="0" y="123585"/>
                  </a:lnTo>
                  <a:lnTo>
                    <a:pt x="408183" y="35945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9" name="Freeform: Shape 4258">
              <a:extLst>
                <a:ext uri="{FF2B5EF4-FFF2-40B4-BE49-F238E27FC236}">
                  <a16:creationId xmlns:a16="http://schemas.microsoft.com/office/drawing/2014/main" id="{31425720-63A7-4CED-9BC9-928CF004D3EF}"/>
                </a:ext>
              </a:extLst>
            </p:cNvPr>
            <p:cNvSpPr/>
            <p:nvPr/>
          </p:nvSpPr>
          <p:spPr>
            <a:xfrm>
              <a:off x="6697220" y="3590102"/>
              <a:ext cx="408058" cy="245788"/>
            </a:xfrm>
            <a:custGeom>
              <a:avLst/>
              <a:gdLst>
                <a:gd name="connsiteX0" fmla="*/ 0 w 408058"/>
                <a:gd name="connsiteY0" fmla="*/ 0 h 245788"/>
                <a:gd name="connsiteX1" fmla="*/ 408058 w 408058"/>
                <a:gd name="connsiteY1" fmla="*/ 235741 h 245788"/>
                <a:gd name="connsiteX2" fmla="*/ 408058 w 408058"/>
                <a:gd name="connsiteY2" fmla="*/ 245789 h 245788"/>
                <a:gd name="connsiteX3" fmla="*/ 0 w 408058"/>
                <a:gd name="connsiteY3" fmla="*/ 9922 h 245788"/>
              </a:gdLst>
              <a:ahLst/>
              <a:cxnLst>
                <a:cxn ang="0">
                  <a:pos x="connsiteX0" y="connsiteY0"/>
                </a:cxn>
                <a:cxn ang="0">
                  <a:pos x="connsiteX1" y="connsiteY1"/>
                </a:cxn>
                <a:cxn ang="0">
                  <a:pos x="connsiteX2" y="connsiteY2"/>
                </a:cxn>
                <a:cxn ang="0">
                  <a:pos x="connsiteX3" y="connsiteY3"/>
                </a:cxn>
              </a:cxnLst>
              <a:rect l="l" t="t" r="r" b="b"/>
              <a:pathLst>
                <a:path w="408058" h="245788">
                  <a:moveTo>
                    <a:pt x="0" y="0"/>
                  </a:moveTo>
                  <a:lnTo>
                    <a:pt x="408058" y="235741"/>
                  </a:lnTo>
                  <a:lnTo>
                    <a:pt x="408058" y="245789"/>
                  </a:lnTo>
                  <a:lnTo>
                    <a:pt x="0" y="9922"/>
                  </a:lnTo>
                  <a:close/>
                </a:path>
              </a:pathLst>
            </a:custGeom>
            <a:solidFill>
              <a:srgbClr val="6151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260" name="Graphic 4">
              <a:extLst>
                <a:ext uri="{FF2B5EF4-FFF2-40B4-BE49-F238E27FC236}">
                  <a16:creationId xmlns:a16="http://schemas.microsoft.com/office/drawing/2014/main" id="{84FB7ED1-A2DF-40A1-A747-5F7CF3F14040}"/>
                </a:ext>
              </a:extLst>
            </p:cNvPr>
            <p:cNvGrpSpPr/>
            <p:nvPr/>
          </p:nvGrpSpPr>
          <p:grpSpPr>
            <a:xfrm>
              <a:off x="6842785" y="3431225"/>
              <a:ext cx="528000" cy="266009"/>
              <a:chOff x="6842785" y="3431225"/>
              <a:chExt cx="528000" cy="266009"/>
            </a:xfrm>
            <a:solidFill>
              <a:srgbClr val="966650"/>
            </a:solidFill>
          </p:grpSpPr>
          <p:grpSp>
            <p:nvGrpSpPr>
              <p:cNvPr id="4261" name="Graphic 4">
                <a:extLst>
                  <a:ext uri="{FF2B5EF4-FFF2-40B4-BE49-F238E27FC236}">
                    <a16:creationId xmlns:a16="http://schemas.microsoft.com/office/drawing/2014/main" id="{84FB7ED1-A2DF-40A1-A747-5F7CF3F14040}"/>
                  </a:ext>
                </a:extLst>
              </p:cNvPr>
              <p:cNvGrpSpPr/>
              <p:nvPr/>
            </p:nvGrpSpPr>
            <p:grpSpPr>
              <a:xfrm>
                <a:off x="6987847" y="3515122"/>
                <a:ext cx="382938" cy="182112"/>
                <a:chOff x="6987847" y="3515122"/>
                <a:chExt cx="382938" cy="182112"/>
              </a:xfrm>
              <a:solidFill>
                <a:srgbClr val="966650"/>
              </a:solidFill>
            </p:grpSpPr>
            <p:sp>
              <p:nvSpPr>
                <p:cNvPr id="4262" name="Freeform: Shape 4261">
                  <a:extLst>
                    <a:ext uri="{FF2B5EF4-FFF2-40B4-BE49-F238E27FC236}">
                      <a16:creationId xmlns:a16="http://schemas.microsoft.com/office/drawing/2014/main" id="{4E17C861-053B-4FE8-892D-941A07C6B808}"/>
                    </a:ext>
                  </a:extLst>
                </p:cNvPr>
                <p:cNvSpPr/>
                <p:nvPr/>
              </p:nvSpPr>
              <p:spPr>
                <a:xfrm>
                  <a:off x="7238409" y="3659807"/>
                  <a:ext cx="132376" cy="37427"/>
                </a:xfrm>
                <a:custGeom>
                  <a:avLst/>
                  <a:gdLst>
                    <a:gd name="connsiteX0" fmla="*/ 3768 w 132376"/>
                    <a:gd name="connsiteY0" fmla="*/ 37427 h 37427"/>
                    <a:gd name="connsiteX1" fmla="*/ 132377 w 132376"/>
                    <a:gd name="connsiteY1" fmla="*/ 2261 h 37427"/>
                    <a:gd name="connsiteX2" fmla="*/ 128735 w 132376"/>
                    <a:gd name="connsiteY2" fmla="*/ 0 h 37427"/>
                    <a:gd name="connsiteX3" fmla="*/ 0 w 132376"/>
                    <a:gd name="connsiteY3" fmla="*/ 35292 h 37427"/>
                  </a:gdLst>
                  <a:ahLst/>
                  <a:cxnLst>
                    <a:cxn ang="0">
                      <a:pos x="connsiteX0" y="connsiteY0"/>
                    </a:cxn>
                    <a:cxn ang="0">
                      <a:pos x="connsiteX1" y="connsiteY1"/>
                    </a:cxn>
                    <a:cxn ang="0">
                      <a:pos x="connsiteX2" y="connsiteY2"/>
                    </a:cxn>
                    <a:cxn ang="0">
                      <a:pos x="connsiteX3" y="connsiteY3"/>
                    </a:cxn>
                  </a:cxnLst>
                  <a:rect l="l" t="t" r="r" b="b"/>
                  <a:pathLst>
                    <a:path w="132376" h="37427">
                      <a:moveTo>
                        <a:pt x="3768" y="37427"/>
                      </a:moveTo>
                      <a:lnTo>
                        <a:pt x="132377" y="2261"/>
                      </a:lnTo>
                      <a:lnTo>
                        <a:pt x="128735" y="0"/>
                      </a:lnTo>
                      <a:lnTo>
                        <a:pt x="0" y="3529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3" name="Freeform: Shape 4262">
                  <a:extLst>
                    <a:ext uri="{FF2B5EF4-FFF2-40B4-BE49-F238E27FC236}">
                      <a16:creationId xmlns:a16="http://schemas.microsoft.com/office/drawing/2014/main" id="{777F3A45-B228-4749-B907-AF35598D43AF}"/>
                    </a:ext>
                  </a:extLst>
                </p:cNvPr>
                <p:cNvSpPr/>
                <p:nvPr/>
              </p:nvSpPr>
              <p:spPr>
                <a:xfrm>
                  <a:off x="7225221" y="3652272"/>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4" name="Freeform: Shape 4263">
                  <a:extLst>
                    <a:ext uri="{FF2B5EF4-FFF2-40B4-BE49-F238E27FC236}">
                      <a16:creationId xmlns:a16="http://schemas.microsoft.com/office/drawing/2014/main" id="{5520A219-220F-45AB-BAC0-4DB57FDFE030}"/>
                    </a:ext>
                  </a:extLst>
                </p:cNvPr>
                <p:cNvSpPr/>
                <p:nvPr/>
              </p:nvSpPr>
              <p:spPr>
                <a:xfrm>
                  <a:off x="7212034" y="3644610"/>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5" name="Freeform: Shape 4264">
                  <a:extLst>
                    <a:ext uri="{FF2B5EF4-FFF2-40B4-BE49-F238E27FC236}">
                      <a16:creationId xmlns:a16="http://schemas.microsoft.com/office/drawing/2014/main" id="{6A8A0A2E-AC03-4197-AD91-ED6EB072ACDD}"/>
                    </a:ext>
                  </a:extLst>
                </p:cNvPr>
                <p:cNvSpPr/>
                <p:nvPr/>
              </p:nvSpPr>
              <p:spPr>
                <a:xfrm>
                  <a:off x="7198846" y="3636949"/>
                  <a:ext cx="132377" cy="37427"/>
                </a:xfrm>
                <a:custGeom>
                  <a:avLst/>
                  <a:gdLst>
                    <a:gd name="connsiteX0" fmla="*/ 3768 w 132377"/>
                    <a:gd name="connsiteY0" fmla="*/ 37427 h 37427"/>
                    <a:gd name="connsiteX1" fmla="*/ 132377 w 132377"/>
                    <a:gd name="connsiteY1" fmla="*/ 2261 h 37427"/>
                    <a:gd name="connsiteX2" fmla="*/ 128735 w 132377"/>
                    <a:gd name="connsiteY2" fmla="*/ 0 h 37427"/>
                    <a:gd name="connsiteX3" fmla="*/ 0 w 132377"/>
                    <a:gd name="connsiteY3" fmla="*/ 35292 h 37427"/>
                  </a:gdLst>
                  <a:ahLst/>
                  <a:cxnLst>
                    <a:cxn ang="0">
                      <a:pos x="connsiteX0" y="connsiteY0"/>
                    </a:cxn>
                    <a:cxn ang="0">
                      <a:pos x="connsiteX1" y="connsiteY1"/>
                    </a:cxn>
                    <a:cxn ang="0">
                      <a:pos x="connsiteX2" y="connsiteY2"/>
                    </a:cxn>
                    <a:cxn ang="0">
                      <a:pos x="connsiteX3" y="connsiteY3"/>
                    </a:cxn>
                  </a:cxnLst>
                  <a:rect l="l" t="t" r="r" b="b"/>
                  <a:pathLst>
                    <a:path w="132377" h="37427">
                      <a:moveTo>
                        <a:pt x="3768" y="37427"/>
                      </a:moveTo>
                      <a:lnTo>
                        <a:pt x="132377" y="2261"/>
                      </a:lnTo>
                      <a:lnTo>
                        <a:pt x="128735" y="0"/>
                      </a:lnTo>
                      <a:lnTo>
                        <a:pt x="0" y="3529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6" name="Freeform: Shape 4265">
                  <a:extLst>
                    <a:ext uri="{FF2B5EF4-FFF2-40B4-BE49-F238E27FC236}">
                      <a16:creationId xmlns:a16="http://schemas.microsoft.com/office/drawing/2014/main" id="{F8775CAC-8E04-418E-86A2-40D8644C0FA6}"/>
                    </a:ext>
                  </a:extLst>
                </p:cNvPr>
                <p:cNvSpPr/>
                <p:nvPr/>
              </p:nvSpPr>
              <p:spPr>
                <a:xfrm>
                  <a:off x="7185659" y="3629414"/>
                  <a:ext cx="132377" cy="37301"/>
                </a:xfrm>
                <a:custGeom>
                  <a:avLst/>
                  <a:gdLst>
                    <a:gd name="connsiteX0" fmla="*/ 3643 w 132377"/>
                    <a:gd name="connsiteY0" fmla="*/ 37301 h 37301"/>
                    <a:gd name="connsiteX1" fmla="*/ 132377 w 132377"/>
                    <a:gd name="connsiteY1" fmla="*/ 2135 h 37301"/>
                    <a:gd name="connsiteX2" fmla="*/ 128609 w 132377"/>
                    <a:gd name="connsiteY2" fmla="*/ 0 h 37301"/>
                    <a:gd name="connsiteX3" fmla="*/ 0 w 132377"/>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7" name="Freeform: Shape 4266">
                  <a:extLst>
                    <a:ext uri="{FF2B5EF4-FFF2-40B4-BE49-F238E27FC236}">
                      <a16:creationId xmlns:a16="http://schemas.microsoft.com/office/drawing/2014/main" id="{1905DFA2-0F8E-49E7-B04F-DE25CC72F5F8}"/>
                    </a:ext>
                  </a:extLst>
                </p:cNvPr>
                <p:cNvSpPr/>
                <p:nvPr/>
              </p:nvSpPr>
              <p:spPr>
                <a:xfrm>
                  <a:off x="7172471" y="3621752"/>
                  <a:ext cx="132376" cy="37301"/>
                </a:xfrm>
                <a:custGeom>
                  <a:avLst/>
                  <a:gdLst>
                    <a:gd name="connsiteX0" fmla="*/ 3768 w 132376"/>
                    <a:gd name="connsiteY0" fmla="*/ 37302 h 37301"/>
                    <a:gd name="connsiteX1" fmla="*/ 132377 w 132376"/>
                    <a:gd name="connsiteY1" fmla="*/ 2135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768" y="37302"/>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8" name="Freeform: Shape 4267">
                  <a:extLst>
                    <a:ext uri="{FF2B5EF4-FFF2-40B4-BE49-F238E27FC236}">
                      <a16:creationId xmlns:a16="http://schemas.microsoft.com/office/drawing/2014/main" id="{E8C211D8-7D05-4A39-8BBF-43983F87D14E}"/>
                    </a:ext>
                  </a:extLst>
                </p:cNvPr>
                <p:cNvSpPr/>
                <p:nvPr/>
              </p:nvSpPr>
              <p:spPr>
                <a:xfrm>
                  <a:off x="7159284" y="3614091"/>
                  <a:ext cx="132376" cy="37427"/>
                </a:xfrm>
                <a:custGeom>
                  <a:avLst/>
                  <a:gdLst>
                    <a:gd name="connsiteX0" fmla="*/ 3642 w 132376"/>
                    <a:gd name="connsiteY0" fmla="*/ 37427 h 37427"/>
                    <a:gd name="connsiteX1" fmla="*/ 132377 w 132376"/>
                    <a:gd name="connsiteY1" fmla="*/ 2261 h 37427"/>
                    <a:gd name="connsiteX2" fmla="*/ 128609 w 132376"/>
                    <a:gd name="connsiteY2" fmla="*/ 0 h 37427"/>
                    <a:gd name="connsiteX3" fmla="*/ 0 w 132376"/>
                    <a:gd name="connsiteY3" fmla="*/ 35292 h 37427"/>
                  </a:gdLst>
                  <a:ahLst/>
                  <a:cxnLst>
                    <a:cxn ang="0">
                      <a:pos x="connsiteX0" y="connsiteY0"/>
                    </a:cxn>
                    <a:cxn ang="0">
                      <a:pos x="connsiteX1" y="connsiteY1"/>
                    </a:cxn>
                    <a:cxn ang="0">
                      <a:pos x="connsiteX2" y="connsiteY2"/>
                    </a:cxn>
                    <a:cxn ang="0">
                      <a:pos x="connsiteX3" y="connsiteY3"/>
                    </a:cxn>
                  </a:cxnLst>
                  <a:rect l="l" t="t" r="r" b="b"/>
                  <a:pathLst>
                    <a:path w="132376" h="37427">
                      <a:moveTo>
                        <a:pt x="3642" y="37427"/>
                      </a:moveTo>
                      <a:lnTo>
                        <a:pt x="132377" y="2261"/>
                      </a:lnTo>
                      <a:lnTo>
                        <a:pt x="128609" y="0"/>
                      </a:lnTo>
                      <a:lnTo>
                        <a:pt x="0" y="3529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9" name="Freeform: Shape 4268">
                  <a:extLst>
                    <a:ext uri="{FF2B5EF4-FFF2-40B4-BE49-F238E27FC236}">
                      <a16:creationId xmlns:a16="http://schemas.microsoft.com/office/drawing/2014/main" id="{C8E7535F-7134-4B58-8733-37350C67D6EB}"/>
                    </a:ext>
                  </a:extLst>
                </p:cNvPr>
                <p:cNvSpPr/>
                <p:nvPr/>
              </p:nvSpPr>
              <p:spPr>
                <a:xfrm>
                  <a:off x="7146097" y="3606555"/>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0" name="Freeform: Shape 4269">
                  <a:extLst>
                    <a:ext uri="{FF2B5EF4-FFF2-40B4-BE49-F238E27FC236}">
                      <a16:creationId xmlns:a16="http://schemas.microsoft.com/office/drawing/2014/main" id="{ADC5EC9C-AB28-45CF-A86C-96A525447119}"/>
                    </a:ext>
                  </a:extLst>
                </p:cNvPr>
                <p:cNvSpPr/>
                <p:nvPr/>
              </p:nvSpPr>
              <p:spPr>
                <a:xfrm>
                  <a:off x="7132909" y="3598894"/>
                  <a:ext cx="132377" cy="37301"/>
                </a:xfrm>
                <a:custGeom>
                  <a:avLst/>
                  <a:gdLst>
                    <a:gd name="connsiteX0" fmla="*/ 3643 w 132377"/>
                    <a:gd name="connsiteY0" fmla="*/ 37302 h 37301"/>
                    <a:gd name="connsiteX1" fmla="*/ 132377 w 132377"/>
                    <a:gd name="connsiteY1" fmla="*/ 2135 h 37301"/>
                    <a:gd name="connsiteX2" fmla="*/ 128610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10"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1" name="Freeform: Shape 4270">
                  <a:extLst>
                    <a:ext uri="{FF2B5EF4-FFF2-40B4-BE49-F238E27FC236}">
                      <a16:creationId xmlns:a16="http://schemas.microsoft.com/office/drawing/2014/main" id="{04C1C7A3-019C-437D-8511-3104336B37A6}"/>
                    </a:ext>
                  </a:extLst>
                </p:cNvPr>
                <p:cNvSpPr/>
                <p:nvPr/>
              </p:nvSpPr>
              <p:spPr>
                <a:xfrm>
                  <a:off x="7119721" y="3591233"/>
                  <a:ext cx="132377" cy="37427"/>
                </a:xfrm>
                <a:custGeom>
                  <a:avLst/>
                  <a:gdLst>
                    <a:gd name="connsiteX0" fmla="*/ 3643 w 132377"/>
                    <a:gd name="connsiteY0" fmla="*/ 37427 h 37427"/>
                    <a:gd name="connsiteX1" fmla="*/ 132377 w 132377"/>
                    <a:gd name="connsiteY1" fmla="*/ 2261 h 37427"/>
                    <a:gd name="connsiteX2" fmla="*/ 128609 w 132377"/>
                    <a:gd name="connsiteY2" fmla="*/ 0 h 37427"/>
                    <a:gd name="connsiteX3" fmla="*/ 0 w 132377"/>
                    <a:gd name="connsiteY3" fmla="*/ 35167 h 37427"/>
                  </a:gdLst>
                  <a:ahLst/>
                  <a:cxnLst>
                    <a:cxn ang="0">
                      <a:pos x="connsiteX0" y="connsiteY0"/>
                    </a:cxn>
                    <a:cxn ang="0">
                      <a:pos x="connsiteX1" y="connsiteY1"/>
                    </a:cxn>
                    <a:cxn ang="0">
                      <a:pos x="connsiteX2" y="connsiteY2"/>
                    </a:cxn>
                    <a:cxn ang="0">
                      <a:pos x="connsiteX3" y="connsiteY3"/>
                    </a:cxn>
                  </a:cxnLst>
                  <a:rect l="l" t="t" r="r" b="b"/>
                  <a:pathLst>
                    <a:path w="132377" h="37427">
                      <a:moveTo>
                        <a:pt x="3643" y="37427"/>
                      </a:moveTo>
                      <a:lnTo>
                        <a:pt x="132377" y="2261"/>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2" name="Freeform: Shape 4271">
                  <a:extLst>
                    <a:ext uri="{FF2B5EF4-FFF2-40B4-BE49-F238E27FC236}">
                      <a16:creationId xmlns:a16="http://schemas.microsoft.com/office/drawing/2014/main" id="{0E0A131A-509F-40A6-8BEB-0B23D2D13CFB}"/>
                    </a:ext>
                  </a:extLst>
                </p:cNvPr>
                <p:cNvSpPr/>
                <p:nvPr/>
              </p:nvSpPr>
              <p:spPr>
                <a:xfrm>
                  <a:off x="7106534" y="3583697"/>
                  <a:ext cx="132376" cy="37301"/>
                </a:xfrm>
                <a:custGeom>
                  <a:avLst/>
                  <a:gdLst>
                    <a:gd name="connsiteX0" fmla="*/ 3642 w 132376"/>
                    <a:gd name="connsiteY0" fmla="*/ 37301 h 37301"/>
                    <a:gd name="connsiteX1" fmla="*/ 132377 w 132376"/>
                    <a:gd name="connsiteY1" fmla="*/ 2135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3" name="Freeform: Shape 4272">
                  <a:extLst>
                    <a:ext uri="{FF2B5EF4-FFF2-40B4-BE49-F238E27FC236}">
                      <a16:creationId xmlns:a16="http://schemas.microsoft.com/office/drawing/2014/main" id="{08902ECD-62F3-4913-8C2F-7CB95B905341}"/>
                    </a:ext>
                  </a:extLst>
                </p:cNvPr>
                <p:cNvSpPr/>
                <p:nvPr/>
              </p:nvSpPr>
              <p:spPr>
                <a:xfrm>
                  <a:off x="7093347" y="3576036"/>
                  <a:ext cx="132376" cy="37301"/>
                </a:xfrm>
                <a:custGeom>
                  <a:avLst/>
                  <a:gdLst>
                    <a:gd name="connsiteX0" fmla="*/ 3642 w 132376"/>
                    <a:gd name="connsiteY0" fmla="*/ 37301 h 37301"/>
                    <a:gd name="connsiteX1" fmla="*/ 132377 w 132376"/>
                    <a:gd name="connsiteY1" fmla="*/ 2135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4" name="Freeform: Shape 4273">
                  <a:extLst>
                    <a:ext uri="{FF2B5EF4-FFF2-40B4-BE49-F238E27FC236}">
                      <a16:creationId xmlns:a16="http://schemas.microsoft.com/office/drawing/2014/main" id="{F07318B2-0CB6-42D9-AB46-4ACBCA47326B}"/>
                    </a:ext>
                  </a:extLst>
                </p:cNvPr>
                <p:cNvSpPr/>
                <p:nvPr/>
              </p:nvSpPr>
              <p:spPr>
                <a:xfrm>
                  <a:off x="7080159" y="3568374"/>
                  <a:ext cx="132376" cy="37301"/>
                </a:xfrm>
                <a:custGeom>
                  <a:avLst/>
                  <a:gdLst>
                    <a:gd name="connsiteX0" fmla="*/ 3642 w 132376"/>
                    <a:gd name="connsiteY0" fmla="*/ 37302 h 37301"/>
                    <a:gd name="connsiteX1" fmla="*/ 132377 w 132376"/>
                    <a:gd name="connsiteY1" fmla="*/ 2261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261"/>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5" name="Freeform: Shape 4274">
                  <a:extLst>
                    <a:ext uri="{FF2B5EF4-FFF2-40B4-BE49-F238E27FC236}">
                      <a16:creationId xmlns:a16="http://schemas.microsoft.com/office/drawing/2014/main" id="{EC2B81A8-95C2-4147-BE2D-8092CC1ADD7A}"/>
                    </a:ext>
                  </a:extLst>
                </p:cNvPr>
                <p:cNvSpPr/>
                <p:nvPr/>
              </p:nvSpPr>
              <p:spPr>
                <a:xfrm>
                  <a:off x="7066971" y="3560839"/>
                  <a:ext cx="132377" cy="37301"/>
                </a:xfrm>
                <a:custGeom>
                  <a:avLst/>
                  <a:gdLst>
                    <a:gd name="connsiteX0" fmla="*/ 3643 w 132377"/>
                    <a:gd name="connsiteY0" fmla="*/ 37302 h 37301"/>
                    <a:gd name="connsiteX1" fmla="*/ 132377 w 132377"/>
                    <a:gd name="connsiteY1" fmla="*/ 2135 h 37301"/>
                    <a:gd name="connsiteX2" fmla="*/ 128610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10"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6" name="Freeform: Shape 4275">
                  <a:extLst>
                    <a:ext uri="{FF2B5EF4-FFF2-40B4-BE49-F238E27FC236}">
                      <a16:creationId xmlns:a16="http://schemas.microsoft.com/office/drawing/2014/main" id="{FF83C17B-53BC-49ED-91EA-790314BB2002}"/>
                    </a:ext>
                  </a:extLst>
                </p:cNvPr>
                <p:cNvSpPr/>
                <p:nvPr/>
              </p:nvSpPr>
              <p:spPr>
                <a:xfrm>
                  <a:off x="7053784" y="3553177"/>
                  <a:ext cx="132377" cy="37301"/>
                </a:xfrm>
                <a:custGeom>
                  <a:avLst/>
                  <a:gdLst>
                    <a:gd name="connsiteX0" fmla="*/ 3643 w 132377"/>
                    <a:gd name="connsiteY0" fmla="*/ 37302 h 37301"/>
                    <a:gd name="connsiteX1" fmla="*/ 132377 w 132377"/>
                    <a:gd name="connsiteY1" fmla="*/ 2135 h 37301"/>
                    <a:gd name="connsiteX2" fmla="*/ 128609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7" name="Freeform: Shape 4276">
                  <a:extLst>
                    <a:ext uri="{FF2B5EF4-FFF2-40B4-BE49-F238E27FC236}">
                      <a16:creationId xmlns:a16="http://schemas.microsoft.com/office/drawing/2014/main" id="{DC92C5FF-7F29-4E4B-A4B7-315FAB20BC87}"/>
                    </a:ext>
                  </a:extLst>
                </p:cNvPr>
                <p:cNvSpPr/>
                <p:nvPr/>
              </p:nvSpPr>
              <p:spPr>
                <a:xfrm>
                  <a:off x="7040597" y="3545516"/>
                  <a:ext cx="132376" cy="37427"/>
                </a:xfrm>
                <a:custGeom>
                  <a:avLst/>
                  <a:gdLst>
                    <a:gd name="connsiteX0" fmla="*/ 3642 w 132376"/>
                    <a:gd name="connsiteY0" fmla="*/ 37427 h 37427"/>
                    <a:gd name="connsiteX1" fmla="*/ 132377 w 132376"/>
                    <a:gd name="connsiteY1" fmla="*/ 2261 h 37427"/>
                    <a:gd name="connsiteX2" fmla="*/ 128609 w 132376"/>
                    <a:gd name="connsiteY2" fmla="*/ 0 h 37427"/>
                    <a:gd name="connsiteX3" fmla="*/ 0 w 132376"/>
                    <a:gd name="connsiteY3" fmla="*/ 35167 h 37427"/>
                  </a:gdLst>
                  <a:ahLst/>
                  <a:cxnLst>
                    <a:cxn ang="0">
                      <a:pos x="connsiteX0" y="connsiteY0"/>
                    </a:cxn>
                    <a:cxn ang="0">
                      <a:pos x="connsiteX1" y="connsiteY1"/>
                    </a:cxn>
                    <a:cxn ang="0">
                      <a:pos x="connsiteX2" y="connsiteY2"/>
                    </a:cxn>
                    <a:cxn ang="0">
                      <a:pos x="connsiteX3" y="connsiteY3"/>
                    </a:cxn>
                  </a:cxnLst>
                  <a:rect l="l" t="t" r="r" b="b"/>
                  <a:pathLst>
                    <a:path w="132376" h="37427">
                      <a:moveTo>
                        <a:pt x="3642" y="37427"/>
                      </a:moveTo>
                      <a:lnTo>
                        <a:pt x="132377" y="2261"/>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8" name="Freeform: Shape 4277">
                  <a:extLst>
                    <a:ext uri="{FF2B5EF4-FFF2-40B4-BE49-F238E27FC236}">
                      <a16:creationId xmlns:a16="http://schemas.microsoft.com/office/drawing/2014/main" id="{5CC99BD3-E2AF-43E8-8789-194F57411EA8}"/>
                    </a:ext>
                  </a:extLst>
                </p:cNvPr>
                <p:cNvSpPr/>
                <p:nvPr/>
              </p:nvSpPr>
              <p:spPr>
                <a:xfrm>
                  <a:off x="7027409" y="3537980"/>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9" name="Freeform: Shape 4278">
                  <a:extLst>
                    <a:ext uri="{FF2B5EF4-FFF2-40B4-BE49-F238E27FC236}">
                      <a16:creationId xmlns:a16="http://schemas.microsoft.com/office/drawing/2014/main" id="{7442F7F0-CA67-4EF2-A529-11A3547E24DF}"/>
                    </a:ext>
                  </a:extLst>
                </p:cNvPr>
                <p:cNvSpPr/>
                <p:nvPr/>
              </p:nvSpPr>
              <p:spPr>
                <a:xfrm>
                  <a:off x="7014222" y="3530319"/>
                  <a:ext cx="132376" cy="37301"/>
                </a:xfrm>
                <a:custGeom>
                  <a:avLst/>
                  <a:gdLst>
                    <a:gd name="connsiteX0" fmla="*/ 3642 w 132376"/>
                    <a:gd name="connsiteY0" fmla="*/ 37301 h 37301"/>
                    <a:gd name="connsiteX1" fmla="*/ 132377 w 132376"/>
                    <a:gd name="connsiteY1" fmla="*/ 2135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0" name="Freeform: Shape 4279">
                  <a:extLst>
                    <a:ext uri="{FF2B5EF4-FFF2-40B4-BE49-F238E27FC236}">
                      <a16:creationId xmlns:a16="http://schemas.microsoft.com/office/drawing/2014/main" id="{30ED597E-9473-4248-BF2D-BC64A1907BF0}"/>
                    </a:ext>
                  </a:extLst>
                </p:cNvPr>
                <p:cNvSpPr/>
                <p:nvPr/>
              </p:nvSpPr>
              <p:spPr>
                <a:xfrm>
                  <a:off x="7001034" y="3522658"/>
                  <a:ext cx="132377" cy="37301"/>
                </a:xfrm>
                <a:custGeom>
                  <a:avLst/>
                  <a:gdLst>
                    <a:gd name="connsiteX0" fmla="*/ 3643 w 132377"/>
                    <a:gd name="connsiteY0" fmla="*/ 37301 h 37301"/>
                    <a:gd name="connsiteX1" fmla="*/ 132377 w 132377"/>
                    <a:gd name="connsiteY1" fmla="*/ 2261 h 37301"/>
                    <a:gd name="connsiteX2" fmla="*/ 128610 w 132377"/>
                    <a:gd name="connsiteY2" fmla="*/ 0 h 37301"/>
                    <a:gd name="connsiteX3" fmla="*/ 0 w 132377"/>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1"/>
                      </a:moveTo>
                      <a:lnTo>
                        <a:pt x="132377" y="2261"/>
                      </a:lnTo>
                      <a:lnTo>
                        <a:pt x="128610"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1" name="Freeform: Shape 4280">
                  <a:extLst>
                    <a:ext uri="{FF2B5EF4-FFF2-40B4-BE49-F238E27FC236}">
                      <a16:creationId xmlns:a16="http://schemas.microsoft.com/office/drawing/2014/main" id="{29DE9F11-E63A-468C-852C-155F2D02B437}"/>
                    </a:ext>
                  </a:extLst>
                </p:cNvPr>
                <p:cNvSpPr/>
                <p:nvPr/>
              </p:nvSpPr>
              <p:spPr>
                <a:xfrm>
                  <a:off x="6987847" y="3515122"/>
                  <a:ext cx="132377" cy="37301"/>
                </a:xfrm>
                <a:custGeom>
                  <a:avLst/>
                  <a:gdLst>
                    <a:gd name="connsiteX0" fmla="*/ 3643 w 132377"/>
                    <a:gd name="connsiteY0" fmla="*/ 37302 h 37301"/>
                    <a:gd name="connsiteX1" fmla="*/ 132377 w 132377"/>
                    <a:gd name="connsiteY1" fmla="*/ 2135 h 37301"/>
                    <a:gd name="connsiteX2" fmla="*/ 128609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82" name="Graphic 4">
                <a:extLst>
                  <a:ext uri="{FF2B5EF4-FFF2-40B4-BE49-F238E27FC236}">
                    <a16:creationId xmlns:a16="http://schemas.microsoft.com/office/drawing/2014/main" id="{84FB7ED1-A2DF-40A1-A747-5F7CF3F14040}"/>
                  </a:ext>
                </a:extLst>
              </p:cNvPr>
              <p:cNvGrpSpPr/>
              <p:nvPr/>
            </p:nvGrpSpPr>
            <p:grpSpPr>
              <a:xfrm>
                <a:off x="6842785" y="3431225"/>
                <a:ext cx="264251" cy="113537"/>
                <a:chOff x="6842785" y="3431225"/>
                <a:chExt cx="264251" cy="113537"/>
              </a:xfrm>
              <a:solidFill>
                <a:srgbClr val="966650"/>
              </a:solidFill>
            </p:grpSpPr>
            <p:sp>
              <p:nvSpPr>
                <p:cNvPr id="4283" name="Freeform: Shape 4282">
                  <a:extLst>
                    <a:ext uri="{FF2B5EF4-FFF2-40B4-BE49-F238E27FC236}">
                      <a16:creationId xmlns:a16="http://schemas.microsoft.com/office/drawing/2014/main" id="{0532984A-B480-4522-83DA-CE6711B75CB4}"/>
                    </a:ext>
                  </a:extLst>
                </p:cNvPr>
                <p:cNvSpPr/>
                <p:nvPr/>
              </p:nvSpPr>
              <p:spPr>
                <a:xfrm>
                  <a:off x="6974659" y="3507461"/>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4" name="Freeform: Shape 4283">
                  <a:extLst>
                    <a:ext uri="{FF2B5EF4-FFF2-40B4-BE49-F238E27FC236}">
                      <a16:creationId xmlns:a16="http://schemas.microsoft.com/office/drawing/2014/main" id="{EA003316-E228-482F-AC54-3D72B95DC1EF}"/>
                    </a:ext>
                  </a:extLst>
                </p:cNvPr>
                <p:cNvSpPr/>
                <p:nvPr/>
              </p:nvSpPr>
              <p:spPr>
                <a:xfrm>
                  <a:off x="6961472" y="3499800"/>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5" name="Freeform: Shape 4284">
                  <a:extLst>
                    <a:ext uri="{FF2B5EF4-FFF2-40B4-BE49-F238E27FC236}">
                      <a16:creationId xmlns:a16="http://schemas.microsoft.com/office/drawing/2014/main" id="{EA369224-CEE0-4674-A08A-B18D6EA811FF}"/>
                    </a:ext>
                  </a:extLst>
                </p:cNvPr>
                <p:cNvSpPr/>
                <p:nvPr/>
              </p:nvSpPr>
              <p:spPr>
                <a:xfrm>
                  <a:off x="6948285" y="3492264"/>
                  <a:ext cx="132376" cy="37301"/>
                </a:xfrm>
                <a:custGeom>
                  <a:avLst/>
                  <a:gdLst>
                    <a:gd name="connsiteX0" fmla="*/ 3768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768"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6" name="Freeform: Shape 4285">
                  <a:extLst>
                    <a:ext uri="{FF2B5EF4-FFF2-40B4-BE49-F238E27FC236}">
                      <a16:creationId xmlns:a16="http://schemas.microsoft.com/office/drawing/2014/main" id="{7F1267A0-8565-4633-9FE7-50EEE9958745}"/>
                    </a:ext>
                  </a:extLst>
                </p:cNvPr>
                <p:cNvSpPr/>
                <p:nvPr/>
              </p:nvSpPr>
              <p:spPr>
                <a:xfrm>
                  <a:off x="6935097" y="3484603"/>
                  <a:ext cx="132377" cy="37301"/>
                </a:xfrm>
                <a:custGeom>
                  <a:avLst/>
                  <a:gdLst>
                    <a:gd name="connsiteX0" fmla="*/ 3643 w 132377"/>
                    <a:gd name="connsiteY0" fmla="*/ 37302 h 37301"/>
                    <a:gd name="connsiteX1" fmla="*/ 132377 w 132377"/>
                    <a:gd name="connsiteY1" fmla="*/ 2135 h 37301"/>
                    <a:gd name="connsiteX2" fmla="*/ 128610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10"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7" name="Freeform: Shape 4286">
                  <a:extLst>
                    <a:ext uri="{FF2B5EF4-FFF2-40B4-BE49-F238E27FC236}">
                      <a16:creationId xmlns:a16="http://schemas.microsoft.com/office/drawing/2014/main" id="{BC798FFC-95CF-4F6C-9C00-5902CFCB6086}"/>
                    </a:ext>
                  </a:extLst>
                </p:cNvPr>
                <p:cNvSpPr/>
                <p:nvPr/>
              </p:nvSpPr>
              <p:spPr>
                <a:xfrm>
                  <a:off x="6921909" y="3476941"/>
                  <a:ext cx="132377" cy="37301"/>
                </a:xfrm>
                <a:custGeom>
                  <a:avLst/>
                  <a:gdLst>
                    <a:gd name="connsiteX0" fmla="*/ 3643 w 132377"/>
                    <a:gd name="connsiteY0" fmla="*/ 37301 h 37301"/>
                    <a:gd name="connsiteX1" fmla="*/ 132377 w 132377"/>
                    <a:gd name="connsiteY1" fmla="*/ 2135 h 37301"/>
                    <a:gd name="connsiteX2" fmla="*/ 128609 w 132377"/>
                    <a:gd name="connsiteY2" fmla="*/ 0 h 37301"/>
                    <a:gd name="connsiteX3" fmla="*/ 0 w 132377"/>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8" name="Freeform: Shape 4287">
                  <a:extLst>
                    <a:ext uri="{FF2B5EF4-FFF2-40B4-BE49-F238E27FC236}">
                      <a16:creationId xmlns:a16="http://schemas.microsoft.com/office/drawing/2014/main" id="{99B618B6-5ECA-4F4D-8AB6-DB2661936DCF}"/>
                    </a:ext>
                  </a:extLst>
                </p:cNvPr>
                <p:cNvSpPr/>
                <p:nvPr/>
              </p:nvSpPr>
              <p:spPr>
                <a:xfrm>
                  <a:off x="6908722" y="3469406"/>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9" name="Freeform: Shape 4288">
                  <a:extLst>
                    <a:ext uri="{FF2B5EF4-FFF2-40B4-BE49-F238E27FC236}">
                      <a16:creationId xmlns:a16="http://schemas.microsoft.com/office/drawing/2014/main" id="{16720F56-D1C2-40AF-A20F-578D23A428A4}"/>
                    </a:ext>
                  </a:extLst>
                </p:cNvPr>
                <p:cNvSpPr/>
                <p:nvPr/>
              </p:nvSpPr>
              <p:spPr>
                <a:xfrm>
                  <a:off x="6895535" y="3461744"/>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0" name="Freeform: Shape 4289">
                  <a:extLst>
                    <a:ext uri="{FF2B5EF4-FFF2-40B4-BE49-F238E27FC236}">
                      <a16:creationId xmlns:a16="http://schemas.microsoft.com/office/drawing/2014/main" id="{EBF15D1A-5CDA-4BA0-ABBE-2A572BA6A826}"/>
                    </a:ext>
                  </a:extLst>
                </p:cNvPr>
                <p:cNvSpPr/>
                <p:nvPr/>
              </p:nvSpPr>
              <p:spPr>
                <a:xfrm>
                  <a:off x="6882348" y="3454083"/>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1" name="Freeform: Shape 4290">
                  <a:extLst>
                    <a:ext uri="{FF2B5EF4-FFF2-40B4-BE49-F238E27FC236}">
                      <a16:creationId xmlns:a16="http://schemas.microsoft.com/office/drawing/2014/main" id="{160DE9DD-4036-4F12-A588-55CDE00EF3FA}"/>
                    </a:ext>
                  </a:extLst>
                </p:cNvPr>
                <p:cNvSpPr/>
                <p:nvPr/>
              </p:nvSpPr>
              <p:spPr>
                <a:xfrm>
                  <a:off x="6869159" y="3446422"/>
                  <a:ext cx="132377" cy="37427"/>
                </a:xfrm>
                <a:custGeom>
                  <a:avLst/>
                  <a:gdLst>
                    <a:gd name="connsiteX0" fmla="*/ 3643 w 132377"/>
                    <a:gd name="connsiteY0" fmla="*/ 37427 h 37427"/>
                    <a:gd name="connsiteX1" fmla="*/ 132377 w 132377"/>
                    <a:gd name="connsiteY1" fmla="*/ 2261 h 37427"/>
                    <a:gd name="connsiteX2" fmla="*/ 128610 w 132377"/>
                    <a:gd name="connsiteY2" fmla="*/ 0 h 37427"/>
                    <a:gd name="connsiteX3" fmla="*/ 0 w 132377"/>
                    <a:gd name="connsiteY3" fmla="*/ 35292 h 37427"/>
                  </a:gdLst>
                  <a:ahLst/>
                  <a:cxnLst>
                    <a:cxn ang="0">
                      <a:pos x="connsiteX0" y="connsiteY0"/>
                    </a:cxn>
                    <a:cxn ang="0">
                      <a:pos x="connsiteX1" y="connsiteY1"/>
                    </a:cxn>
                    <a:cxn ang="0">
                      <a:pos x="connsiteX2" y="connsiteY2"/>
                    </a:cxn>
                    <a:cxn ang="0">
                      <a:pos x="connsiteX3" y="connsiteY3"/>
                    </a:cxn>
                  </a:cxnLst>
                  <a:rect l="l" t="t" r="r" b="b"/>
                  <a:pathLst>
                    <a:path w="132377" h="37427">
                      <a:moveTo>
                        <a:pt x="3643" y="37427"/>
                      </a:moveTo>
                      <a:lnTo>
                        <a:pt x="132377" y="2261"/>
                      </a:lnTo>
                      <a:lnTo>
                        <a:pt x="128610" y="0"/>
                      </a:lnTo>
                      <a:lnTo>
                        <a:pt x="0" y="3529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2" name="Freeform: Shape 4291">
                  <a:extLst>
                    <a:ext uri="{FF2B5EF4-FFF2-40B4-BE49-F238E27FC236}">
                      <a16:creationId xmlns:a16="http://schemas.microsoft.com/office/drawing/2014/main" id="{B3FC08E0-8572-4BFA-8BFE-B531605E9023}"/>
                    </a:ext>
                  </a:extLst>
                </p:cNvPr>
                <p:cNvSpPr/>
                <p:nvPr/>
              </p:nvSpPr>
              <p:spPr>
                <a:xfrm>
                  <a:off x="6855972" y="3438886"/>
                  <a:ext cx="132377" cy="37301"/>
                </a:xfrm>
                <a:custGeom>
                  <a:avLst/>
                  <a:gdLst>
                    <a:gd name="connsiteX0" fmla="*/ 3643 w 132377"/>
                    <a:gd name="connsiteY0" fmla="*/ 37302 h 37301"/>
                    <a:gd name="connsiteX1" fmla="*/ 132377 w 132377"/>
                    <a:gd name="connsiteY1" fmla="*/ 2135 h 37301"/>
                    <a:gd name="connsiteX2" fmla="*/ 128609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3" name="Freeform: Shape 4292">
                  <a:extLst>
                    <a:ext uri="{FF2B5EF4-FFF2-40B4-BE49-F238E27FC236}">
                      <a16:creationId xmlns:a16="http://schemas.microsoft.com/office/drawing/2014/main" id="{81848B30-A019-44A2-AEB6-920E04E0C317}"/>
                    </a:ext>
                  </a:extLst>
                </p:cNvPr>
                <p:cNvSpPr/>
                <p:nvPr/>
              </p:nvSpPr>
              <p:spPr>
                <a:xfrm>
                  <a:off x="6842785" y="3431225"/>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294" name="Graphic 4">
              <a:extLst>
                <a:ext uri="{FF2B5EF4-FFF2-40B4-BE49-F238E27FC236}">
                  <a16:creationId xmlns:a16="http://schemas.microsoft.com/office/drawing/2014/main" id="{84FB7ED1-A2DF-40A1-A747-5F7CF3F14040}"/>
                </a:ext>
              </a:extLst>
            </p:cNvPr>
            <p:cNvGrpSpPr/>
            <p:nvPr/>
          </p:nvGrpSpPr>
          <p:grpSpPr>
            <a:xfrm>
              <a:off x="6697095" y="3466517"/>
              <a:ext cx="545081" cy="354177"/>
              <a:chOff x="6697095" y="3466517"/>
              <a:chExt cx="545081" cy="354177"/>
            </a:xfrm>
            <a:solidFill>
              <a:srgbClr val="774B36"/>
            </a:solidFill>
          </p:grpSpPr>
          <p:grpSp>
            <p:nvGrpSpPr>
              <p:cNvPr id="4295" name="Graphic 4">
                <a:extLst>
                  <a:ext uri="{FF2B5EF4-FFF2-40B4-BE49-F238E27FC236}">
                    <a16:creationId xmlns:a16="http://schemas.microsoft.com/office/drawing/2014/main" id="{84FB7ED1-A2DF-40A1-A747-5F7CF3F14040}"/>
                  </a:ext>
                </a:extLst>
              </p:cNvPr>
              <p:cNvGrpSpPr/>
              <p:nvPr/>
            </p:nvGrpSpPr>
            <p:grpSpPr>
              <a:xfrm>
                <a:off x="6842031" y="3550289"/>
                <a:ext cx="400144" cy="270405"/>
                <a:chOff x="6842031" y="3550289"/>
                <a:chExt cx="400144" cy="270405"/>
              </a:xfrm>
              <a:solidFill>
                <a:srgbClr val="774B36"/>
              </a:solidFill>
            </p:grpSpPr>
            <p:sp>
              <p:nvSpPr>
                <p:cNvPr id="4296" name="Freeform: Shape 4295">
                  <a:extLst>
                    <a:ext uri="{FF2B5EF4-FFF2-40B4-BE49-F238E27FC236}">
                      <a16:creationId xmlns:a16="http://schemas.microsoft.com/office/drawing/2014/main" id="{824F81E8-9F5F-45A7-89AD-3A2E83F5396C}"/>
                    </a:ext>
                  </a:extLst>
                </p:cNvPr>
                <p:cNvSpPr/>
                <p:nvPr/>
              </p:nvSpPr>
              <p:spPr>
                <a:xfrm>
                  <a:off x="7092719" y="3695100"/>
                  <a:ext cx="149457" cy="125594"/>
                </a:xfrm>
                <a:custGeom>
                  <a:avLst/>
                  <a:gdLst>
                    <a:gd name="connsiteX0" fmla="*/ 149457 w 149457"/>
                    <a:gd name="connsiteY0" fmla="*/ 2135 h 125594"/>
                    <a:gd name="connsiteX1" fmla="*/ 3642 w 149457"/>
                    <a:gd name="connsiteY1" fmla="*/ 125595 h 125594"/>
                    <a:gd name="connsiteX2" fmla="*/ 0 w 149457"/>
                    <a:gd name="connsiteY2" fmla="*/ 123460 h 125594"/>
                    <a:gd name="connsiteX3" fmla="*/ 145690 w 149457"/>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7" h="125594">
                      <a:moveTo>
                        <a:pt x="149457"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7" name="Freeform: Shape 4296">
                  <a:extLst>
                    <a:ext uri="{FF2B5EF4-FFF2-40B4-BE49-F238E27FC236}">
                      <a16:creationId xmlns:a16="http://schemas.microsoft.com/office/drawing/2014/main" id="{60A329A7-56E1-4880-9F16-8A1A8B771021}"/>
                    </a:ext>
                  </a:extLst>
                </p:cNvPr>
                <p:cNvSpPr/>
                <p:nvPr/>
              </p:nvSpPr>
              <p:spPr>
                <a:xfrm>
                  <a:off x="7079531" y="3687438"/>
                  <a:ext cx="149458" cy="125594"/>
                </a:xfrm>
                <a:custGeom>
                  <a:avLst/>
                  <a:gdLst>
                    <a:gd name="connsiteX0" fmla="*/ 149458 w 149458"/>
                    <a:gd name="connsiteY0" fmla="*/ 2135 h 125594"/>
                    <a:gd name="connsiteX1" fmla="*/ 3643 w 149458"/>
                    <a:gd name="connsiteY1" fmla="*/ 125595 h 125594"/>
                    <a:gd name="connsiteX2" fmla="*/ 0 w 149458"/>
                    <a:gd name="connsiteY2" fmla="*/ 123585 h 125594"/>
                    <a:gd name="connsiteX3" fmla="*/ 145690 w 149458"/>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8" h="125594">
                      <a:moveTo>
                        <a:pt x="149458" y="2135"/>
                      </a:moveTo>
                      <a:lnTo>
                        <a:pt x="3643" y="125595"/>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8" name="Freeform: Shape 4297">
                  <a:extLst>
                    <a:ext uri="{FF2B5EF4-FFF2-40B4-BE49-F238E27FC236}">
                      <a16:creationId xmlns:a16="http://schemas.microsoft.com/office/drawing/2014/main" id="{EC29D053-028B-4D79-9E8D-BB07D5C8421C}"/>
                    </a:ext>
                  </a:extLst>
                </p:cNvPr>
                <p:cNvSpPr/>
                <p:nvPr/>
              </p:nvSpPr>
              <p:spPr>
                <a:xfrm>
                  <a:off x="7066343" y="3679777"/>
                  <a:ext cx="149458" cy="125720"/>
                </a:xfrm>
                <a:custGeom>
                  <a:avLst/>
                  <a:gdLst>
                    <a:gd name="connsiteX0" fmla="*/ 149458 w 149458"/>
                    <a:gd name="connsiteY0" fmla="*/ 2135 h 125720"/>
                    <a:gd name="connsiteX1" fmla="*/ 3643 w 149458"/>
                    <a:gd name="connsiteY1" fmla="*/ 125720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3"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9" name="Freeform: Shape 4298">
                  <a:extLst>
                    <a:ext uri="{FF2B5EF4-FFF2-40B4-BE49-F238E27FC236}">
                      <a16:creationId xmlns:a16="http://schemas.microsoft.com/office/drawing/2014/main" id="{B391719F-54A6-4145-BE21-D389343A8DF6}"/>
                    </a:ext>
                  </a:extLst>
                </p:cNvPr>
                <p:cNvSpPr/>
                <p:nvPr/>
              </p:nvSpPr>
              <p:spPr>
                <a:xfrm>
                  <a:off x="7053156" y="3672241"/>
                  <a:ext cx="149458" cy="125594"/>
                </a:xfrm>
                <a:custGeom>
                  <a:avLst/>
                  <a:gdLst>
                    <a:gd name="connsiteX0" fmla="*/ 149458 w 149458"/>
                    <a:gd name="connsiteY0" fmla="*/ 2135 h 125594"/>
                    <a:gd name="connsiteX1" fmla="*/ 3642 w 149458"/>
                    <a:gd name="connsiteY1" fmla="*/ 125595 h 125594"/>
                    <a:gd name="connsiteX2" fmla="*/ 0 w 149458"/>
                    <a:gd name="connsiteY2" fmla="*/ 123460 h 125594"/>
                    <a:gd name="connsiteX3" fmla="*/ 145690 w 149458"/>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8" h="125594">
                      <a:moveTo>
                        <a:pt x="149458"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0" name="Freeform: Shape 4299">
                  <a:extLst>
                    <a:ext uri="{FF2B5EF4-FFF2-40B4-BE49-F238E27FC236}">
                      <a16:creationId xmlns:a16="http://schemas.microsoft.com/office/drawing/2014/main" id="{5363591D-76A9-461E-B248-13F851F3B7E4}"/>
                    </a:ext>
                  </a:extLst>
                </p:cNvPr>
                <p:cNvSpPr/>
                <p:nvPr/>
              </p:nvSpPr>
              <p:spPr>
                <a:xfrm>
                  <a:off x="7039969" y="3664580"/>
                  <a:ext cx="149457" cy="125594"/>
                </a:xfrm>
                <a:custGeom>
                  <a:avLst/>
                  <a:gdLst>
                    <a:gd name="connsiteX0" fmla="*/ 149457 w 149457"/>
                    <a:gd name="connsiteY0" fmla="*/ 2135 h 125594"/>
                    <a:gd name="connsiteX1" fmla="*/ 3642 w 149457"/>
                    <a:gd name="connsiteY1" fmla="*/ 125595 h 125594"/>
                    <a:gd name="connsiteX2" fmla="*/ 0 w 149457"/>
                    <a:gd name="connsiteY2" fmla="*/ 123585 h 125594"/>
                    <a:gd name="connsiteX3" fmla="*/ 145690 w 149457"/>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7" h="125594">
                      <a:moveTo>
                        <a:pt x="149457" y="2135"/>
                      </a:moveTo>
                      <a:lnTo>
                        <a:pt x="3642" y="125595"/>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1" name="Freeform: Shape 4300">
                  <a:extLst>
                    <a:ext uri="{FF2B5EF4-FFF2-40B4-BE49-F238E27FC236}">
                      <a16:creationId xmlns:a16="http://schemas.microsoft.com/office/drawing/2014/main" id="{46DBF993-F250-4FC0-85DF-2A3576738D34}"/>
                    </a:ext>
                  </a:extLst>
                </p:cNvPr>
                <p:cNvSpPr/>
                <p:nvPr/>
              </p:nvSpPr>
              <p:spPr>
                <a:xfrm>
                  <a:off x="7026782" y="3656919"/>
                  <a:ext cx="149331" cy="125720"/>
                </a:xfrm>
                <a:custGeom>
                  <a:avLst/>
                  <a:gdLst>
                    <a:gd name="connsiteX0" fmla="*/ 149332 w 149331"/>
                    <a:gd name="connsiteY0" fmla="*/ 2135 h 125720"/>
                    <a:gd name="connsiteX1" fmla="*/ 3642 w 149331"/>
                    <a:gd name="connsiteY1" fmla="*/ 125721 h 125720"/>
                    <a:gd name="connsiteX2" fmla="*/ 0 w 149331"/>
                    <a:gd name="connsiteY2" fmla="*/ 123585 h 125720"/>
                    <a:gd name="connsiteX3" fmla="*/ 145690 w 149331"/>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1" h="125720">
                      <a:moveTo>
                        <a:pt x="149332" y="2135"/>
                      </a:moveTo>
                      <a:lnTo>
                        <a:pt x="3642"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2" name="Freeform: Shape 4301">
                  <a:extLst>
                    <a:ext uri="{FF2B5EF4-FFF2-40B4-BE49-F238E27FC236}">
                      <a16:creationId xmlns:a16="http://schemas.microsoft.com/office/drawing/2014/main" id="{FB146A15-4A9F-4FB1-A7F3-CC616CED1078}"/>
                    </a:ext>
                  </a:extLst>
                </p:cNvPr>
                <p:cNvSpPr/>
                <p:nvPr/>
              </p:nvSpPr>
              <p:spPr>
                <a:xfrm>
                  <a:off x="7013593" y="3649383"/>
                  <a:ext cx="149332" cy="125594"/>
                </a:xfrm>
                <a:custGeom>
                  <a:avLst/>
                  <a:gdLst>
                    <a:gd name="connsiteX0" fmla="*/ 149332 w 149332"/>
                    <a:gd name="connsiteY0" fmla="*/ 2135 h 125594"/>
                    <a:gd name="connsiteX1" fmla="*/ 3643 w 149332"/>
                    <a:gd name="connsiteY1" fmla="*/ 125595 h 125594"/>
                    <a:gd name="connsiteX2" fmla="*/ 0 w 149332"/>
                    <a:gd name="connsiteY2" fmla="*/ 123460 h 125594"/>
                    <a:gd name="connsiteX3" fmla="*/ 145690 w 149332"/>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2" h="125594">
                      <a:moveTo>
                        <a:pt x="149332" y="2135"/>
                      </a:moveTo>
                      <a:lnTo>
                        <a:pt x="3643"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3" name="Freeform: Shape 4302">
                  <a:extLst>
                    <a:ext uri="{FF2B5EF4-FFF2-40B4-BE49-F238E27FC236}">
                      <a16:creationId xmlns:a16="http://schemas.microsoft.com/office/drawing/2014/main" id="{A34B1B95-47BD-47D4-8B59-1C9F87E372E3}"/>
                    </a:ext>
                  </a:extLst>
                </p:cNvPr>
                <p:cNvSpPr/>
                <p:nvPr/>
              </p:nvSpPr>
              <p:spPr>
                <a:xfrm>
                  <a:off x="7000406" y="3641722"/>
                  <a:ext cx="149332" cy="125594"/>
                </a:xfrm>
                <a:custGeom>
                  <a:avLst/>
                  <a:gdLst>
                    <a:gd name="connsiteX0" fmla="*/ 149332 w 149332"/>
                    <a:gd name="connsiteY0" fmla="*/ 2135 h 125594"/>
                    <a:gd name="connsiteX1" fmla="*/ 3643 w 149332"/>
                    <a:gd name="connsiteY1" fmla="*/ 125595 h 125594"/>
                    <a:gd name="connsiteX2" fmla="*/ 0 w 149332"/>
                    <a:gd name="connsiteY2" fmla="*/ 123585 h 125594"/>
                    <a:gd name="connsiteX3" fmla="*/ 145690 w 149332"/>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2" h="125594">
                      <a:moveTo>
                        <a:pt x="149332" y="2135"/>
                      </a:moveTo>
                      <a:lnTo>
                        <a:pt x="3643" y="125595"/>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4" name="Freeform: Shape 4303">
                  <a:extLst>
                    <a:ext uri="{FF2B5EF4-FFF2-40B4-BE49-F238E27FC236}">
                      <a16:creationId xmlns:a16="http://schemas.microsoft.com/office/drawing/2014/main" id="{F16A70F9-29D3-46AF-9FD3-72CF32E7B8D6}"/>
                    </a:ext>
                  </a:extLst>
                </p:cNvPr>
                <p:cNvSpPr/>
                <p:nvPr/>
              </p:nvSpPr>
              <p:spPr>
                <a:xfrm>
                  <a:off x="6987219" y="3634060"/>
                  <a:ext cx="149332" cy="125720"/>
                </a:xfrm>
                <a:custGeom>
                  <a:avLst/>
                  <a:gdLst>
                    <a:gd name="connsiteX0" fmla="*/ 149332 w 149332"/>
                    <a:gd name="connsiteY0" fmla="*/ 2135 h 125720"/>
                    <a:gd name="connsiteX1" fmla="*/ 3642 w 149332"/>
                    <a:gd name="connsiteY1" fmla="*/ 125720 h 125720"/>
                    <a:gd name="connsiteX2" fmla="*/ 0 w 149332"/>
                    <a:gd name="connsiteY2" fmla="*/ 123585 h 125720"/>
                    <a:gd name="connsiteX3" fmla="*/ 145690 w 149332"/>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2" h="125720">
                      <a:moveTo>
                        <a:pt x="149332" y="2135"/>
                      </a:moveTo>
                      <a:lnTo>
                        <a:pt x="3642"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5" name="Freeform: Shape 4304">
                  <a:extLst>
                    <a:ext uri="{FF2B5EF4-FFF2-40B4-BE49-F238E27FC236}">
                      <a16:creationId xmlns:a16="http://schemas.microsoft.com/office/drawing/2014/main" id="{0D3FC22A-DE3C-45CB-9110-8C1289E6AB94}"/>
                    </a:ext>
                  </a:extLst>
                </p:cNvPr>
                <p:cNvSpPr/>
                <p:nvPr/>
              </p:nvSpPr>
              <p:spPr>
                <a:xfrm>
                  <a:off x="6974032" y="3626525"/>
                  <a:ext cx="149332" cy="125594"/>
                </a:xfrm>
                <a:custGeom>
                  <a:avLst/>
                  <a:gdLst>
                    <a:gd name="connsiteX0" fmla="*/ 149332 w 149332"/>
                    <a:gd name="connsiteY0" fmla="*/ 2135 h 125594"/>
                    <a:gd name="connsiteX1" fmla="*/ 3642 w 149332"/>
                    <a:gd name="connsiteY1" fmla="*/ 125595 h 125594"/>
                    <a:gd name="connsiteX2" fmla="*/ 0 w 149332"/>
                    <a:gd name="connsiteY2" fmla="*/ 123460 h 125594"/>
                    <a:gd name="connsiteX3" fmla="*/ 145690 w 149332"/>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2" h="125594">
                      <a:moveTo>
                        <a:pt x="149332"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6" name="Freeform: Shape 4305">
                  <a:extLst>
                    <a:ext uri="{FF2B5EF4-FFF2-40B4-BE49-F238E27FC236}">
                      <a16:creationId xmlns:a16="http://schemas.microsoft.com/office/drawing/2014/main" id="{6FC9EE8D-F32F-4F6B-8F0B-D25DF6AB2FDC}"/>
                    </a:ext>
                  </a:extLst>
                </p:cNvPr>
                <p:cNvSpPr/>
                <p:nvPr/>
              </p:nvSpPr>
              <p:spPr>
                <a:xfrm>
                  <a:off x="6960844" y="3618863"/>
                  <a:ext cx="149331" cy="125594"/>
                </a:xfrm>
                <a:custGeom>
                  <a:avLst/>
                  <a:gdLst>
                    <a:gd name="connsiteX0" fmla="*/ 149332 w 149331"/>
                    <a:gd name="connsiteY0" fmla="*/ 2135 h 125594"/>
                    <a:gd name="connsiteX1" fmla="*/ 3642 w 149331"/>
                    <a:gd name="connsiteY1" fmla="*/ 125595 h 125594"/>
                    <a:gd name="connsiteX2" fmla="*/ 0 w 149331"/>
                    <a:gd name="connsiteY2" fmla="*/ 123585 h 125594"/>
                    <a:gd name="connsiteX3" fmla="*/ 145690 w 149331"/>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1" h="125594">
                      <a:moveTo>
                        <a:pt x="149332" y="2135"/>
                      </a:moveTo>
                      <a:lnTo>
                        <a:pt x="3642" y="125595"/>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7" name="Freeform: Shape 4306">
                  <a:extLst>
                    <a:ext uri="{FF2B5EF4-FFF2-40B4-BE49-F238E27FC236}">
                      <a16:creationId xmlns:a16="http://schemas.microsoft.com/office/drawing/2014/main" id="{8F6963E4-C120-4CD7-95A2-F9E77ACD4A3A}"/>
                    </a:ext>
                  </a:extLst>
                </p:cNvPr>
                <p:cNvSpPr/>
                <p:nvPr/>
              </p:nvSpPr>
              <p:spPr>
                <a:xfrm>
                  <a:off x="6947531" y="3611202"/>
                  <a:ext cx="149457" cy="125720"/>
                </a:xfrm>
                <a:custGeom>
                  <a:avLst/>
                  <a:gdLst>
                    <a:gd name="connsiteX0" fmla="*/ 149457 w 149457"/>
                    <a:gd name="connsiteY0" fmla="*/ 2135 h 125720"/>
                    <a:gd name="connsiteX1" fmla="*/ 3768 w 149457"/>
                    <a:gd name="connsiteY1" fmla="*/ 125721 h 125720"/>
                    <a:gd name="connsiteX2" fmla="*/ 0 w 149457"/>
                    <a:gd name="connsiteY2" fmla="*/ 123585 h 125720"/>
                    <a:gd name="connsiteX3" fmla="*/ 145815 w 149457"/>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7" h="125720">
                      <a:moveTo>
                        <a:pt x="149457" y="2135"/>
                      </a:moveTo>
                      <a:lnTo>
                        <a:pt x="3768" y="125721"/>
                      </a:lnTo>
                      <a:lnTo>
                        <a:pt x="0" y="123585"/>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8" name="Freeform: Shape 4307">
                  <a:extLst>
                    <a:ext uri="{FF2B5EF4-FFF2-40B4-BE49-F238E27FC236}">
                      <a16:creationId xmlns:a16="http://schemas.microsoft.com/office/drawing/2014/main" id="{8FD6C3B8-6461-4375-A9F7-508ADB9DFB9F}"/>
                    </a:ext>
                  </a:extLst>
                </p:cNvPr>
                <p:cNvSpPr/>
                <p:nvPr/>
              </p:nvSpPr>
              <p:spPr>
                <a:xfrm>
                  <a:off x="6934343" y="3603667"/>
                  <a:ext cx="149458" cy="125594"/>
                </a:xfrm>
                <a:custGeom>
                  <a:avLst/>
                  <a:gdLst>
                    <a:gd name="connsiteX0" fmla="*/ 149458 w 149458"/>
                    <a:gd name="connsiteY0" fmla="*/ 2135 h 125594"/>
                    <a:gd name="connsiteX1" fmla="*/ 3768 w 149458"/>
                    <a:gd name="connsiteY1" fmla="*/ 125595 h 125594"/>
                    <a:gd name="connsiteX2" fmla="*/ 0 w 149458"/>
                    <a:gd name="connsiteY2" fmla="*/ 123460 h 125594"/>
                    <a:gd name="connsiteX3" fmla="*/ 145816 w 149458"/>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8" h="125594">
                      <a:moveTo>
                        <a:pt x="149458" y="2135"/>
                      </a:moveTo>
                      <a:lnTo>
                        <a:pt x="3768" y="125595"/>
                      </a:lnTo>
                      <a:lnTo>
                        <a:pt x="0" y="123460"/>
                      </a:lnTo>
                      <a:lnTo>
                        <a:pt x="145816"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9" name="Freeform: Shape 4308">
                  <a:extLst>
                    <a:ext uri="{FF2B5EF4-FFF2-40B4-BE49-F238E27FC236}">
                      <a16:creationId xmlns:a16="http://schemas.microsoft.com/office/drawing/2014/main" id="{742465B7-CA18-41E9-933C-BBABC6F2BB2B}"/>
                    </a:ext>
                  </a:extLst>
                </p:cNvPr>
                <p:cNvSpPr/>
                <p:nvPr/>
              </p:nvSpPr>
              <p:spPr>
                <a:xfrm>
                  <a:off x="6921156" y="3596005"/>
                  <a:ext cx="149458" cy="125720"/>
                </a:xfrm>
                <a:custGeom>
                  <a:avLst/>
                  <a:gdLst>
                    <a:gd name="connsiteX0" fmla="*/ 149458 w 149458"/>
                    <a:gd name="connsiteY0" fmla="*/ 2135 h 125720"/>
                    <a:gd name="connsiteX1" fmla="*/ 3768 w 149458"/>
                    <a:gd name="connsiteY1" fmla="*/ 125720 h 125720"/>
                    <a:gd name="connsiteX2" fmla="*/ 0 w 149458"/>
                    <a:gd name="connsiteY2" fmla="*/ 123585 h 125720"/>
                    <a:gd name="connsiteX3" fmla="*/ 145815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768" y="125720"/>
                      </a:lnTo>
                      <a:lnTo>
                        <a:pt x="0" y="123585"/>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0" name="Freeform: Shape 4309">
                  <a:extLst>
                    <a:ext uri="{FF2B5EF4-FFF2-40B4-BE49-F238E27FC236}">
                      <a16:creationId xmlns:a16="http://schemas.microsoft.com/office/drawing/2014/main" id="{5EAC33CF-393F-42B5-B954-9969D1E364A8}"/>
                    </a:ext>
                  </a:extLst>
                </p:cNvPr>
                <p:cNvSpPr/>
                <p:nvPr/>
              </p:nvSpPr>
              <p:spPr>
                <a:xfrm>
                  <a:off x="6907969" y="3588344"/>
                  <a:ext cx="149458" cy="125720"/>
                </a:xfrm>
                <a:custGeom>
                  <a:avLst/>
                  <a:gdLst>
                    <a:gd name="connsiteX0" fmla="*/ 149458 w 149458"/>
                    <a:gd name="connsiteY0" fmla="*/ 2135 h 125720"/>
                    <a:gd name="connsiteX1" fmla="*/ 3768 w 149458"/>
                    <a:gd name="connsiteY1" fmla="*/ 125720 h 125720"/>
                    <a:gd name="connsiteX2" fmla="*/ 0 w 149458"/>
                    <a:gd name="connsiteY2" fmla="*/ 123585 h 125720"/>
                    <a:gd name="connsiteX3" fmla="*/ 145815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768" y="125720"/>
                      </a:lnTo>
                      <a:lnTo>
                        <a:pt x="0" y="123585"/>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1" name="Freeform: Shape 4310">
                  <a:extLst>
                    <a:ext uri="{FF2B5EF4-FFF2-40B4-BE49-F238E27FC236}">
                      <a16:creationId xmlns:a16="http://schemas.microsoft.com/office/drawing/2014/main" id="{238769F6-35E1-4F54-88AA-78A7BCA5BB26}"/>
                    </a:ext>
                  </a:extLst>
                </p:cNvPr>
                <p:cNvSpPr/>
                <p:nvPr/>
              </p:nvSpPr>
              <p:spPr>
                <a:xfrm>
                  <a:off x="6894781" y="3580808"/>
                  <a:ext cx="149457" cy="125594"/>
                </a:xfrm>
                <a:custGeom>
                  <a:avLst/>
                  <a:gdLst>
                    <a:gd name="connsiteX0" fmla="*/ 149457 w 149457"/>
                    <a:gd name="connsiteY0" fmla="*/ 2135 h 125594"/>
                    <a:gd name="connsiteX1" fmla="*/ 3768 w 149457"/>
                    <a:gd name="connsiteY1" fmla="*/ 125595 h 125594"/>
                    <a:gd name="connsiteX2" fmla="*/ 0 w 149457"/>
                    <a:gd name="connsiteY2" fmla="*/ 123460 h 125594"/>
                    <a:gd name="connsiteX3" fmla="*/ 145815 w 149457"/>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7" h="125594">
                      <a:moveTo>
                        <a:pt x="149457" y="2135"/>
                      </a:moveTo>
                      <a:lnTo>
                        <a:pt x="3768" y="125595"/>
                      </a:lnTo>
                      <a:lnTo>
                        <a:pt x="0" y="123460"/>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2" name="Freeform: Shape 4311">
                  <a:extLst>
                    <a:ext uri="{FF2B5EF4-FFF2-40B4-BE49-F238E27FC236}">
                      <a16:creationId xmlns:a16="http://schemas.microsoft.com/office/drawing/2014/main" id="{E85DD5FC-3DEF-492F-B9A7-8219E5C807AD}"/>
                    </a:ext>
                  </a:extLst>
                </p:cNvPr>
                <p:cNvSpPr/>
                <p:nvPr/>
              </p:nvSpPr>
              <p:spPr>
                <a:xfrm>
                  <a:off x="6881594" y="3573147"/>
                  <a:ext cx="149457" cy="125720"/>
                </a:xfrm>
                <a:custGeom>
                  <a:avLst/>
                  <a:gdLst>
                    <a:gd name="connsiteX0" fmla="*/ 149457 w 149457"/>
                    <a:gd name="connsiteY0" fmla="*/ 2135 h 125720"/>
                    <a:gd name="connsiteX1" fmla="*/ 3768 w 149457"/>
                    <a:gd name="connsiteY1" fmla="*/ 125721 h 125720"/>
                    <a:gd name="connsiteX2" fmla="*/ 0 w 149457"/>
                    <a:gd name="connsiteY2" fmla="*/ 123585 h 125720"/>
                    <a:gd name="connsiteX3" fmla="*/ 145815 w 149457"/>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7" h="125720">
                      <a:moveTo>
                        <a:pt x="149457" y="2135"/>
                      </a:moveTo>
                      <a:lnTo>
                        <a:pt x="3768" y="125721"/>
                      </a:lnTo>
                      <a:lnTo>
                        <a:pt x="0" y="123585"/>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3" name="Freeform: Shape 4312">
                  <a:extLst>
                    <a:ext uri="{FF2B5EF4-FFF2-40B4-BE49-F238E27FC236}">
                      <a16:creationId xmlns:a16="http://schemas.microsoft.com/office/drawing/2014/main" id="{BF58FAC7-61C7-4A35-A3EB-F0B98BAC5837}"/>
                    </a:ext>
                  </a:extLst>
                </p:cNvPr>
                <p:cNvSpPr/>
                <p:nvPr/>
              </p:nvSpPr>
              <p:spPr>
                <a:xfrm>
                  <a:off x="6868406" y="3565486"/>
                  <a:ext cx="149458" cy="125720"/>
                </a:xfrm>
                <a:custGeom>
                  <a:avLst/>
                  <a:gdLst>
                    <a:gd name="connsiteX0" fmla="*/ 149458 w 149458"/>
                    <a:gd name="connsiteY0" fmla="*/ 2135 h 125720"/>
                    <a:gd name="connsiteX1" fmla="*/ 3643 w 149458"/>
                    <a:gd name="connsiteY1" fmla="*/ 125721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3"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4" name="Freeform: Shape 4313">
                  <a:extLst>
                    <a:ext uri="{FF2B5EF4-FFF2-40B4-BE49-F238E27FC236}">
                      <a16:creationId xmlns:a16="http://schemas.microsoft.com/office/drawing/2014/main" id="{9716983C-9C73-4AEB-8F2C-0CCAE05F0452}"/>
                    </a:ext>
                  </a:extLst>
                </p:cNvPr>
                <p:cNvSpPr/>
                <p:nvPr/>
              </p:nvSpPr>
              <p:spPr>
                <a:xfrm>
                  <a:off x="6855219" y="3557824"/>
                  <a:ext cx="149458" cy="125720"/>
                </a:xfrm>
                <a:custGeom>
                  <a:avLst/>
                  <a:gdLst>
                    <a:gd name="connsiteX0" fmla="*/ 149458 w 149458"/>
                    <a:gd name="connsiteY0" fmla="*/ 2135 h 125720"/>
                    <a:gd name="connsiteX1" fmla="*/ 3643 w 149458"/>
                    <a:gd name="connsiteY1" fmla="*/ 125721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3"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5" name="Freeform: Shape 4314">
                  <a:extLst>
                    <a:ext uri="{FF2B5EF4-FFF2-40B4-BE49-F238E27FC236}">
                      <a16:creationId xmlns:a16="http://schemas.microsoft.com/office/drawing/2014/main" id="{0B9CCEF3-4583-4770-9909-D0D18B68588E}"/>
                    </a:ext>
                  </a:extLst>
                </p:cNvPr>
                <p:cNvSpPr/>
                <p:nvPr/>
              </p:nvSpPr>
              <p:spPr>
                <a:xfrm>
                  <a:off x="6842031" y="3550289"/>
                  <a:ext cx="149458" cy="125720"/>
                </a:xfrm>
                <a:custGeom>
                  <a:avLst/>
                  <a:gdLst>
                    <a:gd name="connsiteX0" fmla="*/ 149458 w 149458"/>
                    <a:gd name="connsiteY0" fmla="*/ 2135 h 125720"/>
                    <a:gd name="connsiteX1" fmla="*/ 3642 w 149458"/>
                    <a:gd name="connsiteY1" fmla="*/ 125720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2"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316" name="Graphic 4">
                <a:extLst>
                  <a:ext uri="{FF2B5EF4-FFF2-40B4-BE49-F238E27FC236}">
                    <a16:creationId xmlns:a16="http://schemas.microsoft.com/office/drawing/2014/main" id="{84FB7ED1-A2DF-40A1-A747-5F7CF3F14040}"/>
                  </a:ext>
                </a:extLst>
              </p:cNvPr>
              <p:cNvGrpSpPr/>
              <p:nvPr/>
            </p:nvGrpSpPr>
            <p:grpSpPr>
              <a:xfrm>
                <a:off x="6697095" y="3466517"/>
                <a:ext cx="281331" cy="201830"/>
                <a:chOff x="6697095" y="3466517"/>
                <a:chExt cx="281331" cy="201830"/>
              </a:xfrm>
              <a:solidFill>
                <a:srgbClr val="774B36"/>
              </a:solidFill>
            </p:grpSpPr>
            <p:sp>
              <p:nvSpPr>
                <p:cNvPr id="4317" name="Freeform: Shape 4316">
                  <a:extLst>
                    <a:ext uri="{FF2B5EF4-FFF2-40B4-BE49-F238E27FC236}">
                      <a16:creationId xmlns:a16="http://schemas.microsoft.com/office/drawing/2014/main" id="{4335D980-8FD4-4B12-83DE-5A1DBA217692}"/>
                    </a:ext>
                  </a:extLst>
                </p:cNvPr>
                <p:cNvSpPr/>
                <p:nvPr/>
              </p:nvSpPr>
              <p:spPr>
                <a:xfrm>
                  <a:off x="6828970" y="3542628"/>
                  <a:ext cx="149457" cy="125720"/>
                </a:xfrm>
                <a:custGeom>
                  <a:avLst/>
                  <a:gdLst>
                    <a:gd name="connsiteX0" fmla="*/ 149457 w 149457"/>
                    <a:gd name="connsiteY0" fmla="*/ 2135 h 125720"/>
                    <a:gd name="connsiteX1" fmla="*/ 3642 w 149457"/>
                    <a:gd name="connsiteY1" fmla="*/ 125720 h 125720"/>
                    <a:gd name="connsiteX2" fmla="*/ 0 w 149457"/>
                    <a:gd name="connsiteY2" fmla="*/ 123585 h 125720"/>
                    <a:gd name="connsiteX3" fmla="*/ 145690 w 149457"/>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7" h="125720">
                      <a:moveTo>
                        <a:pt x="149457" y="2135"/>
                      </a:moveTo>
                      <a:lnTo>
                        <a:pt x="3642"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8" name="Freeform: Shape 4317">
                  <a:extLst>
                    <a:ext uri="{FF2B5EF4-FFF2-40B4-BE49-F238E27FC236}">
                      <a16:creationId xmlns:a16="http://schemas.microsoft.com/office/drawing/2014/main" id="{5009FD20-2A2C-4FD4-B0E5-3E2F4D7851DD}"/>
                    </a:ext>
                  </a:extLst>
                </p:cNvPr>
                <p:cNvSpPr/>
                <p:nvPr/>
              </p:nvSpPr>
              <p:spPr>
                <a:xfrm>
                  <a:off x="6815782" y="3535092"/>
                  <a:ext cx="149458" cy="125594"/>
                </a:xfrm>
                <a:custGeom>
                  <a:avLst/>
                  <a:gdLst>
                    <a:gd name="connsiteX0" fmla="*/ 149458 w 149458"/>
                    <a:gd name="connsiteY0" fmla="*/ 2135 h 125594"/>
                    <a:gd name="connsiteX1" fmla="*/ 3643 w 149458"/>
                    <a:gd name="connsiteY1" fmla="*/ 125595 h 125594"/>
                    <a:gd name="connsiteX2" fmla="*/ 0 w 149458"/>
                    <a:gd name="connsiteY2" fmla="*/ 123460 h 125594"/>
                    <a:gd name="connsiteX3" fmla="*/ 145690 w 149458"/>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8" h="125594">
                      <a:moveTo>
                        <a:pt x="149458" y="2135"/>
                      </a:moveTo>
                      <a:lnTo>
                        <a:pt x="3643"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9" name="Freeform: Shape 4318">
                  <a:extLst>
                    <a:ext uri="{FF2B5EF4-FFF2-40B4-BE49-F238E27FC236}">
                      <a16:creationId xmlns:a16="http://schemas.microsoft.com/office/drawing/2014/main" id="{C9A5A75D-59D2-464C-AFF9-D9DF499C1850}"/>
                    </a:ext>
                  </a:extLst>
                </p:cNvPr>
                <p:cNvSpPr/>
                <p:nvPr/>
              </p:nvSpPr>
              <p:spPr>
                <a:xfrm>
                  <a:off x="6802594" y="3527430"/>
                  <a:ext cx="149458" cy="125720"/>
                </a:xfrm>
                <a:custGeom>
                  <a:avLst/>
                  <a:gdLst>
                    <a:gd name="connsiteX0" fmla="*/ 149458 w 149458"/>
                    <a:gd name="connsiteY0" fmla="*/ 2135 h 125720"/>
                    <a:gd name="connsiteX1" fmla="*/ 3643 w 149458"/>
                    <a:gd name="connsiteY1" fmla="*/ 125721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3"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0" name="Freeform: Shape 4319">
                  <a:extLst>
                    <a:ext uri="{FF2B5EF4-FFF2-40B4-BE49-F238E27FC236}">
                      <a16:creationId xmlns:a16="http://schemas.microsoft.com/office/drawing/2014/main" id="{5691B2DC-BC68-49C3-B1E4-7DCA92B30ADC}"/>
                    </a:ext>
                  </a:extLst>
                </p:cNvPr>
                <p:cNvSpPr/>
                <p:nvPr/>
              </p:nvSpPr>
              <p:spPr>
                <a:xfrm>
                  <a:off x="6789407" y="3519769"/>
                  <a:ext cx="149458" cy="125720"/>
                </a:xfrm>
                <a:custGeom>
                  <a:avLst/>
                  <a:gdLst>
                    <a:gd name="connsiteX0" fmla="*/ 149458 w 149458"/>
                    <a:gd name="connsiteY0" fmla="*/ 2135 h 125720"/>
                    <a:gd name="connsiteX1" fmla="*/ 3642 w 149458"/>
                    <a:gd name="connsiteY1" fmla="*/ 125721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2"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1" name="Freeform: Shape 4320">
                  <a:extLst>
                    <a:ext uri="{FF2B5EF4-FFF2-40B4-BE49-F238E27FC236}">
                      <a16:creationId xmlns:a16="http://schemas.microsoft.com/office/drawing/2014/main" id="{32184C48-8B39-44E8-94CB-3A8576CC7C24}"/>
                    </a:ext>
                  </a:extLst>
                </p:cNvPr>
                <p:cNvSpPr/>
                <p:nvPr/>
              </p:nvSpPr>
              <p:spPr>
                <a:xfrm>
                  <a:off x="6776220" y="3512234"/>
                  <a:ext cx="149457" cy="125594"/>
                </a:xfrm>
                <a:custGeom>
                  <a:avLst/>
                  <a:gdLst>
                    <a:gd name="connsiteX0" fmla="*/ 149457 w 149457"/>
                    <a:gd name="connsiteY0" fmla="*/ 2135 h 125594"/>
                    <a:gd name="connsiteX1" fmla="*/ 3642 w 149457"/>
                    <a:gd name="connsiteY1" fmla="*/ 125595 h 125594"/>
                    <a:gd name="connsiteX2" fmla="*/ 0 w 149457"/>
                    <a:gd name="connsiteY2" fmla="*/ 123460 h 125594"/>
                    <a:gd name="connsiteX3" fmla="*/ 145690 w 149457"/>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7" h="125594">
                      <a:moveTo>
                        <a:pt x="149457"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2" name="Freeform: Shape 4321">
                  <a:extLst>
                    <a:ext uri="{FF2B5EF4-FFF2-40B4-BE49-F238E27FC236}">
                      <a16:creationId xmlns:a16="http://schemas.microsoft.com/office/drawing/2014/main" id="{5CE0EF47-5303-44F4-BDFB-BC7D80CCAB1F}"/>
                    </a:ext>
                  </a:extLst>
                </p:cNvPr>
                <p:cNvSpPr/>
                <p:nvPr/>
              </p:nvSpPr>
              <p:spPr>
                <a:xfrm>
                  <a:off x="6763032" y="3504572"/>
                  <a:ext cx="149457" cy="125720"/>
                </a:xfrm>
                <a:custGeom>
                  <a:avLst/>
                  <a:gdLst>
                    <a:gd name="connsiteX0" fmla="*/ 149457 w 149457"/>
                    <a:gd name="connsiteY0" fmla="*/ 2135 h 125720"/>
                    <a:gd name="connsiteX1" fmla="*/ 3642 w 149457"/>
                    <a:gd name="connsiteY1" fmla="*/ 125720 h 125720"/>
                    <a:gd name="connsiteX2" fmla="*/ 0 w 149457"/>
                    <a:gd name="connsiteY2" fmla="*/ 123585 h 125720"/>
                    <a:gd name="connsiteX3" fmla="*/ 145690 w 149457"/>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7" h="125720">
                      <a:moveTo>
                        <a:pt x="149457" y="2135"/>
                      </a:moveTo>
                      <a:lnTo>
                        <a:pt x="3642"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3" name="Freeform: Shape 4322">
                  <a:extLst>
                    <a:ext uri="{FF2B5EF4-FFF2-40B4-BE49-F238E27FC236}">
                      <a16:creationId xmlns:a16="http://schemas.microsoft.com/office/drawing/2014/main" id="{72149904-7DDB-44E0-9005-9F7E23C1AD61}"/>
                    </a:ext>
                  </a:extLst>
                </p:cNvPr>
                <p:cNvSpPr/>
                <p:nvPr/>
              </p:nvSpPr>
              <p:spPr>
                <a:xfrm>
                  <a:off x="6749844" y="3496911"/>
                  <a:ext cx="149332" cy="125720"/>
                </a:xfrm>
                <a:custGeom>
                  <a:avLst/>
                  <a:gdLst>
                    <a:gd name="connsiteX0" fmla="*/ 149332 w 149332"/>
                    <a:gd name="connsiteY0" fmla="*/ 2135 h 125720"/>
                    <a:gd name="connsiteX1" fmla="*/ 3643 w 149332"/>
                    <a:gd name="connsiteY1" fmla="*/ 125720 h 125720"/>
                    <a:gd name="connsiteX2" fmla="*/ 0 w 149332"/>
                    <a:gd name="connsiteY2" fmla="*/ 123585 h 125720"/>
                    <a:gd name="connsiteX3" fmla="*/ 145690 w 149332"/>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2" h="125720">
                      <a:moveTo>
                        <a:pt x="149332" y="2135"/>
                      </a:moveTo>
                      <a:lnTo>
                        <a:pt x="3643"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4" name="Freeform: Shape 4323">
                  <a:extLst>
                    <a:ext uri="{FF2B5EF4-FFF2-40B4-BE49-F238E27FC236}">
                      <a16:creationId xmlns:a16="http://schemas.microsoft.com/office/drawing/2014/main" id="{7B36FD1B-24EC-42B1-8E8C-215803067A0B}"/>
                    </a:ext>
                  </a:extLst>
                </p:cNvPr>
                <p:cNvSpPr/>
                <p:nvPr/>
              </p:nvSpPr>
              <p:spPr>
                <a:xfrm>
                  <a:off x="6736657" y="3489375"/>
                  <a:ext cx="149332" cy="125594"/>
                </a:xfrm>
                <a:custGeom>
                  <a:avLst/>
                  <a:gdLst>
                    <a:gd name="connsiteX0" fmla="*/ 149332 w 149332"/>
                    <a:gd name="connsiteY0" fmla="*/ 2135 h 125594"/>
                    <a:gd name="connsiteX1" fmla="*/ 3643 w 149332"/>
                    <a:gd name="connsiteY1" fmla="*/ 125595 h 125594"/>
                    <a:gd name="connsiteX2" fmla="*/ 0 w 149332"/>
                    <a:gd name="connsiteY2" fmla="*/ 123460 h 125594"/>
                    <a:gd name="connsiteX3" fmla="*/ 145690 w 149332"/>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2" h="125594">
                      <a:moveTo>
                        <a:pt x="149332" y="2135"/>
                      </a:moveTo>
                      <a:lnTo>
                        <a:pt x="3643"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5" name="Freeform: Shape 4324">
                  <a:extLst>
                    <a:ext uri="{FF2B5EF4-FFF2-40B4-BE49-F238E27FC236}">
                      <a16:creationId xmlns:a16="http://schemas.microsoft.com/office/drawing/2014/main" id="{CA69E6C8-3E6C-43B4-B11D-241B858BBB62}"/>
                    </a:ext>
                  </a:extLst>
                </p:cNvPr>
                <p:cNvSpPr/>
                <p:nvPr/>
              </p:nvSpPr>
              <p:spPr>
                <a:xfrm>
                  <a:off x="6723470" y="3481714"/>
                  <a:ext cx="149332" cy="125720"/>
                </a:xfrm>
                <a:custGeom>
                  <a:avLst/>
                  <a:gdLst>
                    <a:gd name="connsiteX0" fmla="*/ 149332 w 149332"/>
                    <a:gd name="connsiteY0" fmla="*/ 2135 h 125720"/>
                    <a:gd name="connsiteX1" fmla="*/ 3642 w 149332"/>
                    <a:gd name="connsiteY1" fmla="*/ 125721 h 125720"/>
                    <a:gd name="connsiteX2" fmla="*/ 0 w 149332"/>
                    <a:gd name="connsiteY2" fmla="*/ 123585 h 125720"/>
                    <a:gd name="connsiteX3" fmla="*/ 145690 w 149332"/>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2" h="125720">
                      <a:moveTo>
                        <a:pt x="149332" y="2135"/>
                      </a:moveTo>
                      <a:lnTo>
                        <a:pt x="3642"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6" name="Freeform: Shape 4325">
                  <a:extLst>
                    <a:ext uri="{FF2B5EF4-FFF2-40B4-BE49-F238E27FC236}">
                      <a16:creationId xmlns:a16="http://schemas.microsoft.com/office/drawing/2014/main" id="{7BC4B240-AA22-400B-AC21-B59080821AD0}"/>
                    </a:ext>
                  </a:extLst>
                </p:cNvPr>
                <p:cNvSpPr/>
                <p:nvPr/>
              </p:nvSpPr>
              <p:spPr>
                <a:xfrm>
                  <a:off x="6710282" y="3474053"/>
                  <a:ext cx="149332" cy="125720"/>
                </a:xfrm>
                <a:custGeom>
                  <a:avLst/>
                  <a:gdLst>
                    <a:gd name="connsiteX0" fmla="*/ 149332 w 149332"/>
                    <a:gd name="connsiteY0" fmla="*/ 2135 h 125720"/>
                    <a:gd name="connsiteX1" fmla="*/ 3642 w 149332"/>
                    <a:gd name="connsiteY1" fmla="*/ 125721 h 125720"/>
                    <a:gd name="connsiteX2" fmla="*/ 0 w 149332"/>
                    <a:gd name="connsiteY2" fmla="*/ 123585 h 125720"/>
                    <a:gd name="connsiteX3" fmla="*/ 145690 w 149332"/>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2" h="125720">
                      <a:moveTo>
                        <a:pt x="149332" y="2135"/>
                      </a:moveTo>
                      <a:lnTo>
                        <a:pt x="3642"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7" name="Freeform: Shape 4326">
                  <a:extLst>
                    <a:ext uri="{FF2B5EF4-FFF2-40B4-BE49-F238E27FC236}">
                      <a16:creationId xmlns:a16="http://schemas.microsoft.com/office/drawing/2014/main" id="{961C56E4-C6D0-434B-8CC0-327E3C9F8273}"/>
                    </a:ext>
                  </a:extLst>
                </p:cNvPr>
                <p:cNvSpPr/>
                <p:nvPr/>
              </p:nvSpPr>
              <p:spPr>
                <a:xfrm>
                  <a:off x="6697095" y="3466517"/>
                  <a:ext cx="149331" cy="125594"/>
                </a:xfrm>
                <a:custGeom>
                  <a:avLst/>
                  <a:gdLst>
                    <a:gd name="connsiteX0" fmla="*/ 149332 w 149331"/>
                    <a:gd name="connsiteY0" fmla="*/ 2135 h 125594"/>
                    <a:gd name="connsiteX1" fmla="*/ 3642 w 149331"/>
                    <a:gd name="connsiteY1" fmla="*/ 125595 h 125594"/>
                    <a:gd name="connsiteX2" fmla="*/ 0 w 149331"/>
                    <a:gd name="connsiteY2" fmla="*/ 123460 h 125594"/>
                    <a:gd name="connsiteX3" fmla="*/ 145690 w 149331"/>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1" h="125594">
                      <a:moveTo>
                        <a:pt x="149332"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328" name="Freeform: Shape 4327">
              <a:extLst>
                <a:ext uri="{FF2B5EF4-FFF2-40B4-BE49-F238E27FC236}">
                  <a16:creationId xmlns:a16="http://schemas.microsoft.com/office/drawing/2014/main" id="{F095E4EA-EAA2-4608-ADB1-6BC5C0A488F0}"/>
                </a:ext>
              </a:extLst>
            </p:cNvPr>
            <p:cNvSpPr/>
            <p:nvPr/>
          </p:nvSpPr>
          <p:spPr>
            <a:xfrm>
              <a:off x="7111181" y="3678521"/>
              <a:ext cx="261237" cy="316247"/>
            </a:xfrm>
            <a:custGeom>
              <a:avLst/>
              <a:gdLst>
                <a:gd name="connsiteX0" fmla="*/ 141420 w 261237"/>
                <a:gd name="connsiteY0" fmla="*/ 25119 h 316247"/>
                <a:gd name="connsiteX1" fmla="*/ 261237 w 261237"/>
                <a:gd name="connsiteY1" fmla="*/ 0 h 316247"/>
                <a:gd name="connsiteX2" fmla="*/ 259604 w 261237"/>
                <a:gd name="connsiteY2" fmla="*/ 165785 h 316247"/>
                <a:gd name="connsiteX3" fmla="*/ 239384 w 261237"/>
                <a:gd name="connsiteY3" fmla="*/ 177466 h 316247"/>
                <a:gd name="connsiteX4" fmla="*/ 203715 w 261237"/>
                <a:gd name="connsiteY4" fmla="*/ 198189 h 316247"/>
                <a:gd name="connsiteX5" fmla="*/ 199570 w 261237"/>
                <a:gd name="connsiteY5" fmla="*/ 195802 h 316247"/>
                <a:gd name="connsiteX6" fmla="*/ 199570 w 261237"/>
                <a:gd name="connsiteY6" fmla="*/ 147323 h 316247"/>
                <a:gd name="connsiteX7" fmla="*/ 128860 w 261237"/>
                <a:gd name="connsiteY7" fmla="*/ 116301 h 316247"/>
                <a:gd name="connsiteX8" fmla="*/ 95955 w 261237"/>
                <a:gd name="connsiteY8" fmla="*/ 135266 h 316247"/>
                <a:gd name="connsiteX9" fmla="*/ 95955 w 261237"/>
                <a:gd name="connsiteY9" fmla="*/ 260735 h 316247"/>
                <a:gd name="connsiteX10" fmla="*/ 0 w 261237"/>
                <a:gd name="connsiteY10" fmla="*/ 316248 h 316247"/>
                <a:gd name="connsiteX11" fmla="*/ 0 w 261237"/>
                <a:gd name="connsiteY11" fmla="*/ 149458 h 316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1237" h="316247">
                  <a:moveTo>
                    <a:pt x="141420" y="25119"/>
                  </a:moveTo>
                  <a:lnTo>
                    <a:pt x="261237" y="0"/>
                  </a:lnTo>
                  <a:lnTo>
                    <a:pt x="259604" y="165785"/>
                  </a:lnTo>
                  <a:lnTo>
                    <a:pt x="239384" y="177466"/>
                  </a:lnTo>
                  <a:lnTo>
                    <a:pt x="203715" y="198189"/>
                  </a:lnTo>
                  <a:lnTo>
                    <a:pt x="199570" y="195802"/>
                  </a:lnTo>
                  <a:lnTo>
                    <a:pt x="199570" y="147323"/>
                  </a:lnTo>
                  <a:lnTo>
                    <a:pt x="128860" y="116301"/>
                  </a:lnTo>
                  <a:lnTo>
                    <a:pt x="95955" y="135266"/>
                  </a:lnTo>
                  <a:lnTo>
                    <a:pt x="95955" y="260735"/>
                  </a:lnTo>
                  <a:lnTo>
                    <a:pt x="0" y="316248"/>
                  </a:lnTo>
                  <a:lnTo>
                    <a:pt x="0" y="149458"/>
                  </a:lnTo>
                  <a:close/>
                </a:path>
              </a:pathLst>
            </a:custGeom>
            <a:solidFill>
              <a:srgbClr val="30507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9" name="Freeform: Shape 4328">
              <a:extLst>
                <a:ext uri="{FF2B5EF4-FFF2-40B4-BE49-F238E27FC236}">
                  <a16:creationId xmlns:a16="http://schemas.microsoft.com/office/drawing/2014/main" id="{1F4A45F0-B0E9-4E3D-93C7-4BE02E9FE50A}"/>
                </a:ext>
              </a:extLst>
            </p:cNvPr>
            <p:cNvSpPr/>
            <p:nvPr/>
          </p:nvSpPr>
          <p:spPr>
            <a:xfrm>
              <a:off x="7207136" y="3753501"/>
              <a:ext cx="104494" cy="99094"/>
            </a:xfrm>
            <a:custGeom>
              <a:avLst/>
              <a:gdLst>
                <a:gd name="connsiteX0" fmla="*/ 103616 w 104494"/>
                <a:gd name="connsiteY0" fmla="*/ 39186 h 99094"/>
                <a:gd name="connsiteX1" fmla="*/ 0 w 104494"/>
                <a:gd name="connsiteY1" fmla="*/ 99094 h 99094"/>
                <a:gd name="connsiteX2" fmla="*/ 0 w 104494"/>
                <a:gd name="connsiteY2" fmla="*/ 60286 h 99094"/>
                <a:gd name="connsiteX3" fmla="*/ 104495 w 104494"/>
                <a:gd name="connsiteY3" fmla="*/ 0 h 99094"/>
              </a:gdLst>
              <a:ahLst/>
              <a:cxnLst>
                <a:cxn ang="0">
                  <a:pos x="connsiteX0" y="connsiteY0"/>
                </a:cxn>
                <a:cxn ang="0">
                  <a:pos x="connsiteX1" y="connsiteY1"/>
                </a:cxn>
                <a:cxn ang="0">
                  <a:pos x="connsiteX2" y="connsiteY2"/>
                </a:cxn>
                <a:cxn ang="0">
                  <a:pos x="connsiteX3" y="connsiteY3"/>
                </a:cxn>
              </a:cxnLst>
              <a:rect l="l" t="t" r="r" b="b"/>
              <a:pathLst>
                <a:path w="104494" h="99094">
                  <a:moveTo>
                    <a:pt x="103616" y="39186"/>
                  </a:moveTo>
                  <a:lnTo>
                    <a:pt x="0" y="99094"/>
                  </a:lnTo>
                  <a:lnTo>
                    <a:pt x="0" y="60286"/>
                  </a:lnTo>
                  <a:lnTo>
                    <a:pt x="104495" y="0"/>
                  </a:lnTo>
                  <a:close/>
                </a:path>
              </a:pathLst>
            </a:custGeom>
            <a:solidFill>
              <a:srgbClr val="D3D3D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0" name="Freeform: Shape 4329">
              <a:extLst>
                <a:ext uri="{FF2B5EF4-FFF2-40B4-BE49-F238E27FC236}">
                  <a16:creationId xmlns:a16="http://schemas.microsoft.com/office/drawing/2014/main" id="{727BCC4E-FB17-420B-8BB4-3ABF868FEE5C}"/>
                </a:ext>
              </a:extLst>
            </p:cNvPr>
            <p:cNvSpPr/>
            <p:nvPr/>
          </p:nvSpPr>
          <p:spPr>
            <a:xfrm>
              <a:off x="7310751" y="3751617"/>
              <a:ext cx="3893" cy="124966"/>
            </a:xfrm>
            <a:custGeom>
              <a:avLst/>
              <a:gdLst>
                <a:gd name="connsiteX0" fmla="*/ 3893 w 3893"/>
                <a:gd name="connsiteY0" fmla="*/ 0 h 124966"/>
                <a:gd name="connsiteX1" fmla="*/ 3893 w 3893"/>
                <a:gd name="connsiteY1" fmla="*/ 124967 h 124966"/>
                <a:gd name="connsiteX2" fmla="*/ 0 w 3893"/>
                <a:gd name="connsiteY2" fmla="*/ 122706 h 124966"/>
                <a:gd name="connsiteX3" fmla="*/ 0 w 3893"/>
                <a:gd name="connsiteY3" fmla="*/ 2261 h 124966"/>
              </a:gdLst>
              <a:ahLst/>
              <a:cxnLst>
                <a:cxn ang="0">
                  <a:pos x="connsiteX0" y="connsiteY0"/>
                </a:cxn>
                <a:cxn ang="0">
                  <a:pos x="connsiteX1" y="connsiteY1"/>
                </a:cxn>
                <a:cxn ang="0">
                  <a:pos x="connsiteX2" y="connsiteY2"/>
                </a:cxn>
                <a:cxn ang="0">
                  <a:pos x="connsiteX3" y="connsiteY3"/>
                </a:cxn>
              </a:cxnLst>
              <a:rect l="l" t="t" r="r" b="b"/>
              <a:pathLst>
                <a:path w="3893" h="124966">
                  <a:moveTo>
                    <a:pt x="3893" y="0"/>
                  </a:moveTo>
                  <a:lnTo>
                    <a:pt x="3893" y="124967"/>
                  </a:lnTo>
                  <a:lnTo>
                    <a:pt x="0" y="122706"/>
                  </a:lnTo>
                  <a:lnTo>
                    <a:pt x="0" y="2261"/>
                  </a:lnTo>
                  <a:close/>
                </a:path>
              </a:pathLst>
            </a:custGeom>
            <a:solidFill>
              <a:srgbClr val="3577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1" name="Freeform: Shape 4330">
              <a:extLst>
                <a:ext uri="{FF2B5EF4-FFF2-40B4-BE49-F238E27FC236}">
                  <a16:creationId xmlns:a16="http://schemas.microsoft.com/office/drawing/2014/main" id="{DBBD858B-0AF4-4F34-B590-57C1F30630D1}"/>
                </a:ext>
              </a:extLst>
            </p:cNvPr>
            <p:cNvSpPr/>
            <p:nvPr/>
          </p:nvSpPr>
          <p:spPr>
            <a:xfrm>
              <a:off x="7207136" y="3789044"/>
              <a:ext cx="103615" cy="63550"/>
            </a:xfrm>
            <a:custGeom>
              <a:avLst/>
              <a:gdLst>
                <a:gd name="connsiteX0" fmla="*/ 103616 w 103615"/>
                <a:gd name="connsiteY0" fmla="*/ 0 h 63550"/>
                <a:gd name="connsiteX1" fmla="*/ 103616 w 103615"/>
                <a:gd name="connsiteY1" fmla="*/ 3642 h 63550"/>
                <a:gd name="connsiteX2" fmla="*/ 0 w 103615"/>
                <a:gd name="connsiteY2" fmla="*/ 63551 h 63550"/>
                <a:gd name="connsiteX3" fmla="*/ 0 w 103615"/>
                <a:gd name="connsiteY3" fmla="*/ 59909 h 63550"/>
              </a:gdLst>
              <a:ahLst/>
              <a:cxnLst>
                <a:cxn ang="0">
                  <a:pos x="connsiteX0" y="connsiteY0"/>
                </a:cxn>
                <a:cxn ang="0">
                  <a:pos x="connsiteX1" y="connsiteY1"/>
                </a:cxn>
                <a:cxn ang="0">
                  <a:pos x="connsiteX2" y="connsiteY2"/>
                </a:cxn>
                <a:cxn ang="0">
                  <a:pos x="connsiteX3" y="connsiteY3"/>
                </a:cxn>
              </a:cxnLst>
              <a:rect l="l" t="t" r="r" b="b"/>
              <a:pathLst>
                <a:path w="103615" h="63550">
                  <a:moveTo>
                    <a:pt x="103616" y="0"/>
                  </a:moveTo>
                  <a:lnTo>
                    <a:pt x="103616" y="3642"/>
                  </a:lnTo>
                  <a:lnTo>
                    <a:pt x="0" y="63551"/>
                  </a:lnTo>
                  <a:lnTo>
                    <a:pt x="0" y="59909"/>
                  </a:lnTo>
                  <a:close/>
                </a:path>
              </a:pathLst>
            </a:custGeom>
            <a:solidFill>
              <a:srgbClr val="AA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2" name="Freeform: Shape 4331">
              <a:extLst>
                <a:ext uri="{FF2B5EF4-FFF2-40B4-BE49-F238E27FC236}">
                  <a16:creationId xmlns:a16="http://schemas.microsoft.com/office/drawing/2014/main" id="{8FD05E85-F683-47FE-99E9-D6BAC99581B9}"/>
                </a:ext>
              </a:extLst>
            </p:cNvPr>
            <p:cNvSpPr/>
            <p:nvPr/>
          </p:nvSpPr>
          <p:spPr>
            <a:xfrm>
              <a:off x="7310751" y="3812531"/>
              <a:ext cx="12559" cy="3642"/>
            </a:xfrm>
            <a:custGeom>
              <a:avLst/>
              <a:gdLst>
                <a:gd name="connsiteX0" fmla="*/ 0 w 12559"/>
                <a:gd name="connsiteY0" fmla="*/ 0 h 3642"/>
                <a:gd name="connsiteX1" fmla="*/ 0 w 12559"/>
                <a:gd name="connsiteY1" fmla="*/ 3642 h 3642"/>
              </a:gdLst>
              <a:ahLst/>
              <a:cxnLst>
                <a:cxn ang="0">
                  <a:pos x="connsiteX0" y="connsiteY0"/>
                </a:cxn>
                <a:cxn ang="0">
                  <a:pos x="connsiteX1" y="connsiteY1"/>
                </a:cxn>
              </a:cxnLst>
              <a:rect l="l" t="t" r="r" b="b"/>
              <a:pathLst>
                <a:path w="12559" h="3642">
                  <a:moveTo>
                    <a:pt x="0" y="0"/>
                  </a:moveTo>
                  <a:lnTo>
                    <a:pt x="0" y="3642"/>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3" name="Freeform: Shape 4332">
              <a:extLst>
                <a:ext uri="{FF2B5EF4-FFF2-40B4-BE49-F238E27FC236}">
                  <a16:creationId xmlns:a16="http://schemas.microsoft.com/office/drawing/2014/main" id="{C99D6FB5-D9CD-4AF8-A24D-2259C6D57A1C}"/>
                </a:ext>
              </a:extLst>
            </p:cNvPr>
            <p:cNvSpPr/>
            <p:nvPr/>
          </p:nvSpPr>
          <p:spPr>
            <a:xfrm>
              <a:off x="7207136" y="3765558"/>
              <a:ext cx="103615" cy="63550"/>
            </a:xfrm>
            <a:custGeom>
              <a:avLst/>
              <a:gdLst>
                <a:gd name="connsiteX0" fmla="*/ 103616 w 103615"/>
                <a:gd name="connsiteY0" fmla="*/ 0 h 63550"/>
                <a:gd name="connsiteX1" fmla="*/ 103616 w 103615"/>
                <a:gd name="connsiteY1" fmla="*/ 3642 h 63550"/>
                <a:gd name="connsiteX2" fmla="*/ 0 w 103615"/>
                <a:gd name="connsiteY2" fmla="*/ 63551 h 63550"/>
                <a:gd name="connsiteX3" fmla="*/ 0 w 103615"/>
                <a:gd name="connsiteY3" fmla="*/ 59909 h 63550"/>
              </a:gdLst>
              <a:ahLst/>
              <a:cxnLst>
                <a:cxn ang="0">
                  <a:pos x="connsiteX0" y="connsiteY0"/>
                </a:cxn>
                <a:cxn ang="0">
                  <a:pos x="connsiteX1" y="connsiteY1"/>
                </a:cxn>
                <a:cxn ang="0">
                  <a:pos x="connsiteX2" y="connsiteY2"/>
                </a:cxn>
                <a:cxn ang="0">
                  <a:pos x="connsiteX3" y="connsiteY3"/>
                </a:cxn>
              </a:cxnLst>
              <a:rect l="l" t="t" r="r" b="b"/>
              <a:pathLst>
                <a:path w="103615" h="63550">
                  <a:moveTo>
                    <a:pt x="103616" y="0"/>
                  </a:moveTo>
                  <a:lnTo>
                    <a:pt x="103616" y="3642"/>
                  </a:lnTo>
                  <a:lnTo>
                    <a:pt x="0" y="63551"/>
                  </a:lnTo>
                  <a:lnTo>
                    <a:pt x="0" y="59909"/>
                  </a:lnTo>
                  <a:close/>
                </a:path>
              </a:pathLst>
            </a:custGeom>
            <a:solidFill>
              <a:srgbClr val="AA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4" name="Freeform: Shape 4333">
              <a:extLst>
                <a:ext uri="{FF2B5EF4-FFF2-40B4-BE49-F238E27FC236}">
                  <a16:creationId xmlns:a16="http://schemas.microsoft.com/office/drawing/2014/main" id="{955682EA-C736-4FE6-9C1E-F772E1A8F8A8}"/>
                </a:ext>
              </a:extLst>
            </p:cNvPr>
            <p:cNvSpPr/>
            <p:nvPr/>
          </p:nvSpPr>
          <p:spPr>
            <a:xfrm>
              <a:off x="7207136" y="3777364"/>
              <a:ext cx="103615" cy="63425"/>
            </a:xfrm>
            <a:custGeom>
              <a:avLst/>
              <a:gdLst>
                <a:gd name="connsiteX0" fmla="*/ 103616 w 103615"/>
                <a:gd name="connsiteY0" fmla="*/ 0 h 63425"/>
                <a:gd name="connsiteX1" fmla="*/ 103616 w 103615"/>
                <a:gd name="connsiteY1" fmla="*/ 3517 h 63425"/>
                <a:gd name="connsiteX2" fmla="*/ 0 w 103615"/>
                <a:gd name="connsiteY2" fmla="*/ 63425 h 63425"/>
                <a:gd name="connsiteX3" fmla="*/ 0 w 103615"/>
                <a:gd name="connsiteY3" fmla="*/ 59783 h 63425"/>
              </a:gdLst>
              <a:ahLst/>
              <a:cxnLst>
                <a:cxn ang="0">
                  <a:pos x="connsiteX0" y="connsiteY0"/>
                </a:cxn>
                <a:cxn ang="0">
                  <a:pos x="connsiteX1" y="connsiteY1"/>
                </a:cxn>
                <a:cxn ang="0">
                  <a:pos x="connsiteX2" y="connsiteY2"/>
                </a:cxn>
                <a:cxn ang="0">
                  <a:pos x="connsiteX3" y="connsiteY3"/>
                </a:cxn>
              </a:cxnLst>
              <a:rect l="l" t="t" r="r" b="b"/>
              <a:pathLst>
                <a:path w="103615" h="63425">
                  <a:moveTo>
                    <a:pt x="103616" y="0"/>
                  </a:moveTo>
                  <a:lnTo>
                    <a:pt x="103616" y="3517"/>
                  </a:lnTo>
                  <a:lnTo>
                    <a:pt x="0" y="63425"/>
                  </a:lnTo>
                  <a:lnTo>
                    <a:pt x="0" y="59783"/>
                  </a:lnTo>
                  <a:close/>
                </a:path>
              </a:pathLst>
            </a:custGeom>
            <a:solidFill>
              <a:srgbClr val="AA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5" name="Freeform: Shape 4334">
              <a:extLst>
                <a:ext uri="{FF2B5EF4-FFF2-40B4-BE49-F238E27FC236}">
                  <a16:creationId xmlns:a16="http://schemas.microsoft.com/office/drawing/2014/main" id="{A56BDCF2-E3F3-4A57-BC03-3491E5AD5BED}"/>
                </a:ext>
              </a:extLst>
            </p:cNvPr>
            <p:cNvSpPr/>
            <p:nvPr/>
          </p:nvSpPr>
          <p:spPr>
            <a:xfrm>
              <a:off x="7310751" y="3824337"/>
              <a:ext cx="12559" cy="3516"/>
            </a:xfrm>
            <a:custGeom>
              <a:avLst/>
              <a:gdLst>
                <a:gd name="connsiteX0" fmla="*/ 0 w 12559"/>
                <a:gd name="connsiteY0" fmla="*/ 0 h 3516"/>
                <a:gd name="connsiteX1" fmla="*/ 0 w 12559"/>
                <a:gd name="connsiteY1" fmla="*/ 3517 h 3516"/>
              </a:gdLst>
              <a:ahLst/>
              <a:cxnLst>
                <a:cxn ang="0">
                  <a:pos x="connsiteX0" y="connsiteY0"/>
                </a:cxn>
                <a:cxn ang="0">
                  <a:pos x="connsiteX1" y="connsiteY1"/>
                </a:cxn>
              </a:cxnLst>
              <a:rect l="l" t="t" r="r" b="b"/>
              <a:pathLst>
                <a:path w="12559" h="3516">
                  <a:moveTo>
                    <a:pt x="0" y="0"/>
                  </a:moveTo>
                  <a:lnTo>
                    <a:pt x="0" y="3517"/>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6" name="Freeform: Shape 4335">
              <a:extLst>
                <a:ext uri="{FF2B5EF4-FFF2-40B4-BE49-F238E27FC236}">
                  <a16:creationId xmlns:a16="http://schemas.microsoft.com/office/drawing/2014/main" id="{E50151BC-CE4C-45C9-9093-FC4E3F80FC21}"/>
                </a:ext>
              </a:extLst>
            </p:cNvPr>
            <p:cNvSpPr/>
            <p:nvPr/>
          </p:nvSpPr>
          <p:spPr>
            <a:xfrm>
              <a:off x="7207135" y="3907606"/>
              <a:ext cx="12559" cy="3642"/>
            </a:xfrm>
            <a:custGeom>
              <a:avLst/>
              <a:gdLst>
                <a:gd name="connsiteX0" fmla="*/ 0 w 12559"/>
                <a:gd name="connsiteY0" fmla="*/ 3642 h 3642"/>
                <a:gd name="connsiteX1" fmla="*/ 0 w 12559"/>
                <a:gd name="connsiteY1" fmla="*/ 0 h 3642"/>
              </a:gdLst>
              <a:ahLst/>
              <a:cxnLst>
                <a:cxn ang="0">
                  <a:pos x="connsiteX0" y="connsiteY0"/>
                </a:cxn>
                <a:cxn ang="0">
                  <a:pos x="connsiteX1" y="connsiteY1"/>
                </a:cxn>
              </a:cxnLst>
              <a:rect l="l" t="t" r="r" b="b"/>
              <a:pathLst>
                <a:path w="12559" h="3642">
                  <a:moveTo>
                    <a:pt x="0" y="3642"/>
                  </a:moveTo>
                  <a:lnTo>
                    <a:pt x="0" y="0"/>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7" name="Freeform: Shape 4336">
              <a:extLst>
                <a:ext uri="{FF2B5EF4-FFF2-40B4-BE49-F238E27FC236}">
                  <a16:creationId xmlns:a16="http://schemas.microsoft.com/office/drawing/2014/main" id="{55AA60E0-C66B-4738-86A0-C413504E28C4}"/>
                </a:ext>
              </a:extLst>
            </p:cNvPr>
            <p:cNvSpPr/>
            <p:nvPr/>
          </p:nvSpPr>
          <p:spPr>
            <a:xfrm>
              <a:off x="7207135" y="3919412"/>
              <a:ext cx="12559" cy="3642"/>
            </a:xfrm>
            <a:custGeom>
              <a:avLst/>
              <a:gdLst>
                <a:gd name="connsiteX0" fmla="*/ 0 w 12559"/>
                <a:gd name="connsiteY0" fmla="*/ 3642 h 3642"/>
                <a:gd name="connsiteX1" fmla="*/ 0 w 12559"/>
                <a:gd name="connsiteY1" fmla="*/ 0 h 3642"/>
              </a:gdLst>
              <a:ahLst/>
              <a:cxnLst>
                <a:cxn ang="0">
                  <a:pos x="connsiteX0" y="connsiteY0"/>
                </a:cxn>
                <a:cxn ang="0">
                  <a:pos x="connsiteX1" y="connsiteY1"/>
                </a:cxn>
              </a:cxnLst>
              <a:rect l="l" t="t" r="r" b="b"/>
              <a:pathLst>
                <a:path w="12559" h="3642">
                  <a:moveTo>
                    <a:pt x="0" y="3642"/>
                  </a:moveTo>
                  <a:lnTo>
                    <a:pt x="0" y="0"/>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8" name="Freeform: Shape 4337">
              <a:extLst>
                <a:ext uri="{FF2B5EF4-FFF2-40B4-BE49-F238E27FC236}">
                  <a16:creationId xmlns:a16="http://schemas.microsoft.com/office/drawing/2014/main" id="{EF5EE62F-4DFF-4A68-BD96-5BDCC7E88911}"/>
                </a:ext>
              </a:extLst>
            </p:cNvPr>
            <p:cNvSpPr/>
            <p:nvPr/>
          </p:nvSpPr>
          <p:spPr>
            <a:xfrm>
              <a:off x="7310751" y="3859503"/>
              <a:ext cx="12559" cy="3642"/>
            </a:xfrm>
            <a:custGeom>
              <a:avLst/>
              <a:gdLst>
                <a:gd name="connsiteX0" fmla="*/ 0 w 12559"/>
                <a:gd name="connsiteY0" fmla="*/ 0 h 3642"/>
                <a:gd name="connsiteX1" fmla="*/ 0 w 12559"/>
                <a:gd name="connsiteY1" fmla="*/ 3642 h 3642"/>
              </a:gdLst>
              <a:ahLst/>
              <a:cxnLst>
                <a:cxn ang="0">
                  <a:pos x="connsiteX0" y="connsiteY0"/>
                </a:cxn>
                <a:cxn ang="0">
                  <a:pos x="connsiteX1" y="connsiteY1"/>
                </a:cxn>
              </a:cxnLst>
              <a:rect l="l" t="t" r="r" b="b"/>
              <a:pathLst>
                <a:path w="12559" h="3642">
                  <a:moveTo>
                    <a:pt x="0" y="0"/>
                  </a:moveTo>
                  <a:lnTo>
                    <a:pt x="0" y="3642"/>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9" name="Freeform: Shape 4338">
              <a:extLst>
                <a:ext uri="{FF2B5EF4-FFF2-40B4-BE49-F238E27FC236}">
                  <a16:creationId xmlns:a16="http://schemas.microsoft.com/office/drawing/2014/main" id="{6E410FC9-1981-4E07-8B8A-E27D8281985E}"/>
                </a:ext>
              </a:extLst>
            </p:cNvPr>
            <p:cNvSpPr/>
            <p:nvPr/>
          </p:nvSpPr>
          <p:spPr>
            <a:xfrm>
              <a:off x="7105278" y="3667092"/>
              <a:ext cx="274424" cy="168799"/>
            </a:xfrm>
            <a:custGeom>
              <a:avLst/>
              <a:gdLst>
                <a:gd name="connsiteX0" fmla="*/ 274424 w 274424"/>
                <a:gd name="connsiteY0" fmla="*/ 0 h 168799"/>
                <a:gd name="connsiteX1" fmla="*/ 274424 w 274424"/>
                <a:gd name="connsiteY1" fmla="*/ 10299 h 168799"/>
                <a:gd name="connsiteX2" fmla="*/ 145941 w 274424"/>
                <a:gd name="connsiteY2" fmla="*/ 47726 h 168799"/>
                <a:gd name="connsiteX3" fmla="*/ 0 w 274424"/>
                <a:gd name="connsiteY3" fmla="*/ 168799 h 168799"/>
                <a:gd name="connsiteX4" fmla="*/ 0 w 274424"/>
                <a:gd name="connsiteY4" fmla="*/ 158752 h 168799"/>
                <a:gd name="connsiteX5" fmla="*/ 145690 w 274424"/>
                <a:gd name="connsiteY5" fmla="*/ 35166 h 16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424" h="168799">
                  <a:moveTo>
                    <a:pt x="274424" y="0"/>
                  </a:moveTo>
                  <a:lnTo>
                    <a:pt x="274424" y="10299"/>
                  </a:lnTo>
                  <a:lnTo>
                    <a:pt x="145941" y="47726"/>
                  </a:lnTo>
                  <a:lnTo>
                    <a:pt x="0" y="168799"/>
                  </a:lnTo>
                  <a:lnTo>
                    <a:pt x="0" y="158752"/>
                  </a:lnTo>
                  <a:lnTo>
                    <a:pt x="145690" y="35166"/>
                  </a:lnTo>
                  <a:close/>
                </a:path>
              </a:pathLst>
            </a:custGeom>
            <a:solidFill>
              <a:srgbClr val="6151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340" name="Graphic 4">
            <a:extLst>
              <a:ext uri="{FF2B5EF4-FFF2-40B4-BE49-F238E27FC236}">
                <a16:creationId xmlns:a16="http://schemas.microsoft.com/office/drawing/2014/main" id="{84FB7ED1-A2DF-40A1-A747-5F7CF3F14040}"/>
              </a:ext>
            </a:extLst>
          </p:cNvPr>
          <p:cNvGrpSpPr/>
          <p:nvPr/>
        </p:nvGrpSpPr>
        <p:grpSpPr>
          <a:xfrm>
            <a:off x="7293168" y="2976572"/>
            <a:ext cx="557264" cy="530261"/>
            <a:chOff x="7293168" y="2976572"/>
            <a:chExt cx="557264" cy="530261"/>
          </a:xfrm>
          <a:solidFill>
            <a:schemeClr val="accent1"/>
          </a:solidFill>
        </p:grpSpPr>
        <p:grpSp>
          <p:nvGrpSpPr>
            <p:cNvPr id="4341" name="Graphic 4">
              <a:extLst>
                <a:ext uri="{FF2B5EF4-FFF2-40B4-BE49-F238E27FC236}">
                  <a16:creationId xmlns:a16="http://schemas.microsoft.com/office/drawing/2014/main" id="{84FB7ED1-A2DF-40A1-A747-5F7CF3F14040}"/>
                </a:ext>
              </a:extLst>
            </p:cNvPr>
            <p:cNvGrpSpPr/>
            <p:nvPr/>
          </p:nvGrpSpPr>
          <p:grpSpPr>
            <a:xfrm>
              <a:off x="7698211" y="3318441"/>
              <a:ext cx="152220" cy="188392"/>
              <a:chOff x="7698211" y="3318441"/>
              <a:chExt cx="152220" cy="188392"/>
            </a:xfrm>
            <a:solidFill>
              <a:schemeClr val="accent1"/>
            </a:solidFill>
          </p:grpSpPr>
          <p:grpSp>
            <p:nvGrpSpPr>
              <p:cNvPr id="4342" name="Graphic 4">
                <a:extLst>
                  <a:ext uri="{FF2B5EF4-FFF2-40B4-BE49-F238E27FC236}">
                    <a16:creationId xmlns:a16="http://schemas.microsoft.com/office/drawing/2014/main" id="{84FB7ED1-A2DF-40A1-A747-5F7CF3F14040}"/>
                  </a:ext>
                </a:extLst>
              </p:cNvPr>
              <p:cNvGrpSpPr/>
              <p:nvPr/>
            </p:nvGrpSpPr>
            <p:grpSpPr>
              <a:xfrm>
                <a:off x="7698211" y="3318441"/>
                <a:ext cx="152220" cy="188392"/>
                <a:chOff x="7698211" y="3318441"/>
                <a:chExt cx="152220" cy="188392"/>
              </a:xfrm>
              <a:solidFill>
                <a:schemeClr val="accent1"/>
              </a:solidFill>
            </p:grpSpPr>
            <p:sp>
              <p:nvSpPr>
                <p:cNvPr id="4343" name="Freeform: Shape 4342">
                  <a:extLst>
                    <a:ext uri="{FF2B5EF4-FFF2-40B4-BE49-F238E27FC236}">
                      <a16:creationId xmlns:a16="http://schemas.microsoft.com/office/drawing/2014/main" id="{EFC77277-1D6A-44D7-BD3A-C4D5FE0160E3}"/>
                    </a:ext>
                  </a:extLst>
                </p:cNvPr>
                <p:cNvSpPr/>
                <p:nvPr/>
              </p:nvSpPr>
              <p:spPr>
                <a:xfrm>
                  <a:off x="7698211" y="3318441"/>
                  <a:ext cx="152220" cy="87916"/>
                </a:xfrm>
                <a:custGeom>
                  <a:avLst/>
                  <a:gdLst>
                    <a:gd name="connsiteX0" fmla="*/ 0 w 152220"/>
                    <a:gd name="connsiteY0" fmla="*/ 42577 h 87916"/>
                    <a:gd name="connsiteX1" fmla="*/ 0 w 152220"/>
                    <a:gd name="connsiteY1" fmla="*/ 42577 h 87916"/>
                    <a:gd name="connsiteX2" fmla="*/ 58402 w 152220"/>
                    <a:gd name="connsiteY2" fmla="*/ 76362 h 87916"/>
                    <a:gd name="connsiteX3" fmla="*/ 78371 w 152220"/>
                    <a:gd name="connsiteY3" fmla="*/ 87916 h 87916"/>
                    <a:gd name="connsiteX4" fmla="*/ 78371 w 152220"/>
                    <a:gd name="connsiteY4" fmla="*/ 87916 h 87916"/>
                    <a:gd name="connsiteX5" fmla="*/ 112031 w 152220"/>
                    <a:gd name="connsiteY5" fmla="*/ 68449 h 87916"/>
                    <a:gd name="connsiteX6" fmla="*/ 112031 w 152220"/>
                    <a:gd name="connsiteY6" fmla="*/ 68449 h 87916"/>
                    <a:gd name="connsiteX7" fmla="*/ 121827 w 152220"/>
                    <a:gd name="connsiteY7" fmla="*/ 62797 h 87916"/>
                    <a:gd name="connsiteX8" fmla="*/ 152221 w 152220"/>
                    <a:gd name="connsiteY8" fmla="*/ 45214 h 87916"/>
                    <a:gd name="connsiteX9" fmla="*/ 73850 w 152220"/>
                    <a:gd name="connsiteY9" fmla="*/ 0 h 87916"/>
                    <a:gd name="connsiteX10" fmla="*/ 43456 w 152220"/>
                    <a:gd name="connsiteY10" fmla="*/ 17583 h 87916"/>
                    <a:gd name="connsiteX11" fmla="*/ 33659 w 152220"/>
                    <a:gd name="connsiteY11" fmla="*/ 23235 h 87916"/>
                    <a:gd name="connsiteX12" fmla="*/ 0 w 152220"/>
                    <a:gd name="connsiteY12" fmla="*/ 42577 h 8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20" h="87916">
                      <a:moveTo>
                        <a:pt x="0" y="42577"/>
                      </a:moveTo>
                      <a:lnTo>
                        <a:pt x="0" y="42577"/>
                      </a:lnTo>
                      <a:lnTo>
                        <a:pt x="58402" y="76362"/>
                      </a:lnTo>
                      <a:lnTo>
                        <a:pt x="78371" y="87916"/>
                      </a:lnTo>
                      <a:lnTo>
                        <a:pt x="78371" y="87916"/>
                      </a:lnTo>
                      <a:lnTo>
                        <a:pt x="112031" y="68449"/>
                      </a:lnTo>
                      <a:lnTo>
                        <a:pt x="112031" y="68449"/>
                      </a:lnTo>
                      <a:lnTo>
                        <a:pt x="121827" y="62797"/>
                      </a:lnTo>
                      <a:lnTo>
                        <a:pt x="152221" y="45214"/>
                      </a:lnTo>
                      <a:lnTo>
                        <a:pt x="73850" y="0"/>
                      </a:lnTo>
                      <a:lnTo>
                        <a:pt x="43456" y="17583"/>
                      </a:lnTo>
                      <a:lnTo>
                        <a:pt x="33659" y="23235"/>
                      </a:lnTo>
                      <a:lnTo>
                        <a:pt x="0" y="42577"/>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44" name="Freeform: Shape 4343">
                  <a:extLst>
                    <a:ext uri="{FF2B5EF4-FFF2-40B4-BE49-F238E27FC236}">
                      <a16:creationId xmlns:a16="http://schemas.microsoft.com/office/drawing/2014/main" id="{FC48F057-4356-4351-8458-9B78ED2E3224}"/>
                    </a:ext>
                  </a:extLst>
                </p:cNvPr>
                <p:cNvSpPr/>
                <p:nvPr/>
              </p:nvSpPr>
              <p:spPr>
                <a:xfrm>
                  <a:off x="7700974" y="3319948"/>
                  <a:ext cx="146568" cy="84273"/>
                </a:xfrm>
                <a:custGeom>
                  <a:avLst/>
                  <a:gdLst>
                    <a:gd name="connsiteX0" fmla="*/ 0 w 146568"/>
                    <a:gd name="connsiteY0" fmla="*/ 41069 h 84273"/>
                    <a:gd name="connsiteX1" fmla="*/ 75483 w 146568"/>
                    <a:gd name="connsiteY1" fmla="*/ 84274 h 84273"/>
                    <a:gd name="connsiteX2" fmla="*/ 107509 w 146568"/>
                    <a:gd name="connsiteY2" fmla="*/ 66063 h 84273"/>
                    <a:gd name="connsiteX3" fmla="*/ 117305 w 146568"/>
                    <a:gd name="connsiteY3" fmla="*/ 60411 h 84273"/>
                    <a:gd name="connsiteX4" fmla="*/ 146569 w 146568"/>
                    <a:gd name="connsiteY4" fmla="*/ 43707 h 84273"/>
                    <a:gd name="connsiteX5" fmla="*/ 70961 w 146568"/>
                    <a:gd name="connsiteY5" fmla="*/ 0 h 84273"/>
                    <a:gd name="connsiteX6" fmla="*/ 41823 w 146568"/>
                    <a:gd name="connsiteY6" fmla="*/ 16830 h 84273"/>
                    <a:gd name="connsiteX7" fmla="*/ 32027 w 146568"/>
                    <a:gd name="connsiteY7" fmla="*/ 22481 h 84273"/>
                    <a:gd name="connsiteX8" fmla="*/ 0 w 146568"/>
                    <a:gd name="connsiteY8" fmla="*/ 41069 h 8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568" h="84273">
                      <a:moveTo>
                        <a:pt x="0" y="41069"/>
                      </a:moveTo>
                      <a:lnTo>
                        <a:pt x="75483" y="84274"/>
                      </a:lnTo>
                      <a:lnTo>
                        <a:pt x="107509" y="66063"/>
                      </a:lnTo>
                      <a:lnTo>
                        <a:pt x="117305" y="60411"/>
                      </a:lnTo>
                      <a:lnTo>
                        <a:pt x="146569" y="43707"/>
                      </a:lnTo>
                      <a:lnTo>
                        <a:pt x="70961" y="0"/>
                      </a:lnTo>
                      <a:lnTo>
                        <a:pt x="41823" y="16830"/>
                      </a:lnTo>
                      <a:lnTo>
                        <a:pt x="32027" y="22481"/>
                      </a:lnTo>
                      <a:lnTo>
                        <a:pt x="0" y="41069"/>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45" name="Freeform: Shape 4344">
                  <a:extLst>
                    <a:ext uri="{FF2B5EF4-FFF2-40B4-BE49-F238E27FC236}">
                      <a16:creationId xmlns:a16="http://schemas.microsoft.com/office/drawing/2014/main" id="{0F0574AC-1474-47B4-B601-D35B6FF18CB4}"/>
                    </a:ext>
                  </a:extLst>
                </p:cNvPr>
                <p:cNvSpPr/>
                <p:nvPr/>
              </p:nvSpPr>
              <p:spPr>
                <a:xfrm>
                  <a:off x="7776457" y="3363655"/>
                  <a:ext cx="73974" cy="143177"/>
                </a:xfrm>
                <a:custGeom>
                  <a:avLst/>
                  <a:gdLst>
                    <a:gd name="connsiteX0" fmla="*/ 0 w 73974"/>
                    <a:gd name="connsiteY0" fmla="*/ 42577 h 143177"/>
                    <a:gd name="connsiteX1" fmla="*/ 0 w 73974"/>
                    <a:gd name="connsiteY1" fmla="*/ 47224 h 143177"/>
                    <a:gd name="connsiteX2" fmla="*/ 125 w 73974"/>
                    <a:gd name="connsiteY2" fmla="*/ 61416 h 143177"/>
                    <a:gd name="connsiteX3" fmla="*/ 125 w 73974"/>
                    <a:gd name="connsiteY3" fmla="*/ 143178 h 143177"/>
                    <a:gd name="connsiteX4" fmla="*/ 125 w 73974"/>
                    <a:gd name="connsiteY4" fmla="*/ 143178 h 143177"/>
                    <a:gd name="connsiteX5" fmla="*/ 125 w 73974"/>
                    <a:gd name="connsiteY5" fmla="*/ 143178 h 143177"/>
                    <a:gd name="connsiteX6" fmla="*/ 33910 w 73974"/>
                    <a:gd name="connsiteY6" fmla="*/ 123962 h 143177"/>
                    <a:gd name="connsiteX7" fmla="*/ 43707 w 73974"/>
                    <a:gd name="connsiteY7" fmla="*/ 118310 h 143177"/>
                    <a:gd name="connsiteX8" fmla="*/ 73975 w 73974"/>
                    <a:gd name="connsiteY8" fmla="*/ 101104 h 143177"/>
                    <a:gd name="connsiteX9" fmla="*/ 73975 w 73974"/>
                    <a:gd name="connsiteY9" fmla="*/ 0 h 143177"/>
                    <a:gd name="connsiteX10" fmla="*/ 43455 w 73974"/>
                    <a:gd name="connsiteY10" fmla="*/ 17583 h 143177"/>
                    <a:gd name="connsiteX11" fmla="*/ 33659 w 73974"/>
                    <a:gd name="connsiteY11" fmla="*/ 23235 h 143177"/>
                    <a:gd name="connsiteX12" fmla="*/ 125 w 73974"/>
                    <a:gd name="connsiteY12" fmla="*/ 42577 h 14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974" h="143177">
                      <a:moveTo>
                        <a:pt x="0" y="42577"/>
                      </a:moveTo>
                      <a:lnTo>
                        <a:pt x="0" y="47224"/>
                      </a:lnTo>
                      <a:lnTo>
                        <a:pt x="125" y="61416"/>
                      </a:lnTo>
                      <a:lnTo>
                        <a:pt x="125" y="143178"/>
                      </a:lnTo>
                      <a:lnTo>
                        <a:pt x="125" y="143178"/>
                      </a:lnTo>
                      <a:lnTo>
                        <a:pt x="125" y="143178"/>
                      </a:lnTo>
                      <a:lnTo>
                        <a:pt x="33910" y="123962"/>
                      </a:lnTo>
                      <a:lnTo>
                        <a:pt x="43707" y="118310"/>
                      </a:lnTo>
                      <a:lnTo>
                        <a:pt x="73975" y="101104"/>
                      </a:lnTo>
                      <a:lnTo>
                        <a:pt x="73975" y="0"/>
                      </a:lnTo>
                      <a:lnTo>
                        <a:pt x="43455" y="17583"/>
                      </a:lnTo>
                      <a:lnTo>
                        <a:pt x="33659" y="23235"/>
                      </a:lnTo>
                      <a:lnTo>
                        <a:pt x="125" y="42577"/>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46" name="Freeform: Shape 4345">
                  <a:extLst>
                    <a:ext uri="{FF2B5EF4-FFF2-40B4-BE49-F238E27FC236}">
                      <a16:creationId xmlns:a16="http://schemas.microsoft.com/office/drawing/2014/main" id="{D38E624A-87E8-4416-B676-AB1A91CE0711}"/>
                    </a:ext>
                  </a:extLst>
                </p:cNvPr>
                <p:cNvSpPr/>
                <p:nvPr/>
              </p:nvSpPr>
              <p:spPr>
                <a:xfrm>
                  <a:off x="7698211" y="3361017"/>
                  <a:ext cx="78371" cy="145815"/>
                </a:xfrm>
                <a:custGeom>
                  <a:avLst/>
                  <a:gdLst>
                    <a:gd name="connsiteX0" fmla="*/ 0 w 78371"/>
                    <a:gd name="connsiteY0" fmla="*/ 0 h 145815"/>
                    <a:gd name="connsiteX1" fmla="*/ 0 w 78371"/>
                    <a:gd name="connsiteY1" fmla="*/ 100978 h 145815"/>
                    <a:gd name="connsiteX2" fmla="*/ 21351 w 78371"/>
                    <a:gd name="connsiteY2" fmla="*/ 113161 h 145815"/>
                    <a:gd name="connsiteX3" fmla="*/ 78371 w 78371"/>
                    <a:gd name="connsiteY3" fmla="*/ 145816 h 145815"/>
                    <a:gd name="connsiteX4" fmla="*/ 78371 w 78371"/>
                    <a:gd name="connsiteY4" fmla="*/ 145816 h 145815"/>
                    <a:gd name="connsiteX5" fmla="*/ 78371 w 78371"/>
                    <a:gd name="connsiteY5" fmla="*/ 145816 h 145815"/>
                    <a:gd name="connsiteX6" fmla="*/ 78371 w 78371"/>
                    <a:gd name="connsiteY6" fmla="*/ 64053 h 145815"/>
                    <a:gd name="connsiteX7" fmla="*/ 78371 w 78371"/>
                    <a:gd name="connsiteY7" fmla="*/ 49861 h 145815"/>
                    <a:gd name="connsiteX8" fmla="*/ 78371 w 78371"/>
                    <a:gd name="connsiteY8" fmla="*/ 45214 h 145815"/>
                    <a:gd name="connsiteX9" fmla="*/ 58402 w 78371"/>
                    <a:gd name="connsiteY9" fmla="*/ 33660 h 145815"/>
                    <a:gd name="connsiteX10" fmla="*/ 0 w 78371"/>
                    <a:gd name="connsiteY10" fmla="*/ 0 h 1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371" h="145815">
                      <a:moveTo>
                        <a:pt x="0" y="0"/>
                      </a:moveTo>
                      <a:lnTo>
                        <a:pt x="0" y="100978"/>
                      </a:lnTo>
                      <a:lnTo>
                        <a:pt x="21351" y="113161"/>
                      </a:lnTo>
                      <a:lnTo>
                        <a:pt x="78371" y="145816"/>
                      </a:lnTo>
                      <a:lnTo>
                        <a:pt x="78371" y="145816"/>
                      </a:lnTo>
                      <a:lnTo>
                        <a:pt x="78371" y="145816"/>
                      </a:lnTo>
                      <a:lnTo>
                        <a:pt x="78371" y="64053"/>
                      </a:lnTo>
                      <a:lnTo>
                        <a:pt x="78371" y="49861"/>
                      </a:lnTo>
                      <a:lnTo>
                        <a:pt x="78371" y="45214"/>
                      </a:lnTo>
                      <a:lnTo>
                        <a:pt x="58402" y="3366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47" name="Freeform: Shape 4346">
                <a:extLst>
                  <a:ext uri="{FF2B5EF4-FFF2-40B4-BE49-F238E27FC236}">
                    <a16:creationId xmlns:a16="http://schemas.microsoft.com/office/drawing/2014/main" id="{41AE579B-A246-40EC-91DC-FFB76FBFCDF1}"/>
                  </a:ext>
                </a:extLst>
              </p:cNvPr>
              <p:cNvSpPr/>
              <p:nvPr/>
            </p:nvSpPr>
            <p:spPr>
              <a:xfrm>
                <a:off x="7810367" y="3381364"/>
                <a:ext cx="9796" cy="106253"/>
              </a:xfrm>
              <a:custGeom>
                <a:avLst/>
                <a:gdLst>
                  <a:gd name="connsiteX0" fmla="*/ 0 w 9796"/>
                  <a:gd name="connsiteY0" fmla="*/ 5652 h 106253"/>
                  <a:gd name="connsiteX1" fmla="*/ 0 w 9796"/>
                  <a:gd name="connsiteY1" fmla="*/ 106253 h 106253"/>
                  <a:gd name="connsiteX2" fmla="*/ 9797 w 9796"/>
                  <a:gd name="connsiteY2" fmla="*/ 100601 h 106253"/>
                  <a:gd name="connsiteX3" fmla="*/ 9797 w 9796"/>
                  <a:gd name="connsiteY3" fmla="*/ 0 h 106253"/>
                </a:gdLst>
                <a:ahLst/>
                <a:cxnLst>
                  <a:cxn ang="0">
                    <a:pos x="connsiteX0" y="connsiteY0"/>
                  </a:cxn>
                  <a:cxn ang="0">
                    <a:pos x="connsiteX1" y="connsiteY1"/>
                  </a:cxn>
                  <a:cxn ang="0">
                    <a:pos x="connsiteX2" y="connsiteY2"/>
                  </a:cxn>
                  <a:cxn ang="0">
                    <a:pos x="connsiteX3" y="connsiteY3"/>
                  </a:cxn>
                </a:cxnLst>
                <a:rect l="l" t="t" r="r" b="b"/>
                <a:pathLst>
                  <a:path w="9796" h="106253">
                    <a:moveTo>
                      <a:pt x="0" y="5652"/>
                    </a:moveTo>
                    <a:lnTo>
                      <a:pt x="0" y="106253"/>
                    </a:lnTo>
                    <a:lnTo>
                      <a:pt x="9797" y="100601"/>
                    </a:lnTo>
                    <a:lnTo>
                      <a:pt x="9797"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48" name="Freeform: Shape 4347">
                <a:extLst>
                  <a:ext uri="{FF2B5EF4-FFF2-40B4-BE49-F238E27FC236}">
                    <a16:creationId xmlns:a16="http://schemas.microsoft.com/office/drawing/2014/main" id="{9BF23167-20A3-405E-A707-F1EAE8AEA3D7}"/>
                  </a:ext>
                </a:extLst>
              </p:cNvPr>
              <p:cNvSpPr/>
              <p:nvPr/>
            </p:nvSpPr>
            <p:spPr>
              <a:xfrm>
                <a:off x="7731745" y="3335898"/>
                <a:ext cx="88418" cy="51117"/>
              </a:xfrm>
              <a:custGeom>
                <a:avLst/>
                <a:gdLst>
                  <a:gd name="connsiteX0" fmla="*/ 0 w 88418"/>
                  <a:gd name="connsiteY0" fmla="*/ 5652 h 51117"/>
                  <a:gd name="connsiteX1" fmla="*/ 27380 w 88418"/>
                  <a:gd name="connsiteY1" fmla="*/ 21477 h 51117"/>
                  <a:gd name="connsiteX2" fmla="*/ 37176 w 88418"/>
                  <a:gd name="connsiteY2" fmla="*/ 27254 h 51117"/>
                  <a:gd name="connsiteX3" fmla="*/ 78371 w 88418"/>
                  <a:gd name="connsiteY3" fmla="*/ 50991 h 51117"/>
                  <a:gd name="connsiteX4" fmla="*/ 78622 w 88418"/>
                  <a:gd name="connsiteY4" fmla="*/ 51117 h 51117"/>
                  <a:gd name="connsiteX5" fmla="*/ 88418 w 88418"/>
                  <a:gd name="connsiteY5" fmla="*/ 45465 h 51117"/>
                  <a:gd name="connsiteX6" fmla="*/ 88167 w 88418"/>
                  <a:gd name="connsiteY6" fmla="*/ 45214 h 51117"/>
                  <a:gd name="connsiteX7" fmla="*/ 46972 w 88418"/>
                  <a:gd name="connsiteY7" fmla="*/ 21477 h 51117"/>
                  <a:gd name="connsiteX8" fmla="*/ 37176 w 88418"/>
                  <a:gd name="connsiteY8" fmla="*/ 15825 h 51117"/>
                  <a:gd name="connsiteX9" fmla="*/ 9796 w 88418"/>
                  <a:gd name="connsiteY9" fmla="*/ 0 h 51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418" h="51117">
                    <a:moveTo>
                      <a:pt x="0" y="5652"/>
                    </a:moveTo>
                    <a:lnTo>
                      <a:pt x="27380" y="21477"/>
                    </a:lnTo>
                    <a:lnTo>
                      <a:pt x="37176" y="27254"/>
                    </a:lnTo>
                    <a:lnTo>
                      <a:pt x="78371" y="50991"/>
                    </a:lnTo>
                    <a:lnTo>
                      <a:pt x="78622" y="51117"/>
                    </a:lnTo>
                    <a:lnTo>
                      <a:pt x="88418" y="45465"/>
                    </a:lnTo>
                    <a:lnTo>
                      <a:pt x="88167" y="45214"/>
                    </a:lnTo>
                    <a:lnTo>
                      <a:pt x="46972" y="21477"/>
                    </a:lnTo>
                    <a:lnTo>
                      <a:pt x="37176" y="15825"/>
                    </a:lnTo>
                    <a:lnTo>
                      <a:pt x="979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349" name="Graphic 4">
                <a:extLst>
                  <a:ext uri="{FF2B5EF4-FFF2-40B4-BE49-F238E27FC236}">
                    <a16:creationId xmlns:a16="http://schemas.microsoft.com/office/drawing/2014/main" id="{84FB7ED1-A2DF-40A1-A747-5F7CF3F14040}"/>
                  </a:ext>
                </a:extLst>
              </p:cNvPr>
              <p:cNvGrpSpPr/>
              <p:nvPr/>
            </p:nvGrpSpPr>
            <p:grpSpPr>
              <a:xfrm>
                <a:off x="7705998" y="3373577"/>
                <a:ext cx="35794" cy="51493"/>
                <a:chOff x="7705998" y="3373577"/>
                <a:chExt cx="35794" cy="51493"/>
              </a:xfrm>
              <a:solidFill>
                <a:schemeClr val="accent1"/>
              </a:solidFill>
            </p:grpSpPr>
            <p:sp>
              <p:nvSpPr>
                <p:cNvPr id="4350" name="Freeform: Shape 4349">
                  <a:extLst>
                    <a:ext uri="{FF2B5EF4-FFF2-40B4-BE49-F238E27FC236}">
                      <a16:creationId xmlns:a16="http://schemas.microsoft.com/office/drawing/2014/main" id="{3CA13803-85DE-4A71-84CD-F32663C1C713}"/>
                    </a:ext>
                  </a:extLst>
                </p:cNvPr>
                <p:cNvSpPr/>
                <p:nvPr/>
              </p:nvSpPr>
              <p:spPr>
                <a:xfrm>
                  <a:off x="7705998" y="3373577"/>
                  <a:ext cx="35794" cy="51493"/>
                </a:xfrm>
                <a:custGeom>
                  <a:avLst/>
                  <a:gdLst>
                    <a:gd name="connsiteX0" fmla="*/ 0 w 35794"/>
                    <a:gd name="connsiteY0" fmla="*/ 30771 h 51493"/>
                    <a:gd name="connsiteX1" fmla="*/ 35795 w 35794"/>
                    <a:gd name="connsiteY1" fmla="*/ 51494 h 51493"/>
                    <a:gd name="connsiteX2" fmla="*/ 35795 w 35794"/>
                    <a:gd name="connsiteY2" fmla="*/ 20723 h 51493"/>
                    <a:gd name="connsiteX3" fmla="*/ 0 w 35794"/>
                    <a:gd name="connsiteY3" fmla="*/ 0 h 51493"/>
                  </a:gdLst>
                  <a:ahLst/>
                  <a:cxnLst>
                    <a:cxn ang="0">
                      <a:pos x="connsiteX0" y="connsiteY0"/>
                    </a:cxn>
                    <a:cxn ang="0">
                      <a:pos x="connsiteX1" y="connsiteY1"/>
                    </a:cxn>
                    <a:cxn ang="0">
                      <a:pos x="connsiteX2" y="connsiteY2"/>
                    </a:cxn>
                    <a:cxn ang="0">
                      <a:pos x="connsiteX3" y="connsiteY3"/>
                    </a:cxn>
                  </a:cxnLst>
                  <a:rect l="l" t="t" r="r" b="b"/>
                  <a:pathLst>
                    <a:path w="35794" h="51493">
                      <a:moveTo>
                        <a:pt x="0" y="30771"/>
                      </a:moveTo>
                      <a:lnTo>
                        <a:pt x="35795" y="51494"/>
                      </a:lnTo>
                      <a:lnTo>
                        <a:pt x="35795" y="20723"/>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1" name="Freeform: Shape 4350">
                  <a:extLst>
                    <a:ext uri="{FF2B5EF4-FFF2-40B4-BE49-F238E27FC236}">
                      <a16:creationId xmlns:a16="http://schemas.microsoft.com/office/drawing/2014/main" id="{456FF97F-F628-448A-BE0E-BBB93F6F4411}"/>
                    </a:ext>
                  </a:extLst>
                </p:cNvPr>
                <p:cNvSpPr/>
                <p:nvPr/>
              </p:nvSpPr>
              <p:spPr>
                <a:xfrm>
                  <a:off x="7709389" y="3379354"/>
                  <a:ext cx="29012" cy="20220"/>
                </a:xfrm>
                <a:custGeom>
                  <a:avLst/>
                  <a:gdLst>
                    <a:gd name="connsiteX0" fmla="*/ 0 w 29012"/>
                    <a:gd name="connsiteY0" fmla="*/ 3391 h 20220"/>
                    <a:gd name="connsiteX1" fmla="*/ 29012 w 29012"/>
                    <a:gd name="connsiteY1" fmla="*/ 20221 h 20220"/>
                    <a:gd name="connsiteX2" fmla="*/ 29012 w 29012"/>
                    <a:gd name="connsiteY2" fmla="*/ 16704 h 20220"/>
                    <a:gd name="connsiteX3" fmla="*/ 0 w 29012"/>
                    <a:gd name="connsiteY3" fmla="*/ 0 h 20220"/>
                  </a:gdLst>
                  <a:ahLst/>
                  <a:cxnLst>
                    <a:cxn ang="0">
                      <a:pos x="connsiteX0" y="connsiteY0"/>
                    </a:cxn>
                    <a:cxn ang="0">
                      <a:pos x="connsiteX1" y="connsiteY1"/>
                    </a:cxn>
                    <a:cxn ang="0">
                      <a:pos x="connsiteX2" y="connsiteY2"/>
                    </a:cxn>
                    <a:cxn ang="0">
                      <a:pos x="connsiteX3" y="connsiteY3"/>
                    </a:cxn>
                  </a:cxnLst>
                  <a:rect l="l" t="t" r="r" b="b"/>
                  <a:pathLst>
                    <a:path w="29012" h="20220">
                      <a:moveTo>
                        <a:pt x="0" y="3391"/>
                      </a:moveTo>
                      <a:lnTo>
                        <a:pt x="29012" y="20221"/>
                      </a:lnTo>
                      <a:lnTo>
                        <a:pt x="29012" y="16704"/>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2" name="Freeform: Shape 4351">
                  <a:extLst>
                    <a:ext uri="{FF2B5EF4-FFF2-40B4-BE49-F238E27FC236}">
                      <a16:creationId xmlns:a16="http://schemas.microsoft.com/office/drawing/2014/main" id="{E390C140-D699-4C6F-B073-25B57E844267}"/>
                    </a:ext>
                  </a:extLst>
                </p:cNvPr>
                <p:cNvSpPr/>
                <p:nvPr/>
              </p:nvSpPr>
              <p:spPr>
                <a:xfrm>
                  <a:off x="7709389" y="3387518"/>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3" name="Freeform: Shape 4352">
                  <a:extLst>
                    <a:ext uri="{FF2B5EF4-FFF2-40B4-BE49-F238E27FC236}">
                      <a16:creationId xmlns:a16="http://schemas.microsoft.com/office/drawing/2014/main" id="{FBA7197D-87E5-4D31-900C-358D500F44C9}"/>
                    </a:ext>
                  </a:extLst>
                </p:cNvPr>
                <p:cNvSpPr/>
                <p:nvPr/>
              </p:nvSpPr>
              <p:spPr>
                <a:xfrm>
                  <a:off x="7709389" y="3391537"/>
                  <a:ext cx="29012" cy="18336"/>
                </a:xfrm>
                <a:custGeom>
                  <a:avLst/>
                  <a:gdLst>
                    <a:gd name="connsiteX0" fmla="*/ 0 w 29012"/>
                    <a:gd name="connsiteY0" fmla="*/ 1507 h 18336"/>
                    <a:gd name="connsiteX1" fmla="*/ 29012 w 29012"/>
                    <a:gd name="connsiteY1" fmla="*/ 18337 h 18336"/>
                    <a:gd name="connsiteX2" fmla="*/ 29012 w 29012"/>
                    <a:gd name="connsiteY2" fmla="*/ 16704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4" name="Freeform: Shape 4353">
                  <a:extLst>
                    <a:ext uri="{FF2B5EF4-FFF2-40B4-BE49-F238E27FC236}">
                      <a16:creationId xmlns:a16="http://schemas.microsoft.com/office/drawing/2014/main" id="{30C88D6A-0CC9-46A7-B2F4-83E625C37AF1}"/>
                    </a:ext>
                  </a:extLst>
                </p:cNvPr>
                <p:cNvSpPr/>
                <p:nvPr/>
              </p:nvSpPr>
              <p:spPr>
                <a:xfrm>
                  <a:off x="7709389" y="3395933"/>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5" name="Freeform: Shape 4354">
                  <a:extLst>
                    <a:ext uri="{FF2B5EF4-FFF2-40B4-BE49-F238E27FC236}">
                      <a16:creationId xmlns:a16="http://schemas.microsoft.com/office/drawing/2014/main" id="{D904F1FF-D33F-4142-AADD-E96EC9684A61}"/>
                    </a:ext>
                  </a:extLst>
                </p:cNvPr>
                <p:cNvSpPr/>
                <p:nvPr/>
              </p:nvSpPr>
              <p:spPr>
                <a:xfrm>
                  <a:off x="7709389" y="3399952"/>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356" name="Graphic 4">
              <a:extLst>
                <a:ext uri="{FF2B5EF4-FFF2-40B4-BE49-F238E27FC236}">
                  <a16:creationId xmlns:a16="http://schemas.microsoft.com/office/drawing/2014/main" id="{84FB7ED1-A2DF-40A1-A747-5F7CF3F14040}"/>
                </a:ext>
              </a:extLst>
            </p:cNvPr>
            <p:cNvGrpSpPr/>
            <p:nvPr/>
          </p:nvGrpSpPr>
          <p:grpSpPr>
            <a:xfrm>
              <a:off x="7698211" y="3147506"/>
              <a:ext cx="152220" cy="188392"/>
              <a:chOff x="7698211" y="3147506"/>
              <a:chExt cx="152220" cy="188392"/>
            </a:xfrm>
            <a:solidFill>
              <a:schemeClr val="accent1"/>
            </a:solidFill>
          </p:grpSpPr>
          <p:grpSp>
            <p:nvGrpSpPr>
              <p:cNvPr id="4357" name="Graphic 4">
                <a:extLst>
                  <a:ext uri="{FF2B5EF4-FFF2-40B4-BE49-F238E27FC236}">
                    <a16:creationId xmlns:a16="http://schemas.microsoft.com/office/drawing/2014/main" id="{84FB7ED1-A2DF-40A1-A747-5F7CF3F14040}"/>
                  </a:ext>
                </a:extLst>
              </p:cNvPr>
              <p:cNvGrpSpPr/>
              <p:nvPr/>
            </p:nvGrpSpPr>
            <p:grpSpPr>
              <a:xfrm>
                <a:off x="7698211" y="3147506"/>
                <a:ext cx="152220" cy="188392"/>
                <a:chOff x="7698211" y="3147506"/>
                <a:chExt cx="152220" cy="188392"/>
              </a:xfrm>
              <a:solidFill>
                <a:schemeClr val="accent1"/>
              </a:solidFill>
            </p:grpSpPr>
            <p:sp>
              <p:nvSpPr>
                <p:cNvPr id="4358" name="Freeform: Shape 4357">
                  <a:extLst>
                    <a:ext uri="{FF2B5EF4-FFF2-40B4-BE49-F238E27FC236}">
                      <a16:creationId xmlns:a16="http://schemas.microsoft.com/office/drawing/2014/main" id="{D8832CE0-5DAD-45CC-8FBB-1F928F69D1D7}"/>
                    </a:ext>
                  </a:extLst>
                </p:cNvPr>
                <p:cNvSpPr/>
                <p:nvPr/>
              </p:nvSpPr>
              <p:spPr>
                <a:xfrm>
                  <a:off x="7698211" y="3147506"/>
                  <a:ext cx="152220" cy="87916"/>
                </a:xfrm>
                <a:custGeom>
                  <a:avLst/>
                  <a:gdLst>
                    <a:gd name="connsiteX0" fmla="*/ 0 w 152220"/>
                    <a:gd name="connsiteY0" fmla="*/ 42577 h 87916"/>
                    <a:gd name="connsiteX1" fmla="*/ 0 w 152220"/>
                    <a:gd name="connsiteY1" fmla="*/ 42577 h 87916"/>
                    <a:gd name="connsiteX2" fmla="*/ 58402 w 152220"/>
                    <a:gd name="connsiteY2" fmla="*/ 76362 h 87916"/>
                    <a:gd name="connsiteX3" fmla="*/ 78371 w 152220"/>
                    <a:gd name="connsiteY3" fmla="*/ 87916 h 87916"/>
                    <a:gd name="connsiteX4" fmla="*/ 78371 w 152220"/>
                    <a:gd name="connsiteY4" fmla="*/ 87916 h 87916"/>
                    <a:gd name="connsiteX5" fmla="*/ 112031 w 152220"/>
                    <a:gd name="connsiteY5" fmla="*/ 68449 h 87916"/>
                    <a:gd name="connsiteX6" fmla="*/ 112031 w 152220"/>
                    <a:gd name="connsiteY6" fmla="*/ 68449 h 87916"/>
                    <a:gd name="connsiteX7" fmla="*/ 121827 w 152220"/>
                    <a:gd name="connsiteY7" fmla="*/ 62797 h 87916"/>
                    <a:gd name="connsiteX8" fmla="*/ 152221 w 152220"/>
                    <a:gd name="connsiteY8" fmla="*/ 45214 h 87916"/>
                    <a:gd name="connsiteX9" fmla="*/ 73850 w 152220"/>
                    <a:gd name="connsiteY9" fmla="*/ 0 h 87916"/>
                    <a:gd name="connsiteX10" fmla="*/ 43456 w 152220"/>
                    <a:gd name="connsiteY10" fmla="*/ 17583 h 87916"/>
                    <a:gd name="connsiteX11" fmla="*/ 33659 w 152220"/>
                    <a:gd name="connsiteY11" fmla="*/ 23235 h 87916"/>
                    <a:gd name="connsiteX12" fmla="*/ 0 w 152220"/>
                    <a:gd name="connsiteY12" fmla="*/ 42577 h 8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20" h="87916">
                      <a:moveTo>
                        <a:pt x="0" y="42577"/>
                      </a:moveTo>
                      <a:lnTo>
                        <a:pt x="0" y="42577"/>
                      </a:lnTo>
                      <a:lnTo>
                        <a:pt x="58402" y="76362"/>
                      </a:lnTo>
                      <a:lnTo>
                        <a:pt x="78371" y="87916"/>
                      </a:lnTo>
                      <a:lnTo>
                        <a:pt x="78371" y="87916"/>
                      </a:lnTo>
                      <a:lnTo>
                        <a:pt x="112031" y="68449"/>
                      </a:lnTo>
                      <a:lnTo>
                        <a:pt x="112031" y="68449"/>
                      </a:lnTo>
                      <a:lnTo>
                        <a:pt x="121827" y="62797"/>
                      </a:lnTo>
                      <a:lnTo>
                        <a:pt x="152221" y="45214"/>
                      </a:lnTo>
                      <a:lnTo>
                        <a:pt x="73850" y="0"/>
                      </a:lnTo>
                      <a:lnTo>
                        <a:pt x="43456" y="17583"/>
                      </a:lnTo>
                      <a:lnTo>
                        <a:pt x="33659" y="23235"/>
                      </a:lnTo>
                      <a:lnTo>
                        <a:pt x="0" y="42577"/>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9" name="Freeform: Shape 4358">
                  <a:extLst>
                    <a:ext uri="{FF2B5EF4-FFF2-40B4-BE49-F238E27FC236}">
                      <a16:creationId xmlns:a16="http://schemas.microsoft.com/office/drawing/2014/main" id="{85F3AECD-8D28-4ED8-8C32-FA25AD4E5A9D}"/>
                    </a:ext>
                  </a:extLst>
                </p:cNvPr>
                <p:cNvSpPr/>
                <p:nvPr/>
              </p:nvSpPr>
              <p:spPr>
                <a:xfrm>
                  <a:off x="7700974" y="3149013"/>
                  <a:ext cx="146568" cy="84273"/>
                </a:xfrm>
                <a:custGeom>
                  <a:avLst/>
                  <a:gdLst>
                    <a:gd name="connsiteX0" fmla="*/ 0 w 146568"/>
                    <a:gd name="connsiteY0" fmla="*/ 41069 h 84273"/>
                    <a:gd name="connsiteX1" fmla="*/ 75483 w 146568"/>
                    <a:gd name="connsiteY1" fmla="*/ 84274 h 84273"/>
                    <a:gd name="connsiteX2" fmla="*/ 107509 w 146568"/>
                    <a:gd name="connsiteY2" fmla="*/ 66063 h 84273"/>
                    <a:gd name="connsiteX3" fmla="*/ 117305 w 146568"/>
                    <a:gd name="connsiteY3" fmla="*/ 60411 h 84273"/>
                    <a:gd name="connsiteX4" fmla="*/ 146569 w 146568"/>
                    <a:gd name="connsiteY4" fmla="*/ 43707 h 84273"/>
                    <a:gd name="connsiteX5" fmla="*/ 70961 w 146568"/>
                    <a:gd name="connsiteY5" fmla="*/ 0 h 84273"/>
                    <a:gd name="connsiteX6" fmla="*/ 41823 w 146568"/>
                    <a:gd name="connsiteY6" fmla="*/ 16830 h 84273"/>
                    <a:gd name="connsiteX7" fmla="*/ 32027 w 146568"/>
                    <a:gd name="connsiteY7" fmla="*/ 22481 h 84273"/>
                    <a:gd name="connsiteX8" fmla="*/ 0 w 146568"/>
                    <a:gd name="connsiteY8" fmla="*/ 41069 h 8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568" h="84273">
                      <a:moveTo>
                        <a:pt x="0" y="41069"/>
                      </a:moveTo>
                      <a:lnTo>
                        <a:pt x="75483" y="84274"/>
                      </a:lnTo>
                      <a:lnTo>
                        <a:pt x="107509" y="66063"/>
                      </a:lnTo>
                      <a:lnTo>
                        <a:pt x="117305" y="60411"/>
                      </a:lnTo>
                      <a:lnTo>
                        <a:pt x="146569" y="43707"/>
                      </a:lnTo>
                      <a:lnTo>
                        <a:pt x="70961" y="0"/>
                      </a:lnTo>
                      <a:lnTo>
                        <a:pt x="41823" y="16830"/>
                      </a:lnTo>
                      <a:lnTo>
                        <a:pt x="32027" y="22481"/>
                      </a:lnTo>
                      <a:lnTo>
                        <a:pt x="0" y="41069"/>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0" name="Freeform: Shape 4359">
                  <a:extLst>
                    <a:ext uri="{FF2B5EF4-FFF2-40B4-BE49-F238E27FC236}">
                      <a16:creationId xmlns:a16="http://schemas.microsoft.com/office/drawing/2014/main" id="{DAA87DD8-0967-4FD7-8F7F-8162A548A654}"/>
                    </a:ext>
                  </a:extLst>
                </p:cNvPr>
                <p:cNvSpPr/>
                <p:nvPr/>
              </p:nvSpPr>
              <p:spPr>
                <a:xfrm>
                  <a:off x="7776457" y="3192720"/>
                  <a:ext cx="73974" cy="143177"/>
                </a:xfrm>
                <a:custGeom>
                  <a:avLst/>
                  <a:gdLst>
                    <a:gd name="connsiteX0" fmla="*/ 0 w 73974"/>
                    <a:gd name="connsiteY0" fmla="*/ 42577 h 143177"/>
                    <a:gd name="connsiteX1" fmla="*/ 0 w 73974"/>
                    <a:gd name="connsiteY1" fmla="*/ 47224 h 143177"/>
                    <a:gd name="connsiteX2" fmla="*/ 125 w 73974"/>
                    <a:gd name="connsiteY2" fmla="*/ 61416 h 143177"/>
                    <a:gd name="connsiteX3" fmla="*/ 125 w 73974"/>
                    <a:gd name="connsiteY3" fmla="*/ 143178 h 143177"/>
                    <a:gd name="connsiteX4" fmla="*/ 125 w 73974"/>
                    <a:gd name="connsiteY4" fmla="*/ 143178 h 143177"/>
                    <a:gd name="connsiteX5" fmla="*/ 125 w 73974"/>
                    <a:gd name="connsiteY5" fmla="*/ 143178 h 143177"/>
                    <a:gd name="connsiteX6" fmla="*/ 33910 w 73974"/>
                    <a:gd name="connsiteY6" fmla="*/ 123962 h 143177"/>
                    <a:gd name="connsiteX7" fmla="*/ 43707 w 73974"/>
                    <a:gd name="connsiteY7" fmla="*/ 118310 h 143177"/>
                    <a:gd name="connsiteX8" fmla="*/ 73975 w 73974"/>
                    <a:gd name="connsiteY8" fmla="*/ 101104 h 143177"/>
                    <a:gd name="connsiteX9" fmla="*/ 73975 w 73974"/>
                    <a:gd name="connsiteY9" fmla="*/ 0 h 143177"/>
                    <a:gd name="connsiteX10" fmla="*/ 43455 w 73974"/>
                    <a:gd name="connsiteY10" fmla="*/ 17583 h 143177"/>
                    <a:gd name="connsiteX11" fmla="*/ 33659 w 73974"/>
                    <a:gd name="connsiteY11" fmla="*/ 23235 h 143177"/>
                    <a:gd name="connsiteX12" fmla="*/ 125 w 73974"/>
                    <a:gd name="connsiteY12" fmla="*/ 42577 h 14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974" h="143177">
                      <a:moveTo>
                        <a:pt x="0" y="42577"/>
                      </a:moveTo>
                      <a:lnTo>
                        <a:pt x="0" y="47224"/>
                      </a:lnTo>
                      <a:lnTo>
                        <a:pt x="125" y="61416"/>
                      </a:lnTo>
                      <a:lnTo>
                        <a:pt x="125" y="143178"/>
                      </a:lnTo>
                      <a:lnTo>
                        <a:pt x="125" y="143178"/>
                      </a:lnTo>
                      <a:lnTo>
                        <a:pt x="125" y="143178"/>
                      </a:lnTo>
                      <a:lnTo>
                        <a:pt x="33910" y="123962"/>
                      </a:lnTo>
                      <a:lnTo>
                        <a:pt x="43707" y="118310"/>
                      </a:lnTo>
                      <a:lnTo>
                        <a:pt x="73975" y="101104"/>
                      </a:lnTo>
                      <a:lnTo>
                        <a:pt x="73975" y="0"/>
                      </a:lnTo>
                      <a:lnTo>
                        <a:pt x="43455" y="17583"/>
                      </a:lnTo>
                      <a:lnTo>
                        <a:pt x="33659" y="23235"/>
                      </a:lnTo>
                      <a:lnTo>
                        <a:pt x="125" y="42577"/>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1" name="Freeform: Shape 4360">
                  <a:extLst>
                    <a:ext uri="{FF2B5EF4-FFF2-40B4-BE49-F238E27FC236}">
                      <a16:creationId xmlns:a16="http://schemas.microsoft.com/office/drawing/2014/main" id="{12BFE436-4B8D-4785-B9CB-C9C51321D728}"/>
                    </a:ext>
                  </a:extLst>
                </p:cNvPr>
                <p:cNvSpPr/>
                <p:nvPr/>
              </p:nvSpPr>
              <p:spPr>
                <a:xfrm>
                  <a:off x="7698211" y="3190083"/>
                  <a:ext cx="78371" cy="145815"/>
                </a:xfrm>
                <a:custGeom>
                  <a:avLst/>
                  <a:gdLst>
                    <a:gd name="connsiteX0" fmla="*/ 0 w 78371"/>
                    <a:gd name="connsiteY0" fmla="*/ 0 h 145815"/>
                    <a:gd name="connsiteX1" fmla="*/ 0 w 78371"/>
                    <a:gd name="connsiteY1" fmla="*/ 100978 h 145815"/>
                    <a:gd name="connsiteX2" fmla="*/ 21351 w 78371"/>
                    <a:gd name="connsiteY2" fmla="*/ 113161 h 145815"/>
                    <a:gd name="connsiteX3" fmla="*/ 78371 w 78371"/>
                    <a:gd name="connsiteY3" fmla="*/ 145816 h 145815"/>
                    <a:gd name="connsiteX4" fmla="*/ 78371 w 78371"/>
                    <a:gd name="connsiteY4" fmla="*/ 145816 h 145815"/>
                    <a:gd name="connsiteX5" fmla="*/ 78371 w 78371"/>
                    <a:gd name="connsiteY5" fmla="*/ 145816 h 145815"/>
                    <a:gd name="connsiteX6" fmla="*/ 78371 w 78371"/>
                    <a:gd name="connsiteY6" fmla="*/ 64053 h 145815"/>
                    <a:gd name="connsiteX7" fmla="*/ 78371 w 78371"/>
                    <a:gd name="connsiteY7" fmla="*/ 49861 h 145815"/>
                    <a:gd name="connsiteX8" fmla="*/ 78371 w 78371"/>
                    <a:gd name="connsiteY8" fmla="*/ 45214 h 145815"/>
                    <a:gd name="connsiteX9" fmla="*/ 58402 w 78371"/>
                    <a:gd name="connsiteY9" fmla="*/ 33660 h 145815"/>
                    <a:gd name="connsiteX10" fmla="*/ 0 w 78371"/>
                    <a:gd name="connsiteY10" fmla="*/ 0 h 1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371" h="145815">
                      <a:moveTo>
                        <a:pt x="0" y="0"/>
                      </a:moveTo>
                      <a:lnTo>
                        <a:pt x="0" y="100978"/>
                      </a:lnTo>
                      <a:lnTo>
                        <a:pt x="21351" y="113161"/>
                      </a:lnTo>
                      <a:lnTo>
                        <a:pt x="78371" y="145816"/>
                      </a:lnTo>
                      <a:lnTo>
                        <a:pt x="78371" y="145816"/>
                      </a:lnTo>
                      <a:lnTo>
                        <a:pt x="78371" y="145816"/>
                      </a:lnTo>
                      <a:lnTo>
                        <a:pt x="78371" y="64053"/>
                      </a:lnTo>
                      <a:lnTo>
                        <a:pt x="78371" y="49861"/>
                      </a:lnTo>
                      <a:lnTo>
                        <a:pt x="78371" y="45214"/>
                      </a:lnTo>
                      <a:lnTo>
                        <a:pt x="58402" y="3366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62" name="Freeform: Shape 4361">
                <a:extLst>
                  <a:ext uri="{FF2B5EF4-FFF2-40B4-BE49-F238E27FC236}">
                    <a16:creationId xmlns:a16="http://schemas.microsoft.com/office/drawing/2014/main" id="{76FBDE88-9CB6-4144-BA39-F67EC686CFC6}"/>
                  </a:ext>
                </a:extLst>
              </p:cNvPr>
              <p:cNvSpPr/>
              <p:nvPr/>
            </p:nvSpPr>
            <p:spPr>
              <a:xfrm>
                <a:off x="7810367" y="3210429"/>
                <a:ext cx="9796" cy="106253"/>
              </a:xfrm>
              <a:custGeom>
                <a:avLst/>
                <a:gdLst>
                  <a:gd name="connsiteX0" fmla="*/ 0 w 9796"/>
                  <a:gd name="connsiteY0" fmla="*/ 5652 h 106253"/>
                  <a:gd name="connsiteX1" fmla="*/ 0 w 9796"/>
                  <a:gd name="connsiteY1" fmla="*/ 106253 h 106253"/>
                  <a:gd name="connsiteX2" fmla="*/ 9797 w 9796"/>
                  <a:gd name="connsiteY2" fmla="*/ 100601 h 106253"/>
                  <a:gd name="connsiteX3" fmla="*/ 9797 w 9796"/>
                  <a:gd name="connsiteY3" fmla="*/ 0 h 106253"/>
                </a:gdLst>
                <a:ahLst/>
                <a:cxnLst>
                  <a:cxn ang="0">
                    <a:pos x="connsiteX0" y="connsiteY0"/>
                  </a:cxn>
                  <a:cxn ang="0">
                    <a:pos x="connsiteX1" y="connsiteY1"/>
                  </a:cxn>
                  <a:cxn ang="0">
                    <a:pos x="connsiteX2" y="connsiteY2"/>
                  </a:cxn>
                  <a:cxn ang="0">
                    <a:pos x="connsiteX3" y="connsiteY3"/>
                  </a:cxn>
                </a:cxnLst>
                <a:rect l="l" t="t" r="r" b="b"/>
                <a:pathLst>
                  <a:path w="9796" h="106253">
                    <a:moveTo>
                      <a:pt x="0" y="5652"/>
                    </a:moveTo>
                    <a:lnTo>
                      <a:pt x="0" y="106253"/>
                    </a:lnTo>
                    <a:lnTo>
                      <a:pt x="9797" y="100601"/>
                    </a:lnTo>
                    <a:lnTo>
                      <a:pt x="9797"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3" name="Freeform: Shape 4362">
                <a:extLst>
                  <a:ext uri="{FF2B5EF4-FFF2-40B4-BE49-F238E27FC236}">
                    <a16:creationId xmlns:a16="http://schemas.microsoft.com/office/drawing/2014/main" id="{45113387-9F24-4A73-B975-58908A5CE175}"/>
                  </a:ext>
                </a:extLst>
              </p:cNvPr>
              <p:cNvSpPr/>
              <p:nvPr/>
            </p:nvSpPr>
            <p:spPr>
              <a:xfrm>
                <a:off x="7731745" y="3165090"/>
                <a:ext cx="88418" cy="50991"/>
              </a:xfrm>
              <a:custGeom>
                <a:avLst/>
                <a:gdLst>
                  <a:gd name="connsiteX0" fmla="*/ 0 w 88418"/>
                  <a:gd name="connsiteY0" fmla="*/ 5526 h 50991"/>
                  <a:gd name="connsiteX1" fmla="*/ 27380 w 88418"/>
                  <a:gd name="connsiteY1" fmla="*/ 21477 h 50991"/>
                  <a:gd name="connsiteX2" fmla="*/ 37176 w 88418"/>
                  <a:gd name="connsiteY2" fmla="*/ 27128 h 50991"/>
                  <a:gd name="connsiteX3" fmla="*/ 78371 w 88418"/>
                  <a:gd name="connsiteY3" fmla="*/ 50866 h 50991"/>
                  <a:gd name="connsiteX4" fmla="*/ 78622 w 88418"/>
                  <a:gd name="connsiteY4" fmla="*/ 50991 h 50991"/>
                  <a:gd name="connsiteX5" fmla="*/ 88418 w 88418"/>
                  <a:gd name="connsiteY5" fmla="*/ 45340 h 50991"/>
                  <a:gd name="connsiteX6" fmla="*/ 88167 w 88418"/>
                  <a:gd name="connsiteY6" fmla="*/ 45214 h 50991"/>
                  <a:gd name="connsiteX7" fmla="*/ 46972 w 88418"/>
                  <a:gd name="connsiteY7" fmla="*/ 21477 h 50991"/>
                  <a:gd name="connsiteX8" fmla="*/ 37176 w 88418"/>
                  <a:gd name="connsiteY8" fmla="*/ 15699 h 50991"/>
                  <a:gd name="connsiteX9" fmla="*/ 9796 w 88418"/>
                  <a:gd name="connsiteY9" fmla="*/ 0 h 5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418" h="50991">
                    <a:moveTo>
                      <a:pt x="0" y="5526"/>
                    </a:moveTo>
                    <a:lnTo>
                      <a:pt x="27380" y="21477"/>
                    </a:lnTo>
                    <a:lnTo>
                      <a:pt x="37176" y="27128"/>
                    </a:lnTo>
                    <a:lnTo>
                      <a:pt x="78371" y="50866"/>
                    </a:lnTo>
                    <a:lnTo>
                      <a:pt x="78622" y="50991"/>
                    </a:lnTo>
                    <a:lnTo>
                      <a:pt x="88418" y="45340"/>
                    </a:lnTo>
                    <a:lnTo>
                      <a:pt x="88167" y="45214"/>
                    </a:lnTo>
                    <a:lnTo>
                      <a:pt x="46972" y="21477"/>
                    </a:lnTo>
                    <a:lnTo>
                      <a:pt x="37176" y="15699"/>
                    </a:lnTo>
                    <a:lnTo>
                      <a:pt x="979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364" name="Graphic 4">
                <a:extLst>
                  <a:ext uri="{FF2B5EF4-FFF2-40B4-BE49-F238E27FC236}">
                    <a16:creationId xmlns:a16="http://schemas.microsoft.com/office/drawing/2014/main" id="{84FB7ED1-A2DF-40A1-A747-5F7CF3F14040}"/>
                  </a:ext>
                </a:extLst>
              </p:cNvPr>
              <p:cNvGrpSpPr/>
              <p:nvPr/>
            </p:nvGrpSpPr>
            <p:grpSpPr>
              <a:xfrm>
                <a:off x="7705998" y="3202642"/>
                <a:ext cx="35794" cy="51493"/>
                <a:chOff x="7705998" y="3202642"/>
                <a:chExt cx="35794" cy="51493"/>
              </a:xfrm>
              <a:solidFill>
                <a:schemeClr val="accent1"/>
              </a:solidFill>
            </p:grpSpPr>
            <p:sp>
              <p:nvSpPr>
                <p:cNvPr id="4365" name="Freeform: Shape 4364">
                  <a:extLst>
                    <a:ext uri="{FF2B5EF4-FFF2-40B4-BE49-F238E27FC236}">
                      <a16:creationId xmlns:a16="http://schemas.microsoft.com/office/drawing/2014/main" id="{FA9011CC-2CEB-460B-989E-366B8E0DDAC0}"/>
                    </a:ext>
                  </a:extLst>
                </p:cNvPr>
                <p:cNvSpPr/>
                <p:nvPr/>
              </p:nvSpPr>
              <p:spPr>
                <a:xfrm>
                  <a:off x="7705998" y="3202642"/>
                  <a:ext cx="35794" cy="51493"/>
                </a:xfrm>
                <a:custGeom>
                  <a:avLst/>
                  <a:gdLst>
                    <a:gd name="connsiteX0" fmla="*/ 0 w 35794"/>
                    <a:gd name="connsiteY0" fmla="*/ 30771 h 51493"/>
                    <a:gd name="connsiteX1" fmla="*/ 35795 w 35794"/>
                    <a:gd name="connsiteY1" fmla="*/ 51494 h 51493"/>
                    <a:gd name="connsiteX2" fmla="*/ 35795 w 35794"/>
                    <a:gd name="connsiteY2" fmla="*/ 20723 h 51493"/>
                    <a:gd name="connsiteX3" fmla="*/ 0 w 35794"/>
                    <a:gd name="connsiteY3" fmla="*/ 0 h 51493"/>
                  </a:gdLst>
                  <a:ahLst/>
                  <a:cxnLst>
                    <a:cxn ang="0">
                      <a:pos x="connsiteX0" y="connsiteY0"/>
                    </a:cxn>
                    <a:cxn ang="0">
                      <a:pos x="connsiteX1" y="connsiteY1"/>
                    </a:cxn>
                    <a:cxn ang="0">
                      <a:pos x="connsiteX2" y="connsiteY2"/>
                    </a:cxn>
                    <a:cxn ang="0">
                      <a:pos x="connsiteX3" y="connsiteY3"/>
                    </a:cxn>
                  </a:cxnLst>
                  <a:rect l="l" t="t" r="r" b="b"/>
                  <a:pathLst>
                    <a:path w="35794" h="51493">
                      <a:moveTo>
                        <a:pt x="0" y="30771"/>
                      </a:moveTo>
                      <a:lnTo>
                        <a:pt x="35795" y="51494"/>
                      </a:lnTo>
                      <a:lnTo>
                        <a:pt x="35795" y="20723"/>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6" name="Freeform: Shape 4365">
                  <a:extLst>
                    <a:ext uri="{FF2B5EF4-FFF2-40B4-BE49-F238E27FC236}">
                      <a16:creationId xmlns:a16="http://schemas.microsoft.com/office/drawing/2014/main" id="{5343B200-A762-4EE0-A21F-7D1B19735F45}"/>
                    </a:ext>
                  </a:extLst>
                </p:cNvPr>
                <p:cNvSpPr/>
                <p:nvPr/>
              </p:nvSpPr>
              <p:spPr>
                <a:xfrm>
                  <a:off x="7709389" y="3208420"/>
                  <a:ext cx="29012" cy="20220"/>
                </a:xfrm>
                <a:custGeom>
                  <a:avLst/>
                  <a:gdLst>
                    <a:gd name="connsiteX0" fmla="*/ 0 w 29012"/>
                    <a:gd name="connsiteY0" fmla="*/ 3391 h 20220"/>
                    <a:gd name="connsiteX1" fmla="*/ 29012 w 29012"/>
                    <a:gd name="connsiteY1" fmla="*/ 20221 h 20220"/>
                    <a:gd name="connsiteX2" fmla="*/ 29012 w 29012"/>
                    <a:gd name="connsiteY2" fmla="*/ 16830 h 20220"/>
                    <a:gd name="connsiteX3" fmla="*/ 0 w 29012"/>
                    <a:gd name="connsiteY3" fmla="*/ 0 h 20220"/>
                  </a:gdLst>
                  <a:ahLst/>
                  <a:cxnLst>
                    <a:cxn ang="0">
                      <a:pos x="connsiteX0" y="connsiteY0"/>
                    </a:cxn>
                    <a:cxn ang="0">
                      <a:pos x="connsiteX1" y="connsiteY1"/>
                    </a:cxn>
                    <a:cxn ang="0">
                      <a:pos x="connsiteX2" y="connsiteY2"/>
                    </a:cxn>
                    <a:cxn ang="0">
                      <a:pos x="connsiteX3" y="connsiteY3"/>
                    </a:cxn>
                  </a:cxnLst>
                  <a:rect l="l" t="t" r="r" b="b"/>
                  <a:pathLst>
                    <a:path w="29012" h="20220">
                      <a:moveTo>
                        <a:pt x="0" y="3391"/>
                      </a:moveTo>
                      <a:lnTo>
                        <a:pt x="29012" y="20221"/>
                      </a:lnTo>
                      <a:lnTo>
                        <a:pt x="29012" y="16830"/>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7" name="Freeform: Shape 4366">
                  <a:extLst>
                    <a:ext uri="{FF2B5EF4-FFF2-40B4-BE49-F238E27FC236}">
                      <a16:creationId xmlns:a16="http://schemas.microsoft.com/office/drawing/2014/main" id="{2AF91322-14AF-449B-B0BE-8BF144101F4A}"/>
                    </a:ext>
                  </a:extLst>
                </p:cNvPr>
                <p:cNvSpPr/>
                <p:nvPr/>
              </p:nvSpPr>
              <p:spPr>
                <a:xfrm>
                  <a:off x="7709389" y="3216583"/>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8" name="Freeform: Shape 4367">
                  <a:extLst>
                    <a:ext uri="{FF2B5EF4-FFF2-40B4-BE49-F238E27FC236}">
                      <a16:creationId xmlns:a16="http://schemas.microsoft.com/office/drawing/2014/main" id="{1A672628-C54D-4160-B95E-C253ED19CABB}"/>
                    </a:ext>
                  </a:extLst>
                </p:cNvPr>
                <p:cNvSpPr/>
                <p:nvPr/>
              </p:nvSpPr>
              <p:spPr>
                <a:xfrm>
                  <a:off x="7709389" y="3220602"/>
                  <a:ext cx="29012" cy="18336"/>
                </a:xfrm>
                <a:custGeom>
                  <a:avLst/>
                  <a:gdLst>
                    <a:gd name="connsiteX0" fmla="*/ 0 w 29012"/>
                    <a:gd name="connsiteY0" fmla="*/ 1507 h 18336"/>
                    <a:gd name="connsiteX1" fmla="*/ 29012 w 29012"/>
                    <a:gd name="connsiteY1" fmla="*/ 18337 h 18336"/>
                    <a:gd name="connsiteX2" fmla="*/ 29012 w 29012"/>
                    <a:gd name="connsiteY2" fmla="*/ 16830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9" name="Freeform: Shape 4368">
                  <a:extLst>
                    <a:ext uri="{FF2B5EF4-FFF2-40B4-BE49-F238E27FC236}">
                      <a16:creationId xmlns:a16="http://schemas.microsoft.com/office/drawing/2014/main" id="{DDBBCA51-78AC-4B8F-9A98-2D6A534CE48F}"/>
                    </a:ext>
                  </a:extLst>
                </p:cNvPr>
                <p:cNvSpPr/>
                <p:nvPr/>
              </p:nvSpPr>
              <p:spPr>
                <a:xfrm>
                  <a:off x="7709389" y="3224998"/>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0" name="Freeform: Shape 4369">
                  <a:extLst>
                    <a:ext uri="{FF2B5EF4-FFF2-40B4-BE49-F238E27FC236}">
                      <a16:creationId xmlns:a16="http://schemas.microsoft.com/office/drawing/2014/main" id="{0FFA391F-1D28-4A43-9E1C-90587A9D4251}"/>
                    </a:ext>
                  </a:extLst>
                </p:cNvPr>
                <p:cNvSpPr/>
                <p:nvPr/>
              </p:nvSpPr>
              <p:spPr>
                <a:xfrm>
                  <a:off x="7709389" y="3229017"/>
                  <a:ext cx="29012" cy="18336"/>
                </a:xfrm>
                <a:custGeom>
                  <a:avLst/>
                  <a:gdLst>
                    <a:gd name="connsiteX0" fmla="*/ 0 w 29012"/>
                    <a:gd name="connsiteY0" fmla="*/ 1507 h 18336"/>
                    <a:gd name="connsiteX1" fmla="*/ 29012 w 29012"/>
                    <a:gd name="connsiteY1" fmla="*/ 18337 h 18336"/>
                    <a:gd name="connsiteX2" fmla="*/ 29012 w 29012"/>
                    <a:gd name="connsiteY2" fmla="*/ 16704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371" name="Graphic 4">
              <a:extLst>
                <a:ext uri="{FF2B5EF4-FFF2-40B4-BE49-F238E27FC236}">
                  <a16:creationId xmlns:a16="http://schemas.microsoft.com/office/drawing/2014/main" id="{84FB7ED1-A2DF-40A1-A747-5F7CF3F14040}"/>
                </a:ext>
              </a:extLst>
            </p:cNvPr>
            <p:cNvGrpSpPr/>
            <p:nvPr/>
          </p:nvGrpSpPr>
          <p:grpSpPr>
            <a:xfrm>
              <a:off x="7293168" y="3147506"/>
              <a:ext cx="152220" cy="188392"/>
              <a:chOff x="7293168" y="3147506"/>
              <a:chExt cx="152220" cy="188392"/>
            </a:xfrm>
            <a:solidFill>
              <a:schemeClr val="accent1"/>
            </a:solidFill>
          </p:grpSpPr>
          <p:grpSp>
            <p:nvGrpSpPr>
              <p:cNvPr id="4372" name="Graphic 4">
                <a:extLst>
                  <a:ext uri="{FF2B5EF4-FFF2-40B4-BE49-F238E27FC236}">
                    <a16:creationId xmlns:a16="http://schemas.microsoft.com/office/drawing/2014/main" id="{84FB7ED1-A2DF-40A1-A747-5F7CF3F14040}"/>
                  </a:ext>
                </a:extLst>
              </p:cNvPr>
              <p:cNvGrpSpPr/>
              <p:nvPr/>
            </p:nvGrpSpPr>
            <p:grpSpPr>
              <a:xfrm>
                <a:off x="7293168" y="3147506"/>
                <a:ext cx="152220" cy="188392"/>
                <a:chOff x="7293168" y="3147506"/>
                <a:chExt cx="152220" cy="188392"/>
              </a:xfrm>
              <a:solidFill>
                <a:schemeClr val="accent1"/>
              </a:solidFill>
            </p:grpSpPr>
            <p:sp>
              <p:nvSpPr>
                <p:cNvPr id="4373" name="Freeform: Shape 4372">
                  <a:extLst>
                    <a:ext uri="{FF2B5EF4-FFF2-40B4-BE49-F238E27FC236}">
                      <a16:creationId xmlns:a16="http://schemas.microsoft.com/office/drawing/2014/main" id="{BF343BD0-2F62-4E2A-958C-78EE43A4D4C2}"/>
                    </a:ext>
                  </a:extLst>
                </p:cNvPr>
                <p:cNvSpPr/>
                <p:nvPr/>
              </p:nvSpPr>
              <p:spPr>
                <a:xfrm>
                  <a:off x="7293168" y="3147506"/>
                  <a:ext cx="152220" cy="87916"/>
                </a:xfrm>
                <a:custGeom>
                  <a:avLst/>
                  <a:gdLst>
                    <a:gd name="connsiteX0" fmla="*/ 0 w 152220"/>
                    <a:gd name="connsiteY0" fmla="*/ 42577 h 87916"/>
                    <a:gd name="connsiteX1" fmla="*/ 0 w 152220"/>
                    <a:gd name="connsiteY1" fmla="*/ 42577 h 87916"/>
                    <a:gd name="connsiteX2" fmla="*/ 58402 w 152220"/>
                    <a:gd name="connsiteY2" fmla="*/ 76362 h 87916"/>
                    <a:gd name="connsiteX3" fmla="*/ 78371 w 152220"/>
                    <a:gd name="connsiteY3" fmla="*/ 87916 h 87916"/>
                    <a:gd name="connsiteX4" fmla="*/ 78371 w 152220"/>
                    <a:gd name="connsiteY4" fmla="*/ 87916 h 87916"/>
                    <a:gd name="connsiteX5" fmla="*/ 112031 w 152220"/>
                    <a:gd name="connsiteY5" fmla="*/ 68449 h 87916"/>
                    <a:gd name="connsiteX6" fmla="*/ 112031 w 152220"/>
                    <a:gd name="connsiteY6" fmla="*/ 68449 h 87916"/>
                    <a:gd name="connsiteX7" fmla="*/ 121827 w 152220"/>
                    <a:gd name="connsiteY7" fmla="*/ 62797 h 87916"/>
                    <a:gd name="connsiteX8" fmla="*/ 152221 w 152220"/>
                    <a:gd name="connsiteY8" fmla="*/ 45214 h 87916"/>
                    <a:gd name="connsiteX9" fmla="*/ 73850 w 152220"/>
                    <a:gd name="connsiteY9" fmla="*/ 0 h 87916"/>
                    <a:gd name="connsiteX10" fmla="*/ 43456 w 152220"/>
                    <a:gd name="connsiteY10" fmla="*/ 17583 h 87916"/>
                    <a:gd name="connsiteX11" fmla="*/ 33659 w 152220"/>
                    <a:gd name="connsiteY11" fmla="*/ 23235 h 87916"/>
                    <a:gd name="connsiteX12" fmla="*/ 0 w 152220"/>
                    <a:gd name="connsiteY12" fmla="*/ 42577 h 8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20" h="87916">
                      <a:moveTo>
                        <a:pt x="0" y="42577"/>
                      </a:moveTo>
                      <a:lnTo>
                        <a:pt x="0" y="42577"/>
                      </a:lnTo>
                      <a:lnTo>
                        <a:pt x="58402" y="76362"/>
                      </a:lnTo>
                      <a:lnTo>
                        <a:pt x="78371" y="87916"/>
                      </a:lnTo>
                      <a:lnTo>
                        <a:pt x="78371" y="87916"/>
                      </a:lnTo>
                      <a:lnTo>
                        <a:pt x="112031" y="68449"/>
                      </a:lnTo>
                      <a:lnTo>
                        <a:pt x="112031" y="68449"/>
                      </a:lnTo>
                      <a:lnTo>
                        <a:pt x="121827" y="62797"/>
                      </a:lnTo>
                      <a:lnTo>
                        <a:pt x="152221" y="45214"/>
                      </a:lnTo>
                      <a:lnTo>
                        <a:pt x="73850" y="0"/>
                      </a:lnTo>
                      <a:lnTo>
                        <a:pt x="43456" y="17583"/>
                      </a:lnTo>
                      <a:lnTo>
                        <a:pt x="33659" y="23235"/>
                      </a:lnTo>
                      <a:lnTo>
                        <a:pt x="0" y="42577"/>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4" name="Freeform: Shape 4373">
                  <a:extLst>
                    <a:ext uri="{FF2B5EF4-FFF2-40B4-BE49-F238E27FC236}">
                      <a16:creationId xmlns:a16="http://schemas.microsoft.com/office/drawing/2014/main" id="{7453F0F6-406F-4681-AE65-9DEEC487B9AC}"/>
                    </a:ext>
                  </a:extLst>
                </p:cNvPr>
                <p:cNvSpPr/>
                <p:nvPr/>
              </p:nvSpPr>
              <p:spPr>
                <a:xfrm>
                  <a:off x="7295931" y="3149013"/>
                  <a:ext cx="146568" cy="84273"/>
                </a:xfrm>
                <a:custGeom>
                  <a:avLst/>
                  <a:gdLst>
                    <a:gd name="connsiteX0" fmla="*/ 0 w 146568"/>
                    <a:gd name="connsiteY0" fmla="*/ 41069 h 84273"/>
                    <a:gd name="connsiteX1" fmla="*/ 75483 w 146568"/>
                    <a:gd name="connsiteY1" fmla="*/ 84274 h 84273"/>
                    <a:gd name="connsiteX2" fmla="*/ 107509 w 146568"/>
                    <a:gd name="connsiteY2" fmla="*/ 66063 h 84273"/>
                    <a:gd name="connsiteX3" fmla="*/ 117305 w 146568"/>
                    <a:gd name="connsiteY3" fmla="*/ 60411 h 84273"/>
                    <a:gd name="connsiteX4" fmla="*/ 146569 w 146568"/>
                    <a:gd name="connsiteY4" fmla="*/ 43707 h 84273"/>
                    <a:gd name="connsiteX5" fmla="*/ 70961 w 146568"/>
                    <a:gd name="connsiteY5" fmla="*/ 0 h 84273"/>
                    <a:gd name="connsiteX6" fmla="*/ 41823 w 146568"/>
                    <a:gd name="connsiteY6" fmla="*/ 16830 h 84273"/>
                    <a:gd name="connsiteX7" fmla="*/ 32027 w 146568"/>
                    <a:gd name="connsiteY7" fmla="*/ 22481 h 84273"/>
                    <a:gd name="connsiteX8" fmla="*/ 0 w 146568"/>
                    <a:gd name="connsiteY8" fmla="*/ 41069 h 8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568" h="84273">
                      <a:moveTo>
                        <a:pt x="0" y="41069"/>
                      </a:moveTo>
                      <a:lnTo>
                        <a:pt x="75483" y="84274"/>
                      </a:lnTo>
                      <a:lnTo>
                        <a:pt x="107509" y="66063"/>
                      </a:lnTo>
                      <a:lnTo>
                        <a:pt x="117305" y="60411"/>
                      </a:lnTo>
                      <a:lnTo>
                        <a:pt x="146569" y="43707"/>
                      </a:lnTo>
                      <a:lnTo>
                        <a:pt x="70961" y="0"/>
                      </a:lnTo>
                      <a:lnTo>
                        <a:pt x="41823" y="16830"/>
                      </a:lnTo>
                      <a:lnTo>
                        <a:pt x="32027" y="22481"/>
                      </a:lnTo>
                      <a:lnTo>
                        <a:pt x="0" y="41069"/>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5" name="Freeform: Shape 4374">
                  <a:extLst>
                    <a:ext uri="{FF2B5EF4-FFF2-40B4-BE49-F238E27FC236}">
                      <a16:creationId xmlns:a16="http://schemas.microsoft.com/office/drawing/2014/main" id="{05153BE3-5CC0-4C1C-B2A1-14B4265AF865}"/>
                    </a:ext>
                  </a:extLst>
                </p:cNvPr>
                <p:cNvSpPr/>
                <p:nvPr/>
              </p:nvSpPr>
              <p:spPr>
                <a:xfrm>
                  <a:off x="7371414" y="3192720"/>
                  <a:ext cx="73849" cy="143177"/>
                </a:xfrm>
                <a:custGeom>
                  <a:avLst/>
                  <a:gdLst>
                    <a:gd name="connsiteX0" fmla="*/ 0 w 73849"/>
                    <a:gd name="connsiteY0" fmla="*/ 42577 h 143177"/>
                    <a:gd name="connsiteX1" fmla="*/ 0 w 73849"/>
                    <a:gd name="connsiteY1" fmla="*/ 47224 h 143177"/>
                    <a:gd name="connsiteX2" fmla="*/ 0 w 73849"/>
                    <a:gd name="connsiteY2" fmla="*/ 61416 h 143177"/>
                    <a:gd name="connsiteX3" fmla="*/ 125 w 73849"/>
                    <a:gd name="connsiteY3" fmla="*/ 143178 h 143177"/>
                    <a:gd name="connsiteX4" fmla="*/ 125 w 73849"/>
                    <a:gd name="connsiteY4" fmla="*/ 143178 h 143177"/>
                    <a:gd name="connsiteX5" fmla="*/ 125 w 73849"/>
                    <a:gd name="connsiteY5" fmla="*/ 143178 h 143177"/>
                    <a:gd name="connsiteX6" fmla="*/ 33910 w 73849"/>
                    <a:gd name="connsiteY6" fmla="*/ 123962 h 143177"/>
                    <a:gd name="connsiteX7" fmla="*/ 43707 w 73849"/>
                    <a:gd name="connsiteY7" fmla="*/ 118310 h 143177"/>
                    <a:gd name="connsiteX8" fmla="*/ 73849 w 73849"/>
                    <a:gd name="connsiteY8" fmla="*/ 101104 h 143177"/>
                    <a:gd name="connsiteX9" fmla="*/ 73849 w 73849"/>
                    <a:gd name="connsiteY9" fmla="*/ 0 h 143177"/>
                    <a:gd name="connsiteX10" fmla="*/ 43455 w 73849"/>
                    <a:gd name="connsiteY10" fmla="*/ 17583 h 143177"/>
                    <a:gd name="connsiteX11" fmla="*/ 33659 w 73849"/>
                    <a:gd name="connsiteY11" fmla="*/ 23235 h 143177"/>
                    <a:gd name="connsiteX12" fmla="*/ 0 w 73849"/>
                    <a:gd name="connsiteY12" fmla="*/ 42577 h 14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849" h="143177">
                      <a:moveTo>
                        <a:pt x="0" y="42577"/>
                      </a:moveTo>
                      <a:lnTo>
                        <a:pt x="0" y="47224"/>
                      </a:lnTo>
                      <a:lnTo>
                        <a:pt x="0" y="61416"/>
                      </a:lnTo>
                      <a:lnTo>
                        <a:pt x="125" y="143178"/>
                      </a:lnTo>
                      <a:lnTo>
                        <a:pt x="125" y="143178"/>
                      </a:lnTo>
                      <a:lnTo>
                        <a:pt x="125" y="143178"/>
                      </a:lnTo>
                      <a:lnTo>
                        <a:pt x="33910" y="123962"/>
                      </a:lnTo>
                      <a:lnTo>
                        <a:pt x="43707" y="118310"/>
                      </a:lnTo>
                      <a:lnTo>
                        <a:pt x="73849" y="101104"/>
                      </a:lnTo>
                      <a:lnTo>
                        <a:pt x="73849" y="0"/>
                      </a:lnTo>
                      <a:lnTo>
                        <a:pt x="43455" y="17583"/>
                      </a:lnTo>
                      <a:lnTo>
                        <a:pt x="33659" y="23235"/>
                      </a:lnTo>
                      <a:lnTo>
                        <a:pt x="0" y="42577"/>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6" name="Freeform: Shape 4375">
                  <a:extLst>
                    <a:ext uri="{FF2B5EF4-FFF2-40B4-BE49-F238E27FC236}">
                      <a16:creationId xmlns:a16="http://schemas.microsoft.com/office/drawing/2014/main" id="{A5480D1E-5CF3-4C8C-9FBD-CCA90A1FD53A}"/>
                    </a:ext>
                  </a:extLst>
                </p:cNvPr>
                <p:cNvSpPr/>
                <p:nvPr/>
              </p:nvSpPr>
              <p:spPr>
                <a:xfrm>
                  <a:off x="7293168" y="3190083"/>
                  <a:ext cx="78371" cy="145815"/>
                </a:xfrm>
                <a:custGeom>
                  <a:avLst/>
                  <a:gdLst>
                    <a:gd name="connsiteX0" fmla="*/ 0 w 78371"/>
                    <a:gd name="connsiteY0" fmla="*/ 0 h 145815"/>
                    <a:gd name="connsiteX1" fmla="*/ 0 w 78371"/>
                    <a:gd name="connsiteY1" fmla="*/ 100978 h 145815"/>
                    <a:gd name="connsiteX2" fmla="*/ 21351 w 78371"/>
                    <a:gd name="connsiteY2" fmla="*/ 113161 h 145815"/>
                    <a:gd name="connsiteX3" fmla="*/ 78371 w 78371"/>
                    <a:gd name="connsiteY3" fmla="*/ 145816 h 145815"/>
                    <a:gd name="connsiteX4" fmla="*/ 78371 w 78371"/>
                    <a:gd name="connsiteY4" fmla="*/ 145816 h 145815"/>
                    <a:gd name="connsiteX5" fmla="*/ 78371 w 78371"/>
                    <a:gd name="connsiteY5" fmla="*/ 145816 h 145815"/>
                    <a:gd name="connsiteX6" fmla="*/ 78371 w 78371"/>
                    <a:gd name="connsiteY6" fmla="*/ 64053 h 145815"/>
                    <a:gd name="connsiteX7" fmla="*/ 78371 w 78371"/>
                    <a:gd name="connsiteY7" fmla="*/ 49861 h 145815"/>
                    <a:gd name="connsiteX8" fmla="*/ 78371 w 78371"/>
                    <a:gd name="connsiteY8" fmla="*/ 45214 h 145815"/>
                    <a:gd name="connsiteX9" fmla="*/ 58402 w 78371"/>
                    <a:gd name="connsiteY9" fmla="*/ 33660 h 145815"/>
                    <a:gd name="connsiteX10" fmla="*/ 0 w 78371"/>
                    <a:gd name="connsiteY10" fmla="*/ 0 h 1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371" h="145815">
                      <a:moveTo>
                        <a:pt x="0" y="0"/>
                      </a:moveTo>
                      <a:lnTo>
                        <a:pt x="0" y="100978"/>
                      </a:lnTo>
                      <a:lnTo>
                        <a:pt x="21351" y="113161"/>
                      </a:lnTo>
                      <a:lnTo>
                        <a:pt x="78371" y="145816"/>
                      </a:lnTo>
                      <a:lnTo>
                        <a:pt x="78371" y="145816"/>
                      </a:lnTo>
                      <a:lnTo>
                        <a:pt x="78371" y="145816"/>
                      </a:lnTo>
                      <a:lnTo>
                        <a:pt x="78371" y="64053"/>
                      </a:lnTo>
                      <a:lnTo>
                        <a:pt x="78371" y="49861"/>
                      </a:lnTo>
                      <a:lnTo>
                        <a:pt x="78371" y="45214"/>
                      </a:lnTo>
                      <a:lnTo>
                        <a:pt x="58402" y="3366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77" name="Freeform: Shape 4376">
                <a:extLst>
                  <a:ext uri="{FF2B5EF4-FFF2-40B4-BE49-F238E27FC236}">
                    <a16:creationId xmlns:a16="http://schemas.microsoft.com/office/drawing/2014/main" id="{E18E64FF-BC64-49D6-8B4E-4B8DEA8ACF2F}"/>
                  </a:ext>
                </a:extLst>
              </p:cNvPr>
              <p:cNvSpPr/>
              <p:nvPr/>
            </p:nvSpPr>
            <p:spPr>
              <a:xfrm>
                <a:off x="7405324" y="3210429"/>
                <a:ext cx="9796" cy="106253"/>
              </a:xfrm>
              <a:custGeom>
                <a:avLst/>
                <a:gdLst>
                  <a:gd name="connsiteX0" fmla="*/ 0 w 9796"/>
                  <a:gd name="connsiteY0" fmla="*/ 5652 h 106253"/>
                  <a:gd name="connsiteX1" fmla="*/ 0 w 9796"/>
                  <a:gd name="connsiteY1" fmla="*/ 106253 h 106253"/>
                  <a:gd name="connsiteX2" fmla="*/ 9797 w 9796"/>
                  <a:gd name="connsiteY2" fmla="*/ 100601 h 106253"/>
                  <a:gd name="connsiteX3" fmla="*/ 9797 w 9796"/>
                  <a:gd name="connsiteY3" fmla="*/ 0 h 106253"/>
                </a:gdLst>
                <a:ahLst/>
                <a:cxnLst>
                  <a:cxn ang="0">
                    <a:pos x="connsiteX0" y="connsiteY0"/>
                  </a:cxn>
                  <a:cxn ang="0">
                    <a:pos x="connsiteX1" y="connsiteY1"/>
                  </a:cxn>
                  <a:cxn ang="0">
                    <a:pos x="connsiteX2" y="connsiteY2"/>
                  </a:cxn>
                  <a:cxn ang="0">
                    <a:pos x="connsiteX3" y="connsiteY3"/>
                  </a:cxn>
                </a:cxnLst>
                <a:rect l="l" t="t" r="r" b="b"/>
                <a:pathLst>
                  <a:path w="9796" h="106253">
                    <a:moveTo>
                      <a:pt x="0" y="5652"/>
                    </a:moveTo>
                    <a:lnTo>
                      <a:pt x="0" y="106253"/>
                    </a:lnTo>
                    <a:lnTo>
                      <a:pt x="9797" y="100601"/>
                    </a:lnTo>
                    <a:lnTo>
                      <a:pt x="9797"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8" name="Freeform: Shape 4377">
                <a:extLst>
                  <a:ext uri="{FF2B5EF4-FFF2-40B4-BE49-F238E27FC236}">
                    <a16:creationId xmlns:a16="http://schemas.microsoft.com/office/drawing/2014/main" id="{5D3C0603-A306-4D95-95F0-E206D8FC485A}"/>
                  </a:ext>
                </a:extLst>
              </p:cNvPr>
              <p:cNvSpPr/>
              <p:nvPr/>
            </p:nvSpPr>
            <p:spPr>
              <a:xfrm>
                <a:off x="7326702" y="3165090"/>
                <a:ext cx="88418" cy="50991"/>
              </a:xfrm>
              <a:custGeom>
                <a:avLst/>
                <a:gdLst>
                  <a:gd name="connsiteX0" fmla="*/ 0 w 88418"/>
                  <a:gd name="connsiteY0" fmla="*/ 5526 h 50991"/>
                  <a:gd name="connsiteX1" fmla="*/ 27380 w 88418"/>
                  <a:gd name="connsiteY1" fmla="*/ 21477 h 50991"/>
                  <a:gd name="connsiteX2" fmla="*/ 37176 w 88418"/>
                  <a:gd name="connsiteY2" fmla="*/ 27128 h 50991"/>
                  <a:gd name="connsiteX3" fmla="*/ 78371 w 88418"/>
                  <a:gd name="connsiteY3" fmla="*/ 50866 h 50991"/>
                  <a:gd name="connsiteX4" fmla="*/ 78622 w 88418"/>
                  <a:gd name="connsiteY4" fmla="*/ 50991 h 50991"/>
                  <a:gd name="connsiteX5" fmla="*/ 88418 w 88418"/>
                  <a:gd name="connsiteY5" fmla="*/ 45340 h 50991"/>
                  <a:gd name="connsiteX6" fmla="*/ 88167 w 88418"/>
                  <a:gd name="connsiteY6" fmla="*/ 45214 h 50991"/>
                  <a:gd name="connsiteX7" fmla="*/ 46972 w 88418"/>
                  <a:gd name="connsiteY7" fmla="*/ 21477 h 50991"/>
                  <a:gd name="connsiteX8" fmla="*/ 37176 w 88418"/>
                  <a:gd name="connsiteY8" fmla="*/ 15699 h 50991"/>
                  <a:gd name="connsiteX9" fmla="*/ 9796 w 88418"/>
                  <a:gd name="connsiteY9" fmla="*/ 0 h 5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418" h="50991">
                    <a:moveTo>
                      <a:pt x="0" y="5526"/>
                    </a:moveTo>
                    <a:lnTo>
                      <a:pt x="27380" y="21477"/>
                    </a:lnTo>
                    <a:lnTo>
                      <a:pt x="37176" y="27128"/>
                    </a:lnTo>
                    <a:lnTo>
                      <a:pt x="78371" y="50866"/>
                    </a:lnTo>
                    <a:lnTo>
                      <a:pt x="78622" y="50991"/>
                    </a:lnTo>
                    <a:lnTo>
                      <a:pt x="88418" y="45340"/>
                    </a:lnTo>
                    <a:lnTo>
                      <a:pt x="88167" y="45214"/>
                    </a:lnTo>
                    <a:lnTo>
                      <a:pt x="46972" y="21477"/>
                    </a:lnTo>
                    <a:lnTo>
                      <a:pt x="37176" y="15699"/>
                    </a:lnTo>
                    <a:lnTo>
                      <a:pt x="979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379" name="Graphic 4">
                <a:extLst>
                  <a:ext uri="{FF2B5EF4-FFF2-40B4-BE49-F238E27FC236}">
                    <a16:creationId xmlns:a16="http://schemas.microsoft.com/office/drawing/2014/main" id="{84FB7ED1-A2DF-40A1-A747-5F7CF3F14040}"/>
                  </a:ext>
                </a:extLst>
              </p:cNvPr>
              <p:cNvGrpSpPr/>
              <p:nvPr/>
            </p:nvGrpSpPr>
            <p:grpSpPr>
              <a:xfrm>
                <a:off x="7300829" y="3202642"/>
                <a:ext cx="35920" cy="51493"/>
                <a:chOff x="7300829" y="3202642"/>
                <a:chExt cx="35920" cy="51493"/>
              </a:xfrm>
              <a:solidFill>
                <a:schemeClr val="accent1"/>
              </a:solidFill>
            </p:grpSpPr>
            <p:sp>
              <p:nvSpPr>
                <p:cNvPr id="4380" name="Freeform: Shape 4379">
                  <a:extLst>
                    <a:ext uri="{FF2B5EF4-FFF2-40B4-BE49-F238E27FC236}">
                      <a16:creationId xmlns:a16="http://schemas.microsoft.com/office/drawing/2014/main" id="{B83EFD82-9B82-4EE2-8A53-D117C417F471}"/>
                    </a:ext>
                  </a:extLst>
                </p:cNvPr>
                <p:cNvSpPr/>
                <p:nvPr/>
              </p:nvSpPr>
              <p:spPr>
                <a:xfrm>
                  <a:off x="7300829" y="3202642"/>
                  <a:ext cx="35920" cy="51493"/>
                </a:xfrm>
                <a:custGeom>
                  <a:avLst/>
                  <a:gdLst>
                    <a:gd name="connsiteX0" fmla="*/ 0 w 35920"/>
                    <a:gd name="connsiteY0" fmla="*/ 30771 h 51493"/>
                    <a:gd name="connsiteX1" fmla="*/ 35921 w 35920"/>
                    <a:gd name="connsiteY1" fmla="*/ 51494 h 51493"/>
                    <a:gd name="connsiteX2" fmla="*/ 35921 w 35920"/>
                    <a:gd name="connsiteY2" fmla="*/ 20723 h 51493"/>
                    <a:gd name="connsiteX3" fmla="*/ 0 w 35920"/>
                    <a:gd name="connsiteY3" fmla="*/ 0 h 51493"/>
                  </a:gdLst>
                  <a:ahLst/>
                  <a:cxnLst>
                    <a:cxn ang="0">
                      <a:pos x="connsiteX0" y="connsiteY0"/>
                    </a:cxn>
                    <a:cxn ang="0">
                      <a:pos x="connsiteX1" y="connsiteY1"/>
                    </a:cxn>
                    <a:cxn ang="0">
                      <a:pos x="connsiteX2" y="connsiteY2"/>
                    </a:cxn>
                    <a:cxn ang="0">
                      <a:pos x="connsiteX3" y="connsiteY3"/>
                    </a:cxn>
                  </a:cxnLst>
                  <a:rect l="l" t="t" r="r" b="b"/>
                  <a:pathLst>
                    <a:path w="35920" h="51493">
                      <a:moveTo>
                        <a:pt x="0" y="30771"/>
                      </a:moveTo>
                      <a:lnTo>
                        <a:pt x="35921" y="51494"/>
                      </a:lnTo>
                      <a:lnTo>
                        <a:pt x="35921" y="20723"/>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1" name="Freeform: Shape 4380">
                  <a:extLst>
                    <a:ext uri="{FF2B5EF4-FFF2-40B4-BE49-F238E27FC236}">
                      <a16:creationId xmlns:a16="http://schemas.microsoft.com/office/drawing/2014/main" id="{48DF6E68-2B2B-4444-A666-6D100DCC00B3}"/>
                    </a:ext>
                  </a:extLst>
                </p:cNvPr>
                <p:cNvSpPr/>
                <p:nvPr/>
              </p:nvSpPr>
              <p:spPr>
                <a:xfrm>
                  <a:off x="7304220" y="3208420"/>
                  <a:ext cx="29138" cy="20220"/>
                </a:xfrm>
                <a:custGeom>
                  <a:avLst/>
                  <a:gdLst>
                    <a:gd name="connsiteX0" fmla="*/ 0 w 29138"/>
                    <a:gd name="connsiteY0" fmla="*/ 3391 h 20220"/>
                    <a:gd name="connsiteX1" fmla="*/ 29138 w 29138"/>
                    <a:gd name="connsiteY1" fmla="*/ 20221 h 20220"/>
                    <a:gd name="connsiteX2" fmla="*/ 29138 w 29138"/>
                    <a:gd name="connsiteY2" fmla="*/ 16830 h 20220"/>
                    <a:gd name="connsiteX3" fmla="*/ 0 w 29138"/>
                    <a:gd name="connsiteY3" fmla="*/ 0 h 20220"/>
                  </a:gdLst>
                  <a:ahLst/>
                  <a:cxnLst>
                    <a:cxn ang="0">
                      <a:pos x="connsiteX0" y="connsiteY0"/>
                    </a:cxn>
                    <a:cxn ang="0">
                      <a:pos x="connsiteX1" y="connsiteY1"/>
                    </a:cxn>
                    <a:cxn ang="0">
                      <a:pos x="connsiteX2" y="connsiteY2"/>
                    </a:cxn>
                    <a:cxn ang="0">
                      <a:pos x="connsiteX3" y="connsiteY3"/>
                    </a:cxn>
                  </a:cxnLst>
                  <a:rect l="l" t="t" r="r" b="b"/>
                  <a:pathLst>
                    <a:path w="29138" h="20220">
                      <a:moveTo>
                        <a:pt x="0" y="3391"/>
                      </a:moveTo>
                      <a:lnTo>
                        <a:pt x="29138" y="20221"/>
                      </a:lnTo>
                      <a:lnTo>
                        <a:pt x="29138" y="16830"/>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2" name="Freeform: Shape 4381">
                  <a:extLst>
                    <a:ext uri="{FF2B5EF4-FFF2-40B4-BE49-F238E27FC236}">
                      <a16:creationId xmlns:a16="http://schemas.microsoft.com/office/drawing/2014/main" id="{72305552-637B-4F73-84E8-78C37ECFE8F1}"/>
                    </a:ext>
                  </a:extLst>
                </p:cNvPr>
                <p:cNvSpPr/>
                <p:nvPr/>
              </p:nvSpPr>
              <p:spPr>
                <a:xfrm>
                  <a:off x="7304220" y="3216583"/>
                  <a:ext cx="29138" cy="18211"/>
                </a:xfrm>
                <a:custGeom>
                  <a:avLst/>
                  <a:gdLst>
                    <a:gd name="connsiteX0" fmla="*/ 0 w 29138"/>
                    <a:gd name="connsiteY0" fmla="*/ 1507 h 18211"/>
                    <a:gd name="connsiteX1" fmla="*/ 29138 w 29138"/>
                    <a:gd name="connsiteY1" fmla="*/ 18211 h 18211"/>
                    <a:gd name="connsiteX2" fmla="*/ 29138 w 29138"/>
                    <a:gd name="connsiteY2" fmla="*/ 16704 h 18211"/>
                    <a:gd name="connsiteX3" fmla="*/ 0 w 29138"/>
                    <a:gd name="connsiteY3" fmla="*/ 0 h 18211"/>
                  </a:gdLst>
                  <a:ahLst/>
                  <a:cxnLst>
                    <a:cxn ang="0">
                      <a:pos x="connsiteX0" y="connsiteY0"/>
                    </a:cxn>
                    <a:cxn ang="0">
                      <a:pos x="connsiteX1" y="connsiteY1"/>
                    </a:cxn>
                    <a:cxn ang="0">
                      <a:pos x="connsiteX2" y="connsiteY2"/>
                    </a:cxn>
                    <a:cxn ang="0">
                      <a:pos x="connsiteX3" y="connsiteY3"/>
                    </a:cxn>
                  </a:cxnLst>
                  <a:rect l="l" t="t" r="r" b="b"/>
                  <a:pathLst>
                    <a:path w="29138" h="18211">
                      <a:moveTo>
                        <a:pt x="0" y="1507"/>
                      </a:moveTo>
                      <a:lnTo>
                        <a:pt x="29138" y="18211"/>
                      </a:lnTo>
                      <a:lnTo>
                        <a:pt x="29138"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3" name="Freeform: Shape 4382">
                  <a:extLst>
                    <a:ext uri="{FF2B5EF4-FFF2-40B4-BE49-F238E27FC236}">
                      <a16:creationId xmlns:a16="http://schemas.microsoft.com/office/drawing/2014/main" id="{00349285-C243-479A-A4C9-0FCCAC5D8A13}"/>
                    </a:ext>
                  </a:extLst>
                </p:cNvPr>
                <p:cNvSpPr/>
                <p:nvPr/>
              </p:nvSpPr>
              <p:spPr>
                <a:xfrm>
                  <a:off x="7304220" y="3220602"/>
                  <a:ext cx="29138" cy="18336"/>
                </a:xfrm>
                <a:custGeom>
                  <a:avLst/>
                  <a:gdLst>
                    <a:gd name="connsiteX0" fmla="*/ 0 w 29138"/>
                    <a:gd name="connsiteY0" fmla="*/ 1507 h 18336"/>
                    <a:gd name="connsiteX1" fmla="*/ 29138 w 29138"/>
                    <a:gd name="connsiteY1" fmla="*/ 18337 h 18336"/>
                    <a:gd name="connsiteX2" fmla="*/ 29138 w 29138"/>
                    <a:gd name="connsiteY2" fmla="*/ 16830 h 18336"/>
                    <a:gd name="connsiteX3" fmla="*/ 0 w 29138"/>
                    <a:gd name="connsiteY3" fmla="*/ 0 h 18336"/>
                  </a:gdLst>
                  <a:ahLst/>
                  <a:cxnLst>
                    <a:cxn ang="0">
                      <a:pos x="connsiteX0" y="connsiteY0"/>
                    </a:cxn>
                    <a:cxn ang="0">
                      <a:pos x="connsiteX1" y="connsiteY1"/>
                    </a:cxn>
                    <a:cxn ang="0">
                      <a:pos x="connsiteX2" y="connsiteY2"/>
                    </a:cxn>
                    <a:cxn ang="0">
                      <a:pos x="connsiteX3" y="connsiteY3"/>
                    </a:cxn>
                  </a:cxnLst>
                  <a:rect l="l" t="t" r="r" b="b"/>
                  <a:pathLst>
                    <a:path w="29138" h="18336">
                      <a:moveTo>
                        <a:pt x="0" y="1507"/>
                      </a:moveTo>
                      <a:lnTo>
                        <a:pt x="29138" y="18337"/>
                      </a:lnTo>
                      <a:lnTo>
                        <a:pt x="29138"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4" name="Freeform: Shape 4383">
                  <a:extLst>
                    <a:ext uri="{FF2B5EF4-FFF2-40B4-BE49-F238E27FC236}">
                      <a16:creationId xmlns:a16="http://schemas.microsoft.com/office/drawing/2014/main" id="{8B15CAFE-D043-4C7F-B9CC-F702B524073E}"/>
                    </a:ext>
                  </a:extLst>
                </p:cNvPr>
                <p:cNvSpPr/>
                <p:nvPr/>
              </p:nvSpPr>
              <p:spPr>
                <a:xfrm>
                  <a:off x="7304220" y="3224998"/>
                  <a:ext cx="29138" cy="18211"/>
                </a:xfrm>
                <a:custGeom>
                  <a:avLst/>
                  <a:gdLst>
                    <a:gd name="connsiteX0" fmla="*/ 0 w 29138"/>
                    <a:gd name="connsiteY0" fmla="*/ 1507 h 18211"/>
                    <a:gd name="connsiteX1" fmla="*/ 29138 w 29138"/>
                    <a:gd name="connsiteY1" fmla="*/ 18211 h 18211"/>
                    <a:gd name="connsiteX2" fmla="*/ 29138 w 29138"/>
                    <a:gd name="connsiteY2" fmla="*/ 16704 h 18211"/>
                    <a:gd name="connsiteX3" fmla="*/ 0 w 29138"/>
                    <a:gd name="connsiteY3" fmla="*/ 0 h 18211"/>
                  </a:gdLst>
                  <a:ahLst/>
                  <a:cxnLst>
                    <a:cxn ang="0">
                      <a:pos x="connsiteX0" y="connsiteY0"/>
                    </a:cxn>
                    <a:cxn ang="0">
                      <a:pos x="connsiteX1" y="connsiteY1"/>
                    </a:cxn>
                    <a:cxn ang="0">
                      <a:pos x="connsiteX2" y="connsiteY2"/>
                    </a:cxn>
                    <a:cxn ang="0">
                      <a:pos x="connsiteX3" y="connsiteY3"/>
                    </a:cxn>
                  </a:cxnLst>
                  <a:rect l="l" t="t" r="r" b="b"/>
                  <a:pathLst>
                    <a:path w="29138" h="18211">
                      <a:moveTo>
                        <a:pt x="0" y="1507"/>
                      </a:moveTo>
                      <a:lnTo>
                        <a:pt x="29138" y="18211"/>
                      </a:lnTo>
                      <a:lnTo>
                        <a:pt x="29138"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5" name="Freeform: Shape 4384">
                  <a:extLst>
                    <a:ext uri="{FF2B5EF4-FFF2-40B4-BE49-F238E27FC236}">
                      <a16:creationId xmlns:a16="http://schemas.microsoft.com/office/drawing/2014/main" id="{C5AC32C5-F58D-4E56-8D90-62951EBDEFB2}"/>
                    </a:ext>
                  </a:extLst>
                </p:cNvPr>
                <p:cNvSpPr/>
                <p:nvPr/>
              </p:nvSpPr>
              <p:spPr>
                <a:xfrm>
                  <a:off x="7304220" y="3229017"/>
                  <a:ext cx="29138" cy="18336"/>
                </a:xfrm>
                <a:custGeom>
                  <a:avLst/>
                  <a:gdLst>
                    <a:gd name="connsiteX0" fmla="*/ 0 w 29138"/>
                    <a:gd name="connsiteY0" fmla="*/ 1507 h 18336"/>
                    <a:gd name="connsiteX1" fmla="*/ 29138 w 29138"/>
                    <a:gd name="connsiteY1" fmla="*/ 18337 h 18336"/>
                    <a:gd name="connsiteX2" fmla="*/ 29138 w 29138"/>
                    <a:gd name="connsiteY2" fmla="*/ 16704 h 18336"/>
                    <a:gd name="connsiteX3" fmla="*/ 0 w 29138"/>
                    <a:gd name="connsiteY3" fmla="*/ 0 h 18336"/>
                  </a:gdLst>
                  <a:ahLst/>
                  <a:cxnLst>
                    <a:cxn ang="0">
                      <a:pos x="connsiteX0" y="connsiteY0"/>
                    </a:cxn>
                    <a:cxn ang="0">
                      <a:pos x="connsiteX1" y="connsiteY1"/>
                    </a:cxn>
                    <a:cxn ang="0">
                      <a:pos x="connsiteX2" y="connsiteY2"/>
                    </a:cxn>
                    <a:cxn ang="0">
                      <a:pos x="connsiteX3" y="connsiteY3"/>
                    </a:cxn>
                  </a:cxnLst>
                  <a:rect l="l" t="t" r="r" b="b"/>
                  <a:pathLst>
                    <a:path w="29138" h="18336">
                      <a:moveTo>
                        <a:pt x="0" y="1507"/>
                      </a:moveTo>
                      <a:lnTo>
                        <a:pt x="29138" y="18337"/>
                      </a:lnTo>
                      <a:lnTo>
                        <a:pt x="29138"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386" name="Graphic 4">
              <a:extLst>
                <a:ext uri="{FF2B5EF4-FFF2-40B4-BE49-F238E27FC236}">
                  <a16:creationId xmlns:a16="http://schemas.microsoft.com/office/drawing/2014/main" id="{84FB7ED1-A2DF-40A1-A747-5F7CF3F14040}"/>
                </a:ext>
              </a:extLst>
            </p:cNvPr>
            <p:cNvGrpSpPr/>
            <p:nvPr/>
          </p:nvGrpSpPr>
          <p:grpSpPr>
            <a:xfrm>
              <a:off x="7698211" y="2976572"/>
              <a:ext cx="152220" cy="188517"/>
              <a:chOff x="7698211" y="2976572"/>
              <a:chExt cx="152220" cy="188517"/>
            </a:xfrm>
            <a:solidFill>
              <a:schemeClr val="accent1"/>
            </a:solidFill>
          </p:grpSpPr>
          <p:grpSp>
            <p:nvGrpSpPr>
              <p:cNvPr id="4387" name="Graphic 4">
                <a:extLst>
                  <a:ext uri="{FF2B5EF4-FFF2-40B4-BE49-F238E27FC236}">
                    <a16:creationId xmlns:a16="http://schemas.microsoft.com/office/drawing/2014/main" id="{84FB7ED1-A2DF-40A1-A747-5F7CF3F14040}"/>
                  </a:ext>
                </a:extLst>
              </p:cNvPr>
              <p:cNvGrpSpPr/>
              <p:nvPr/>
            </p:nvGrpSpPr>
            <p:grpSpPr>
              <a:xfrm>
                <a:off x="7698211" y="2976572"/>
                <a:ext cx="152220" cy="188517"/>
                <a:chOff x="7698211" y="2976572"/>
                <a:chExt cx="152220" cy="188517"/>
              </a:xfrm>
              <a:solidFill>
                <a:schemeClr val="accent1"/>
              </a:solidFill>
            </p:grpSpPr>
            <p:sp>
              <p:nvSpPr>
                <p:cNvPr id="4388" name="Freeform: Shape 4387">
                  <a:extLst>
                    <a:ext uri="{FF2B5EF4-FFF2-40B4-BE49-F238E27FC236}">
                      <a16:creationId xmlns:a16="http://schemas.microsoft.com/office/drawing/2014/main" id="{CF9256D9-D9AC-48B2-B4BF-30C1F49D959A}"/>
                    </a:ext>
                  </a:extLst>
                </p:cNvPr>
                <p:cNvSpPr/>
                <p:nvPr/>
              </p:nvSpPr>
              <p:spPr>
                <a:xfrm>
                  <a:off x="7698211" y="2976572"/>
                  <a:ext cx="152220" cy="87916"/>
                </a:xfrm>
                <a:custGeom>
                  <a:avLst/>
                  <a:gdLst>
                    <a:gd name="connsiteX0" fmla="*/ 0 w 152220"/>
                    <a:gd name="connsiteY0" fmla="*/ 42577 h 87916"/>
                    <a:gd name="connsiteX1" fmla="*/ 0 w 152220"/>
                    <a:gd name="connsiteY1" fmla="*/ 42577 h 87916"/>
                    <a:gd name="connsiteX2" fmla="*/ 58402 w 152220"/>
                    <a:gd name="connsiteY2" fmla="*/ 76362 h 87916"/>
                    <a:gd name="connsiteX3" fmla="*/ 78371 w 152220"/>
                    <a:gd name="connsiteY3" fmla="*/ 87916 h 87916"/>
                    <a:gd name="connsiteX4" fmla="*/ 78371 w 152220"/>
                    <a:gd name="connsiteY4" fmla="*/ 87916 h 87916"/>
                    <a:gd name="connsiteX5" fmla="*/ 112031 w 152220"/>
                    <a:gd name="connsiteY5" fmla="*/ 68449 h 87916"/>
                    <a:gd name="connsiteX6" fmla="*/ 112031 w 152220"/>
                    <a:gd name="connsiteY6" fmla="*/ 68449 h 87916"/>
                    <a:gd name="connsiteX7" fmla="*/ 121827 w 152220"/>
                    <a:gd name="connsiteY7" fmla="*/ 62797 h 87916"/>
                    <a:gd name="connsiteX8" fmla="*/ 152221 w 152220"/>
                    <a:gd name="connsiteY8" fmla="*/ 45214 h 87916"/>
                    <a:gd name="connsiteX9" fmla="*/ 73850 w 152220"/>
                    <a:gd name="connsiteY9" fmla="*/ 0 h 87916"/>
                    <a:gd name="connsiteX10" fmla="*/ 43456 w 152220"/>
                    <a:gd name="connsiteY10" fmla="*/ 17583 h 87916"/>
                    <a:gd name="connsiteX11" fmla="*/ 33659 w 152220"/>
                    <a:gd name="connsiteY11" fmla="*/ 23235 h 87916"/>
                    <a:gd name="connsiteX12" fmla="*/ 0 w 152220"/>
                    <a:gd name="connsiteY12" fmla="*/ 42577 h 8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20" h="87916">
                      <a:moveTo>
                        <a:pt x="0" y="42577"/>
                      </a:moveTo>
                      <a:lnTo>
                        <a:pt x="0" y="42577"/>
                      </a:lnTo>
                      <a:lnTo>
                        <a:pt x="58402" y="76362"/>
                      </a:lnTo>
                      <a:lnTo>
                        <a:pt x="78371" y="87916"/>
                      </a:lnTo>
                      <a:lnTo>
                        <a:pt x="78371" y="87916"/>
                      </a:lnTo>
                      <a:lnTo>
                        <a:pt x="112031" y="68449"/>
                      </a:lnTo>
                      <a:lnTo>
                        <a:pt x="112031" y="68449"/>
                      </a:lnTo>
                      <a:lnTo>
                        <a:pt x="121827" y="62797"/>
                      </a:lnTo>
                      <a:lnTo>
                        <a:pt x="152221" y="45214"/>
                      </a:lnTo>
                      <a:lnTo>
                        <a:pt x="73850" y="0"/>
                      </a:lnTo>
                      <a:lnTo>
                        <a:pt x="43456" y="17583"/>
                      </a:lnTo>
                      <a:lnTo>
                        <a:pt x="33659" y="23235"/>
                      </a:lnTo>
                      <a:lnTo>
                        <a:pt x="0" y="42577"/>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9" name="Freeform: Shape 4388">
                  <a:extLst>
                    <a:ext uri="{FF2B5EF4-FFF2-40B4-BE49-F238E27FC236}">
                      <a16:creationId xmlns:a16="http://schemas.microsoft.com/office/drawing/2014/main" id="{24336D62-5898-4CFD-ACA5-B52BFB4645E6}"/>
                    </a:ext>
                  </a:extLst>
                </p:cNvPr>
                <p:cNvSpPr/>
                <p:nvPr/>
              </p:nvSpPr>
              <p:spPr>
                <a:xfrm>
                  <a:off x="7700974" y="2978079"/>
                  <a:ext cx="146568" cy="84273"/>
                </a:xfrm>
                <a:custGeom>
                  <a:avLst/>
                  <a:gdLst>
                    <a:gd name="connsiteX0" fmla="*/ 0 w 146568"/>
                    <a:gd name="connsiteY0" fmla="*/ 41069 h 84273"/>
                    <a:gd name="connsiteX1" fmla="*/ 75483 w 146568"/>
                    <a:gd name="connsiteY1" fmla="*/ 84274 h 84273"/>
                    <a:gd name="connsiteX2" fmla="*/ 107509 w 146568"/>
                    <a:gd name="connsiteY2" fmla="*/ 66063 h 84273"/>
                    <a:gd name="connsiteX3" fmla="*/ 117305 w 146568"/>
                    <a:gd name="connsiteY3" fmla="*/ 60411 h 84273"/>
                    <a:gd name="connsiteX4" fmla="*/ 146569 w 146568"/>
                    <a:gd name="connsiteY4" fmla="*/ 43707 h 84273"/>
                    <a:gd name="connsiteX5" fmla="*/ 70961 w 146568"/>
                    <a:gd name="connsiteY5" fmla="*/ 0 h 84273"/>
                    <a:gd name="connsiteX6" fmla="*/ 41823 w 146568"/>
                    <a:gd name="connsiteY6" fmla="*/ 16830 h 84273"/>
                    <a:gd name="connsiteX7" fmla="*/ 32027 w 146568"/>
                    <a:gd name="connsiteY7" fmla="*/ 22481 h 84273"/>
                    <a:gd name="connsiteX8" fmla="*/ 0 w 146568"/>
                    <a:gd name="connsiteY8" fmla="*/ 41069 h 8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568" h="84273">
                      <a:moveTo>
                        <a:pt x="0" y="41069"/>
                      </a:moveTo>
                      <a:lnTo>
                        <a:pt x="75483" y="84274"/>
                      </a:lnTo>
                      <a:lnTo>
                        <a:pt x="107509" y="66063"/>
                      </a:lnTo>
                      <a:lnTo>
                        <a:pt x="117305" y="60411"/>
                      </a:lnTo>
                      <a:lnTo>
                        <a:pt x="146569" y="43707"/>
                      </a:lnTo>
                      <a:lnTo>
                        <a:pt x="70961" y="0"/>
                      </a:lnTo>
                      <a:lnTo>
                        <a:pt x="41823" y="16830"/>
                      </a:lnTo>
                      <a:lnTo>
                        <a:pt x="32027" y="22481"/>
                      </a:lnTo>
                      <a:lnTo>
                        <a:pt x="0" y="41069"/>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0" name="Freeform: Shape 4389">
                  <a:extLst>
                    <a:ext uri="{FF2B5EF4-FFF2-40B4-BE49-F238E27FC236}">
                      <a16:creationId xmlns:a16="http://schemas.microsoft.com/office/drawing/2014/main" id="{22CA714B-0265-452A-8B71-C2C48A0A41F9}"/>
                    </a:ext>
                  </a:extLst>
                </p:cNvPr>
                <p:cNvSpPr/>
                <p:nvPr/>
              </p:nvSpPr>
              <p:spPr>
                <a:xfrm>
                  <a:off x="7776457" y="3021786"/>
                  <a:ext cx="73974" cy="143303"/>
                </a:xfrm>
                <a:custGeom>
                  <a:avLst/>
                  <a:gdLst>
                    <a:gd name="connsiteX0" fmla="*/ 0 w 73974"/>
                    <a:gd name="connsiteY0" fmla="*/ 42577 h 143303"/>
                    <a:gd name="connsiteX1" fmla="*/ 0 w 73974"/>
                    <a:gd name="connsiteY1" fmla="*/ 47224 h 143303"/>
                    <a:gd name="connsiteX2" fmla="*/ 125 w 73974"/>
                    <a:gd name="connsiteY2" fmla="*/ 61541 h 143303"/>
                    <a:gd name="connsiteX3" fmla="*/ 125 w 73974"/>
                    <a:gd name="connsiteY3" fmla="*/ 143304 h 143303"/>
                    <a:gd name="connsiteX4" fmla="*/ 125 w 73974"/>
                    <a:gd name="connsiteY4" fmla="*/ 143304 h 143303"/>
                    <a:gd name="connsiteX5" fmla="*/ 125 w 73974"/>
                    <a:gd name="connsiteY5" fmla="*/ 143304 h 143303"/>
                    <a:gd name="connsiteX6" fmla="*/ 33910 w 73974"/>
                    <a:gd name="connsiteY6" fmla="*/ 123962 h 143303"/>
                    <a:gd name="connsiteX7" fmla="*/ 43707 w 73974"/>
                    <a:gd name="connsiteY7" fmla="*/ 118436 h 143303"/>
                    <a:gd name="connsiteX8" fmla="*/ 73975 w 73974"/>
                    <a:gd name="connsiteY8" fmla="*/ 101104 h 143303"/>
                    <a:gd name="connsiteX9" fmla="*/ 73975 w 73974"/>
                    <a:gd name="connsiteY9" fmla="*/ 0 h 143303"/>
                    <a:gd name="connsiteX10" fmla="*/ 43455 w 73974"/>
                    <a:gd name="connsiteY10" fmla="*/ 17583 h 143303"/>
                    <a:gd name="connsiteX11" fmla="*/ 33659 w 73974"/>
                    <a:gd name="connsiteY11" fmla="*/ 23235 h 143303"/>
                    <a:gd name="connsiteX12" fmla="*/ 125 w 73974"/>
                    <a:gd name="connsiteY12" fmla="*/ 42577 h 14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974" h="143303">
                      <a:moveTo>
                        <a:pt x="0" y="42577"/>
                      </a:moveTo>
                      <a:lnTo>
                        <a:pt x="0" y="47224"/>
                      </a:lnTo>
                      <a:lnTo>
                        <a:pt x="125" y="61541"/>
                      </a:lnTo>
                      <a:lnTo>
                        <a:pt x="125" y="143304"/>
                      </a:lnTo>
                      <a:lnTo>
                        <a:pt x="125" y="143304"/>
                      </a:lnTo>
                      <a:lnTo>
                        <a:pt x="125" y="143304"/>
                      </a:lnTo>
                      <a:lnTo>
                        <a:pt x="33910" y="123962"/>
                      </a:lnTo>
                      <a:lnTo>
                        <a:pt x="43707" y="118436"/>
                      </a:lnTo>
                      <a:lnTo>
                        <a:pt x="73975" y="101104"/>
                      </a:lnTo>
                      <a:lnTo>
                        <a:pt x="73975" y="0"/>
                      </a:lnTo>
                      <a:lnTo>
                        <a:pt x="43455" y="17583"/>
                      </a:lnTo>
                      <a:lnTo>
                        <a:pt x="33659" y="23235"/>
                      </a:lnTo>
                      <a:lnTo>
                        <a:pt x="125" y="42577"/>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1" name="Freeform: Shape 4390">
                  <a:extLst>
                    <a:ext uri="{FF2B5EF4-FFF2-40B4-BE49-F238E27FC236}">
                      <a16:creationId xmlns:a16="http://schemas.microsoft.com/office/drawing/2014/main" id="{7307F484-E02C-4095-8C72-F47B38C0FF5B}"/>
                    </a:ext>
                  </a:extLst>
                </p:cNvPr>
                <p:cNvSpPr/>
                <p:nvPr/>
              </p:nvSpPr>
              <p:spPr>
                <a:xfrm>
                  <a:off x="7698211" y="3019148"/>
                  <a:ext cx="78371" cy="145815"/>
                </a:xfrm>
                <a:custGeom>
                  <a:avLst/>
                  <a:gdLst>
                    <a:gd name="connsiteX0" fmla="*/ 0 w 78371"/>
                    <a:gd name="connsiteY0" fmla="*/ 0 h 145815"/>
                    <a:gd name="connsiteX1" fmla="*/ 0 w 78371"/>
                    <a:gd name="connsiteY1" fmla="*/ 100978 h 145815"/>
                    <a:gd name="connsiteX2" fmla="*/ 21351 w 78371"/>
                    <a:gd name="connsiteY2" fmla="*/ 113161 h 145815"/>
                    <a:gd name="connsiteX3" fmla="*/ 78371 w 78371"/>
                    <a:gd name="connsiteY3" fmla="*/ 145816 h 145815"/>
                    <a:gd name="connsiteX4" fmla="*/ 78371 w 78371"/>
                    <a:gd name="connsiteY4" fmla="*/ 145816 h 145815"/>
                    <a:gd name="connsiteX5" fmla="*/ 78371 w 78371"/>
                    <a:gd name="connsiteY5" fmla="*/ 145816 h 145815"/>
                    <a:gd name="connsiteX6" fmla="*/ 78371 w 78371"/>
                    <a:gd name="connsiteY6" fmla="*/ 64053 h 145815"/>
                    <a:gd name="connsiteX7" fmla="*/ 78371 w 78371"/>
                    <a:gd name="connsiteY7" fmla="*/ 49861 h 145815"/>
                    <a:gd name="connsiteX8" fmla="*/ 78371 w 78371"/>
                    <a:gd name="connsiteY8" fmla="*/ 45214 h 145815"/>
                    <a:gd name="connsiteX9" fmla="*/ 58402 w 78371"/>
                    <a:gd name="connsiteY9" fmla="*/ 33660 h 145815"/>
                    <a:gd name="connsiteX10" fmla="*/ 0 w 78371"/>
                    <a:gd name="connsiteY10" fmla="*/ 0 h 1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371" h="145815">
                      <a:moveTo>
                        <a:pt x="0" y="0"/>
                      </a:moveTo>
                      <a:lnTo>
                        <a:pt x="0" y="100978"/>
                      </a:lnTo>
                      <a:lnTo>
                        <a:pt x="21351" y="113161"/>
                      </a:lnTo>
                      <a:lnTo>
                        <a:pt x="78371" y="145816"/>
                      </a:lnTo>
                      <a:lnTo>
                        <a:pt x="78371" y="145816"/>
                      </a:lnTo>
                      <a:lnTo>
                        <a:pt x="78371" y="145816"/>
                      </a:lnTo>
                      <a:lnTo>
                        <a:pt x="78371" y="64053"/>
                      </a:lnTo>
                      <a:lnTo>
                        <a:pt x="78371" y="49861"/>
                      </a:lnTo>
                      <a:lnTo>
                        <a:pt x="78371" y="45214"/>
                      </a:lnTo>
                      <a:lnTo>
                        <a:pt x="58402" y="3366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92" name="Freeform: Shape 4391">
                <a:extLst>
                  <a:ext uri="{FF2B5EF4-FFF2-40B4-BE49-F238E27FC236}">
                    <a16:creationId xmlns:a16="http://schemas.microsoft.com/office/drawing/2014/main" id="{59511E85-4926-4392-A5B9-9737E63CD863}"/>
                  </a:ext>
                </a:extLst>
              </p:cNvPr>
              <p:cNvSpPr/>
              <p:nvPr/>
            </p:nvSpPr>
            <p:spPr>
              <a:xfrm>
                <a:off x="7810367" y="3039495"/>
                <a:ext cx="9796" cy="106253"/>
              </a:xfrm>
              <a:custGeom>
                <a:avLst/>
                <a:gdLst>
                  <a:gd name="connsiteX0" fmla="*/ 0 w 9796"/>
                  <a:gd name="connsiteY0" fmla="*/ 5652 h 106253"/>
                  <a:gd name="connsiteX1" fmla="*/ 0 w 9796"/>
                  <a:gd name="connsiteY1" fmla="*/ 106253 h 106253"/>
                  <a:gd name="connsiteX2" fmla="*/ 9797 w 9796"/>
                  <a:gd name="connsiteY2" fmla="*/ 100727 h 106253"/>
                  <a:gd name="connsiteX3" fmla="*/ 9797 w 9796"/>
                  <a:gd name="connsiteY3" fmla="*/ 0 h 106253"/>
                </a:gdLst>
                <a:ahLst/>
                <a:cxnLst>
                  <a:cxn ang="0">
                    <a:pos x="connsiteX0" y="connsiteY0"/>
                  </a:cxn>
                  <a:cxn ang="0">
                    <a:pos x="connsiteX1" y="connsiteY1"/>
                  </a:cxn>
                  <a:cxn ang="0">
                    <a:pos x="connsiteX2" y="connsiteY2"/>
                  </a:cxn>
                  <a:cxn ang="0">
                    <a:pos x="connsiteX3" y="connsiteY3"/>
                  </a:cxn>
                </a:cxnLst>
                <a:rect l="l" t="t" r="r" b="b"/>
                <a:pathLst>
                  <a:path w="9796" h="106253">
                    <a:moveTo>
                      <a:pt x="0" y="5652"/>
                    </a:moveTo>
                    <a:lnTo>
                      <a:pt x="0" y="106253"/>
                    </a:lnTo>
                    <a:lnTo>
                      <a:pt x="9797" y="100727"/>
                    </a:lnTo>
                    <a:lnTo>
                      <a:pt x="9797"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3" name="Freeform: Shape 4392">
                <a:extLst>
                  <a:ext uri="{FF2B5EF4-FFF2-40B4-BE49-F238E27FC236}">
                    <a16:creationId xmlns:a16="http://schemas.microsoft.com/office/drawing/2014/main" id="{2C8282F3-7CB6-40A1-815F-99FB3F17AA3E}"/>
                  </a:ext>
                </a:extLst>
              </p:cNvPr>
              <p:cNvSpPr/>
              <p:nvPr/>
            </p:nvSpPr>
            <p:spPr>
              <a:xfrm>
                <a:off x="7731745" y="2994155"/>
                <a:ext cx="88418" cy="50991"/>
              </a:xfrm>
              <a:custGeom>
                <a:avLst/>
                <a:gdLst>
                  <a:gd name="connsiteX0" fmla="*/ 0 w 88418"/>
                  <a:gd name="connsiteY0" fmla="*/ 5526 h 50991"/>
                  <a:gd name="connsiteX1" fmla="*/ 27380 w 88418"/>
                  <a:gd name="connsiteY1" fmla="*/ 21477 h 50991"/>
                  <a:gd name="connsiteX2" fmla="*/ 37176 w 88418"/>
                  <a:gd name="connsiteY2" fmla="*/ 27128 h 50991"/>
                  <a:gd name="connsiteX3" fmla="*/ 78371 w 88418"/>
                  <a:gd name="connsiteY3" fmla="*/ 50866 h 50991"/>
                  <a:gd name="connsiteX4" fmla="*/ 78622 w 88418"/>
                  <a:gd name="connsiteY4" fmla="*/ 50991 h 50991"/>
                  <a:gd name="connsiteX5" fmla="*/ 88418 w 88418"/>
                  <a:gd name="connsiteY5" fmla="*/ 45340 h 50991"/>
                  <a:gd name="connsiteX6" fmla="*/ 88167 w 88418"/>
                  <a:gd name="connsiteY6" fmla="*/ 45214 h 50991"/>
                  <a:gd name="connsiteX7" fmla="*/ 46972 w 88418"/>
                  <a:gd name="connsiteY7" fmla="*/ 21477 h 50991"/>
                  <a:gd name="connsiteX8" fmla="*/ 37176 w 88418"/>
                  <a:gd name="connsiteY8" fmla="*/ 15699 h 50991"/>
                  <a:gd name="connsiteX9" fmla="*/ 9796 w 88418"/>
                  <a:gd name="connsiteY9" fmla="*/ 0 h 5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418" h="50991">
                    <a:moveTo>
                      <a:pt x="0" y="5526"/>
                    </a:moveTo>
                    <a:lnTo>
                      <a:pt x="27380" y="21477"/>
                    </a:lnTo>
                    <a:lnTo>
                      <a:pt x="37176" y="27128"/>
                    </a:lnTo>
                    <a:lnTo>
                      <a:pt x="78371" y="50866"/>
                    </a:lnTo>
                    <a:lnTo>
                      <a:pt x="78622" y="50991"/>
                    </a:lnTo>
                    <a:lnTo>
                      <a:pt x="88418" y="45340"/>
                    </a:lnTo>
                    <a:lnTo>
                      <a:pt x="88167" y="45214"/>
                    </a:lnTo>
                    <a:lnTo>
                      <a:pt x="46972" y="21477"/>
                    </a:lnTo>
                    <a:lnTo>
                      <a:pt x="37176" y="15699"/>
                    </a:lnTo>
                    <a:lnTo>
                      <a:pt x="979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394" name="Graphic 4">
                <a:extLst>
                  <a:ext uri="{FF2B5EF4-FFF2-40B4-BE49-F238E27FC236}">
                    <a16:creationId xmlns:a16="http://schemas.microsoft.com/office/drawing/2014/main" id="{84FB7ED1-A2DF-40A1-A747-5F7CF3F14040}"/>
                  </a:ext>
                </a:extLst>
              </p:cNvPr>
              <p:cNvGrpSpPr/>
              <p:nvPr/>
            </p:nvGrpSpPr>
            <p:grpSpPr>
              <a:xfrm>
                <a:off x="7705998" y="3031708"/>
                <a:ext cx="35794" cy="51493"/>
                <a:chOff x="7705998" y="3031708"/>
                <a:chExt cx="35794" cy="51493"/>
              </a:xfrm>
              <a:solidFill>
                <a:schemeClr val="accent1"/>
              </a:solidFill>
            </p:grpSpPr>
            <p:sp>
              <p:nvSpPr>
                <p:cNvPr id="4395" name="Freeform: Shape 4394">
                  <a:extLst>
                    <a:ext uri="{FF2B5EF4-FFF2-40B4-BE49-F238E27FC236}">
                      <a16:creationId xmlns:a16="http://schemas.microsoft.com/office/drawing/2014/main" id="{E100BCB7-5D4B-4A6E-B968-2E94BD88BCF6}"/>
                    </a:ext>
                  </a:extLst>
                </p:cNvPr>
                <p:cNvSpPr/>
                <p:nvPr/>
              </p:nvSpPr>
              <p:spPr>
                <a:xfrm>
                  <a:off x="7705998" y="3031708"/>
                  <a:ext cx="35794" cy="51493"/>
                </a:xfrm>
                <a:custGeom>
                  <a:avLst/>
                  <a:gdLst>
                    <a:gd name="connsiteX0" fmla="*/ 0 w 35794"/>
                    <a:gd name="connsiteY0" fmla="*/ 30771 h 51493"/>
                    <a:gd name="connsiteX1" fmla="*/ 35795 w 35794"/>
                    <a:gd name="connsiteY1" fmla="*/ 51494 h 51493"/>
                    <a:gd name="connsiteX2" fmla="*/ 35795 w 35794"/>
                    <a:gd name="connsiteY2" fmla="*/ 20723 h 51493"/>
                    <a:gd name="connsiteX3" fmla="*/ 0 w 35794"/>
                    <a:gd name="connsiteY3" fmla="*/ 0 h 51493"/>
                  </a:gdLst>
                  <a:ahLst/>
                  <a:cxnLst>
                    <a:cxn ang="0">
                      <a:pos x="connsiteX0" y="connsiteY0"/>
                    </a:cxn>
                    <a:cxn ang="0">
                      <a:pos x="connsiteX1" y="connsiteY1"/>
                    </a:cxn>
                    <a:cxn ang="0">
                      <a:pos x="connsiteX2" y="connsiteY2"/>
                    </a:cxn>
                    <a:cxn ang="0">
                      <a:pos x="connsiteX3" y="connsiteY3"/>
                    </a:cxn>
                  </a:cxnLst>
                  <a:rect l="l" t="t" r="r" b="b"/>
                  <a:pathLst>
                    <a:path w="35794" h="51493">
                      <a:moveTo>
                        <a:pt x="0" y="30771"/>
                      </a:moveTo>
                      <a:lnTo>
                        <a:pt x="35795" y="51494"/>
                      </a:lnTo>
                      <a:lnTo>
                        <a:pt x="35795" y="20723"/>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6" name="Freeform: Shape 4395">
                  <a:extLst>
                    <a:ext uri="{FF2B5EF4-FFF2-40B4-BE49-F238E27FC236}">
                      <a16:creationId xmlns:a16="http://schemas.microsoft.com/office/drawing/2014/main" id="{4D1A9E71-541E-4433-8132-6D1B8E7775AC}"/>
                    </a:ext>
                  </a:extLst>
                </p:cNvPr>
                <p:cNvSpPr/>
                <p:nvPr/>
              </p:nvSpPr>
              <p:spPr>
                <a:xfrm>
                  <a:off x="7709389" y="3037485"/>
                  <a:ext cx="29012" cy="20220"/>
                </a:xfrm>
                <a:custGeom>
                  <a:avLst/>
                  <a:gdLst>
                    <a:gd name="connsiteX0" fmla="*/ 0 w 29012"/>
                    <a:gd name="connsiteY0" fmla="*/ 3517 h 20220"/>
                    <a:gd name="connsiteX1" fmla="*/ 29012 w 29012"/>
                    <a:gd name="connsiteY1" fmla="*/ 20221 h 20220"/>
                    <a:gd name="connsiteX2" fmla="*/ 29012 w 29012"/>
                    <a:gd name="connsiteY2" fmla="*/ 16830 h 20220"/>
                    <a:gd name="connsiteX3" fmla="*/ 0 w 29012"/>
                    <a:gd name="connsiteY3" fmla="*/ 0 h 20220"/>
                  </a:gdLst>
                  <a:ahLst/>
                  <a:cxnLst>
                    <a:cxn ang="0">
                      <a:pos x="connsiteX0" y="connsiteY0"/>
                    </a:cxn>
                    <a:cxn ang="0">
                      <a:pos x="connsiteX1" y="connsiteY1"/>
                    </a:cxn>
                    <a:cxn ang="0">
                      <a:pos x="connsiteX2" y="connsiteY2"/>
                    </a:cxn>
                    <a:cxn ang="0">
                      <a:pos x="connsiteX3" y="connsiteY3"/>
                    </a:cxn>
                  </a:cxnLst>
                  <a:rect l="l" t="t" r="r" b="b"/>
                  <a:pathLst>
                    <a:path w="29012" h="20220">
                      <a:moveTo>
                        <a:pt x="0" y="3517"/>
                      </a:moveTo>
                      <a:lnTo>
                        <a:pt x="29012" y="20221"/>
                      </a:lnTo>
                      <a:lnTo>
                        <a:pt x="29012" y="16830"/>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7" name="Freeform: Shape 4396">
                  <a:extLst>
                    <a:ext uri="{FF2B5EF4-FFF2-40B4-BE49-F238E27FC236}">
                      <a16:creationId xmlns:a16="http://schemas.microsoft.com/office/drawing/2014/main" id="{E35C9D57-4DF0-4040-BF4F-83C1A8329BF8}"/>
                    </a:ext>
                  </a:extLst>
                </p:cNvPr>
                <p:cNvSpPr/>
                <p:nvPr/>
              </p:nvSpPr>
              <p:spPr>
                <a:xfrm>
                  <a:off x="7709389" y="3045649"/>
                  <a:ext cx="29012" cy="18211"/>
                </a:xfrm>
                <a:custGeom>
                  <a:avLst/>
                  <a:gdLst>
                    <a:gd name="connsiteX0" fmla="*/ 0 w 29012"/>
                    <a:gd name="connsiteY0" fmla="*/ 1507 h 18211"/>
                    <a:gd name="connsiteX1" fmla="*/ 29012 w 29012"/>
                    <a:gd name="connsiteY1" fmla="*/ 18211 h 18211"/>
                    <a:gd name="connsiteX2" fmla="*/ 29012 w 29012"/>
                    <a:gd name="connsiteY2" fmla="*/ 16830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8" name="Freeform: Shape 4397">
                  <a:extLst>
                    <a:ext uri="{FF2B5EF4-FFF2-40B4-BE49-F238E27FC236}">
                      <a16:creationId xmlns:a16="http://schemas.microsoft.com/office/drawing/2014/main" id="{05A6577F-0744-47A9-B5D6-AA253D4BC577}"/>
                    </a:ext>
                  </a:extLst>
                </p:cNvPr>
                <p:cNvSpPr/>
                <p:nvPr/>
              </p:nvSpPr>
              <p:spPr>
                <a:xfrm>
                  <a:off x="7709389" y="3049668"/>
                  <a:ext cx="29012" cy="18336"/>
                </a:xfrm>
                <a:custGeom>
                  <a:avLst/>
                  <a:gdLst>
                    <a:gd name="connsiteX0" fmla="*/ 0 w 29012"/>
                    <a:gd name="connsiteY0" fmla="*/ 1507 h 18336"/>
                    <a:gd name="connsiteX1" fmla="*/ 29012 w 29012"/>
                    <a:gd name="connsiteY1" fmla="*/ 18337 h 18336"/>
                    <a:gd name="connsiteX2" fmla="*/ 29012 w 29012"/>
                    <a:gd name="connsiteY2" fmla="*/ 16830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9" name="Freeform: Shape 4398">
                  <a:extLst>
                    <a:ext uri="{FF2B5EF4-FFF2-40B4-BE49-F238E27FC236}">
                      <a16:creationId xmlns:a16="http://schemas.microsoft.com/office/drawing/2014/main" id="{84039DEC-EB40-4E6B-986A-E233CCDC27B2}"/>
                    </a:ext>
                  </a:extLst>
                </p:cNvPr>
                <p:cNvSpPr/>
                <p:nvPr/>
              </p:nvSpPr>
              <p:spPr>
                <a:xfrm>
                  <a:off x="7709389" y="3054064"/>
                  <a:ext cx="29012" cy="18336"/>
                </a:xfrm>
                <a:custGeom>
                  <a:avLst/>
                  <a:gdLst>
                    <a:gd name="connsiteX0" fmla="*/ 0 w 29012"/>
                    <a:gd name="connsiteY0" fmla="*/ 1507 h 18336"/>
                    <a:gd name="connsiteX1" fmla="*/ 29012 w 29012"/>
                    <a:gd name="connsiteY1" fmla="*/ 18337 h 18336"/>
                    <a:gd name="connsiteX2" fmla="*/ 29012 w 29012"/>
                    <a:gd name="connsiteY2" fmla="*/ 16704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0" name="Freeform: Shape 4399">
                  <a:extLst>
                    <a:ext uri="{FF2B5EF4-FFF2-40B4-BE49-F238E27FC236}">
                      <a16:creationId xmlns:a16="http://schemas.microsoft.com/office/drawing/2014/main" id="{58E23399-483C-403E-98CA-ADC7859F96FD}"/>
                    </a:ext>
                  </a:extLst>
                </p:cNvPr>
                <p:cNvSpPr/>
                <p:nvPr/>
              </p:nvSpPr>
              <p:spPr>
                <a:xfrm>
                  <a:off x="7709389" y="3058083"/>
                  <a:ext cx="29012" cy="18336"/>
                </a:xfrm>
                <a:custGeom>
                  <a:avLst/>
                  <a:gdLst>
                    <a:gd name="connsiteX0" fmla="*/ 0 w 29012"/>
                    <a:gd name="connsiteY0" fmla="*/ 1507 h 18336"/>
                    <a:gd name="connsiteX1" fmla="*/ 29012 w 29012"/>
                    <a:gd name="connsiteY1" fmla="*/ 18337 h 18336"/>
                    <a:gd name="connsiteX2" fmla="*/ 29012 w 29012"/>
                    <a:gd name="connsiteY2" fmla="*/ 16830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401" name="Freeform: Shape 4400">
              <a:extLst>
                <a:ext uri="{FF2B5EF4-FFF2-40B4-BE49-F238E27FC236}">
                  <a16:creationId xmlns:a16="http://schemas.microsoft.com/office/drawing/2014/main" id="{6939C361-7766-4DAD-9046-F19BB9A6E662}"/>
                </a:ext>
              </a:extLst>
            </p:cNvPr>
            <p:cNvSpPr/>
            <p:nvPr/>
          </p:nvSpPr>
          <p:spPr>
            <a:xfrm>
              <a:off x="7454683" y="3247354"/>
              <a:ext cx="197058" cy="12559"/>
            </a:xfrm>
            <a:custGeom>
              <a:avLst/>
              <a:gdLst>
                <a:gd name="connsiteX0" fmla="*/ 0 w 197058"/>
                <a:gd name="connsiteY0" fmla="*/ 0 h 12559"/>
                <a:gd name="connsiteX1" fmla="*/ 197058 w 197058"/>
                <a:gd name="connsiteY1" fmla="*/ 0 h 12559"/>
              </a:gdLst>
              <a:ahLst/>
              <a:cxnLst>
                <a:cxn ang="0">
                  <a:pos x="connsiteX0" y="connsiteY0"/>
                </a:cxn>
                <a:cxn ang="0">
                  <a:pos x="connsiteX1" y="connsiteY1"/>
                </a:cxn>
              </a:cxnLst>
              <a:rect l="l" t="t" r="r" b="b"/>
              <a:pathLst>
                <a:path w="197058" h="12559">
                  <a:moveTo>
                    <a:pt x="0" y="0"/>
                  </a:moveTo>
                  <a:lnTo>
                    <a:pt x="197058" y="0"/>
                  </a:lnTo>
                </a:path>
              </a:pathLst>
            </a:custGeom>
            <a:ln w="12558" cap="flat">
              <a:solidFill>
                <a:srgbClr val="CE993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2" name="Freeform: Shape 4401">
              <a:extLst>
                <a:ext uri="{FF2B5EF4-FFF2-40B4-BE49-F238E27FC236}">
                  <a16:creationId xmlns:a16="http://schemas.microsoft.com/office/drawing/2014/main" id="{B2E61B26-6D18-4B0F-A9B0-B073ED666284}"/>
                </a:ext>
              </a:extLst>
            </p:cNvPr>
            <p:cNvSpPr/>
            <p:nvPr/>
          </p:nvSpPr>
          <p:spPr>
            <a:xfrm>
              <a:off x="7571360" y="3071521"/>
              <a:ext cx="80380" cy="355056"/>
            </a:xfrm>
            <a:custGeom>
              <a:avLst/>
              <a:gdLst>
                <a:gd name="connsiteX0" fmla="*/ 80380 w 80380"/>
                <a:gd name="connsiteY0" fmla="*/ 0 h 355056"/>
                <a:gd name="connsiteX1" fmla="*/ 0 w 80380"/>
                <a:gd name="connsiteY1" fmla="*/ 0 h 355056"/>
                <a:gd name="connsiteX2" fmla="*/ 0 w 80380"/>
                <a:gd name="connsiteY2" fmla="*/ 355057 h 355056"/>
                <a:gd name="connsiteX3" fmla="*/ 80380 w 80380"/>
                <a:gd name="connsiteY3" fmla="*/ 355057 h 355056"/>
              </a:gdLst>
              <a:ahLst/>
              <a:cxnLst>
                <a:cxn ang="0">
                  <a:pos x="connsiteX0" y="connsiteY0"/>
                </a:cxn>
                <a:cxn ang="0">
                  <a:pos x="connsiteX1" y="connsiteY1"/>
                </a:cxn>
                <a:cxn ang="0">
                  <a:pos x="connsiteX2" y="connsiteY2"/>
                </a:cxn>
                <a:cxn ang="0">
                  <a:pos x="connsiteX3" y="connsiteY3"/>
                </a:cxn>
              </a:cxnLst>
              <a:rect l="l" t="t" r="r" b="b"/>
              <a:pathLst>
                <a:path w="80380" h="355056">
                  <a:moveTo>
                    <a:pt x="80380" y="0"/>
                  </a:moveTo>
                  <a:lnTo>
                    <a:pt x="0" y="0"/>
                  </a:lnTo>
                  <a:lnTo>
                    <a:pt x="0" y="355057"/>
                  </a:lnTo>
                  <a:lnTo>
                    <a:pt x="80380" y="355057"/>
                  </a:lnTo>
                </a:path>
              </a:pathLst>
            </a:custGeom>
            <a:noFill/>
            <a:ln w="12558" cap="flat">
              <a:solidFill>
                <a:srgbClr val="CE993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03" name="Graphic 4">
            <a:extLst>
              <a:ext uri="{FF2B5EF4-FFF2-40B4-BE49-F238E27FC236}">
                <a16:creationId xmlns:a16="http://schemas.microsoft.com/office/drawing/2014/main" id="{84FB7ED1-A2DF-40A1-A747-5F7CF3F14040}"/>
              </a:ext>
            </a:extLst>
          </p:cNvPr>
          <p:cNvGrpSpPr/>
          <p:nvPr/>
        </p:nvGrpSpPr>
        <p:grpSpPr>
          <a:xfrm>
            <a:off x="8202474" y="2517146"/>
            <a:ext cx="453368" cy="393573"/>
            <a:chOff x="8202474" y="2517146"/>
            <a:chExt cx="453368" cy="393573"/>
          </a:xfrm>
          <a:solidFill>
            <a:schemeClr val="accent1"/>
          </a:solidFill>
        </p:grpSpPr>
        <p:grpSp>
          <p:nvGrpSpPr>
            <p:cNvPr id="4404" name="Graphic 4">
              <a:extLst>
                <a:ext uri="{FF2B5EF4-FFF2-40B4-BE49-F238E27FC236}">
                  <a16:creationId xmlns:a16="http://schemas.microsoft.com/office/drawing/2014/main" id="{84FB7ED1-A2DF-40A1-A747-5F7CF3F14040}"/>
                </a:ext>
              </a:extLst>
            </p:cNvPr>
            <p:cNvGrpSpPr/>
            <p:nvPr/>
          </p:nvGrpSpPr>
          <p:grpSpPr>
            <a:xfrm>
              <a:off x="8202474" y="2517146"/>
              <a:ext cx="453368" cy="393573"/>
              <a:chOff x="8202474" y="2517146"/>
              <a:chExt cx="453368" cy="393573"/>
            </a:xfrm>
            <a:solidFill>
              <a:schemeClr val="accent1"/>
            </a:solidFill>
          </p:grpSpPr>
          <p:sp>
            <p:nvSpPr>
              <p:cNvPr id="4405" name="Freeform: Shape 4404">
                <a:extLst>
                  <a:ext uri="{FF2B5EF4-FFF2-40B4-BE49-F238E27FC236}">
                    <a16:creationId xmlns:a16="http://schemas.microsoft.com/office/drawing/2014/main" id="{ED35F2E7-A72E-4F8A-8865-FD453E1FF4E3}"/>
                  </a:ext>
                </a:extLst>
              </p:cNvPr>
              <p:cNvSpPr/>
              <p:nvPr/>
            </p:nvSpPr>
            <p:spPr>
              <a:xfrm>
                <a:off x="8202474" y="2549047"/>
                <a:ext cx="47474" cy="174325"/>
              </a:xfrm>
              <a:custGeom>
                <a:avLst/>
                <a:gdLst>
                  <a:gd name="connsiteX0" fmla="*/ 0 w 47474"/>
                  <a:gd name="connsiteY0" fmla="*/ 0 h 174325"/>
                  <a:gd name="connsiteX1" fmla="*/ 0 w 47474"/>
                  <a:gd name="connsiteY1" fmla="*/ 146443 h 174325"/>
                  <a:gd name="connsiteX2" fmla="*/ 47474 w 47474"/>
                  <a:gd name="connsiteY2" fmla="*/ 174326 h 174325"/>
                  <a:gd name="connsiteX3" fmla="*/ 47474 w 47474"/>
                  <a:gd name="connsiteY3" fmla="*/ 29515 h 174325"/>
                </a:gdLst>
                <a:ahLst/>
                <a:cxnLst>
                  <a:cxn ang="0">
                    <a:pos x="connsiteX0" y="connsiteY0"/>
                  </a:cxn>
                  <a:cxn ang="0">
                    <a:pos x="connsiteX1" y="connsiteY1"/>
                  </a:cxn>
                  <a:cxn ang="0">
                    <a:pos x="connsiteX2" y="connsiteY2"/>
                  </a:cxn>
                  <a:cxn ang="0">
                    <a:pos x="connsiteX3" y="connsiteY3"/>
                  </a:cxn>
                </a:cxnLst>
                <a:rect l="l" t="t" r="r" b="b"/>
                <a:pathLst>
                  <a:path w="47474" h="174325">
                    <a:moveTo>
                      <a:pt x="0" y="0"/>
                    </a:moveTo>
                    <a:lnTo>
                      <a:pt x="0" y="146443"/>
                    </a:lnTo>
                    <a:lnTo>
                      <a:pt x="47474" y="174326"/>
                    </a:lnTo>
                    <a:lnTo>
                      <a:pt x="47474" y="29515"/>
                    </a:lnTo>
                    <a:close/>
                  </a:path>
                </a:pathLst>
              </a:custGeom>
              <a:solidFill>
                <a:srgbClr val="F29F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6" name="Freeform: Shape 4405">
                <a:extLst>
                  <a:ext uri="{FF2B5EF4-FFF2-40B4-BE49-F238E27FC236}">
                    <a16:creationId xmlns:a16="http://schemas.microsoft.com/office/drawing/2014/main" id="{B71B6BEC-76E5-43CB-AD32-20AAB099801C}"/>
                  </a:ext>
                </a:extLst>
              </p:cNvPr>
              <p:cNvSpPr/>
              <p:nvPr/>
            </p:nvSpPr>
            <p:spPr>
              <a:xfrm>
                <a:off x="8268663" y="2517146"/>
                <a:ext cx="47348" cy="174325"/>
              </a:xfrm>
              <a:custGeom>
                <a:avLst/>
                <a:gdLst>
                  <a:gd name="connsiteX0" fmla="*/ 0 w 47348"/>
                  <a:gd name="connsiteY0" fmla="*/ 0 h 174325"/>
                  <a:gd name="connsiteX1" fmla="*/ 0 w 47348"/>
                  <a:gd name="connsiteY1" fmla="*/ 146443 h 174325"/>
                  <a:gd name="connsiteX2" fmla="*/ 47349 w 47348"/>
                  <a:gd name="connsiteY2" fmla="*/ 174326 h 174325"/>
                  <a:gd name="connsiteX3" fmla="*/ 47349 w 47348"/>
                  <a:gd name="connsiteY3" fmla="*/ 29515 h 174325"/>
                </a:gdLst>
                <a:ahLst/>
                <a:cxnLst>
                  <a:cxn ang="0">
                    <a:pos x="connsiteX0" y="connsiteY0"/>
                  </a:cxn>
                  <a:cxn ang="0">
                    <a:pos x="connsiteX1" y="connsiteY1"/>
                  </a:cxn>
                  <a:cxn ang="0">
                    <a:pos x="connsiteX2" y="connsiteY2"/>
                  </a:cxn>
                  <a:cxn ang="0">
                    <a:pos x="connsiteX3" y="connsiteY3"/>
                  </a:cxn>
                </a:cxnLst>
                <a:rect l="l" t="t" r="r" b="b"/>
                <a:pathLst>
                  <a:path w="47348" h="174325">
                    <a:moveTo>
                      <a:pt x="0" y="0"/>
                    </a:moveTo>
                    <a:lnTo>
                      <a:pt x="0" y="146443"/>
                    </a:lnTo>
                    <a:lnTo>
                      <a:pt x="47349" y="174326"/>
                    </a:lnTo>
                    <a:lnTo>
                      <a:pt x="47349" y="29515"/>
                    </a:lnTo>
                    <a:close/>
                  </a:path>
                </a:pathLst>
              </a:custGeom>
              <a:solidFill>
                <a:srgbClr val="3E6FBC">
                  <a:alpha val="45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7" name="Freeform: Shape 4406">
                <a:extLst>
                  <a:ext uri="{FF2B5EF4-FFF2-40B4-BE49-F238E27FC236}">
                    <a16:creationId xmlns:a16="http://schemas.microsoft.com/office/drawing/2014/main" id="{C1635935-9C09-42A6-95D0-855C440CA411}"/>
                  </a:ext>
                </a:extLst>
              </p:cNvPr>
              <p:cNvSpPr/>
              <p:nvPr/>
            </p:nvSpPr>
            <p:spPr>
              <a:xfrm>
                <a:off x="8260875" y="2567510"/>
                <a:ext cx="394967" cy="336738"/>
              </a:xfrm>
              <a:custGeom>
                <a:avLst/>
                <a:gdLst>
                  <a:gd name="connsiteX0" fmla="*/ 303563 w 394967"/>
                  <a:gd name="connsiteY0" fmla="*/ 223684 h 336738"/>
                  <a:gd name="connsiteX1" fmla="*/ 324663 w 394967"/>
                  <a:gd name="connsiteY1" fmla="*/ 216149 h 336738"/>
                  <a:gd name="connsiteX2" fmla="*/ 290250 w 394967"/>
                  <a:gd name="connsiteY2" fmla="*/ 158249 h 336738"/>
                  <a:gd name="connsiteX3" fmla="*/ 219791 w 394967"/>
                  <a:gd name="connsiteY3" fmla="*/ 101983 h 336738"/>
                  <a:gd name="connsiteX4" fmla="*/ 61290 w 394967"/>
                  <a:gd name="connsiteY4" fmla="*/ 2637 h 336738"/>
                  <a:gd name="connsiteX5" fmla="*/ 49234 w 394967"/>
                  <a:gd name="connsiteY5" fmla="*/ 0 h 336738"/>
                  <a:gd name="connsiteX6" fmla="*/ 0 w 394967"/>
                  <a:gd name="connsiteY6" fmla="*/ 36799 h 336738"/>
                  <a:gd name="connsiteX7" fmla="*/ 61165 w 394967"/>
                  <a:gd name="connsiteY7" fmla="*/ 108514 h 336738"/>
                  <a:gd name="connsiteX8" fmla="*/ 218535 w 394967"/>
                  <a:gd name="connsiteY8" fmla="*/ 268647 h 336738"/>
                  <a:gd name="connsiteX9" fmla="*/ 317127 w 394967"/>
                  <a:gd name="connsiteY9" fmla="*/ 336468 h 336738"/>
                  <a:gd name="connsiteX10" fmla="*/ 385576 w 394967"/>
                  <a:gd name="connsiteY10" fmla="*/ 298664 h 336738"/>
                  <a:gd name="connsiteX11" fmla="*/ 390977 w 394967"/>
                  <a:gd name="connsiteY11" fmla="*/ 258474 h 336738"/>
                  <a:gd name="connsiteX12" fmla="*/ 330691 w 394967"/>
                  <a:gd name="connsiteY12" fmla="*/ 236495 h 336738"/>
                  <a:gd name="connsiteX13" fmla="*/ 301679 w 394967"/>
                  <a:gd name="connsiteY13" fmla="*/ 233983 h 336738"/>
                  <a:gd name="connsiteX14" fmla="*/ 303563 w 394967"/>
                  <a:gd name="connsiteY14" fmla="*/ 223684 h 33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4967" h="336738">
                    <a:moveTo>
                      <a:pt x="303563" y="223684"/>
                    </a:moveTo>
                    <a:cubicBezTo>
                      <a:pt x="312229" y="224061"/>
                      <a:pt x="319513" y="222931"/>
                      <a:pt x="324663" y="216149"/>
                    </a:cubicBezTo>
                    <a:cubicBezTo>
                      <a:pt x="329059" y="206101"/>
                      <a:pt x="339860" y="193918"/>
                      <a:pt x="290250" y="158249"/>
                    </a:cubicBezTo>
                    <a:cubicBezTo>
                      <a:pt x="284724" y="153854"/>
                      <a:pt x="279951" y="152974"/>
                      <a:pt x="219791" y="101983"/>
                    </a:cubicBezTo>
                    <a:cubicBezTo>
                      <a:pt x="148705" y="22230"/>
                      <a:pt x="61290" y="2637"/>
                      <a:pt x="61290" y="2637"/>
                    </a:cubicBezTo>
                    <a:lnTo>
                      <a:pt x="49234" y="0"/>
                    </a:lnTo>
                    <a:lnTo>
                      <a:pt x="0" y="36799"/>
                    </a:lnTo>
                    <a:lnTo>
                      <a:pt x="61165" y="108514"/>
                    </a:lnTo>
                    <a:cubicBezTo>
                      <a:pt x="127981" y="168674"/>
                      <a:pt x="191030" y="250436"/>
                      <a:pt x="218535" y="268647"/>
                    </a:cubicBezTo>
                    <a:cubicBezTo>
                      <a:pt x="257093" y="293264"/>
                      <a:pt x="284724" y="340739"/>
                      <a:pt x="317127" y="336468"/>
                    </a:cubicBezTo>
                    <a:cubicBezTo>
                      <a:pt x="330943" y="333957"/>
                      <a:pt x="378292" y="305070"/>
                      <a:pt x="385576" y="298664"/>
                    </a:cubicBezTo>
                    <a:cubicBezTo>
                      <a:pt x="393489" y="291757"/>
                      <a:pt x="399141" y="280955"/>
                      <a:pt x="390977" y="258474"/>
                    </a:cubicBezTo>
                    <a:cubicBezTo>
                      <a:pt x="382311" y="239132"/>
                      <a:pt x="354303" y="234485"/>
                      <a:pt x="330691" y="236495"/>
                    </a:cubicBezTo>
                    <a:cubicBezTo>
                      <a:pt x="311476" y="235993"/>
                      <a:pt x="316751" y="238379"/>
                      <a:pt x="301679" y="233983"/>
                    </a:cubicBezTo>
                    <a:cubicBezTo>
                      <a:pt x="299293" y="229085"/>
                      <a:pt x="299041" y="225317"/>
                      <a:pt x="303563" y="223684"/>
                    </a:cubicBezTo>
                    <a:close/>
                  </a:path>
                </a:pathLst>
              </a:custGeom>
              <a:solidFill>
                <a:srgbClr val="8D5D0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8" name="Freeform: Shape 4407">
                <a:extLst>
                  <a:ext uri="{FF2B5EF4-FFF2-40B4-BE49-F238E27FC236}">
                    <a16:creationId xmlns:a16="http://schemas.microsoft.com/office/drawing/2014/main" id="{2AF5CFBC-2535-4243-9B85-21A3BAF2E86A}"/>
                  </a:ext>
                </a:extLst>
              </p:cNvPr>
              <p:cNvSpPr/>
              <p:nvPr/>
            </p:nvSpPr>
            <p:spPr>
              <a:xfrm>
                <a:off x="8202474" y="2517146"/>
                <a:ext cx="113537" cy="61415"/>
              </a:xfrm>
              <a:custGeom>
                <a:avLst/>
                <a:gdLst>
                  <a:gd name="connsiteX0" fmla="*/ 0 w 113537"/>
                  <a:gd name="connsiteY0" fmla="*/ 31901 h 61415"/>
                  <a:gd name="connsiteX1" fmla="*/ 66189 w 113537"/>
                  <a:gd name="connsiteY1" fmla="*/ 0 h 61415"/>
                  <a:gd name="connsiteX2" fmla="*/ 113537 w 113537"/>
                  <a:gd name="connsiteY2" fmla="*/ 29515 h 61415"/>
                  <a:gd name="connsiteX3" fmla="*/ 47474 w 113537"/>
                  <a:gd name="connsiteY3" fmla="*/ 61416 h 61415"/>
                </a:gdLst>
                <a:ahLst/>
                <a:cxnLst>
                  <a:cxn ang="0">
                    <a:pos x="connsiteX0" y="connsiteY0"/>
                  </a:cxn>
                  <a:cxn ang="0">
                    <a:pos x="connsiteX1" y="connsiteY1"/>
                  </a:cxn>
                  <a:cxn ang="0">
                    <a:pos x="connsiteX2" y="connsiteY2"/>
                  </a:cxn>
                  <a:cxn ang="0">
                    <a:pos x="connsiteX3" y="connsiteY3"/>
                  </a:cxn>
                </a:cxnLst>
                <a:rect l="l" t="t" r="r" b="b"/>
                <a:pathLst>
                  <a:path w="113537" h="61415">
                    <a:moveTo>
                      <a:pt x="0" y="31901"/>
                    </a:moveTo>
                    <a:lnTo>
                      <a:pt x="66189" y="0"/>
                    </a:lnTo>
                    <a:lnTo>
                      <a:pt x="113537" y="29515"/>
                    </a:lnTo>
                    <a:lnTo>
                      <a:pt x="47474" y="61416"/>
                    </a:lnTo>
                    <a:close/>
                  </a:path>
                </a:pathLst>
              </a:custGeom>
              <a:solidFill>
                <a:srgbClr val="9962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9" name="Freeform: Shape 4408">
                <a:extLst>
                  <a:ext uri="{FF2B5EF4-FFF2-40B4-BE49-F238E27FC236}">
                    <a16:creationId xmlns:a16="http://schemas.microsoft.com/office/drawing/2014/main" id="{DAB9A3EA-B213-460A-9AE4-47EDD83638C7}"/>
                  </a:ext>
                </a:extLst>
              </p:cNvPr>
              <p:cNvSpPr/>
              <p:nvPr/>
            </p:nvSpPr>
            <p:spPr>
              <a:xfrm>
                <a:off x="8249949" y="2546661"/>
                <a:ext cx="66062" cy="176711"/>
              </a:xfrm>
              <a:custGeom>
                <a:avLst/>
                <a:gdLst>
                  <a:gd name="connsiteX0" fmla="*/ 0 w 66062"/>
                  <a:gd name="connsiteY0" fmla="*/ 31901 h 176711"/>
                  <a:gd name="connsiteX1" fmla="*/ 66063 w 66062"/>
                  <a:gd name="connsiteY1" fmla="*/ 0 h 176711"/>
                  <a:gd name="connsiteX2" fmla="*/ 66063 w 66062"/>
                  <a:gd name="connsiteY2" fmla="*/ 144811 h 176711"/>
                  <a:gd name="connsiteX3" fmla="*/ 0 w 66062"/>
                  <a:gd name="connsiteY3" fmla="*/ 176712 h 176711"/>
                </a:gdLst>
                <a:ahLst/>
                <a:cxnLst>
                  <a:cxn ang="0">
                    <a:pos x="connsiteX0" y="connsiteY0"/>
                  </a:cxn>
                  <a:cxn ang="0">
                    <a:pos x="connsiteX1" y="connsiteY1"/>
                  </a:cxn>
                  <a:cxn ang="0">
                    <a:pos x="connsiteX2" y="connsiteY2"/>
                  </a:cxn>
                  <a:cxn ang="0">
                    <a:pos x="connsiteX3" y="connsiteY3"/>
                  </a:cxn>
                </a:cxnLst>
                <a:rect l="l" t="t" r="r" b="b"/>
                <a:pathLst>
                  <a:path w="66062" h="176711">
                    <a:moveTo>
                      <a:pt x="0" y="31901"/>
                    </a:moveTo>
                    <a:lnTo>
                      <a:pt x="66063" y="0"/>
                    </a:lnTo>
                    <a:lnTo>
                      <a:pt x="66063" y="144811"/>
                    </a:lnTo>
                    <a:lnTo>
                      <a:pt x="0" y="176712"/>
                    </a:lnTo>
                    <a:close/>
                  </a:path>
                </a:pathLst>
              </a:custGeom>
              <a:solidFill>
                <a:srgbClr val="8D5D0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10" name="Freeform: Shape 4409">
                <a:extLst>
                  <a:ext uri="{FF2B5EF4-FFF2-40B4-BE49-F238E27FC236}">
                    <a16:creationId xmlns:a16="http://schemas.microsoft.com/office/drawing/2014/main" id="{8D94C9E1-BA50-40FF-8710-684F80DA6385}"/>
                  </a:ext>
                </a:extLst>
              </p:cNvPr>
              <p:cNvSpPr/>
              <p:nvPr/>
            </p:nvSpPr>
            <p:spPr>
              <a:xfrm>
                <a:off x="8261001" y="2604309"/>
                <a:ext cx="334241" cy="306410"/>
              </a:xfrm>
              <a:custGeom>
                <a:avLst/>
                <a:gdLst>
                  <a:gd name="connsiteX0" fmla="*/ 0 w 334241"/>
                  <a:gd name="connsiteY0" fmla="*/ 0 h 306410"/>
                  <a:gd name="connsiteX1" fmla="*/ 158501 w 334241"/>
                  <a:gd name="connsiteY1" fmla="*/ 99346 h 306410"/>
                  <a:gd name="connsiteX2" fmla="*/ 228960 w 334241"/>
                  <a:gd name="connsiteY2" fmla="*/ 155612 h 306410"/>
                  <a:gd name="connsiteX3" fmla="*/ 263373 w 334241"/>
                  <a:gd name="connsiteY3" fmla="*/ 213511 h 306410"/>
                  <a:gd name="connsiteX4" fmla="*/ 155738 w 334241"/>
                  <a:gd name="connsiteY4" fmla="*/ 162645 h 306410"/>
                  <a:gd name="connsiteX5" fmla="*/ 153100 w 334241"/>
                  <a:gd name="connsiteY5" fmla="*/ 168171 h 306410"/>
                  <a:gd name="connsiteX6" fmla="*/ 218284 w 334241"/>
                  <a:gd name="connsiteY6" fmla="*/ 221675 h 306410"/>
                  <a:gd name="connsiteX7" fmla="*/ 269401 w 334241"/>
                  <a:gd name="connsiteY7" fmla="*/ 233732 h 306410"/>
                  <a:gd name="connsiteX8" fmla="*/ 329686 w 334241"/>
                  <a:gd name="connsiteY8" fmla="*/ 255711 h 306410"/>
                  <a:gd name="connsiteX9" fmla="*/ 290124 w 334241"/>
                  <a:gd name="connsiteY9" fmla="*/ 305823 h 306410"/>
                  <a:gd name="connsiteX10" fmla="*/ 157371 w 334241"/>
                  <a:gd name="connsiteY10" fmla="*/ 265884 h 306410"/>
                  <a:gd name="connsiteX11" fmla="*/ 0 w 334241"/>
                  <a:gd name="connsiteY11" fmla="*/ 105751 h 306410"/>
                  <a:gd name="connsiteX12" fmla="*/ 0 w 334241"/>
                  <a:gd name="connsiteY12" fmla="*/ 0 h 30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241" h="306410">
                    <a:moveTo>
                      <a:pt x="0" y="0"/>
                    </a:moveTo>
                    <a:cubicBezTo>
                      <a:pt x="0" y="0"/>
                      <a:pt x="87414" y="19593"/>
                      <a:pt x="158501" y="99346"/>
                    </a:cubicBezTo>
                    <a:cubicBezTo>
                      <a:pt x="218787" y="150337"/>
                      <a:pt x="223559" y="151216"/>
                      <a:pt x="228960" y="155612"/>
                    </a:cubicBezTo>
                    <a:cubicBezTo>
                      <a:pt x="278695" y="191281"/>
                      <a:pt x="267768" y="203464"/>
                      <a:pt x="263373" y="213511"/>
                    </a:cubicBezTo>
                    <a:cubicBezTo>
                      <a:pt x="244031" y="238881"/>
                      <a:pt x="195803" y="190402"/>
                      <a:pt x="155738" y="162645"/>
                    </a:cubicBezTo>
                    <a:cubicBezTo>
                      <a:pt x="151342" y="162520"/>
                      <a:pt x="150588" y="164404"/>
                      <a:pt x="153100" y="168171"/>
                    </a:cubicBezTo>
                    <a:cubicBezTo>
                      <a:pt x="177591" y="188643"/>
                      <a:pt x="202710" y="211125"/>
                      <a:pt x="218284" y="221675"/>
                    </a:cubicBezTo>
                    <a:cubicBezTo>
                      <a:pt x="238002" y="233606"/>
                      <a:pt x="250185" y="233230"/>
                      <a:pt x="269401" y="233732"/>
                    </a:cubicBezTo>
                    <a:cubicBezTo>
                      <a:pt x="293013" y="231848"/>
                      <a:pt x="321020" y="236495"/>
                      <a:pt x="329686" y="255711"/>
                    </a:cubicBezTo>
                    <a:cubicBezTo>
                      <a:pt x="344506" y="296404"/>
                      <a:pt x="321020" y="300297"/>
                      <a:pt x="290124" y="305823"/>
                    </a:cubicBezTo>
                    <a:cubicBezTo>
                      <a:pt x="257721" y="310094"/>
                      <a:pt x="195803" y="290501"/>
                      <a:pt x="157371" y="265884"/>
                    </a:cubicBezTo>
                    <a:cubicBezTo>
                      <a:pt x="129740" y="247673"/>
                      <a:pt x="66817" y="165911"/>
                      <a:pt x="0" y="105751"/>
                    </a:cubicBezTo>
                    <a:lnTo>
                      <a:pt x="0" y="0"/>
                    </a:lnTo>
                    <a:close/>
                  </a:path>
                </a:pathLst>
              </a:custGeom>
              <a:solidFill>
                <a:srgbClr val="F29F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11" name="Graphic 4">
              <a:extLst>
                <a:ext uri="{FF2B5EF4-FFF2-40B4-BE49-F238E27FC236}">
                  <a16:creationId xmlns:a16="http://schemas.microsoft.com/office/drawing/2014/main" id="{84FB7ED1-A2DF-40A1-A747-5F7CF3F14040}"/>
                </a:ext>
              </a:extLst>
            </p:cNvPr>
            <p:cNvGrpSpPr/>
            <p:nvPr/>
          </p:nvGrpSpPr>
          <p:grpSpPr>
            <a:xfrm>
              <a:off x="8364115" y="2537450"/>
              <a:ext cx="257595" cy="269443"/>
              <a:chOff x="8364115" y="2537450"/>
              <a:chExt cx="257595" cy="269443"/>
            </a:xfrm>
            <a:solidFill>
              <a:schemeClr val="accent1"/>
            </a:solidFill>
          </p:grpSpPr>
          <p:grpSp>
            <p:nvGrpSpPr>
              <p:cNvPr id="4412" name="Graphic 4">
                <a:extLst>
                  <a:ext uri="{FF2B5EF4-FFF2-40B4-BE49-F238E27FC236}">
                    <a16:creationId xmlns:a16="http://schemas.microsoft.com/office/drawing/2014/main" id="{84FB7ED1-A2DF-40A1-A747-5F7CF3F14040}"/>
                  </a:ext>
                </a:extLst>
              </p:cNvPr>
              <p:cNvGrpSpPr/>
              <p:nvPr/>
            </p:nvGrpSpPr>
            <p:grpSpPr>
              <a:xfrm>
                <a:off x="8364115" y="2557294"/>
                <a:ext cx="107383" cy="113203"/>
                <a:chOff x="8364115" y="2557294"/>
                <a:chExt cx="107383" cy="113203"/>
              </a:xfrm>
              <a:solidFill>
                <a:schemeClr val="accent1"/>
              </a:solidFill>
            </p:grpSpPr>
            <p:sp>
              <p:nvSpPr>
                <p:cNvPr id="4413" name="Freeform: Shape 4412">
                  <a:extLst>
                    <a:ext uri="{FF2B5EF4-FFF2-40B4-BE49-F238E27FC236}">
                      <a16:creationId xmlns:a16="http://schemas.microsoft.com/office/drawing/2014/main" id="{2A9A698D-5490-4F39-9D40-9E71BCD21AC9}"/>
                    </a:ext>
                  </a:extLst>
                </p:cNvPr>
                <p:cNvSpPr/>
                <p:nvPr/>
              </p:nvSpPr>
              <p:spPr>
                <a:xfrm>
                  <a:off x="8364617" y="2557294"/>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2" y="90848"/>
                      </a:cubicBezTo>
                      <a:lnTo>
                        <a:pt x="67194"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14" name="Freeform: Shape 4413">
                  <a:extLst>
                    <a:ext uri="{FF2B5EF4-FFF2-40B4-BE49-F238E27FC236}">
                      <a16:creationId xmlns:a16="http://schemas.microsoft.com/office/drawing/2014/main" id="{BB656BE3-2471-4B79-8F5E-8776A0697154}"/>
                    </a:ext>
                  </a:extLst>
                </p:cNvPr>
                <p:cNvSpPr/>
                <p:nvPr/>
              </p:nvSpPr>
              <p:spPr>
                <a:xfrm>
                  <a:off x="8364115" y="2579841"/>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49"/>
                      </a:lnTo>
                      <a:cubicBezTo>
                        <a:pt x="251"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15" name="Graphic 4">
                <a:extLst>
                  <a:ext uri="{FF2B5EF4-FFF2-40B4-BE49-F238E27FC236}">
                    <a16:creationId xmlns:a16="http://schemas.microsoft.com/office/drawing/2014/main" id="{84FB7ED1-A2DF-40A1-A747-5F7CF3F14040}"/>
                  </a:ext>
                </a:extLst>
              </p:cNvPr>
              <p:cNvGrpSpPr/>
              <p:nvPr/>
            </p:nvGrpSpPr>
            <p:grpSpPr>
              <a:xfrm>
                <a:off x="8438718" y="2537450"/>
                <a:ext cx="107383" cy="176126"/>
                <a:chOff x="8438718" y="2537450"/>
                <a:chExt cx="107383" cy="176126"/>
              </a:xfrm>
              <a:solidFill>
                <a:schemeClr val="accent1"/>
              </a:solidFill>
            </p:grpSpPr>
            <p:grpSp>
              <p:nvGrpSpPr>
                <p:cNvPr id="4416" name="Graphic 4">
                  <a:extLst>
                    <a:ext uri="{FF2B5EF4-FFF2-40B4-BE49-F238E27FC236}">
                      <a16:creationId xmlns:a16="http://schemas.microsoft.com/office/drawing/2014/main" id="{84FB7ED1-A2DF-40A1-A747-5F7CF3F14040}"/>
                    </a:ext>
                  </a:extLst>
                </p:cNvPr>
                <p:cNvGrpSpPr/>
                <p:nvPr/>
              </p:nvGrpSpPr>
              <p:grpSpPr>
                <a:xfrm>
                  <a:off x="8438718" y="2600373"/>
                  <a:ext cx="107383" cy="113203"/>
                  <a:chOff x="8438718" y="2600373"/>
                  <a:chExt cx="107383" cy="113203"/>
                </a:xfrm>
                <a:solidFill>
                  <a:schemeClr val="accent1"/>
                </a:solidFill>
              </p:grpSpPr>
              <p:sp>
                <p:nvSpPr>
                  <p:cNvPr id="4417" name="Freeform: Shape 4416">
                    <a:extLst>
                      <a:ext uri="{FF2B5EF4-FFF2-40B4-BE49-F238E27FC236}">
                        <a16:creationId xmlns:a16="http://schemas.microsoft.com/office/drawing/2014/main" id="{3EE39C30-7B68-4C99-A30B-7B09A73AD71C}"/>
                      </a:ext>
                    </a:extLst>
                  </p:cNvPr>
                  <p:cNvSpPr/>
                  <p:nvPr/>
                </p:nvSpPr>
                <p:spPr>
                  <a:xfrm>
                    <a:off x="8439220" y="2600373"/>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2" y="90848"/>
                        </a:cubicBezTo>
                        <a:lnTo>
                          <a:pt x="67194"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18" name="Freeform: Shape 4417">
                    <a:extLst>
                      <a:ext uri="{FF2B5EF4-FFF2-40B4-BE49-F238E27FC236}">
                        <a16:creationId xmlns:a16="http://schemas.microsoft.com/office/drawing/2014/main" id="{2DD0075B-CDD3-4081-83CE-7814E073FC9E}"/>
                      </a:ext>
                    </a:extLst>
                  </p:cNvPr>
                  <p:cNvSpPr/>
                  <p:nvPr/>
                </p:nvSpPr>
                <p:spPr>
                  <a:xfrm>
                    <a:off x="8438718" y="2622920"/>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49"/>
                        </a:lnTo>
                        <a:cubicBezTo>
                          <a:pt x="376"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19" name="Graphic 4">
                  <a:extLst>
                    <a:ext uri="{FF2B5EF4-FFF2-40B4-BE49-F238E27FC236}">
                      <a16:creationId xmlns:a16="http://schemas.microsoft.com/office/drawing/2014/main" id="{84FB7ED1-A2DF-40A1-A747-5F7CF3F14040}"/>
                    </a:ext>
                  </a:extLst>
                </p:cNvPr>
                <p:cNvGrpSpPr/>
                <p:nvPr/>
              </p:nvGrpSpPr>
              <p:grpSpPr>
                <a:xfrm>
                  <a:off x="8438718" y="2537450"/>
                  <a:ext cx="107383" cy="113203"/>
                  <a:chOff x="8438718" y="2537450"/>
                  <a:chExt cx="107383" cy="113203"/>
                </a:xfrm>
                <a:solidFill>
                  <a:schemeClr val="accent1"/>
                </a:solidFill>
              </p:grpSpPr>
              <p:sp>
                <p:nvSpPr>
                  <p:cNvPr id="4420" name="Freeform: Shape 4419">
                    <a:extLst>
                      <a:ext uri="{FF2B5EF4-FFF2-40B4-BE49-F238E27FC236}">
                        <a16:creationId xmlns:a16="http://schemas.microsoft.com/office/drawing/2014/main" id="{3ED3DCB1-2844-4812-9468-E62FE8547573}"/>
                      </a:ext>
                    </a:extLst>
                  </p:cNvPr>
                  <p:cNvSpPr/>
                  <p:nvPr/>
                </p:nvSpPr>
                <p:spPr>
                  <a:xfrm>
                    <a:off x="8439220" y="2537450"/>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6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6"/>
                        </a:lnTo>
                        <a:cubicBezTo>
                          <a:pt x="106630" y="37847"/>
                          <a:pt x="106881" y="38349"/>
                          <a:pt x="106881" y="38851"/>
                        </a:cubicBezTo>
                        <a:lnTo>
                          <a:pt x="106881" y="88461"/>
                        </a:lnTo>
                        <a:cubicBezTo>
                          <a:pt x="106881" y="89592"/>
                          <a:pt x="106128" y="90094"/>
                          <a:pt x="104872" y="90848"/>
                        </a:cubicBezTo>
                        <a:lnTo>
                          <a:pt x="67194" y="113204"/>
                        </a:lnTo>
                        <a:cubicBezTo>
                          <a:pt x="66942" y="112952"/>
                          <a:pt x="0" y="23529"/>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21" name="Freeform: Shape 4420">
                    <a:extLst>
                      <a:ext uri="{FF2B5EF4-FFF2-40B4-BE49-F238E27FC236}">
                        <a16:creationId xmlns:a16="http://schemas.microsoft.com/office/drawing/2014/main" id="{871F01E8-5EEE-4EBE-9FD1-861E8FAC0039}"/>
                      </a:ext>
                    </a:extLst>
                  </p:cNvPr>
                  <p:cNvSpPr/>
                  <p:nvPr/>
                </p:nvSpPr>
                <p:spPr>
                  <a:xfrm>
                    <a:off x="8438718" y="2559997"/>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50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50"/>
                        </a:lnTo>
                        <a:cubicBezTo>
                          <a:pt x="376"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422" name="Graphic 4">
                <a:extLst>
                  <a:ext uri="{FF2B5EF4-FFF2-40B4-BE49-F238E27FC236}">
                    <a16:creationId xmlns:a16="http://schemas.microsoft.com/office/drawing/2014/main" id="{84FB7ED1-A2DF-40A1-A747-5F7CF3F14040}"/>
                  </a:ext>
                </a:extLst>
              </p:cNvPr>
              <p:cNvGrpSpPr/>
              <p:nvPr/>
            </p:nvGrpSpPr>
            <p:grpSpPr>
              <a:xfrm>
                <a:off x="8514326" y="2630892"/>
                <a:ext cx="107383" cy="176000"/>
                <a:chOff x="8514326" y="2630892"/>
                <a:chExt cx="107383" cy="176000"/>
              </a:xfrm>
              <a:solidFill>
                <a:schemeClr val="accent1"/>
              </a:solidFill>
            </p:grpSpPr>
            <p:grpSp>
              <p:nvGrpSpPr>
                <p:cNvPr id="4423" name="Graphic 4">
                  <a:extLst>
                    <a:ext uri="{FF2B5EF4-FFF2-40B4-BE49-F238E27FC236}">
                      <a16:creationId xmlns:a16="http://schemas.microsoft.com/office/drawing/2014/main" id="{84FB7ED1-A2DF-40A1-A747-5F7CF3F14040}"/>
                    </a:ext>
                  </a:extLst>
                </p:cNvPr>
                <p:cNvGrpSpPr/>
                <p:nvPr/>
              </p:nvGrpSpPr>
              <p:grpSpPr>
                <a:xfrm>
                  <a:off x="8514326" y="2693690"/>
                  <a:ext cx="107383" cy="113203"/>
                  <a:chOff x="8514326" y="2693690"/>
                  <a:chExt cx="107383" cy="113203"/>
                </a:xfrm>
                <a:solidFill>
                  <a:schemeClr val="accent1"/>
                </a:solidFill>
              </p:grpSpPr>
              <p:sp>
                <p:nvSpPr>
                  <p:cNvPr id="4424" name="Freeform: Shape 4423">
                    <a:extLst>
                      <a:ext uri="{FF2B5EF4-FFF2-40B4-BE49-F238E27FC236}">
                        <a16:creationId xmlns:a16="http://schemas.microsoft.com/office/drawing/2014/main" id="{261EA042-5B27-4FC5-BB1A-36B375146C1F}"/>
                      </a:ext>
                    </a:extLst>
                  </p:cNvPr>
                  <p:cNvSpPr/>
                  <p:nvPr/>
                </p:nvSpPr>
                <p:spPr>
                  <a:xfrm>
                    <a:off x="8514829" y="2693690"/>
                    <a:ext cx="106881" cy="113203"/>
                  </a:xfrm>
                  <a:custGeom>
                    <a:avLst/>
                    <a:gdLst>
                      <a:gd name="connsiteX0" fmla="*/ 0 w 106881"/>
                      <a:gd name="connsiteY0" fmla="*/ 22901 h 113203"/>
                      <a:gd name="connsiteX1" fmla="*/ 38055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1 w 106881"/>
                      <a:gd name="connsiteY6" fmla="*/ 90848 h 113203"/>
                      <a:gd name="connsiteX7" fmla="*/ 67193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5"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1" y="90848"/>
                        </a:cubicBezTo>
                        <a:lnTo>
                          <a:pt x="67193" y="113204"/>
                        </a:lnTo>
                        <a:cubicBezTo>
                          <a:pt x="66942" y="112952"/>
                          <a:pt x="0" y="23529"/>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25" name="Freeform: Shape 4424">
                    <a:extLst>
                      <a:ext uri="{FF2B5EF4-FFF2-40B4-BE49-F238E27FC236}">
                        <a16:creationId xmlns:a16="http://schemas.microsoft.com/office/drawing/2014/main" id="{06AAB984-98A3-4744-AD8F-72933E92A878}"/>
                      </a:ext>
                    </a:extLst>
                  </p:cNvPr>
                  <p:cNvSpPr/>
                  <p:nvPr/>
                </p:nvSpPr>
                <p:spPr>
                  <a:xfrm>
                    <a:off x="8514326" y="2716237"/>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4" y="38534"/>
                          <a:pt x="68826" y="39036"/>
                          <a:pt x="68826" y="39539"/>
                        </a:cubicBezTo>
                        <a:lnTo>
                          <a:pt x="68826" y="89149"/>
                        </a:lnTo>
                        <a:cubicBezTo>
                          <a:pt x="68826" y="90279"/>
                          <a:pt x="67569" y="91033"/>
                          <a:pt x="66565" y="90405"/>
                        </a:cubicBezTo>
                        <a:lnTo>
                          <a:pt x="754" y="52349"/>
                        </a:lnTo>
                        <a:cubicBezTo>
                          <a:pt x="376" y="52224"/>
                          <a:pt x="0" y="51721"/>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26" name="Graphic 4">
                  <a:extLst>
                    <a:ext uri="{FF2B5EF4-FFF2-40B4-BE49-F238E27FC236}">
                      <a16:creationId xmlns:a16="http://schemas.microsoft.com/office/drawing/2014/main" id="{84FB7ED1-A2DF-40A1-A747-5F7CF3F14040}"/>
                    </a:ext>
                  </a:extLst>
                </p:cNvPr>
                <p:cNvGrpSpPr/>
                <p:nvPr/>
              </p:nvGrpSpPr>
              <p:grpSpPr>
                <a:xfrm>
                  <a:off x="8514326" y="2630892"/>
                  <a:ext cx="107383" cy="113203"/>
                  <a:chOff x="8514326" y="2630892"/>
                  <a:chExt cx="107383" cy="113203"/>
                </a:xfrm>
                <a:solidFill>
                  <a:schemeClr val="accent1"/>
                </a:solidFill>
              </p:grpSpPr>
              <p:sp>
                <p:nvSpPr>
                  <p:cNvPr id="4427" name="Freeform: Shape 4426">
                    <a:extLst>
                      <a:ext uri="{FF2B5EF4-FFF2-40B4-BE49-F238E27FC236}">
                        <a16:creationId xmlns:a16="http://schemas.microsoft.com/office/drawing/2014/main" id="{B792306C-12C9-47ED-A8A7-961376F65E19}"/>
                      </a:ext>
                    </a:extLst>
                  </p:cNvPr>
                  <p:cNvSpPr/>
                  <p:nvPr/>
                </p:nvSpPr>
                <p:spPr>
                  <a:xfrm>
                    <a:off x="8514829" y="2630892"/>
                    <a:ext cx="106881" cy="113203"/>
                  </a:xfrm>
                  <a:custGeom>
                    <a:avLst/>
                    <a:gdLst>
                      <a:gd name="connsiteX0" fmla="*/ 0 w 106881"/>
                      <a:gd name="connsiteY0" fmla="*/ 22901 h 113203"/>
                      <a:gd name="connsiteX1" fmla="*/ 38055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1 w 106881"/>
                      <a:gd name="connsiteY6" fmla="*/ 90848 h 113203"/>
                      <a:gd name="connsiteX7" fmla="*/ 67193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5"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1" y="90848"/>
                        </a:cubicBezTo>
                        <a:lnTo>
                          <a:pt x="67193"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28" name="Freeform: Shape 4427">
                    <a:extLst>
                      <a:ext uri="{FF2B5EF4-FFF2-40B4-BE49-F238E27FC236}">
                        <a16:creationId xmlns:a16="http://schemas.microsoft.com/office/drawing/2014/main" id="{D66A706E-9277-4EE0-8CF3-DCB5F207C745}"/>
                      </a:ext>
                    </a:extLst>
                  </p:cNvPr>
                  <p:cNvSpPr/>
                  <p:nvPr/>
                </p:nvSpPr>
                <p:spPr>
                  <a:xfrm>
                    <a:off x="8514326" y="2653440"/>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4" y="38534"/>
                          <a:pt x="68826" y="39036"/>
                          <a:pt x="68826" y="39539"/>
                        </a:cubicBezTo>
                        <a:lnTo>
                          <a:pt x="68826" y="89149"/>
                        </a:lnTo>
                        <a:cubicBezTo>
                          <a:pt x="68826" y="90279"/>
                          <a:pt x="67569" y="91033"/>
                          <a:pt x="66565" y="90405"/>
                        </a:cubicBezTo>
                        <a:lnTo>
                          <a:pt x="754" y="52349"/>
                        </a:lnTo>
                        <a:cubicBezTo>
                          <a:pt x="376"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429" name="Graphic 4">
            <a:extLst>
              <a:ext uri="{FF2B5EF4-FFF2-40B4-BE49-F238E27FC236}">
                <a16:creationId xmlns:a16="http://schemas.microsoft.com/office/drawing/2014/main" id="{84FB7ED1-A2DF-40A1-A747-5F7CF3F14040}"/>
              </a:ext>
            </a:extLst>
          </p:cNvPr>
          <p:cNvGrpSpPr/>
          <p:nvPr/>
        </p:nvGrpSpPr>
        <p:grpSpPr>
          <a:xfrm>
            <a:off x="8246433" y="2601923"/>
            <a:ext cx="453368" cy="393573"/>
            <a:chOff x="8246433" y="2601923"/>
            <a:chExt cx="453368" cy="393573"/>
          </a:xfrm>
          <a:solidFill>
            <a:schemeClr val="accent1"/>
          </a:solidFill>
        </p:grpSpPr>
        <p:grpSp>
          <p:nvGrpSpPr>
            <p:cNvPr id="4430" name="Graphic 4">
              <a:extLst>
                <a:ext uri="{FF2B5EF4-FFF2-40B4-BE49-F238E27FC236}">
                  <a16:creationId xmlns:a16="http://schemas.microsoft.com/office/drawing/2014/main" id="{84FB7ED1-A2DF-40A1-A747-5F7CF3F14040}"/>
                </a:ext>
              </a:extLst>
            </p:cNvPr>
            <p:cNvGrpSpPr/>
            <p:nvPr/>
          </p:nvGrpSpPr>
          <p:grpSpPr>
            <a:xfrm>
              <a:off x="8246433" y="2601923"/>
              <a:ext cx="453368" cy="393573"/>
              <a:chOff x="8246433" y="2601923"/>
              <a:chExt cx="453368" cy="393573"/>
            </a:xfrm>
            <a:solidFill>
              <a:schemeClr val="accent1"/>
            </a:solidFill>
          </p:grpSpPr>
          <p:sp>
            <p:nvSpPr>
              <p:cNvPr id="4431" name="Freeform: Shape 4430">
                <a:extLst>
                  <a:ext uri="{FF2B5EF4-FFF2-40B4-BE49-F238E27FC236}">
                    <a16:creationId xmlns:a16="http://schemas.microsoft.com/office/drawing/2014/main" id="{D9E072ED-DF01-4530-B6F8-49AF848352FB}"/>
                  </a:ext>
                </a:extLst>
              </p:cNvPr>
              <p:cNvSpPr/>
              <p:nvPr/>
            </p:nvSpPr>
            <p:spPr>
              <a:xfrm>
                <a:off x="8246433" y="2633824"/>
                <a:ext cx="47474" cy="174325"/>
              </a:xfrm>
              <a:custGeom>
                <a:avLst/>
                <a:gdLst>
                  <a:gd name="connsiteX0" fmla="*/ 0 w 47474"/>
                  <a:gd name="connsiteY0" fmla="*/ 0 h 174325"/>
                  <a:gd name="connsiteX1" fmla="*/ 0 w 47474"/>
                  <a:gd name="connsiteY1" fmla="*/ 146444 h 174325"/>
                  <a:gd name="connsiteX2" fmla="*/ 47474 w 47474"/>
                  <a:gd name="connsiteY2" fmla="*/ 174326 h 174325"/>
                  <a:gd name="connsiteX3" fmla="*/ 47474 w 47474"/>
                  <a:gd name="connsiteY3" fmla="*/ 29515 h 174325"/>
                </a:gdLst>
                <a:ahLst/>
                <a:cxnLst>
                  <a:cxn ang="0">
                    <a:pos x="connsiteX0" y="connsiteY0"/>
                  </a:cxn>
                  <a:cxn ang="0">
                    <a:pos x="connsiteX1" y="connsiteY1"/>
                  </a:cxn>
                  <a:cxn ang="0">
                    <a:pos x="connsiteX2" y="connsiteY2"/>
                  </a:cxn>
                  <a:cxn ang="0">
                    <a:pos x="connsiteX3" y="connsiteY3"/>
                  </a:cxn>
                </a:cxnLst>
                <a:rect l="l" t="t" r="r" b="b"/>
                <a:pathLst>
                  <a:path w="47474" h="174325">
                    <a:moveTo>
                      <a:pt x="0" y="0"/>
                    </a:moveTo>
                    <a:lnTo>
                      <a:pt x="0" y="146444"/>
                    </a:lnTo>
                    <a:lnTo>
                      <a:pt x="47474" y="174326"/>
                    </a:lnTo>
                    <a:lnTo>
                      <a:pt x="47474" y="29515"/>
                    </a:lnTo>
                    <a:close/>
                  </a:path>
                </a:pathLst>
              </a:custGeom>
              <a:solidFill>
                <a:srgbClr val="F29F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2" name="Freeform: Shape 4431">
                <a:extLst>
                  <a:ext uri="{FF2B5EF4-FFF2-40B4-BE49-F238E27FC236}">
                    <a16:creationId xmlns:a16="http://schemas.microsoft.com/office/drawing/2014/main" id="{07A8D195-A819-4D13-B221-21763B843A4D}"/>
                  </a:ext>
                </a:extLst>
              </p:cNvPr>
              <p:cNvSpPr/>
              <p:nvPr/>
            </p:nvSpPr>
            <p:spPr>
              <a:xfrm>
                <a:off x="8312621" y="2601923"/>
                <a:ext cx="47348" cy="174325"/>
              </a:xfrm>
              <a:custGeom>
                <a:avLst/>
                <a:gdLst>
                  <a:gd name="connsiteX0" fmla="*/ 0 w 47348"/>
                  <a:gd name="connsiteY0" fmla="*/ 0 h 174325"/>
                  <a:gd name="connsiteX1" fmla="*/ 0 w 47348"/>
                  <a:gd name="connsiteY1" fmla="*/ 146443 h 174325"/>
                  <a:gd name="connsiteX2" fmla="*/ 47349 w 47348"/>
                  <a:gd name="connsiteY2" fmla="*/ 174326 h 174325"/>
                  <a:gd name="connsiteX3" fmla="*/ 47349 w 47348"/>
                  <a:gd name="connsiteY3" fmla="*/ 29515 h 174325"/>
                </a:gdLst>
                <a:ahLst/>
                <a:cxnLst>
                  <a:cxn ang="0">
                    <a:pos x="connsiteX0" y="connsiteY0"/>
                  </a:cxn>
                  <a:cxn ang="0">
                    <a:pos x="connsiteX1" y="connsiteY1"/>
                  </a:cxn>
                  <a:cxn ang="0">
                    <a:pos x="connsiteX2" y="connsiteY2"/>
                  </a:cxn>
                  <a:cxn ang="0">
                    <a:pos x="connsiteX3" y="connsiteY3"/>
                  </a:cxn>
                </a:cxnLst>
                <a:rect l="l" t="t" r="r" b="b"/>
                <a:pathLst>
                  <a:path w="47348" h="174325">
                    <a:moveTo>
                      <a:pt x="0" y="0"/>
                    </a:moveTo>
                    <a:lnTo>
                      <a:pt x="0" y="146443"/>
                    </a:lnTo>
                    <a:lnTo>
                      <a:pt x="47349" y="174326"/>
                    </a:lnTo>
                    <a:lnTo>
                      <a:pt x="47349" y="29515"/>
                    </a:lnTo>
                    <a:close/>
                  </a:path>
                </a:pathLst>
              </a:custGeom>
              <a:solidFill>
                <a:srgbClr val="3E6FBC">
                  <a:alpha val="45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3" name="Freeform: Shape 4432">
                <a:extLst>
                  <a:ext uri="{FF2B5EF4-FFF2-40B4-BE49-F238E27FC236}">
                    <a16:creationId xmlns:a16="http://schemas.microsoft.com/office/drawing/2014/main" id="{90714E34-9F23-410D-AD07-A34AA7CF372E}"/>
                  </a:ext>
                </a:extLst>
              </p:cNvPr>
              <p:cNvSpPr/>
              <p:nvPr/>
            </p:nvSpPr>
            <p:spPr>
              <a:xfrm>
                <a:off x="8304834" y="2652286"/>
                <a:ext cx="394967" cy="336738"/>
              </a:xfrm>
              <a:custGeom>
                <a:avLst/>
                <a:gdLst>
                  <a:gd name="connsiteX0" fmla="*/ 303563 w 394967"/>
                  <a:gd name="connsiteY0" fmla="*/ 223684 h 336738"/>
                  <a:gd name="connsiteX1" fmla="*/ 324663 w 394967"/>
                  <a:gd name="connsiteY1" fmla="*/ 216149 h 336738"/>
                  <a:gd name="connsiteX2" fmla="*/ 290250 w 394967"/>
                  <a:gd name="connsiteY2" fmla="*/ 158249 h 336738"/>
                  <a:gd name="connsiteX3" fmla="*/ 219791 w 394967"/>
                  <a:gd name="connsiteY3" fmla="*/ 101983 h 336738"/>
                  <a:gd name="connsiteX4" fmla="*/ 61290 w 394967"/>
                  <a:gd name="connsiteY4" fmla="*/ 2637 h 336738"/>
                  <a:gd name="connsiteX5" fmla="*/ 49234 w 394967"/>
                  <a:gd name="connsiteY5" fmla="*/ 0 h 336738"/>
                  <a:gd name="connsiteX6" fmla="*/ 0 w 394967"/>
                  <a:gd name="connsiteY6" fmla="*/ 36799 h 336738"/>
                  <a:gd name="connsiteX7" fmla="*/ 61165 w 394967"/>
                  <a:gd name="connsiteY7" fmla="*/ 108514 h 336738"/>
                  <a:gd name="connsiteX8" fmla="*/ 218535 w 394967"/>
                  <a:gd name="connsiteY8" fmla="*/ 268647 h 336738"/>
                  <a:gd name="connsiteX9" fmla="*/ 317127 w 394967"/>
                  <a:gd name="connsiteY9" fmla="*/ 336468 h 336738"/>
                  <a:gd name="connsiteX10" fmla="*/ 385576 w 394967"/>
                  <a:gd name="connsiteY10" fmla="*/ 298664 h 336738"/>
                  <a:gd name="connsiteX11" fmla="*/ 390977 w 394967"/>
                  <a:gd name="connsiteY11" fmla="*/ 258474 h 336738"/>
                  <a:gd name="connsiteX12" fmla="*/ 330691 w 394967"/>
                  <a:gd name="connsiteY12" fmla="*/ 236495 h 336738"/>
                  <a:gd name="connsiteX13" fmla="*/ 301679 w 394967"/>
                  <a:gd name="connsiteY13" fmla="*/ 233983 h 336738"/>
                  <a:gd name="connsiteX14" fmla="*/ 303563 w 394967"/>
                  <a:gd name="connsiteY14" fmla="*/ 223684 h 33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4967" h="336738">
                    <a:moveTo>
                      <a:pt x="303563" y="223684"/>
                    </a:moveTo>
                    <a:cubicBezTo>
                      <a:pt x="312229" y="224061"/>
                      <a:pt x="319513" y="222931"/>
                      <a:pt x="324663" y="216149"/>
                    </a:cubicBezTo>
                    <a:cubicBezTo>
                      <a:pt x="329059" y="206101"/>
                      <a:pt x="339860" y="193918"/>
                      <a:pt x="290250" y="158249"/>
                    </a:cubicBezTo>
                    <a:cubicBezTo>
                      <a:pt x="284724" y="153854"/>
                      <a:pt x="279951" y="152974"/>
                      <a:pt x="219791" y="101983"/>
                    </a:cubicBezTo>
                    <a:cubicBezTo>
                      <a:pt x="148705" y="22230"/>
                      <a:pt x="61290" y="2637"/>
                      <a:pt x="61290" y="2637"/>
                    </a:cubicBezTo>
                    <a:lnTo>
                      <a:pt x="49234" y="0"/>
                    </a:lnTo>
                    <a:lnTo>
                      <a:pt x="0" y="36799"/>
                    </a:lnTo>
                    <a:lnTo>
                      <a:pt x="61165" y="108514"/>
                    </a:lnTo>
                    <a:cubicBezTo>
                      <a:pt x="127981" y="168674"/>
                      <a:pt x="191030" y="250436"/>
                      <a:pt x="218535" y="268647"/>
                    </a:cubicBezTo>
                    <a:cubicBezTo>
                      <a:pt x="257093" y="293264"/>
                      <a:pt x="284724" y="340739"/>
                      <a:pt x="317127" y="336468"/>
                    </a:cubicBezTo>
                    <a:cubicBezTo>
                      <a:pt x="330943" y="333957"/>
                      <a:pt x="378292" y="305070"/>
                      <a:pt x="385576" y="298664"/>
                    </a:cubicBezTo>
                    <a:cubicBezTo>
                      <a:pt x="393489" y="291757"/>
                      <a:pt x="399141" y="280955"/>
                      <a:pt x="390977" y="258474"/>
                    </a:cubicBezTo>
                    <a:cubicBezTo>
                      <a:pt x="382311" y="239132"/>
                      <a:pt x="354303" y="234485"/>
                      <a:pt x="330691" y="236495"/>
                    </a:cubicBezTo>
                    <a:cubicBezTo>
                      <a:pt x="311476" y="235993"/>
                      <a:pt x="316751" y="238379"/>
                      <a:pt x="301679" y="233983"/>
                    </a:cubicBezTo>
                    <a:cubicBezTo>
                      <a:pt x="299293" y="229085"/>
                      <a:pt x="299041" y="225317"/>
                      <a:pt x="303563" y="223684"/>
                    </a:cubicBezTo>
                    <a:close/>
                  </a:path>
                </a:pathLst>
              </a:custGeom>
              <a:solidFill>
                <a:srgbClr val="8D5D0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4" name="Freeform: Shape 4433">
                <a:extLst>
                  <a:ext uri="{FF2B5EF4-FFF2-40B4-BE49-F238E27FC236}">
                    <a16:creationId xmlns:a16="http://schemas.microsoft.com/office/drawing/2014/main" id="{B590507B-4F46-4B50-A4D1-96C3E669157C}"/>
                  </a:ext>
                </a:extLst>
              </p:cNvPr>
              <p:cNvSpPr/>
              <p:nvPr/>
            </p:nvSpPr>
            <p:spPr>
              <a:xfrm>
                <a:off x="8246433" y="2601923"/>
                <a:ext cx="113537" cy="61415"/>
              </a:xfrm>
              <a:custGeom>
                <a:avLst/>
                <a:gdLst>
                  <a:gd name="connsiteX0" fmla="*/ 0 w 113537"/>
                  <a:gd name="connsiteY0" fmla="*/ 31901 h 61415"/>
                  <a:gd name="connsiteX1" fmla="*/ 66189 w 113537"/>
                  <a:gd name="connsiteY1" fmla="*/ 0 h 61415"/>
                  <a:gd name="connsiteX2" fmla="*/ 113537 w 113537"/>
                  <a:gd name="connsiteY2" fmla="*/ 29515 h 61415"/>
                  <a:gd name="connsiteX3" fmla="*/ 47474 w 113537"/>
                  <a:gd name="connsiteY3" fmla="*/ 61416 h 61415"/>
                </a:gdLst>
                <a:ahLst/>
                <a:cxnLst>
                  <a:cxn ang="0">
                    <a:pos x="connsiteX0" y="connsiteY0"/>
                  </a:cxn>
                  <a:cxn ang="0">
                    <a:pos x="connsiteX1" y="connsiteY1"/>
                  </a:cxn>
                  <a:cxn ang="0">
                    <a:pos x="connsiteX2" y="connsiteY2"/>
                  </a:cxn>
                  <a:cxn ang="0">
                    <a:pos x="connsiteX3" y="connsiteY3"/>
                  </a:cxn>
                </a:cxnLst>
                <a:rect l="l" t="t" r="r" b="b"/>
                <a:pathLst>
                  <a:path w="113537" h="61415">
                    <a:moveTo>
                      <a:pt x="0" y="31901"/>
                    </a:moveTo>
                    <a:lnTo>
                      <a:pt x="66189" y="0"/>
                    </a:lnTo>
                    <a:lnTo>
                      <a:pt x="113537" y="29515"/>
                    </a:lnTo>
                    <a:lnTo>
                      <a:pt x="47474" y="61416"/>
                    </a:lnTo>
                    <a:close/>
                  </a:path>
                </a:pathLst>
              </a:custGeom>
              <a:solidFill>
                <a:srgbClr val="9962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5" name="Freeform: Shape 4434">
                <a:extLst>
                  <a:ext uri="{FF2B5EF4-FFF2-40B4-BE49-F238E27FC236}">
                    <a16:creationId xmlns:a16="http://schemas.microsoft.com/office/drawing/2014/main" id="{04C56468-B127-485D-B169-A9766E7E83C0}"/>
                  </a:ext>
                </a:extLst>
              </p:cNvPr>
              <p:cNvSpPr/>
              <p:nvPr/>
            </p:nvSpPr>
            <p:spPr>
              <a:xfrm>
                <a:off x="8293907" y="2631437"/>
                <a:ext cx="66062" cy="176711"/>
              </a:xfrm>
              <a:custGeom>
                <a:avLst/>
                <a:gdLst>
                  <a:gd name="connsiteX0" fmla="*/ 0 w 66062"/>
                  <a:gd name="connsiteY0" fmla="*/ 31901 h 176711"/>
                  <a:gd name="connsiteX1" fmla="*/ 66063 w 66062"/>
                  <a:gd name="connsiteY1" fmla="*/ 0 h 176711"/>
                  <a:gd name="connsiteX2" fmla="*/ 66063 w 66062"/>
                  <a:gd name="connsiteY2" fmla="*/ 144811 h 176711"/>
                  <a:gd name="connsiteX3" fmla="*/ 0 w 66062"/>
                  <a:gd name="connsiteY3" fmla="*/ 176712 h 176711"/>
                </a:gdLst>
                <a:ahLst/>
                <a:cxnLst>
                  <a:cxn ang="0">
                    <a:pos x="connsiteX0" y="connsiteY0"/>
                  </a:cxn>
                  <a:cxn ang="0">
                    <a:pos x="connsiteX1" y="connsiteY1"/>
                  </a:cxn>
                  <a:cxn ang="0">
                    <a:pos x="connsiteX2" y="connsiteY2"/>
                  </a:cxn>
                  <a:cxn ang="0">
                    <a:pos x="connsiteX3" y="connsiteY3"/>
                  </a:cxn>
                </a:cxnLst>
                <a:rect l="l" t="t" r="r" b="b"/>
                <a:pathLst>
                  <a:path w="66062" h="176711">
                    <a:moveTo>
                      <a:pt x="0" y="31901"/>
                    </a:moveTo>
                    <a:lnTo>
                      <a:pt x="66063" y="0"/>
                    </a:lnTo>
                    <a:lnTo>
                      <a:pt x="66063" y="144811"/>
                    </a:lnTo>
                    <a:lnTo>
                      <a:pt x="0" y="176712"/>
                    </a:lnTo>
                    <a:close/>
                  </a:path>
                </a:pathLst>
              </a:custGeom>
              <a:solidFill>
                <a:srgbClr val="8D5D0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6" name="Freeform: Shape 4435">
                <a:extLst>
                  <a:ext uri="{FF2B5EF4-FFF2-40B4-BE49-F238E27FC236}">
                    <a16:creationId xmlns:a16="http://schemas.microsoft.com/office/drawing/2014/main" id="{83398B8D-A089-46DE-AFB8-0A7E56736E1F}"/>
                  </a:ext>
                </a:extLst>
              </p:cNvPr>
              <p:cNvSpPr/>
              <p:nvPr/>
            </p:nvSpPr>
            <p:spPr>
              <a:xfrm>
                <a:off x="8304959" y="2689085"/>
                <a:ext cx="334241" cy="306410"/>
              </a:xfrm>
              <a:custGeom>
                <a:avLst/>
                <a:gdLst>
                  <a:gd name="connsiteX0" fmla="*/ 0 w 334241"/>
                  <a:gd name="connsiteY0" fmla="*/ 0 h 306410"/>
                  <a:gd name="connsiteX1" fmla="*/ 158501 w 334241"/>
                  <a:gd name="connsiteY1" fmla="*/ 99346 h 306410"/>
                  <a:gd name="connsiteX2" fmla="*/ 228960 w 334241"/>
                  <a:gd name="connsiteY2" fmla="*/ 155612 h 306410"/>
                  <a:gd name="connsiteX3" fmla="*/ 263373 w 334241"/>
                  <a:gd name="connsiteY3" fmla="*/ 213511 h 306410"/>
                  <a:gd name="connsiteX4" fmla="*/ 155738 w 334241"/>
                  <a:gd name="connsiteY4" fmla="*/ 162645 h 306410"/>
                  <a:gd name="connsiteX5" fmla="*/ 153100 w 334241"/>
                  <a:gd name="connsiteY5" fmla="*/ 168171 h 306410"/>
                  <a:gd name="connsiteX6" fmla="*/ 218284 w 334241"/>
                  <a:gd name="connsiteY6" fmla="*/ 221675 h 306410"/>
                  <a:gd name="connsiteX7" fmla="*/ 269401 w 334241"/>
                  <a:gd name="connsiteY7" fmla="*/ 233732 h 306410"/>
                  <a:gd name="connsiteX8" fmla="*/ 329686 w 334241"/>
                  <a:gd name="connsiteY8" fmla="*/ 255711 h 306410"/>
                  <a:gd name="connsiteX9" fmla="*/ 290124 w 334241"/>
                  <a:gd name="connsiteY9" fmla="*/ 305823 h 306410"/>
                  <a:gd name="connsiteX10" fmla="*/ 157371 w 334241"/>
                  <a:gd name="connsiteY10" fmla="*/ 265884 h 306410"/>
                  <a:gd name="connsiteX11" fmla="*/ 0 w 334241"/>
                  <a:gd name="connsiteY11" fmla="*/ 105751 h 306410"/>
                  <a:gd name="connsiteX12" fmla="*/ 0 w 334241"/>
                  <a:gd name="connsiteY12" fmla="*/ 0 h 30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241" h="306410">
                    <a:moveTo>
                      <a:pt x="0" y="0"/>
                    </a:moveTo>
                    <a:cubicBezTo>
                      <a:pt x="0" y="0"/>
                      <a:pt x="87414" y="19593"/>
                      <a:pt x="158501" y="99346"/>
                    </a:cubicBezTo>
                    <a:cubicBezTo>
                      <a:pt x="218787" y="150337"/>
                      <a:pt x="223559" y="151216"/>
                      <a:pt x="228960" y="155612"/>
                    </a:cubicBezTo>
                    <a:cubicBezTo>
                      <a:pt x="278695" y="191281"/>
                      <a:pt x="267768" y="203464"/>
                      <a:pt x="263373" y="213511"/>
                    </a:cubicBezTo>
                    <a:cubicBezTo>
                      <a:pt x="244031" y="238881"/>
                      <a:pt x="195803" y="190402"/>
                      <a:pt x="155738" y="162645"/>
                    </a:cubicBezTo>
                    <a:cubicBezTo>
                      <a:pt x="151342" y="162520"/>
                      <a:pt x="150588" y="164404"/>
                      <a:pt x="153100" y="168171"/>
                    </a:cubicBezTo>
                    <a:cubicBezTo>
                      <a:pt x="177591" y="188643"/>
                      <a:pt x="202710" y="211125"/>
                      <a:pt x="218284" y="221675"/>
                    </a:cubicBezTo>
                    <a:cubicBezTo>
                      <a:pt x="238002" y="233606"/>
                      <a:pt x="250185" y="233230"/>
                      <a:pt x="269401" y="233732"/>
                    </a:cubicBezTo>
                    <a:cubicBezTo>
                      <a:pt x="293013" y="231848"/>
                      <a:pt x="321020" y="236495"/>
                      <a:pt x="329686" y="255711"/>
                    </a:cubicBezTo>
                    <a:cubicBezTo>
                      <a:pt x="344506" y="296404"/>
                      <a:pt x="321020" y="300297"/>
                      <a:pt x="290124" y="305823"/>
                    </a:cubicBezTo>
                    <a:cubicBezTo>
                      <a:pt x="257721" y="310094"/>
                      <a:pt x="195803" y="290501"/>
                      <a:pt x="157371" y="265884"/>
                    </a:cubicBezTo>
                    <a:cubicBezTo>
                      <a:pt x="129740" y="247673"/>
                      <a:pt x="66817" y="165911"/>
                      <a:pt x="0" y="105751"/>
                    </a:cubicBezTo>
                    <a:lnTo>
                      <a:pt x="0" y="0"/>
                    </a:lnTo>
                    <a:close/>
                  </a:path>
                </a:pathLst>
              </a:custGeom>
              <a:solidFill>
                <a:srgbClr val="F29F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37" name="Graphic 4">
              <a:extLst>
                <a:ext uri="{FF2B5EF4-FFF2-40B4-BE49-F238E27FC236}">
                  <a16:creationId xmlns:a16="http://schemas.microsoft.com/office/drawing/2014/main" id="{84FB7ED1-A2DF-40A1-A747-5F7CF3F14040}"/>
                </a:ext>
              </a:extLst>
            </p:cNvPr>
            <p:cNvGrpSpPr/>
            <p:nvPr/>
          </p:nvGrpSpPr>
          <p:grpSpPr>
            <a:xfrm>
              <a:off x="8408073" y="2622226"/>
              <a:ext cx="257595" cy="269443"/>
              <a:chOff x="8408073" y="2622226"/>
              <a:chExt cx="257595" cy="269443"/>
            </a:xfrm>
            <a:solidFill>
              <a:schemeClr val="accent1"/>
            </a:solidFill>
          </p:grpSpPr>
          <p:grpSp>
            <p:nvGrpSpPr>
              <p:cNvPr id="4438" name="Graphic 4">
                <a:extLst>
                  <a:ext uri="{FF2B5EF4-FFF2-40B4-BE49-F238E27FC236}">
                    <a16:creationId xmlns:a16="http://schemas.microsoft.com/office/drawing/2014/main" id="{84FB7ED1-A2DF-40A1-A747-5F7CF3F14040}"/>
                  </a:ext>
                </a:extLst>
              </p:cNvPr>
              <p:cNvGrpSpPr/>
              <p:nvPr/>
            </p:nvGrpSpPr>
            <p:grpSpPr>
              <a:xfrm>
                <a:off x="8408073" y="2642070"/>
                <a:ext cx="107383" cy="113203"/>
                <a:chOff x="8408073" y="2642070"/>
                <a:chExt cx="107383" cy="113203"/>
              </a:xfrm>
              <a:solidFill>
                <a:schemeClr val="accent1"/>
              </a:solidFill>
            </p:grpSpPr>
            <p:sp>
              <p:nvSpPr>
                <p:cNvPr id="4439" name="Freeform: Shape 4438">
                  <a:extLst>
                    <a:ext uri="{FF2B5EF4-FFF2-40B4-BE49-F238E27FC236}">
                      <a16:creationId xmlns:a16="http://schemas.microsoft.com/office/drawing/2014/main" id="{7F88BABE-326C-4136-9DD8-B9CCBE40AB04}"/>
                    </a:ext>
                  </a:extLst>
                </p:cNvPr>
                <p:cNvSpPr/>
                <p:nvPr/>
              </p:nvSpPr>
              <p:spPr>
                <a:xfrm>
                  <a:off x="8408575" y="2642070"/>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2" y="90848"/>
                      </a:cubicBezTo>
                      <a:lnTo>
                        <a:pt x="67194"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40" name="Freeform: Shape 4439">
                  <a:extLst>
                    <a:ext uri="{FF2B5EF4-FFF2-40B4-BE49-F238E27FC236}">
                      <a16:creationId xmlns:a16="http://schemas.microsoft.com/office/drawing/2014/main" id="{9CE57A1A-E143-436B-B9E3-C88C5ADA8085}"/>
                    </a:ext>
                  </a:extLst>
                </p:cNvPr>
                <p:cNvSpPr/>
                <p:nvPr/>
              </p:nvSpPr>
              <p:spPr>
                <a:xfrm>
                  <a:off x="8408073" y="2664618"/>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49"/>
                      </a:lnTo>
                      <a:cubicBezTo>
                        <a:pt x="251"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41" name="Graphic 4">
                <a:extLst>
                  <a:ext uri="{FF2B5EF4-FFF2-40B4-BE49-F238E27FC236}">
                    <a16:creationId xmlns:a16="http://schemas.microsoft.com/office/drawing/2014/main" id="{84FB7ED1-A2DF-40A1-A747-5F7CF3F14040}"/>
                  </a:ext>
                </a:extLst>
              </p:cNvPr>
              <p:cNvGrpSpPr/>
              <p:nvPr/>
            </p:nvGrpSpPr>
            <p:grpSpPr>
              <a:xfrm>
                <a:off x="8482676" y="2622226"/>
                <a:ext cx="107383" cy="176126"/>
                <a:chOff x="8482676" y="2622226"/>
                <a:chExt cx="107383" cy="176126"/>
              </a:xfrm>
              <a:solidFill>
                <a:schemeClr val="accent1"/>
              </a:solidFill>
            </p:grpSpPr>
            <p:grpSp>
              <p:nvGrpSpPr>
                <p:cNvPr id="4442" name="Graphic 4">
                  <a:extLst>
                    <a:ext uri="{FF2B5EF4-FFF2-40B4-BE49-F238E27FC236}">
                      <a16:creationId xmlns:a16="http://schemas.microsoft.com/office/drawing/2014/main" id="{84FB7ED1-A2DF-40A1-A747-5F7CF3F14040}"/>
                    </a:ext>
                  </a:extLst>
                </p:cNvPr>
                <p:cNvGrpSpPr/>
                <p:nvPr/>
              </p:nvGrpSpPr>
              <p:grpSpPr>
                <a:xfrm>
                  <a:off x="8482676" y="2685149"/>
                  <a:ext cx="107383" cy="113203"/>
                  <a:chOff x="8482676" y="2685149"/>
                  <a:chExt cx="107383" cy="113203"/>
                </a:xfrm>
                <a:solidFill>
                  <a:schemeClr val="accent1"/>
                </a:solidFill>
              </p:grpSpPr>
              <p:sp>
                <p:nvSpPr>
                  <p:cNvPr id="4443" name="Freeform: Shape 4442">
                    <a:extLst>
                      <a:ext uri="{FF2B5EF4-FFF2-40B4-BE49-F238E27FC236}">
                        <a16:creationId xmlns:a16="http://schemas.microsoft.com/office/drawing/2014/main" id="{ECF145BB-B2B7-44A0-9CA7-F288FD9E3309}"/>
                      </a:ext>
                    </a:extLst>
                  </p:cNvPr>
                  <p:cNvSpPr/>
                  <p:nvPr/>
                </p:nvSpPr>
                <p:spPr>
                  <a:xfrm>
                    <a:off x="8483178" y="2685149"/>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3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2" y="90848"/>
                        </a:cubicBezTo>
                        <a:lnTo>
                          <a:pt x="67194" y="113203"/>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44" name="Freeform: Shape 4443">
                    <a:extLst>
                      <a:ext uri="{FF2B5EF4-FFF2-40B4-BE49-F238E27FC236}">
                        <a16:creationId xmlns:a16="http://schemas.microsoft.com/office/drawing/2014/main" id="{50EE1042-703B-43D6-985D-A8C131C4FD0D}"/>
                      </a:ext>
                    </a:extLst>
                  </p:cNvPr>
                  <p:cNvSpPr/>
                  <p:nvPr/>
                </p:nvSpPr>
                <p:spPr>
                  <a:xfrm>
                    <a:off x="8482676" y="2707571"/>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50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50"/>
                        </a:lnTo>
                        <a:cubicBezTo>
                          <a:pt x="376" y="52350"/>
                          <a:pt x="0" y="51847"/>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45" name="Graphic 4">
                  <a:extLst>
                    <a:ext uri="{FF2B5EF4-FFF2-40B4-BE49-F238E27FC236}">
                      <a16:creationId xmlns:a16="http://schemas.microsoft.com/office/drawing/2014/main" id="{84FB7ED1-A2DF-40A1-A747-5F7CF3F14040}"/>
                    </a:ext>
                  </a:extLst>
                </p:cNvPr>
                <p:cNvGrpSpPr/>
                <p:nvPr/>
              </p:nvGrpSpPr>
              <p:grpSpPr>
                <a:xfrm>
                  <a:off x="8482676" y="2622226"/>
                  <a:ext cx="107383" cy="113203"/>
                  <a:chOff x="8482676" y="2622226"/>
                  <a:chExt cx="107383" cy="113203"/>
                </a:xfrm>
                <a:solidFill>
                  <a:schemeClr val="accent1"/>
                </a:solidFill>
              </p:grpSpPr>
              <p:sp>
                <p:nvSpPr>
                  <p:cNvPr id="4446" name="Freeform: Shape 4445">
                    <a:extLst>
                      <a:ext uri="{FF2B5EF4-FFF2-40B4-BE49-F238E27FC236}">
                        <a16:creationId xmlns:a16="http://schemas.microsoft.com/office/drawing/2014/main" id="{55A1AF37-7813-436E-811D-C932179626C5}"/>
                      </a:ext>
                    </a:extLst>
                  </p:cNvPr>
                  <p:cNvSpPr/>
                  <p:nvPr/>
                </p:nvSpPr>
                <p:spPr>
                  <a:xfrm>
                    <a:off x="8483178" y="2622226"/>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6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6"/>
                        </a:lnTo>
                        <a:cubicBezTo>
                          <a:pt x="106630" y="37847"/>
                          <a:pt x="106881" y="38349"/>
                          <a:pt x="106881" y="38851"/>
                        </a:cubicBezTo>
                        <a:lnTo>
                          <a:pt x="106881" y="88461"/>
                        </a:lnTo>
                        <a:cubicBezTo>
                          <a:pt x="106881" y="89592"/>
                          <a:pt x="106128" y="90094"/>
                          <a:pt x="104872" y="90848"/>
                        </a:cubicBezTo>
                        <a:lnTo>
                          <a:pt x="67194" y="113204"/>
                        </a:lnTo>
                        <a:cubicBezTo>
                          <a:pt x="66942" y="112952"/>
                          <a:pt x="0" y="23529"/>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47" name="Freeform: Shape 4446">
                    <a:extLst>
                      <a:ext uri="{FF2B5EF4-FFF2-40B4-BE49-F238E27FC236}">
                        <a16:creationId xmlns:a16="http://schemas.microsoft.com/office/drawing/2014/main" id="{933F099C-059D-4038-937D-4C2086625F49}"/>
                      </a:ext>
                    </a:extLst>
                  </p:cNvPr>
                  <p:cNvSpPr/>
                  <p:nvPr/>
                </p:nvSpPr>
                <p:spPr>
                  <a:xfrm>
                    <a:off x="8482676" y="2644774"/>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50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50"/>
                        </a:lnTo>
                        <a:cubicBezTo>
                          <a:pt x="376"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448" name="Graphic 4">
                <a:extLst>
                  <a:ext uri="{FF2B5EF4-FFF2-40B4-BE49-F238E27FC236}">
                    <a16:creationId xmlns:a16="http://schemas.microsoft.com/office/drawing/2014/main" id="{84FB7ED1-A2DF-40A1-A747-5F7CF3F14040}"/>
                  </a:ext>
                </a:extLst>
              </p:cNvPr>
              <p:cNvGrpSpPr/>
              <p:nvPr/>
            </p:nvGrpSpPr>
            <p:grpSpPr>
              <a:xfrm>
                <a:off x="8558285" y="2715669"/>
                <a:ext cx="107383" cy="176000"/>
                <a:chOff x="8558285" y="2715669"/>
                <a:chExt cx="107383" cy="176000"/>
              </a:xfrm>
              <a:solidFill>
                <a:schemeClr val="accent1"/>
              </a:solidFill>
            </p:grpSpPr>
            <p:grpSp>
              <p:nvGrpSpPr>
                <p:cNvPr id="4449" name="Graphic 4">
                  <a:extLst>
                    <a:ext uri="{FF2B5EF4-FFF2-40B4-BE49-F238E27FC236}">
                      <a16:creationId xmlns:a16="http://schemas.microsoft.com/office/drawing/2014/main" id="{84FB7ED1-A2DF-40A1-A747-5F7CF3F14040}"/>
                    </a:ext>
                  </a:extLst>
                </p:cNvPr>
                <p:cNvGrpSpPr/>
                <p:nvPr/>
              </p:nvGrpSpPr>
              <p:grpSpPr>
                <a:xfrm>
                  <a:off x="8558285" y="2778466"/>
                  <a:ext cx="107383" cy="113203"/>
                  <a:chOff x="8558285" y="2778466"/>
                  <a:chExt cx="107383" cy="113203"/>
                </a:xfrm>
                <a:solidFill>
                  <a:schemeClr val="accent1"/>
                </a:solidFill>
              </p:grpSpPr>
              <p:sp>
                <p:nvSpPr>
                  <p:cNvPr id="4450" name="Freeform: Shape 4449">
                    <a:extLst>
                      <a:ext uri="{FF2B5EF4-FFF2-40B4-BE49-F238E27FC236}">
                        <a16:creationId xmlns:a16="http://schemas.microsoft.com/office/drawing/2014/main" id="{DD91F63F-6C8A-4C89-946A-A449D04AF0A5}"/>
                      </a:ext>
                    </a:extLst>
                  </p:cNvPr>
                  <p:cNvSpPr/>
                  <p:nvPr/>
                </p:nvSpPr>
                <p:spPr>
                  <a:xfrm>
                    <a:off x="8558787" y="2778466"/>
                    <a:ext cx="106881" cy="113203"/>
                  </a:xfrm>
                  <a:custGeom>
                    <a:avLst/>
                    <a:gdLst>
                      <a:gd name="connsiteX0" fmla="*/ 0 w 106881"/>
                      <a:gd name="connsiteY0" fmla="*/ 22901 h 113203"/>
                      <a:gd name="connsiteX1" fmla="*/ 38055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1 w 106881"/>
                      <a:gd name="connsiteY6" fmla="*/ 90848 h 113203"/>
                      <a:gd name="connsiteX7" fmla="*/ 67193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5"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1" y="90848"/>
                        </a:cubicBezTo>
                        <a:lnTo>
                          <a:pt x="67193" y="113204"/>
                        </a:lnTo>
                        <a:cubicBezTo>
                          <a:pt x="66942" y="112952"/>
                          <a:pt x="0" y="23529"/>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1" name="Freeform: Shape 4450">
                    <a:extLst>
                      <a:ext uri="{FF2B5EF4-FFF2-40B4-BE49-F238E27FC236}">
                        <a16:creationId xmlns:a16="http://schemas.microsoft.com/office/drawing/2014/main" id="{85381CFB-637F-44DE-B876-90E60135D052}"/>
                      </a:ext>
                    </a:extLst>
                  </p:cNvPr>
                  <p:cNvSpPr/>
                  <p:nvPr/>
                </p:nvSpPr>
                <p:spPr>
                  <a:xfrm>
                    <a:off x="8558285" y="2801014"/>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4" y="38534"/>
                          <a:pt x="68826" y="39036"/>
                          <a:pt x="68826" y="39539"/>
                        </a:cubicBezTo>
                        <a:lnTo>
                          <a:pt x="68826" y="89149"/>
                        </a:lnTo>
                        <a:cubicBezTo>
                          <a:pt x="68826" y="90279"/>
                          <a:pt x="67569" y="91033"/>
                          <a:pt x="66565" y="90405"/>
                        </a:cubicBezTo>
                        <a:lnTo>
                          <a:pt x="754" y="52349"/>
                        </a:lnTo>
                        <a:cubicBezTo>
                          <a:pt x="376" y="52224"/>
                          <a:pt x="0" y="51721"/>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52" name="Graphic 4">
                  <a:extLst>
                    <a:ext uri="{FF2B5EF4-FFF2-40B4-BE49-F238E27FC236}">
                      <a16:creationId xmlns:a16="http://schemas.microsoft.com/office/drawing/2014/main" id="{84FB7ED1-A2DF-40A1-A747-5F7CF3F14040}"/>
                    </a:ext>
                  </a:extLst>
                </p:cNvPr>
                <p:cNvGrpSpPr/>
                <p:nvPr/>
              </p:nvGrpSpPr>
              <p:grpSpPr>
                <a:xfrm>
                  <a:off x="8558285" y="2715669"/>
                  <a:ext cx="107383" cy="113203"/>
                  <a:chOff x="8558285" y="2715669"/>
                  <a:chExt cx="107383" cy="113203"/>
                </a:xfrm>
                <a:solidFill>
                  <a:schemeClr val="accent1"/>
                </a:solidFill>
              </p:grpSpPr>
              <p:sp>
                <p:nvSpPr>
                  <p:cNvPr id="4453" name="Freeform: Shape 4452">
                    <a:extLst>
                      <a:ext uri="{FF2B5EF4-FFF2-40B4-BE49-F238E27FC236}">
                        <a16:creationId xmlns:a16="http://schemas.microsoft.com/office/drawing/2014/main" id="{AC74B728-AB8D-48EC-8447-F0F006E21619}"/>
                      </a:ext>
                    </a:extLst>
                  </p:cNvPr>
                  <p:cNvSpPr/>
                  <p:nvPr/>
                </p:nvSpPr>
                <p:spPr>
                  <a:xfrm>
                    <a:off x="8558787" y="2715669"/>
                    <a:ext cx="106881" cy="113203"/>
                  </a:xfrm>
                  <a:custGeom>
                    <a:avLst/>
                    <a:gdLst>
                      <a:gd name="connsiteX0" fmla="*/ 0 w 106881"/>
                      <a:gd name="connsiteY0" fmla="*/ 22901 h 113203"/>
                      <a:gd name="connsiteX1" fmla="*/ 38055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1 w 106881"/>
                      <a:gd name="connsiteY6" fmla="*/ 90848 h 113203"/>
                      <a:gd name="connsiteX7" fmla="*/ 67193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5"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1" y="90848"/>
                        </a:cubicBezTo>
                        <a:lnTo>
                          <a:pt x="67193"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4" name="Freeform: Shape 4453">
                    <a:extLst>
                      <a:ext uri="{FF2B5EF4-FFF2-40B4-BE49-F238E27FC236}">
                        <a16:creationId xmlns:a16="http://schemas.microsoft.com/office/drawing/2014/main" id="{5474F2B7-F601-4B39-B878-206C6D566F4F}"/>
                      </a:ext>
                    </a:extLst>
                  </p:cNvPr>
                  <p:cNvSpPr/>
                  <p:nvPr/>
                </p:nvSpPr>
                <p:spPr>
                  <a:xfrm>
                    <a:off x="8558285" y="2738216"/>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4" y="38534"/>
                          <a:pt x="68826" y="39036"/>
                          <a:pt x="68826" y="39539"/>
                        </a:cubicBezTo>
                        <a:lnTo>
                          <a:pt x="68826" y="89149"/>
                        </a:lnTo>
                        <a:cubicBezTo>
                          <a:pt x="68826" y="90279"/>
                          <a:pt x="67569" y="91033"/>
                          <a:pt x="66565" y="90405"/>
                        </a:cubicBezTo>
                        <a:lnTo>
                          <a:pt x="754" y="52349"/>
                        </a:lnTo>
                        <a:cubicBezTo>
                          <a:pt x="376" y="52224"/>
                          <a:pt x="0" y="51721"/>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455" name="Graphic 4">
            <a:extLst>
              <a:ext uri="{FF2B5EF4-FFF2-40B4-BE49-F238E27FC236}">
                <a16:creationId xmlns:a16="http://schemas.microsoft.com/office/drawing/2014/main" id="{84FB7ED1-A2DF-40A1-A747-5F7CF3F14040}"/>
              </a:ext>
            </a:extLst>
          </p:cNvPr>
          <p:cNvGrpSpPr/>
          <p:nvPr/>
        </p:nvGrpSpPr>
        <p:grpSpPr>
          <a:xfrm>
            <a:off x="9030772" y="2012004"/>
            <a:ext cx="820133" cy="712888"/>
            <a:chOff x="9030772" y="2012004"/>
            <a:chExt cx="820133" cy="712888"/>
          </a:xfrm>
          <a:solidFill>
            <a:schemeClr val="accent1"/>
          </a:solidFill>
        </p:grpSpPr>
        <p:grpSp>
          <p:nvGrpSpPr>
            <p:cNvPr id="4456" name="Graphic 4">
              <a:extLst>
                <a:ext uri="{FF2B5EF4-FFF2-40B4-BE49-F238E27FC236}">
                  <a16:creationId xmlns:a16="http://schemas.microsoft.com/office/drawing/2014/main" id="{84FB7ED1-A2DF-40A1-A747-5F7CF3F14040}"/>
                </a:ext>
              </a:extLst>
            </p:cNvPr>
            <p:cNvGrpSpPr/>
            <p:nvPr/>
          </p:nvGrpSpPr>
          <p:grpSpPr>
            <a:xfrm>
              <a:off x="9034414" y="2226896"/>
              <a:ext cx="122203" cy="80883"/>
              <a:chOff x="9034414" y="2226896"/>
              <a:chExt cx="122203" cy="80883"/>
            </a:xfrm>
            <a:solidFill>
              <a:schemeClr val="accent1"/>
            </a:solidFill>
          </p:grpSpPr>
          <p:sp>
            <p:nvSpPr>
              <p:cNvPr id="4457" name="Freeform: Shape 4456">
                <a:extLst>
                  <a:ext uri="{FF2B5EF4-FFF2-40B4-BE49-F238E27FC236}">
                    <a16:creationId xmlns:a16="http://schemas.microsoft.com/office/drawing/2014/main" id="{CB7E852F-EAC1-4AA3-A031-27C7245DC889}"/>
                  </a:ext>
                </a:extLst>
              </p:cNvPr>
              <p:cNvSpPr/>
              <p:nvPr/>
            </p:nvSpPr>
            <p:spPr>
              <a:xfrm>
                <a:off x="9034414" y="2226896"/>
                <a:ext cx="122203" cy="70584"/>
              </a:xfrm>
              <a:custGeom>
                <a:avLst/>
                <a:gdLst>
                  <a:gd name="connsiteX0" fmla="*/ 2763 w 122203"/>
                  <a:gd name="connsiteY0" fmla="*/ 59909 h 70584"/>
                  <a:gd name="connsiteX1" fmla="*/ 103867 w 122203"/>
                  <a:gd name="connsiteY1" fmla="*/ 1507 h 70584"/>
                  <a:gd name="connsiteX2" fmla="*/ 116301 w 122203"/>
                  <a:gd name="connsiteY2" fmla="*/ 1507 h 70584"/>
                  <a:gd name="connsiteX3" fmla="*/ 122204 w 122203"/>
                  <a:gd name="connsiteY3" fmla="*/ 4898 h 70584"/>
                  <a:gd name="connsiteX4" fmla="*/ 115673 w 122203"/>
                  <a:gd name="connsiteY4" fmla="*/ 8666 h 70584"/>
                  <a:gd name="connsiteX5" fmla="*/ 110021 w 122203"/>
                  <a:gd name="connsiteY5" fmla="*/ 5401 h 70584"/>
                  <a:gd name="connsiteX6" fmla="*/ 9420 w 122203"/>
                  <a:gd name="connsiteY6" fmla="*/ 63551 h 70584"/>
                  <a:gd name="connsiteX7" fmla="*/ 15072 w 122203"/>
                  <a:gd name="connsiteY7" fmla="*/ 66816 h 70584"/>
                  <a:gd name="connsiteX8" fmla="*/ 8540 w 122203"/>
                  <a:gd name="connsiteY8" fmla="*/ 70584 h 70584"/>
                  <a:gd name="connsiteX9" fmla="*/ 2638 w 122203"/>
                  <a:gd name="connsiteY9" fmla="*/ 67193 h 70584"/>
                  <a:gd name="connsiteX10" fmla="*/ 0 w 122203"/>
                  <a:gd name="connsiteY10" fmla="*/ 63551 h 70584"/>
                  <a:gd name="connsiteX11" fmla="*/ 2763 w 122203"/>
                  <a:gd name="connsiteY11" fmla="*/ 59909 h 70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203" h="70584">
                    <a:moveTo>
                      <a:pt x="2763" y="59909"/>
                    </a:moveTo>
                    <a:lnTo>
                      <a:pt x="103867" y="1507"/>
                    </a:lnTo>
                    <a:cubicBezTo>
                      <a:pt x="107258" y="-502"/>
                      <a:pt x="112910" y="-502"/>
                      <a:pt x="116301" y="1507"/>
                    </a:cubicBezTo>
                    <a:lnTo>
                      <a:pt x="122204" y="4898"/>
                    </a:lnTo>
                    <a:lnTo>
                      <a:pt x="115673" y="8666"/>
                    </a:lnTo>
                    <a:lnTo>
                      <a:pt x="110021" y="5401"/>
                    </a:lnTo>
                    <a:lnTo>
                      <a:pt x="9420" y="63551"/>
                    </a:lnTo>
                    <a:lnTo>
                      <a:pt x="15072" y="66816"/>
                    </a:lnTo>
                    <a:lnTo>
                      <a:pt x="8540" y="70584"/>
                    </a:lnTo>
                    <a:lnTo>
                      <a:pt x="2638" y="67193"/>
                    </a:lnTo>
                    <a:cubicBezTo>
                      <a:pt x="879" y="66188"/>
                      <a:pt x="0" y="64932"/>
                      <a:pt x="0" y="63551"/>
                    </a:cubicBezTo>
                    <a:cubicBezTo>
                      <a:pt x="251" y="62295"/>
                      <a:pt x="1131" y="60913"/>
                      <a:pt x="2763" y="59909"/>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8" name="Freeform: Shape 4457">
                <a:extLst>
                  <a:ext uri="{FF2B5EF4-FFF2-40B4-BE49-F238E27FC236}">
                    <a16:creationId xmlns:a16="http://schemas.microsoft.com/office/drawing/2014/main" id="{2430DE2C-6CC5-4734-A562-8258695236B3}"/>
                  </a:ext>
                </a:extLst>
              </p:cNvPr>
              <p:cNvSpPr/>
              <p:nvPr/>
            </p:nvSpPr>
            <p:spPr>
              <a:xfrm>
                <a:off x="9150212" y="2231920"/>
                <a:ext cx="6405" cy="13941"/>
              </a:xfrm>
              <a:custGeom>
                <a:avLst/>
                <a:gdLst>
                  <a:gd name="connsiteX0" fmla="*/ 6405 w 6405"/>
                  <a:gd name="connsiteY0" fmla="*/ 0 h 13941"/>
                  <a:gd name="connsiteX1" fmla="*/ 6405 w 6405"/>
                  <a:gd name="connsiteY1" fmla="*/ 10299 h 13941"/>
                  <a:gd name="connsiteX2" fmla="*/ 0 w 6405"/>
                  <a:gd name="connsiteY2" fmla="*/ 13941 h 13941"/>
                  <a:gd name="connsiteX3" fmla="*/ 0 w 6405"/>
                  <a:gd name="connsiteY3" fmla="*/ 3642 h 13941"/>
                </a:gdLst>
                <a:ahLst/>
                <a:cxnLst>
                  <a:cxn ang="0">
                    <a:pos x="connsiteX0" y="connsiteY0"/>
                  </a:cxn>
                  <a:cxn ang="0">
                    <a:pos x="connsiteX1" y="connsiteY1"/>
                  </a:cxn>
                  <a:cxn ang="0">
                    <a:pos x="connsiteX2" y="connsiteY2"/>
                  </a:cxn>
                  <a:cxn ang="0">
                    <a:pos x="connsiteX3" y="connsiteY3"/>
                  </a:cxn>
                </a:cxnLst>
                <a:rect l="l" t="t" r="r" b="b"/>
                <a:pathLst>
                  <a:path w="6405" h="13941">
                    <a:moveTo>
                      <a:pt x="6405" y="0"/>
                    </a:moveTo>
                    <a:lnTo>
                      <a:pt x="6405" y="10299"/>
                    </a:lnTo>
                    <a:lnTo>
                      <a:pt x="0" y="13941"/>
                    </a:lnTo>
                    <a:lnTo>
                      <a:pt x="0" y="3642"/>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9" name="Freeform: Shape 4458">
                <a:extLst>
                  <a:ext uri="{FF2B5EF4-FFF2-40B4-BE49-F238E27FC236}">
                    <a16:creationId xmlns:a16="http://schemas.microsoft.com/office/drawing/2014/main" id="{BE947BBE-3521-49C5-88B3-9610FA90404A}"/>
                  </a:ext>
                </a:extLst>
              </p:cNvPr>
              <p:cNvSpPr/>
              <p:nvPr/>
            </p:nvSpPr>
            <p:spPr>
              <a:xfrm>
                <a:off x="9043960" y="2232423"/>
                <a:ext cx="106252" cy="65058"/>
              </a:xfrm>
              <a:custGeom>
                <a:avLst/>
                <a:gdLst>
                  <a:gd name="connsiteX0" fmla="*/ 100602 w 106252"/>
                  <a:gd name="connsiteY0" fmla="*/ 0 h 65058"/>
                  <a:gd name="connsiteX1" fmla="*/ 106253 w 106252"/>
                  <a:gd name="connsiteY1" fmla="*/ 3140 h 65058"/>
                  <a:gd name="connsiteX2" fmla="*/ 106253 w 106252"/>
                  <a:gd name="connsiteY2" fmla="*/ 13439 h 65058"/>
                  <a:gd name="connsiteX3" fmla="*/ 100602 w 106252"/>
                  <a:gd name="connsiteY3" fmla="*/ 10299 h 65058"/>
                  <a:gd name="connsiteX4" fmla="*/ 5652 w 106252"/>
                  <a:gd name="connsiteY4" fmla="*/ 65058 h 65058"/>
                  <a:gd name="connsiteX5" fmla="*/ 5652 w 106252"/>
                  <a:gd name="connsiteY5" fmla="*/ 61290 h 65058"/>
                  <a:gd name="connsiteX6" fmla="*/ 0 w 106252"/>
                  <a:gd name="connsiteY6" fmla="*/ 58025 h 65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252" h="65058">
                    <a:moveTo>
                      <a:pt x="100602" y="0"/>
                    </a:moveTo>
                    <a:lnTo>
                      <a:pt x="106253" y="3140"/>
                    </a:lnTo>
                    <a:lnTo>
                      <a:pt x="106253" y="13439"/>
                    </a:lnTo>
                    <a:lnTo>
                      <a:pt x="100602" y="10299"/>
                    </a:lnTo>
                    <a:lnTo>
                      <a:pt x="5652" y="65058"/>
                    </a:lnTo>
                    <a:lnTo>
                      <a:pt x="5652" y="61290"/>
                    </a:lnTo>
                    <a:lnTo>
                      <a:pt x="0" y="58025"/>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60" name="Freeform: Shape 4459">
                <a:extLst>
                  <a:ext uri="{FF2B5EF4-FFF2-40B4-BE49-F238E27FC236}">
                    <a16:creationId xmlns:a16="http://schemas.microsoft.com/office/drawing/2014/main" id="{565DCCB7-B350-42CD-9CAB-ACB799D9E4E7}"/>
                  </a:ext>
                </a:extLst>
              </p:cNvPr>
              <p:cNvSpPr/>
              <p:nvPr/>
            </p:nvSpPr>
            <p:spPr>
              <a:xfrm>
                <a:off x="9043080" y="2293713"/>
                <a:ext cx="6531" cy="14066"/>
              </a:xfrm>
              <a:custGeom>
                <a:avLst/>
                <a:gdLst>
                  <a:gd name="connsiteX0" fmla="*/ 6531 w 6531"/>
                  <a:gd name="connsiteY0" fmla="*/ 0 h 14066"/>
                  <a:gd name="connsiteX1" fmla="*/ 6531 w 6531"/>
                  <a:gd name="connsiteY1" fmla="*/ 10299 h 14066"/>
                  <a:gd name="connsiteX2" fmla="*/ 0 w 6531"/>
                  <a:gd name="connsiteY2" fmla="*/ 14067 h 14066"/>
                  <a:gd name="connsiteX3" fmla="*/ 0 w 6531"/>
                  <a:gd name="connsiteY3" fmla="*/ 3768 h 14066"/>
                </a:gdLst>
                <a:ahLst/>
                <a:cxnLst>
                  <a:cxn ang="0">
                    <a:pos x="connsiteX0" y="connsiteY0"/>
                  </a:cxn>
                  <a:cxn ang="0">
                    <a:pos x="connsiteX1" y="connsiteY1"/>
                  </a:cxn>
                  <a:cxn ang="0">
                    <a:pos x="connsiteX2" y="connsiteY2"/>
                  </a:cxn>
                  <a:cxn ang="0">
                    <a:pos x="connsiteX3" y="connsiteY3"/>
                  </a:cxn>
                </a:cxnLst>
                <a:rect l="l" t="t" r="r" b="b"/>
                <a:pathLst>
                  <a:path w="6531" h="14066">
                    <a:moveTo>
                      <a:pt x="6531" y="0"/>
                    </a:moveTo>
                    <a:lnTo>
                      <a:pt x="6531" y="10299"/>
                    </a:lnTo>
                    <a:lnTo>
                      <a:pt x="0" y="14067"/>
                    </a:lnTo>
                    <a:lnTo>
                      <a:pt x="0" y="3768"/>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61" name="Freeform: Shape 4460">
                <a:extLst>
                  <a:ext uri="{FF2B5EF4-FFF2-40B4-BE49-F238E27FC236}">
                    <a16:creationId xmlns:a16="http://schemas.microsoft.com/office/drawing/2014/main" id="{6EF0AE32-1FBF-4C9B-8FA6-4102C7D2A0B4}"/>
                  </a:ext>
                </a:extLst>
              </p:cNvPr>
              <p:cNvSpPr/>
              <p:nvPr/>
            </p:nvSpPr>
            <p:spPr>
              <a:xfrm>
                <a:off x="9034540" y="2290447"/>
                <a:ext cx="8540" cy="17332"/>
              </a:xfrm>
              <a:custGeom>
                <a:avLst/>
                <a:gdLst>
                  <a:gd name="connsiteX0" fmla="*/ 2637 w 8540"/>
                  <a:gd name="connsiteY0" fmla="*/ 3642 h 17332"/>
                  <a:gd name="connsiteX1" fmla="*/ 8540 w 8540"/>
                  <a:gd name="connsiteY1" fmla="*/ 7033 h 17332"/>
                  <a:gd name="connsiteX2" fmla="*/ 8540 w 8540"/>
                  <a:gd name="connsiteY2" fmla="*/ 17332 h 17332"/>
                  <a:gd name="connsiteX3" fmla="*/ 2637 w 8540"/>
                  <a:gd name="connsiteY3" fmla="*/ 13941 h 17332"/>
                  <a:gd name="connsiteX4" fmla="*/ 0 w 8540"/>
                  <a:gd name="connsiteY4" fmla="*/ 10299 h 17332"/>
                  <a:gd name="connsiteX5" fmla="*/ 0 w 8540"/>
                  <a:gd name="connsiteY5" fmla="*/ 0 h 17332"/>
                  <a:gd name="connsiteX6" fmla="*/ 2637 w 8540"/>
                  <a:gd name="connsiteY6" fmla="*/ 3642 h 1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7332">
                    <a:moveTo>
                      <a:pt x="2637" y="3642"/>
                    </a:moveTo>
                    <a:lnTo>
                      <a:pt x="8540" y="7033"/>
                    </a:lnTo>
                    <a:lnTo>
                      <a:pt x="8540" y="17332"/>
                    </a:lnTo>
                    <a:lnTo>
                      <a:pt x="2637" y="13941"/>
                    </a:lnTo>
                    <a:cubicBezTo>
                      <a:pt x="879" y="12936"/>
                      <a:pt x="0" y="11680"/>
                      <a:pt x="0" y="10299"/>
                    </a:cubicBezTo>
                    <a:cubicBezTo>
                      <a:pt x="0" y="9043"/>
                      <a:pt x="0" y="0"/>
                      <a:pt x="0" y="0"/>
                    </a:cubicBezTo>
                    <a:cubicBezTo>
                      <a:pt x="126" y="1256"/>
                      <a:pt x="879" y="2637"/>
                      <a:pt x="2637" y="3642"/>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462" name="Freeform: Shape 4461">
              <a:extLst>
                <a:ext uri="{FF2B5EF4-FFF2-40B4-BE49-F238E27FC236}">
                  <a16:creationId xmlns:a16="http://schemas.microsoft.com/office/drawing/2014/main" id="{B62231B0-A0A5-494E-8E20-3176180BC7DB}"/>
                </a:ext>
              </a:extLst>
            </p:cNvPr>
            <p:cNvSpPr/>
            <p:nvPr/>
          </p:nvSpPr>
          <p:spPr>
            <a:xfrm>
              <a:off x="9059785" y="2262314"/>
              <a:ext cx="487433" cy="258222"/>
            </a:xfrm>
            <a:custGeom>
              <a:avLst/>
              <a:gdLst>
                <a:gd name="connsiteX0" fmla="*/ 360332 w 487433"/>
                <a:gd name="connsiteY0" fmla="*/ 174702 h 258222"/>
                <a:gd name="connsiteX1" fmla="*/ 256087 w 487433"/>
                <a:gd name="connsiteY1" fmla="*/ 147825 h 258222"/>
                <a:gd name="connsiteX2" fmla="*/ 0 w 487433"/>
                <a:gd name="connsiteY2" fmla="*/ 0 h 258222"/>
                <a:gd name="connsiteX3" fmla="*/ 0 w 487433"/>
                <a:gd name="connsiteY3" fmla="*/ 20346 h 258222"/>
                <a:gd name="connsiteX4" fmla="*/ 254329 w 487433"/>
                <a:gd name="connsiteY4" fmla="*/ 167167 h 258222"/>
                <a:gd name="connsiteX5" fmla="*/ 358573 w 487433"/>
                <a:gd name="connsiteY5" fmla="*/ 194044 h 258222"/>
                <a:gd name="connsiteX6" fmla="*/ 469850 w 487433"/>
                <a:gd name="connsiteY6" fmla="*/ 258223 h 258222"/>
                <a:gd name="connsiteX7" fmla="*/ 487433 w 487433"/>
                <a:gd name="connsiteY7" fmla="*/ 248050 h 258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433" h="258222">
                  <a:moveTo>
                    <a:pt x="360332" y="174702"/>
                  </a:moveTo>
                  <a:lnTo>
                    <a:pt x="256087" y="147825"/>
                  </a:lnTo>
                  <a:lnTo>
                    <a:pt x="0" y="0"/>
                  </a:lnTo>
                  <a:lnTo>
                    <a:pt x="0" y="20346"/>
                  </a:lnTo>
                  <a:lnTo>
                    <a:pt x="254329" y="167167"/>
                  </a:lnTo>
                  <a:lnTo>
                    <a:pt x="358573" y="194044"/>
                  </a:lnTo>
                  <a:lnTo>
                    <a:pt x="469850" y="258223"/>
                  </a:lnTo>
                  <a:lnTo>
                    <a:pt x="487433" y="248050"/>
                  </a:lnTo>
                  <a:close/>
                </a:path>
              </a:pathLst>
            </a:custGeom>
            <a:solidFill>
              <a:srgbClr val="1A17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463" name="Graphic 4">
              <a:extLst>
                <a:ext uri="{FF2B5EF4-FFF2-40B4-BE49-F238E27FC236}">
                  <a16:creationId xmlns:a16="http://schemas.microsoft.com/office/drawing/2014/main" id="{84FB7ED1-A2DF-40A1-A747-5F7CF3F14040}"/>
                </a:ext>
              </a:extLst>
            </p:cNvPr>
            <p:cNvGrpSpPr/>
            <p:nvPr/>
          </p:nvGrpSpPr>
          <p:grpSpPr>
            <a:xfrm>
              <a:off x="9063050" y="2278080"/>
              <a:ext cx="168548" cy="133192"/>
              <a:chOff x="9063050" y="2278080"/>
              <a:chExt cx="168548" cy="133192"/>
            </a:xfrm>
            <a:solidFill>
              <a:schemeClr val="accent1"/>
            </a:solidFill>
          </p:grpSpPr>
          <p:grpSp>
            <p:nvGrpSpPr>
              <p:cNvPr id="4464" name="Graphic 4">
                <a:extLst>
                  <a:ext uri="{FF2B5EF4-FFF2-40B4-BE49-F238E27FC236}">
                    <a16:creationId xmlns:a16="http://schemas.microsoft.com/office/drawing/2014/main" id="{84FB7ED1-A2DF-40A1-A747-5F7CF3F14040}"/>
                  </a:ext>
                </a:extLst>
              </p:cNvPr>
              <p:cNvGrpSpPr/>
              <p:nvPr/>
            </p:nvGrpSpPr>
            <p:grpSpPr>
              <a:xfrm>
                <a:off x="9066818" y="2294583"/>
                <a:ext cx="93273" cy="91286"/>
                <a:chOff x="9066818" y="2294583"/>
                <a:chExt cx="93273" cy="91286"/>
              </a:xfrm>
              <a:solidFill>
                <a:schemeClr val="accent1"/>
              </a:solidFill>
            </p:grpSpPr>
            <p:sp>
              <p:nvSpPr>
                <p:cNvPr id="4465" name="Freeform: Shape 4464">
                  <a:extLst>
                    <a:ext uri="{FF2B5EF4-FFF2-40B4-BE49-F238E27FC236}">
                      <a16:creationId xmlns:a16="http://schemas.microsoft.com/office/drawing/2014/main" id="{439E8214-831A-41B8-8E4D-6E879EEAB9A4}"/>
                    </a:ext>
                  </a:extLst>
                </p:cNvPr>
                <p:cNvSpPr/>
                <p:nvPr/>
              </p:nvSpPr>
              <p:spPr>
                <a:xfrm>
                  <a:off x="9066818" y="2301119"/>
                  <a:ext cx="33407" cy="30523"/>
                </a:xfrm>
                <a:custGeom>
                  <a:avLst/>
                  <a:gdLst>
                    <a:gd name="connsiteX0" fmla="*/ 7787 w 33407"/>
                    <a:gd name="connsiteY0" fmla="*/ 8670 h 30523"/>
                    <a:gd name="connsiteX1" fmla="*/ 0 w 33407"/>
                    <a:gd name="connsiteY1" fmla="*/ 30524 h 30523"/>
                    <a:gd name="connsiteX2" fmla="*/ 30771 w 33407"/>
                    <a:gd name="connsiteY2" fmla="*/ 12815 h 30523"/>
                    <a:gd name="connsiteX3" fmla="*/ 33408 w 33407"/>
                    <a:gd name="connsiteY3" fmla="*/ 5405 h 30523"/>
                    <a:gd name="connsiteX4" fmla="*/ 29640 w 33407"/>
                    <a:gd name="connsiteY4" fmla="*/ 3270 h 30523"/>
                    <a:gd name="connsiteX5" fmla="*/ 7787 w 33407"/>
                    <a:gd name="connsiteY5" fmla="*/ 8670 h 3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07" h="30523">
                      <a:moveTo>
                        <a:pt x="7787" y="8670"/>
                      </a:moveTo>
                      <a:lnTo>
                        <a:pt x="0" y="30524"/>
                      </a:lnTo>
                      <a:lnTo>
                        <a:pt x="30771" y="12815"/>
                      </a:lnTo>
                      <a:lnTo>
                        <a:pt x="33408" y="5405"/>
                      </a:lnTo>
                      <a:lnTo>
                        <a:pt x="29640" y="3270"/>
                      </a:lnTo>
                      <a:cubicBezTo>
                        <a:pt x="19843" y="-2633"/>
                        <a:pt x="11052" y="-373"/>
                        <a:pt x="7787" y="8670"/>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466" name="Graphic 4">
                  <a:extLst>
                    <a:ext uri="{FF2B5EF4-FFF2-40B4-BE49-F238E27FC236}">
                      <a16:creationId xmlns:a16="http://schemas.microsoft.com/office/drawing/2014/main" id="{84FB7ED1-A2DF-40A1-A747-5F7CF3F14040}"/>
                    </a:ext>
                  </a:extLst>
                </p:cNvPr>
                <p:cNvGrpSpPr/>
                <p:nvPr/>
              </p:nvGrpSpPr>
              <p:grpSpPr>
                <a:xfrm>
                  <a:off x="9066836" y="2294583"/>
                  <a:ext cx="93256" cy="91286"/>
                  <a:chOff x="9066836" y="2294583"/>
                  <a:chExt cx="93256" cy="91286"/>
                </a:xfrm>
                <a:solidFill>
                  <a:schemeClr val="accent1"/>
                </a:solidFill>
              </p:grpSpPr>
              <p:grpSp>
                <p:nvGrpSpPr>
                  <p:cNvPr id="4467" name="Graphic 4">
                    <a:extLst>
                      <a:ext uri="{FF2B5EF4-FFF2-40B4-BE49-F238E27FC236}">
                        <a16:creationId xmlns:a16="http://schemas.microsoft.com/office/drawing/2014/main" id="{84FB7ED1-A2DF-40A1-A747-5F7CF3F14040}"/>
                      </a:ext>
                    </a:extLst>
                  </p:cNvPr>
                  <p:cNvGrpSpPr/>
                  <p:nvPr/>
                </p:nvGrpSpPr>
                <p:grpSpPr>
                  <a:xfrm>
                    <a:off x="9083385" y="2294583"/>
                    <a:ext cx="76706" cy="81692"/>
                    <a:chOff x="9083385" y="2294583"/>
                    <a:chExt cx="76706" cy="81692"/>
                  </a:xfrm>
                  <a:solidFill>
                    <a:schemeClr val="accent1"/>
                  </a:solidFill>
                </p:grpSpPr>
                <p:sp>
                  <p:nvSpPr>
                    <p:cNvPr id="4468" name="Freeform: Shape 4467">
                      <a:extLst>
                        <a:ext uri="{FF2B5EF4-FFF2-40B4-BE49-F238E27FC236}">
                          <a16:creationId xmlns:a16="http://schemas.microsoft.com/office/drawing/2014/main" id="{586D8A87-1464-4137-BE13-52597BE840A4}"/>
                        </a:ext>
                      </a:extLst>
                    </p:cNvPr>
                    <p:cNvSpPr/>
                    <p:nvPr/>
                  </p:nvSpPr>
                  <p:spPr>
                    <a:xfrm>
                      <a:off x="9101984" y="2294583"/>
                      <a:ext cx="58107" cy="72225"/>
                    </a:xfrm>
                    <a:custGeom>
                      <a:avLst/>
                      <a:gdLst>
                        <a:gd name="connsiteX0" fmla="*/ 50866 w 58107"/>
                        <a:gd name="connsiteY0" fmla="*/ 21737 h 72225"/>
                        <a:gd name="connsiteX1" fmla="*/ 33534 w 58107"/>
                        <a:gd name="connsiteY1" fmla="*/ 3400 h 72225"/>
                        <a:gd name="connsiteX2" fmla="*/ 22105 w 58107"/>
                        <a:gd name="connsiteY2" fmla="*/ 9 h 72225"/>
                        <a:gd name="connsiteX3" fmla="*/ 18337 w 58107"/>
                        <a:gd name="connsiteY3" fmla="*/ 134 h 72225"/>
                        <a:gd name="connsiteX4" fmla="*/ 18337 w 58107"/>
                        <a:gd name="connsiteY4" fmla="*/ 134 h 72225"/>
                        <a:gd name="connsiteX5" fmla="*/ 18337 w 58107"/>
                        <a:gd name="connsiteY5" fmla="*/ 134 h 72225"/>
                        <a:gd name="connsiteX6" fmla="*/ 18337 w 58107"/>
                        <a:gd name="connsiteY6" fmla="*/ 134 h 72225"/>
                        <a:gd name="connsiteX7" fmla="*/ 12057 w 58107"/>
                        <a:gd name="connsiteY7" fmla="*/ 1767 h 72225"/>
                        <a:gd name="connsiteX8" fmla="*/ 0 w 58107"/>
                        <a:gd name="connsiteY8" fmla="*/ 8800 h 72225"/>
                        <a:gd name="connsiteX9" fmla="*/ 18337 w 58107"/>
                        <a:gd name="connsiteY9" fmla="*/ 10684 h 72225"/>
                        <a:gd name="connsiteX10" fmla="*/ 36673 w 58107"/>
                        <a:gd name="connsiteY10" fmla="*/ 30026 h 72225"/>
                        <a:gd name="connsiteX11" fmla="*/ 36548 w 58107"/>
                        <a:gd name="connsiteY11" fmla="*/ 72226 h 72225"/>
                        <a:gd name="connsiteX12" fmla="*/ 48605 w 58107"/>
                        <a:gd name="connsiteY12" fmla="*/ 65192 h 72225"/>
                        <a:gd name="connsiteX13" fmla="*/ 55387 w 58107"/>
                        <a:gd name="connsiteY13" fmla="*/ 57154 h 72225"/>
                        <a:gd name="connsiteX14" fmla="*/ 50866 w 58107"/>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107" h="72225">
                          <a:moveTo>
                            <a:pt x="50866" y="21737"/>
                          </a:moveTo>
                          <a:cubicBezTo>
                            <a:pt x="46093" y="13447"/>
                            <a:pt x="39813" y="7042"/>
                            <a:pt x="33534" y="3400"/>
                          </a:cubicBezTo>
                          <a:cubicBezTo>
                            <a:pt x="29640" y="1139"/>
                            <a:pt x="25621" y="-117"/>
                            <a:pt x="22105" y="9"/>
                          </a:cubicBezTo>
                          <a:cubicBezTo>
                            <a:pt x="20848" y="9"/>
                            <a:pt x="19593" y="134"/>
                            <a:pt x="18337" y="134"/>
                          </a:cubicBezTo>
                          <a:lnTo>
                            <a:pt x="18337" y="134"/>
                          </a:lnTo>
                          <a:lnTo>
                            <a:pt x="18337" y="134"/>
                          </a:lnTo>
                          <a:lnTo>
                            <a:pt x="18337" y="134"/>
                          </a:lnTo>
                          <a:cubicBezTo>
                            <a:pt x="16076" y="134"/>
                            <a:pt x="13941" y="762"/>
                            <a:pt x="12057" y="1767"/>
                          </a:cubicBezTo>
                          <a:lnTo>
                            <a:pt x="0" y="8800"/>
                          </a:lnTo>
                          <a:cubicBezTo>
                            <a:pt x="5024" y="5912"/>
                            <a:pt x="11680" y="6791"/>
                            <a:pt x="18337" y="10684"/>
                          </a:cubicBezTo>
                          <a:cubicBezTo>
                            <a:pt x="24993" y="14578"/>
                            <a:pt x="31650" y="21234"/>
                            <a:pt x="36673" y="30026"/>
                          </a:cubicBezTo>
                          <a:cubicBezTo>
                            <a:pt x="46721" y="47483"/>
                            <a:pt x="46721" y="66448"/>
                            <a:pt x="36548" y="72226"/>
                          </a:cubicBezTo>
                          <a:lnTo>
                            <a:pt x="48605" y="65192"/>
                          </a:lnTo>
                          <a:cubicBezTo>
                            <a:pt x="52876" y="62680"/>
                            <a:pt x="55011" y="57782"/>
                            <a:pt x="55387" y="57154"/>
                          </a:cubicBezTo>
                          <a:cubicBezTo>
                            <a:pt x="60160" y="49367"/>
                            <a:pt x="58653" y="35050"/>
                            <a:pt x="50866"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69" name="Freeform: Shape 4468">
                      <a:extLst>
                        <a:ext uri="{FF2B5EF4-FFF2-40B4-BE49-F238E27FC236}">
                          <a16:creationId xmlns:a16="http://schemas.microsoft.com/office/drawing/2014/main" id="{6DEDD845-134D-473E-A295-E33434049706}"/>
                        </a:ext>
                      </a:extLst>
                    </p:cNvPr>
                    <p:cNvSpPr/>
                    <p:nvPr/>
                  </p:nvSpPr>
                  <p:spPr>
                    <a:xfrm>
                      <a:off x="9094691" y="2301678"/>
                      <a:ext cx="51533" cy="66243"/>
                    </a:xfrm>
                    <a:custGeom>
                      <a:avLst/>
                      <a:gdLst>
                        <a:gd name="connsiteX0" fmla="*/ 43967 w 51533"/>
                        <a:gd name="connsiteY0" fmla="*/ 22932 h 66243"/>
                        <a:gd name="connsiteX1" fmla="*/ 25631 w 51533"/>
                        <a:gd name="connsiteY1" fmla="*/ 3590 h 66243"/>
                        <a:gd name="connsiteX2" fmla="*/ 7293 w 51533"/>
                        <a:gd name="connsiteY2" fmla="*/ 1706 h 66243"/>
                        <a:gd name="connsiteX3" fmla="*/ 9 w 51533"/>
                        <a:gd name="connsiteY3" fmla="*/ 13512 h 66243"/>
                        <a:gd name="connsiteX4" fmla="*/ 32789 w 51533"/>
                        <a:gd name="connsiteY4" fmla="*/ 65885 h 66243"/>
                        <a:gd name="connsiteX5" fmla="*/ 43841 w 51533"/>
                        <a:gd name="connsiteY5" fmla="*/ 65006 h 66243"/>
                        <a:gd name="connsiteX6" fmla="*/ 43967 w 51533"/>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3"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89" y="65885"/>
                            <a:pt x="32789" y="65885"/>
                          </a:cubicBezTo>
                          <a:cubicBezTo>
                            <a:pt x="36682" y="66639"/>
                            <a:pt x="41958" y="66136"/>
                            <a:pt x="43841" y="65006"/>
                          </a:cubicBezTo>
                          <a:cubicBezTo>
                            <a:pt x="54140" y="59103"/>
                            <a:pt x="54014" y="40515"/>
                            <a:pt x="43967" y="229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0" name="Freeform: Shape 4469">
                      <a:extLst>
                        <a:ext uri="{FF2B5EF4-FFF2-40B4-BE49-F238E27FC236}">
                          <a16:creationId xmlns:a16="http://schemas.microsoft.com/office/drawing/2014/main" id="{732FCA3B-2525-4A45-AA85-43151FED39CD}"/>
                        </a:ext>
                      </a:extLst>
                    </p:cNvPr>
                    <p:cNvSpPr/>
                    <p:nvPr/>
                  </p:nvSpPr>
                  <p:spPr>
                    <a:xfrm>
                      <a:off x="9083385" y="2295925"/>
                      <a:ext cx="69594" cy="80351"/>
                    </a:xfrm>
                    <a:custGeom>
                      <a:avLst/>
                      <a:gdLst>
                        <a:gd name="connsiteX0" fmla="*/ 52199 w 69594"/>
                        <a:gd name="connsiteY0" fmla="*/ 30128 h 80351"/>
                        <a:gd name="connsiteX1" fmla="*/ 52192 w 69594"/>
                        <a:gd name="connsiteY1" fmla="*/ 70303 h 80351"/>
                        <a:gd name="connsiteX2" fmla="*/ 17395 w 69594"/>
                        <a:gd name="connsiteY2" fmla="*/ 50223 h 80351"/>
                        <a:gd name="connsiteX3" fmla="*/ 17402 w 69594"/>
                        <a:gd name="connsiteY3" fmla="*/ 10048 h 80351"/>
                        <a:gd name="connsiteX4" fmla="*/ 52199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199" y="30128"/>
                          </a:moveTo>
                          <a:cubicBezTo>
                            <a:pt x="61806" y="46767"/>
                            <a:pt x="61803" y="64755"/>
                            <a:pt x="52192" y="70303"/>
                          </a:cubicBezTo>
                          <a:cubicBezTo>
                            <a:pt x="42581" y="75853"/>
                            <a:pt x="27002" y="66862"/>
                            <a:pt x="17395" y="50223"/>
                          </a:cubicBezTo>
                          <a:cubicBezTo>
                            <a:pt x="7788" y="33584"/>
                            <a:pt x="7792" y="15596"/>
                            <a:pt x="17402" y="10048"/>
                          </a:cubicBezTo>
                          <a:cubicBezTo>
                            <a:pt x="27014" y="4498"/>
                            <a:pt x="42593" y="13489"/>
                            <a:pt x="52199"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71" name="Graphic 4">
                    <a:extLst>
                      <a:ext uri="{FF2B5EF4-FFF2-40B4-BE49-F238E27FC236}">
                        <a16:creationId xmlns:a16="http://schemas.microsoft.com/office/drawing/2014/main" id="{84FB7ED1-A2DF-40A1-A747-5F7CF3F14040}"/>
                      </a:ext>
                    </a:extLst>
                  </p:cNvPr>
                  <p:cNvGrpSpPr/>
                  <p:nvPr/>
                </p:nvGrpSpPr>
                <p:grpSpPr>
                  <a:xfrm>
                    <a:off x="9066836" y="2304129"/>
                    <a:ext cx="76748" cy="81740"/>
                    <a:chOff x="9066836" y="2304129"/>
                    <a:chExt cx="76748" cy="81740"/>
                  </a:xfrm>
                  <a:solidFill>
                    <a:schemeClr val="accent1"/>
                  </a:solidFill>
                </p:grpSpPr>
                <p:grpSp>
                  <p:nvGrpSpPr>
                    <p:cNvPr id="4472" name="Graphic 4">
                      <a:extLst>
                        <a:ext uri="{FF2B5EF4-FFF2-40B4-BE49-F238E27FC236}">
                          <a16:creationId xmlns:a16="http://schemas.microsoft.com/office/drawing/2014/main" id="{84FB7ED1-A2DF-40A1-A747-5F7CF3F14040}"/>
                        </a:ext>
                      </a:extLst>
                    </p:cNvPr>
                    <p:cNvGrpSpPr/>
                    <p:nvPr/>
                  </p:nvGrpSpPr>
                  <p:grpSpPr>
                    <a:xfrm>
                      <a:off x="9066836" y="2304129"/>
                      <a:ext cx="76748" cy="81740"/>
                      <a:chOff x="9066836" y="2304129"/>
                      <a:chExt cx="76748" cy="81740"/>
                    </a:xfrm>
                    <a:solidFill>
                      <a:schemeClr val="accent1"/>
                    </a:solidFill>
                  </p:grpSpPr>
                  <p:sp>
                    <p:nvSpPr>
                      <p:cNvPr id="4473" name="Freeform: Shape 4472">
                        <a:extLst>
                          <a:ext uri="{FF2B5EF4-FFF2-40B4-BE49-F238E27FC236}">
                            <a16:creationId xmlns:a16="http://schemas.microsoft.com/office/drawing/2014/main" id="{ADAEC28D-3DDC-4589-83B4-48C9246CA1A5}"/>
                          </a:ext>
                        </a:extLst>
                      </p:cNvPr>
                      <p:cNvSpPr/>
                      <p:nvPr/>
                    </p:nvSpPr>
                    <p:spPr>
                      <a:xfrm>
                        <a:off x="9085531" y="2304129"/>
                        <a:ext cx="58052" cy="72225"/>
                      </a:xfrm>
                      <a:custGeom>
                        <a:avLst/>
                        <a:gdLst>
                          <a:gd name="connsiteX0" fmla="*/ 50866 w 58052"/>
                          <a:gd name="connsiteY0" fmla="*/ 21736 h 72225"/>
                          <a:gd name="connsiteX1" fmla="*/ 33534 w 58052"/>
                          <a:gd name="connsiteY1" fmla="*/ 3400 h 72225"/>
                          <a:gd name="connsiteX2" fmla="*/ 22105 w 58052"/>
                          <a:gd name="connsiteY2" fmla="*/ 9 h 72225"/>
                          <a:gd name="connsiteX3" fmla="*/ 18337 w 58052"/>
                          <a:gd name="connsiteY3" fmla="*/ 134 h 72225"/>
                          <a:gd name="connsiteX4" fmla="*/ 18337 w 58052"/>
                          <a:gd name="connsiteY4" fmla="*/ 134 h 72225"/>
                          <a:gd name="connsiteX5" fmla="*/ 18337 w 58052"/>
                          <a:gd name="connsiteY5" fmla="*/ 134 h 72225"/>
                          <a:gd name="connsiteX6" fmla="*/ 18337 w 58052"/>
                          <a:gd name="connsiteY6" fmla="*/ 134 h 72225"/>
                          <a:gd name="connsiteX7" fmla="*/ 12057 w 58052"/>
                          <a:gd name="connsiteY7" fmla="*/ 1767 h 72225"/>
                          <a:gd name="connsiteX8" fmla="*/ 0 w 58052"/>
                          <a:gd name="connsiteY8" fmla="*/ 8800 h 72225"/>
                          <a:gd name="connsiteX9" fmla="*/ 18337 w 58052"/>
                          <a:gd name="connsiteY9" fmla="*/ 10684 h 72225"/>
                          <a:gd name="connsiteX10" fmla="*/ 36673 w 58052"/>
                          <a:gd name="connsiteY10" fmla="*/ 30026 h 72225"/>
                          <a:gd name="connsiteX11" fmla="*/ 36548 w 58052"/>
                          <a:gd name="connsiteY11" fmla="*/ 72226 h 72225"/>
                          <a:gd name="connsiteX12" fmla="*/ 48605 w 58052"/>
                          <a:gd name="connsiteY12" fmla="*/ 65192 h 72225"/>
                          <a:gd name="connsiteX13" fmla="*/ 55387 w 58052"/>
                          <a:gd name="connsiteY13" fmla="*/ 57154 h 72225"/>
                          <a:gd name="connsiteX14" fmla="*/ 50866 w 58052"/>
                          <a:gd name="connsiteY14" fmla="*/ 21736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2" h="72225">
                            <a:moveTo>
                              <a:pt x="50866" y="21736"/>
                            </a:moveTo>
                            <a:cubicBezTo>
                              <a:pt x="46093" y="13447"/>
                              <a:pt x="39813" y="7042"/>
                              <a:pt x="33534" y="3400"/>
                            </a:cubicBezTo>
                            <a:cubicBezTo>
                              <a:pt x="29640" y="1139"/>
                              <a:pt x="25621" y="-117"/>
                              <a:pt x="22105" y="9"/>
                            </a:cubicBezTo>
                            <a:cubicBezTo>
                              <a:pt x="20848" y="9"/>
                              <a:pt x="19593" y="134"/>
                              <a:pt x="18337" y="134"/>
                            </a:cubicBezTo>
                            <a:cubicBezTo>
                              <a:pt x="18337" y="134"/>
                              <a:pt x="18337" y="134"/>
                              <a:pt x="18337" y="134"/>
                            </a:cubicBezTo>
                            <a:lnTo>
                              <a:pt x="18337" y="134"/>
                            </a:lnTo>
                            <a:lnTo>
                              <a:pt x="18337" y="134"/>
                            </a:lnTo>
                            <a:cubicBezTo>
                              <a:pt x="16076" y="134"/>
                              <a:pt x="13941" y="762"/>
                              <a:pt x="12057" y="1767"/>
                            </a:cubicBezTo>
                            <a:lnTo>
                              <a:pt x="0" y="8800"/>
                            </a:lnTo>
                            <a:cubicBezTo>
                              <a:pt x="5023" y="5912"/>
                              <a:pt x="11680" y="6791"/>
                              <a:pt x="18337" y="10684"/>
                            </a:cubicBezTo>
                            <a:cubicBezTo>
                              <a:pt x="24993" y="14578"/>
                              <a:pt x="31650" y="21234"/>
                              <a:pt x="36673" y="30026"/>
                            </a:cubicBezTo>
                            <a:cubicBezTo>
                              <a:pt x="46721" y="47483"/>
                              <a:pt x="46721" y="66448"/>
                              <a:pt x="36548" y="72226"/>
                            </a:cubicBezTo>
                            <a:lnTo>
                              <a:pt x="48605" y="65192"/>
                            </a:lnTo>
                            <a:cubicBezTo>
                              <a:pt x="52876" y="62680"/>
                              <a:pt x="55011" y="57782"/>
                              <a:pt x="55387" y="57154"/>
                            </a:cubicBezTo>
                            <a:cubicBezTo>
                              <a:pt x="60034" y="49367"/>
                              <a:pt x="58653" y="35050"/>
                              <a:pt x="50866" y="2173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4" name="Freeform: Shape 4473">
                        <a:extLst>
                          <a:ext uri="{FF2B5EF4-FFF2-40B4-BE49-F238E27FC236}">
                            <a16:creationId xmlns:a16="http://schemas.microsoft.com/office/drawing/2014/main" id="{AEE71B24-5049-4E00-801A-E76605FD143F}"/>
                          </a:ext>
                        </a:extLst>
                      </p:cNvPr>
                      <p:cNvSpPr/>
                      <p:nvPr/>
                    </p:nvSpPr>
                    <p:spPr>
                      <a:xfrm>
                        <a:off x="9078112" y="2311223"/>
                        <a:ext cx="51628" cy="66243"/>
                      </a:xfrm>
                      <a:custGeom>
                        <a:avLst/>
                        <a:gdLst>
                          <a:gd name="connsiteX0" fmla="*/ 43967 w 51628"/>
                          <a:gd name="connsiteY0" fmla="*/ 22932 h 66243"/>
                          <a:gd name="connsiteX1" fmla="*/ 25631 w 51628"/>
                          <a:gd name="connsiteY1" fmla="*/ 3590 h 66243"/>
                          <a:gd name="connsiteX2" fmla="*/ 7293 w 51628"/>
                          <a:gd name="connsiteY2" fmla="*/ 1706 h 66243"/>
                          <a:gd name="connsiteX3" fmla="*/ 9 w 51628"/>
                          <a:gd name="connsiteY3" fmla="*/ 13512 h 66243"/>
                          <a:gd name="connsiteX4" fmla="*/ 32790 w 51628"/>
                          <a:gd name="connsiteY4" fmla="*/ 65885 h 66243"/>
                          <a:gd name="connsiteX5" fmla="*/ 43841 w 51628"/>
                          <a:gd name="connsiteY5" fmla="*/ 65006 h 66243"/>
                          <a:gd name="connsiteX6" fmla="*/ 43967 w 51628"/>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28"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90" y="65885"/>
                              <a:pt x="32790" y="65885"/>
                            </a:cubicBezTo>
                            <a:cubicBezTo>
                              <a:pt x="36683" y="66639"/>
                              <a:pt x="41958" y="66136"/>
                              <a:pt x="43841" y="65006"/>
                            </a:cubicBezTo>
                            <a:cubicBezTo>
                              <a:pt x="54266" y="59103"/>
                              <a:pt x="54140" y="40389"/>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5" name="Freeform: Shape 4474">
                        <a:extLst>
                          <a:ext uri="{FF2B5EF4-FFF2-40B4-BE49-F238E27FC236}">
                            <a16:creationId xmlns:a16="http://schemas.microsoft.com/office/drawing/2014/main" id="{153E93F3-B5BD-43FC-BD08-1E4CAFA52098}"/>
                          </a:ext>
                        </a:extLst>
                      </p:cNvPr>
                      <p:cNvSpPr/>
                      <p:nvPr/>
                    </p:nvSpPr>
                    <p:spPr>
                      <a:xfrm>
                        <a:off x="9066836" y="2305519"/>
                        <a:ext cx="69594" cy="80351"/>
                      </a:xfrm>
                      <a:custGeom>
                        <a:avLst/>
                        <a:gdLst>
                          <a:gd name="connsiteX0" fmla="*/ 52199 w 69594"/>
                          <a:gd name="connsiteY0" fmla="*/ 30128 h 80351"/>
                          <a:gd name="connsiteX1" fmla="*/ 52192 w 69594"/>
                          <a:gd name="connsiteY1" fmla="*/ 70303 h 80351"/>
                          <a:gd name="connsiteX2" fmla="*/ 17395 w 69594"/>
                          <a:gd name="connsiteY2" fmla="*/ 50223 h 80351"/>
                          <a:gd name="connsiteX3" fmla="*/ 17402 w 69594"/>
                          <a:gd name="connsiteY3" fmla="*/ 10048 h 80351"/>
                          <a:gd name="connsiteX4" fmla="*/ 52199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199" y="30128"/>
                            </a:moveTo>
                            <a:cubicBezTo>
                              <a:pt x="61806" y="46767"/>
                              <a:pt x="61803" y="64755"/>
                              <a:pt x="52192" y="70303"/>
                            </a:cubicBezTo>
                            <a:cubicBezTo>
                              <a:pt x="42581" y="75853"/>
                              <a:pt x="27002" y="66862"/>
                              <a:pt x="17395" y="50223"/>
                            </a:cubicBezTo>
                            <a:cubicBezTo>
                              <a:pt x="7788" y="33584"/>
                              <a:pt x="7792" y="15596"/>
                              <a:pt x="17402" y="10048"/>
                            </a:cubicBezTo>
                            <a:cubicBezTo>
                              <a:pt x="27014" y="4498"/>
                              <a:pt x="42593" y="13489"/>
                              <a:pt x="52199"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76" name="Graphic 4">
                      <a:extLst>
                        <a:ext uri="{FF2B5EF4-FFF2-40B4-BE49-F238E27FC236}">
                          <a16:creationId xmlns:a16="http://schemas.microsoft.com/office/drawing/2014/main" id="{84FB7ED1-A2DF-40A1-A747-5F7CF3F14040}"/>
                        </a:ext>
                      </a:extLst>
                    </p:cNvPr>
                    <p:cNvGrpSpPr/>
                    <p:nvPr/>
                  </p:nvGrpSpPr>
                  <p:grpSpPr>
                    <a:xfrm>
                      <a:off x="9085280" y="2324254"/>
                      <a:ext cx="33282" cy="42911"/>
                      <a:chOff x="9085280" y="2324254"/>
                      <a:chExt cx="33282" cy="42911"/>
                    </a:xfrm>
                    <a:solidFill>
                      <a:schemeClr val="accent1"/>
                    </a:solidFill>
                  </p:grpSpPr>
                  <p:sp>
                    <p:nvSpPr>
                      <p:cNvPr id="4477" name="Freeform: Shape 4476">
                        <a:extLst>
                          <a:ext uri="{FF2B5EF4-FFF2-40B4-BE49-F238E27FC236}">
                            <a16:creationId xmlns:a16="http://schemas.microsoft.com/office/drawing/2014/main" id="{624F6664-B723-43C5-B2DD-19F0F54D38F8}"/>
                          </a:ext>
                        </a:extLst>
                      </p:cNvPr>
                      <p:cNvSpPr/>
                      <p:nvPr/>
                    </p:nvSpPr>
                    <p:spPr>
                      <a:xfrm>
                        <a:off x="9086536" y="2325825"/>
                        <a:ext cx="30770" cy="39768"/>
                      </a:xfrm>
                      <a:custGeom>
                        <a:avLst/>
                        <a:gdLst>
                          <a:gd name="connsiteX0" fmla="*/ 26249 w 30770"/>
                          <a:gd name="connsiteY0" fmla="*/ 38723 h 39768"/>
                          <a:gd name="connsiteX1" fmla="*/ 4521 w 30770"/>
                          <a:gd name="connsiteY1" fmla="*/ 26164 h 39768"/>
                          <a:gd name="connsiteX2" fmla="*/ 4521 w 30770"/>
                          <a:gd name="connsiteY2" fmla="*/ 1045 h 39768"/>
                          <a:gd name="connsiteX3" fmla="*/ 26249 w 30770"/>
                          <a:gd name="connsiteY3" fmla="*/ 13604 h 39768"/>
                          <a:gd name="connsiteX4" fmla="*/ 26249 w 30770"/>
                          <a:gd name="connsiteY4" fmla="*/ 38723 h 3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39768">
                            <a:moveTo>
                              <a:pt x="26249" y="38723"/>
                            </a:moveTo>
                            <a:cubicBezTo>
                              <a:pt x="20221" y="42240"/>
                              <a:pt x="10424" y="36588"/>
                              <a:pt x="4521" y="26164"/>
                            </a:cubicBezTo>
                            <a:cubicBezTo>
                              <a:pt x="-1507" y="15740"/>
                              <a:pt x="-1507" y="4436"/>
                              <a:pt x="4521" y="1045"/>
                            </a:cubicBezTo>
                            <a:cubicBezTo>
                              <a:pt x="10550" y="-2472"/>
                              <a:pt x="20346" y="3180"/>
                              <a:pt x="26249" y="13604"/>
                            </a:cubicBezTo>
                            <a:cubicBezTo>
                              <a:pt x="32277" y="24029"/>
                              <a:pt x="32277" y="35207"/>
                              <a:pt x="26249" y="3872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8" name="Freeform: Shape 4477">
                        <a:extLst>
                          <a:ext uri="{FF2B5EF4-FFF2-40B4-BE49-F238E27FC236}">
                            <a16:creationId xmlns:a16="http://schemas.microsoft.com/office/drawing/2014/main" id="{543226DD-67CE-4D28-932D-F81F382CFC62}"/>
                          </a:ext>
                        </a:extLst>
                      </p:cNvPr>
                      <p:cNvSpPr/>
                      <p:nvPr/>
                    </p:nvSpPr>
                    <p:spPr>
                      <a:xfrm>
                        <a:off x="9085280" y="2324254"/>
                        <a:ext cx="33282" cy="42911"/>
                      </a:xfrm>
                      <a:custGeom>
                        <a:avLst/>
                        <a:gdLst>
                          <a:gd name="connsiteX0" fmla="*/ 28385 w 33282"/>
                          <a:gd name="connsiteY0" fmla="*/ 14673 h 42911"/>
                          <a:gd name="connsiteX1" fmla="*/ 4898 w 33282"/>
                          <a:gd name="connsiteY1" fmla="*/ 1109 h 42911"/>
                          <a:gd name="connsiteX2" fmla="*/ 4898 w 33282"/>
                          <a:gd name="connsiteY2" fmla="*/ 28238 h 42911"/>
                          <a:gd name="connsiteX3" fmla="*/ 28385 w 33282"/>
                          <a:gd name="connsiteY3" fmla="*/ 41802 h 42911"/>
                          <a:gd name="connsiteX4" fmla="*/ 28385 w 33282"/>
                          <a:gd name="connsiteY4" fmla="*/ 14673 h 42911"/>
                          <a:gd name="connsiteX5" fmla="*/ 29515 w 33282"/>
                          <a:gd name="connsiteY5" fmla="*/ 19069 h 42911"/>
                          <a:gd name="connsiteX6" fmla="*/ 22356 w 33282"/>
                          <a:gd name="connsiteY6" fmla="*/ 17562 h 42911"/>
                          <a:gd name="connsiteX7" fmla="*/ 20723 w 33282"/>
                          <a:gd name="connsiteY7" fmla="*/ 15302 h 42911"/>
                          <a:gd name="connsiteX8" fmla="*/ 20723 w 33282"/>
                          <a:gd name="connsiteY8" fmla="*/ 6510 h 42911"/>
                          <a:gd name="connsiteX9" fmla="*/ 27505 w 33282"/>
                          <a:gd name="connsiteY9" fmla="*/ 15050 h 42911"/>
                          <a:gd name="connsiteX10" fmla="*/ 29515 w 33282"/>
                          <a:gd name="connsiteY10" fmla="*/ 19069 h 42911"/>
                          <a:gd name="connsiteX11" fmla="*/ 5778 w 33282"/>
                          <a:gd name="connsiteY11" fmla="*/ 2616 h 42911"/>
                          <a:gd name="connsiteX12" fmla="*/ 12559 w 33282"/>
                          <a:gd name="connsiteY12" fmla="*/ 1988 h 42911"/>
                          <a:gd name="connsiteX13" fmla="*/ 12559 w 33282"/>
                          <a:gd name="connsiteY13" fmla="*/ 10780 h 42911"/>
                          <a:gd name="connsiteX14" fmla="*/ 10927 w 33282"/>
                          <a:gd name="connsiteY14" fmla="*/ 11157 h 42911"/>
                          <a:gd name="connsiteX15" fmla="*/ 3768 w 33282"/>
                          <a:gd name="connsiteY15" fmla="*/ 4249 h 42911"/>
                          <a:gd name="connsiteX16" fmla="*/ 5778 w 33282"/>
                          <a:gd name="connsiteY16" fmla="*/ 2616 h 42911"/>
                          <a:gd name="connsiteX17" fmla="*/ 1256 w 33282"/>
                          <a:gd name="connsiteY17" fmla="*/ 11785 h 42911"/>
                          <a:gd name="connsiteX18" fmla="*/ 8415 w 33282"/>
                          <a:gd name="connsiteY18" fmla="*/ 18693 h 42911"/>
                          <a:gd name="connsiteX19" fmla="*/ 9043 w 33282"/>
                          <a:gd name="connsiteY19" fmla="*/ 21204 h 42911"/>
                          <a:gd name="connsiteX20" fmla="*/ 4647 w 33282"/>
                          <a:gd name="connsiteY20" fmla="*/ 25726 h 42911"/>
                          <a:gd name="connsiteX21" fmla="*/ 1256 w 33282"/>
                          <a:gd name="connsiteY21" fmla="*/ 11785 h 42911"/>
                          <a:gd name="connsiteX22" fmla="*/ 11178 w 33282"/>
                          <a:gd name="connsiteY22" fmla="*/ 34894 h 42911"/>
                          <a:gd name="connsiteX23" fmla="*/ 15574 w 33282"/>
                          <a:gd name="connsiteY23" fmla="*/ 30373 h 42911"/>
                          <a:gd name="connsiteX24" fmla="*/ 17584 w 33282"/>
                          <a:gd name="connsiteY24" fmla="*/ 31503 h 42911"/>
                          <a:gd name="connsiteX25" fmla="*/ 21979 w 33282"/>
                          <a:gd name="connsiteY25" fmla="*/ 41174 h 42911"/>
                          <a:gd name="connsiteX26" fmla="*/ 11178 w 33282"/>
                          <a:gd name="connsiteY26" fmla="*/ 34894 h 42911"/>
                          <a:gd name="connsiteX27" fmla="*/ 28636 w 33282"/>
                          <a:gd name="connsiteY27" fmla="*/ 39541 h 42911"/>
                          <a:gd name="connsiteX28" fmla="*/ 24240 w 33282"/>
                          <a:gd name="connsiteY28" fmla="*/ 29870 h 42911"/>
                          <a:gd name="connsiteX29" fmla="*/ 24868 w 33282"/>
                          <a:gd name="connsiteY29" fmla="*/ 28112 h 42911"/>
                          <a:gd name="connsiteX30" fmla="*/ 32027 w 33282"/>
                          <a:gd name="connsiteY30" fmla="*/ 29619 h 42911"/>
                          <a:gd name="connsiteX31" fmla="*/ 28636 w 33282"/>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282" h="42911">
                            <a:moveTo>
                              <a:pt x="28385" y="14673"/>
                            </a:moveTo>
                            <a:cubicBezTo>
                              <a:pt x="21853" y="3496"/>
                              <a:pt x="11430" y="-2659"/>
                              <a:pt x="4898" y="1109"/>
                            </a:cubicBezTo>
                            <a:cubicBezTo>
                              <a:pt x="-1633" y="4877"/>
                              <a:pt x="-1633" y="16934"/>
                              <a:pt x="4898" y="28238"/>
                            </a:cubicBezTo>
                            <a:cubicBezTo>
                              <a:pt x="11430" y="39416"/>
                              <a:pt x="21853" y="45570"/>
                              <a:pt x="28385" y="41802"/>
                            </a:cubicBezTo>
                            <a:cubicBezTo>
                              <a:pt x="34916" y="38034"/>
                              <a:pt x="34916" y="25851"/>
                              <a:pt x="28385" y="14673"/>
                            </a:cubicBezTo>
                            <a:close/>
                            <a:moveTo>
                              <a:pt x="29515" y="19069"/>
                            </a:moveTo>
                            <a:lnTo>
                              <a:pt x="22356" y="17562"/>
                            </a:lnTo>
                            <a:cubicBezTo>
                              <a:pt x="21853" y="16809"/>
                              <a:pt x="21351" y="16055"/>
                              <a:pt x="20723" y="15302"/>
                            </a:cubicBezTo>
                            <a:lnTo>
                              <a:pt x="20723" y="6510"/>
                            </a:lnTo>
                            <a:cubicBezTo>
                              <a:pt x="23236" y="8771"/>
                              <a:pt x="25622" y="11659"/>
                              <a:pt x="27505" y="15050"/>
                            </a:cubicBezTo>
                            <a:cubicBezTo>
                              <a:pt x="28259" y="16432"/>
                              <a:pt x="28887" y="17813"/>
                              <a:pt x="29515" y="19069"/>
                            </a:cubicBezTo>
                            <a:close/>
                            <a:moveTo>
                              <a:pt x="5778" y="2616"/>
                            </a:moveTo>
                            <a:cubicBezTo>
                              <a:pt x="7787" y="1486"/>
                              <a:pt x="10047" y="1360"/>
                              <a:pt x="12559" y="1988"/>
                            </a:cubicBezTo>
                            <a:lnTo>
                              <a:pt x="12559" y="10780"/>
                            </a:lnTo>
                            <a:cubicBezTo>
                              <a:pt x="12057" y="10780"/>
                              <a:pt x="11430" y="10906"/>
                              <a:pt x="10927" y="11157"/>
                            </a:cubicBezTo>
                            <a:lnTo>
                              <a:pt x="3768" y="4249"/>
                            </a:lnTo>
                            <a:cubicBezTo>
                              <a:pt x="4271" y="3621"/>
                              <a:pt x="5024" y="2993"/>
                              <a:pt x="5778" y="2616"/>
                            </a:cubicBezTo>
                            <a:close/>
                            <a:moveTo>
                              <a:pt x="1256" y="11785"/>
                            </a:moveTo>
                            <a:lnTo>
                              <a:pt x="8415" y="18693"/>
                            </a:lnTo>
                            <a:cubicBezTo>
                              <a:pt x="8540" y="19446"/>
                              <a:pt x="8792" y="20325"/>
                              <a:pt x="9043" y="21204"/>
                            </a:cubicBezTo>
                            <a:lnTo>
                              <a:pt x="4647" y="25726"/>
                            </a:lnTo>
                            <a:cubicBezTo>
                              <a:pt x="2261" y="20702"/>
                              <a:pt x="1131" y="15804"/>
                              <a:pt x="1256" y="11785"/>
                            </a:cubicBezTo>
                            <a:close/>
                            <a:moveTo>
                              <a:pt x="11178" y="34894"/>
                            </a:moveTo>
                            <a:lnTo>
                              <a:pt x="15574" y="30373"/>
                            </a:lnTo>
                            <a:cubicBezTo>
                              <a:pt x="16202" y="30875"/>
                              <a:pt x="16830" y="31252"/>
                              <a:pt x="17584" y="31503"/>
                            </a:cubicBezTo>
                            <a:lnTo>
                              <a:pt x="21979" y="41174"/>
                            </a:lnTo>
                            <a:cubicBezTo>
                              <a:pt x="18589" y="40672"/>
                              <a:pt x="14694" y="38537"/>
                              <a:pt x="11178" y="34894"/>
                            </a:cubicBezTo>
                            <a:close/>
                            <a:moveTo>
                              <a:pt x="28636" y="39541"/>
                            </a:moveTo>
                            <a:lnTo>
                              <a:pt x="24240" y="29870"/>
                            </a:lnTo>
                            <a:cubicBezTo>
                              <a:pt x="24491" y="29368"/>
                              <a:pt x="24743" y="28740"/>
                              <a:pt x="24868" y="28112"/>
                            </a:cubicBezTo>
                            <a:lnTo>
                              <a:pt x="32027" y="29619"/>
                            </a:lnTo>
                            <a:cubicBezTo>
                              <a:pt x="32152" y="33764"/>
                              <a:pt x="31022" y="37406"/>
                              <a:pt x="28636"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479" name="Graphic 4">
                        <a:extLst>
                          <a:ext uri="{FF2B5EF4-FFF2-40B4-BE49-F238E27FC236}">
                            <a16:creationId xmlns:a16="http://schemas.microsoft.com/office/drawing/2014/main" id="{84FB7ED1-A2DF-40A1-A747-5F7CF3F14040}"/>
                          </a:ext>
                        </a:extLst>
                      </p:cNvPr>
                      <p:cNvGrpSpPr/>
                      <p:nvPr/>
                    </p:nvGrpSpPr>
                    <p:grpSpPr>
                      <a:xfrm>
                        <a:off x="9086527" y="2326368"/>
                        <a:ext cx="29146" cy="39185"/>
                        <a:chOff x="9086527" y="2326368"/>
                        <a:chExt cx="29146" cy="39185"/>
                      </a:xfrm>
                      <a:solidFill>
                        <a:srgbClr val="ADAA99"/>
                      </a:solidFill>
                    </p:grpSpPr>
                    <p:sp>
                      <p:nvSpPr>
                        <p:cNvPr id="4480" name="Freeform: Shape 4479">
                          <a:extLst>
                            <a:ext uri="{FF2B5EF4-FFF2-40B4-BE49-F238E27FC236}">
                              <a16:creationId xmlns:a16="http://schemas.microsoft.com/office/drawing/2014/main" id="{8F4B560B-D727-48C5-847F-9F98900FA729}"/>
                            </a:ext>
                          </a:extLst>
                        </p:cNvPr>
                        <p:cNvSpPr/>
                        <p:nvPr/>
                      </p:nvSpPr>
                      <p:spPr>
                        <a:xfrm>
                          <a:off x="9106003" y="2330889"/>
                          <a:ext cx="8791" cy="12559"/>
                        </a:xfrm>
                        <a:custGeom>
                          <a:avLst/>
                          <a:gdLst>
                            <a:gd name="connsiteX0" fmla="*/ 2135 w 8791"/>
                            <a:gd name="connsiteY0" fmla="*/ 7536 h 12559"/>
                            <a:gd name="connsiteX1" fmla="*/ 2135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768 w 8791"/>
                            <a:gd name="connsiteY7" fmla="*/ 9796 h 12559"/>
                            <a:gd name="connsiteX8" fmla="*/ 2135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5" y="7536"/>
                              </a:moveTo>
                              <a:lnTo>
                                <a:pt x="2135" y="2135"/>
                              </a:lnTo>
                              <a:cubicBezTo>
                                <a:pt x="1381" y="1382"/>
                                <a:pt x="754" y="628"/>
                                <a:pt x="0" y="0"/>
                              </a:cubicBezTo>
                              <a:lnTo>
                                <a:pt x="0" y="8792"/>
                              </a:lnTo>
                              <a:cubicBezTo>
                                <a:pt x="502" y="9420"/>
                                <a:pt x="1130" y="10173"/>
                                <a:pt x="1633" y="11052"/>
                              </a:cubicBezTo>
                              <a:lnTo>
                                <a:pt x="8792" y="12559"/>
                              </a:lnTo>
                              <a:cubicBezTo>
                                <a:pt x="8540" y="11931"/>
                                <a:pt x="8289" y="11304"/>
                                <a:pt x="7913" y="10676"/>
                              </a:cubicBezTo>
                              <a:lnTo>
                                <a:pt x="3768" y="9796"/>
                              </a:lnTo>
                              <a:cubicBezTo>
                                <a:pt x="3266" y="8917"/>
                                <a:pt x="2637" y="8164"/>
                                <a:pt x="2135"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1" name="Freeform: Shape 4480">
                          <a:extLst>
                            <a:ext uri="{FF2B5EF4-FFF2-40B4-BE49-F238E27FC236}">
                              <a16:creationId xmlns:a16="http://schemas.microsoft.com/office/drawing/2014/main" id="{CFA284BF-748F-49B4-B9ED-88396604606C}"/>
                            </a:ext>
                          </a:extLst>
                        </p:cNvPr>
                        <p:cNvSpPr/>
                        <p:nvPr/>
                      </p:nvSpPr>
                      <p:spPr>
                        <a:xfrm>
                          <a:off x="9109520" y="2352240"/>
                          <a:ext cx="6154" cy="11429"/>
                        </a:xfrm>
                        <a:custGeom>
                          <a:avLst/>
                          <a:gdLst>
                            <a:gd name="connsiteX0" fmla="*/ 2261 w 6154"/>
                            <a:gd name="connsiteY0" fmla="*/ 377 h 11429"/>
                            <a:gd name="connsiteX1" fmla="*/ 629 w 6154"/>
                            <a:gd name="connsiteY1" fmla="*/ 0 h 11429"/>
                            <a:gd name="connsiteX2" fmla="*/ 0 w 6154"/>
                            <a:gd name="connsiteY2" fmla="*/ 1758 h 11429"/>
                            <a:gd name="connsiteX3" fmla="*/ 4396 w 6154"/>
                            <a:gd name="connsiteY3" fmla="*/ 11429 h 11429"/>
                            <a:gd name="connsiteX4" fmla="*/ 6154 w 6154"/>
                            <a:gd name="connsiteY4" fmla="*/ 9294 h 11429"/>
                            <a:gd name="connsiteX5" fmla="*/ 2136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9" y="0"/>
                              </a:lnTo>
                              <a:cubicBezTo>
                                <a:pt x="503" y="628"/>
                                <a:pt x="251" y="1256"/>
                                <a:pt x="0" y="1758"/>
                              </a:cubicBezTo>
                              <a:lnTo>
                                <a:pt x="4396" y="11429"/>
                              </a:lnTo>
                              <a:cubicBezTo>
                                <a:pt x="5024" y="10801"/>
                                <a:pt x="5652" y="10173"/>
                                <a:pt x="6154" y="9294"/>
                              </a:cubicBezTo>
                              <a:lnTo>
                                <a:pt x="2136" y="502"/>
                              </a:lnTo>
                              <a:cubicBezTo>
                                <a:pt x="2136" y="502"/>
                                <a:pt x="2136" y="502"/>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2" name="Freeform: Shape 4481">
                          <a:extLst>
                            <a:ext uri="{FF2B5EF4-FFF2-40B4-BE49-F238E27FC236}">
                              <a16:creationId xmlns:a16="http://schemas.microsoft.com/office/drawing/2014/main" id="{49326F6E-521B-416C-AE64-DA53BD97E6F5}"/>
                            </a:ext>
                          </a:extLst>
                        </p:cNvPr>
                        <p:cNvSpPr/>
                        <p:nvPr/>
                      </p:nvSpPr>
                      <p:spPr>
                        <a:xfrm>
                          <a:off x="9086527" y="2336038"/>
                          <a:ext cx="5284" cy="13940"/>
                        </a:xfrm>
                        <a:custGeom>
                          <a:avLst/>
                          <a:gdLst>
                            <a:gd name="connsiteX0" fmla="*/ 9 w 5284"/>
                            <a:gd name="connsiteY0" fmla="*/ 0 h 13940"/>
                            <a:gd name="connsiteX1" fmla="*/ 3400 w 5284"/>
                            <a:gd name="connsiteY1" fmla="*/ 13941 h 13940"/>
                            <a:gd name="connsiteX2" fmla="*/ 5284 w 5284"/>
                            <a:gd name="connsiteY2" fmla="*/ 12057 h 13940"/>
                            <a:gd name="connsiteX3" fmla="*/ 2396 w 5284"/>
                            <a:gd name="connsiteY3" fmla="*/ 2261 h 13940"/>
                            <a:gd name="connsiteX4" fmla="*/ 9 w 5284"/>
                            <a:gd name="connsiteY4" fmla="*/ 0 h 13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0">
                              <a:moveTo>
                                <a:pt x="9" y="0"/>
                              </a:moveTo>
                              <a:cubicBezTo>
                                <a:pt x="-116" y="4145"/>
                                <a:pt x="1014" y="9043"/>
                                <a:pt x="3400" y="13941"/>
                              </a:cubicBezTo>
                              <a:lnTo>
                                <a:pt x="5284" y="12057"/>
                              </a:lnTo>
                              <a:cubicBezTo>
                                <a:pt x="3651" y="8666"/>
                                <a:pt x="2772"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3" name="Freeform: Shape 4482">
                          <a:extLst>
                            <a:ext uri="{FF2B5EF4-FFF2-40B4-BE49-F238E27FC236}">
                              <a16:creationId xmlns:a16="http://schemas.microsoft.com/office/drawing/2014/main" id="{FFBFCC0E-D844-4B6E-A41C-95EE9C2B83AF}"/>
                            </a:ext>
                          </a:extLst>
                        </p:cNvPr>
                        <p:cNvSpPr/>
                        <p:nvPr/>
                      </p:nvSpPr>
                      <p:spPr>
                        <a:xfrm>
                          <a:off x="9096584" y="2354752"/>
                          <a:ext cx="10926" cy="10801"/>
                        </a:xfrm>
                        <a:custGeom>
                          <a:avLst/>
                          <a:gdLst>
                            <a:gd name="connsiteX0" fmla="*/ 2009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09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09" y="3265"/>
                              </a:moveTo>
                              <a:lnTo>
                                <a:pt x="4898" y="377"/>
                              </a:lnTo>
                              <a:cubicBezTo>
                                <a:pt x="4773" y="251"/>
                                <a:pt x="4521" y="126"/>
                                <a:pt x="4396" y="0"/>
                              </a:cubicBezTo>
                              <a:lnTo>
                                <a:pt x="0" y="4521"/>
                              </a:lnTo>
                              <a:cubicBezTo>
                                <a:pt x="3516" y="8038"/>
                                <a:pt x="7410" y="10299"/>
                                <a:pt x="10927" y="10801"/>
                              </a:cubicBezTo>
                              <a:lnTo>
                                <a:pt x="9922" y="8666"/>
                              </a:lnTo>
                              <a:cubicBezTo>
                                <a:pt x="7159" y="7536"/>
                                <a:pt x="4521" y="5777"/>
                                <a:pt x="2009"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4" name="Freeform: Shape 4483">
                          <a:extLst>
                            <a:ext uri="{FF2B5EF4-FFF2-40B4-BE49-F238E27FC236}">
                              <a16:creationId xmlns:a16="http://schemas.microsoft.com/office/drawing/2014/main" id="{BF45C6DF-B716-4010-B892-EC364158D263}"/>
                            </a:ext>
                          </a:extLst>
                        </p:cNvPr>
                        <p:cNvSpPr/>
                        <p:nvPr/>
                      </p:nvSpPr>
                      <p:spPr>
                        <a:xfrm>
                          <a:off x="9089048" y="2326368"/>
                          <a:ext cx="8791" cy="9042"/>
                        </a:xfrm>
                        <a:custGeom>
                          <a:avLst/>
                          <a:gdLst>
                            <a:gd name="connsiteX0" fmla="*/ 3140 w 8791"/>
                            <a:gd name="connsiteY0" fmla="*/ 0 h 9042"/>
                            <a:gd name="connsiteX1" fmla="*/ 2010 w 8791"/>
                            <a:gd name="connsiteY1" fmla="*/ 502 h 9042"/>
                            <a:gd name="connsiteX2" fmla="*/ 0 w 8791"/>
                            <a:gd name="connsiteY2" fmla="*/ 2135 h 9042"/>
                            <a:gd name="connsiteX3" fmla="*/ 7159 w 8791"/>
                            <a:gd name="connsiteY3" fmla="*/ 9043 h 9042"/>
                            <a:gd name="connsiteX4" fmla="*/ 8792 w 8791"/>
                            <a:gd name="connsiteY4" fmla="*/ 8666 h 9042"/>
                            <a:gd name="connsiteX5" fmla="*/ 8792 w 8791"/>
                            <a:gd name="connsiteY5" fmla="*/ 7285 h 9042"/>
                            <a:gd name="connsiteX6" fmla="*/ 2136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10" y="502"/>
                              </a:cubicBezTo>
                              <a:cubicBezTo>
                                <a:pt x="1256" y="879"/>
                                <a:pt x="629" y="1507"/>
                                <a:pt x="0" y="2135"/>
                              </a:cubicBezTo>
                              <a:lnTo>
                                <a:pt x="7159" y="9043"/>
                              </a:lnTo>
                              <a:cubicBezTo>
                                <a:pt x="7662" y="8792"/>
                                <a:pt x="8164" y="8666"/>
                                <a:pt x="8792" y="8666"/>
                              </a:cubicBezTo>
                              <a:lnTo>
                                <a:pt x="8792" y="7285"/>
                              </a:lnTo>
                              <a:lnTo>
                                <a:pt x="2136" y="1005"/>
                              </a:lnTo>
                              <a:cubicBezTo>
                                <a:pt x="2386" y="502"/>
                                <a:pt x="2763" y="251"/>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85" name="Graphic 4">
                        <a:extLst>
                          <a:ext uri="{FF2B5EF4-FFF2-40B4-BE49-F238E27FC236}">
                            <a16:creationId xmlns:a16="http://schemas.microsoft.com/office/drawing/2014/main" id="{84FB7ED1-A2DF-40A1-A747-5F7CF3F14040}"/>
                          </a:ext>
                        </a:extLst>
                      </p:cNvPr>
                      <p:cNvGrpSpPr/>
                      <p:nvPr/>
                    </p:nvGrpSpPr>
                    <p:grpSpPr>
                      <a:xfrm>
                        <a:off x="9095583" y="2337921"/>
                        <a:ext cx="12732" cy="16127"/>
                        <a:chOff x="9095583" y="2337921"/>
                        <a:chExt cx="12732" cy="16127"/>
                      </a:xfrm>
                      <a:solidFill>
                        <a:srgbClr val="222222"/>
                      </a:solidFill>
                    </p:grpSpPr>
                    <p:sp>
                      <p:nvSpPr>
                        <p:cNvPr id="4486" name="Freeform: Shape 4485">
                          <a:extLst>
                            <a:ext uri="{FF2B5EF4-FFF2-40B4-BE49-F238E27FC236}">
                              <a16:creationId xmlns:a16="http://schemas.microsoft.com/office/drawing/2014/main" id="{B44DA3C3-BDC0-4CCF-A0D7-F1E27840F2B0}"/>
                            </a:ext>
                          </a:extLst>
                        </p:cNvPr>
                        <p:cNvSpPr/>
                        <p:nvPr/>
                      </p:nvSpPr>
                      <p:spPr>
                        <a:xfrm>
                          <a:off x="9099912" y="2343041"/>
                          <a:ext cx="4066" cy="5336"/>
                        </a:xfrm>
                        <a:custGeom>
                          <a:avLst/>
                          <a:gdLst>
                            <a:gd name="connsiteX0" fmla="*/ 3454 w 4066"/>
                            <a:gd name="connsiteY0" fmla="*/ 5180 h 5336"/>
                            <a:gd name="connsiteX1" fmla="*/ 565 w 4066"/>
                            <a:gd name="connsiteY1" fmla="*/ 3547 h 5336"/>
                            <a:gd name="connsiteX2" fmla="*/ 565 w 4066"/>
                            <a:gd name="connsiteY2" fmla="*/ 156 h 5336"/>
                            <a:gd name="connsiteX3" fmla="*/ 3454 w 4066"/>
                            <a:gd name="connsiteY3" fmla="*/ 1789 h 5336"/>
                            <a:gd name="connsiteX4" fmla="*/ 3454 w 4066"/>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6" h="5336">
                              <a:moveTo>
                                <a:pt x="3454" y="5180"/>
                              </a:moveTo>
                              <a:cubicBezTo>
                                <a:pt x="2700" y="5682"/>
                                <a:pt x="1319" y="4929"/>
                                <a:pt x="565" y="3547"/>
                              </a:cubicBezTo>
                              <a:cubicBezTo>
                                <a:pt x="-188" y="2166"/>
                                <a:pt x="-188" y="658"/>
                                <a:pt x="565" y="156"/>
                              </a:cubicBezTo>
                              <a:cubicBezTo>
                                <a:pt x="1319" y="-346"/>
                                <a:pt x="2700" y="407"/>
                                <a:pt x="3454" y="1789"/>
                              </a:cubicBezTo>
                              <a:cubicBezTo>
                                <a:pt x="4207" y="3170"/>
                                <a:pt x="4333" y="4678"/>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7" name="Freeform: Shape 4486">
                          <a:extLst>
                            <a:ext uri="{FF2B5EF4-FFF2-40B4-BE49-F238E27FC236}">
                              <a16:creationId xmlns:a16="http://schemas.microsoft.com/office/drawing/2014/main" id="{2F107F24-BB8E-4B19-B3EE-A91438DE8E59}"/>
                            </a:ext>
                          </a:extLst>
                        </p:cNvPr>
                        <p:cNvSpPr/>
                        <p:nvPr/>
                      </p:nvSpPr>
                      <p:spPr>
                        <a:xfrm>
                          <a:off x="9100774" y="2337921"/>
                          <a:ext cx="2340" cy="3217"/>
                        </a:xfrm>
                        <a:custGeom>
                          <a:avLst/>
                          <a:gdLst>
                            <a:gd name="connsiteX0" fmla="*/ 1964 w 2340"/>
                            <a:gd name="connsiteY0" fmla="*/ 3141 h 3217"/>
                            <a:gd name="connsiteX1" fmla="*/ 331 w 2340"/>
                            <a:gd name="connsiteY1" fmla="*/ 2136 h 3217"/>
                            <a:gd name="connsiteX2" fmla="*/ 331 w 2340"/>
                            <a:gd name="connsiteY2" fmla="*/ 127 h 3217"/>
                            <a:gd name="connsiteX3" fmla="*/ 1964 w 2340"/>
                            <a:gd name="connsiteY3" fmla="*/ 1131 h 3217"/>
                            <a:gd name="connsiteX4" fmla="*/ 1964 w 2340"/>
                            <a:gd name="connsiteY4" fmla="*/ 3141 h 3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0" h="3217">
                              <a:moveTo>
                                <a:pt x="1964" y="3141"/>
                              </a:moveTo>
                              <a:cubicBezTo>
                                <a:pt x="1462" y="3392"/>
                                <a:pt x="708" y="3015"/>
                                <a:pt x="331" y="2136"/>
                              </a:cubicBezTo>
                              <a:cubicBezTo>
                                <a:pt x="-45" y="1257"/>
                                <a:pt x="-171" y="503"/>
                                <a:pt x="331" y="127"/>
                              </a:cubicBezTo>
                              <a:cubicBezTo>
                                <a:pt x="833" y="-250"/>
                                <a:pt x="1587" y="252"/>
                                <a:pt x="1964" y="1131"/>
                              </a:cubicBezTo>
                              <a:cubicBezTo>
                                <a:pt x="2466" y="1885"/>
                                <a:pt x="2466" y="2764"/>
                                <a:pt x="1964" y="314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8" name="Freeform: Shape 4487">
                          <a:extLst>
                            <a:ext uri="{FF2B5EF4-FFF2-40B4-BE49-F238E27FC236}">
                              <a16:creationId xmlns:a16="http://schemas.microsoft.com/office/drawing/2014/main" id="{0B581315-10CC-4EE1-8336-220E21780BAC}"/>
                            </a:ext>
                          </a:extLst>
                        </p:cNvPr>
                        <p:cNvSpPr/>
                        <p:nvPr/>
                      </p:nvSpPr>
                      <p:spPr>
                        <a:xfrm>
                          <a:off x="9097569" y="2347277"/>
                          <a:ext cx="2424" cy="3019"/>
                        </a:xfrm>
                        <a:custGeom>
                          <a:avLst/>
                          <a:gdLst>
                            <a:gd name="connsiteX0" fmla="*/ 1024 w 2424"/>
                            <a:gd name="connsiteY0" fmla="*/ 65 h 3019"/>
                            <a:gd name="connsiteX1" fmla="*/ 2405 w 2424"/>
                            <a:gd name="connsiteY1" fmla="*/ 1949 h 3019"/>
                            <a:gd name="connsiteX2" fmla="*/ 1401 w 2424"/>
                            <a:gd name="connsiteY2" fmla="*/ 2954 h 3019"/>
                            <a:gd name="connsiteX3" fmla="*/ 19 w 2424"/>
                            <a:gd name="connsiteY3" fmla="*/ 1070 h 3019"/>
                            <a:gd name="connsiteX4" fmla="*/ 1024 w 2424"/>
                            <a:gd name="connsiteY4" fmla="*/ 65 h 3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019">
                              <a:moveTo>
                                <a:pt x="1024" y="65"/>
                              </a:moveTo>
                              <a:cubicBezTo>
                                <a:pt x="1651" y="317"/>
                                <a:pt x="2280" y="1196"/>
                                <a:pt x="2405" y="1949"/>
                              </a:cubicBezTo>
                              <a:cubicBezTo>
                                <a:pt x="2531" y="2703"/>
                                <a:pt x="2029" y="3205"/>
                                <a:pt x="1401" y="2954"/>
                              </a:cubicBezTo>
                              <a:cubicBezTo>
                                <a:pt x="773" y="2703"/>
                                <a:pt x="144" y="1824"/>
                                <a:pt x="19" y="1070"/>
                              </a:cubicBezTo>
                              <a:cubicBezTo>
                                <a:pt x="-106" y="317"/>
                                <a:pt x="396" y="-186"/>
                                <a:pt x="1024" y="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9" name="Freeform: Shape 4488">
                          <a:extLst>
                            <a:ext uri="{FF2B5EF4-FFF2-40B4-BE49-F238E27FC236}">
                              <a16:creationId xmlns:a16="http://schemas.microsoft.com/office/drawing/2014/main" id="{99E6C2D6-2CBE-4691-A0EA-765876396905}"/>
                            </a:ext>
                          </a:extLst>
                        </p:cNvPr>
                        <p:cNvSpPr/>
                        <p:nvPr/>
                      </p:nvSpPr>
                      <p:spPr>
                        <a:xfrm>
                          <a:off x="9103849" y="2350934"/>
                          <a:ext cx="2424" cy="3114"/>
                        </a:xfrm>
                        <a:custGeom>
                          <a:avLst/>
                          <a:gdLst>
                            <a:gd name="connsiteX0" fmla="*/ 19 w 2424"/>
                            <a:gd name="connsiteY0" fmla="*/ 678 h 3114"/>
                            <a:gd name="connsiteX1" fmla="*/ 1401 w 2424"/>
                            <a:gd name="connsiteY1" fmla="*/ 301 h 3114"/>
                            <a:gd name="connsiteX2" fmla="*/ 2405 w 2424"/>
                            <a:gd name="connsiteY2" fmla="*/ 2437 h 3114"/>
                            <a:gd name="connsiteX3" fmla="*/ 1024 w 2424"/>
                            <a:gd name="connsiteY3" fmla="*/ 2813 h 3114"/>
                            <a:gd name="connsiteX4" fmla="*/ 19 w 2424"/>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114">
                              <a:moveTo>
                                <a:pt x="19" y="678"/>
                              </a:moveTo>
                              <a:cubicBezTo>
                                <a:pt x="144" y="-75"/>
                                <a:pt x="773" y="-201"/>
                                <a:pt x="1401" y="301"/>
                              </a:cubicBezTo>
                              <a:cubicBezTo>
                                <a:pt x="2029" y="804"/>
                                <a:pt x="2531" y="1809"/>
                                <a:pt x="2405" y="2437"/>
                              </a:cubicBezTo>
                              <a:cubicBezTo>
                                <a:pt x="2280" y="3190"/>
                                <a:pt x="1651" y="3316"/>
                                <a:pt x="1024" y="2813"/>
                              </a:cubicBezTo>
                              <a:cubicBezTo>
                                <a:pt x="396" y="2311"/>
                                <a:pt x="-106" y="1306"/>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0" name="Freeform: Shape 4489">
                          <a:extLst>
                            <a:ext uri="{FF2B5EF4-FFF2-40B4-BE49-F238E27FC236}">
                              <a16:creationId xmlns:a16="http://schemas.microsoft.com/office/drawing/2014/main" id="{C8B9E2D3-F5A0-4AB1-8683-AB6F6B78FE54}"/>
                            </a:ext>
                          </a:extLst>
                        </p:cNvPr>
                        <p:cNvSpPr/>
                        <p:nvPr/>
                      </p:nvSpPr>
                      <p:spPr>
                        <a:xfrm>
                          <a:off x="9105826" y="2345157"/>
                          <a:ext cx="2489" cy="3114"/>
                        </a:xfrm>
                        <a:custGeom>
                          <a:avLst/>
                          <a:gdLst>
                            <a:gd name="connsiteX0" fmla="*/ 679 w 2489"/>
                            <a:gd name="connsiteY0" fmla="*/ 2437 h 3114"/>
                            <a:gd name="connsiteX1" fmla="*/ 177 w 2489"/>
                            <a:gd name="connsiteY1" fmla="*/ 301 h 3114"/>
                            <a:gd name="connsiteX2" fmla="*/ 1810 w 2489"/>
                            <a:gd name="connsiteY2" fmla="*/ 678 h 3114"/>
                            <a:gd name="connsiteX3" fmla="*/ 2312 w 2489"/>
                            <a:gd name="connsiteY3" fmla="*/ 2813 h 3114"/>
                            <a:gd name="connsiteX4" fmla="*/ 679 w 2489"/>
                            <a:gd name="connsiteY4" fmla="*/ 2437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114">
                              <a:moveTo>
                                <a:pt x="679" y="2437"/>
                              </a:moveTo>
                              <a:cubicBezTo>
                                <a:pt x="52" y="1809"/>
                                <a:pt x="-200" y="804"/>
                                <a:pt x="177" y="301"/>
                              </a:cubicBezTo>
                              <a:cubicBezTo>
                                <a:pt x="554" y="-201"/>
                                <a:pt x="1182" y="-75"/>
                                <a:pt x="1810" y="678"/>
                              </a:cubicBezTo>
                              <a:cubicBezTo>
                                <a:pt x="2438" y="1306"/>
                                <a:pt x="2689" y="2311"/>
                                <a:pt x="2312" y="2813"/>
                              </a:cubicBezTo>
                              <a:cubicBezTo>
                                <a:pt x="1936" y="3316"/>
                                <a:pt x="1182" y="3190"/>
                                <a:pt x="679"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1" name="Freeform: Shape 4490">
                          <a:extLst>
                            <a:ext uri="{FF2B5EF4-FFF2-40B4-BE49-F238E27FC236}">
                              <a16:creationId xmlns:a16="http://schemas.microsoft.com/office/drawing/2014/main" id="{BDC40509-3F25-494A-9E0D-12F509A17155}"/>
                            </a:ext>
                          </a:extLst>
                        </p:cNvPr>
                        <p:cNvSpPr/>
                        <p:nvPr/>
                      </p:nvSpPr>
                      <p:spPr>
                        <a:xfrm>
                          <a:off x="9095583" y="2339304"/>
                          <a:ext cx="2377" cy="3014"/>
                        </a:xfrm>
                        <a:custGeom>
                          <a:avLst/>
                          <a:gdLst>
                            <a:gd name="connsiteX0" fmla="*/ 2256 w 2377"/>
                            <a:gd name="connsiteY0" fmla="*/ 1507 h 3014"/>
                            <a:gd name="connsiteX1" fmla="*/ 1754 w 2377"/>
                            <a:gd name="connsiteY1" fmla="*/ 3014 h 3014"/>
                            <a:gd name="connsiteX2" fmla="*/ 121 w 2377"/>
                            <a:gd name="connsiteY2" fmla="*/ 1507 h 3014"/>
                            <a:gd name="connsiteX3" fmla="*/ 624 w 2377"/>
                            <a:gd name="connsiteY3" fmla="*/ 0 h 3014"/>
                            <a:gd name="connsiteX4" fmla="*/ 2256 w 2377"/>
                            <a:gd name="connsiteY4" fmla="*/ 1507 h 3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7" h="3014">
                              <a:moveTo>
                                <a:pt x="2256" y="1507"/>
                              </a:moveTo>
                              <a:cubicBezTo>
                                <a:pt x="2508" y="2386"/>
                                <a:pt x="2382" y="3014"/>
                                <a:pt x="1754" y="3014"/>
                              </a:cubicBezTo>
                              <a:cubicBezTo>
                                <a:pt x="1126" y="3014"/>
                                <a:pt x="498" y="2386"/>
                                <a:pt x="121" y="1507"/>
                              </a:cubicBezTo>
                              <a:cubicBezTo>
                                <a:pt x="-130" y="628"/>
                                <a:pt x="-4" y="0"/>
                                <a:pt x="624" y="0"/>
                              </a:cubicBezTo>
                              <a:cubicBezTo>
                                <a:pt x="1251" y="0"/>
                                <a:pt x="2006" y="754"/>
                                <a:pt x="2256" y="150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grpSp>
            <p:nvGrpSpPr>
              <p:cNvPr id="4492" name="Graphic 4">
                <a:extLst>
                  <a:ext uri="{FF2B5EF4-FFF2-40B4-BE49-F238E27FC236}">
                    <a16:creationId xmlns:a16="http://schemas.microsoft.com/office/drawing/2014/main" id="{84FB7ED1-A2DF-40A1-A747-5F7CF3F14040}"/>
                  </a:ext>
                </a:extLst>
              </p:cNvPr>
              <p:cNvGrpSpPr/>
              <p:nvPr/>
            </p:nvGrpSpPr>
            <p:grpSpPr>
              <a:xfrm>
                <a:off x="9063050" y="2278080"/>
                <a:ext cx="168548" cy="133192"/>
                <a:chOff x="9063050" y="2278080"/>
                <a:chExt cx="168548" cy="133192"/>
              </a:xfrm>
              <a:solidFill>
                <a:schemeClr val="accent1"/>
              </a:solidFill>
            </p:grpSpPr>
            <p:grpSp>
              <p:nvGrpSpPr>
                <p:cNvPr id="4493" name="Graphic 4">
                  <a:extLst>
                    <a:ext uri="{FF2B5EF4-FFF2-40B4-BE49-F238E27FC236}">
                      <a16:creationId xmlns:a16="http://schemas.microsoft.com/office/drawing/2014/main" id="{84FB7ED1-A2DF-40A1-A747-5F7CF3F14040}"/>
                    </a:ext>
                  </a:extLst>
                </p:cNvPr>
                <p:cNvGrpSpPr/>
                <p:nvPr/>
              </p:nvGrpSpPr>
              <p:grpSpPr>
                <a:xfrm>
                  <a:off x="9136021" y="2328368"/>
                  <a:ext cx="82669" cy="82904"/>
                  <a:chOff x="9136021" y="2328368"/>
                  <a:chExt cx="82669" cy="82904"/>
                </a:xfrm>
                <a:solidFill>
                  <a:schemeClr val="accent1"/>
                </a:solidFill>
              </p:grpSpPr>
              <p:grpSp>
                <p:nvGrpSpPr>
                  <p:cNvPr id="4494" name="Graphic 4">
                    <a:extLst>
                      <a:ext uri="{FF2B5EF4-FFF2-40B4-BE49-F238E27FC236}">
                        <a16:creationId xmlns:a16="http://schemas.microsoft.com/office/drawing/2014/main" id="{84FB7ED1-A2DF-40A1-A747-5F7CF3F14040}"/>
                      </a:ext>
                    </a:extLst>
                  </p:cNvPr>
                  <p:cNvGrpSpPr/>
                  <p:nvPr/>
                </p:nvGrpSpPr>
                <p:grpSpPr>
                  <a:xfrm>
                    <a:off x="9152473" y="2328368"/>
                    <a:ext cx="66216" cy="73484"/>
                    <a:chOff x="9152473" y="2328368"/>
                    <a:chExt cx="66216" cy="73484"/>
                  </a:xfrm>
                  <a:solidFill>
                    <a:schemeClr val="accent1"/>
                  </a:solidFill>
                </p:grpSpPr>
                <p:sp>
                  <p:nvSpPr>
                    <p:cNvPr id="4495" name="Freeform: Shape 4494">
                      <a:extLst>
                        <a:ext uri="{FF2B5EF4-FFF2-40B4-BE49-F238E27FC236}">
                          <a16:creationId xmlns:a16="http://schemas.microsoft.com/office/drawing/2014/main" id="{271ECCAE-1C9D-4010-B238-E4D7FB71C217}"/>
                        </a:ext>
                      </a:extLst>
                    </p:cNvPr>
                    <p:cNvSpPr/>
                    <p:nvPr/>
                  </p:nvSpPr>
                  <p:spPr>
                    <a:xfrm>
                      <a:off x="9160637" y="2328368"/>
                      <a:ext cx="58052" cy="72225"/>
                    </a:xfrm>
                    <a:custGeom>
                      <a:avLst/>
                      <a:gdLst>
                        <a:gd name="connsiteX0" fmla="*/ 50866 w 58052"/>
                        <a:gd name="connsiteY0" fmla="*/ 21736 h 72225"/>
                        <a:gd name="connsiteX1" fmla="*/ 33534 w 58052"/>
                        <a:gd name="connsiteY1" fmla="*/ 3400 h 72225"/>
                        <a:gd name="connsiteX2" fmla="*/ 22105 w 58052"/>
                        <a:gd name="connsiteY2" fmla="*/ 9 h 72225"/>
                        <a:gd name="connsiteX3" fmla="*/ 18337 w 58052"/>
                        <a:gd name="connsiteY3" fmla="*/ 134 h 72225"/>
                        <a:gd name="connsiteX4" fmla="*/ 18337 w 58052"/>
                        <a:gd name="connsiteY4" fmla="*/ 134 h 72225"/>
                        <a:gd name="connsiteX5" fmla="*/ 18337 w 58052"/>
                        <a:gd name="connsiteY5" fmla="*/ 134 h 72225"/>
                        <a:gd name="connsiteX6" fmla="*/ 18337 w 58052"/>
                        <a:gd name="connsiteY6" fmla="*/ 134 h 72225"/>
                        <a:gd name="connsiteX7" fmla="*/ 12057 w 58052"/>
                        <a:gd name="connsiteY7" fmla="*/ 1767 h 72225"/>
                        <a:gd name="connsiteX8" fmla="*/ 0 w 58052"/>
                        <a:gd name="connsiteY8" fmla="*/ 8800 h 72225"/>
                        <a:gd name="connsiteX9" fmla="*/ 18337 w 58052"/>
                        <a:gd name="connsiteY9" fmla="*/ 10684 h 72225"/>
                        <a:gd name="connsiteX10" fmla="*/ 36673 w 58052"/>
                        <a:gd name="connsiteY10" fmla="*/ 30026 h 72225"/>
                        <a:gd name="connsiteX11" fmla="*/ 36549 w 58052"/>
                        <a:gd name="connsiteY11" fmla="*/ 72226 h 72225"/>
                        <a:gd name="connsiteX12" fmla="*/ 48605 w 58052"/>
                        <a:gd name="connsiteY12" fmla="*/ 65192 h 72225"/>
                        <a:gd name="connsiteX13" fmla="*/ 55388 w 58052"/>
                        <a:gd name="connsiteY13" fmla="*/ 57154 h 72225"/>
                        <a:gd name="connsiteX14" fmla="*/ 50866 w 58052"/>
                        <a:gd name="connsiteY14" fmla="*/ 21736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2" h="72225">
                          <a:moveTo>
                            <a:pt x="50866" y="21736"/>
                          </a:moveTo>
                          <a:cubicBezTo>
                            <a:pt x="46093" y="13447"/>
                            <a:pt x="39813" y="7042"/>
                            <a:pt x="33534" y="3400"/>
                          </a:cubicBezTo>
                          <a:cubicBezTo>
                            <a:pt x="29640" y="1139"/>
                            <a:pt x="25622" y="-117"/>
                            <a:pt x="22105" y="9"/>
                          </a:cubicBezTo>
                          <a:cubicBezTo>
                            <a:pt x="20849" y="9"/>
                            <a:pt x="19593" y="134"/>
                            <a:pt x="18337" y="134"/>
                          </a:cubicBezTo>
                          <a:cubicBezTo>
                            <a:pt x="18337" y="134"/>
                            <a:pt x="18337" y="134"/>
                            <a:pt x="18337" y="134"/>
                          </a:cubicBezTo>
                          <a:lnTo>
                            <a:pt x="18337" y="134"/>
                          </a:lnTo>
                          <a:lnTo>
                            <a:pt x="18337" y="134"/>
                          </a:lnTo>
                          <a:cubicBezTo>
                            <a:pt x="16077" y="134"/>
                            <a:pt x="13941" y="762"/>
                            <a:pt x="12057" y="1767"/>
                          </a:cubicBezTo>
                          <a:lnTo>
                            <a:pt x="0" y="8800"/>
                          </a:lnTo>
                          <a:cubicBezTo>
                            <a:pt x="5024" y="5911"/>
                            <a:pt x="11680" y="6791"/>
                            <a:pt x="18337" y="10684"/>
                          </a:cubicBezTo>
                          <a:cubicBezTo>
                            <a:pt x="24993" y="14578"/>
                            <a:pt x="31650" y="21234"/>
                            <a:pt x="36673" y="30026"/>
                          </a:cubicBezTo>
                          <a:cubicBezTo>
                            <a:pt x="46722" y="47483"/>
                            <a:pt x="46722" y="66448"/>
                            <a:pt x="36549" y="72226"/>
                          </a:cubicBezTo>
                          <a:lnTo>
                            <a:pt x="48605" y="65192"/>
                          </a:lnTo>
                          <a:cubicBezTo>
                            <a:pt x="52876" y="62680"/>
                            <a:pt x="55011" y="57782"/>
                            <a:pt x="55388" y="57154"/>
                          </a:cubicBezTo>
                          <a:cubicBezTo>
                            <a:pt x="60035" y="49367"/>
                            <a:pt x="58653" y="35175"/>
                            <a:pt x="50866" y="2173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6" name="Freeform: Shape 4495">
                      <a:extLst>
                        <a:ext uri="{FF2B5EF4-FFF2-40B4-BE49-F238E27FC236}">
                          <a16:creationId xmlns:a16="http://schemas.microsoft.com/office/drawing/2014/main" id="{641CD9A5-45C1-49BE-93DB-7FB355B71021}"/>
                        </a:ext>
                      </a:extLst>
                    </p:cNvPr>
                    <p:cNvSpPr/>
                    <p:nvPr/>
                  </p:nvSpPr>
                  <p:spPr>
                    <a:xfrm>
                      <a:off x="9153343" y="2335588"/>
                      <a:ext cx="51534" cy="66243"/>
                    </a:xfrm>
                    <a:custGeom>
                      <a:avLst/>
                      <a:gdLst>
                        <a:gd name="connsiteX0" fmla="*/ 43967 w 51534"/>
                        <a:gd name="connsiteY0" fmla="*/ 22932 h 66243"/>
                        <a:gd name="connsiteX1" fmla="*/ 25631 w 51534"/>
                        <a:gd name="connsiteY1" fmla="*/ 3590 h 66243"/>
                        <a:gd name="connsiteX2" fmla="*/ 7293 w 51534"/>
                        <a:gd name="connsiteY2" fmla="*/ 1706 h 66243"/>
                        <a:gd name="connsiteX3" fmla="*/ 9 w 51534"/>
                        <a:gd name="connsiteY3" fmla="*/ 13512 h 66243"/>
                        <a:gd name="connsiteX4" fmla="*/ 32790 w 51534"/>
                        <a:gd name="connsiteY4" fmla="*/ 65885 h 66243"/>
                        <a:gd name="connsiteX5" fmla="*/ 43842 w 51534"/>
                        <a:gd name="connsiteY5" fmla="*/ 65006 h 66243"/>
                        <a:gd name="connsiteX6" fmla="*/ 43967 w 51534"/>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4" h="66243">
                          <a:moveTo>
                            <a:pt x="43967" y="22932"/>
                          </a:moveTo>
                          <a:cubicBezTo>
                            <a:pt x="38944" y="14140"/>
                            <a:pt x="32287" y="7483"/>
                            <a:pt x="25631" y="3590"/>
                          </a:cubicBezTo>
                          <a:cubicBezTo>
                            <a:pt x="18974" y="-303"/>
                            <a:pt x="12318" y="-1183"/>
                            <a:pt x="7293" y="1706"/>
                          </a:cubicBezTo>
                          <a:cubicBezTo>
                            <a:pt x="3903" y="3716"/>
                            <a:pt x="1014" y="8739"/>
                            <a:pt x="9" y="13512"/>
                          </a:cubicBezTo>
                          <a:cubicBezTo>
                            <a:pt x="-619" y="16526"/>
                            <a:pt x="32790" y="65885"/>
                            <a:pt x="32790" y="65885"/>
                          </a:cubicBezTo>
                          <a:cubicBezTo>
                            <a:pt x="36683" y="66639"/>
                            <a:pt x="41958" y="66136"/>
                            <a:pt x="43842" y="65006"/>
                          </a:cubicBezTo>
                          <a:cubicBezTo>
                            <a:pt x="54141" y="59103"/>
                            <a:pt x="54015" y="40389"/>
                            <a:pt x="43967" y="229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7" name="Freeform: Shape 4496">
                      <a:extLst>
                        <a:ext uri="{FF2B5EF4-FFF2-40B4-BE49-F238E27FC236}">
                          <a16:creationId xmlns:a16="http://schemas.microsoft.com/office/drawing/2014/main" id="{7D870EBA-61E2-4DEB-BF55-D24A22C7A462}"/>
                        </a:ext>
                      </a:extLst>
                    </p:cNvPr>
                    <p:cNvSpPr/>
                    <p:nvPr/>
                  </p:nvSpPr>
                  <p:spPr>
                    <a:xfrm>
                      <a:off x="9152473" y="2338296"/>
                      <a:ext cx="49107" cy="63556"/>
                    </a:xfrm>
                    <a:custGeom>
                      <a:avLst/>
                      <a:gdLst>
                        <a:gd name="connsiteX0" fmla="*/ 41948 w 49107"/>
                        <a:gd name="connsiteY0" fmla="*/ 61921 h 63556"/>
                        <a:gd name="connsiteX1" fmla="*/ 7158 w 49107"/>
                        <a:gd name="connsiteY1" fmla="*/ 41826 h 63556"/>
                        <a:gd name="connsiteX2" fmla="*/ 7158 w 49107"/>
                        <a:gd name="connsiteY2" fmla="*/ 1636 h 63556"/>
                        <a:gd name="connsiteX3" fmla="*/ 41948 w 49107"/>
                        <a:gd name="connsiteY3" fmla="*/ 21731 h 63556"/>
                        <a:gd name="connsiteX4" fmla="*/ 41948 w 49107"/>
                        <a:gd name="connsiteY4" fmla="*/ 61921 h 63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07" h="63556">
                          <a:moveTo>
                            <a:pt x="41948" y="61921"/>
                          </a:moveTo>
                          <a:cubicBezTo>
                            <a:pt x="32403" y="67447"/>
                            <a:pt x="16829" y="58530"/>
                            <a:pt x="7158" y="41826"/>
                          </a:cubicBezTo>
                          <a:cubicBezTo>
                            <a:pt x="-2386" y="25248"/>
                            <a:pt x="-2386" y="7162"/>
                            <a:pt x="7158" y="1636"/>
                          </a:cubicBezTo>
                          <a:cubicBezTo>
                            <a:pt x="16704" y="-3890"/>
                            <a:pt x="32277" y="5027"/>
                            <a:pt x="41948" y="21731"/>
                          </a:cubicBezTo>
                          <a:cubicBezTo>
                            <a:pt x="51494" y="38309"/>
                            <a:pt x="51494" y="56269"/>
                            <a:pt x="41948" y="61921"/>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98" name="Graphic 4">
                    <a:extLst>
                      <a:ext uri="{FF2B5EF4-FFF2-40B4-BE49-F238E27FC236}">
                        <a16:creationId xmlns:a16="http://schemas.microsoft.com/office/drawing/2014/main" id="{84FB7ED1-A2DF-40A1-A747-5F7CF3F14040}"/>
                      </a:ext>
                    </a:extLst>
                  </p:cNvPr>
                  <p:cNvGrpSpPr/>
                  <p:nvPr/>
                </p:nvGrpSpPr>
                <p:grpSpPr>
                  <a:xfrm>
                    <a:off x="9136021" y="2337914"/>
                    <a:ext cx="66182" cy="73358"/>
                    <a:chOff x="9136021" y="2337914"/>
                    <a:chExt cx="66182" cy="73358"/>
                  </a:xfrm>
                  <a:solidFill>
                    <a:schemeClr val="accent1"/>
                  </a:solidFill>
                </p:grpSpPr>
                <p:grpSp>
                  <p:nvGrpSpPr>
                    <p:cNvPr id="4499" name="Graphic 4">
                      <a:extLst>
                        <a:ext uri="{FF2B5EF4-FFF2-40B4-BE49-F238E27FC236}">
                          <a16:creationId xmlns:a16="http://schemas.microsoft.com/office/drawing/2014/main" id="{84FB7ED1-A2DF-40A1-A747-5F7CF3F14040}"/>
                        </a:ext>
                      </a:extLst>
                    </p:cNvPr>
                    <p:cNvGrpSpPr/>
                    <p:nvPr/>
                  </p:nvGrpSpPr>
                  <p:grpSpPr>
                    <a:xfrm>
                      <a:off x="9136021" y="2337914"/>
                      <a:ext cx="66182" cy="73358"/>
                      <a:chOff x="9136021" y="2337914"/>
                      <a:chExt cx="66182" cy="73358"/>
                    </a:xfrm>
                    <a:solidFill>
                      <a:schemeClr val="accent1"/>
                    </a:solidFill>
                  </p:grpSpPr>
                  <p:sp>
                    <p:nvSpPr>
                      <p:cNvPr id="4500" name="Freeform: Shape 4499">
                        <a:extLst>
                          <a:ext uri="{FF2B5EF4-FFF2-40B4-BE49-F238E27FC236}">
                            <a16:creationId xmlns:a16="http://schemas.microsoft.com/office/drawing/2014/main" id="{B857F1D5-854B-4293-BB17-599B5061B5AD}"/>
                          </a:ext>
                        </a:extLst>
                      </p:cNvPr>
                      <p:cNvSpPr/>
                      <p:nvPr/>
                    </p:nvSpPr>
                    <p:spPr>
                      <a:xfrm>
                        <a:off x="9144184" y="2337914"/>
                        <a:ext cx="58019" cy="72225"/>
                      </a:xfrm>
                      <a:custGeom>
                        <a:avLst/>
                        <a:gdLst>
                          <a:gd name="connsiteX0" fmla="*/ 50866 w 58019"/>
                          <a:gd name="connsiteY0" fmla="*/ 21737 h 72225"/>
                          <a:gd name="connsiteX1" fmla="*/ 33534 w 58019"/>
                          <a:gd name="connsiteY1" fmla="*/ 3400 h 72225"/>
                          <a:gd name="connsiteX2" fmla="*/ 22105 w 58019"/>
                          <a:gd name="connsiteY2" fmla="*/ 9 h 72225"/>
                          <a:gd name="connsiteX3" fmla="*/ 18337 w 58019"/>
                          <a:gd name="connsiteY3" fmla="*/ 134 h 72225"/>
                          <a:gd name="connsiteX4" fmla="*/ 18337 w 58019"/>
                          <a:gd name="connsiteY4" fmla="*/ 134 h 72225"/>
                          <a:gd name="connsiteX5" fmla="*/ 18337 w 58019"/>
                          <a:gd name="connsiteY5" fmla="*/ 134 h 72225"/>
                          <a:gd name="connsiteX6" fmla="*/ 18337 w 58019"/>
                          <a:gd name="connsiteY6" fmla="*/ 134 h 72225"/>
                          <a:gd name="connsiteX7" fmla="*/ 12057 w 58019"/>
                          <a:gd name="connsiteY7" fmla="*/ 1767 h 72225"/>
                          <a:gd name="connsiteX8" fmla="*/ 0 w 58019"/>
                          <a:gd name="connsiteY8" fmla="*/ 8800 h 72225"/>
                          <a:gd name="connsiteX9" fmla="*/ 18337 w 58019"/>
                          <a:gd name="connsiteY9" fmla="*/ 10684 h 72225"/>
                          <a:gd name="connsiteX10" fmla="*/ 36673 w 58019"/>
                          <a:gd name="connsiteY10" fmla="*/ 30026 h 72225"/>
                          <a:gd name="connsiteX11" fmla="*/ 36549 w 58019"/>
                          <a:gd name="connsiteY11" fmla="*/ 72226 h 72225"/>
                          <a:gd name="connsiteX12" fmla="*/ 48605 w 58019"/>
                          <a:gd name="connsiteY12" fmla="*/ 65192 h 72225"/>
                          <a:gd name="connsiteX13" fmla="*/ 55388 w 58019"/>
                          <a:gd name="connsiteY13" fmla="*/ 57154 h 72225"/>
                          <a:gd name="connsiteX14" fmla="*/ 50866 w 58019"/>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19" h="72225">
                            <a:moveTo>
                              <a:pt x="50866" y="21737"/>
                            </a:moveTo>
                            <a:cubicBezTo>
                              <a:pt x="46093" y="13447"/>
                              <a:pt x="39813" y="7042"/>
                              <a:pt x="33534" y="3400"/>
                            </a:cubicBezTo>
                            <a:cubicBezTo>
                              <a:pt x="29640" y="1139"/>
                              <a:pt x="25622" y="-117"/>
                              <a:pt x="22105" y="9"/>
                            </a:cubicBezTo>
                            <a:cubicBezTo>
                              <a:pt x="20849" y="9"/>
                              <a:pt x="19593" y="134"/>
                              <a:pt x="18337" y="134"/>
                            </a:cubicBezTo>
                            <a:cubicBezTo>
                              <a:pt x="18337" y="134"/>
                              <a:pt x="18337" y="134"/>
                              <a:pt x="18337" y="134"/>
                            </a:cubicBezTo>
                            <a:lnTo>
                              <a:pt x="18337" y="134"/>
                            </a:lnTo>
                            <a:lnTo>
                              <a:pt x="18337" y="134"/>
                            </a:lnTo>
                            <a:cubicBezTo>
                              <a:pt x="16077" y="134"/>
                              <a:pt x="13941" y="762"/>
                              <a:pt x="12057" y="1767"/>
                            </a:cubicBezTo>
                            <a:lnTo>
                              <a:pt x="0" y="8800"/>
                            </a:lnTo>
                            <a:cubicBezTo>
                              <a:pt x="5024" y="5912"/>
                              <a:pt x="11680" y="6791"/>
                              <a:pt x="18337" y="10684"/>
                            </a:cubicBezTo>
                            <a:cubicBezTo>
                              <a:pt x="24993" y="14578"/>
                              <a:pt x="31650" y="21234"/>
                              <a:pt x="36673" y="30026"/>
                            </a:cubicBezTo>
                            <a:cubicBezTo>
                              <a:pt x="46722" y="47484"/>
                              <a:pt x="46722" y="66448"/>
                              <a:pt x="36549" y="72226"/>
                            </a:cubicBezTo>
                            <a:lnTo>
                              <a:pt x="48605" y="65192"/>
                            </a:lnTo>
                            <a:cubicBezTo>
                              <a:pt x="52876" y="62680"/>
                              <a:pt x="55011" y="57782"/>
                              <a:pt x="55388" y="57154"/>
                            </a:cubicBezTo>
                            <a:cubicBezTo>
                              <a:pt x="60035" y="49367"/>
                              <a:pt x="58528" y="35175"/>
                              <a:pt x="50866"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1" name="Freeform: Shape 4500">
                        <a:extLst>
                          <a:ext uri="{FF2B5EF4-FFF2-40B4-BE49-F238E27FC236}">
                            <a16:creationId xmlns:a16="http://schemas.microsoft.com/office/drawing/2014/main" id="{97DF853B-74DD-4C0E-9ED8-65F63C07995A}"/>
                          </a:ext>
                        </a:extLst>
                      </p:cNvPr>
                      <p:cNvSpPr/>
                      <p:nvPr/>
                    </p:nvSpPr>
                    <p:spPr>
                      <a:xfrm>
                        <a:off x="9136766" y="2345008"/>
                        <a:ext cx="51627" cy="66243"/>
                      </a:xfrm>
                      <a:custGeom>
                        <a:avLst/>
                        <a:gdLst>
                          <a:gd name="connsiteX0" fmla="*/ 43967 w 51627"/>
                          <a:gd name="connsiteY0" fmla="*/ 22932 h 66243"/>
                          <a:gd name="connsiteX1" fmla="*/ 25630 w 51627"/>
                          <a:gd name="connsiteY1" fmla="*/ 3590 h 66243"/>
                          <a:gd name="connsiteX2" fmla="*/ 7293 w 51627"/>
                          <a:gd name="connsiteY2" fmla="*/ 1706 h 66243"/>
                          <a:gd name="connsiteX3" fmla="*/ 9 w 51627"/>
                          <a:gd name="connsiteY3" fmla="*/ 13512 h 66243"/>
                          <a:gd name="connsiteX4" fmla="*/ 32789 w 51627"/>
                          <a:gd name="connsiteY4" fmla="*/ 65885 h 66243"/>
                          <a:gd name="connsiteX5" fmla="*/ 43841 w 51627"/>
                          <a:gd name="connsiteY5" fmla="*/ 65006 h 66243"/>
                          <a:gd name="connsiteX6" fmla="*/ 43967 w 51627"/>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27" h="66243">
                            <a:moveTo>
                              <a:pt x="43967" y="22932"/>
                            </a:moveTo>
                            <a:cubicBezTo>
                              <a:pt x="38943" y="14140"/>
                              <a:pt x="32286" y="7483"/>
                              <a:pt x="25630" y="3590"/>
                            </a:cubicBezTo>
                            <a:cubicBezTo>
                              <a:pt x="18973" y="-303"/>
                              <a:pt x="12317" y="-1183"/>
                              <a:pt x="7293" y="1706"/>
                            </a:cubicBezTo>
                            <a:cubicBezTo>
                              <a:pt x="3902" y="3716"/>
                              <a:pt x="1013" y="8739"/>
                              <a:pt x="9" y="13512"/>
                            </a:cubicBezTo>
                            <a:cubicBezTo>
                              <a:pt x="-620" y="16526"/>
                              <a:pt x="32789" y="65885"/>
                              <a:pt x="32789" y="65885"/>
                            </a:cubicBezTo>
                            <a:cubicBezTo>
                              <a:pt x="36682" y="66639"/>
                              <a:pt x="41957" y="66136"/>
                              <a:pt x="43841" y="65006"/>
                            </a:cubicBezTo>
                            <a:cubicBezTo>
                              <a:pt x="54265" y="59103"/>
                              <a:pt x="54140" y="40515"/>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2" name="Freeform: Shape 4501">
                        <a:extLst>
                          <a:ext uri="{FF2B5EF4-FFF2-40B4-BE49-F238E27FC236}">
                            <a16:creationId xmlns:a16="http://schemas.microsoft.com/office/drawing/2014/main" id="{8BAC8711-4D9C-43E4-BDB1-3CF6E799754A}"/>
                          </a:ext>
                        </a:extLst>
                      </p:cNvPr>
                      <p:cNvSpPr/>
                      <p:nvPr/>
                    </p:nvSpPr>
                    <p:spPr>
                      <a:xfrm>
                        <a:off x="9136021" y="2347716"/>
                        <a:ext cx="49107" cy="63556"/>
                      </a:xfrm>
                      <a:custGeom>
                        <a:avLst/>
                        <a:gdLst>
                          <a:gd name="connsiteX0" fmla="*/ 41948 w 49107"/>
                          <a:gd name="connsiteY0" fmla="*/ 61921 h 63556"/>
                          <a:gd name="connsiteX1" fmla="*/ 7158 w 49107"/>
                          <a:gd name="connsiteY1" fmla="*/ 41826 h 63556"/>
                          <a:gd name="connsiteX2" fmla="*/ 7158 w 49107"/>
                          <a:gd name="connsiteY2" fmla="*/ 1636 h 63556"/>
                          <a:gd name="connsiteX3" fmla="*/ 41948 w 49107"/>
                          <a:gd name="connsiteY3" fmla="*/ 21731 h 63556"/>
                          <a:gd name="connsiteX4" fmla="*/ 41948 w 49107"/>
                          <a:gd name="connsiteY4" fmla="*/ 61921 h 63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07" h="63556">
                            <a:moveTo>
                              <a:pt x="41948" y="61921"/>
                            </a:moveTo>
                            <a:cubicBezTo>
                              <a:pt x="32403" y="67447"/>
                              <a:pt x="16829" y="58530"/>
                              <a:pt x="7158" y="41826"/>
                            </a:cubicBezTo>
                            <a:cubicBezTo>
                              <a:pt x="-2386" y="25248"/>
                              <a:pt x="-2386" y="7162"/>
                              <a:pt x="7158" y="1636"/>
                            </a:cubicBezTo>
                            <a:cubicBezTo>
                              <a:pt x="16704" y="-3890"/>
                              <a:pt x="32277" y="5027"/>
                              <a:pt x="41948" y="21731"/>
                            </a:cubicBezTo>
                            <a:cubicBezTo>
                              <a:pt x="51494" y="38435"/>
                              <a:pt x="51494" y="56395"/>
                              <a:pt x="41948" y="61921"/>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03" name="Graphic 4">
                      <a:extLst>
                        <a:ext uri="{FF2B5EF4-FFF2-40B4-BE49-F238E27FC236}">
                          <a16:creationId xmlns:a16="http://schemas.microsoft.com/office/drawing/2014/main" id="{84FB7ED1-A2DF-40A1-A747-5F7CF3F14040}"/>
                        </a:ext>
                      </a:extLst>
                    </p:cNvPr>
                    <p:cNvGrpSpPr/>
                    <p:nvPr/>
                  </p:nvGrpSpPr>
                  <p:grpSpPr>
                    <a:xfrm>
                      <a:off x="9138514" y="2354395"/>
                      <a:ext cx="43480" cy="50192"/>
                      <a:chOff x="9138514" y="2354395"/>
                      <a:chExt cx="43480" cy="50192"/>
                    </a:xfrm>
                    <a:solidFill>
                      <a:schemeClr val="accent1"/>
                    </a:solidFill>
                  </p:grpSpPr>
                  <p:sp>
                    <p:nvSpPr>
                      <p:cNvPr id="4504" name="Freeform: Shape 4503">
                        <a:extLst>
                          <a:ext uri="{FF2B5EF4-FFF2-40B4-BE49-F238E27FC236}">
                            <a16:creationId xmlns:a16="http://schemas.microsoft.com/office/drawing/2014/main" id="{8622FE9C-7DEA-471F-974D-F1D5A0917A90}"/>
                          </a:ext>
                        </a:extLst>
                      </p:cNvPr>
                      <p:cNvSpPr/>
                      <p:nvPr/>
                    </p:nvSpPr>
                    <p:spPr>
                      <a:xfrm>
                        <a:off x="9138514" y="2354395"/>
                        <a:ext cx="43480" cy="50192"/>
                      </a:xfrm>
                      <a:custGeom>
                        <a:avLst/>
                        <a:gdLst>
                          <a:gd name="connsiteX0" fmla="*/ 32617 w 43480"/>
                          <a:gd name="connsiteY0" fmla="*/ 18817 h 50192"/>
                          <a:gd name="connsiteX1" fmla="*/ 32604 w 43480"/>
                          <a:gd name="connsiteY1" fmla="*/ 43913 h 50192"/>
                          <a:gd name="connsiteX2" fmla="*/ 10864 w 43480"/>
                          <a:gd name="connsiteY2" fmla="*/ 31376 h 50192"/>
                          <a:gd name="connsiteX3" fmla="*/ 10876 w 43480"/>
                          <a:gd name="connsiteY3" fmla="*/ 6280 h 50192"/>
                          <a:gd name="connsiteX4" fmla="*/ 32617 w 43480"/>
                          <a:gd name="connsiteY4" fmla="*/ 18817 h 50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80" h="50192">
                            <a:moveTo>
                              <a:pt x="32617" y="18817"/>
                            </a:moveTo>
                            <a:cubicBezTo>
                              <a:pt x="38617" y="29209"/>
                              <a:pt x="38611" y="40444"/>
                              <a:pt x="32604" y="43913"/>
                            </a:cubicBezTo>
                            <a:cubicBezTo>
                              <a:pt x="26597" y="47381"/>
                              <a:pt x="16864" y="41768"/>
                              <a:pt x="10864" y="31376"/>
                            </a:cubicBezTo>
                            <a:cubicBezTo>
                              <a:pt x="4864" y="20984"/>
                              <a:pt x="4869" y="9748"/>
                              <a:pt x="10876" y="6280"/>
                            </a:cubicBezTo>
                            <a:cubicBezTo>
                              <a:pt x="16883" y="2812"/>
                              <a:pt x="26617" y="8424"/>
                              <a:pt x="32617" y="1881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5" name="Freeform: Shape 4504">
                        <a:extLst>
                          <a:ext uri="{FF2B5EF4-FFF2-40B4-BE49-F238E27FC236}">
                            <a16:creationId xmlns:a16="http://schemas.microsoft.com/office/drawing/2014/main" id="{3F0F5CC9-B709-4A5D-926F-CA5C62C11206}"/>
                          </a:ext>
                        </a:extLst>
                      </p:cNvPr>
                      <p:cNvSpPr/>
                      <p:nvPr/>
                    </p:nvSpPr>
                    <p:spPr>
                      <a:xfrm>
                        <a:off x="9143933" y="2358038"/>
                        <a:ext cx="33188" cy="42911"/>
                      </a:xfrm>
                      <a:custGeom>
                        <a:avLst/>
                        <a:gdLst>
                          <a:gd name="connsiteX0" fmla="*/ 28384 w 33188"/>
                          <a:gd name="connsiteY0" fmla="*/ 14674 h 42911"/>
                          <a:gd name="connsiteX1" fmla="*/ 4898 w 33188"/>
                          <a:gd name="connsiteY1" fmla="*/ 1109 h 42911"/>
                          <a:gd name="connsiteX2" fmla="*/ 4898 w 33188"/>
                          <a:gd name="connsiteY2" fmla="*/ 28238 h 42911"/>
                          <a:gd name="connsiteX3" fmla="*/ 28384 w 33188"/>
                          <a:gd name="connsiteY3" fmla="*/ 41802 h 42911"/>
                          <a:gd name="connsiteX4" fmla="*/ 28384 w 33188"/>
                          <a:gd name="connsiteY4" fmla="*/ 14674 h 42911"/>
                          <a:gd name="connsiteX5" fmla="*/ 29515 w 33188"/>
                          <a:gd name="connsiteY5" fmla="*/ 19195 h 42911"/>
                          <a:gd name="connsiteX6" fmla="*/ 22356 w 33188"/>
                          <a:gd name="connsiteY6" fmla="*/ 17688 h 42911"/>
                          <a:gd name="connsiteX7" fmla="*/ 20723 w 33188"/>
                          <a:gd name="connsiteY7" fmla="*/ 15427 h 42911"/>
                          <a:gd name="connsiteX8" fmla="*/ 20723 w 33188"/>
                          <a:gd name="connsiteY8" fmla="*/ 6635 h 42911"/>
                          <a:gd name="connsiteX9" fmla="*/ 27505 w 33188"/>
                          <a:gd name="connsiteY9" fmla="*/ 15176 h 42911"/>
                          <a:gd name="connsiteX10" fmla="*/ 29515 w 33188"/>
                          <a:gd name="connsiteY10" fmla="*/ 19195 h 42911"/>
                          <a:gd name="connsiteX11" fmla="*/ 5777 w 33188"/>
                          <a:gd name="connsiteY11" fmla="*/ 2616 h 42911"/>
                          <a:gd name="connsiteX12" fmla="*/ 12559 w 33188"/>
                          <a:gd name="connsiteY12" fmla="*/ 1988 h 42911"/>
                          <a:gd name="connsiteX13" fmla="*/ 12559 w 33188"/>
                          <a:gd name="connsiteY13" fmla="*/ 10780 h 42911"/>
                          <a:gd name="connsiteX14" fmla="*/ 10927 w 33188"/>
                          <a:gd name="connsiteY14" fmla="*/ 11157 h 42911"/>
                          <a:gd name="connsiteX15" fmla="*/ 3768 w 33188"/>
                          <a:gd name="connsiteY15" fmla="*/ 4249 h 42911"/>
                          <a:gd name="connsiteX16" fmla="*/ 5777 w 33188"/>
                          <a:gd name="connsiteY16" fmla="*/ 2616 h 42911"/>
                          <a:gd name="connsiteX17" fmla="*/ 1256 w 33188"/>
                          <a:gd name="connsiteY17" fmla="*/ 11785 h 42911"/>
                          <a:gd name="connsiteX18" fmla="*/ 8415 w 33188"/>
                          <a:gd name="connsiteY18" fmla="*/ 18693 h 42911"/>
                          <a:gd name="connsiteX19" fmla="*/ 9043 w 33188"/>
                          <a:gd name="connsiteY19" fmla="*/ 21204 h 42911"/>
                          <a:gd name="connsiteX20" fmla="*/ 4647 w 33188"/>
                          <a:gd name="connsiteY20" fmla="*/ 25726 h 42911"/>
                          <a:gd name="connsiteX21" fmla="*/ 1256 w 33188"/>
                          <a:gd name="connsiteY21" fmla="*/ 11785 h 42911"/>
                          <a:gd name="connsiteX22" fmla="*/ 11178 w 33188"/>
                          <a:gd name="connsiteY22" fmla="*/ 35020 h 42911"/>
                          <a:gd name="connsiteX23" fmla="*/ 15574 w 33188"/>
                          <a:gd name="connsiteY23" fmla="*/ 30498 h 42911"/>
                          <a:gd name="connsiteX24" fmla="*/ 17583 w 33188"/>
                          <a:gd name="connsiteY24" fmla="*/ 31629 h 42911"/>
                          <a:gd name="connsiteX25" fmla="*/ 21979 w 33188"/>
                          <a:gd name="connsiteY25" fmla="*/ 41300 h 42911"/>
                          <a:gd name="connsiteX26" fmla="*/ 11178 w 33188"/>
                          <a:gd name="connsiteY26" fmla="*/ 35020 h 42911"/>
                          <a:gd name="connsiteX27" fmla="*/ 28635 w 33188"/>
                          <a:gd name="connsiteY27" fmla="*/ 39541 h 42911"/>
                          <a:gd name="connsiteX28" fmla="*/ 24240 w 33188"/>
                          <a:gd name="connsiteY28" fmla="*/ 29870 h 42911"/>
                          <a:gd name="connsiteX29" fmla="*/ 24868 w 33188"/>
                          <a:gd name="connsiteY29" fmla="*/ 28112 h 42911"/>
                          <a:gd name="connsiteX30" fmla="*/ 32027 w 33188"/>
                          <a:gd name="connsiteY30" fmla="*/ 29619 h 42911"/>
                          <a:gd name="connsiteX31" fmla="*/ 28635 w 33188"/>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188" h="42911">
                            <a:moveTo>
                              <a:pt x="28384" y="14674"/>
                            </a:moveTo>
                            <a:cubicBezTo>
                              <a:pt x="21854" y="3496"/>
                              <a:pt x="11429" y="-2659"/>
                              <a:pt x="4898" y="1109"/>
                            </a:cubicBezTo>
                            <a:cubicBezTo>
                              <a:pt x="-1633" y="4877"/>
                              <a:pt x="-1633" y="16934"/>
                              <a:pt x="4898" y="28238"/>
                            </a:cubicBezTo>
                            <a:cubicBezTo>
                              <a:pt x="11429" y="39416"/>
                              <a:pt x="21854" y="45570"/>
                              <a:pt x="28384" y="41802"/>
                            </a:cubicBezTo>
                            <a:cubicBezTo>
                              <a:pt x="34789" y="38160"/>
                              <a:pt x="34789" y="25977"/>
                              <a:pt x="28384" y="14674"/>
                            </a:cubicBezTo>
                            <a:close/>
                            <a:moveTo>
                              <a:pt x="29515" y="19195"/>
                            </a:moveTo>
                            <a:lnTo>
                              <a:pt x="22356" y="17688"/>
                            </a:lnTo>
                            <a:cubicBezTo>
                              <a:pt x="21854" y="16934"/>
                              <a:pt x="21351" y="16181"/>
                              <a:pt x="20723" y="15427"/>
                            </a:cubicBezTo>
                            <a:lnTo>
                              <a:pt x="20723" y="6635"/>
                            </a:lnTo>
                            <a:cubicBezTo>
                              <a:pt x="23235" y="8896"/>
                              <a:pt x="25621" y="11785"/>
                              <a:pt x="27505" y="15176"/>
                            </a:cubicBezTo>
                            <a:cubicBezTo>
                              <a:pt x="28258" y="16557"/>
                              <a:pt x="28887" y="17813"/>
                              <a:pt x="29515" y="19195"/>
                            </a:cubicBezTo>
                            <a:close/>
                            <a:moveTo>
                              <a:pt x="5777" y="2616"/>
                            </a:moveTo>
                            <a:cubicBezTo>
                              <a:pt x="7787" y="1486"/>
                              <a:pt x="10048" y="1360"/>
                              <a:pt x="12559" y="1988"/>
                            </a:cubicBezTo>
                            <a:lnTo>
                              <a:pt x="12559" y="10780"/>
                            </a:lnTo>
                            <a:cubicBezTo>
                              <a:pt x="12057" y="10780"/>
                              <a:pt x="11429" y="10906"/>
                              <a:pt x="10927" y="11157"/>
                            </a:cubicBezTo>
                            <a:lnTo>
                              <a:pt x="3768" y="4249"/>
                            </a:lnTo>
                            <a:cubicBezTo>
                              <a:pt x="4270" y="3621"/>
                              <a:pt x="5024" y="3119"/>
                              <a:pt x="5777" y="2616"/>
                            </a:cubicBezTo>
                            <a:close/>
                            <a:moveTo>
                              <a:pt x="1256" y="11785"/>
                            </a:moveTo>
                            <a:lnTo>
                              <a:pt x="8415" y="18693"/>
                            </a:lnTo>
                            <a:cubicBezTo>
                              <a:pt x="8541" y="19446"/>
                              <a:pt x="8791" y="20325"/>
                              <a:pt x="9043" y="21204"/>
                            </a:cubicBezTo>
                            <a:lnTo>
                              <a:pt x="4647" y="25726"/>
                            </a:lnTo>
                            <a:cubicBezTo>
                              <a:pt x="2135" y="20828"/>
                              <a:pt x="1004" y="15929"/>
                              <a:pt x="1256" y="11785"/>
                            </a:cubicBezTo>
                            <a:close/>
                            <a:moveTo>
                              <a:pt x="11178" y="35020"/>
                            </a:moveTo>
                            <a:lnTo>
                              <a:pt x="15574" y="30498"/>
                            </a:lnTo>
                            <a:cubicBezTo>
                              <a:pt x="16202" y="31001"/>
                              <a:pt x="16829" y="31378"/>
                              <a:pt x="17583" y="31629"/>
                            </a:cubicBezTo>
                            <a:lnTo>
                              <a:pt x="21979" y="41300"/>
                            </a:lnTo>
                            <a:cubicBezTo>
                              <a:pt x="18588" y="40797"/>
                              <a:pt x="14695" y="38537"/>
                              <a:pt x="11178" y="35020"/>
                            </a:cubicBezTo>
                            <a:close/>
                            <a:moveTo>
                              <a:pt x="28635" y="39541"/>
                            </a:moveTo>
                            <a:lnTo>
                              <a:pt x="24240" y="29870"/>
                            </a:lnTo>
                            <a:cubicBezTo>
                              <a:pt x="24491" y="29368"/>
                              <a:pt x="24742" y="28740"/>
                              <a:pt x="24868" y="28112"/>
                            </a:cubicBezTo>
                            <a:lnTo>
                              <a:pt x="32027" y="29619"/>
                            </a:lnTo>
                            <a:cubicBezTo>
                              <a:pt x="32152" y="33890"/>
                              <a:pt x="31022" y="37532"/>
                              <a:pt x="28635"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06" name="Graphic 4">
                        <a:extLst>
                          <a:ext uri="{FF2B5EF4-FFF2-40B4-BE49-F238E27FC236}">
                            <a16:creationId xmlns:a16="http://schemas.microsoft.com/office/drawing/2014/main" id="{84FB7ED1-A2DF-40A1-A747-5F7CF3F14040}"/>
                          </a:ext>
                        </a:extLst>
                      </p:cNvPr>
                      <p:cNvGrpSpPr/>
                      <p:nvPr/>
                    </p:nvGrpSpPr>
                    <p:grpSpPr>
                      <a:xfrm>
                        <a:off x="9145180" y="2360153"/>
                        <a:ext cx="29147" cy="39185"/>
                        <a:chOff x="9145180" y="2360153"/>
                        <a:chExt cx="29147" cy="39185"/>
                      </a:xfrm>
                      <a:solidFill>
                        <a:srgbClr val="ADAA99"/>
                      </a:solidFill>
                    </p:grpSpPr>
                    <p:sp>
                      <p:nvSpPr>
                        <p:cNvPr id="4507" name="Freeform: Shape 4506">
                          <a:extLst>
                            <a:ext uri="{FF2B5EF4-FFF2-40B4-BE49-F238E27FC236}">
                              <a16:creationId xmlns:a16="http://schemas.microsoft.com/office/drawing/2014/main" id="{2CD8AB7A-B8D8-44FB-BED8-D51A3DAAE692}"/>
                            </a:ext>
                          </a:extLst>
                        </p:cNvPr>
                        <p:cNvSpPr/>
                        <p:nvPr/>
                      </p:nvSpPr>
                      <p:spPr>
                        <a:xfrm>
                          <a:off x="9164656" y="2364674"/>
                          <a:ext cx="8791" cy="12559"/>
                        </a:xfrm>
                        <a:custGeom>
                          <a:avLst/>
                          <a:gdLst>
                            <a:gd name="connsiteX0" fmla="*/ 2135 w 8791"/>
                            <a:gd name="connsiteY0" fmla="*/ 7536 h 12559"/>
                            <a:gd name="connsiteX1" fmla="*/ 2135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768 w 8791"/>
                            <a:gd name="connsiteY7" fmla="*/ 9796 h 12559"/>
                            <a:gd name="connsiteX8" fmla="*/ 2135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5" y="7536"/>
                              </a:moveTo>
                              <a:lnTo>
                                <a:pt x="2135" y="2135"/>
                              </a:lnTo>
                              <a:cubicBezTo>
                                <a:pt x="1381" y="1382"/>
                                <a:pt x="754" y="628"/>
                                <a:pt x="0" y="0"/>
                              </a:cubicBezTo>
                              <a:lnTo>
                                <a:pt x="0" y="8792"/>
                              </a:lnTo>
                              <a:cubicBezTo>
                                <a:pt x="502" y="9420"/>
                                <a:pt x="1131" y="10173"/>
                                <a:pt x="1633" y="11052"/>
                              </a:cubicBezTo>
                              <a:lnTo>
                                <a:pt x="8792" y="12559"/>
                              </a:lnTo>
                              <a:cubicBezTo>
                                <a:pt x="8540" y="11931"/>
                                <a:pt x="8290" y="11304"/>
                                <a:pt x="7913" y="10676"/>
                              </a:cubicBezTo>
                              <a:lnTo>
                                <a:pt x="3768" y="9796"/>
                              </a:lnTo>
                              <a:cubicBezTo>
                                <a:pt x="3140" y="9043"/>
                                <a:pt x="2638" y="8289"/>
                                <a:pt x="2135"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8" name="Freeform: Shape 4507">
                          <a:extLst>
                            <a:ext uri="{FF2B5EF4-FFF2-40B4-BE49-F238E27FC236}">
                              <a16:creationId xmlns:a16="http://schemas.microsoft.com/office/drawing/2014/main" id="{C33374BF-3F93-4E38-A3C8-41DAD3830D0C}"/>
                            </a:ext>
                          </a:extLst>
                        </p:cNvPr>
                        <p:cNvSpPr/>
                        <p:nvPr/>
                      </p:nvSpPr>
                      <p:spPr>
                        <a:xfrm>
                          <a:off x="9168173" y="2386151"/>
                          <a:ext cx="6154" cy="11429"/>
                        </a:xfrm>
                        <a:custGeom>
                          <a:avLst/>
                          <a:gdLst>
                            <a:gd name="connsiteX0" fmla="*/ 2261 w 6154"/>
                            <a:gd name="connsiteY0" fmla="*/ 377 h 11429"/>
                            <a:gd name="connsiteX1" fmla="*/ 628 w 6154"/>
                            <a:gd name="connsiteY1" fmla="*/ 0 h 11429"/>
                            <a:gd name="connsiteX2" fmla="*/ 0 w 6154"/>
                            <a:gd name="connsiteY2" fmla="*/ 1758 h 11429"/>
                            <a:gd name="connsiteX3" fmla="*/ 4396 w 6154"/>
                            <a:gd name="connsiteY3" fmla="*/ 11429 h 11429"/>
                            <a:gd name="connsiteX4" fmla="*/ 6154 w 6154"/>
                            <a:gd name="connsiteY4" fmla="*/ 9294 h 11429"/>
                            <a:gd name="connsiteX5" fmla="*/ 2135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8" y="0"/>
                              </a:lnTo>
                              <a:cubicBezTo>
                                <a:pt x="502" y="628"/>
                                <a:pt x="251" y="1256"/>
                                <a:pt x="0" y="1758"/>
                              </a:cubicBezTo>
                              <a:lnTo>
                                <a:pt x="4396" y="11429"/>
                              </a:lnTo>
                              <a:cubicBezTo>
                                <a:pt x="5023" y="10801"/>
                                <a:pt x="5651" y="10173"/>
                                <a:pt x="6154" y="9294"/>
                              </a:cubicBezTo>
                              <a:lnTo>
                                <a:pt x="2135" y="502"/>
                              </a:lnTo>
                              <a:cubicBezTo>
                                <a:pt x="2135" y="502"/>
                                <a:pt x="2135" y="377"/>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9" name="Freeform: Shape 4508">
                          <a:extLst>
                            <a:ext uri="{FF2B5EF4-FFF2-40B4-BE49-F238E27FC236}">
                              <a16:creationId xmlns:a16="http://schemas.microsoft.com/office/drawing/2014/main" id="{4E2DE6C6-640F-44FB-A9D2-EF1C7DB0CE68}"/>
                            </a:ext>
                          </a:extLst>
                        </p:cNvPr>
                        <p:cNvSpPr/>
                        <p:nvPr/>
                      </p:nvSpPr>
                      <p:spPr>
                        <a:xfrm>
                          <a:off x="9145180" y="2369823"/>
                          <a:ext cx="5284" cy="13941"/>
                        </a:xfrm>
                        <a:custGeom>
                          <a:avLst/>
                          <a:gdLst>
                            <a:gd name="connsiteX0" fmla="*/ 9 w 5284"/>
                            <a:gd name="connsiteY0" fmla="*/ 0 h 13941"/>
                            <a:gd name="connsiteX1" fmla="*/ 3401 w 5284"/>
                            <a:gd name="connsiteY1" fmla="*/ 13941 h 13941"/>
                            <a:gd name="connsiteX2" fmla="*/ 5284 w 5284"/>
                            <a:gd name="connsiteY2" fmla="*/ 12057 h 13941"/>
                            <a:gd name="connsiteX3" fmla="*/ 2396 w 5284"/>
                            <a:gd name="connsiteY3" fmla="*/ 2261 h 13941"/>
                            <a:gd name="connsiteX4" fmla="*/ 9 w 5284"/>
                            <a:gd name="connsiteY4" fmla="*/ 0 h 13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1">
                              <a:moveTo>
                                <a:pt x="9" y="0"/>
                              </a:moveTo>
                              <a:cubicBezTo>
                                <a:pt x="-116" y="4145"/>
                                <a:pt x="1014" y="9043"/>
                                <a:pt x="3401" y="13941"/>
                              </a:cubicBezTo>
                              <a:lnTo>
                                <a:pt x="5284" y="12057"/>
                              </a:lnTo>
                              <a:cubicBezTo>
                                <a:pt x="3651" y="8666"/>
                                <a:pt x="2772"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0" name="Freeform: Shape 4509">
                          <a:extLst>
                            <a:ext uri="{FF2B5EF4-FFF2-40B4-BE49-F238E27FC236}">
                              <a16:creationId xmlns:a16="http://schemas.microsoft.com/office/drawing/2014/main" id="{938D399D-91AC-4603-BABB-AB1F4FE0B8CB}"/>
                            </a:ext>
                          </a:extLst>
                        </p:cNvPr>
                        <p:cNvSpPr/>
                        <p:nvPr/>
                      </p:nvSpPr>
                      <p:spPr>
                        <a:xfrm>
                          <a:off x="9155236" y="2388537"/>
                          <a:ext cx="10926" cy="10801"/>
                        </a:xfrm>
                        <a:custGeom>
                          <a:avLst/>
                          <a:gdLst>
                            <a:gd name="connsiteX0" fmla="*/ 2010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10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10" y="3265"/>
                              </a:moveTo>
                              <a:lnTo>
                                <a:pt x="4898" y="377"/>
                              </a:lnTo>
                              <a:cubicBezTo>
                                <a:pt x="4773" y="251"/>
                                <a:pt x="4521" y="126"/>
                                <a:pt x="4396" y="0"/>
                              </a:cubicBezTo>
                              <a:lnTo>
                                <a:pt x="0" y="4521"/>
                              </a:lnTo>
                              <a:cubicBezTo>
                                <a:pt x="3517" y="8038"/>
                                <a:pt x="7410" y="10299"/>
                                <a:pt x="10927" y="10801"/>
                              </a:cubicBezTo>
                              <a:lnTo>
                                <a:pt x="9922" y="8666"/>
                              </a:lnTo>
                              <a:cubicBezTo>
                                <a:pt x="7159" y="7661"/>
                                <a:pt x="4521" y="5777"/>
                                <a:pt x="2010"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1" name="Freeform: Shape 4510">
                          <a:extLst>
                            <a:ext uri="{FF2B5EF4-FFF2-40B4-BE49-F238E27FC236}">
                              <a16:creationId xmlns:a16="http://schemas.microsoft.com/office/drawing/2014/main" id="{15BD31FD-B4F2-4FF9-9D21-66F63BD81606}"/>
                            </a:ext>
                          </a:extLst>
                        </p:cNvPr>
                        <p:cNvSpPr/>
                        <p:nvPr/>
                      </p:nvSpPr>
                      <p:spPr>
                        <a:xfrm>
                          <a:off x="9147701" y="2360153"/>
                          <a:ext cx="8791" cy="9042"/>
                        </a:xfrm>
                        <a:custGeom>
                          <a:avLst/>
                          <a:gdLst>
                            <a:gd name="connsiteX0" fmla="*/ 3140 w 8791"/>
                            <a:gd name="connsiteY0" fmla="*/ 0 h 9042"/>
                            <a:gd name="connsiteX1" fmla="*/ 2009 w 8791"/>
                            <a:gd name="connsiteY1" fmla="*/ 502 h 9042"/>
                            <a:gd name="connsiteX2" fmla="*/ 0 w 8791"/>
                            <a:gd name="connsiteY2" fmla="*/ 2135 h 9042"/>
                            <a:gd name="connsiteX3" fmla="*/ 7159 w 8791"/>
                            <a:gd name="connsiteY3" fmla="*/ 9043 h 9042"/>
                            <a:gd name="connsiteX4" fmla="*/ 8791 w 8791"/>
                            <a:gd name="connsiteY4" fmla="*/ 8666 h 9042"/>
                            <a:gd name="connsiteX5" fmla="*/ 8791 w 8791"/>
                            <a:gd name="connsiteY5" fmla="*/ 7285 h 9042"/>
                            <a:gd name="connsiteX6" fmla="*/ 2135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09" y="502"/>
                              </a:cubicBezTo>
                              <a:cubicBezTo>
                                <a:pt x="1256" y="879"/>
                                <a:pt x="628" y="1507"/>
                                <a:pt x="0" y="2135"/>
                              </a:cubicBezTo>
                              <a:lnTo>
                                <a:pt x="7159" y="9043"/>
                              </a:lnTo>
                              <a:cubicBezTo>
                                <a:pt x="7661" y="8792"/>
                                <a:pt x="8163" y="8666"/>
                                <a:pt x="8791" y="8666"/>
                              </a:cubicBezTo>
                              <a:lnTo>
                                <a:pt x="8791" y="7285"/>
                              </a:lnTo>
                              <a:lnTo>
                                <a:pt x="2135" y="1005"/>
                              </a:lnTo>
                              <a:cubicBezTo>
                                <a:pt x="2386" y="628"/>
                                <a:pt x="2763" y="251"/>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12" name="Graphic 4">
                        <a:extLst>
                          <a:ext uri="{FF2B5EF4-FFF2-40B4-BE49-F238E27FC236}">
                            <a16:creationId xmlns:a16="http://schemas.microsoft.com/office/drawing/2014/main" id="{84FB7ED1-A2DF-40A1-A747-5F7CF3F14040}"/>
                          </a:ext>
                        </a:extLst>
                      </p:cNvPr>
                      <p:cNvGrpSpPr/>
                      <p:nvPr/>
                    </p:nvGrpSpPr>
                    <p:grpSpPr>
                      <a:xfrm>
                        <a:off x="9154180" y="2371706"/>
                        <a:ext cx="12662" cy="16127"/>
                        <a:chOff x="9154180" y="2371706"/>
                        <a:chExt cx="12662" cy="16127"/>
                      </a:xfrm>
                      <a:solidFill>
                        <a:srgbClr val="222222"/>
                      </a:solidFill>
                    </p:grpSpPr>
                    <p:sp>
                      <p:nvSpPr>
                        <p:cNvPr id="4513" name="Freeform: Shape 4512">
                          <a:extLst>
                            <a:ext uri="{FF2B5EF4-FFF2-40B4-BE49-F238E27FC236}">
                              <a16:creationId xmlns:a16="http://schemas.microsoft.com/office/drawing/2014/main" id="{7210A921-C797-4564-A28E-43B4835D0189}"/>
                            </a:ext>
                          </a:extLst>
                        </p:cNvPr>
                        <p:cNvSpPr/>
                        <p:nvPr/>
                      </p:nvSpPr>
                      <p:spPr>
                        <a:xfrm>
                          <a:off x="9158565" y="2376952"/>
                          <a:ext cx="4018" cy="5336"/>
                        </a:xfrm>
                        <a:custGeom>
                          <a:avLst/>
                          <a:gdLst>
                            <a:gd name="connsiteX0" fmla="*/ 3454 w 4018"/>
                            <a:gd name="connsiteY0" fmla="*/ 5180 h 5336"/>
                            <a:gd name="connsiteX1" fmla="*/ 565 w 4018"/>
                            <a:gd name="connsiteY1" fmla="*/ 3547 h 5336"/>
                            <a:gd name="connsiteX2" fmla="*/ 565 w 4018"/>
                            <a:gd name="connsiteY2" fmla="*/ 156 h 5336"/>
                            <a:gd name="connsiteX3" fmla="*/ 3454 w 4018"/>
                            <a:gd name="connsiteY3" fmla="*/ 1789 h 5336"/>
                            <a:gd name="connsiteX4" fmla="*/ 3454 w 4018"/>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 h="5336">
                              <a:moveTo>
                                <a:pt x="3454" y="5180"/>
                              </a:moveTo>
                              <a:cubicBezTo>
                                <a:pt x="2700" y="5682"/>
                                <a:pt x="1319" y="4929"/>
                                <a:pt x="565" y="3547"/>
                              </a:cubicBezTo>
                              <a:cubicBezTo>
                                <a:pt x="-188" y="2166"/>
                                <a:pt x="-188" y="659"/>
                                <a:pt x="565" y="156"/>
                              </a:cubicBezTo>
                              <a:cubicBezTo>
                                <a:pt x="1319" y="-346"/>
                                <a:pt x="2700" y="407"/>
                                <a:pt x="3454" y="1789"/>
                              </a:cubicBezTo>
                              <a:cubicBezTo>
                                <a:pt x="4207" y="3170"/>
                                <a:pt x="4207" y="4678"/>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4" name="Freeform: Shape 4513">
                          <a:extLst>
                            <a:ext uri="{FF2B5EF4-FFF2-40B4-BE49-F238E27FC236}">
                              <a16:creationId xmlns:a16="http://schemas.microsoft.com/office/drawing/2014/main" id="{209F048A-26D5-41A3-89D1-7E9FE3C414C9}"/>
                            </a:ext>
                          </a:extLst>
                        </p:cNvPr>
                        <p:cNvSpPr/>
                        <p:nvPr/>
                      </p:nvSpPr>
                      <p:spPr>
                        <a:xfrm>
                          <a:off x="9159427" y="2371706"/>
                          <a:ext cx="2341" cy="3217"/>
                        </a:xfrm>
                        <a:custGeom>
                          <a:avLst/>
                          <a:gdLst>
                            <a:gd name="connsiteX0" fmla="*/ 1964 w 2341"/>
                            <a:gd name="connsiteY0" fmla="*/ 3141 h 3217"/>
                            <a:gd name="connsiteX1" fmla="*/ 331 w 2341"/>
                            <a:gd name="connsiteY1" fmla="*/ 2136 h 3217"/>
                            <a:gd name="connsiteX2" fmla="*/ 331 w 2341"/>
                            <a:gd name="connsiteY2" fmla="*/ 127 h 3217"/>
                            <a:gd name="connsiteX3" fmla="*/ 1964 w 2341"/>
                            <a:gd name="connsiteY3" fmla="*/ 1131 h 3217"/>
                            <a:gd name="connsiteX4" fmla="*/ 1964 w 2341"/>
                            <a:gd name="connsiteY4" fmla="*/ 3141 h 3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1" h="3217">
                              <a:moveTo>
                                <a:pt x="1964" y="3141"/>
                              </a:moveTo>
                              <a:cubicBezTo>
                                <a:pt x="1462" y="3392"/>
                                <a:pt x="708" y="3015"/>
                                <a:pt x="331" y="2136"/>
                              </a:cubicBezTo>
                              <a:cubicBezTo>
                                <a:pt x="-45" y="1257"/>
                                <a:pt x="-171" y="503"/>
                                <a:pt x="331" y="127"/>
                              </a:cubicBezTo>
                              <a:cubicBezTo>
                                <a:pt x="834" y="-250"/>
                                <a:pt x="1588" y="252"/>
                                <a:pt x="1964" y="1131"/>
                              </a:cubicBezTo>
                              <a:cubicBezTo>
                                <a:pt x="2467" y="2011"/>
                                <a:pt x="2467" y="2890"/>
                                <a:pt x="1964" y="314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5" name="Freeform: Shape 4514">
                          <a:extLst>
                            <a:ext uri="{FF2B5EF4-FFF2-40B4-BE49-F238E27FC236}">
                              <a16:creationId xmlns:a16="http://schemas.microsoft.com/office/drawing/2014/main" id="{751CC88C-6619-499D-88C4-C6A27B589AD1}"/>
                            </a:ext>
                          </a:extLst>
                        </p:cNvPr>
                        <p:cNvSpPr/>
                        <p:nvPr/>
                      </p:nvSpPr>
                      <p:spPr>
                        <a:xfrm>
                          <a:off x="9156222" y="2381187"/>
                          <a:ext cx="2425" cy="3019"/>
                        </a:xfrm>
                        <a:custGeom>
                          <a:avLst/>
                          <a:gdLst>
                            <a:gd name="connsiteX0" fmla="*/ 1024 w 2425"/>
                            <a:gd name="connsiteY0" fmla="*/ 65 h 3019"/>
                            <a:gd name="connsiteX1" fmla="*/ 2406 w 2425"/>
                            <a:gd name="connsiteY1" fmla="*/ 1949 h 3019"/>
                            <a:gd name="connsiteX2" fmla="*/ 1401 w 2425"/>
                            <a:gd name="connsiteY2" fmla="*/ 2954 h 3019"/>
                            <a:gd name="connsiteX3" fmla="*/ 19 w 2425"/>
                            <a:gd name="connsiteY3" fmla="*/ 1070 h 3019"/>
                            <a:gd name="connsiteX4" fmla="*/ 1024 w 2425"/>
                            <a:gd name="connsiteY4" fmla="*/ 65 h 3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 h="3019">
                              <a:moveTo>
                                <a:pt x="1024" y="65"/>
                              </a:moveTo>
                              <a:cubicBezTo>
                                <a:pt x="1652" y="317"/>
                                <a:pt x="2280" y="1196"/>
                                <a:pt x="2406" y="1949"/>
                              </a:cubicBezTo>
                              <a:cubicBezTo>
                                <a:pt x="2531" y="2703"/>
                                <a:pt x="2029" y="3205"/>
                                <a:pt x="1401" y="2954"/>
                              </a:cubicBezTo>
                              <a:cubicBezTo>
                                <a:pt x="773" y="2703"/>
                                <a:pt x="145" y="1824"/>
                                <a:pt x="19" y="1070"/>
                              </a:cubicBezTo>
                              <a:cubicBezTo>
                                <a:pt x="-106" y="317"/>
                                <a:pt x="396" y="-186"/>
                                <a:pt x="1024" y="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6" name="Freeform: Shape 4515">
                          <a:extLst>
                            <a:ext uri="{FF2B5EF4-FFF2-40B4-BE49-F238E27FC236}">
                              <a16:creationId xmlns:a16="http://schemas.microsoft.com/office/drawing/2014/main" id="{2CFD2B5E-760E-4353-9520-3A9EF25C304C}"/>
                            </a:ext>
                          </a:extLst>
                        </p:cNvPr>
                        <p:cNvSpPr/>
                        <p:nvPr/>
                      </p:nvSpPr>
                      <p:spPr>
                        <a:xfrm>
                          <a:off x="9162502" y="2384719"/>
                          <a:ext cx="2425" cy="3114"/>
                        </a:xfrm>
                        <a:custGeom>
                          <a:avLst/>
                          <a:gdLst>
                            <a:gd name="connsiteX0" fmla="*/ 19 w 2425"/>
                            <a:gd name="connsiteY0" fmla="*/ 678 h 3114"/>
                            <a:gd name="connsiteX1" fmla="*/ 1401 w 2425"/>
                            <a:gd name="connsiteY1" fmla="*/ 301 h 3114"/>
                            <a:gd name="connsiteX2" fmla="*/ 2406 w 2425"/>
                            <a:gd name="connsiteY2" fmla="*/ 2437 h 3114"/>
                            <a:gd name="connsiteX3" fmla="*/ 1024 w 2425"/>
                            <a:gd name="connsiteY3" fmla="*/ 2813 h 3114"/>
                            <a:gd name="connsiteX4" fmla="*/ 19 w 2425"/>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 h="3114">
                              <a:moveTo>
                                <a:pt x="19" y="678"/>
                              </a:moveTo>
                              <a:cubicBezTo>
                                <a:pt x="145" y="-75"/>
                                <a:pt x="773" y="-201"/>
                                <a:pt x="1401" y="301"/>
                              </a:cubicBezTo>
                              <a:cubicBezTo>
                                <a:pt x="2029" y="804"/>
                                <a:pt x="2531" y="1809"/>
                                <a:pt x="2406" y="2437"/>
                              </a:cubicBezTo>
                              <a:cubicBezTo>
                                <a:pt x="2280" y="3190"/>
                                <a:pt x="1652" y="3316"/>
                                <a:pt x="1024" y="2813"/>
                              </a:cubicBezTo>
                              <a:cubicBezTo>
                                <a:pt x="396" y="2437"/>
                                <a:pt x="-106" y="1432"/>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7" name="Freeform: Shape 4516">
                          <a:extLst>
                            <a:ext uri="{FF2B5EF4-FFF2-40B4-BE49-F238E27FC236}">
                              <a16:creationId xmlns:a16="http://schemas.microsoft.com/office/drawing/2014/main" id="{0C30C13E-75E3-4FCE-891F-8A564D391600}"/>
                            </a:ext>
                          </a:extLst>
                        </p:cNvPr>
                        <p:cNvSpPr/>
                        <p:nvPr/>
                      </p:nvSpPr>
                      <p:spPr>
                        <a:xfrm>
                          <a:off x="9164353" y="2379067"/>
                          <a:ext cx="2489" cy="3080"/>
                        </a:xfrm>
                        <a:custGeom>
                          <a:avLst/>
                          <a:gdLst>
                            <a:gd name="connsiteX0" fmla="*/ 680 w 2489"/>
                            <a:gd name="connsiteY0" fmla="*/ 2437 h 3080"/>
                            <a:gd name="connsiteX1" fmla="*/ 177 w 2489"/>
                            <a:gd name="connsiteY1" fmla="*/ 301 h 3080"/>
                            <a:gd name="connsiteX2" fmla="*/ 1810 w 2489"/>
                            <a:gd name="connsiteY2" fmla="*/ 678 h 3080"/>
                            <a:gd name="connsiteX3" fmla="*/ 2313 w 2489"/>
                            <a:gd name="connsiteY3" fmla="*/ 2813 h 3080"/>
                            <a:gd name="connsiteX4" fmla="*/ 680 w 2489"/>
                            <a:gd name="connsiteY4" fmla="*/ 2437 h 3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080">
                              <a:moveTo>
                                <a:pt x="680" y="2437"/>
                              </a:moveTo>
                              <a:cubicBezTo>
                                <a:pt x="51" y="1809"/>
                                <a:pt x="-200" y="804"/>
                                <a:pt x="177" y="301"/>
                              </a:cubicBezTo>
                              <a:cubicBezTo>
                                <a:pt x="554" y="-201"/>
                                <a:pt x="1182" y="-75"/>
                                <a:pt x="1810" y="678"/>
                              </a:cubicBezTo>
                              <a:cubicBezTo>
                                <a:pt x="2437" y="1306"/>
                                <a:pt x="2689" y="2311"/>
                                <a:pt x="2313" y="2813"/>
                              </a:cubicBezTo>
                              <a:cubicBezTo>
                                <a:pt x="1935" y="3316"/>
                                <a:pt x="1308" y="3065"/>
                                <a:pt x="680"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8" name="Freeform: Shape 4517">
                          <a:extLst>
                            <a:ext uri="{FF2B5EF4-FFF2-40B4-BE49-F238E27FC236}">
                              <a16:creationId xmlns:a16="http://schemas.microsoft.com/office/drawing/2014/main" id="{2CA02C28-CD9B-425A-9D6E-818113D608A3}"/>
                            </a:ext>
                          </a:extLst>
                        </p:cNvPr>
                        <p:cNvSpPr/>
                        <p:nvPr/>
                      </p:nvSpPr>
                      <p:spPr>
                        <a:xfrm>
                          <a:off x="9154180" y="2373214"/>
                          <a:ext cx="2433" cy="3014"/>
                        </a:xfrm>
                        <a:custGeom>
                          <a:avLst/>
                          <a:gdLst>
                            <a:gd name="connsiteX0" fmla="*/ 2312 w 2433"/>
                            <a:gd name="connsiteY0" fmla="*/ 1507 h 3014"/>
                            <a:gd name="connsiteX1" fmla="*/ 1810 w 2433"/>
                            <a:gd name="connsiteY1" fmla="*/ 3014 h 3014"/>
                            <a:gd name="connsiteX2" fmla="*/ 177 w 2433"/>
                            <a:gd name="connsiteY2" fmla="*/ 1507 h 3014"/>
                            <a:gd name="connsiteX3" fmla="*/ 680 w 2433"/>
                            <a:gd name="connsiteY3" fmla="*/ 0 h 3014"/>
                            <a:gd name="connsiteX4" fmla="*/ 2312 w 2433"/>
                            <a:gd name="connsiteY4" fmla="*/ 1507 h 3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 h="3014">
                              <a:moveTo>
                                <a:pt x="2312" y="1507"/>
                              </a:moveTo>
                              <a:cubicBezTo>
                                <a:pt x="2563" y="2386"/>
                                <a:pt x="2437" y="3014"/>
                                <a:pt x="1810" y="3014"/>
                              </a:cubicBezTo>
                              <a:cubicBezTo>
                                <a:pt x="1182" y="3014"/>
                                <a:pt x="554" y="2386"/>
                                <a:pt x="177" y="1507"/>
                              </a:cubicBezTo>
                              <a:cubicBezTo>
                                <a:pt x="-200" y="628"/>
                                <a:pt x="51" y="0"/>
                                <a:pt x="680" y="0"/>
                              </a:cubicBezTo>
                              <a:cubicBezTo>
                                <a:pt x="1308" y="0"/>
                                <a:pt x="2061" y="628"/>
                                <a:pt x="2312" y="150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519" name="Graphic 4">
                  <a:extLst>
                    <a:ext uri="{FF2B5EF4-FFF2-40B4-BE49-F238E27FC236}">
                      <a16:creationId xmlns:a16="http://schemas.microsoft.com/office/drawing/2014/main" id="{84FB7ED1-A2DF-40A1-A747-5F7CF3F14040}"/>
                    </a:ext>
                  </a:extLst>
                </p:cNvPr>
                <p:cNvGrpSpPr/>
                <p:nvPr/>
              </p:nvGrpSpPr>
              <p:grpSpPr>
                <a:xfrm>
                  <a:off x="9063050" y="2278080"/>
                  <a:ext cx="168548" cy="129421"/>
                  <a:chOff x="9063050" y="2278080"/>
                  <a:chExt cx="168548" cy="129421"/>
                </a:xfrm>
                <a:solidFill>
                  <a:schemeClr val="accent1"/>
                </a:solidFill>
              </p:grpSpPr>
              <p:sp>
                <p:nvSpPr>
                  <p:cNvPr id="4520" name="Freeform: Shape 4519">
                    <a:extLst>
                      <a:ext uri="{FF2B5EF4-FFF2-40B4-BE49-F238E27FC236}">
                        <a16:creationId xmlns:a16="http://schemas.microsoft.com/office/drawing/2014/main" id="{6B39A5F5-48E6-4924-ABC0-1CF34F6DCFD3}"/>
                      </a:ext>
                    </a:extLst>
                  </p:cNvPr>
                  <p:cNvSpPr/>
                  <p:nvPr/>
                </p:nvSpPr>
                <p:spPr>
                  <a:xfrm>
                    <a:off x="9063050" y="2295914"/>
                    <a:ext cx="137777" cy="111587"/>
                  </a:xfrm>
                  <a:custGeom>
                    <a:avLst/>
                    <a:gdLst>
                      <a:gd name="connsiteX0" fmla="*/ 7787 w 137777"/>
                      <a:gd name="connsiteY0" fmla="*/ 10107 h 111587"/>
                      <a:gd name="connsiteX1" fmla="*/ 14192 w 137777"/>
                      <a:gd name="connsiteY1" fmla="*/ 1817 h 111587"/>
                      <a:gd name="connsiteX2" fmla="*/ 33408 w 137777"/>
                      <a:gd name="connsiteY2" fmla="*/ 3701 h 111587"/>
                      <a:gd name="connsiteX3" fmla="*/ 104369 w 137777"/>
                      <a:gd name="connsiteY3" fmla="*/ 44645 h 111587"/>
                      <a:gd name="connsiteX4" fmla="*/ 123585 w 137777"/>
                      <a:gd name="connsiteY4" fmla="*/ 64992 h 111587"/>
                      <a:gd name="connsiteX5" fmla="*/ 130116 w 137777"/>
                      <a:gd name="connsiteY5" fmla="*/ 80817 h 111587"/>
                      <a:gd name="connsiteX6" fmla="*/ 137777 w 137777"/>
                      <a:gd name="connsiteY6" fmla="*/ 111587 h 111587"/>
                      <a:gd name="connsiteX7" fmla="*/ 134009 w 137777"/>
                      <a:gd name="connsiteY7" fmla="*/ 110959 h 111587"/>
                      <a:gd name="connsiteX8" fmla="*/ 126223 w 137777"/>
                      <a:gd name="connsiteY8" fmla="*/ 80189 h 111587"/>
                      <a:gd name="connsiteX9" fmla="*/ 104369 w 137777"/>
                      <a:gd name="connsiteY9" fmla="*/ 49418 h 111587"/>
                      <a:gd name="connsiteX10" fmla="*/ 33408 w 137777"/>
                      <a:gd name="connsiteY10" fmla="*/ 8474 h 111587"/>
                      <a:gd name="connsiteX11" fmla="*/ 11555 w 137777"/>
                      <a:gd name="connsiteY11" fmla="*/ 14000 h 111587"/>
                      <a:gd name="connsiteX12" fmla="*/ 3768 w 137777"/>
                      <a:gd name="connsiteY12" fmla="*/ 35854 h 111587"/>
                      <a:gd name="connsiteX13" fmla="*/ 0 w 137777"/>
                      <a:gd name="connsiteY13" fmla="*/ 32086 h 111587"/>
                      <a:gd name="connsiteX14" fmla="*/ 7787 w 137777"/>
                      <a:gd name="connsiteY14" fmla="*/ 10107 h 111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7777" h="111587">
                        <a:moveTo>
                          <a:pt x="7787" y="10107"/>
                        </a:moveTo>
                        <a:cubicBezTo>
                          <a:pt x="9168" y="6213"/>
                          <a:pt x="11429" y="3450"/>
                          <a:pt x="14192" y="1817"/>
                        </a:cubicBezTo>
                        <a:cubicBezTo>
                          <a:pt x="19216" y="-1071"/>
                          <a:pt x="25997" y="-569"/>
                          <a:pt x="33408" y="3701"/>
                        </a:cubicBezTo>
                        <a:lnTo>
                          <a:pt x="104369" y="44645"/>
                        </a:lnTo>
                        <a:cubicBezTo>
                          <a:pt x="111779" y="48915"/>
                          <a:pt x="118561" y="56326"/>
                          <a:pt x="123585" y="64992"/>
                        </a:cubicBezTo>
                        <a:cubicBezTo>
                          <a:pt x="126473" y="70015"/>
                          <a:pt x="128735" y="75416"/>
                          <a:pt x="130116" y="80817"/>
                        </a:cubicBezTo>
                        <a:lnTo>
                          <a:pt x="137777" y="111587"/>
                        </a:lnTo>
                        <a:lnTo>
                          <a:pt x="134009" y="110959"/>
                        </a:lnTo>
                        <a:lnTo>
                          <a:pt x="126223" y="80189"/>
                        </a:lnTo>
                        <a:cubicBezTo>
                          <a:pt x="123083" y="67504"/>
                          <a:pt x="114291" y="55195"/>
                          <a:pt x="104369" y="49418"/>
                        </a:cubicBezTo>
                        <a:lnTo>
                          <a:pt x="33408" y="8474"/>
                        </a:lnTo>
                        <a:cubicBezTo>
                          <a:pt x="23486" y="2697"/>
                          <a:pt x="14694" y="4957"/>
                          <a:pt x="11555" y="14000"/>
                        </a:cubicBezTo>
                        <a:lnTo>
                          <a:pt x="3768" y="35854"/>
                        </a:lnTo>
                        <a:lnTo>
                          <a:pt x="0" y="32086"/>
                        </a:lnTo>
                        <a:lnTo>
                          <a:pt x="7787" y="10107"/>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1" name="Freeform: Shape 4520">
                    <a:extLst>
                      <a:ext uri="{FF2B5EF4-FFF2-40B4-BE49-F238E27FC236}">
                        <a16:creationId xmlns:a16="http://schemas.microsoft.com/office/drawing/2014/main" id="{00E3E426-3FDE-4C91-8273-00C3A7BDFB04}"/>
                      </a:ext>
                    </a:extLst>
                  </p:cNvPr>
                  <p:cNvSpPr/>
                  <p:nvPr/>
                </p:nvSpPr>
                <p:spPr>
                  <a:xfrm>
                    <a:off x="9077242" y="2278080"/>
                    <a:ext cx="140164" cy="82700"/>
                  </a:xfrm>
                  <a:custGeom>
                    <a:avLst/>
                    <a:gdLst>
                      <a:gd name="connsiteX0" fmla="*/ 30771 w 140164"/>
                      <a:gd name="connsiteY0" fmla="*/ 1817 h 82700"/>
                      <a:gd name="connsiteX1" fmla="*/ 49987 w 140164"/>
                      <a:gd name="connsiteY1" fmla="*/ 3701 h 82700"/>
                      <a:gd name="connsiteX2" fmla="*/ 120948 w 140164"/>
                      <a:gd name="connsiteY2" fmla="*/ 44645 h 82700"/>
                      <a:gd name="connsiteX3" fmla="*/ 140164 w 140164"/>
                      <a:gd name="connsiteY3" fmla="*/ 64992 h 82700"/>
                      <a:gd name="connsiteX4" fmla="*/ 109393 w 140164"/>
                      <a:gd name="connsiteY4" fmla="*/ 82700 h 82700"/>
                      <a:gd name="connsiteX5" fmla="*/ 90178 w 140164"/>
                      <a:gd name="connsiteY5" fmla="*/ 62354 h 82700"/>
                      <a:gd name="connsiteX6" fmla="*/ 19216 w 140164"/>
                      <a:gd name="connsiteY6" fmla="*/ 21410 h 82700"/>
                      <a:gd name="connsiteX7" fmla="*/ 0 w 140164"/>
                      <a:gd name="connsiteY7" fmla="*/ 19526 h 82700"/>
                      <a:gd name="connsiteX8" fmla="*/ 30771 w 140164"/>
                      <a:gd name="connsiteY8" fmla="*/ 1817 h 8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164" h="82700">
                        <a:moveTo>
                          <a:pt x="30771" y="1817"/>
                        </a:moveTo>
                        <a:cubicBezTo>
                          <a:pt x="35795" y="-1071"/>
                          <a:pt x="42577" y="-569"/>
                          <a:pt x="49987" y="3701"/>
                        </a:cubicBezTo>
                        <a:lnTo>
                          <a:pt x="120948" y="44645"/>
                        </a:lnTo>
                        <a:cubicBezTo>
                          <a:pt x="128358" y="48915"/>
                          <a:pt x="135140" y="56326"/>
                          <a:pt x="140164" y="64992"/>
                        </a:cubicBezTo>
                        <a:lnTo>
                          <a:pt x="109393" y="82700"/>
                        </a:lnTo>
                        <a:cubicBezTo>
                          <a:pt x="104369" y="74034"/>
                          <a:pt x="97587" y="66624"/>
                          <a:pt x="90178" y="62354"/>
                        </a:cubicBezTo>
                        <a:lnTo>
                          <a:pt x="19216" y="21410"/>
                        </a:lnTo>
                        <a:cubicBezTo>
                          <a:pt x="11806" y="17140"/>
                          <a:pt x="4898" y="16638"/>
                          <a:pt x="0" y="19526"/>
                        </a:cubicBezTo>
                        <a:cubicBezTo>
                          <a:pt x="0" y="19652"/>
                          <a:pt x="27882" y="3576"/>
                          <a:pt x="30771" y="1817"/>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2" name="Freeform: Shape 4521">
                    <a:extLst>
                      <a:ext uri="{FF2B5EF4-FFF2-40B4-BE49-F238E27FC236}">
                        <a16:creationId xmlns:a16="http://schemas.microsoft.com/office/drawing/2014/main" id="{99067677-2AA2-4E69-9A2C-ADA17A084B7E}"/>
                      </a:ext>
                    </a:extLst>
                  </p:cNvPr>
                  <p:cNvSpPr/>
                  <p:nvPr/>
                </p:nvSpPr>
                <p:spPr>
                  <a:xfrm>
                    <a:off x="9186635" y="2343072"/>
                    <a:ext cx="44963" cy="64304"/>
                  </a:xfrm>
                  <a:custGeom>
                    <a:avLst/>
                    <a:gdLst>
                      <a:gd name="connsiteX0" fmla="*/ 37302 w 44963"/>
                      <a:gd name="connsiteY0" fmla="*/ 15825 h 64304"/>
                      <a:gd name="connsiteX1" fmla="*/ 30771 w 44963"/>
                      <a:gd name="connsiteY1" fmla="*/ 0 h 64304"/>
                      <a:gd name="connsiteX2" fmla="*/ 0 w 44963"/>
                      <a:gd name="connsiteY2" fmla="*/ 17709 h 64304"/>
                      <a:gd name="connsiteX3" fmla="*/ 6531 w 44963"/>
                      <a:gd name="connsiteY3" fmla="*/ 33534 h 64304"/>
                      <a:gd name="connsiteX4" fmla="*/ 14192 w 44963"/>
                      <a:gd name="connsiteY4" fmla="*/ 64305 h 64304"/>
                      <a:gd name="connsiteX5" fmla="*/ 44963 w 44963"/>
                      <a:gd name="connsiteY5" fmla="*/ 46596 h 64304"/>
                      <a:gd name="connsiteX6" fmla="*/ 37302 w 44963"/>
                      <a:gd name="connsiteY6" fmla="*/ 15825 h 6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963" h="64304">
                        <a:moveTo>
                          <a:pt x="37302" y="15825"/>
                        </a:moveTo>
                        <a:cubicBezTo>
                          <a:pt x="35920" y="10424"/>
                          <a:pt x="33659" y="5024"/>
                          <a:pt x="30771" y="0"/>
                        </a:cubicBezTo>
                        <a:lnTo>
                          <a:pt x="0" y="17709"/>
                        </a:lnTo>
                        <a:cubicBezTo>
                          <a:pt x="2888" y="22733"/>
                          <a:pt x="5150" y="28133"/>
                          <a:pt x="6531" y="33534"/>
                        </a:cubicBezTo>
                        <a:lnTo>
                          <a:pt x="14192" y="64305"/>
                        </a:lnTo>
                        <a:lnTo>
                          <a:pt x="44963" y="46596"/>
                        </a:lnTo>
                        <a:lnTo>
                          <a:pt x="37302" y="15825"/>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4523" name="Graphic 4">
              <a:extLst>
                <a:ext uri="{FF2B5EF4-FFF2-40B4-BE49-F238E27FC236}">
                  <a16:creationId xmlns:a16="http://schemas.microsoft.com/office/drawing/2014/main" id="{84FB7ED1-A2DF-40A1-A747-5F7CF3F14040}"/>
                </a:ext>
              </a:extLst>
            </p:cNvPr>
            <p:cNvGrpSpPr/>
            <p:nvPr/>
          </p:nvGrpSpPr>
          <p:grpSpPr>
            <a:xfrm>
              <a:off x="9443853" y="2454038"/>
              <a:ext cx="209869" cy="192219"/>
              <a:chOff x="9443853" y="2454038"/>
              <a:chExt cx="209869" cy="192219"/>
            </a:xfrm>
            <a:solidFill>
              <a:schemeClr val="accent1"/>
            </a:solidFill>
          </p:grpSpPr>
          <p:grpSp>
            <p:nvGrpSpPr>
              <p:cNvPr id="4524" name="Graphic 4">
                <a:extLst>
                  <a:ext uri="{FF2B5EF4-FFF2-40B4-BE49-F238E27FC236}">
                    <a16:creationId xmlns:a16="http://schemas.microsoft.com/office/drawing/2014/main" id="{84FB7ED1-A2DF-40A1-A747-5F7CF3F14040}"/>
                  </a:ext>
                </a:extLst>
              </p:cNvPr>
              <p:cNvGrpSpPr/>
              <p:nvPr/>
            </p:nvGrpSpPr>
            <p:grpSpPr>
              <a:xfrm>
                <a:off x="9443853" y="2456609"/>
                <a:ext cx="122204" cy="80883"/>
                <a:chOff x="9443853" y="2456609"/>
                <a:chExt cx="122204" cy="80883"/>
              </a:xfrm>
              <a:solidFill>
                <a:schemeClr val="accent1"/>
              </a:solidFill>
            </p:grpSpPr>
            <p:sp>
              <p:nvSpPr>
                <p:cNvPr id="4525" name="Freeform: Shape 4524">
                  <a:extLst>
                    <a:ext uri="{FF2B5EF4-FFF2-40B4-BE49-F238E27FC236}">
                      <a16:creationId xmlns:a16="http://schemas.microsoft.com/office/drawing/2014/main" id="{3FE7DE8D-AEEB-4DEA-89B3-9736AB449723}"/>
                    </a:ext>
                  </a:extLst>
                </p:cNvPr>
                <p:cNvSpPr/>
                <p:nvPr/>
              </p:nvSpPr>
              <p:spPr>
                <a:xfrm>
                  <a:off x="9443853" y="2456609"/>
                  <a:ext cx="122204" cy="70584"/>
                </a:xfrm>
                <a:custGeom>
                  <a:avLst/>
                  <a:gdLst>
                    <a:gd name="connsiteX0" fmla="*/ 2763 w 122204"/>
                    <a:gd name="connsiteY0" fmla="*/ 59909 h 70584"/>
                    <a:gd name="connsiteX1" fmla="*/ 103867 w 122204"/>
                    <a:gd name="connsiteY1" fmla="*/ 1507 h 70584"/>
                    <a:gd name="connsiteX2" fmla="*/ 116301 w 122204"/>
                    <a:gd name="connsiteY2" fmla="*/ 1507 h 70584"/>
                    <a:gd name="connsiteX3" fmla="*/ 122204 w 122204"/>
                    <a:gd name="connsiteY3" fmla="*/ 4898 h 70584"/>
                    <a:gd name="connsiteX4" fmla="*/ 115673 w 122204"/>
                    <a:gd name="connsiteY4" fmla="*/ 8666 h 70584"/>
                    <a:gd name="connsiteX5" fmla="*/ 110021 w 122204"/>
                    <a:gd name="connsiteY5" fmla="*/ 5401 h 70584"/>
                    <a:gd name="connsiteX6" fmla="*/ 9420 w 122204"/>
                    <a:gd name="connsiteY6" fmla="*/ 63551 h 70584"/>
                    <a:gd name="connsiteX7" fmla="*/ 15072 w 122204"/>
                    <a:gd name="connsiteY7" fmla="*/ 66816 h 70584"/>
                    <a:gd name="connsiteX8" fmla="*/ 8541 w 122204"/>
                    <a:gd name="connsiteY8" fmla="*/ 70584 h 70584"/>
                    <a:gd name="connsiteX9" fmla="*/ 2638 w 122204"/>
                    <a:gd name="connsiteY9" fmla="*/ 67193 h 70584"/>
                    <a:gd name="connsiteX10" fmla="*/ 0 w 122204"/>
                    <a:gd name="connsiteY10" fmla="*/ 63551 h 70584"/>
                    <a:gd name="connsiteX11" fmla="*/ 2763 w 122204"/>
                    <a:gd name="connsiteY11" fmla="*/ 59909 h 70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204" h="70584">
                      <a:moveTo>
                        <a:pt x="2763" y="59909"/>
                      </a:moveTo>
                      <a:lnTo>
                        <a:pt x="103867" y="1507"/>
                      </a:lnTo>
                      <a:cubicBezTo>
                        <a:pt x="107258" y="-502"/>
                        <a:pt x="112910" y="-502"/>
                        <a:pt x="116301" y="1507"/>
                      </a:cubicBezTo>
                      <a:lnTo>
                        <a:pt x="122204" y="4898"/>
                      </a:lnTo>
                      <a:lnTo>
                        <a:pt x="115673" y="8666"/>
                      </a:lnTo>
                      <a:lnTo>
                        <a:pt x="110021" y="5401"/>
                      </a:lnTo>
                      <a:lnTo>
                        <a:pt x="9420" y="63551"/>
                      </a:lnTo>
                      <a:lnTo>
                        <a:pt x="15072" y="66816"/>
                      </a:lnTo>
                      <a:lnTo>
                        <a:pt x="8541" y="70584"/>
                      </a:lnTo>
                      <a:lnTo>
                        <a:pt x="2638" y="67193"/>
                      </a:lnTo>
                      <a:cubicBezTo>
                        <a:pt x="879" y="66188"/>
                        <a:pt x="0" y="64933"/>
                        <a:pt x="0" y="63551"/>
                      </a:cubicBezTo>
                      <a:cubicBezTo>
                        <a:pt x="126" y="62169"/>
                        <a:pt x="1005" y="60913"/>
                        <a:pt x="2763" y="59909"/>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6" name="Freeform: Shape 4525">
                  <a:extLst>
                    <a:ext uri="{FF2B5EF4-FFF2-40B4-BE49-F238E27FC236}">
                      <a16:creationId xmlns:a16="http://schemas.microsoft.com/office/drawing/2014/main" id="{3C109BEA-A110-493D-B0B8-56EC03F820FD}"/>
                    </a:ext>
                  </a:extLst>
                </p:cNvPr>
                <p:cNvSpPr/>
                <p:nvPr/>
              </p:nvSpPr>
              <p:spPr>
                <a:xfrm>
                  <a:off x="9559526" y="2461508"/>
                  <a:ext cx="6531" cy="14066"/>
                </a:xfrm>
                <a:custGeom>
                  <a:avLst/>
                  <a:gdLst>
                    <a:gd name="connsiteX0" fmla="*/ 6531 w 6531"/>
                    <a:gd name="connsiteY0" fmla="*/ 0 h 14066"/>
                    <a:gd name="connsiteX1" fmla="*/ 6531 w 6531"/>
                    <a:gd name="connsiteY1" fmla="*/ 10299 h 14066"/>
                    <a:gd name="connsiteX2" fmla="*/ 0 w 6531"/>
                    <a:gd name="connsiteY2" fmla="*/ 14067 h 14066"/>
                    <a:gd name="connsiteX3" fmla="*/ 0 w 6531"/>
                    <a:gd name="connsiteY3" fmla="*/ 3768 h 14066"/>
                  </a:gdLst>
                  <a:ahLst/>
                  <a:cxnLst>
                    <a:cxn ang="0">
                      <a:pos x="connsiteX0" y="connsiteY0"/>
                    </a:cxn>
                    <a:cxn ang="0">
                      <a:pos x="connsiteX1" y="connsiteY1"/>
                    </a:cxn>
                    <a:cxn ang="0">
                      <a:pos x="connsiteX2" y="connsiteY2"/>
                    </a:cxn>
                    <a:cxn ang="0">
                      <a:pos x="connsiteX3" y="connsiteY3"/>
                    </a:cxn>
                  </a:cxnLst>
                  <a:rect l="l" t="t" r="r" b="b"/>
                  <a:pathLst>
                    <a:path w="6531" h="14066">
                      <a:moveTo>
                        <a:pt x="6531" y="0"/>
                      </a:moveTo>
                      <a:lnTo>
                        <a:pt x="6531" y="10299"/>
                      </a:lnTo>
                      <a:lnTo>
                        <a:pt x="0" y="14067"/>
                      </a:lnTo>
                      <a:lnTo>
                        <a:pt x="0" y="3768"/>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7" name="Freeform: Shape 4526">
                  <a:extLst>
                    <a:ext uri="{FF2B5EF4-FFF2-40B4-BE49-F238E27FC236}">
                      <a16:creationId xmlns:a16="http://schemas.microsoft.com/office/drawing/2014/main" id="{11906073-F361-47F9-AA10-687692A4CA5C}"/>
                    </a:ext>
                  </a:extLst>
                </p:cNvPr>
                <p:cNvSpPr/>
                <p:nvPr/>
              </p:nvSpPr>
              <p:spPr>
                <a:xfrm>
                  <a:off x="9453398" y="2462010"/>
                  <a:ext cx="106127" cy="65183"/>
                </a:xfrm>
                <a:custGeom>
                  <a:avLst/>
                  <a:gdLst>
                    <a:gd name="connsiteX0" fmla="*/ 100602 w 106127"/>
                    <a:gd name="connsiteY0" fmla="*/ 0 h 65183"/>
                    <a:gd name="connsiteX1" fmla="*/ 106128 w 106127"/>
                    <a:gd name="connsiteY1" fmla="*/ 3265 h 65183"/>
                    <a:gd name="connsiteX2" fmla="*/ 106128 w 106127"/>
                    <a:gd name="connsiteY2" fmla="*/ 13564 h 65183"/>
                    <a:gd name="connsiteX3" fmla="*/ 100602 w 106127"/>
                    <a:gd name="connsiteY3" fmla="*/ 10299 h 65183"/>
                    <a:gd name="connsiteX4" fmla="*/ 5526 w 106127"/>
                    <a:gd name="connsiteY4" fmla="*/ 65184 h 65183"/>
                    <a:gd name="connsiteX5" fmla="*/ 5526 w 106127"/>
                    <a:gd name="connsiteY5" fmla="*/ 61416 h 65183"/>
                    <a:gd name="connsiteX6" fmla="*/ 0 w 106127"/>
                    <a:gd name="connsiteY6" fmla="*/ 58150 h 6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127" h="65183">
                      <a:moveTo>
                        <a:pt x="100602" y="0"/>
                      </a:moveTo>
                      <a:lnTo>
                        <a:pt x="106128" y="3265"/>
                      </a:lnTo>
                      <a:lnTo>
                        <a:pt x="106128" y="13564"/>
                      </a:lnTo>
                      <a:lnTo>
                        <a:pt x="100602" y="10299"/>
                      </a:lnTo>
                      <a:lnTo>
                        <a:pt x="5526" y="65184"/>
                      </a:lnTo>
                      <a:lnTo>
                        <a:pt x="5526" y="61416"/>
                      </a:lnTo>
                      <a:lnTo>
                        <a:pt x="0" y="58150"/>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8" name="Freeform: Shape 4527">
                  <a:extLst>
                    <a:ext uri="{FF2B5EF4-FFF2-40B4-BE49-F238E27FC236}">
                      <a16:creationId xmlns:a16="http://schemas.microsoft.com/office/drawing/2014/main" id="{3C4BF115-60C3-4774-A0F9-CED9F70BB79C}"/>
                    </a:ext>
                  </a:extLst>
                </p:cNvPr>
                <p:cNvSpPr/>
                <p:nvPr/>
              </p:nvSpPr>
              <p:spPr>
                <a:xfrm>
                  <a:off x="9452519" y="2523426"/>
                  <a:ext cx="6405" cy="14066"/>
                </a:xfrm>
                <a:custGeom>
                  <a:avLst/>
                  <a:gdLst>
                    <a:gd name="connsiteX0" fmla="*/ 6405 w 6405"/>
                    <a:gd name="connsiteY0" fmla="*/ 0 h 14066"/>
                    <a:gd name="connsiteX1" fmla="*/ 6405 w 6405"/>
                    <a:gd name="connsiteY1" fmla="*/ 10299 h 14066"/>
                    <a:gd name="connsiteX2" fmla="*/ 0 w 6405"/>
                    <a:gd name="connsiteY2" fmla="*/ 14067 h 14066"/>
                    <a:gd name="connsiteX3" fmla="*/ 0 w 6405"/>
                    <a:gd name="connsiteY3" fmla="*/ 3642 h 14066"/>
                  </a:gdLst>
                  <a:ahLst/>
                  <a:cxnLst>
                    <a:cxn ang="0">
                      <a:pos x="connsiteX0" y="connsiteY0"/>
                    </a:cxn>
                    <a:cxn ang="0">
                      <a:pos x="connsiteX1" y="connsiteY1"/>
                    </a:cxn>
                    <a:cxn ang="0">
                      <a:pos x="connsiteX2" y="connsiteY2"/>
                    </a:cxn>
                    <a:cxn ang="0">
                      <a:pos x="connsiteX3" y="connsiteY3"/>
                    </a:cxn>
                  </a:cxnLst>
                  <a:rect l="l" t="t" r="r" b="b"/>
                  <a:pathLst>
                    <a:path w="6405" h="14066">
                      <a:moveTo>
                        <a:pt x="6405" y="0"/>
                      </a:moveTo>
                      <a:lnTo>
                        <a:pt x="6405" y="10299"/>
                      </a:lnTo>
                      <a:lnTo>
                        <a:pt x="0" y="14067"/>
                      </a:lnTo>
                      <a:lnTo>
                        <a:pt x="0" y="3642"/>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9" name="Freeform: Shape 4528">
                  <a:extLst>
                    <a:ext uri="{FF2B5EF4-FFF2-40B4-BE49-F238E27FC236}">
                      <a16:creationId xmlns:a16="http://schemas.microsoft.com/office/drawing/2014/main" id="{F363EB17-FF21-4B70-B154-40A418D25AF3}"/>
                    </a:ext>
                  </a:extLst>
                </p:cNvPr>
                <p:cNvSpPr/>
                <p:nvPr/>
              </p:nvSpPr>
              <p:spPr>
                <a:xfrm>
                  <a:off x="9443979" y="2520035"/>
                  <a:ext cx="8540" cy="17332"/>
                </a:xfrm>
                <a:custGeom>
                  <a:avLst/>
                  <a:gdLst>
                    <a:gd name="connsiteX0" fmla="*/ 2638 w 8540"/>
                    <a:gd name="connsiteY0" fmla="*/ 3642 h 17332"/>
                    <a:gd name="connsiteX1" fmla="*/ 8540 w 8540"/>
                    <a:gd name="connsiteY1" fmla="*/ 7033 h 17332"/>
                    <a:gd name="connsiteX2" fmla="*/ 8540 w 8540"/>
                    <a:gd name="connsiteY2" fmla="*/ 17332 h 17332"/>
                    <a:gd name="connsiteX3" fmla="*/ 2638 w 8540"/>
                    <a:gd name="connsiteY3" fmla="*/ 13941 h 17332"/>
                    <a:gd name="connsiteX4" fmla="*/ 0 w 8540"/>
                    <a:gd name="connsiteY4" fmla="*/ 10299 h 17332"/>
                    <a:gd name="connsiteX5" fmla="*/ 0 w 8540"/>
                    <a:gd name="connsiteY5" fmla="*/ 0 h 17332"/>
                    <a:gd name="connsiteX6" fmla="*/ 2638 w 8540"/>
                    <a:gd name="connsiteY6" fmla="*/ 3642 h 1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7332">
                      <a:moveTo>
                        <a:pt x="2638" y="3642"/>
                      </a:moveTo>
                      <a:lnTo>
                        <a:pt x="8540" y="7033"/>
                      </a:lnTo>
                      <a:lnTo>
                        <a:pt x="8540" y="17332"/>
                      </a:lnTo>
                      <a:lnTo>
                        <a:pt x="2638" y="13941"/>
                      </a:lnTo>
                      <a:cubicBezTo>
                        <a:pt x="879" y="12936"/>
                        <a:pt x="0" y="11680"/>
                        <a:pt x="0" y="10299"/>
                      </a:cubicBezTo>
                      <a:cubicBezTo>
                        <a:pt x="0" y="8917"/>
                        <a:pt x="0" y="0"/>
                        <a:pt x="0" y="0"/>
                      </a:cubicBezTo>
                      <a:cubicBezTo>
                        <a:pt x="0" y="1382"/>
                        <a:pt x="879" y="2763"/>
                        <a:pt x="2638" y="3642"/>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30" name="Graphic 4">
                <a:extLst>
                  <a:ext uri="{FF2B5EF4-FFF2-40B4-BE49-F238E27FC236}">
                    <a16:creationId xmlns:a16="http://schemas.microsoft.com/office/drawing/2014/main" id="{84FB7ED1-A2DF-40A1-A747-5F7CF3F14040}"/>
                  </a:ext>
                </a:extLst>
              </p:cNvPr>
              <p:cNvGrpSpPr/>
              <p:nvPr/>
            </p:nvGrpSpPr>
            <p:grpSpPr>
              <a:xfrm>
                <a:off x="9533779" y="2454038"/>
                <a:ext cx="109769" cy="99407"/>
                <a:chOff x="9533779" y="2454038"/>
                <a:chExt cx="109769" cy="99407"/>
              </a:xfrm>
              <a:solidFill>
                <a:schemeClr val="accent1"/>
              </a:solidFill>
            </p:grpSpPr>
            <p:sp>
              <p:nvSpPr>
                <p:cNvPr id="4531" name="Freeform: Shape 4530">
                  <a:extLst>
                    <a:ext uri="{FF2B5EF4-FFF2-40B4-BE49-F238E27FC236}">
                      <a16:creationId xmlns:a16="http://schemas.microsoft.com/office/drawing/2014/main" id="{CA26D351-EDB8-4A59-93C6-DD29C92B7E5A}"/>
                    </a:ext>
                  </a:extLst>
                </p:cNvPr>
                <p:cNvSpPr/>
                <p:nvPr/>
              </p:nvSpPr>
              <p:spPr>
                <a:xfrm>
                  <a:off x="9537421" y="2477132"/>
                  <a:ext cx="33408" cy="30468"/>
                </a:xfrm>
                <a:custGeom>
                  <a:avLst/>
                  <a:gdLst>
                    <a:gd name="connsiteX0" fmla="*/ 7787 w 33408"/>
                    <a:gd name="connsiteY0" fmla="*/ 8615 h 30468"/>
                    <a:gd name="connsiteX1" fmla="*/ 0 w 33408"/>
                    <a:gd name="connsiteY1" fmla="*/ 30469 h 30468"/>
                    <a:gd name="connsiteX2" fmla="*/ 30771 w 33408"/>
                    <a:gd name="connsiteY2" fmla="*/ 12760 h 30468"/>
                    <a:gd name="connsiteX3" fmla="*/ 33409 w 33408"/>
                    <a:gd name="connsiteY3" fmla="*/ 5350 h 30468"/>
                    <a:gd name="connsiteX4" fmla="*/ 29640 w 33408"/>
                    <a:gd name="connsiteY4" fmla="*/ 3214 h 30468"/>
                    <a:gd name="connsiteX5" fmla="*/ 7787 w 33408"/>
                    <a:gd name="connsiteY5" fmla="*/ 8615 h 30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08" h="30468">
                      <a:moveTo>
                        <a:pt x="7787" y="8615"/>
                      </a:moveTo>
                      <a:lnTo>
                        <a:pt x="0" y="30469"/>
                      </a:lnTo>
                      <a:lnTo>
                        <a:pt x="30771" y="12760"/>
                      </a:lnTo>
                      <a:lnTo>
                        <a:pt x="33409" y="5350"/>
                      </a:lnTo>
                      <a:lnTo>
                        <a:pt x="29640" y="3214"/>
                      </a:lnTo>
                      <a:cubicBezTo>
                        <a:pt x="19844" y="-2563"/>
                        <a:pt x="11052" y="-428"/>
                        <a:pt x="7787" y="8615"/>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32" name="Graphic 4">
                  <a:extLst>
                    <a:ext uri="{FF2B5EF4-FFF2-40B4-BE49-F238E27FC236}">
                      <a16:creationId xmlns:a16="http://schemas.microsoft.com/office/drawing/2014/main" id="{84FB7ED1-A2DF-40A1-A747-5F7CF3F14040}"/>
                    </a:ext>
                  </a:extLst>
                </p:cNvPr>
                <p:cNvGrpSpPr/>
                <p:nvPr/>
              </p:nvGrpSpPr>
              <p:grpSpPr>
                <a:xfrm>
                  <a:off x="9547972" y="2470542"/>
                  <a:ext cx="82669" cy="82904"/>
                  <a:chOff x="9547972" y="2470542"/>
                  <a:chExt cx="82669" cy="82904"/>
                </a:xfrm>
                <a:solidFill>
                  <a:schemeClr val="accent1"/>
                </a:solidFill>
              </p:grpSpPr>
              <p:grpSp>
                <p:nvGrpSpPr>
                  <p:cNvPr id="4533" name="Graphic 4">
                    <a:extLst>
                      <a:ext uri="{FF2B5EF4-FFF2-40B4-BE49-F238E27FC236}">
                        <a16:creationId xmlns:a16="http://schemas.microsoft.com/office/drawing/2014/main" id="{84FB7ED1-A2DF-40A1-A747-5F7CF3F14040}"/>
                      </a:ext>
                    </a:extLst>
                  </p:cNvPr>
                  <p:cNvGrpSpPr/>
                  <p:nvPr/>
                </p:nvGrpSpPr>
                <p:grpSpPr>
                  <a:xfrm>
                    <a:off x="9553973" y="2470542"/>
                    <a:ext cx="76667" cy="81737"/>
                    <a:chOff x="9553973" y="2470542"/>
                    <a:chExt cx="76667" cy="81737"/>
                  </a:xfrm>
                  <a:solidFill>
                    <a:schemeClr val="accent1"/>
                  </a:solidFill>
                </p:grpSpPr>
                <p:sp>
                  <p:nvSpPr>
                    <p:cNvPr id="4534" name="Freeform: Shape 4533">
                      <a:extLst>
                        <a:ext uri="{FF2B5EF4-FFF2-40B4-BE49-F238E27FC236}">
                          <a16:creationId xmlns:a16="http://schemas.microsoft.com/office/drawing/2014/main" id="{B075FE43-43B4-4415-95F6-7D9E49A6805A}"/>
                        </a:ext>
                      </a:extLst>
                    </p:cNvPr>
                    <p:cNvSpPr/>
                    <p:nvPr/>
                  </p:nvSpPr>
                  <p:spPr>
                    <a:xfrm>
                      <a:off x="9572588" y="2470542"/>
                      <a:ext cx="58053" cy="72225"/>
                    </a:xfrm>
                    <a:custGeom>
                      <a:avLst/>
                      <a:gdLst>
                        <a:gd name="connsiteX0" fmla="*/ 50867 w 58053"/>
                        <a:gd name="connsiteY0" fmla="*/ 21736 h 72225"/>
                        <a:gd name="connsiteX1" fmla="*/ 33534 w 58053"/>
                        <a:gd name="connsiteY1" fmla="*/ 3400 h 72225"/>
                        <a:gd name="connsiteX2" fmla="*/ 22105 w 58053"/>
                        <a:gd name="connsiteY2" fmla="*/ 9 h 72225"/>
                        <a:gd name="connsiteX3" fmla="*/ 18337 w 58053"/>
                        <a:gd name="connsiteY3" fmla="*/ 134 h 72225"/>
                        <a:gd name="connsiteX4" fmla="*/ 18337 w 58053"/>
                        <a:gd name="connsiteY4" fmla="*/ 134 h 72225"/>
                        <a:gd name="connsiteX5" fmla="*/ 18337 w 58053"/>
                        <a:gd name="connsiteY5" fmla="*/ 134 h 72225"/>
                        <a:gd name="connsiteX6" fmla="*/ 18337 w 58053"/>
                        <a:gd name="connsiteY6" fmla="*/ 134 h 72225"/>
                        <a:gd name="connsiteX7" fmla="*/ 12057 w 58053"/>
                        <a:gd name="connsiteY7" fmla="*/ 1767 h 72225"/>
                        <a:gd name="connsiteX8" fmla="*/ 0 w 58053"/>
                        <a:gd name="connsiteY8" fmla="*/ 8800 h 72225"/>
                        <a:gd name="connsiteX9" fmla="*/ 18337 w 58053"/>
                        <a:gd name="connsiteY9" fmla="*/ 10684 h 72225"/>
                        <a:gd name="connsiteX10" fmla="*/ 36674 w 58053"/>
                        <a:gd name="connsiteY10" fmla="*/ 30026 h 72225"/>
                        <a:gd name="connsiteX11" fmla="*/ 36549 w 58053"/>
                        <a:gd name="connsiteY11" fmla="*/ 72226 h 72225"/>
                        <a:gd name="connsiteX12" fmla="*/ 48605 w 58053"/>
                        <a:gd name="connsiteY12" fmla="*/ 65192 h 72225"/>
                        <a:gd name="connsiteX13" fmla="*/ 55388 w 58053"/>
                        <a:gd name="connsiteY13" fmla="*/ 57154 h 72225"/>
                        <a:gd name="connsiteX14" fmla="*/ 50867 w 58053"/>
                        <a:gd name="connsiteY14" fmla="*/ 21736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3" h="72225">
                          <a:moveTo>
                            <a:pt x="50867" y="21736"/>
                          </a:moveTo>
                          <a:cubicBezTo>
                            <a:pt x="46094" y="13447"/>
                            <a:pt x="39814" y="7042"/>
                            <a:pt x="33534" y="3400"/>
                          </a:cubicBezTo>
                          <a:cubicBezTo>
                            <a:pt x="29641" y="1139"/>
                            <a:pt x="25622" y="-117"/>
                            <a:pt x="22105" y="9"/>
                          </a:cubicBezTo>
                          <a:cubicBezTo>
                            <a:pt x="20849" y="9"/>
                            <a:pt x="19593" y="134"/>
                            <a:pt x="18337" y="134"/>
                          </a:cubicBezTo>
                          <a:cubicBezTo>
                            <a:pt x="18337" y="134"/>
                            <a:pt x="18337" y="134"/>
                            <a:pt x="18337" y="134"/>
                          </a:cubicBezTo>
                          <a:lnTo>
                            <a:pt x="18337" y="134"/>
                          </a:lnTo>
                          <a:lnTo>
                            <a:pt x="18337" y="134"/>
                          </a:lnTo>
                          <a:cubicBezTo>
                            <a:pt x="16077" y="134"/>
                            <a:pt x="13942" y="762"/>
                            <a:pt x="12057" y="1767"/>
                          </a:cubicBezTo>
                          <a:lnTo>
                            <a:pt x="0" y="8800"/>
                          </a:lnTo>
                          <a:cubicBezTo>
                            <a:pt x="5024" y="5912"/>
                            <a:pt x="11681" y="6791"/>
                            <a:pt x="18337" y="10684"/>
                          </a:cubicBezTo>
                          <a:cubicBezTo>
                            <a:pt x="24994" y="14578"/>
                            <a:pt x="31650" y="21234"/>
                            <a:pt x="36674" y="30026"/>
                          </a:cubicBezTo>
                          <a:cubicBezTo>
                            <a:pt x="46722" y="47483"/>
                            <a:pt x="46722" y="66448"/>
                            <a:pt x="36549" y="72226"/>
                          </a:cubicBezTo>
                          <a:lnTo>
                            <a:pt x="48605" y="65192"/>
                          </a:lnTo>
                          <a:cubicBezTo>
                            <a:pt x="52876" y="62680"/>
                            <a:pt x="55011" y="57782"/>
                            <a:pt x="55388" y="57154"/>
                          </a:cubicBezTo>
                          <a:cubicBezTo>
                            <a:pt x="60035" y="49367"/>
                            <a:pt x="58653" y="35175"/>
                            <a:pt x="50867" y="2173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35" name="Freeform: Shape 4534">
                      <a:extLst>
                        <a:ext uri="{FF2B5EF4-FFF2-40B4-BE49-F238E27FC236}">
                          <a16:creationId xmlns:a16="http://schemas.microsoft.com/office/drawing/2014/main" id="{CABFCCFF-DE83-42D9-A3BE-24563DB29EEF}"/>
                        </a:ext>
                      </a:extLst>
                    </p:cNvPr>
                    <p:cNvSpPr/>
                    <p:nvPr/>
                  </p:nvSpPr>
                  <p:spPr>
                    <a:xfrm>
                      <a:off x="9565295" y="2477761"/>
                      <a:ext cx="51533" cy="66243"/>
                    </a:xfrm>
                    <a:custGeom>
                      <a:avLst/>
                      <a:gdLst>
                        <a:gd name="connsiteX0" fmla="*/ 43967 w 51533"/>
                        <a:gd name="connsiteY0" fmla="*/ 22932 h 66243"/>
                        <a:gd name="connsiteX1" fmla="*/ 25630 w 51533"/>
                        <a:gd name="connsiteY1" fmla="*/ 3590 h 66243"/>
                        <a:gd name="connsiteX2" fmla="*/ 7293 w 51533"/>
                        <a:gd name="connsiteY2" fmla="*/ 1706 h 66243"/>
                        <a:gd name="connsiteX3" fmla="*/ 9 w 51533"/>
                        <a:gd name="connsiteY3" fmla="*/ 13512 h 66243"/>
                        <a:gd name="connsiteX4" fmla="*/ 32789 w 51533"/>
                        <a:gd name="connsiteY4" fmla="*/ 65885 h 66243"/>
                        <a:gd name="connsiteX5" fmla="*/ 43841 w 51533"/>
                        <a:gd name="connsiteY5" fmla="*/ 65006 h 66243"/>
                        <a:gd name="connsiteX6" fmla="*/ 43967 w 51533"/>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3" h="66243">
                          <a:moveTo>
                            <a:pt x="43967" y="22932"/>
                          </a:moveTo>
                          <a:cubicBezTo>
                            <a:pt x="38943" y="14140"/>
                            <a:pt x="32287" y="7483"/>
                            <a:pt x="25630" y="3590"/>
                          </a:cubicBezTo>
                          <a:cubicBezTo>
                            <a:pt x="18974" y="-303"/>
                            <a:pt x="12317" y="-1183"/>
                            <a:pt x="7293" y="1706"/>
                          </a:cubicBezTo>
                          <a:cubicBezTo>
                            <a:pt x="3902" y="3716"/>
                            <a:pt x="1013" y="8739"/>
                            <a:pt x="9" y="13512"/>
                          </a:cubicBezTo>
                          <a:cubicBezTo>
                            <a:pt x="-620" y="16526"/>
                            <a:pt x="32789" y="65885"/>
                            <a:pt x="32789" y="65885"/>
                          </a:cubicBezTo>
                          <a:cubicBezTo>
                            <a:pt x="36682" y="66639"/>
                            <a:pt x="41957" y="66136"/>
                            <a:pt x="43841" y="65006"/>
                          </a:cubicBezTo>
                          <a:cubicBezTo>
                            <a:pt x="54140" y="58977"/>
                            <a:pt x="54014" y="40389"/>
                            <a:pt x="43967" y="229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36" name="Freeform: Shape 4535">
                      <a:extLst>
                        <a:ext uri="{FF2B5EF4-FFF2-40B4-BE49-F238E27FC236}">
                          <a16:creationId xmlns:a16="http://schemas.microsoft.com/office/drawing/2014/main" id="{C2A8CC12-2031-4791-A786-C64A2465A1BA}"/>
                        </a:ext>
                      </a:extLst>
                    </p:cNvPr>
                    <p:cNvSpPr/>
                    <p:nvPr/>
                  </p:nvSpPr>
                  <p:spPr>
                    <a:xfrm>
                      <a:off x="9553973" y="2471928"/>
                      <a:ext cx="69594" cy="80351"/>
                    </a:xfrm>
                    <a:custGeom>
                      <a:avLst/>
                      <a:gdLst>
                        <a:gd name="connsiteX0" fmla="*/ 52200 w 69594"/>
                        <a:gd name="connsiteY0" fmla="*/ 30128 h 80351"/>
                        <a:gd name="connsiteX1" fmla="*/ 52193 w 69594"/>
                        <a:gd name="connsiteY1" fmla="*/ 70303 h 80351"/>
                        <a:gd name="connsiteX2" fmla="*/ 17396 w 69594"/>
                        <a:gd name="connsiteY2" fmla="*/ 50223 h 80351"/>
                        <a:gd name="connsiteX3" fmla="*/ 17403 w 69594"/>
                        <a:gd name="connsiteY3" fmla="*/ 10047 h 80351"/>
                        <a:gd name="connsiteX4" fmla="*/ 52200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200" y="30128"/>
                          </a:moveTo>
                          <a:cubicBezTo>
                            <a:pt x="61807" y="46767"/>
                            <a:pt x="61803" y="64754"/>
                            <a:pt x="52193" y="70303"/>
                          </a:cubicBezTo>
                          <a:cubicBezTo>
                            <a:pt x="42581" y="75852"/>
                            <a:pt x="27002" y="66862"/>
                            <a:pt x="17396" y="50223"/>
                          </a:cubicBezTo>
                          <a:cubicBezTo>
                            <a:pt x="7789" y="33584"/>
                            <a:pt x="7792" y="15596"/>
                            <a:pt x="17403" y="10047"/>
                          </a:cubicBezTo>
                          <a:cubicBezTo>
                            <a:pt x="27014" y="4498"/>
                            <a:pt x="42593" y="13489"/>
                            <a:pt x="52200"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37" name="Graphic 4">
                    <a:extLst>
                      <a:ext uri="{FF2B5EF4-FFF2-40B4-BE49-F238E27FC236}">
                        <a16:creationId xmlns:a16="http://schemas.microsoft.com/office/drawing/2014/main" id="{84FB7ED1-A2DF-40A1-A747-5F7CF3F14040}"/>
                      </a:ext>
                    </a:extLst>
                  </p:cNvPr>
                  <p:cNvGrpSpPr/>
                  <p:nvPr/>
                </p:nvGrpSpPr>
                <p:grpSpPr>
                  <a:xfrm>
                    <a:off x="9547972" y="2480087"/>
                    <a:ext cx="66216" cy="73359"/>
                    <a:chOff x="9547972" y="2480087"/>
                    <a:chExt cx="66216" cy="73359"/>
                  </a:xfrm>
                  <a:solidFill>
                    <a:schemeClr val="accent1"/>
                  </a:solidFill>
                </p:grpSpPr>
                <p:grpSp>
                  <p:nvGrpSpPr>
                    <p:cNvPr id="4538" name="Graphic 4">
                      <a:extLst>
                        <a:ext uri="{FF2B5EF4-FFF2-40B4-BE49-F238E27FC236}">
                          <a16:creationId xmlns:a16="http://schemas.microsoft.com/office/drawing/2014/main" id="{84FB7ED1-A2DF-40A1-A747-5F7CF3F14040}"/>
                        </a:ext>
                      </a:extLst>
                    </p:cNvPr>
                    <p:cNvGrpSpPr/>
                    <p:nvPr/>
                  </p:nvGrpSpPr>
                  <p:grpSpPr>
                    <a:xfrm>
                      <a:off x="9547972" y="2480087"/>
                      <a:ext cx="66216" cy="73359"/>
                      <a:chOff x="9547972" y="2480087"/>
                      <a:chExt cx="66216" cy="73359"/>
                    </a:xfrm>
                    <a:solidFill>
                      <a:schemeClr val="accent1"/>
                    </a:solidFill>
                  </p:grpSpPr>
                  <p:sp>
                    <p:nvSpPr>
                      <p:cNvPr id="4539" name="Freeform: Shape 4538">
                        <a:extLst>
                          <a:ext uri="{FF2B5EF4-FFF2-40B4-BE49-F238E27FC236}">
                            <a16:creationId xmlns:a16="http://schemas.microsoft.com/office/drawing/2014/main" id="{E7DF9EE3-7613-4168-A66A-B7FBF4FD9595}"/>
                          </a:ext>
                        </a:extLst>
                      </p:cNvPr>
                      <p:cNvSpPr/>
                      <p:nvPr/>
                    </p:nvSpPr>
                    <p:spPr>
                      <a:xfrm>
                        <a:off x="9556135" y="2480087"/>
                        <a:ext cx="58053" cy="72225"/>
                      </a:xfrm>
                      <a:custGeom>
                        <a:avLst/>
                        <a:gdLst>
                          <a:gd name="connsiteX0" fmla="*/ 50867 w 58053"/>
                          <a:gd name="connsiteY0" fmla="*/ 21737 h 72225"/>
                          <a:gd name="connsiteX1" fmla="*/ 33534 w 58053"/>
                          <a:gd name="connsiteY1" fmla="*/ 3400 h 72225"/>
                          <a:gd name="connsiteX2" fmla="*/ 22105 w 58053"/>
                          <a:gd name="connsiteY2" fmla="*/ 9 h 72225"/>
                          <a:gd name="connsiteX3" fmla="*/ 18337 w 58053"/>
                          <a:gd name="connsiteY3" fmla="*/ 134 h 72225"/>
                          <a:gd name="connsiteX4" fmla="*/ 18337 w 58053"/>
                          <a:gd name="connsiteY4" fmla="*/ 134 h 72225"/>
                          <a:gd name="connsiteX5" fmla="*/ 18337 w 58053"/>
                          <a:gd name="connsiteY5" fmla="*/ 134 h 72225"/>
                          <a:gd name="connsiteX6" fmla="*/ 18337 w 58053"/>
                          <a:gd name="connsiteY6" fmla="*/ 134 h 72225"/>
                          <a:gd name="connsiteX7" fmla="*/ 12057 w 58053"/>
                          <a:gd name="connsiteY7" fmla="*/ 1767 h 72225"/>
                          <a:gd name="connsiteX8" fmla="*/ 0 w 58053"/>
                          <a:gd name="connsiteY8" fmla="*/ 8800 h 72225"/>
                          <a:gd name="connsiteX9" fmla="*/ 18337 w 58053"/>
                          <a:gd name="connsiteY9" fmla="*/ 10684 h 72225"/>
                          <a:gd name="connsiteX10" fmla="*/ 36674 w 58053"/>
                          <a:gd name="connsiteY10" fmla="*/ 30026 h 72225"/>
                          <a:gd name="connsiteX11" fmla="*/ 36549 w 58053"/>
                          <a:gd name="connsiteY11" fmla="*/ 72226 h 72225"/>
                          <a:gd name="connsiteX12" fmla="*/ 48605 w 58053"/>
                          <a:gd name="connsiteY12" fmla="*/ 65192 h 72225"/>
                          <a:gd name="connsiteX13" fmla="*/ 55388 w 58053"/>
                          <a:gd name="connsiteY13" fmla="*/ 57154 h 72225"/>
                          <a:gd name="connsiteX14" fmla="*/ 50867 w 58053"/>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3" h="72225">
                            <a:moveTo>
                              <a:pt x="50867" y="21737"/>
                            </a:moveTo>
                            <a:cubicBezTo>
                              <a:pt x="46094" y="13447"/>
                              <a:pt x="39814" y="7042"/>
                              <a:pt x="33534" y="3400"/>
                            </a:cubicBezTo>
                            <a:cubicBezTo>
                              <a:pt x="29641" y="1139"/>
                              <a:pt x="25622" y="-117"/>
                              <a:pt x="22105" y="9"/>
                            </a:cubicBezTo>
                            <a:cubicBezTo>
                              <a:pt x="20849" y="9"/>
                              <a:pt x="19593" y="134"/>
                              <a:pt x="18337" y="134"/>
                            </a:cubicBezTo>
                            <a:cubicBezTo>
                              <a:pt x="18337" y="134"/>
                              <a:pt x="18337" y="134"/>
                              <a:pt x="18337" y="134"/>
                            </a:cubicBezTo>
                            <a:lnTo>
                              <a:pt x="18337" y="134"/>
                            </a:lnTo>
                            <a:lnTo>
                              <a:pt x="18337" y="134"/>
                            </a:lnTo>
                            <a:cubicBezTo>
                              <a:pt x="16077" y="134"/>
                              <a:pt x="13942" y="762"/>
                              <a:pt x="12057" y="1767"/>
                            </a:cubicBezTo>
                            <a:lnTo>
                              <a:pt x="0" y="8800"/>
                            </a:lnTo>
                            <a:cubicBezTo>
                              <a:pt x="5024" y="5912"/>
                              <a:pt x="11680" y="6791"/>
                              <a:pt x="18337" y="10684"/>
                            </a:cubicBezTo>
                            <a:cubicBezTo>
                              <a:pt x="24994" y="14578"/>
                              <a:pt x="31650" y="21234"/>
                              <a:pt x="36674" y="30026"/>
                            </a:cubicBezTo>
                            <a:cubicBezTo>
                              <a:pt x="46722" y="47484"/>
                              <a:pt x="46722" y="66448"/>
                              <a:pt x="36549" y="72226"/>
                            </a:cubicBezTo>
                            <a:lnTo>
                              <a:pt x="48605" y="65192"/>
                            </a:lnTo>
                            <a:cubicBezTo>
                              <a:pt x="52876" y="62680"/>
                              <a:pt x="55011" y="57782"/>
                              <a:pt x="55388" y="57154"/>
                            </a:cubicBezTo>
                            <a:cubicBezTo>
                              <a:pt x="60035" y="49367"/>
                              <a:pt x="58653" y="35175"/>
                              <a:pt x="50867"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0" name="Freeform: Shape 4539">
                        <a:extLst>
                          <a:ext uri="{FF2B5EF4-FFF2-40B4-BE49-F238E27FC236}">
                            <a16:creationId xmlns:a16="http://schemas.microsoft.com/office/drawing/2014/main" id="{4B6CA778-66CD-4F63-A51C-76E3448D2D13}"/>
                          </a:ext>
                        </a:extLst>
                      </p:cNvPr>
                      <p:cNvSpPr/>
                      <p:nvPr/>
                    </p:nvSpPr>
                    <p:spPr>
                      <a:xfrm>
                        <a:off x="9548716" y="2487181"/>
                        <a:ext cx="51628" cy="66243"/>
                      </a:xfrm>
                      <a:custGeom>
                        <a:avLst/>
                        <a:gdLst>
                          <a:gd name="connsiteX0" fmla="*/ 43967 w 51628"/>
                          <a:gd name="connsiteY0" fmla="*/ 22932 h 66243"/>
                          <a:gd name="connsiteX1" fmla="*/ 25630 w 51628"/>
                          <a:gd name="connsiteY1" fmla="*/ 3590 h 66243"/>
                          <a:gd name="connsiteX2" fmla="*/ 7293 w 51628"/>
                          <a:gd name="connsiteY2" fmla="*/ 1706 h 66243"/>
                          <a:gd name="connsiteX3" fmla="*/ 9 w 51628"/>
                          <a:gd name="connsiteY3" fmla="*/ 13512 h 66243"/>
                          <a:gd name="connsiteX4" fmla="*/ 32789 w 51628"/>
                          <a:gd name="connsiteY4" fmla="*/ 65885 h 66243"/>
                          <a:gd name="connsiteX5" fmla="*/ 43841 w 51628"/>
                          <a:gd name="connsiteY5" fmla="*/ 65006 h 66243"/>
                          <a:gd name="connsiteX6" fmla="*/ 43967 w 51628"/>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28" h="66243">
                            <a:moveTo>
                              <a:pt x="43967" y="22932"/>
                            </a:moveTo>
                            <a:cubicBezTo>
                              <a:pt x="38943" y="14140"/>
                              <a:pt x="32287" y="7483"/>
                              <a:pt x="25630" y="3590"/>
                            </a:cubicBezTo>
                            <a:cubicBezTo>
                              <a:pt x="18974" y="-303"/>
                              <a:pt x="12317" y="-1183"/>
                              <a:pt x="7293" y="1706"/>
                            </a:cubicBezTo>
                            <a:cubicBezTo>
                              <a:pt x="3902" y="3716"/>
                              <a:pt x="1014" y="8739"/>
                              <a:pt x="9" y="13512"/>
                            </a:cubicBezTo>
                            <a:cubicBezTo>
                              <a:pt x="-619" y="16526"/>
                              <a:pt x="32789" y="65885"/>
                              <a:pt x="32789" y="65885"/>
                            </a:cubicBezTo>
                            <a:cubicBezTo>
                              <a:pt x="36682" y="66639"/>
                              <a:pt x="41957" y="66136"/>
                              <a:pt x="43841" y="65006"/>
                            </a:cubicBezTo>
                            <a:cubicBezTo>
                              <a:pt x="54266" y="59103"/>
                              <a:pt x="54140" y="40515"/>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1" name="Freeform: Shape 4540">
                        <a:extLst>
                          <a:ext uri="{FF2B5EF4-FFF2-40B4-BE49-F238E27FC236}">
                            <a16:creationId xmlns:a16="http://schemas.microsoft.com/office/drawing/2014/main" id="{38C9F755-1144-4CAE-B060-6E04BAADB9B0}"/>
                          </a:ext>
                        </a:extLst>
                      </p:cNvPr>
                      <p:cNvSpPr/>
                      <p:nvPr/>
                    </p:nvSpPr>
                    <p:spPr>
                      <a:xfrm>
                        <a:off x="9547972" y="2489889"/>
                        <a:ext cx="49107" cy="63557"/>
                      </a:xfrm>
                      <a:custGeom>
                        <a:avLst/>
                        <a:gdLst>
                          <a:gd name="connsiteX0" fmla="*/ 41948 w 49107"/>
                          <a:gd name="connsiteY0" fmla="*/ 61921 h 63557"/>
                          <a:gd name="connsiteX1" fmla="*/ 7159 w 49107"/>
                          <a:gd name="connsiteY1" fmla="*/ 41826 h 63557"/>
                          <a:gd name="connsiteX2" fmla="*/ 7159 w 49107"/>
                          <a:gd name="connsiteY2" fmla="*/ 1636 h 63557"/>
                          <a:gd name="connsiteX3" fmla="*/ 41948 w 49107"/>
                          <a:gd name="connsiteY3" fmla="*/ 21731 h 63557"/>
                          <a:gd name="connsiteX4" fmla="*/ 41948 w 49107"/>
                          <a:gd name="connsiteY4" fmla="*/ 61921 h 63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07" h="63557">
                            <a:moveTo>
                              <a:pt x="41948" y="61921"/>
                            </a:moveTo>
                            <a:cubicBezTo>
                              <a:pt x="32403" y="67447"/>
                              <a:pt x="16829" y="58530"/>
                              <a:pt x="7159" y="41826"/>
                            </a:cubicBezTo>
                            <a:cubicBezTo>
                              <a:pt x="-2386" y="25248"/>
                              <a:pt x="-2386" y="7162"/>
                              <a:pt x="7159" y="1636"/>
                            </a:cubicBezTo>
                            <a:cubicBezTo>
                              <a:pt x="16704" y="-3890"/>
                              <a:pt x="32278" y="5027"/>
                              <a:pt x="41948" y="21731"/>
                            </a:cubicBezTo>
                            <a:cubicBezTo>
                              <a:pt x="51494" y="38435"/>
                              <a:pt x="51494" y="56395"/>
                              <a:pt x="41948" y="61921"/>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42" name="Graphic 4">
                      <a:extLst>
                        <a:ext uri="{FF2B5EF4-FFF2-40B4-BE49-F238E27FC236}">
                          <a16:creationId xmlns:a16="http://schemas.microsoft.com/office/drawing/2014/main" id="{84FB7ED1-A2DF-40A1-A747-5F7CF3F14040}"/>
                        </a:ext>
                      </a:extLst>
                    </p:cNvPr>
                    <p:cNvGrpSpPr/>
                    <p:nvPr/>
                  </p:nvGrpSpPr>
                  <p:grpSpPr>
                    <a:xfrm>
                      <a:off x="9550469" y="2496571"/>
                      <a:ext cx="43480" cy="50192"/>
                      <a:chOff x="9550469" y="2496571"/>
                      <a:chExt cx="43480" cy="50192"/>
                    </a:xfrm>
                    <a:solidFill>
                      <a:schemeClr val="accent1"/>
                    </a:solidFill>
                  </p:grpSpPr>
                  <p:sp>
                    <p:nvSpPr>
                      <p:cNvPr id="4543" name="Freeform: Shape 4542">
                        <a:extLst>
                          <a:ext uri="{FF2B5EF4-FFF2-40B4-BE49-F238E27FC236}">
                            <a16:creationId xmlns:a16="http://schemas.microsoft.com/office/drawing/2014/main" id="{8E9E8458-DC18-4505-99B2-563873CBABDB}"/>
                          </a:ext>
                        </a:extLst>
                      </p:cNvPr>
                      <p:cNvSpPr/>
                      <p:nvPr/>
                    </p:nvSpPr>
                    <p:spPr>
                      <a:xfrm>
                        <a:off x="9550469" y="2496571"/>
                        <a:ext cx="43480" cy="50192"/>
                      </a:xfrm>
                      <a:custGeom>
                        <a:avLst/>
                        <a:gdLst>
                          <a:gd name="connsiteX0" fmla="*/ 32617 w 43480"/>
                          <a:gd name="connsiteY0" fmla="*/ 18816 h 50192"/>
                          <a:gd name="connsiteX1" fmla="*/ 32605 w 43480"/>
                          <a:gd name="connsiteY1" fmla="*/ 43912 h 50192"/>
                          <a:gd name="connsiteX2" fmla="*/ 10864 w 43480"/>
                          <a:gd name="connsiteY2" fmla="*/ 31376 h 50192"/>
                          <a:gd name="connsiteX3" fmla="*/ 10877 w 43480"/>
                          <a:gd name="connsiteY3" fmla="*/ 6280 h 50192"/>
                          <a:gd name="connsiteX4" fmla="*/ 32617 w 43480"/>
                          <a:gd name="connsiteY4" fmla="*/ 18816 h 50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80" h="50192">
                            <a:moveTo>
                              <a:pt x="32617" y="18816"/>
                            </a:moveTo>
                            <a:cubicBezTo>
                              <a:pt x="38617" y="29208"/>
                              <a:pt x="38612" y="40444"/>
                              <a:pt x="32605" y="43912"/>
                            </a:cubicBezTo>
                            <a:cubicBezTo>
                              <a:pt x="26598" y="47381"/>
                              <a:pt x="16864" y="41768"/>
                              <a:pt x="10864" y="31376"/>
                            </a:cubicBezTo>
                            <a:cubicBezTo>
                              <a:pt x="4864" y="20984"/>
                              <a:pt x="4870" y="9748"/>
                              <a:pt x="10877" y="6280"/>
                            </a:cubicBezTo>
                            <a:cubicBezTo>
                              <a:pt x="16884" y="2811"/>
                              <a:pt x="26617" y="8424"/>
                              <a:pt x="32617" y="1881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4" name="Freeform: Shape 4543">
                        <a:extLst>
                          <a:ext uri="{FF2B5EF4-FFF2-40B4-BE49-F238E27FC236}">
                            <a16:creationId xmlns:a16="http://schemas.microsoft.com/office/drawing/2014/main" id="{B433E64F-4F91-41FB-8AD0-6CF07F8A308D}"/>
                          </a:ext>
                        </a:extLst>
                      </p:cNvPr>
                      <p:cNvSpPr/>
                      <p:nvPr/>
                    </p:nvSpPr>
                    <p:spPr>
                      <a:xfrm>
                        <a:off x="9555884" y="2500212"/>
                        <a:ext cx="33188" cy="42911"/>
                      </a:xfrm>
                      <a:custGeom>
                        <a:avLst/>
                        <a:gdLst>
                          <a:gd name="connsiteX0" fmla="*/ 28385 w 33188"/>
                          <a:gd name="connsiteY0" fmla="*/ 14674 h 42911"/>
                          <a:gd name="connsiteX1" fmla="*/ 4898 w 33188"/>
                          <a:gd name="connsiteY1" fmla="*/ 1109 h 42911"/>
                          <a:gd name="connsiteX2" fmla="*/ 4898 w 33188"/>
                          <a:gd name="connsiteY2" fmla="*/ 28238 h 42911"/>
                          <a:gd name="connsiteX3" fmla="*/ 28385 w 33188"/>
                          <a:gd name="connsiteY3" fmla="*/ 41802 h 42911"/>
                          <a:gd name="connsiteX4" fmla="*/ 28385 w 33188"/>
                          <a:gd name="connsiteY4" fmla="*/ 14674 h 42911"/>
                          <a:gd name="connsiteX5" fmla="*/ 29515 w 33188"/>
                          <a:gd name="connsiteY5" fmla="*/ 19195 h 42911"/>
                          <a:gd name="connsiteX6" fmla="*/ 22356 w 33188"/>
                          <a:gd name="connsiteY6" fmla="*/ 17688 h 42911"/>
                          <a:gd name="connsiteX7" fmla="*/ 20723 w 33188"/>
                          <a:gd name="connsiteY7" fmla="*/ 15427 h 42911"/>
                          <a:gd name="connsiteX8" fmla="*/ 20723 w 33188"/>
                          <a:gd name="connsiteY8" fmla="*/ 6635 h 42911"/>
                          <a:gd name="connsiteX9" fmla="*/ 27505 w 33188"/>
                          <a:gd name="connsiteY9" fmla="*/ 15176 h 42911"/>
                          <a:gd name="connsiteX10" fmla="*/ 29515 w 33188"/>
                          <a:gd name="connsiteY10" fmla="*/ 19195 h 42911"/>
                          <a:gd name="connsiteX11" fmla="*/ 5777 w 33188"/>
                          <a:gd name="connsiteY11" fmla="*/ 2616 h 42911"/>
                          <a:gd name="connsiteX12" fmla="*/ 12560 w 33188"/>
                          <a:gd name="connsiteY12" fmla="*/ 1988 h 42911"/>
                          <a:gd name="connsiteX13" fmla="*/ 12560 w 33188"/>
                          <a:gd name="connsiteY13" fmla="*/ 10780 h 42911"/>
                          <a:gd name="connsiteX14" fmla="*/ 10927 w 33188"/>
                          <a:gd name="connsiteY14" fmla="*/ 11157 h 42911"/>
                          <a:gd name="connsiteX15" fmla="*/ 3768 w 33188"/>
                          <a:gd name="connsiteY15" fmla="*/ 4249 h 42911"/>
                          <a:gd name="connsiteX16" fmla="*/ 5777 w 33188"/>
                          <a:gd name="connsiteY16" fmla="*/ 2616 h 42911"/>
                          <a:gd name="connsiteX17" fmla="*/ 1256 w 33188"/>
                          <a:gd name="connsiteY17" fmla="*/ 11785 h 42911"/>
                          <a:gd name="connsiteX18" fmla="*/ 8415 w 33188"/>
                          <a:gd name="connsiteY18" fmla="*/ 18693 h 42911"/>
                          <a:gd name="connsiteX19" fmla="*/ 9043 w 33188"/>
                          <a:gd name="connsiteY19" fmla="*/ 21204 h 42911"/>
                          <a:gd name="connsiteX20" fmla="*/ 4647 w 33188"/>
                          <a:gd name="connsiteY20" fmla="*/ 25726 h 42911"/>
                          <a:gd name="connsiteX21" fmla="*/ 1256 w 33188"/>
                          <a:gd name="connsiteY21" fmla="*/ 11785 h 42911"/>
                          <a:gd name="connsiteX22" fmla="*/ 11178 w 33188"/>
                          <a:gd name="connsiteY22" fmla="*/ 35020 h 42911"/>
                          <a:gd name="connsiteX23" fmla="*/ 15574 w 33188"/>
                          <a:gd name="connsiteY23" fmla="*/ 30498 h 42911"/>
                          <a:gd name="connsiteX24" fmla="*/ 17583 w 33188"/>
                          <a:gd name="connsiteY24" fmla="*/ 31629 h 42911"/>
                          <a:gd name="connsiteX25" fmla="*/ 21979 w 33188"/>
                          <a:gd name="connsiteY25" fmla="*/ 41300 h 42911"/>
                          <a:gd name="connsiteX26" fmla="*/ 11178 w 33188"/>
                          <a:gd name="connsiteY26" fmla="*/ 35020 h 42911"/>
                          <a:gd name="connsiteX27" fmla="*/ 28635 w 33188"/>
                          <a:gd name="connsiteY27" fmla="*/ 39541 h 42911"/>
                          <a:gd name="connsiteX28" fmla="*/ 24240 w 33188"/>
                          <a:gd name="connsiteY28" fmla="*/ 29870 h 42911"/>
                          <a:gd name="connsiteX29" fmla="*/ 24868 w 33188"/>
                          <a:gd name="connsiteY29" fmla="*/ 28112 h 42911"/>
                          <a:gd name="connsiteX30" fmla="*/ 32027 w 33188"/>
                          <a:gd name="connsiteY30" fmla="*/ 29619 h 42911"/>
                          <a:gd name="connsiteX31" fmla="*/ 28635 w 33188"/>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188" h="42911">
                            <a:moveTo>
                              <a:pt x="28385" y="14674"/>
                            </a:moveTo>
                            <a:cubicBezTo>
                              <a:pt x="21854" y="3496"/>
                              <a:pt x="11429" y="-2659"/>
                              <a:pt x="4898" y="1109"/>
                            </a:cubicBezTo>
                            <a:cubicBezTo>
                              <a:pt x="-1633" y="4877"/>
                              <a:pt x="-1633" y="16934"/>
                              <a:pt x="4898" y="28238"/>
                            </a:cubicBezTo>
                            <a:cubicBezTo>
                              <a:pt x="11429" y="39416"/>
                              <a:pt x="21854" y="45570"/>
                              <a:pt x="28385" y="41802"/>
                            </a:cubicBezTo>
                            <a:cubicBezTo>
                              <a:pt x="34789" y="38034"/>
                              <a:pt x="34789" y="25977"/>
                              <a:pt x="28385" y="14674"/>
                            </a:cubicBezTo>
                            <a:close/>
                            <a:moveTo>
                              <a:pt x="29515" y="19195"/>
                            </a:moveTo>
                            <a:lnTo>
                              <a:pt x="22356" y="17688"/>
                            </a:lnTo>
                            <a:cubicBezTo>
                              <a:pt x="21854" y="16934"/>
                              <a:pt x="21351" y="16181"/>
                              <a:pt x="20723" y="15427"/>
                            </a:cubicBezTo>
                            <a:lnTo>
                              <a:pt x="20723" y="6635"/>
                            </a:lnTo>
                            <a:cubicBezTo>
                              <a:pt x="23235" y="8896"/>
                              <a:pt x="25621" y="11785"/>
                              <a:pt x="27505" y="15176"/>
                            </a:cubicBezTo>
                            <a:cubicBezTo>
                              <a:pt x="28259" y="16557"/>
                              <a:pt x="28887" y="17813"/>
                              <a:pt x="29515" y="19195"/>
                            </a:cubicBezTo>
                            <a:close/>
                            <a:moveTo>
                              <a:pt x="5777" y="2616"/>
                            </a:moveTo>
                            <a:cubicBezTo>
                              <a:pt x="7787" y="1486"/>
                              <a:pt x="10048" y="1361"/>
                              <a:pt x="12560" y="1988"/>
                            </a:cubicBezTo>
                            <a:lnTo>
                              <a:pt x="12560" y="10780"/>
                            </a:lnTo>
                            <a:cubicBezTo>
                              <a:pt x="12057" y="10780"/>
                              <a:pt x="11429" y="10906"/>
                              <a:pt x="10927" y="11157"/>
                            </a:cubicBezTo>
                            <a:lnTo>
                              <a:pt x="3768" y="4249"/>
                            </a:lnTo>
                            <a:cubicBezTo>
                              <a:pt x="4270" y="3621"/>
                              <a:pt x="5024" y="3119"/>
                              <a:pt x="5777" y="2616"/>
                            </a:cubicBezTo>
                            <a:close/>
                            <a:moveTo>
                              <a:pt x="1256" y="11785"/>
                            </a:moveTo>
                            <a:lnTo>
                              <a:pt x="8415" y="18693"/>
                            </a:lnTo>
                            <a:cubicBezTo>
                              <a:pt x="8541" y="19446"/>
                              <a:pt x="8791" y="20325"/>
                              <a:pt x="9043" y="21204"/>
                            </a:cubicBezTo>
                            <a:lnTo>
                              <a:pt x="4647" y="25726"/>
                            </a:lnTo>
                            <a:cubicBezTo>
                              <a:pt x="2135" y="20828"/>
                              <a:pt x="1130" y="15929"/>
                              <a:pt x="1256" y="11785"/>
                            </a:cubicBezTo>
                            <a:close/>
                            <a:moveTo>
                              <a:pt x="11178" y="35020"/>
                            </a:moveTo>
                            <a:lnTo>
                              <a:pt x="15574" y="30498"/>
                            </a:lnTo>
                            <a:cubicBezTo>
                              <a:pt x="16202" y="31001"/>
                              <a:pt x="16829" y="31378"/>
                              <a:pt x="17583" y="31629"/>
                            </a:cubicBezTo>
                            <a:lnTo>
                              <a:pt x="21979" y="41300"/>
                            </a:lnTo>
                            <a:cubicBezTo>
                              <a:pt x="18588" y="40797"/>
                              <a:pt x="14695" y="38537"/>
                              <a:pt x="11178" y="35020"/>
                            </a:cubicBezTo>
                            <a:close/>
                            <a:moveTo>
                              <a:pt x="28635" y="39541"/>
                            </a:moveTo>
                            <a:lnTo>
                              <a:pt x="24240" y="29870"/>
                            </a:lnTo>
                            <a:cubicBezTo>
                              <a:pt x="24491" y="29368"/>
                              <a:pt x="24742" y="28740"/>
                              <a:pt x="24868" y="28112"/>
                            </a:cubicBezTo>
                            <a:lnTo>
                              <a:pt x="32027" y="29619"/>
                            </a:lnTo>
                            <a:cubicBezTo>
                              <a:pt x="32152" y="33890"/>
                              <a:pt x="31022" y="37406"/>
                              <a:pt x="28635"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45" name="Graphic 4">
                        <a:extLst>
                          <a:ext uri="{FF2B5EF4-FFF2-40B4-BE49-F238E27FC236}">
                            <a16:creationId xmlns:a16="http://schemas.microsoft.com/office/drawing/2014/main" id="{84FB7ED1-A2DF-40A1-A747-5F7CF3F14040}"/>
                          </a:ext>
                        </a:extLst>
                      </p:cNvPr>
                      <p:cNvGrpSpPr/>
                      <p:nvPr/>
                    </p:nvGrpSpPr>
                    <p:grpSpPr>
                      <a:xfrm>
                        <a:off x="9557130" y="2502326"/>
                        <a:ext cx="29147" cy="39185"/>
                        <a:chOff x="9557130" y="2502326"/>
                        <a:chExt cx="29147" cy="39185"/>
                      </a:xfrm>
                      <a:solidFill>
                        <a:srgbClr val="ADAA99"/>
                      </a:solidFill>
                    </p:grpSpPr>
                    <p:sp>
                      <p:nvSpPr>
                        <p:cNvPr id="4546" name="Freeform: Shape 4545">
                          <a:extLst>
                            <a:ext uri="{FF2B5EF4-FFF2-40B4-BE49-F238E27FC236}">
                              <a16:creationId xmlns:a16="http://schemas.microsoft.com/office/drawing/2014/main" id="{6A5B2333-7D38-4E09-B0DC-C206625AD2D1}"/>
                            </a:ext>
                          </a:extLst>
                        </p:cNvPr>
                        <p:cNvSpPr/>
                        <p:nvPr/>
                      </p:nvSpPr>
                      <p:spPr>
                        <a:xfrm>
                          <a:off x="9576607" y="2506847"/>
                          <a:ext cx="8791" cy="12559"/>
                        </a:xfrm>
                        <a:custGeom>
                          <a:avLst/>
                          <a:gdLst>
                            <a:gd name="connsiteX0" fmla="*/ 2136 w 8791"/>
                            <a:gd name="connsiteY0" fmla="*/ 7536 h 12559"/>
                            <a:gd name="connsiteX1" fmla="*/ 2136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768 w 8791"/>
                            <a:gd name="connsiteY7" fmla="*/ 9796 h 12559"/>
                            <a:gd name="connsiteX8" fmla="*/ 2136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6" y="7536"/>
                              </a:moveTo>
                              <a:lnTo>
                                <a:pt x="2136" y="2135"/>
                              </a:lnTo>
                              <a:cubicBezTo>
                                <a:pt x="1382" y="1382"/>
                                <a:pt x="754" y="628"/>
                                <a:pt x="0" y="0"/>
                              </a:cubicBezTo>
                              <a:lnTo>
                                <a:pt x="0" y="8792"/>
                              </a:lnTo>
                              <a:cubicBezTo>
                                <a:pt x="503" y="9420"/>
                                <a:pt x="1131" y="10173"/>
                                <a:pt x="1633" y="11052"/>
                              </a:cubicBezTo>
                              <a:lnTo>
                                <a:pt x="8792" y="12559"/>
                              </a:lnTo>
                              <a:cubicBezTo>
                                <a:pt x="8540" y="11931"/>
                                <a:pt x="8290" y="11304"/>
                                <a:pt x="7913" y="10676"/>
                              </a:cubicBezTo>
                              <a:lnTo>
                                <a:pt x="3768" y="9796"/>
                              </a:lnTo>
                              <a:cubicBezTo>
                                <a:pt x="3266" y="9043"/>
                                <a:pt x="2638" y="8289"/>
                                <a:pt x="2136"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7" name="Freeform: Shape 4546">
                          <a:extLst>
                            <a:ext uri="{FF2B5EF4-FFF2-40B4-BE49-F238E27FC236}">
                              <a16:creationId xmlns:a16="http://schemas.microsoft.com/office/drawing/2014/main" id="{80EAE4B6-0DAE-4E28-B08B-DB64985C9C9D}"/>
                            </a:ext>
                          </a:extLst>
                        </p:cNvPr>
                        <p:cNvSpPr/>
                        <p:nvPr/>
                      </p:nvSpPr>
                      <p:spPr>
                        <a:xfrm>
                          <a:off x="9580124" y="2528198"/>
                          <a:ext cx="6154" cy="11429"/>
                        </a:xfrm>
                        <a:custGeom>
                          <a:avLst/>
                          <a:gdLst>
                            <a:gd name="connsiteX0" fmla="*/ 2261 w 6154"/>
                            <a:gd name="connsiteY0" fmla="*/ 377 h 11429"/>
                            <a:gd name="connsiteX1" fmla="*/ 628 w 6154"/>
                            <a:gd name="connsiteY1" fmla="*/ 0 h 11429"/>
                            <a:gd name="connsiteX2" fmla="*/ 0 w 6154"/>
                            <a:gd name="connsiteY2" fmla="*/ 1758 h 11429"/>
                            <a:gd name="connsiteX3" fmla="*/ 4396 w 6154"/>
                            <a:gd name="connsiteY3" fmla="*/ 11429 h 11429"/>
                            <a:gd name="connsiteX4" fmla="*/ 6154 w 6154"/>
                            <a:gd name="connsiteY4" fmla="*/ 9294 h 11429"/>
                            <a:gd name="connsiteX5" fmla="*/ 2135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8" y="0"/>
                              </a:lnTo>
                              <a:cubicBezTo>
                                <a:pt x="502" y="628"/>
                                <a:pt x="251" y="1256"/>
                                <a:pt x="0" y="1758"/>
                              </a:cubicBezTo>
                              <a:lnTo>
                                <a:pt x="4396" y="11429"/>
                              </a:lnTo>
                              <a:cubicBezTo>
                                <a:pt x="5023" y="10801"/>
                                <a:pt x="5652" y="10173"/>
                                <a:pt x="6154" y="9294"/>
                              </a:cubicBezTo>
                              <a:lnTo>
                                <a:pt x="2135" y="502"/>
                              </a:lnTo>
                              <a:cubicBezTo>
                                <a:pt x="2135" y="628"/>
                                <a:pt x="2135" y="502"/>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8" name="Freeform: Shape 4547">
                          <a:extLst>
                            <a:ext uri="{FF2B5EF4-FFF2-40B4-BE49-F238E27FC236}">
                              <a16:creationId xmlns:a16="http://schemas.microsoft.com/office/drawing/2014/main" id="{A7B16B3C-06FB-44CF-A445-C7D894EA823D}"/>
                            </a:ext>
                          </a:extLst>
                        </p:cNvPr>
                        <p:cNvSpPr/>
                        <p:nvPr/>
                      </p:nvSpPr>
                      <p:spPr>
                        <a:xfrm>
                          <a:off x="9557130" y="2511997"/>
                          <a:ext cx="5284" cy="13941"/>
                        </a:xfrm>
                        <a:custGeom>
                          <a:avLst/>
                          <a:gdLst>
                            <a:gd name="connsiteX0" fmla="*/ 9 w 5284"/>
                            <a:gd name="connsiteY0" fmla="*/ 0 h 13941"/>
                            <a:gd name="connsiteX1" fmla="*/ 3401 w 5284"/>
                            <a:gd name="connsiteY1" fmla="*/ 13941 h 13941"/>
                            <a:gd name="connsiteX2" fmla="*/ 5284 w 5284"/>
                            <a:gd name="connsiteY2" fmla="*/ 12057 h 13941"/>
                            <a:gd name="connsiteX3" fmla="*/ 2396 w 5284"/>
                            <a:gd name="connsiteY3" fmla="*/ 2261 h 13941"/>
                            <a:gd name="connsiteX4" fmla="*/ 9 w 5284"/>
                            <a:gd name="connsiteY4" fmla="*/ 0 h 13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1">
                              <a:moveTo>
                                <a:pt x="9" y="0"/>
                              </a:moveTo>
                              <a:cubicBezTo>
                                <a:pt x="-116" y="4145"/>
                                <a:pt x="1014" y="9043"/>
                                <a:pt x="3401" y="13941"/>
                              </a:cubicBezTo>
                              <a:lnTo>
                                <a:pt x="5284" y="12057"/>
                              </a:lnTo>
                              <a:cubicBezTo>
                                <a:pt x="3651" y="8666"/>
                                <a:pt x="2773"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9" name="Freeform: Shape 4548">
                          <a:extLst>
                            <a:ext uri="{FF2B5EF4-FFF2-40B4-BE49-F238E27FC236}">
                              <a16:creationId xmlns:a16="http://schemas.microsoft.com/office/drawing/2014/main" id="{431D45EE-1787-4687-83A9-26F6A474D3D4}"/>
                            </a:ext>
                          </a:extLst>
                        </p:cNvPr>
                        <p:cNvSpPr/>
                        <p:nvPr/>
                      </p:nvSpPr>
                      <p:spPr>
                        <a:xfrm>
                          <a:off x="9567187" y="2530710"/>
                          <a:ext cx="10926" cy="10801"/>
                        </a:xfrm>
                        <a:custGeom>
                          <a:avLst/>
                          <a:gdLst>
                            <a:gd name="connsiteX0" fmla="*/ 2010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10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10" y="3265"/>
                              </a:moveTo>
                              <a:lnTo>
                                <a:pt x="4898" y="377"/>
                              </a:lnTo>
                              <a:cubicBezTo>
                                <a:pt x="4773" y="251"/>
                                <a:pt x="4522" y="126"/>
                                <a:pt x="4396" y="0"/>
                              </a:cubicBezTo>
                              <a:lnTo>
                                <a:pt x="0" y="4521"/>
                              </a:lnTo>
                              <a:cubicBezTo>
                                <a:pt x="3517" y="8038"/>
                                <a:pt x="7410" y="10299"/>
                                <a:pt x="10927" y="10801"/>
                              </a:cubicBezTo>
                              <a:lnTo>
                                <a:pt x="9922" y="8666"/>
                              </a:lnTo>
                              <a:cubicBezTo>
                                <a:pt x="7159" y="7661"/>
                                <a:pt x="4522" y="5777"/>
                                <a:pt x="2010"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0" name="Freeform: Shape 4549">
                          <a:extLst>
                            <a:ext uri="{FF2B5EF4-FFF2-40B4-BE49-F238E27FC236}">
                              <a16:creationId xmlns:a16="http://schemas.microsoft.com/office/drawing/2014/main" id="{832A9949-466D-4CF0-8F84-4F17A4224BE0}"/>
                            </a:ext>
                          </a:extLst>
                        </p:cNvPr>
                        <p:cNvSpPr/>
                        <p:nvPr/>
                      </p:nvSpPr>
                      <p:spPr>
                        <a:xfrm>
                          <a:off x="9559652" y="2502326"/>
                          <a:ext cx="8791" cy="9042"/>
                        </a:xfrm>
                        <a:custGeom>
                          <a:avLst/>
                          <a:gdLst>
                            <a:gd name="connsiteX0" fmla="*/ 3140 w 8791"/>
                            <a:gd name="connsiteY0" fmla="*/ 0 h 9042"/>
                            <a:gd name="connsiteX1" fmla="*/ 2009 w 8791"/>
                            <a:gd name="connsiteY1" fmla="*/ 502 h 9042"/>
                            <a:gd name="connsiteX2" fmla="*/ 0 w 8791"/>
                            <a:gd name="connsiteY2" fmla="*/ 2135 h 9042"/>
                            <a:gd name="connsiteX3" fmla="*/ 7159 w 8791"/>
                            <a:gd name="connsiteY3" fmla="*/ 9043 h 9042"/>
                            <a:gd name="connsiteX4" fmla="*/ 8792 w 8791"/>
                            <a:gd name="connsiteY4" fmla="*/ 8666 h 9042"/>
                            <a:gd name="connsiteX5" fmla="*/ 8792 w 8791"/>
                            <a:gd name="connsiteY5" fmla="*/ 7285 h 9042"/>
                            <a:gd name="connsiteX6" fmla="*/ 2135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09" y="502"/>
                              </a:cubicBezTo>
                              <a:cubicBezTo>
                                <a:pt x="1256" y="879"/>
                                <a:pt x="628" y="1507"/>
                                <a:pt x="0" y="2135"/>
                              </a:cubicBezTo>
                              <a:lnTo>
                                <a:pt x="7159" y="9043"/>
                              </a:lnTo>
                              <a:cubicBezTo>
                                <a:pt x="7661" y="8792"/>
                                <a:pt x="8163" y="8666"/>
                                <a:pt x="8792" y="8666"/>
                              </a:cubicBezTo>
                              <a:lnTo>
                                <a:pt x="8792" y="7285"/>
                              </a:lnTo>
                              <a:lnTo>
                                <a:pt x="2135" y="1005"/>
                              </a:lnTo>
                              <a:cubicBezTo>
                                <a:pt x="2386" y="628"/>
                                <a:pt x="2763" y="251"/>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51" name="Graphic 4">
                        <a:extLst>
                          <a:ext uri="{FF2B5EF4-FFF2-40B4-BE49-F238E27FC236}">
                            <a16:creationId xmlns:a16="http://schemas.microsoft.com/office/drawing/2014/main" id="{84FB7ED1-A2DF-40A1-A747-5F7CF3F14040}"/>
                          </a:ext>
                        </a:extLst>
                      </p:cNvPr>
                      <p:cNvGrpSpPr/>
                      <p:nvPr/>
                    </p:nvGrpSpPr>
                    <p:grpSpPr>
                      <a:xfrm>
                        <a:off x="9566187" y="2513930"/>
                        <a:ext cx="12606" cy="16077"/>
                        <a:chOff x="9566187" y="2513930"/>
                        <a:chExt cx="12606" cy="16077"/>
                      </a:xfrm>
                      <a:solidFill>
                        <a:srgbClr val="222222"/>
                      </a:solidFill>
                    </p:grpSpPr>
                    <p:sp>
                      <p:nvSpPr>
                        <p:cNvPr id="4552" name="Freeform: Shape 4551">
                          <a:extLst>
                            <a:ext uri="{FF2B5EF4-FFF2-40B4-BE49-F238E27FC236}">
                              <a16:creationId xmlns:a16="http://schemas.microsoft.com/office/drawing/2014/main" id="{6C506AAD-CB44-43B2-BD50-A78853347296}"/>
                            </a:ext>
                          </a:extLst>
                        </p:cNvPr>
                        <p:cNvSpPr/>
                        <p:nvPr/>
                      </p:nvSpPr>
                      <p:spPr>
                        <a:xfrm>
                          <a:off x="9570515" y="2518999"/>
                          <a:ext cx="4019" cy="5336"/>
                        </a:xfrm>
                        <a:custGeom>
                          <a:avLst/>
                          <a:gdLst>
                            <a:gd name="connsiteX0" fmla="*/ 3454 w 4019"/>
                            <a:gd name="connsiteY0" fmla="*/ 5180 h 5336"/>
                            <a:gd name="connsiteX1" fmla="*/ 565 w 4019"/>
                            <a:gd name="connsiteY1" fmla="*/ 3547 h 5336"/>
                            <a:gd name="connsiteX2" fmla="*/ 565 w 4019"/>
                            <a:gd name="connsiteY2" fmla="*/ 156 h 5336"/>
                            <a:gd name="connsiteX3" fmla="*/ 3454 w 4019"/>
                            <a:gd name="connsiteY3" fmla="*/ 1789 h 5336"/>
                            <a:gd name="connsiteX4" fmla="*/ 3454 w 4019"/>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5336">
                              <a:moveTo>
                                <a:pt x="3454" y="5180"/>
                              </a:moveTo>
                              <a:cubicBezTo>
                                <a:pt x="2701" y="5682"/>
                                <a:pt x="1319" y="4929"/>
                                <a:pt x="565" y="3547"/>
                              </a:cubicBezTo>
                              <a:cubicBezTo>
                                <a:pt x="-188" y="2166"/>
                                <a:pt x="-188" y="659"/>
                                <a:pt x="565" y="156"/>
                              </a:cubicBezTo>
                              <a:cubicBezTo>
                                <a:pt x="1319" y="-346"/>
                                <a:pt x="2701" y="407"/>
                                <a:pt x="3454" y="1789"/>
                              </a:cubicBezTo>
                              <a:cubicBezTo>
                                <a:pt x="4208" y="3296"/>
                                <a:pt x="4208" y="4803"/>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3" name="Freeform: Shape 4552">
                          <a:extLst>
                            <a:ext uri="{FF2B5EF4-FFF2-40B4-BE49-F238E27FC236}">
                              <a16:creationId xmlns:a16="http://schemas.microsoft.com/office/drawing/2014/main" id="{EA720021-0295-41B4-96BB-ED8DA2B32DCE}"/>
                            </a:ext>
                          </a:extLst>
                        </p:cNvPr>
                        <p:cNvSpPr/>
                        <p:nvPr/>
                      </p:nvSpPr>
                      <p:spPr>
                        <a:xfrm>
                          <a:off x="9571332" y="2513930"/>
                          <a:ext cx="2340" cy="3167"/>
                        </a:xfrm>
                        <a:custGeom>
                          <a:avLst/>
                          <a:gdLst>
                            <a:gd name="connsiteX0" fmla="*/ 2009 w 2340"/>
                            <a:gd name="connsiteY0" fmla="*/ 3091 h 3167"/>
                            <a:gd name="connsiteX1" fmla="*/ 377 w 2340"/>
                            <a:gd name="connsiteY1" fmla="*/ 2086 h 3167"/>
                            <a:gd name="connsiteX2" fmla="*/ 377 w 2340"/>
                            <a:gd name="connsiteY2" fmla="*/ 76 h 3167"/>
                            <a:gd name="connsiteX3" fmla="*/ 2009 w 2340"/>
                            <a:gd name="connsiteY3" fmla="*/ 1081 h 3167"/>
                            <a:gd name="connsiteX4" fmla="*/ 2009 w 2340"/>
                            <a:gd name="connsiteY4" fmla="*/ 3091 h 3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0" h="3167">
                              <a:moveTo>
                                <a:pt x="2009" y="3091"/>
                              </a:moveTo>
                              <a:cubicBezTo>
                                <a:pt x="1507" y="3342"/>
                                <a:pt x="754" y="2965"/>
                                <a:pt x="377" y="2086"/>
                              </a:cubicBezTo>
                              <a:cubicBezTo>
                                <a:pt x="-126" y="1332"/>
                                <a:pt x="-126" y="453"/>
                                <a:pt x="377" y="76"/>
                              </a:cubicBezTo>
                              <a:cubicBezTo>
                                <a:pt x="879" y="-175"/>
                                <a:pt x="1633" y="202"/>
                                <a:pt x="2009" y="1081"/>
                              </a:cubicBezTo>
                              <a:cubicBezTo>
                                <a:pt x="2386" y="1960"/>
                                <a:pt x="2512" y="2840"/>
                                <a:pt x="2009" y="309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4" name="Freeform: Shape 4553">
                          <a:extLst>
                            <a:ext uri="{FF2B5EF4-FFF2-40B4-BE49-F238E27FC236}">
                              <a16:creationId xmlns:a16="http://schemas.microsoft.com/office/drawing/2014/main" id="{0F068D87-4884-4D10-BF97-4D572887A580}"/>
                            </a:ext>
                          </a:extLst>
                        </p:cNvPr>
                        <p:cNvSpPr/>
                        <p:nvPr/>
                      </p:nvSpPr>
                      <p:spPr>
                        <a:xfrm>
                          <a:off x="9568173" y="2523349"/>
                          <a:ext cx="2425" cy="3030"/>
                        </a:xfrm>
                        <a:custGeom>
                          <a:avLst/>
                          <a:gdLst>
                            <a:gd name="connsiteX0" fmla="*/ 1024 w 2425"/>
                            <a:gd name="connsiteY0" fmla="*/ 76 h 3030"/>
                            <a:gd name="connsiteX1" fmla="*/ 2406 w 2425"/>
                            <a:gd name="connsiteY1" fmla="*/ 1960 h 3030"/>
                            <a:gd name="connsiteX2" fmla="*/ 1401 w 2425"/>
                            <a:gd name="connsiteY2" fmla="*/ 2965 h 3030"/>
                            <a:gd name="connsiteX3" fmla="*/ 19 w 2425"/>
                            <a:gd name="connsiteY3" fmla="*/ 1081 h 3030"/>
                            <a:gd name="connsiteX4" fmla="*/ 1024 w 2425"/>
                            <a:gd name="connsiteY4" fmla="*/ 76 h 3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 h="3030">
                              <a:moveTo>
                                <a:pt x="1024" y="76"/>
                              </a:moveTo>
                              <a:cubicBezTo>
                                <a:pt x="1652" y="328"/>
                                <a:pt x="2280" y="1207"/>
                                <a:pt x="2406" y="1960"/>
                              </a:cubicBezTo>
                              <a:cubicBezTo>
                                <a:pt x="2531" y="2714"/>
                                <a:pt x="2029" y="3216"/>
                                <a:pt x="1401" y="2965"/>
                              </a:cubicBezTo>
                              <a:cubicBezTo>
                                <a:pt x="773" y="2714"/>
                                <a:pt x="145" y="1835"/>
                                <a:pt x="19" y="1081"/>
                              </a:cubicBezTo>
                              <a:cubicBezTo>
                                <a:pt x="-106" y="202"/>
                                <a:pt x="397" y="-175"/>
                                <a:pt x="1024" y="7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5" name="Freeform: Shape 4554">
                          <a:extLst>
                            <a:ext uri="{FF2B5EF4-FFF2-40B4-BE49-F238E27FC236}">
                              <a16:creationId xmlns:a16="http://schemas.microsoft.com/office/drawing/2014/main" id="{5870CD5B-FF8F-45CD-97DC-8176F85FADD0}"/>
                            </a:ext>
                          </a:extLst>
                        </p:cNvPr>
                        <p:cNvSpPr/>
                        <p:nvPr/>
                      </p:nvSpPr>
                      <p:spPr>
                        <a:xfrm>
                          <a:off x="9574453" y="2526892"/>
                          <a:ext cx="2425" cy="3114"/>
                        </a:xfrm>
                        <a:custGeom>
                          <a:avLst/>
                          <a:gdLst>
                            <a:gd name="connsiteX0" fmla="*/ 19 w 2425"/>
                            <a:gd name="connsiteY0" fmla="*/ 678 h 3114"/>
                            <a:gd name="connsiteX1" fmla="*/ 1401 w 2425"/>
                            <a:gd name="connsiteY1" fmla="*/ 301 h 3114"/>
                            <a:gd name="connsiteX2" fmla="*/ 2406 w 2425"/>
                            <a:gd name="connsiteY2" fmla="*/ 2437 h 3114"/>
                            <a:gd name="connsiteX3" fmla="*/ 1024 w 2425"/>
                            <a:gd name="connsiteY3" fmla="*/ 2813 h 3114"/>
                            <a:gd name="connsiteX4" fmla="*/ 19 w 2425"/>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 h="3114">
                              <a:moveTo>
                                <a:pt x="19" y="678"/>
                              </a:moveTo>
                              <a:cubicBezTo>
                                <a:pt x="145" y="-75"/>
                                <a:pt x="773" y="-201"/>
                                <a:pt x="1401" y="301"/>
                              </a:cubicBezTo>
                              <a:cubicBezTo>
                                <a:pt x="2029" y="804"/>
                                <a:pt x="2531" y="1809"/>
                                <a:pt x="2406" y="2437"/>
                              </a:cubicBezTo>
                              <a:cubicBezTo>
                                <a:pt x="2280" y="3190"/>
                                <a:pt x="1652" y="3316"/>
                                <a:pt x="1024" y="2813"/>
                              </a:cubicBezTo>
                              <a:cubicBezTo>
                                <a:pt x="397" y="2311"/>
                                <a:pt x="-106" y="1432"/>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6" name="Freeform: Shape 4555">
                          <a:extLst>
                            <a:ext uri="{FF2B5EF4-FFF2-40B4-BE49-F238E27FC236}">
                              <a16:creationId xmlns:a16="http://schemas.microsoft.com/office/drawing/2014/main" id="{0595E747-CE74-441E-B827-8E48A52EB0CC}"/>
                            </a:ext>
                          </a:extLst>
                        </p:cNvPr>
                        <p:cNvSpPr/>
                        <p:nvPr/>
                      </p:nvSpPr>
                      <p:spPr>
                        <a:xfrm>
                          <a:off x="9576304" y="2521240"/>
                          <a:ext cx="2489" cy="3080"/>
                        </a:xfrm>
                        <a:custGeom>
                          <a:avLst/>
                          <a:gdLst>
                            <a:gd name="connsiteX0" fmla="*/ 680 w 2489"/>
                            <a:gd name="connsiteY0" fmla="*/ 2437 h 3080"/>
                            <a:gd name="connsiteX1" fmla="*/ 177 w 2489"/>
                            <a:gd name="connsiteY1" fmla="*/ 301 h 3080"/>
                            <a:gd name="connsiteX2" fmla="*/ 1809 w 2489"/>
                            <a:gd name="connsiteY2" fmla="*/ 678 h 3080"/>
                            <a:gd name="connsiteX3" fmla="*/ 2312 w 2489"/>
                            <a:gd name="connsiteY3" fmla="*/ 2813 h 3080"/>
                            <a:gd name="connsiteX4" fmla="*/ 680 w 2489"/>
                            <a:gd name="connsiteY4" fmla="*/ 2437 h 3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080">
                              <a:moveTo>
                                <a:pt x="680" y="2437"/>
                              </a:moveTo>
                              <a:cubicBezTo>
                                <a:pt x="52" y="1809"/>
                                <a:pt x="-200" y="804"/>
                                <a:pt x="177" y="301"/>
                              </a:cubicBezTo>
                              <a:cubicBezTo>
                                <a:pt x="428" y="-201"/>
                                <a:pt x="1182" y="-75"/>
                                <a:pt x="1809" y="678"/>
                              </a:cubicBezTo>
                              <a:cubicBezTo>
                                <a:pt x="2438" y="1306"/>
                                <a:pt x="2689" y="2311"/>
                                <a:pt x="2312" y="2813"/>
                              </a:cubicBezTo>
                              <a:cubicBezTo>
                                <a:pt x="1935" y="3316"/>
                                <a:pt x="1307" y="3065"/>
                                <a:pt x="680"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7" name="Freeform: Shape 4556">
                          <a:extLst>
                            <a:ext uri="{FF2B5EF4-FFF2-40B4-BE49-F238E27FC236}">
                              <a16:creationId xmlns:a16="http://schemas.microsoft.com/office/drawing/2014/main" id="{ECEF2E04-AB04-4170-BCB8-7189E5D685D4}"/>
                            </a:ext>
                          </a:extLst>
                        </p:cNvPr>
                        <p:cNvSpPr/>
                        <p:nvPr/>
                      </p:nvSpPr>
                      <p:spPr>
                        <a:xfrm>
                          <a:off x="9566187" y="2515374"/>
                          <a:ext cx="2377" cy="3027"/>
                        </a:xfrm>
                        <a:custGeom>
                          <a:avLst/>
                          <a:gdLst>
                            <a:gd name="connsiteX0" fmla="*/ 2257 w 2377"/>
                            <a:gd name="connsiteY0" fmla="*/ 1521 h 3027"/>
                            <a:gd name="connsiteX1" fmla="*/ 1754 w 2377"/>
                            <a:gd name="connsiteY1" fmla="*/ 3028 h 3027"/>
                            <a:gd name="connsiteX2" fmla="*/ 121 w 2377"/>
                            <a:gd name="connsiteY2" fmla="*/ 1521 h 3027"/>
                            <a:gd name="connsiteX3" fmla="*/ 624 w 2377"/>
                            <a:gd name="connsiteY3" fmla="*/ 14 h 3027"/>
                            <a:gd name="connsiteX4" fmla="*/ 2257 w 2377"/>
                            <a:gd name="connsiteY4" fmla="*/ 1521 h 3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7" h="3027">
                              <a:moveTo>
                                <a:pt x="2257" y="1521"/>
                              </a:moveTo>
                              <a:cubicBezTo>
                                <a:pt x="2507" y="2400"/>
                                <a:pt x="2382" y="3028"/>
                                <a:pt x="1754" y="3028"/>
                              </a:cubicBezTo>
                              <a:cubicBezTo>
                                <a:pt x="1126" y="3028"/>
                                <a:pt x="498" y="2400"/>
                                <a:pt x="121" y="1521"/>
                              </a:cubicBezTo>
                              <a:cubicBezTo>
                                <a:pt x="-130" y="642"/>
                                <a:pt x="-4" y="14"/>
                                <a:pt x="624" y="14"/>
                              </a:cubicBezTo>
                              <a:cubicBezTo>
                                <a:pt x="1252" y="-112"/>
                                <a:pt x="2005" y="642"/>
                                <a:pt x="2257" y="152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558" name="Graphic 4">
                  <a:extLst>
                    <a:ext uri="{FF2B5EF4-FFF2-40B4-BE49-F238E27FC236}">
                      <a16:creationId xmlns:a16="http://schemas.microsoft.com/office/drawing/2014/main" id="{84FB7ED1-A2DF-40A1-A747-5F7CF3F14040}"/>
                    </a:ext>
                  </a:extLst>
                </p:cNvPr>
                <p:cNvGrpSpPr/>
                <p:nvPr/>
              </p:nvGrpSpPr>
              <p:grpSpPr>
                <a:xfrm>
                  <a:off x="9533779" y="2454038"/>
                  <a:ext cx="109769" cy="95511"/>
                  <a:chOff x="9533779" y="2454038"/>
                  <a:chExt cx="109769" cy="95511"/>
                </a:xfrm>
                <a:solidFill>
                  <a:schemeClr val="accent1"/>
                </a:solidFill>
              </p:grpSpPr>
              <p:sp>
                <p:nvSpPr>
                  <p:cNvPr id="4559" name="Freeform: Shape 4558">
                    <a:extLst>
                      <a:ext uri="{FF2B5EF4-FFF2-40B4-BE49-F238E27FC236}">
                        <a16:creationId xmlns:a16="http://schemas.microsoft.com/office/drawing/2014/main" id="{BCE2D780-6BA4-4AC9-B193-1F924D547325}"/>
                      </a:ext>
                    </a:extLst>
                  </p:cNvPr>
                  <p:cNvSpPr/>
                  <p:nvPr/>
                </p:nvSpPr>
                <p:spPr>
                  <a:xfrm>
                    <a:off x="9533779" y="2471747"/>
                    <a:ext cx="78998" cy="77802"/>
                  </a:xfrm>
                  <a:custGeom>
                    <a:avLst/>
                    <a:gdLst>
                      <a:gd name="connsiteX0" fmla="*/ 11429 w 78998"/>
                      <a:gd name="connsiteY0" fmla="*/ 14000 h 77802"/>
                      <a:gd name="connsiteX1" fmla="*/ 33282 w 78998"/>
                      <a:gd name="connsiteY1" fmla="*/ 8474 h 77802"/>
                      <a:gd name="connsiteX2" fmla="*/ 45591 w 78998"/>
                      <a:gd name="connsiteY2" fmla="*/ 15633 h 77802"/>
                      <a:gd name="connsiteX3" fmla="*/ 67444 w 78998"/>
                      <a:gd name="connsiteY3" fmla="*/ 46404 h 77802"/>
                      <a:gd name="connsiteX4" fmla="*/ 75231 w 78998"/>
                      <a:gd name="connsiteY4" fmla="*/ 77174 h 77802"/>
                      <a:gd name="connsiteX5" fmla="*/ 78999 w 78998"/>
                      <a:gd name="connsiteY5" fmla="*/ 77802 h 77802"/>
                      <a:gd name="connsiteX6" fmla="*/ 71338 w 78998"/>
                      <a:gd name="connsiteY6" fmla="*/ 47032 h 77802"/>
                      <a:gd name="connsiteX7" fmla="*/ 64807 w 78998"/>
                      <a:gd name="connsiteY7" fmla="*/ 31207 h 77802"/>
                      <a:gd name="connsiteX8" fmla="*/ 45591 w 78998"/>
                      <a:gd name="connsiteY8" fmla="*/ 10860 h 77802"/>
                      <a:gd name="connsiteX9" fmla="*/ 33282 w 78998"/>
                      <a:gd name="connsiteY9" fmla="*/ 3701 h 77802"/>
                      <a:gd name="connsiteX10" fmla="*/ 14067 w 78998"/>
                      <a:gd name="connsiteY10" fmla="*/ 1817 h 77802"/>
                      <a:gd name="connsiteX11" fmla="*/ 7661 w 78998"/>
                      <a:gd name="connsiteY11" fmla="*/ 10107 h 77802"/>
                      <a:gd name="connsiteX12" fmla="*/ 0 w 78998"/>
                      <a:gd name="connsiteY12" fmla="*/ 31960 h 77802"/>
                      <a:gd name="connsiteX13" fmla="*/ 3768 w 78998"/>
                      <a:gd name="connsiteY13" fmla="*/ 35728 h 77802"/>
                      <a:gd name="connsiteX14" fmla="*/ 11429 w 78998"/>
                      <a:gd name="connsiteY14" fmla="*/ 14000 h 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998" h="77802">
                        <a:moveTo>
                          <a:pt x="11429" y="14000"/>
                        </a:moveTo>
                        <a:cubicBezTo>
                          <a:pt x="14569" y="4957"/>
                          <a:pt x="23360" y="2822"/>
                          <a:pt x="33282" y="8474"/>
                        </a:cubicBezTo>
                        <a:lnTo>
                          <a:pt x="45591" y="15633"/>
                        </a:lnTo>
                        <a:cubicBezTo>
                          <a:pt x="55513" y="21410"/>
                          <a:pt x="64304" y="33719"/>
                          <a:pt x="67444" y="46404"/>
                        </a:cubicBezTo>
                        <a:lnTo>
                          <a:pt x="75231" y="77174"/>
                        </a:lnTo>
                        <a:lnTo>
                          <a:pt x="78999" y="77802"/>
                        </a:lnTo>
                        <a:lnTo>
                          <a:pt x="71338" y="47032"/>
                        </a:lnTo>
                        <a:cubicBezTo>
                          <a:pt x="69956" y="41631"/>
                          <a:pt x="67696" y="36230"/>
                          <a:pt x="64807" y="31207"/>
                        </a:cubicBezTo>
                        <a:cubicBezTo>
                          <a:pt x="59783" y="22541"/>
                          <a:pt x="53001" y="15130"/>
                          <a:pt x="45591" y="10860"/>
                        </a:cubicBezTo>
                        <a:lnTo>
                          <a:pt x="33282" y="3701"/>
                        </a:lnTo>
                        <a:cubicBezTo>
                          <a:pt x="25873" y="-569"/>
                          <a:pt x="18965" y="-1071"/>
                          <a:pt x="14067" y="1817"/>
                        </a:cubicBezTo>
                        <a:cubicBezTo>
                          <a:pt x="11178" y="3450"/>
                          <a:pt x="8917" y="6213"/>
                          <a:pt x="7661" y="10107"/>
                        </a:cubicBezTo>
                        <a:lnTo>
                          <a:pt x="0" y="31960"/>
                        </a:lnTo>
                        <a:lnTo>
                          <a:pt x="3768" y="35728"/>
                        </a:lnTo>
                        <a:lnTo>
                          <a:pt x="11429" y="1400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60" name="Freeform: Shape 4559">
                    <a:extLst>
                      <a:ext uri="{FF2B5EF4-FFF2-40B4-BE49-F238E27FC236}">
                        <a16:creationId xmlns:a16="http://schemas.microsoft.com/office/drawing/2014/main" id="{293A7E8B-0635-4B5D-A7BD-1F85C5079C1F}"/>
                      </a:ext>
                    </a:extLst>
                  </p:cNvPr>
                  <p:cNvSpPr/>
                  <p:nvPr/>
                </p:nvSpPr>
                <p:spPr>
                  <a:xfrm>
                    <a:off x="9547972" y="2454038"/>
                    <a:ext cx="81510" cy="48915"/>
                  </a:xfrm>
                  <a:custGeom>
                    <a:avLst/>
                    <a:gdLst>
                      <a:gd name="connsiteX0" fmla="*/ 62295 w 81510"/>
                      <a:gd name="connsiteY0" fmla="*/ 10860 h 48915"/>
                      <a:gd name="connsiteX1" fmla="*/ 49986 w 81510"/>
                      <a:gd name="connsiteY1" fmla="*/ 3701 h 48915"/>
                      <a:gd name="connsiteX2" fmla="*/ 30771 w 81510"/>
                      <a:gd name="connsiteY2" fmla="*/ 1817 h 48915"/>
                      <a:gd name="connsiteX3" fmla="*/ 0 w 81510"/>
                      <a:gd name="connsiteY3" fmla="*/ 19526 h 48915"/>
                      <a:gd name="connsiteX4" fmla="*/ 19216 w 81510"/>
                      <a:gd name="connsiteY4" fmla="*/ 21410 h 48915"/>
                      <a:gd name="connsiteX5" fmla="*/ 31524 w 81510"/>
                      <a:gd name="connsiteY5" fmla="*/ 28569 h 48915"/>
                      <a:gd name="connsiteX6" fmla="*/ 50740 w 81510"/>
                      <a:gd name="connsiteY6" fmla="*/ 48915 h 48915"/>
                      <a:gd name="connsiteX7" fmla="*/ 81511 w 81510"/>
                      <a:gd name="connsiteY7" fmla="*/ 31207 h 48915"/>
                      <a:gd name="connsiteX8" fmla="*/ 62295 w 81510"/>
                      <a:gd name="connsiteY8" fmla="*/ 10860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510" h="48915">
                        <a:moveTo>
                          <a:pt x="62295" y="10860"/>
                        </a:moveTo>
                        <a:lnTo>
                          <a:pt x="49986" y="3701"/>
                        </a:lnTo>
                        <a:cubicBezTo>
                          <a:pt x="42577" y="-569"/>
                          <a:pt x="35668" y="-1071"/>
                          <a:pt x="30771" y="1817"/>
                        </a:cubicBezTo>
                        <a:cubicBezTo>
                          <a:pt x="27882" y="3450"/>
                          <a:pt x="0" y="19526"/>
                          <a:pt x="0" y="19526"/>
                        </a:cubicBezTo>
                        <a:cubicBezTo>
                          <a:pt x="5023" y="16638"/>
                          <a:pt x="11806" y="17140"/>
                          <a:pt x="19216" y="21410"/>
                        </a:cubicBezTo>
                        <a:lnTo>
                          <a:pt x="31524" y="28569"/>
                        </a:lnTo>
                        <a:cubicBezTo>
                          <a:pt x="38934" y="32839"/>
                          <a:pt x="45717" y="40249"/>
                          <a:pt x="50740" y="48915"/>
                        </a:cubicBezTo>
                        <a:lnTo>
                          <a:pt x="81511" y="31207"/>
                        </a:lnTo>
                        <a:cubicBezTo>
                          <a:pt x="76487" y="22541"/>
                          <a:pt x="69579" y="15130"/>
                          <a:pt x="62295" y="10860"/>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61" name="Freeform: Shape 4560">
                    <a:extLst>
                      <a:ext uri="{FF2B5EF4-FFF2-40B4-BE49-F238E27FC236}">
                        <a16:creationId xmlns:a16="http://schemas.microsoft.com/office/drawing/2014/main" id="{42F8444A-ED82-4077-80BB-D028DF620049}"/>
                      </a:ext>
                    </a:extLst>
                  </p:cNvPr>
                  <p:cNvSpPr/>
                  <p:nvPr/>
                </p:nvSpPr>
                <p:spPr>
                  <a:xfrm>
                    <a:off x="9598586" y="2485245"/>
                    <a:ext cx="44963" cy="64304"/>
                  </a:xfrm>
                  <a:custGeom>
                    <a:avLst/>
                    <a:gdLst>
                      <a:gd name="connsiteX0" fmla="*/ 37302 w 44963"/>
                      <a:gd name="connsiteY0" fmla="*/ 15825 h 64304"/>
                      <a:gd name="connsiteX1" fmla="*/ 30771 w 44963"/>
                      <a:gd name="connsiteY1" fmla="*/ 0 h 64304"/>
                      <a:gd name="connsiteX2" fmla="*/ 0 w 44963"/>
                      <a:gd name="connsiteY2" fmla="*/ 17709 h 64304"/>
                      <a:gd name="connsiteX3" fmla="*/ 6531 w 44963"/>
                      <a:gd name="connsiteY3" fmla="*/ 33534 h 64304"/>
                      <a:gd name="connsiteX4" fmla="*/ 14192 w 44963"/>
                      <a:gd name="connsiteY4" fmla="*/ 64305 h 64304"/>
                      <a:gd name="connsiteX5" fmla="*/ 44963 w 44963"/>
                      <a:gd name="connsiteY5" fmla="*/ 46596 h 64304"/>
                      <a:gd name="connsiteX6" fmla="*/ 37302 w 44963"/>
                      <a:gd name="connsiteY6" fmla="*/ 15825 h 6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963" h="64304">
                        <a:moveTo>
                          <a:pt x="37302" y="15825"/>
                        </a:moveTo>
                        <a:cubicBezTo>
                          <a:pt x="35921" y="10424"/>
                          <a:pt x="33659" y="5024"/>
                          <a:pt x="30771" y="0"/>
                        </a:cubicBezTo>
                        <a:lnTo>
                          <a:pt x="0" y="17709"/>
                        </a:lnTo>
                        <a:cubicBezTo>
                          <a:pt x="2889" y="22733"/>
                          <a:pt x="5150" y="28133"/>
                          <a:pt x="6531" y="33534"/>
                        </a:cubicBezTo>
                        <a:lnTo>
                          <a:pt x="14192" y="64305"/>
                        </a:lnTo>
                        <a:lnTo>
                          <a:pt x="44963" y="46596"/>
                        </a:lnTo>
                        <a:lnTo>
                          <a:pt x="37302" y="15825"/>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562" name="Graphic 4">
                <a:extLst>
                  <a:ext uri="{FF2B5EF4-FFF2-40B4-BE49-F238E27FC236}">
                    <a16:creationId xmlns:a16="http://schemas.microsoft.com/office/drawing/2014/main" id="{84FB7ED1-A2DF-40A1-A747-5F7CF3F14040}"/>
                  </a:ext>
                </a:extLst>
              </p:cNvPr>
              <p:cNvGrpSpPr/>
              <p:nvPr/>
            </p:nvGrpSpPr>
            <p:grpSpPr>
              <a:xfrm>
                <a:off x="9487058" y="2466280"/>
                <a:ext cx="166664" cy="116551"/>
                <a:chOff x="9487058" y="2466280"/>
                <a:chExt cx="166664" cy="116551"/>
              </a:xfrm>
              <a:solidFill>
                <a:schemeClr val="accent1"/>
              </a:solidFill>
            </p:grpSpPr>
            <p:sp>
              <p:nvSpPr>
                <p:cNvPr id="4563" name="Freeform: Shape 4562">
                  <a:extLst>
                    <a:ext uri="{FF2B5EF4-FFF2-40B4-BE49-F238E27FC236}">
                      <a16:creationId xmlns:a16="http://schemas.microsoft.com/office/drawing/2014/main" id="{F4E5DD40-4AC5-45D5-927F-B52CE2D11A69}"/>
                    </a:ext>
                  </a:extLst>
                </p:cNvPr>
                <p:cNvSpPr/>
                <p:nvPr/>
              </p:nvSpPr>
              <p:spPr>
                <a:xfrm>
                  <a:off x="9487058" y="2466280"/>
                  <a:ext cx="166664" cy="96205"/>
                </a:xfrm>
                <a:custGeom>
                  <a:avLst/>
                  <a:gdLst>
                    <a:gd name="connsiteX0" fmla="*/ 0 w 166664"/>
                    <a:gd name="connsiteY0" fmla="*/ 21853 h 96205"/>
                    <a:gd name="connsiteX1" fmla="*/ 128735 w 166664"/>
                    <a:gd name="connsiteY1" fmla="*/ 96206 h 96205"/>
                    <a:gd name="connsiteX2" fmla="*/ 166665 w 166664"/>
                    <a:gd name="connsiteY2" fmla="*/ 74352 h 96205"/>
                    <a:gd name="connsiteX3" fmla="*/ 37804 w 166664"/>
                    <a:gd name="connsiteY3" fmla="*/ 0 h 96205"/>
                  </a:gdLst>
                  <a:ahLst/>
                  <a:cxnLst>
                    <a:cxn ang="0">
                      <a:pos x="connsiteX0" y="connsiteY0"/>
                    </a:cxn>
                    <a:cxn ang="0">
                      <a:pos x="connsiteX1" y="connsiteY1"/>
                    </a:cxn>
                    <a:cxn ang="0">
                      <a:pos x="connsiteX2" y="connsiteY2"/>
                    </a:cxn>
                    <a:cxn ang="0">
                      <a:pos x="connsiteX3" y="connsiteY3"/>
                    </a:cxn>
                  </a:cxnLst>
                  <a:rect l="l" t="t" r="r" b="b"/>
                  <a:pathLst>
                    <a:path w="166664" h="96205">
                      <a:moveTo>
                        <a:pt x="0" y="21853"/>
                      </a:moveTo>
                      <a:lnTo>
                        <a:pt x="128735" y="96206"/>
                      </a:lnTo>
                      <a:lnTo>
                        <a:pt x="166665" y="74352"/>
                      </a:lnTo>
                      <a:lnTo>
                        <a:pt x="37804"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64" name="Freeform: Shape 4563">
                  <a:extLst>
                    <a:ext uri="{FF2B5EF4-FFF2-40B4-BE49-F238E27FC236}">
                      <a16:creationId xmlns:a16="http://schemas.microsoft.com/office/drawing/2014/main" id="{361243CA-B64E-4B4D-A008-F18C7FC10C1D}"/>
                    </a:ext>
                  </a:extLst>
                </p:cNvPr>
                <p:cNvSpPr/>
                <p:nvPr/>
              </p:nvSpPr>
              <p:spPr>
                <a:xfrm>
                  <a:off x="9487058" y="2488134"/>
                  <a:ext cx="129111" cy="94698"/>
                </a:xfrm>
                <a:custGeom>
                  <a:avLst/>
                  <a:gdLst>
                    <a:gd name="connsiteX0" fmla="*/ 0 w 129111"/>
                    <a:gd name="connsiteY0" fmla="*/ 20095 h 94698"/>
                    <a:gd name="connsiteX1" fmla="*/ 129112 w 129111"/>
                    <a:gd name="connsiteY1" fmla="*/ 94698 h 94698"/>
                    <a:gd name="connsiteX2" fmla="*/ 128735 w 129111"/>
                    <a:gd name="connsiteY2" fmla="*/ 74352 h 94698"/>
                    <a:gd name="connsiteX3" fmla="*/ 0 w 129111"/>
                    <a:gd name="connsiteY3" fmla="*/ 0 h 94698"/>
                  </a:gdLst>
                  <a:ahLst/>
                  <a:cxnLst>
                    <a:cxn ang="0">
                      <a:pos x="connsiteX0" y="connsiteY0"/>
                    </a:cxn>
                    <a:cxn ang="0">
                      <a:pos x="connsiteX1" y="connsiteY1"/>
                    </a:cxn>
                    <a:cxn ang="0">
                      <a:pos x="connsiteX2" y="connsiteY2"/>
                    </a:cxn>
                    <a:cxn ang="0">
                      <a:pos x="connsiteX3" y="connsiteY3"/>
                    </a:cxn>
                  </a:cxnLst>
                  <a:rect l="l" t="t" r="r" b="b"/>
                  <a:pathLst>
                    <a:path w="129111" h="94698">
                      <a:moveTo>
                        <a:pt x="0" y="20095"/>
                      </a:moveTo>
                      <a:lnTo>
                        <a:pt x="129112" y="94698"/>
                      </a:lnTo>
                      <a:lnTo>
                        <a:pt x="128735" y="74352"/>
                      </a:lnTo>
                      <a:lnTo>
                        <a:pt x="0" y="0"/>
                      </a:ln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65" name="Graphic 4">
                <a:extLst>
                  <a:ext uri="{FF2B5EF4-FFF2-40B4-BE49-F238E27FC236}">
                    <a16:creationId xmlns:a16="http://schemas.microsoft.com/office/drawing/2014/main" id="{84FB7ED1-A2DF-40A1-A747-5F7CF3F14040}"/>
                  </a:ext>
                </a:extLst>
              </p:cNvPr>
              <p:cNvGrpSpPr/>
              <p:nvPr/>
            </p:nvGrpSpPr>
            <p:grpSpPr>
              <a:xfrm>
                <a:off x="9451012" y="2501890"/>
                <a:ext cx="109769" cy="107754"/>
                <a:chOff x="9451012" y="2501890"/>
                <a:chExt cx="109769" cy="107754"/>
              </a:xfrm>
              <a:solidFill>
                <a:schemeClr val="accent1"/>
              </a:solidFill>
            </p:grpSpPr>
            <p:sp>
              <p:nvSpPr>
                <p:cNvPr id="4566" name="Freeform: Shape 4565">
                  <a:extLst>
                    <a:ext uri="{FF2B5EF4-FFF2-40B4-BE49-F238E27FC236}">
                      <a16:creationId xmlns:a16="http://schemas.microsoft.com/office/drawing/2014/main" id="{3E98D366-053B-4862-AF73-3A8B4B1DB668}"/>
                    </a:ext>
                  </a:extLst>
                </p:cNvPr>
                <p:cNvSpPr/>
                <p:nvPr/>
              </p:nvSpPr>
              <p:spPr>
                <a:xfrm>
                  <a:off x="9454655" y="2524984"/>
                  <a:ext cx="33407" cy="30468"/>
                </a:xfrm>
                <a:custGeom>
                  <a:avLst/>
                  <a:gdLst>
                    <a:gd name="connsiteX0" fmla="*/ 7787 w 33407"/>
                    <a:gd name="connsiteY0" fmla="*/ 8615 h 30468"/>
                    <a:gd name="connsiteX1" fmla="*/ 0 w 33407"/>
                    <a:gd name="connsiteY1" fmla="*/ 30469 h 30468"/>
                    <a:gd name="connsiteX2" fmla="*/ 30770 w 33407"/>
                    <a:gd name="connsiteY2" fmla="*/ 12760 h 30468"/>
                    <a:gd name="connsiteX3" fmla="*/ 33408 w 33407"/>
                    <a:gd name="connsiteY3" fmla="*/ 5350 h 30468"/>
                    <a:gd name="connsiteX4" fmla="*/ 29640 w 33407"/>
                    <a:gd name="connsiteY4" fmla="*/ 3214 h 30468"/>
                    <a:gd name="connsiteX5" fmla="*/ 7787 w 33407"/>
                    <a:gd name="connsiteY5" fmla="*/ 8615 h 30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07" h="30468">
                      <a:moveTo>
                        <a:pt x="7787" y="8615"/>
                      </a:moveTo>
                      <a:lnTo>
                        <a:pt x="0" y="30469"/>
                      </a:lnTo>
                      <a:lnTo>
                        <a:pt x="30770" y="12760"/>
                      </a:lnTo>
                      <a:lnTo>
                        <a:pt x="33408" y="5350"/>
                      </a:lnTo>
                      <a:lnTo>
                        <a:pt x="29640" y="3214"/>
                      </a:lnTo>
                      <a:cubicBezTo>
                        <a:pt x="19718" y="-2563"/>
                        <a:pt x="10927" y="-428"/>
                        <a:pt x="7787" y="8615"/>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67" name="Graphic 4">
                  <a:extLst>
                    <a:ext uri="{FF2B5EF4-FFF2-40B4-BE49-F238E27FC236}">
                      <a16:creationId xmlns:a16="http://schemas.microsoft.com/office/drawing/2014/main" id="{84FB7ED1-A2DF-40A1-A747-5F7CF3F14040}"/>
                    </a:ext>
                  </a:extLst>
                </p:cNvPr>
                <p:cNvGrpSpPr/>
                <p:nvPr/>
              </p:nvGrpSpPr>
              <p:grpSpPr>
                <a:xfrm>
                  <a:off x="9454641" y="2518393"/>
                  <a:ext cx="93199" cy="91251"/>
                  <a:chOff x="9454641" y="2518393"/>
                  <a:chExt cx="93199" cy="91251"/>
                </a:xfrm>
                <a:solidFill>
                  <a:schemeClr val="accent1"/>
                </a:solidFill>
              </p:grpSpPr>
              <p:grpSp>
                <p:nvGrpSpPr>
                  <p:cNvPr id="4568" name="Graphic 4">
                    <a:extLst>
                      <a:ext uri="{FF2B5EF4-FFF2-40B4-BE49-F238E27FC236}">
                        <a16:creationId xmlns:a16="http://schemas.microsoft.com/office/drawing/2014/main" id="{84FB7ED1-A2DF-40A1-A747-5F7CF3F14040}"/>
                      </a:ext>
                    </a:extLst>
                  </p:cNvPr>
                  <p:cNvGrpSpPr/>
                  <p:nvPr/>
                </p:nvGrpSpPr>
                <p:grpSpPr>
                  <a:xfrm>
                    <a:off x="9481531" y="2518393"/>
                    <a:ext cx="66308" cy="73358"/>
                    <a:chOff x="9481531" y="2518393"/>
                    <a:chExt cx="66308" cy="73358"/>
                  </a:xfrm>
                  <a:solidFill>
                    <a:schemeClr val="accent1"/>
                  </a:solidFill>
                </p:grpSpPr>
                <p:sp>
                  <p:nvSpPr>
                    <p:cNvPr id="4569" name="Freeform: Shape 4568">
                      <a:extLst>
                        <a:ext uri="{FF2B5EF4-FFF2-40B4-BE49-F238E27FC236}">
                          <a16:creationId xmlns:a16="http://schemas.microsoft.com/office/drawing/2014/main" id="{017F3D1B-83D4-4793-BAAB-5DA4EBDE041E}"/>
                        </a:ext>
                      </a:extLst>
                    </p:cNvPr>
                    <p:cNvSpPr/>
                    <p:nvPr/>
                  </p:nvSpPr>
                  <p:spPr>
                    <a:xfrm>
                      <a:off x="9489821" y="2518393"/>
                      <a:ext cx="58018" cy="72225"/>
                    </a:xfrm>
                    <a:custGeom>
                      <a:avLst/>
                      <a:gdLst>
                        <a:gd name="connsiteX0" fmla="*/ 50866 w 58018"/>
                        <a:gd name="connsiteY0" fmla="*/ 21737 h 72225"/>
                        <a:gd name="connsiteX1" fmla="*/ 33534 w 58018"/>
                        <a:gd name="connsiteY1" fmla="*/ 3400 h 72225"/>
                        <a:gd name="connsiteX2" fmla="*/ 22105 w 58018"/>
                        <a:gd name="connsiteY2" fmla="*/ 9 h 72225"/>
                        <a:gd name="connsiteX3" fmla="*/ 18336 w 58018"/>
                        <a:gd name="connsiteY3" fmla="*/ 134 h 72225"/>
                        <a:gd name="connsiteX4" fmla="*/ 18336 w 58018"/>
                        <a:gd name="connsiteY4" fmla="*/ 134 h 72225"/>
                        <a:gd name="connsiteX5" fmla="*/ 18336 w 58018"/>
                        <a:gd name="connsiteY5" fmla="*/ 134 h 72225"/>
                        <a:gd name="connsiteX6" fmla="*/ 18336 w 58018"/>
                        <a:gd name="connsiteY6" fmla="*/ 134 h 72225"/>
                        <a:gd name="connsiteX7" fmla="*/ 12057 w 58018"/>
                        <a:gd name="connsiteY7" fmla="*/ 1767 h 72225"/>
                        <a:gd name="connsiteX8" fmla="*/ 0 w 58018"/>
                        <a:gd name="connsiteY8" fmla="*/ 8800 h 72225"/>
                        <a:gd name="connsiteX9" fmla="*/ 18336 w 58018"/>
                        <a:gd name="connsiteY9" fmla="*/ 10684 h 72225"/>
                        <a:gd name="connsiteX10" fmla="*/ 36673 w 58018"/>
                        <a:gd name="connsiteY10" fmla="*/ 30026 h 72225"/>
                        <a:gd name="connsiteX11" fmla="*/ 36548 w 58018"/>
                        <a:gd name="connsiteY11" fmla="*/ 72226 h 72225"/>
                        <a:gd name="connsiteX12" fmla="*/ 48605 w 58018"/>
                        <a:gd name="connsiteY12" fmla="*/ 65192 h 72225"/>
                        <a:gd name="connsiteX13" fmla="*/ 55387 w 58018"/>
                        <a:gd name="connsiteY13" fmla="*/ 57154 h 72225"/>
                        <a:gd name="connsiteX14" fmla="*/ 50866 w 58018"/>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18" h="72225">
                          <a:moveTo>
                            <a:pt x="50866" y="21737"/>
                          </a:moveTo>
                          <a:cubicBezTo>
                            <a:pt x="46093" y="13447"/>
                            <a:pt x="39813" y="7042"/>
                            <a:pt x="33534" y="3400"/>
                          </a:cubicBezTo>
                          <a:cubicBezTo>
                            <a:pt x="29640" y="1139"/>
                            <a:pt x="25621" y="-117"/>
                            <a:pt x="22105" y="9"/>
                          </a:cubicBezTo>
                          <a:cubicBezTo>
                            <a:pt x="20848" y="9"/>
                            <a:pt x="19593" y="134"/>
                            <a:pt x="18336" y="134"/>
                          </a:cubicBezTo>
                          <a:cubicBezTo>
                            <a:pt x="18336" y="134"/>
                            <a:pt x="18336" y="134"/>
                            <a:pt x="18336" y="134"/>
                          </a:cubicBezTo>
                          <a:lnTo>
                            <a:pt x="18336" y="134"/>
                          </a:lnTo>
                          <a:lnTo>
                            <a:pt x="18336" y="134"/>
                          </a:lnTo>
                          <a:cubicBezTo>
                            <a:pt x="16076" y="134"/>
                            <a:pt x="13941" y="762"/>
                            <a:pt x="12057" y="1767"/>
                          </a:cubicBezTo>
                          <a:lnTo>
                            <a:pt x="0" y="8800"/>
                          </a:lnTo>
                          <a:cubicBezTo>
                            <a:pt x="5023" y="5912"/>
                            <a:pt x="11680" y="6791"/>
                            <a:pt x="18336" y="10684"/>
                          </a:cubicBezTo>
                          <a:cubicBezTo>
                            <a:pt x="24993" y="14578"/>
                            <a:pt x="31650" y="21234"/>
                            <a:pt x="36673" y="30026"/>
                          </a:cubicBezTo>
                          <a:cubicBezTo>
                            <a:pt x="46721" y="47483"/>
                            <a:pt x="46721" y="66448"/>
                            <a:pt x="36548" y="72226"/>
                          </a:cubicBezTo>
                          <a:lnTo>
                            <a:pt x="48605" y="65192"/>
                          </a:lnTo>
                          <a:cubicBezTo>
                            <a:pt x="52875" y="62680"/>
                            <a:pt x="55011" y="57782"/>
                            <a:pt x="55387" y="57154"/>
                          </a:cubicBezTo>
                          <a:cubicBezTo>
                            <a:pt x="60034" y="49367"/>
                            <a:pt x="58527" y="35175"/>
                            <a:pt x="50866"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0" name="Freeform: Shape 4569">
                      <a:extLst>
                        <a:ext uri="{FF2B5EF4-FFF2-40B4-BE49-F238E27FC236}">
                          <a16:creationId xmlns:a16="http://schemas.microsoft.com/office/drawing/2014/main" id="{BA6DA240-611F-4B5A-B59F-B5E4657C8B5C}"/>
                        </a:ext>
                      </a:extLst>
                    </p:cNvPr>
                    <p:cNvSpPr/>
                    <p:nvPr/>
                  </p:nvSpPr>
                  <p:spPr>
                    <a:xfrm>
                      <a:off x="9482402" y="2525488"/>
                      <a:ext cx="51533" cy="66243"/>
                    </a:xfrm>
                    <a:custGeom>
                      <a:avLst/>
                      <a:gdLst>
                        <a:gd name="connsiteX0" fmla="*/ 43967 w 51533"/>
                        <a:gd name="connsiteY0" fmla="*/ 22932 h 66243"/>
                        <a:gd name="connsiteX1" fmla="*/ 25631 w 51533"/>
                        <a:gd name="connsiteY1" fmla="*/ 3590 h 66243"/>
                        <a:gd name="connsiteX2" fmla="*/ 7293 w 51533"/>
                        <a:gd name="connsiteY2" fmla="*/ 1706 h 66243"/>
                        <a:gd name="connsiteX3" fmla="*/ 9 w 51533"/>
                        <a:gd name="connsiteY3" fmla="*/ 13512 h 66243"/>
                        <a:gd name="connsiteX4" fmla="*/ 32790 w 51533"/>
                        <a:gd name="connsiteY4" fmla="*/ 65885 h 66243"/>
                        <a:gd name="connsiteX5" fmla="*/ 43841 w 51533"/>
                        <a:gd name="connsiteY5" fmla="*/ 65006 h 66243"/>
                        <a:gd name="connsiteX6" fmla="*/ 43967 w 51533"/>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3"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90" y="65885"/>
                            <a:pt x="32790" y="65885"/>
                          </a:cubicBezTo>
                          <a:cubicBezTo>
                            <a:pt x="36683" y="66639"/>
                            <a:pt x="41958" y="66136"/>
                            <a:pt x="43841" y="65006"/>
                          </a:cubicBezTo>
                          <a:cubicBezTo>
                            <a:pt x="54140" y="59103"/>
                            <a:pt x="54014" y="40515"/>
                            <a:pt x="43967" y="229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1" name="Freeform: Shape 4570">
                      <a:extLst>
                        <a:ext uri="{FF2B5EF4-FFF2-40B4-BE49-F238E27FC236}">
                          <a16:creationId xmlns:a16="http://schemas.microsoft.com/office/drawing/2014/main" id="{DD8CB174-D263-4E11-B032-F12C4EC4326C}"/>
                        </a:ext>
                      </a:extLst>
                    </p:cNvPr>
                    <p:cNvSpPr/>
                    <p:nvPr/>
                  </p:nvSpPr>
                  <p:spPr>
                    <a:xfrm>
                      <a:off x="9481531" y="2528195"/>
                      <a:ext cx="49202" cy="63556"/>
                    </a:xfrm>
                    <a:custGeom>
                      <a:avLst/>
                      <a:gdLst>
                        <a:gd name="connsiteX0" fmla="*/ 41949 w 49202"/>
                        <a:gd name="connsiteY0" fmla="*/ 61921 h 63556"/>
                        <a:gd name="connsiteX1" fmla="*/ 7159 w 49202"/>
                        <a:gd name="connsiteY1" fmla="*/ 41826 h 63556"/>
                        <a:gd name="connsiteX2" fmla="*/ 7159 w 49202"/>
                        <a:gd name="connsiteY2" fmla="*/ 1636 h 63556"/>
                        <a:gd name="connsiteX3" fmla="*/ 41949 w 49202"/>
                        <a:gd name="connsiteY3" fmla="*/ 21731 h 63556"/>
                        <a:gd name="connsiteX4" fmla="*/ 41949 w 49202"/>
                        <a:gd name="connsiteY4" fmla="*/ 61921 h 63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02" h="63556">
                          <a:moveTo>
                            <a:pt x="41949" y="61921"/>
                          </a:moveTo>
                          <a:cubicBezTo>
                            <a:pt x="32404" y="67447"/>
                            <a:pt x="16830" y="58530"/>
                            <a:pt x="7159" y="41826"/>
                          </a:cubicBezTo>
                          <a:cubicBezTo>
                            <a:pt x="-2386" y="25248"/>
                            <a:pt x="-2386" y="7162"/>
                            <a:pt x="7159" y="1636"/>
                          </a:cubicBezTo>
                          <a:cubicBezTo>
                            <a:pt x="16704" y="-3890"/>
                            <a:pt x="32278" y="5027"/>
                            <a:pt x="41949" y="21731"/>
                          </a:cubicBezTo>
                          <a:cubicBezTo>
                            <a:pt x="51620" y="38435"/>
                            <a:pt x="51620" y="56395"/>
                            <a:pt x="41949" y="61921"/>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72" name="Graphic 4">
                    <a:extLst>
                      <a:ext uri="{FF2B5EF4-FFF2-40B4-BE49-F238E27FC236}">
                        <a16:creationId xmlns:a16="http://schemas.microsoft.com/office/drawing/2014/main" id="{84FB7ED1-A2DF-40A1-A747-5F7CF3F14040}"/>
                      </a:ext>
                    </a:extLst>
                  </p:cNvPr>
                  <p:cNvGrpSpPr/>
                  <p:nvPr/>
                </p:nvGrpSpPr>
                <p:grpSpPr>
                  <a:xfrm>
                    <a:off x="9454641" y="2527939"/>
                    <a:ext cx="76654" cy="81705"/>
                    <a:chOff x="9454641" y="2527939"/>
                    <a:chExt cx="76654" cy="81705"/>
                  </a:xfrm>
                  <a:solidFill>
                    <a:schemeClr val="accent1"/>
                  </a:solidFill>
                </p:grpSpPr>
                <p:grpSp>
                  <p:nvGrpSpPr>
                    <p:cNvPr id="4573" name="Graphic 4">
                      <a:extLst>
                        <a:ext uri="{FF2B5EF4-FFF2-40B4-BE49-F238E27FC236}">
                          <a16:creationId xmlns:a16="http://schemas.microsoft.com/office/drawing/2014/main" id="{84FB7ED1-A2DF-40A1-A747-5F7CF3F14040}"/>
                        </a:ext>
                      </a:extLst>
                    </p:cNvPr>
                    <p:cNvGrpSpPr/>
                    <p:nvPr/>
                  </p:nvGrpSpPr>
                  <p:grpSpPr>
                    <a:xfrm>
                      <a:off x="9454641" y="2527939"/>
                      <a:ext cx="76654" cy="81705"/>
                      <a:chOff x="9454641" y="2527939"/>
                      <a:chExt cx="76654" cy="81705"/>
                    </a:xfrm>
                    <a:solidFill>
                      <a:schemeClr val="accent1"/>
                    </a:solidFill>
                  </p:grpSpPr>
                  <p:sp>
                    <p:nvSpPr>
                      <p:cNvPr id="4574" name="Freeform: Shape 4573">
                        <a:extLst>
                          <a:ext uri="{FF2B5EF4-FFF2-40B4-BE49-F238E27FC236}">
                            <a16:creationId xmlns:a16="http://schemas.microsoft.com/office/drawing/2014/main" id="{7E4CF509-A50B-4232-AF1D-B3F6C16FDE13}"/>
                          </a:ext>
                        </a:extLst>
                      </p:cNvPr>
                      <p:cNvSpPr/>
                      <p:nvPr/>
                    </p:nvSpPr>
                    <p:spPr>
                      <a:xfrm>
                        <a:off x="9473243" y="2527939"/>
                        <a:ext cx="58052" cy="72225"/>
                      </a:xfrm>
                      <a:custGeom>
                        <a:avLst/>
                        <a:gdLst>
                          <a:gd name="connsiteX0" fmla="*/ 50866 w 58052"/>
                          <a:gd name="connsiteY0" fmla="*/ 21736 h 72225"/>
                          <a:gd name="connsiteX1" fmla="*/ 33534 w 58052"/>
                          <a:gd name="connsiteY1" fmla="*/ 3400 h 72225"/>
                          <a:gd name="connsiteX2" fmla="*/ 22105 w 58052"/>
                          <a:gd name="connsiteY2" fmla="*/ 9 h 72225"/>
                          <a:gd name="connsiteX3" fmla="*/ 18337 w 58052"/>
                          <a:gd name="connsiteY3" fmla="*/ 134 h 72225"/>
                          <a:gd name="connsiteX4" fmla="*/ 18337 w 58052"/>
                          <a:gd name="connsiteY4" fmla="*/ 134 h 72225"/>
                          <a:gd name="connsiteX5" fmla="*/ 18337 w 58052"/>
                          <a:gd name="connsiteY5" fmla="*/ 134 h 72225"/>
                          <a:gd name="connsiteX6" fmla="*/ 18337 w 58052"/>
                          <a:gd name="connsiteY6" fmla="*/ 134 h 72225"/>
                          <a:gd name="connsiteX7" fmla="*/ 12057 w 58052"/>
                          <a:gd name="connsiteY7" fmla="*/ 1767 h 72225"/>
                          <a:gd name="connsiteX8" fmla="*/ 0 w 58052"/>
                          <a:gd name="connsiteY8" fmla="*/ 8800 h 72225"/>
                          <a:gd name="connsiteX9" fmla="*/ 18337 w 58052"/>
                          <a:gd name="connsiteY9" fmla="*/ 10684 h 72225"/>
                          <a:gd name="connsiteX10" fmla="*/ 36673 w 58052"/>
                          <a:gd name="connsiteY10" fmla="*/ 30026 h 72225"/>
                          <a:gd name="connsiteX11" fmla="*/ 36548 w 58052"/>
                          <a:gd name="connsiteY11" fmla="*/ 72226 h 72225"/>
                          <a:gd name="connsiteX12" fmla="*/ 48605 w 58052"/>
                          <a:gd name="connsiteY12" fmla="*/ 65192 h 72225"/>
                          <a:gd name="connsiteX13" fmla="*/ 55387 w 58052"/>
                          <a:gd name="connsiteY13" fmla="*/ 57154 h 72225"/>
                          <a:gd name="connsiteX14" fmla="*/ 50866 w 58052"/>
                          <a:gd name="connsiteY14" fmla="*/ 21736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2" h="72225">
                            <a:moveTo>
                              <a:pt x="50866" y="21736"/>
                            </a:moveTo>
                            <a:cubicBezTo>
                              <a:pt x="46093" y="13447"/>
                              <a:pt x="39813" y="7042"/>
                              <a:pt x="33534" y="3400"/>
                            </a:cubicBezTo>
                            <a:cubicBezTo>
                              <a:pt x="29640" y="1139"/>
                              <a:pt x="25621" y="-117"/>
                              <a:pt x="22105" y="9"/>
                            </a:cubicBezTo>
                            <a:cubicBezTo>
                              <a:pt x="20848" y="9"/>
                              <a:pt x="19593" y="134"/>
                              <a:pt x="18337" y="134"/>
                            </a:cubicBezTo>
                            <a:cubicBezTo>
                              <a:pt x="18337" y="134"/>
                              <a:pt x="18337" y="134"/>
                              <a:pt x="18337" y="134"/>
                            </a:cubicBezTo>
                            <a:lnTo>
                              <a:pt x="18337" y="134"/>
                            </a:lnTo>
                            <a:lnTo>
                              <a:pt x="18337" y="134"/>
                            </a:lnTo>
                            <a:cubicBezTo>
                              <a:pt x="16076" y="134"/>
                              <a:pt x="13941" y="762"/>
                              <a:pt x="12057" y="1767"/>
                            </a:cubicBezTo>
                            <a:lnTo>
                              <a:pt x="0" y="8800"/>
                            </a:lnTo>
                            <a:cubicBezTo>
                              <a:pt x="5024" y="5912"/>
                              <a:pt x="11680" y="6791"/>
                              <a:pt x="18337" y="10684"/>
                            </a:cubicBezTo>
                            <a:cubicBezTo>
                              <a:pt x="24993" y="14578"/>
                              <a:pt x="31650" y="21234"/>
                              <a:pt x="36673" y="30026"/>
                            </a:cubicBezTo>
                            <a:cubicBezTo>
                              <a:pt x="46721" y="47483"/>
                              <a:pt x="46721" y="66448"/>
                              <a:pt x="36548" y="72226"/>
                            </a:cubicBezTo>
                            <a:lnTo>
                              <a:pt x="48605" y="65192"/>
                            </a:lnTo>
                            <a:cubicBezTo>
                              <a:pt x="52876" y="62680"/>
                              <a:pt x="55011" y="57782"/>
                              <a:pt x="55387" y="57154"/>
                            </a:cubicBezTo>
                            <a:cubicBezTo>
                              <a:pt x="60034" y="49367"/>
                              <a:pt x="58653" y="35050"/>
                              <a:pt x="50866" y="2173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5" name="Freeform: Shape 4574">
                        <a:extLst>
                          <a:ext uri="{FF2B5EF4-FFF2-40B4-BE49-F238E27FC236}">
                            <a16:creationId xmlns:a16="http://schemas.microsoft.com/office/drawing/2014/main" id="{B92A8746-F827-4EEB-ABD9-A2AE55B486A5}"/>
                          </a:ext>
                        </a:extLst>
                      </p:cNvPr>
                      <p:cNvSpPr/>
                      <p:nvPr/>
                    </p:nvSpPr>
                    <p:spPr>
                      <a:xfrm>
                        <a:off x="9465949" y="2535033"/>
                        <a:ext cx="51533" cy="66243"/>
                      </a:xfrm>
                      <a:custGeom>
                        <a:avLst/>
                        <a:gdLst>
                          <a:gd name="connsiteX0" fmla="*/ 43967 w 51533"/>
                          <a:gd name="connsiteY0" fmla="*/ 22932 h 66243"/>
                          <a:gd name="connsiteX1" fmla="*/ 25631 w 51533"/>
                          <a:gd name="connsiteY1" fmla="*/ 3590 h 66243"/>
                          <a:gd name="connsiteX2" fmla="*/ 7293 w 51533"/>
                          <a:gd name="connsiteY2" fmla="*/ 1706 h 66243"/>
                          <a:gd name="connsiteX3" fmla="*/ 9 w 51533"/>
                          <a:gd name="connsiteY3" fmla="*/ 13512 h 66243"/>
                          <a:gd name="connsiteX4" fmla="*/ 32789 w 51533"/>
                          <a:gd name="connsiteY4" fmla="*/ 65885 h 66243"/>
                          <a:gd name="connsiteX5" fmla="*/ 43841 w 51533"/>
                          <a:gd name="connsiteY5" fmla="*/ 65006 h 66243"/>
                          <a:gd name="connsiteX6" fmla="*/ 43967 w 51533"/>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3"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89" y="65885"/>
                              <a:pt x="32789" y="65885"/>
                            </a:cubicBezTo>
                            <a:cubicBezTo>
                              <a:pt x="36683" y="66639"/>
                              <a:pt x="41958" y="66136"/>
                              <a:pt x="43841" y="65006"/>
                            </a:cubicBezTo>
                            <a:cubicBezTo>
                              <a:pt x="54140" y="59103"/>
                              <a:pt x="54014" y="40515"/>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6" name="Freeform: Shape 4575">
                        <a:extLst>
                          <a:ext uri="{FF2B5EF4-FFF2-40B4-BE49-F238E27FC236}">
                            <a16:creationId xmlns:a16="http://schemas.microsoft.com/office/drawing/2014/main" id="{F8ABD9A6-F72A-4882-9088-DBB27FC6AF56}"/>
                          </a:ext>
                        </a:extLst>
                      </p:cNvPr>
                      <p:cNvSpPr/>
                      <p:nvPr/>
                    </p:nvSpPr>
                    <p:spPr>
                      <a:xfrm>
                        <a:off x="9454641" y="2529294"/>
                        <a:ext cx="69594" cy="80351"/>
                      </a:xfrm>
                      <a:custGeom>
                        <a:avLst/>
                        <a:gdLst>
                          <a:gd name="connsiteX0" fmla="*/ 52199 w 69594"/>
                          <a:gd name="connsiteY0" fmla="*/ 30128 h 80351"/>
                          <a:gd name="connsiteX1" fmla="*/ 52192 w 69594"/>
                          <a:gd name="connsiteY1" fmla="*/ 70303 h 80351"/>
                          <a:gd name="connsiteX2" fmla="*/ 17395 w 69594"/>
                          <a:gd name="connsiteY2" fmla="*/ 50223 h 80351"/>
                          <a:gd name="connsiteX3" fmla="*/ 17402 w 69594"/>
                          <a:gd name="connsiteY3" fmla="*/ 10048 h 80351"/>
                          <a:gd name="connsiteX4" fmla="*/ 52199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199" y="30128"/>
                            </a:moveTo>
                            <a:cubicBezTo>
                              <a:pt x="61806" y="46767"/>
                              <a:pt x="61803" y="64755"/>
                              <a:pt x="52192" y="70303"/>
                            </a:cubicBezTo>
                            <a:cubicBezTo>
                              <a:pt x="42581" y="75853"/>
                              <a:pt x="27002" y="66862"/>
                              <a:pt x="17395" y="50223"/>
                            </a:cubicBezTo>
                            <a:cubicBezTo>
                              <a:pt x="7788" y="33584"/>
                              <a:pt x="7792" y="15596"/>
                              <a:pt x="17402" y="10048"/>
                            </a:cubicBezTo>
                            <a:cubicBezTo>
                              <a:pt x="27014" y="4498"/>
                              <a:pt x="42593" y="13489"/>
                              <a:pt x="52199"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77" name="Graphic 4">
                      <a:extLst>
                        <a:ext uri="{FF2B5EF4-FFF2-40B4-BE49-F238E27FC236}">
                          <a16:creationId xmlns:a16="http://schemas.microsoft.com/office/drawing/2014/main" id="{84FB7ED1-A2DF-40A1-A747-5F7CF3F14040}"/>
                        </a:ext>
                      </a:extLst>
                    </p:cNvPr>
                    <p:cNvGrpSpPr/>
                    <p:nvPr/>
                  </p:nvGrpSpPr>
                  <p:grpSpPr>
                    <a:xfrm>
                      <a:off x="9472991" y="2548063"/>
                      <a:ext cx="33282" cy="42911"/>
                      <a:chOff x="9472991" y="2548063"/>
                      <a:chExt cx="33282" cy="42911"/>
                    </a:xfrm>
                    <a:solidFill>
                      <a:schemeClr val="accent1"/>
                    </a:solidFill>
                  </p:grpSpPr>
                  <p:sp>
                    <p:nvSpPr>
                      <p:cNvPr id="4578" name="Freeform: Shape 4577">
                        <a:extLst>
                          <a:ext uri="{FF2B5EF4-FFF2-40B4-BE49-F238E27FC236}">
                            <a16:creationId xmlns:a16="http://schemas.microsoft.com/office/drawing/2014/main" id="{4623AFE2-CB54-49B7-BEEB-834922E11A14}"/>
                          </a:ext>
                        </a:extLst>
                      </p:cNvPr>
                      <p:cNvSpPr/>
                      <p:nvPr/>
                    </p:nvSpPr>
                    <p:spPr>
                      <a:xfrm>
                        <a:off x="9474248" y="2549635"/>
                        <a:ext cx="30770" cy="39768"/>
                      </a:xfrm>
                      <a:custGeom>
                        <a:avLst/>
                        <a:gdLst>
                          <a:gd name="connsiteX0" fmla="*/ 26249 w 30770"/>
                          <a:gd name="connsiteY0" fmla="*/ 38723 h 39768"/>
                          <a:gd name="connsiteX1" fmla="*/ 4521 w 30770"/>
                          <a:gd name="connsiteY1" fmla="*/ 26164 h 39768"/>
                          <a:gd name="connsiteX2" fmla="*/ 4521 w 30770"/>
                          <a:gd name="connsiteY2" fmla="*/ 1045 h 39768"/>
                          <a:gd name="connsiteX3" fmla="*/ 26249 w 30770"/>
                          <a:gd name="connsiteY3" fmla="*/ 13604 h 39768"/>
                          <a:gd name="connsiteX4" fmla="*/ 26249 w 30770"/>
                          <a:gd name="connsiteY4" fmla="*/ 38723 h 3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39768">
                            <a:moveTo>
                              <a:pt x="26249" y="38723"/>
                            </a:moveTo>
                            <a:cubicBezTo>
                              <a:pt x="20221" y="42240"/>
                              <a:pt x="10424" y="36588"/>
                              <a:pt x="4521" y="26164"/>
                            </a:cubicBezTo>
                            <a:cubicBezTo>
                              <a:pt x="-1507" y="15740"/>
                              <a:pt x="-1507" y="4436"/>
                              <a:pt x="4521" y="1045"/>
                            </a:cubicBezTo>
                            <a:cubicBezTo>
                              <a:pt x="10550" y="-2472"/>
                              <a:pt x="20346" y="3180"/>
                              <a:pt x="26249" y="13604"/>
                            </a:cubicBezTo>
                            <a:cubicBezTo>
                              <a:pt x="32278" y="24029"/>
                              <a:pt x="32278" y="35332"/>
                              <a:pt x="26249" y="3872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9" name="Freeform: Shape 4578">
                        <a:extLst>
                          <a:ext uri="{FF2B5EF4-FFF2-40B4-BE49-F238E27FC236}">
                            <a16:creationId xmlns:a16="http://schemas.microsoft.com/office/drawing/2014/main" id="{4A4CE3F9-1209-4D3F-AD49-1CE54A9E2C6E}"/>
                          </a:ext>
                        </a:extLst>
                      </p:cNvPr>
                      <p:cNvSpPr/>
                      <p:nvPr/>
                    </p:nvSpPr>
                    <p:spPr>
                      <a:xfrm>
                        <a:off x="9472991" y="2548063"/>
                        <a:ext cx="33282" cy="42911"/>
                      </a:xfrm>
                      <a:custGeom>
                        <a:avLst/>
                        <a:gdLst>
                          <a:gd name="connsiteX0" fmla="*/ 28385 w 33282"/>
                          <a:gd name="connsiteY0" fmla="*/ 14673 h 42911"/>
                          <a:gd name="connsiteX1" fmla="*/ 4898 w 33282"/>
                          <a:gd name="connsiteY1" fmla="*/ 1109 h 42911"/>
                          <a:gd name="connsiteX2" fmla="*/ 4898 w 33282"/>
                          <a:gd name="connsiteY2" fmla="*/ 28238 h 42911"/>
                          <a:gd name="connsiteX3" fmla="*/ 28385 w 33282"/>
                          <a:gd name="connsiteY3" fmla="*/ 41802 h 42911"/>
                          <a:gd name="connsiteX4" fmla="*/ 28385 w 33282"/>
                          <a:gd name="connsiteY4" fmla="*/ 14673 h 42911"/>
                          <a:gd name="connsiteX5" fmla="*/ 29515 w 33282"/>
                          <a:gd name="connsiteY5" fmla="*/ 19195 h 42911"/>
                          <a:gd name="connsiteX6" fmla="*/ 22356 w 33282"/>
                          <a:gd name="connsiteY6" fmla="*/ 17688 h 42911"/>
                          <a:gd name="connsiteX7" fmla="*/ 20723 w 33282"/>
                          <a:gd name="connsiteY7" fmla="*/ 15427 h 42911"/>
                          <a:gd name="connsiteX8" fmla="*/ 20723 w 33282"/>
                          <a:gd name="connsiteY8" fmla="*/ 6635 h 42911"/>
                          <a:gd name="connsiteX9" fmla="*/ 27505 w 33282"/>
                          <a:gd name="connsiteY9" fmla="*/ 15176 h 42911"/>
                          <a:gd name="connsiteX10" fmla="*/ 29515 w 33282"/>
                          <a:gd name="connsiteY10" fmla="*/ 19195 h 42911"/>
                          <a:gd name="connsiteX11" fmla="*/ 5778 w 33282"/>
                          <a:gd name="connsiteY11" fmla="*/ 2616 h 42911"/>
                          <a:gd name="connsiteX12" fmla="*/ 12559 w 33282"/>
                          <a:gd name="connsiteY12" fmla="*/ 1988 h 42911"/>
                          <a:gd name="connsiteX13" fmla="*/ 12559 w 33282"/>
                          <a:gd name="connsiteY13" fmla="*/ 10780 h 42911"/>
                          <a:gd name="connsiteX14" fmla="*/ 10927 w 33282"/>
                          <a:gd name="connsiteY14" fmla="*/ 11157 h 42911"/>
                          <a:gd name="connsiteX15" fmla="*/ 3768 w 33282"/>
                          <a:gd name="connsiteY15" fmla="*/ 4249 h 42911"/>
                          <a:gd name="connsiteX16" fmla="*/ 5778 w 33282"/>
                          <a:gd name="connsiteY16" fmla="*/ 2616 h 42911"/>
                          <a:gd name="connsiteX17" fmla="*/ 1256 w 33282"/>
                          <a:gd name="connsiteY17" fmla="*/ 11785 h 42911"/>
                          <a:gd name="connsiteX18" fmla="*/ 8415 w 33282"/>
                          <a:gd name="connsiteY18" fmla="*/ 18693 h 42911"/>
                          <a:gd name="connsiteX19" fmla="*/ 9043 w 33282"/>
                          <a:gd name="connsiteY19" fmla="*/ 21204 h 42911"/>
                          <a:gd name="connsiteX20" fmla="*/ 4647 w 33282"/>
                          <a:gd name="connsiteY20" fmla="*/ 25726 h 42911"/>
                          <a:gd name="connsiteX21" fmla="*/ 1256 w 33282"/>
                          <a:gd name="connsiteY21" fmla="*/ 11785 h 42911"/>
                          <a:gd name="connsiteX22" fmla="*/ 11178 w 33282"/>
                          <a:gd name="connsiteY22" fmla="*/ 35020 h 42911"/>
                          <a:gd name="connsiteX23" fmla="*/ 15574 w 33282"/>
                          <a:gd name="connsiteY23" fmla="*/ 30498 h 42911"/>
                          <a:gd name="connsiteX24" fmla="*/ 17584 w 33282"/>
                          <a:gd name="connsiteY24" fmla="*/ 31629 h 42911"/>
                          <a:gd name="connsiteX25" fmla="*/ 21979 w 33282"/>
                          <a:gd name="connsiteY25" fmla="*/ 41300 h 42911"/>
                          <a:gd name="connsiteX26" fmla="*/ 11178 w 33282"/>
                          <a:gd name="connsiteY26" fmla="*/ 35020 h 42911"/>
                          <a:gd name="connsiteX27" fmla="*/ 28636 w 33282"/>
                          <a:gd name="connsiteY27" fmla="*/ 39541 h 42911"/>
                          <a:gd name="connsiteX28" fmla="*/ 24240 w 33282"/>
                          <a:gd name="connsiteY28" fmla="*/ 29870 h 42911"/>
                          <a:gd name="connsiteX29" fmla="*/ 24868 w 33282"/>
                          <a:gd name="connsiteY29" fmla="*/ 28112 h 42911"/>
                          <a:gd name="connsiteX30" fmla="*/ 32027 w 33282"/>
                          <a:gd name="connsiteY30" fmla="*/ 29619 h 42911"/>
                          <a:gd name="connsiteX31" fmla="*/ 28636 w 33282"/>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282" h="42911">
                            <a:moveTo>
                              <a:pt x="28385" y="14673"/>
                            </a:moveTo>
                            <a:cubicBezTo>
                              <a:pt x="21853" y="3496"/>
                              <a:pt x="11430" y="-2659"/>
                              <a:pt x="4898" y="1109"/>
                            </a:cubicBezTo>
                            <a:cubicBezTo>
                              <a:pt x="-1633" y="4877"/>
                              <a:pt x="-1633" y="16934"/>
                              <a:pt x="4898" y="28238"/>
                            </a:cubicBezTo>
                            <a:cubicBezTo>
                              <a:pt x="11430" y="39416"/>
                              <a:pt x="21853" y="45570"/>
                              <a:pt x="28385" y="41802"/>
                            </a:cubicBezTo>
                            <a:cubicBezTo>
                              <a:pt x="34916" y="38034"/>
                              <a:pt x="34916" y="25977"/>
                              <a:pt x="28385" y="14673"/>
                            </a:cubicBezTo>
                            <a:close/>
                            <a:moveTo>
                              <a:pt x="29515" y="19195"/>
                            </a:moveTo>
                            <a:lnTo>
                              <a:pt x="22356" y="17688"/>
                            </a:lnTo>
                            <a:cubicBezTo>
                              <a:pt x="21853" y="16934"/>
                              <a:pt x="21351" y="16181"/>
                              <a:pt x="20723" y="15427"/>
                            </a:cubicBezTo>
                            <a:lnTo>
                              <a:pt x="20723" y="6635"/>
                            </a:lnTo>
                            <a:cubicBezTo>
                              <a:pt x="23236" y="8896"/>
                              <a:pt x="25622" y="11785"/>
                              <a:pt x="27505" y="15176"/>
                            </a:cubicBezTo>
                            <a:cubicBezTo>
                              <a:pt x="28259" y="16557"/>
                              <a:pt x="29012" y="17813"/>
                              <a:pt x="29515" y="19195"/>
                            </a:cubicBezTo>
                            <a:close/>
                            <a:moveTo>
                              <a:pt x="5778" y="2616"/>
                            </a:moveTo>
                            <a:cubicBezTo>
                              <a:pt x="7787" y="1486"/>
                              <a:pt x="10047" y="1360"/>
                              <a:pt x="12559" y="1988"/>
                            </a:cubicBezTo>
                            <a:lnTo>
                              <a:pt x="12559" y="10780"/>
                            </a:lnTo>
                            <a:cubicBezTo>
                              <a:pt x="12057" y="10780"/>
                              <a:pt x="11430" y="10906"/>
                              <a:pt x="10927" y="11157"/>
                            </a:cubicBezTo>
                            <a:lnTo>
                              <a:pt x="3768" y="4249"/>
                            </a:lnTo>
                            <a:cubicBezTo>
                              <a:pt x="4396" y="3621"/>
                              <a:pt x="5024" y="2993"/>
                              <a:pt x="5778" y="2616"/>
                            </a:cubicBezTo>
                            <a:close/>
                            <a:moveTo>
                              <a:pt x="1256" y="11785"/>
                            </a:moveTo>
                            <a:lnTo>
                              <a:pt x="8415" y="18693"/>
                            </a:lnTo>
                            <a:cubicBezTo>
                              <a:pt x="8540" y="19446"/>
                              <a:pt x="8792" y="20325"/>
                              <a:pt x="9043" y="21204"/>
                            </a:cubicBezTo>
                            <a:lnTo>
                              <a:pt x="4647" y="25726"/>
                            </a:lnTo>
                            <a:cubicBezTo>
                              <a:pt x="2261" y="20828"/>
                              <a:pt x="1131" y="15929"/>
                              <a:pt x="1256" y="11785"/>
                            </a:cubicBezTo>
                            <a:close/>
                            <a:moveTo>
                              <a:pt x="11178" y="35020"/>
                            </a:moveTo>
                            <a:lnTo>
                              <a:pt x="15574" y="30498"/>
                            </a:lnTo>
                            <a:cubicBezTo>
                              <a:pt x="16202" y="31001"/>
                              <a:pt x="16830" y="31378"/>
                              <a:pt x="17584" y="31629"/>
                            </a:cubicBezTo>
                            <a:lnTo>
                              <a:pt x="21979" y="41300"/>
                            </a:lnTo>
                            <a:cubicBezTo>
                              <a:pt x="18589" y="40797"/>
                              <a:pt x="14695" y="38537"/>
                              <a:pt x="11178" y="35020"/>
                            </a:cubicBezTo>
                            <a:close/>
                            <a:moveTo>
                              <a:pt x="28636" y="39541"/>
                            </a:moveTo>
                            <a:lnTo>
                              <a:pt x="24240" y="29870"/>
                            </a:lnTo>
                            <a:cubicBezTo>
                              <a:pt x="24491" y="29368"/>
                              <a:pt x="24743" y="28740"/>
                              <a:pt x="24868" y="28112"/>
                            </a:cubicBezTo>
                            <a:lnTo>
                              <a:pt x="32027" y="29619"/>
                            </a:lnTo>
                            <a:cubicBezTo>
                              <a:pt x="32152" y="33889"/>
                              <a:pt x="31148" y="37406"/>
                              <a:pt x="28636"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80" name="Graphic 4">
                        <a:extLst>
                          <a:ext uri="{FF2B5EF4-FFF2-40B4-BE49-F238E27FC236}">
                            <a16:creationId xmlns:a16="http://schemas.microsoft.com/office/drawing/2014/main" id="{84FB7ED1-A2DF-40A1-A747-5F7CF3F14040}"/>
                          </a:ext>
                        </a:extLst>
                      </p:cNvPr>
                      <p:cNvGrpSpPr/>
                      <p:nvPr/>
                    </p:nvGrpSpPr>
                    <p:grpSpPr>
                      <a:xfrm>
                        <a:off x="9474238" y="2550177"/>
                        <a:ext cx="29147" cy="39185"/>
                        <a:chOff x="9474238" y="2550177"/>
                        <a:chExt cx="29147" cy="39185"/>
                      </a:xfrm>
                      <a:solidFill>
                        <a:srgbClr val="ADAA99"/>
                      </a:solidFill>
                    </p:grpSpPr>
                    <p:sp>
                      <p:nvSpPr>
                        <p:cNvPr id="4581" name="Freeform: Shape 4580">
                          <a:extLst>
                            <a:ext uri="{FF2B5EF4-FFF2-40B4-BE49-F238E27FC236}">
                              <a16:creationId xmlns:a16="http://schemas.microsoft.com/office/drawing/2014/main" id="{A78DC69F-D649-4677-8D37-6A7E0FBD6695}"/>
                            </a:ext>
                          </a:extLst>
                        </p:cNvPr>
                        <p:cNvSpPr/>
                        <p:nvPr/>
                      </p:nvSpPr>
                      <p:spPr>
                        <a:xfrm>
                          <a:off x="9493715" y="2554699"/>
                          <a:ext cx="8791" cy="12559"/>
                        </a:xfrm>
                        <a:custGeom>
                          <a:avLst/>
                          <a:gdLst>
                            <a:gd name="connsiteX0" fmla="*/ 2135 w 8791"/>
                            <a:gd name="connsiteY0" fmla="*/ 7536 h 12559"/>
                            <a:gd name="connsiteX1" fmla="*/ 2135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642 w 8791"/>
                            <a:gd name="connsiteY7" fmla="*/ 9796 h 12559"/>
                            <a:gd name="connsiteX8" fmla="*/ 2135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5" y="7536"/>
                              </a:moveTo>
                              <a:lnTo>
                                <a:pt x="2135" y="2135"/>
                              </a:lnTo>
                              <a:cubicBezTo>
                                <a:pt x="1381" y="1382"/>
                                <a:pt x="754" y="628"/>
                                <a:pt x="0" y="0"/>
                              </a:cubicBezTo>
                              <a:lnTo>
                                <a:pt x="0" y="8792"/>
                              </a:lnTo>
                              <a:cubicBezTo>
                                <a:pt x="502" y="9420"/>
                                <a:pt x="1130" y="10173"/>
                                <a:pt x="1633" y="11052"/>
                              </a:cubicBezTo>
                              <a:lnTo>
                                <a:pt x="8792" y="12559"/>
                              </a:lnTo>
                              <a:cubicBezTo>
                                <a:pt x="8540" y="11931"/>
                                <a:pt x="8289" y="11304"/>
                                <a:pt x="7913" y="10676"/>
                              </a:cubicBezTo>
                              <a:lnTo>
                                <a:pt x="3642" y="9796"/>
                              </a:lnTo>
                              <a:cubicBezTo>
                                <a:pt x="3266" y="9043"/>
                                <a:pt x="2763" y="8289"/>
                                <a:pt x="2135"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2" name="Freeform: Shape 4581">
                          <a:extLst>
                            <a:ext uri="{FF2B5EF4-FFF2-40B4-BE49-F238E27FC236}">
                              <a16:creationId xmlns:a16="http://schemas.microsoft.com/office/drawing/2014/main" id="{1EB2F9D6-7182-4897-A565-80E85DBAA7F4}"/>
                            </a:ext>
                          </a:extLst>
                        </p:cNvPr>
                        <p:cNvSpPr/>
                        <p:nvPr/>
                      </p:nvSpPr>
                      <p:spPr>
                        <a:xfrm>
                          <a:off x="9497231" y="2576050"/>
                          <a:ext cx="6154" cy="11429"/>
                        </a:xfrm>
                        <a:custGeom>
                          <a:avLst/>
                          <a:gdLst>
                            <a:gd name="connsiteX0" fmla="*/ 2261 w 6154"/>
                            <a:gd name="connsiteY0" fmla="*/ 377 h 11429"/>
                            <a:gd name="connsiteX1" fmla="*/ 629 w 6154"/>
                            <a:gd name="connsiteY1" fmla="*/ 0 h 11429"/>
                            <a:gd name="connsiteX2" fmla="*/ 0 w 6154"/>
                            <a:gd name="connsiteY2" fmla="*/ 1758 h 11429"/>
                            <a:gd name="connsiteX3" fmla="*/ 4396 w 6154"/>
                            <a:gd name="connsiteY3" fmla="*/ 11429 h 11429"/>
                            <a:gd name="connsiteX4" fmla="*/ 6155 w 6154"/>
                            <a:gd name="connsiteY4" fmla="*/ 9294 h 11429"/>
                            <a:gd name="connsiteX5" fmla="*/ 2136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9" y="0"/>
                              </a:lnTo>
                              <a:cubicBezTo>
                                <a:pt x="503" y="628"/>
                                <a:pt x="251" y="1256"/>
                                <a:pt x="0" y="1758"/>
                              </a:cubicBezTo>
                              <a:lnTo>
                                <a:pt x="4396" y="11429"/>
                              </a:lnTo>
                              <a:cubicBezTo>
                                <a:pt x="5024" y="10801"/>
                                <a:pt x="5652" y="10173"/>
                                <a:pt x="6155" y="9294"/>
                              </a:cubicBezTo>
                              <a:lnTo>
                                <a:pt x="2136" y="502"/>
                              </a:lnTo>
                              <a:cubicBezTo>
                                <a:pt x="2136" y="628"/>
                                <a:pt x="2261" y="502"/>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3" name="Freeform: Shape 4582">
                          <a:extLst>
                            <a:ext uri="{FF2B5EF4-FFF2-40B4-BE49-F238E27FC236}">
                              <a16:creationId xmlns:a16="http://schemas.microsoft.com/office/drawing/2014/main" id="{C63F7C07-5568-4C5B-89FC-76D9DDDB8784}"/>
                            </a:ext>
                          </a:extLst>
                        </p:cNvPr>
                        <p:cNvSpPr/>
                        <p:nvPr/>
                      </p:nvSpPr>
                      <p:spPr>
                        <a:xfrm>
                          <a:off x="9474238" y="2559848"/>
                          <a:ext cx="5284" cy="13941"/>
                        </a:xfrm>
                        <a:custGeom>
                          <a:avLst/>
                          <a:gdLst>
                            <a:gd name="connsiteX0" fmla="*/ 9 w 5284"/>
                            <a:gd name="connsiteY0" fmla="*/ 0 h 13941"/>
                            <a:gd name="connsiteX1" fmla="*/ 3400 w 5284"/>
                            <a:gd name="connsiteY1" fmla="*/ 13941 h 13941"/>
                            <a:gd name="connsiteX2" fmla="*/ 5284 w 5284"/>
                            <a:gd name="connsiteY2" fmla="*/ 12057 h 13941"/>
                            <a:gd name="connsiteX3" fmla="*/ 2396 w 5284"/>
                            <a:gd name="connsiteY3" fmla="*/ 2261 h 13941"/>
                            <a:gd name="connsiteX4" fmla="*/ 9 w 5284"/>
                            <a:gd name="connsiteY4" fmla="*/ 0 h 13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1">
                              <a:moveTo>
                                <a:pt x="9" y="0"/>
                              </a:moveTo>
                              <a:cubicBezTo>
                                <a:pt x="-116" y="4145"/>
                                <a:pt x="1014" y="9043"/>
                                <a:pt x="3400" y="13941"/>
                              </a:cubicBezTo>
                              <a:lnTo>
                                <a:pt x="5284" y="12057"/>
                              </a:lnTo>
                              <a:cubicBezTo>
                                <a:pt x="3651" y="8666"/>
                                <a:pt x="2772"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4" name="Freeform: Shape 4583">
                          <a:extLst>
                            <a:ext uri="{FF2B5EF4-FFF2-40B4-BE49-F238E27FC236}">
                              <a16:creationId xmlns:a16="http://schemas.microsoft.com/office/drawing/2014/main" id="{AE9BE2DB-2E97-43B5-BCB4-EB694F805012}"/>
                            </a:ext>
                          </a:extLst>
                        </p:cNvPr>
                        <p:cNvSpPr/>
                        <p:nvPr/>
                      </p:nvSpPr>
                      <p:spPr>
                        <a:xfrm>
                          <a:off x="9484295" y="2578562"/>
                          <a:ext cx="10926" cy="10801"/>
                        </a:xfrm>
                        <a:custGeom>
                          <a:avLst/>
                          <a:gdLst>
                            <a:gd name="connsiteX0" fmla="*/ 2009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09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09" y="3265"/>
                              </a:moveTo>
                              <a:lnTo>
                                <a:pt x="4898" y="377"/>
                              </a:lnTo>
                              <a:cubicBezTo>
                                <a:pt x="4773" y="251"/>
                                <a:pt x="4521" y="126"/>
                                <a:pt x="4396" y="0"/>
                              </a:cubicBezTo>
                              <a:lnTo>
                                <a:pt x="0" y="4521"/>
                              </a:lnTo>
                              <a:cubicBezTo>
                                <a:pt x="3516" y="8038"/>
                                <a:pt x="7410" y="10299"/>
                                <a:pt x="10927" y="10801"/>
                              </a:cubicBezTo>
                              <a:lnTo>
                                <a:pt x="9922" y="8666"/>
                              </a:lnTo>
                              <a:cubicBezTo>
                                <a:pt x="7285" y="7661"/>
                                <a:pt x="4521" y="5777"/>
                                <a:pt x="2009"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5" name="Freeform: Shape 4584">
                          <a:extLst>
                            <a:ext uri="{FF2B5EF4-FFF2-40B4-BE49-F238E27FC236}">
                              <a16:creationId xmlns:a16="http://schemas.microsoft.com/office/drawing/2014/main" id="{6F97E096-6084-41AA-9262-ABC098EC0AB8}"/>
                            </a:ext>
                          </a:extLst>
                        </p:cNvPr>
                        <p:cNvSpPr/>
                        <p:nvPr/>
                      </p:nvSpPr>
                      <p:spPr>
                        <a:xfrm>
                          <a:off x="9476759" y="2550177"/>
                          <a:ext cx="8791" cy="9042"/>
                        </a:xfrm>
                        <a:custGeom>
                          <a:avLst/>
                          <a:gdLst>
                            <a:gd name="connsiteX0" fmla="*/ 3140 w 8791"/>
                            <a:gd name="connsiteY0" fmla="*/ 0 h 9042"/>
                            <a:gd name="connsiteX1" fmla="*/ 2010 w 8791"/>
                            <a:gd name="connsiteY1" fmla="*/ 502 h 9042"/>
                            <a:gd name="connsiteX2" fmla="*/ 0 w 8791"/>
                            <a:gd name="connsiteY2" fmla="*/ 2135 h 9042"/>
                            <a:gd name="connsiteX3" fmla="*/ 7159 w 8791"/>
                            <a:gd name="connsiteY3" fmla="*/ 9043 h 9042"/>
                            <a:gd name="connsiteX4" fmla="*/ 8792 w 8791"/>
                            <a:gd name="connsiteY4" fmla="*/ 8666 h 9042"/>
                            <a:gd name="connsiteX5" fmla="*/ 8792 w 8791"/>
                            <a:gd name="connsiteY5" fmla="*/ 7285 h 9042"/>
                            <a:gd name="connsiteX6" fmla="*/ 2136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10" y="502"/>
                              </a:cubicBezTo>
                              <a:cubicBezTo>
                                <a:pt x="1256" y="879"/>
                                <a:pt x="629" y="1507"/>
                                <a:pt x="0" y="2135"/>
                              </a:cubicBezTo>
                              <a:lnTo>
                                <a:pt x="7159" y="9043"/>
                              </a:lnTo>
                              <a:cubicBezTo>
                                <a:pt x="7662" y="8792"/>
                                <a:pt x="8164" y="8666"/>
                                <a:pt x="8792" y="8666"/>
                              </a:cubicBezTo>
                              <a:lnTo>
                                <a:pt x="8792" y="7285"/>
                              </a:lnTo>
                              <a:lnTo>
                                <a:pt x="2136" y="1005"/>
                              </a:lnTo>
                              <a:cubicBezTo>
                                <a:pt x="2512" y="628"/>
                                <a:pt x="2763" y="251"/>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86" name="Graphic 4">
                        <a:extLst>
                          <a:ext uri="{FF2B5EF4-FFF2-40B4-BE49-F238E27FC236}">
                            <a16:creationId xmlns:a16="http://schemas.microsoft.com/office/drawing/2014/main" id="{84FB7ED1-A2DF-40A1-A747-5F7CF3F14040}"/>
                          </a:ext>
                        </a:extLst>
                      </p:cNvPr>
                      <p:cNvGrpSpPr/>
                      <p:nvPr/>
                    </p:nvGrpSpPr>
                    <p:grpSpPr>
                      <a:xfrm>
                        <a:off x="9483364" y="2561781"/>
                        <a:ext cx="12662" cy="16077"/>
                        <a:chOff x="9483364" y="2561781"/>
                        <a:chExt cx="12662" cy="16077"/>
                      </a:xfrm>
                      <a:solidFill>
                        <a:srgbClr val="222222"/>
                      </a:solidFill>
                    </p:grpSpPr>
                    <p:sp>
                      <p:nvSpPr>
                        <p:cNvPr id="4587" name="Freeform: Shape 4586">
                          <a:extLst>
                            <a:ext uri="{FF2B5EF4-FFF2-40B4-BE49-F238E27FC236}">
                              <a16:creationId xmlns:a16="http://schemas.microsoft.com/office/drawing/2014/main" id="{E228219A-68BE-4754-A88F-C1847D839841}"/>
                            </a:ext>
                          </a:extLst>
                        </p:cNvPr>
                        <p:cNvSpPr/>
                        <p:nvPr/>
                      </p:nvSpPr>
                      <p:spPr>
                        <a:xfrm>
                          <a:off x="9487623" y="2566851"/>
                          <a:ext cx="4113" cy="5336"/>
                        </a:xfrm>
                        <a:custGeom>
                          <a:avLst/>
                          <a:gdLst>
                            <a:gd name="connsiteX0" fmla="*/ 3454 w 4113"/>
                            <a:gd name="connsiteY0" fmla="*/ 5180 h 5336"/>
                            <a:gd name="connsiteX1" fmla="*/ 565 w 4113"/>
                            <a:gd name="connsiteY1" fmla="*/ 3547 h 5336"/>
                            <a:gd name="connsiteX2" fmla="*/ 565 w 4113"/>
                            <a:gd name="connsiteY2" fmla="*/ 156 h 5336"/>
                            <a:gd name="connsiteX3" fmla="*/ 3454 w 4113"/>
                            <a:gd name="connsiteY3" fmla="*/ 1789 h 5336"/>
                            <a:gd name="connsiteX4" fmla="*/ 3454 w 4113"/>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3" h="5336">
                              <a:moveTo>
                                <a:pt x="3454" y="5180"/>
                              </a:moveTo>
                              <a:cubicBezTo>
                                <a:pt x="2700" y="5682"/>
                                <a:pt x="1319" y="4929"/>
                                <a:pt x="565" y="3547"/>
                              </a:cubicBezTo>
                              <a:cubicBezTo>
                                <a:pt x="-188" y="2166"/>
                                <a:pt x="-188" y="659"/>
                                <a:pt x="565" y="156"/>
                              </a:cubicBezTo>
                              <a:cubicBezTo>
                                <a:pt x="1319" y="-346"/>
                                <a:pt x="2700" y="407"/>
                                <a:pt x="3454" y="1789"/>
                              </a:cubicBezTo>
                              <a:cubicBezTo>
                                <a:pt x="4333" y="3296"/>
                                <a:pt x="4333" y="4803"/>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8" name="Freeform: Shape 4587">
                          <a:extLst>
                            <a:ext uri="{FF2B5EF4-FFF2-40B4-BE49-F238E27FC236}">
                              <a16:creationId xmlns:a16="http://schemas.microsoft.com/office/drawing/2014/main" id="{10BECDDB-D8C5-4520-AB13-C1A54EA6C003}"/>
                            </a:ext>
                          </a:extLst>
                        </p:cNvPr>
                        <p:cNvSpPr/>
                        <p:nvPr/>
                      </p:nvSpPr>
                      <p:spPr>
                        <a:xfrm>
                          <a:off x="9488440" y="2561781"/>
                          <a:ext cx="2385" cy="3167"/>
                        </a:xfrm>
                        <a:custGeom>
                          <a:avLst/>
                          <a:gdLst>
                            <a:gd name="connsiteX0" fmla="*/ 2009 w 2385"/>
                            <a:gd name="connsiteY0" fmla="*/ 3091 h 3167"/>
                            <a:gd name="connsiteX1" fmla="*/ 377 w 2385"/>
                            <a:gd name="connsiteY1" fmla="*/ 2086 h 3167"/>
                            <a:gd name="connsiteX2" fmla="*/ 377 w 2385"/>
                            <a:gd name="connsiteY2" fmla="*/ 76 h 3167"/>
                            <a:gd name="connsiteX3" fmla="*/ 2009 w 2385"/>
                            <a:gd name="connsiteY3" fmla="*/ 1081 h 3167"/>
                            <a:gd name="connsiteX4" fmla="*/ 2009 w 2385"/>
                            <a:gd name="connsiteY4" fmla="*/ 3091 h 3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5" h="3167">
                              <a:moveTo>
                                <a:pt x="2009" y="3091"/>
                              </a:moveTo>
                              <a:cubicBezTo>
                                <a:pt x="1507" y="3342"/>
                                <a:pt x="754" y="2965"/>
                                <a:pt x="377" y="2086"/>
                              </a:cubicBezTo>
                              <a:cubicBezTo>
                                <a:pt x="-126" y="1332"/>
                                <a:pt x="-126" y="453"/>
                                <a:pt x="377" y="76"/>
                              </a:cubicBezTo>
                              <a:cubicBezTo>
                                <a:pt x="879" y="-175"/>
                                <a:pt x="1633" y="202"/>
                                <a:pt x="2009" y="1081"/>
                              </a:cubicBezTo>
                              <a:cubicBezTo>
                                <a:pt x="2511" y="1960"/>
                                <a:pt x="2511" y="2839"/>
                                <a:pt x="2009" y="309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9" name="Freeform: Shape 4588">
                          <a:extLst>
                            <a:ext uri="{FF2B5EF4-FFF2-40B4-BE49-F238E27FC236}">
                              <a16:creationId xmlns:a16="http://schemas.microsoft.com/office/drawing/2014/main" id="{1DC13468-F213-4600-A178-9B0070F68210}"/>
                            </a:ext>
                          </a:extLst>
                        </p:cNvPr>
                        <p:cNvSpPr/>
                        <p:nvPr/>
                      </p:nvSpPr>
                      <p:spPr>
                        <a:xfrm>
                          <a:off x="9485280" y="2571201"/>
                          <a:ext cx="2424" cy="3030"/>
                        </a:xfrm>
                        <a:custGeom>
                          <a:avLst/>
                          <a:gdLst>
                            <a:gd name="connsiteX0" fmla="*/ 1024 w 2424"/>
                            <a:gd name="connsiteY0" fmla="*/ 76 h 3030"/>
                            <a:gd name="connsiteX1" fmla="*/ 2406 w 2424"/>
                            <a:gd name="connsiteY1" fmla="*/ 1960 h 3030"/>
                            <a:gd name="connsiteX2" fmla="*/ 1401 w 2424"/>
                            <a:gd name="connsiteY2" fmla="*/ 2965 h 3030"/>
                            <a:gd name="connsiteX3" fmla="*/ 19 w 2424"/>
                            <a:gd name="connsiteY3" fmla="*/ 1081 h 3030"/>
                            <a:gd name="connsiteX4" fmla="*/ 1024 w 2424"/>
                            <a:gd name="connsiteY4" fmla="*/ 76 h 3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030">
                              <a:moveTo>
                                <a:pt x="1024" y="76"/>
                              </a:moveTo>
                              <a:cubicBezTo>
                                <a:pt x="1652" y="328"/>
                                <a:pt x="2280" y="1207"/>
                                <a:pt x="2406" y="1960"/>
                              </a:cubicBezTo>
                              <a:cubicBezTo>
                                <a:pt x="2531" y="2714"/>
                                <a:pt x="2029" y="3216"/>
                                <a:pt x="1401" y="2965"/>
                              </a:cubicBezTo>
                              <a:cubicBezTo>
                                <a:pt x="773" y="2714"/>
                                <a:pt x="144" y="1835"/>
                                <a:pt x="19" y="1081"/>
                              </a:cubicBezTo>
                              <a:cubicBezTo>
                                <a:pt x="-106" y="202"/>
                                <a:pt x="396" y="-175"/>
                                <a:pt x="1024" y="7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0" name="Freeform: Shape 4589">
                          <a:extLst>
                            <a:ext uri="{FF2B5EF4-FFF2-40B4-BE49-F238E27FC236}">
                              <a16:creationId xmlns:a16="http://schemas.microsoft.com/office/drawing/2014/main" id="{791C900C-8AF6-4802-B574-9B401DD3F7B7}"/>
                            </a:ext>
                          </a:extLst>
                        </p:cNvPr>
                        <p:cNvSpPr/>
                        <p:nvPr/>
                      </p:nvSpPr>
                      <p:spPr>
                        <a:xfrm>
                          <a:off x="9491560" y="2574744"/>
                          <a:ext cx="2424" cy="3114"/>
                        </a:xfrm>
                        <a:custGeom>
                          <a:avLst/>
                          <a:gdLst>
                            <a:gd name="connsiteX0" fmla="*/ 19 w 2424"/>
                            <a:gd name="connsiteY0" fmla="*/ 678 h 3114"/>
                            <a:gd name="connsiteX1" fmla="*/ 1401 w 2424"/>
                            <a:gd name="connsiteY1" fmla="*/ 301 h 3114"/>
                            <a:gd name="connsiteX2" fmla="*/ 2406 w 2424"/>
                            <a:gd name="connsiteY2" fmla="*/ 2437 h 3114"/>
                            <a:gd name="connsiteX3" fmla="*/ 1024 w 2424"/>
                            <a:gd name="connsiteY3" fmla="*/ 2813 h 3114"/>
                            <a:gd name="connsiteX4" fmla="*/ 19 w 2424"/>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114">
                              <a:moveTo>
                                <a:pt x="19" y="678"/>
                              </a:moveTo>
                              <a:cubicBezTo>
                                <a:pt x="144" y="-75"/>
                                <a:pt x="773" y="-201"/>
                                <a:pt x="1401" y="301"/>
                              </a:cubicBezTo>
                              <a:cubicBezTo>
                                <a:pt x="2029" y="804"/>
                                <a:pt x="2531" y="1809"/>
                                <a:pt x="2406" y="2437"/>
                              </a:cubicBezTo>
                              <a:cubicBezTo>
                                <a:pt x="2280" y="3190"/>
                                <a:pt x="1652" y="3316"/>
                                <a:pt x="1024" y="2813"/>
                              </a:cubicBezTo>
                              <a:cubicBezTo>
                                <a:pt x="396" y="2311"/>
                                <a:pt x="-106" y="1432"/>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1" name="Freeform: Shape 4590">
                          <a:extLst>
                            <a:ext uri="{FF2B5EF4-FFF2-40B4-BE49-F238E27FC236}">
                              <a16:creationId xmlns:a16="http://schemas.microsoft.com/office/drawing/2014/main" id="{77EADC73-85F8-46A6-915C-3F00C67239FB}"/>
                            </a:ext>
                          </a:extLst>
                        </p:cNvPr>
                        <p:cNvSpPr/>
                        <p:nvPr/>
                      </p:nvSpPr>
                      <p:spPr>
                        <a:xfrm>
                          <a:off x="9493537" y="2569092"/>
                          <a:ext cx="2489" cy="3025"/>
                        </a:xfrm>
                        <a:custGeom>
                          <a:avLst/>
                          <a:gdLst>
                            <a:gd name="connsiteX0" fmla="*/ 679 w 2489"/>
                            <a:gd name="connsiteY0" fmla="*/ 2437 h 3025"/>
                            <a:gd name="connsiteX1" fmla="*/ 177 w 2489"/>
                            <a:gd name="connsiteY1" fmla="*/ 301 h 3025"/>
                            <a:gd name="connsiteX2" fmla="*/ 1810 w 2489"/>
                            <a:gd name="connsiteY2" fmla="*/ 678 h 3025"/>
                            <a:gd name="connsiteX3" fmla="*/ 2312 w 2489"/>
                            <a:gd name="connsiteY3" fmla="*/ 2813 h 3025"/>
                            <a:gd name="connsiteX4" fmla="*/ 679 w 2489"/>
                            <a:gd name="connsiteY4" fmla="*/ 2437 h 3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025">
                              <a:moveTo>
                                <a:pt x="679" y="2437"/>
                              </a:moveTo>
                              <a:cubicBezTo>
                                <a:pt x="52" y="1809"/>
                                <a:pt x="-200" y="804"/>
                                <a:pt x="177" y="301"/>
                              </a:cubicBezTo>
                              <a:cubicBezTo>
                                <a:pt x="554" y="-201"/>
                                <a:pt x="1182" y="-75"/>
                                <a:pt x="1810" y="678"/>
                              </a:cubicBezTo>
                              <a:cubicBezTo>
                                <a:pt x="2438" y="1432"/>
                                <a:pt x="2689" y="2311"/>
                                <a:pt x="2312" y="2813"/>
                              </a:cubicBezTo>
                              <a:cubicBezTo>
                                <a:pt x="1936" y="3190"/>
                                <a:pt x="1182" y="3065"/>
                                <a:pt x="679"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2" name="Freeform: Shape 4591">
                          <a:extLst>
                            <a:ext uri="{FF2B5EF4-FFF2-40B4-BE49-F238E27FC236}">
                              <a16:creationId xmlns:a16="http://schemas.microsoft.com/office/drawing/2014/main" id="{53DC0269-BF8C-480E-922D-A810EBE3E48E}"/>
                            </a:ext>
                          </a:extLst>
                        </p:cNvPr>
                        <p:cNvSpPr/>
                        <p:nvPr/>
                      </p:nvSpPr>
                      <p:spPr>
                        <a:xfrm>
                          <a:off x="9483364" y="2563226"/>
                          <a:ext cx="2433" cy="3027"/>
                        </a:xfrm>
                        <a:custGeom>
                          <a:avLst/>
                          <a:gdLst>
                            <a:gd name="connsiteX0" fmla="*/ 2312 w 2433"/>
                            <a:gd name="connsiteY0" fmla="*/ 1521 h 3027"/>
                            <a:gd name="connsiteX1" fmla="*/ 1810 w 2433"/>
                            <a:gd name="connsiteY1" fmla="*/ 3028 h 3027"/>
                            <a:gd name="connsiteX2" fmla="*/ 177 w 2433"/>
                            <a:gd name="connsiteY2" fmla="*/ 1521 h 3027"/>
                            <a:gd name="connsiteX3" fmla="*/ 679 w 2433"/>
                            <a:gd name="connsiteY3" fmla="*/ 14 h 3027"/>
                            <a:gd name="connsiteX4" fmla="*/ 2312 w 2433"/>
                            <a:gd name="connsiteY4" fmla="*/ 1521 h 3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 h="3027">
                              <a:moveTo>
                                <a:pt x="2312" y="1521"/>
                              </a:moveTo>
                              <a:cubicBezTo>
                                <a:pt x="2564" y="2400"/>
                                <a:pt x="2438" y="3028"/>
                                <a:pt x="1810" y="3028"/>
                              </a:cubicBezTo>
                              <a:cubicBezTo>
                                <a:pt x="1182" y="3028"/>
                                <a:pt x="554" y="2400"/>
                                <a:pt x="177" y="1521"/>
                              </a:cubicBezTo>
                              <a:cubicBezTo>
                                <a:pt x="-200" y="642"/>
                                <a:pt x="52" y="14"/>
                                <a:pt x="679" y="14"/>
                              </a:cubicBezTo>
                              <a:cubicBezTo>
                                <a:pt x="1307" y="-112"/>
                                <a:pt x="1936" y="642"/>
                                <a:pt x="2312" y="152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593" name="Graphic 4">
                  <a:extLst>
                    <a:ext uri="{FF2B5EF4-FFF2-40B4-BE49-F238E27FC236}">
                      <a16:creationId xmlns:a16="http://schemas.microsoft.com/office/drawing/2014/main" id="{84FB7ED1-A2DF-40A1-A747-5F7CF3F14040}"/>
                    </a:ext>
                  </a:extLst>
                </p:cNvPr>
                <p:cNvGrpSpPr/>
                <p:nvPr/>
              </p:nvGrpSpPr>
              <p:grpSpPr>
                <a:xfrm>
                  <a:off x="9451012" y="2501890"/>
                  <a:ext cx="109769" cy="95511"/>
                  <a:chOff x="9451012" y="2501890"/>
                  <a:chExt cx="109769" cy="95511"/>
                </a:xfrm>
                <a:solidFill>
                  <a:schemeClr val="accent1"/>
                </a:solidFill>
              </p:grpSpPr>
              <p:sp>
                <p:nvSpPr>
                  <p:cNvPr id="4594" name="Freeform: Shape 4593">
                    <a:extLst>
                      <a:ext uri="{FF2B5EF4-FFF2-40B4-BE49-F238E27FC236}">
                        <a16:creationId xmlns:a16="http://schemas.microsoft.com/office/drawing/2014/main" id="{31D2132D-E925-4E36-8A69-13438A3F1CE6}"/>
                      </a:ext>
                    </a:extLst>
                  </p:cNvPr>
                  <p:cNvSpPr/>
                  <p:nvPr/>
                </p:nvSpPr>
                <p:spPr>
                  <a:xfrm>
                    <a:off x="9451012" y="2519599"/>
                    <a:ext cx="78999" cy="77802"/>
                  </a:xfrm>
                  <a:custGeom>
                    <a:avLst/>
                    <a:gdLst>
                      <a:gd name="connsiteX0" fmla="*/ 11430 w 78999"/>
                      <a:gd name="connsiteY0" fmla="*/ 14000 h 77802"/>
                      <a:gd name="connsiteX1" fmla="*/ 33283 w 78999"/>
                      <a:gd name="connsiteY1" fmla="*/ 8474 h 77802"/>
                      <a:gd name="connsiteX2" fmla="*/ 45591 w 78999"/>
                      <a:gd name="connsiteY2" fmla="*/ 15633 h 77802"/>
                      <a:gd name="connsiteX3" fmla="*/ 67444 w 78999"/>
                      <a:gd name="connsiteY3" fmla="*/ 46404 h 77802"/>
                      <a:gd name="connsiteX4" fmla="*/ 75231 w 78999"/>
                      <a:gd name="connsiteY4" fmla="*/ 77174 h 77802"/>
                      <a:gd name="connsiteX5" fmla="*/ 79000 w 78999"/>
                      <a:gd name="connsiteY5" fmla="*/ 77802 h 77802"/>
                      <a:gd name="connsiteX6" fmla="*/ 71338 w 78999"/>
                      <a:gd name="connsiteY6" fmla="*/ 47031 h 77802"/>
                      <a:gd name="connsiteX7" fmla="*/ 64807 w 78999"/>
                      <a:gd name="connsiteY7" fmla="*/ 31207 h 77802"/>
                      <a:gd name="connsiteX8" fmla="*/ 45591 w 78999"/>
                      <a:gd name="connsiteY8" fmla="*/ 10860 h 77802"/>
                      <a:gd name="connsiteX9" fmla="*/ 33283 w 78999"/>
                      <a:gd name="connsiteY9" fmla="*/ 3701 h 77802"/>
                      <a:gd name="connsiteX10" fmla="*/ 14067 w 78999"/>
                      <a:gd name="connsiteY10" fmla="*/ 1817 h 77802"/>
                      <a:gd name="connsiteX11" fmla="*/ 7662 w 78999"/>
                      <a:gd name="connsiteY11" fmla="*/ 10107 h 77802"/>
                      <a:gd name="connsiteX12" fmla="*/ 0 w 78999"/>
                      <a:gd name="connsiteY12" fmla="*/ 31960 h 77802"/>
                      <a:gd name="connsiteX13" fmla="*/ 3768 w 78999"/>
                      <a:gd name="connsiteY13" fmla="*/ 35728 h 77802"/>
                      <a:gd name="connsiteX14" fmla="*/ 11430 w 78999"/>
                      <a:gd name="connsiteY14" fmla="*/ 14000 h 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999" h="77802">
                        <a:moveTo>
                          <a:pt x="11430" y="14000"/>
                        </a:moveTo>
                        <a:cubicBezTo>
                          <a:pt x="14569" y="4957"/>
                          <a:pt x="23361" y="2822"/>
                          <a:pt x="33283" y="8474"/>
                        </a:cubicBezTo>
                        <a:lnTo>
                          <a:pt x="45591" y="15633"/>
                        </a:lnTo>
                        <a:cubicBezTo>
                          <a:pt x="55513" y="21410"/>
                          <a:pt x="64304" y="33718"/>
                          <a:pt x="67444" y="46404"/>
                        </a:cubicBezTo>
                        <a:lnTo>
                          <a:pt x="75231" y="77174"/>
                        </a:lnTo>
                        <a:lnTo>
                          <a:pt x="79000" y="77802"/>
                        </a:lnTo>
                        <a:lnTo>
                          <a:pt x="71338" y="47031"/>
                        </a:lnTo>
                        <a:cubicBezTo>
                          <a:pt x="69956" y="41631"/>
                          <a:pt x="67696" y="36230"/>
                          <a:pt x="64807" y="31207"/>
                        </a:cubicBezTo>
                        <a:cubicBezTo>
                          <a:pt x="59783" y="22541"/>
                          <a:pt x="53001" y="15130"/>
                          <a:pt x="45591" y="10860"/>
                        </a:cubicBezTo>
                        <a:lnTo>
                          <a:pt x="33283" y="3701"/>
                        </a:lnTo>
                        <a:cubicBezTo>
                          <a:pt x="25873" y="-569"/>
                          <a:pt x="18965" y="-1071"/>
                          <a:pt x="14067" y="1817"/>
                        </a:cubicBezTo>
                        <a:cubicBezTo>
                          <a:pt x="11178" y="3450"/>
                          <a:pt x="8918" y="6213"/>
                          <a:pt x="7662" y="10107"/>
                        </a:cubicBezTo>
                        <a:lnTo>
                          <a:pt x="0" y="31960"/>
                        </a:lnTo>
                        <a:lnTo>
                          <a:pt x="3768" y="35728"/>
                        </a:lnTo>
                        <a:lnTo>
                          <a:pt x="11430" y="1400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5" name="Freeform: Shape 4594">
                    <a:extLst>
                      <a:ext uri="{FF2B5EF4-FFF2-40B4-BE49-F238E27FC236}">
                        <a16:creationId xmlns:a16="http://schemas.microsoft.com/office/drawing/2014/main" id="{548E948A-4DB1-41DE-996B-E38712D1E724}"/>
                      </a:ext>
                    </a:extLst>
                  </p:cNvPr>
                  <p:cNvSpPr/>
                  <p:nvPr/>
                </p:nvSpPr>
                <p:spPr>
                  <a:xfrm>
                    <a:off x="9465079" y="2501890"/>
                    <a:ext cx="81511" cy="48915"/>
                  </a:xfrm>
                  <a:custGeom>
                    <a:avLst/>
                    <a:gdLst>
                      <a:gd name="connsiteX0" fmla="*/ 62295 w 81511"/>
                      <a:gd name="connsiteY0" fmla="*/ 10860 h 48915"/>
                      <a:gd name="connsiteX1" fmla="*/ 49987 w 81511"/>
                      <a:gd name="connsiteY1" fmla="*/ 3701 h 48915"/>
                      <a:gd name="connsiteX2" fmla="*/ 30771 w 81511"/>
                      <a:gd name="connsiteY2" fmla="*/ 1817 h 48915"/>
                      <a:gd name="connsiteX3" fmla="*/ 0 w 81511"/>
                      <a:gd name="connsiteY3" fmla="*/ 19526 h 48915"/>
                      <a:gd name="connsiteX4" fmla="*/ 19216 w 81511"/>
                      <a:gd name="connsiteY4" fmla="*/ 21410 h 48915"/>
                      <a:gd name="connsiteX5" fmla="*/ 31524 w 81511"/>
                      <a:gd name="connsiteY5" fmla="*/ 28569 h 48915"/>
                      <a:gd name="connsiteX6" fmla="*/ 50741 w 81511"/>
                      <a:gd name="connsiteY6" fmla="*/ 48915 h 48915"/>
                      <a:gd name="connsiteX7" fmla="*/ 81512 w 81511"/>
                      <a:gd name="connsiteY7" fmla="*/ 31207 h 48915"/>
                      <a:gd name="connsiteX8" fmla="*/ 62295 w 81511"/>
                      <a:gd name="connsiteY8" fmla="*/ 10860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511" h="48915">
                        <a:moveTo>
                          <a:pt x="62295" y="10860"/>
                        </a:moveTo>
                        <a:lnTo>
                          <a:pt x="49987" y="3701"/>
                        </a:lnTo>
                        <a:cubicBezTo>
                          <a:pt x="42577" y="-569"/>
                          <a:pt x="35669" y="-1071"/>
                          <a:pt x="30771" y="1817"/>
                        </a:cubicBezTo>
                        <a:cubicBezTo>
                          <a:pt x="27882" y="3450"/>
                          <a:pt x="0" y="19526"/>
                          <a:pt x="0" y="19526"/>
                        </a:cubicBezTo>
                        <a:cubicBezTo>
                          <a:pt x="5024" y="16638"/>
                          <a:pt x="11806" y="17140"/>
                          <a:pt x="19216" y="21410"/>
                        </a:cubicBezTo>
                        <a:lnTo>
                          <a:pt x="31524" y="28569"/>
                        </a:lnTo>
                        <a:cubicBezTo>
                          <a:pt x="38935" y="32839"/>
                          <a:pt x="45717" y="40249"/>
                          <a:pt x="50741" y="48915"/>
                        </a:cubicBezTo>
                        <a:lnTo>
                          <a:pt x="81512" y="31207"/>
                        </a:lnTo>
                        <a:cubicBezTo>
                          <a:pt x="76488" y="22541"/>
                          <a:pt x="69706" y="15130"/>
                          <a:pt x="62295" y="10860"/>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6" name="Freeform: Shape 4595">
                    <a:extLst>
                      <a:ext uri="{FF2B5EF4-FFF2-40B4-BE49-F238E27FC236}">
                        <a16:creationId xmlns:a16="http://schemas.microsoft.com/office/drawing/2014/main" id="{5CC73CAB-DDC1-4D83-90AC-55057C7ABF2F}"/>
                      </a:ext>
                    </a:extLst>
                  </p:cNvPr>
                  <p:cNvSpPr/>
                  <p:nvPr/>
                </p:nvSpPr>
                <p:spPr>
                  <a:xfrm>
                    <a:off x="9515819" y="2533097"/>
                    <a:ext cx="44962" cy="64304"/>
                  </a:xfrm>
                  <a:custGeom>
                    <a:avLst/>
                    <a:gdLst>
                      <a:gd name="connsiteX0" fmla="*/ 37301 w 44962"/>
                      <a:gd name="connsiteY0" fmla="*/ 15825 h 64304"/>
                      <a:gd name="connsiteX1" fmla="*/ 30771 w 44962"/>
                      <a:gd name="connsiteY1" fmla="*/ 0 h 64304"/>
                      <a:gd name="connsiteX2" fmla="*/ 0 w 44962"/>
                      <a:gd name="connsiteY2" fmla="*/ 17709 h 64304"/>
                      <a:gd name="connsiteX3" fmla="*/ 6530 w 44962"/>
                      <a:gd name="connsiteY3" fmla="*/ 33534 h 64304"/>
                      <a:gd name="connsiteX4" fmla="*/ 14192 w 44962"/>
                      <a:gd name="connsiteY4" fmla="*/ 64305 h 64304"/>
                      <a:gd name="connsiteX5" fmla="*/ 44962 w 44962"/>
                      <a:gd name="connsiteY5" fmla="*/ 46596 h 64304"/>
                      <a:gd name="connsiteX6" fmla="*/ 37301 w 44962"/>
                      <a:gd name="connsiteY6" fmla="*/ 15825 h 6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962" h="64304">
                        <a:moveTo>
                          <a:pt x="37301" y="15825"/>
                        </a:moveTo>
                        <a:cubicBezTo>
                          <a:pt x="35920" y="10424"/>
                          <a:pt x="33659" y="5024"/>
                          <a:pt x="30771" y="0"/>
                        </a:cubicBezTo>
                        <a:lnTo>
                          <a:pt x="0" y="17709"/>
                        </a:lnTo>
                        <a:cubicBezTo>
                          <a:pt x="2888" y="22733"/>
                          <a:pt x="5149" y="28133"/>
                          <a:pt x="6530" y="33534"/>
                        </a:cubicBezTo>
                        <a:lnTo>
                          <a:pt x="14192" y="64305"/>
                        </a:lnTo>
                        <a:lnTo>
                          <a:pt x="44962" y="46596"/>
                        </a:lnTo>
                        <a:lnTo>
                          <a:pt x="37301" y="15825"/>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597" name="Graphic 4">
                <a:extLst>
                  <a:ext uri="{FF2B5EF4-FFF2-40B4-BE49-F238E27FC236}">
                    <a16:creationId xmlns:a16="http://schemas.microsoft.com/office/drawing/2014/main" id="{84FB7ED1-A2DF-40A1-A747-5F7CF3F14040}"/>
                  </a:ext>
                </a:extLst>
              </p:cNvPr>
              <p:cNvGrpSpPr/>
              <p:nvPr/>
            </p:nvGrpSpPr>
            <p:grpSpPr>
              <a:xfrm>
                <a:off x="9540813" y="2537820"/>
                <a:ext cx="85655" cy="80102"/>
                <a:chOff x="9540813" y="2537820"/>
                <a:chExt cx="85655" cy="80102"/>
              </a:xfrm>
              <a:solidFill>
                <a:srgbClr val="292626"/>
              </a:solidFill>
            </p:grpSpPr>
            <p:sp>
              <p:nvSpPr>
                <p:cNvPr id="4598" name="Freeform: Shape 4597">
                  <a:extLst>
                    <a:ext uri="{FF2B5EF4-FFF2-40B4-BE49-F238E27FC236}">
                      <a16:creationId xmlns:a16="http://schemas.microsoft.com/office/drawing/2014/main" id="{D388AA99-61A5-4234-B402-0454A4BD8C52}"/>
                    </a:ext>
                  </a:extLst>
                </p:cNvPr>
                <p:cNvSpPr/>
                <p:nvPr/>
              </p:nvSpPr>
              <p:spPr>
                <a:xfrm>
                  <a:off x="9602103" y="2573112"/>
                  <a:ext cx="24365" cy="44810"/>
                </a:xfrm>
                <a:custGeom>
                  <a:avLst/>
                  <a:gdLst>
                    <a:gd name="connsiteX0" fmla="*/ 21853 w 24365"/>
                    <a:gd name="connsiteY0" fmla="*/ 33332 h 44810"/>
                    <a:gd name="connsiteX1" fmla="*/ 2512 w 24365"/>
                    <a:gd name="connsiteY1" fmla="*/ 44510 h 44810"/>
                    <a:gd name="connsiteX2" fmla="*/ 754 w 24365"/>
                    <a:gd name="connsiteY2" fmla="*/ 44636 h 44810"/>
                    <a:gd name="connsiteX3" fmla="*/ 0 w 24365"/>
                    <a:gd name="connsiteY3" fmla="*/ 43003 h 44810"/>
                    <a:gd name="connsiteX4" fmla="*/ 0 w 24365"/>
                    <a:gd name="connsiteY4" fmla="*/ 15874 h 44810"/>
                    <a:gd name="connsiteX5" fmla="*/ 2512 w 24365"/>
                    <a:gd name="connsiteY5" fmla="*/ 11479 h 44810"/>
                    <a:gd name="connsiteX6" fmla="*/ 21853 w 24365"/>
                    <a:gd name="connsiteY6" fmla="*/ 301 h 44810"/>
                    <a:gd name="connsiteX7" fmla="*/ 23612 w 24365"/>
                    <a:gd name="connsiteY7" fmla="*/ 175 h 44810"/>
                    <a:gd name="connsiteX8" fmla="*/ 24365 w 24365"/>
                    <a:gd name="connsiteY8" fmla="*/ 1808 h 44810"/>
                    <a:gd name="connsiteX9" fmla="*/ 24365 w 24365"/>
                    <a:gd name="connsiteY9" fmla="*/ 28936 h 44810"/>
                    <a:gd name="connsiteX10" fmla="*/ 21853 w 24365"/>
                    <a:gd name="connsiteY10" fmla="*/ 33332 h 44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65" h="44810">
                      <a:moveTo>
                        <a:pt x="21853" y="33332"/>
                      </a:moveTo>
                      <a:lnTo>
                        <a:pt x="2512" y="44510"/>
                      </a:lnTo>
                      <a:cubicBezTo>
                        <a:pt x="1883" y="44887"/>
                        <a:pt x="1256" y="44887"/>
                        <a:pt x="754" y="44636"/>
                      </a:cubicBezTo>
                      <a:cubicBezTo>
                        <a:pt x="251" y="44384"/>
                        <a:pt x="0" y="43756"/>
                        <a:pt x="0" y="43003"/>
                      </a:cubicBezTo>
                      <a:lnTo>
                        <a:pt x="0" y="15874"/>
                      </a:lnTo>
                      <a:cubicBezTo>
                        <a:pt x="0" y="14242"/>
                        <a:pt x="1130" y="12358"/>
                        <a:pt x="2512" y="11479"/>
                      </a:cubicBezTo>
                      <a:lnTo>
                        <a:pt x="21853" y="301"/>
                      </a:lnTo>
                      <a:cubicBezTo>
                        <a:pt x="22607" y="-76"/>
                        <a:pt x="23235" y="-76"/>
                        <a:pt x="23612" y="175"/>
                      </a:cubicBezTo>
                      <a:cubicBezTo>
                        <a:pt x="24114" y="426"/>
                        <a:pt x="24365" y="1054"/>
                        <a:pt x="24365" y="1808"/>
                      </a:cubicBezTo>
                      <a:lnTo>
                        <a:pt x="24365" y="28936"/>
                      </a:lnTo>
                      <a:cubicBezTo>
                        <a:pt x="24365" y="30569"/>
                        <a:pt x="23235" y="32578"/>
                        <a:pt x="21853" y="33332"/>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9" name="Freeform: Shape 4598">
                  <a:extLst>
                    <a:ext uri="{FF2B5EF4-FFF2-40B4-BE49-F238E27FC236}">
                      <a16:creationId xmlns:a16="http://schemas.microsoft.com/office/drawing/2014/main" id="{7A55DA42-DC19-4C2F-9AB3-590642438DC7}"/>
                    </a:ext>
                  </a:extLst>
                </p:cNvPr>
                <p:cNvSpPr/>
                <p:nvPr/>
              </p:nvSpPr>
              <p:spPr>
                <a:xfrm>
                  <a:off x="9540813" y="2537820"/>
                  <a:ext cx="84902" cy="80053"/>
                </a:xfrm>
                <a:custGeom>
                  <a:avLst/>
                  <a:gdLst>
                    <a:gd name="connsiteX0" fmla="*/ 2512 w 84902"/>
                    <a:gd name="connsiteY0" fmla="*/ 11479 h 80053"/>
                    <a:gd name="connsiteX1" fmla="*/ 21853 w 84902"/>
                    <a:gd name="connsiteY1" fmla="*/ 301 h 80053"/>
                    <a:gd name="connsiteX2" fmla="*/ 23612 w 84902"/>
                    <a:gd name="connsiteY2" fmla="*/ 175 h 80053"/>
                    <a:gd name="connsiteX3" fmla="*/ 84902 w 84902"/>
                    <a:gd name="connsiteY3" fmla="*/ 35593 h 80053"/>
                    <a:gd name="connsiteX4" fmla="*/ 83144 w 84902"/>
                    <a:gd name="connsiteY4" fmla="*/ 35718 h 80053"/>
                    <a:gd name="connsiteX5" fmla="*/ 63802 w 84902"/>
                    <a:gd name="connsiteY5" fmla="*/ 46896 h 80053"/>
                    <a:gd name="connsiteX6" fmla="*/ 61290 w 84902"/>
                    <a:gd name="connsiteY6" fmla="*/ 51292 h 80053"/>
                    <a:gd name="connsiteX7" fmla="*/ 61290 w 84902"/>
                    <a:gd name="connsiteY7" fmla="*/ 78421 h 80053"/>
                    <a:gd name="connsiteX8" fmla="*/ 62044 w 84902"/>
                    <a:gd name="connsiteY8" fmla="*/ 80053 h 80053"/>
                    <a:gd name="connsiteX9" fmla="*/ 754 w 84902"/>
                    <a:gd name="connsiteY9" fmla="*/ 44636 h 80053"/>
                    <a:gd name="connsiteX10" fmla="*/ 0 w 84902"/>
                    <a:gd name="connsiteY10" fmla="*/ 43003 h 80053"/>
                    <a:gd name="connsiteX11" fmla="*/ 0 w 84902"/>
                    <a:gd name="connsiteY11" fmla="*/ 15874 h 80053"/>
                    <a:gd name="connsiteX12" fmla="*/ 2512 w 84902"/>
                    <a:gd name="connsiteY12" fmla="*/ 11479 h 80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02" h="80053">
                      <a:moveTo>
                        <a:pt x="2512" y="11479"/>
                      </a:moveTo>
                      <a:lnTo>
                        <a:pt x="21853" y="301"/>
                      </a:lnTo>
                      <a:cubicBezTo>
                        <a:pt x="22607" y="-76"/>
                        <a:pt x="23235" y="-76"/>
                        <a:pt x="23612" y="175"/>
                      </a:cubicBezTo>
                      <a:cubicBezTo>
                        <a:pt x="24114" y="426"/>
                        <a:pt x="84902" y="35593"/>
                        <a:pt x="84902" y="35593"/>
                      </a:cubicBezTo>
                      <a:cubicBezTo>
                        <a:pt x="84399" y="35342"/>
                        <a:pt x="83772" y="35342"/>
                        <a:pt x="83144" y="35718"/>
                      </a:cubicBezTo>
                      <a:lnTo>
                        <a:pt x="63802" y="46896"/>
                      </a:lnTo>
                      <a:cubicBezTo>
                        <a:pt x="62420" y="47650"/>
                        <a:pt x="61290" y="49659"/>
                        <a:pt x="61290" y="51292"/>
                      </a:cubicBezTo>
                      <a:lnTo>
                        <a:pt x="61290" y="78421"/>
                      </a:lnTo>
                      <a:cubicBezTo>
                        <a:pt x="61290" y="79174"/>
                        <a:pt x="61541" y="79802"/>
                        <a:pt x="62044" y="80053"/>
                      </a:cubicBezTo>
                      <a:cubicBezTo>
                        <a:pt x="62044" y="80053"/>
                        <a:pt x="1256" y="44887"/>
                        <a:pt x="754" y="44636"/>
                      </a:cubicBezTo>
                      <a:cubicBezTo>
                        <a:pt x="251" y="44384"/>
                        <a:pt x="0" y="43756"/>
                        <a:pt x="0" y="43003"/>
                      </a:cubicBezTo>
                      <a:lnTo>
                        <a:pt x="0" y="15874"/>
                      </a:lnTo>
                      <a:cubicBezTo>
                        <a:pt x="0" y="14242"/>
                        <a:pt x="1130" y="12232"/>
                        <a:pt x="2512" y="11479"/>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00" name="Graphic 4">
                <a:extLst>
                  <a:ext uri="{FF2B5EF4-FFF2-40B4-BE49-F238E27FC236}">
                    <a16:creationId xmlns:a16="http://schemas.microsoft.com/office/drawing/2014/main" id="{84FB7ED1-A2DF-40A1-A747-5F7CF3F14040}"/>
                  </a:ext>
                </a:extLst>
              </p:cNvPr>
              <p:cNvGrpSpPr/>
              <p:nvPr/>
            </p:nvGrpSpPr>
            <p:grpSpPr>
              <a:xfrm>
                <a:off x="9521346" y="2548168"/>
                <a:ext cx="90553" cy="98089"/>
                <a:chOff x="9521346" y="2548168"/>
                <a:chExt cx="90553" cy="98089"/>
              </a:xfrm>
              <a:solidFill>
                <a:schemeClr val="accent1"/>
              </a:solidFill>
            </p:grpSpPr>
            <p:sp>
              <p:nvSpPr>
                <p:cNvPr id="4601" name="Freeform: Shape 4600">
                  <a:extLst>
                    <a:ext uri="{FF2B5EF4-FFF2-40B4-BE49-F238E27FC236}">
                      <a16:creationId xmlns:a16="http://schemas.microsoft.com/office/drawing/2014/main" id="{DFBDC6BC-B704-4748-9F1B-59848BCE26C1}"/>
                    </a:ext>
                  </a:extLst>
                </p:cNvPr>
                <p:cNvSpPr/>
                <p:nvPr/>
              </p:nvSpPr>
              <p:spPr>
                <a:xfrm>
                  <a:off x="9521346" y="2548168"/>
                  <a:ext cx="90553" cy="55764"/>
                </a:xfrm>
                <a:custGeom>
                  <a:avLst/>
                  <a:gdLst>
                    <a:gd name="connsiteX0" fmla="*/ 6154 w 90553"/>
                    <a:gd name="connsiteY0" fmla="*/ 0 h 55764"/>
                    <a:gd name="connsiteX1" fmla="*/ 90553 w 90553"/>
                    <a:gd name="connsiteY1" fmla="*/ 48731 h 55764"/>
                    <a:gd name="connsiteX2" fmla="*/ 90553 w 90553"/>
                    <a:gd name="connsiteY2" fmla="*/ 55764 h 55764"/>
                    <a:gd name="connsiteX3" fmla="*/ 0 w 90553"/>
                    <a:gd name="connsiteY3" fmla="*/ 3517 h 55764"/>
                  </a:gdLst>
                  <a:ahLst/>
                  <a:cxnLst>
                    <a:cxn ang="0">
                      <a:pos x="connsiteX0" y="connsiteY0"/>
                    </a:cxn>
                    <a:cxn ang="0">
                      <a:pos x="connsiteX1" y="connsiteY1"/>
                    </a:cxn>
                    <a:cxn ang="0">
                      <a:pos x="connsiteX2" y="connsiteY2"/>
                    </a:cxn>
                    <a:cxn ang="0">
                      <a:pos x="connsiteX3" y="connsiteY3"/>
                    </a:cxn>
                  </a:cxnLst>
                  <a:rect l="l" t="t" r="r" b="b"/>
                  <a:pathLst>
                    <a:path w="90553" h="55764">
                      <a:moveTo>
                        <a:pt x="6154" y="0"/>
                      </a:moveTo>
                      <a:lnTo>
                        <a:pt x="90553" y="48731"/>
                      </a:lnTo>
                      <a:lnTo>
                        <a:pt x="90553" y="55764"/>
                      </a:lnTo>
                      <a:lnTo>
                        <a:pt x="0" y="3517"/>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02" name="Freeform: Shape 4601">
                  <a:extLst>
                    <a:ext uri="{FF2B5EF4-FFF2-40B4-BE49-F238E27FC236}">
                      <a16:creationId xmlns:a16="http://schemas.microsoft.com/office/drawing/2014/main" id="{ADA356AB-4747-404A-A57B-336DD5C33721}"/>
                    </a:ext>
                  </a:extLst>
                </p:cNvPr>
                <p:cNvSpPr/>
                <p:nvPr/>
              </p:nvSpPr>
              <p:spPr>
                <a:xfrm>
                  <a:off x="9521346" y="2551685"/>
                  <a:ext cx="90553" cy="94572"/>
                </a:xfrm>
                <a:custGeom>
                  <a:avLst/>
                  <a:gdLst>
                    <a:gd name="connsiteX0" fmla="*/ 0 w 90553"/>
                    <a:gd name="connsiteY0" fmla="*/ 0 h 94572"/>
                    <a:gd name="connsiteX1" fmla="*/ 90553 w 90553"/>
                    <a:gd name="connsiteY1" fmla="*/ 52247 h 94572"/>
                    <a:gd name="connsiteX2" fmla="*/ 90553 w 90553"/>
                    <a:gd name="connsiteY2" fmla="*/ 94573 h 94572"/>
                    <a:gd name="connsiteX3" fmla="*/ 12057 w 90553"/>
                    <a:gd name="connsiteY3" fmla="*/ 49233 h 94572"/>
                  </a:gdLst>
                  <a:ahLst/>
                  <a:cxnLst>
                    <a:cxn ang="0">
                      <a:pos x="connsiteX0" y="connsiteY0"/>
                    </a:cxn>
                    <a:cxn ang="0">
                      <a:pos x="connsiteX1" y="connsiteY1"/>
                    </a:cxn>
                    <a:cxn ang="0">
                      <a:pos x="connsiteX2" y="connsiteY2"/>
                    </a:cxn>
                    <a:cxn ang="0">
                      <a:pos x="connsiteX3" y="connsiteY3"/>
                    </a:cxn>
                  </a:cxnLst>
                  <a:rect l="l" t="t" r="r" b="b"/>
                  <a:pathLst>
                    <a:path w="90553" h="94572">
                      <a:moveTo>
                        <a:pt x="0" y="0"/>
                      </a:moveTo>
                      <a:lnTo>
                        <a:pt x="90553" y="52247"/>
                      </a:lnTo>
                      <a:lnTo>
                        <a:pt x="90553" y="94573"/>
                      </a:lnTo>
                      <a:lnTo>
                        <a:pt x="12057" y="4923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03" name="Freeform: Shape 4602">
                  <a:extLst>
                    <a:ext uri="{FF2B5EF4-FFF2-40B4-BE49-F238E27FC236}">
                      <a16:creationId xmlns:a16="http://schemas.microsoft.com/office/drawing/2014/main" id="{14BB3421-4BAF-4540-981C-DE007371567B}"/>
                    </a:ext>
                  </a:extLst>
                </p:cNvPr>
                <p:cNvSpPr/>
                <p:nvPr/>
              </p:nvSpPr>
              <p:spPr>
                <a:xfrm>
                  <a:off x="9611145" y="2603555"/>
                  <a:ext cx="753" cy="42702"/>
                </a:xfrm>
                <a:custGeom>
                  <a:avLst/>
                  <a:gdLst>
                    <a:gd name="connsiteX0" fmla="*/ 754 w 753"/>
                    <a:gd name="connsiteY0" fmla="*/ 42702 h 42702"/>
                    <a:gd name="connsiteX1" fmla="*/ 0 w 753"/>
                    <a:gd name="connsiteY1" fmla="*/ 42325 h 42702"/>
                    <a:gd name="connsiteX2" fmla="*/ 0 w 753"/>
                    <a:gd name="connsiteY2" fmla="*/ 0 h 42702"/>
                    <a:gd name="connsiteX3" fmla="*/ 754 w 753"/>
                    <a:gd name="connsiteY3" fmla="*/ 377 h 42702"/>
                  </a:gdLst>
                  <a:ahLst/>
                  <a:cxnLst>
                    <a:cxn ang="0">
                      <a:pos x="connsiteX0" y="connsiteY0"/>
                    </a:cxn>
                    <a:cxn ang="0">
                      <a:pos x="connsiteX1" y="connsiteY1"/>
                    </a:cxn>
                    <a:cxn ang="0">
                      <a:pos x="connsiteX2" y="connsiteY2"/>
                    </a:cxn>
                    <a:cxn ang="0">
                      <a:pos x="connsiteX3" y="connsiteY3"/>
                    </a:cxn>
                  </a:cxnLst>
                  <a:rect l="l" t="t" r="r" b="b"/>
                  <a:pathLst>
                    <a:path w="753" h="42702">
                      <a:moveTo>
                        <a:pt x="754" y="42702"/>
                      </a:moveTo>
                      <a:lnTo>
                        <a:pt x="0" y="42325"/>
                      </a:lnTo>
                      <a:lnTo>
                        <a:pt x="0" y="0"/>
                      </a:lnTo>
                      <a:lnTo>
                        <a:pt x="754"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604" name="Graphic 4">
              <a:extLst>
                <a:ext uri="{FF2B5EF4-FFF2-40B4-BE49-F238E27FC236}">
                  <a16:creationId xmlns:a16="http://schemas.microsoft.com/office/drawing/2014/main" id="{84FB7ED1-A2DF-40A1-A747-5F7CF3F14040}"/>
                </a:ext>
              </a:extLst>
            </p:cNvPr>
            <p:cNvGrpSpPr/>
            <p:nvPr/>
          </p:nvGrpSpPr>
          <p:grpSpPr>
            <a:xfrm>
              <a:off x="9255712" y="2390044"/>
              <a:ext cx="168045" cy="131372"/>
              <a:chOff x="9255712" y="2390044"/>
              <a:chExt cx="168045" cy="131372"/>
            </a:xfrm>
            <a:solidFill>
              <a:schemeClr val="accent1"/>
            </a:solidFill>
          </p:grpSpPr>
          <p:grpSp>
            <p:nvGrpSpPr>
              <p:cNvPr id="4605" name="Graphic 4">
                <a:extLst>
                  <a:ext uri="{FF2B5EF4-FFF2-40B4-BE49-F238E27FC236}">
                    <a16:creationId xmlns:a16="http://schemas.microsoft.com/office/drawing/2014/main" id="{84FB7ED1-A2DF-40A1-A747-5F7CF3F14040}"/>
                  </a:ext>
                </a:extLst>
              </p:cNvPr>
              <p:cNvGrpSpPr/>
              <p:nvPr/>
            </p:nvGrpSpPr>
            <p:grpSpPr>
              <a:xfrm>
                <a:off x="9277691" y="2399966"/>
                <a:ext cx="16830" cy="37552"/>
                <a:chOff x="9277691" y="2399966"/>
                <a:chExt cx="16830" cy="37552"/>
              </a:xfrm>
              <a:solidFill>
                <a:schemeClr val="accent1"/>
              </a:solidFill>
            </p:grpSpPr>
            <p:sp>
              <p:nvSpPr>
                <p:cNvPr id="4606" name="Freeform: Shape 4605">
                  <a:extLst>
                    <a:ext uri="{FF2B5EF4-FFF2-40B4-BE49-F238E27FC236}">
                      <a16:creationId xmlns:a16="http://schemas.microsoft.com/office/drawing/2014/main" id="{76C963A0-8CC2-4EC0-A64B-093EA840FB51}"/>
                    </a:ext>
                  </a:extLst>
                </p:cNvPr>
                <p:cNvSpPr/>
                <p:nvPr/>
              </p:nvSpPr>
              <p:spPr>
                <a:xfrm>
                  <a:off x="9277691" y="2399966"/>
                  <a:ext cx="12433" cy="33031"/>
                </a:xfrm>
                <a:custGeom>
                  <a:avLst/>
                  <a:gdLst>
                    <a:gd name="connsiteX0" fmla="*/ 0 w 12433"/>
                    <a:gd name="connsiteY0" fmla="*/ 13062 h 33031"/>
                    <a:gd name="connsiteX1" fmla="*/ 0 w 12433"/>
                    <a:gd name="connsiteY1" fmla="*/ 8666 h 33031"/>
                    <a:gd name="connsiteX2" fmla="*/ 8792 w 12433"/>
                    <a:gd name="connsiteY2" fmla="*/ 3642 h 33031"/>
                    <a:gd name="connsiteX3" fmla="*/ 8792 w 12433"/>
                    <a:gd name="connsiteY3" fmla="*/ 0 h 33031"/>
                    <a:gd name="connsiteX4" fmla="*/ 12434 w 12433"/>
                    <a:gd name="connsiteY4" fmla="*/ 2010 h 33031"/>
                    <a:gd name="connsiteX5" fmla="*/ 12434 w 12433"/>
                    <a:gd name="connsiteY5" fmla="*/ 28008 h 33031"/>
                    <a:gd name="connsiteX6" fmla="*/ 3642 w 12433"/>
                    <a:gd name="connsiteY6" fmla="*/ 33031 h 33031"/>
                    <a:gd name="connsiteX7" fmla="*/ 0 w 12433"/>
                    <a:gd name="connsiteY7" fmla="*/ 30896 h 33031"/>
                    <a:gd name="connsiteX8" fmla="*/ 8792 w 12433"/>
                    <a:gd name="connsiteY8" fmla="*/ 25872 h 33031"/>
                    <a:gd name="connsiteX9" fmla="*/ 8792 w 12433"/>
                    <a:gd name="connsiteY9" fmla="*/ 8038 h 3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33" h="33031">
                      <a:moveTo>
                        <a:pt x="0" y="13062"/>
                      </a:moveTo>
                      <a:lnTo>
                        <a:pt x="0" y="8666"/>
                      </a:lnTo>
                      <a:lnTo>
                        <a:pt x="8792" y="3642"/>
                      </a:lnTo>
                      <a:lnTo>
                        <a:pt x="8792" y="0"/>
                      </a:lnTo>
                      <a:lnTo>
                        <a:pt x="12434" y="2010"/>
                      </a:lnTo>
                      <a:lnTo>
                        <a:pt x="12434" y="28008"/>
                      </a:lnTo>
                      <a:lnTo>
                        <a:pt x="3642" y="33031"/>
                      </a:lnTo>
                      <a:lnTo>
                        <a:pt x="0" y="30896"/>
                      </a:lnTo>
                      <a:lnTo>
                        <a:pt x="8792" y="25872"/>
                      </a:lnTo>
                      <a:lnTo>
                        <a:pt x="8792" y="8038"/>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07" name="Freeform: Shape 4606">
                  <a:extLst>
                    <a:ext uri="{FF2B5EF4-FFF2-40B4-BE49-F238E27FC236}">
                      <a16:creationId xmlns:a16="http://schemas.microsoft.com/office/drawing/2014/main" id="{92DFF48C-0407-4F9A-A5A8-965537C75491}"/>
                    </a:ext>
                  </a:extLst>
                </p:cNvPr>
                <p:cNvSpPr/>
                <p:nvPr/>
              </p:nvSpPr>
              <p:spPr>
                <a:xfrm>
                  <a:off x="9281333" y="2401976"/>
                  <a:ext cx="13188" cy="35543"/>
                </a:xfrm>
                <a:custGeom>
                  <a:avLst/>
                  <a:gdLst>
                    <a:gd name="connsiteX0" fmla="*/ 0 w 13188"/>
                    <a:gd name="connsiteY0" fmla="*/ 13187 h 35543"/>
                    <a:gd name="connsiteX1" fmla="*/ 0 w 13188"/>
                    <a:gd name="connsiteY1" fmla="*/ 8792 h 35543"/>
                    <a:gd name="connsiteX2" fmla="*/ 8792 w 13188"/>
                    <a:gd name="connsiteY2" fmla="*/ 3642 h 35543"/>
                    <a:gd name="connsiteX3" fmla="*/ 8792 w 13188"/>
                    <a:gd name="connsiteY3" fmla="*/ 0 h 35543"/>
                    <a:gd name="connsiteX4" fmla="*/ 13188 w 13188"/>
                    <a:gd name="connsiteY4" fmla="*/ 2512 h 35543"/>
                    <a:gd name="connsiteX5" fmla="*/ 13188 w 13188"/>
                    <a:gd name="connsiteY5" fmla="*/ 27882 h 35543"/>
                    <a:gd name="connsiteX6" fmla="*/ 0 w 13188"/>
                    <a:gd name="connsiteY6" fmla="*/ 35543 h 35543"/>
                    <a:gd name="connsiteX7" fmla="*/ 0 w 13188"/>
                    <a:gd name="connsiteY7" fmla="*/ 31022 h 35543"/>
                    <a:gd name="connsiteX8" fmla="*/ 8792 w 13188"/>
                    <a:gd name="connsiteY8" fmla="*/ 25998 h 35543"/>
                    <a:gd name="connsiteX9" fmla="*/ 8792 w 13188"/>
                    <a:gd name="connsiteY9" fmla="*/ 8164 h 3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88" h="35543">
                      <a:moveTo>
                        <a:pt x="0" y="13187"/>
                      </a:moveTo>
                      <a:lnTo>
                        <a:pt x="0" y="8792"/>
                      </a:lnTo>
                      <a:lnTo>
                        <a:pt x="8792" y="3642"/>
                      </a:lnTo>
                      <a:lnTo>
                        <a:pt x="8792" y="0"/>
                      </a:lnTo>
                      <a:lnTo>
                        <a:pt x="13188" y="2512"/>
                      </a:lnTo>
                      <a:lnTo>
                        <a:pt x="13188" y="27882"/>
                      </a:lnTo>
                      <a:lnTo>
                        <a:pt x="0" y="35543"/>
                      </a:lnTo>
                      <a:lnTo>
                        <a:pt x="0" y="31022"/>
                      </a:lnTo>
                      <a:lnTo>
                        <a:pt x="8792" y="25998"/>
                      </a:lnTo>
                      <a:lnTo>
                        <a:pt x="8792" y="8164"/>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08" name="Graphic 4">
                <a:extLst>
                  <a:ext uri="{FF2B5EF4-FFF2-40B4-BE49-F238E27FC236}">
                    <a16:creationId xmlns:a16="http://schemas.microsoft.com/office/drawing/2014/main" id="{84FB7ED1-A2DF-40A1-A747-5F7CF3F14040}"/>
                  </a:ext>
                </a:extLst>
              </p:cNvPr>
              <p:cNvGrpSpPr/>
              <p:nvPr/>
            </p:nvGrpSpPr>
            <p:grpSpPr>
              <a:xfrm>
                <a:off x="9388717" y="2464019"/>
                <a:ext cx="16703" cy="37552"/>
                <a:chOff x="9388717" y="2464019"/>
                <a:chExt cx="16703" cy="37552"/>
              </a:xfrm>
              <a:solidFill>
                <a:schemeClr val="accent1"/>
              </a:solidFill>
            </p:grpSpPr>
            <p:sp>
              <p:nvSpPr>
                <p:cNvPr id="4609" name="Freeform: Shape 4608">
                  <a:extLst>
                    <a:ext uri="{FF2B5EF4-FFF2-40B4-BE49-F238E27FC236}">
                      <a16:creationId xmlns:a16="http://schemas.microsoft.com/office/drawing/2014/main" id="{E4D1C073-794C-44E3-8802-94388E18B83A}"/>
                    </a:ext>
                  </a:extLst>
                </p:cNvPr>
                <p:cNvSpPr/>
                <p:nvPr/>
              </p:nvSpPr>
              <p:spPr>
                <a:xfrm>
                  <a:off x="9388717" y="2464019"/>
                  <a:ext cx="12308" cy="33031"/>
                </a:xfrm>
                <a:custGeom>
                  <a:avLst/>
                  <a:gdLst>
                    <a:gd name="connsiteX0" fmla="*/ 0 w 12308"/>
                    <a:gd name="connsiteY0" fmla="*/ 13062 h 33031"/>
                    <a:gd name="connsiteX1" fmla="*/ 0 w 12308"/>
                    <a:gd name="connsiteY1" fmla="*/ 8666 h 33031"/>
                    <a:gd name="connsiteX2" fmla="*/ 8666 w 12308"/>
                    <a:gd name="connsiteY2" fmla="*/ 3642 h 33031"/>
                    <a:gd name="connsiteX3" fmla="*/ 8666 w 12308"/>
                    <a:gd name="connsiteY3" fmla="*/ 0 h 33031"/>
                    <a:gd name="connsiteX4" fmla="*/ 12308 w 12308"/>
                    <a:gd name="connsiteY4" fmla="*/ 2010 h 33031"/>
                    <a:gd name="connsiteX5" fmla="*/ 12308 w 12308"/>
                    <a:gd name="connsiteY5" fmla="*/ 28008 h 33031"/>
                    <a:gd name="connsiteX6" fmla="*/ 3642 w 12308"/>
                    <a:gd name="connsiteY6" fmla="*/ 33031 h 33031"/>
                    <a:gd name="connsiteX7" fmla="*/ 0 w 12308"/>
                    <a:gd name="connsiteY7" fmla="*/ 30896 h 33031"/>
                    <a:gd name="connsiteX8" fmla="*/ 8666 w 12308"/>
                    <a:gd name="connsiteY8" fmla="*/ 25873 h 33031"/>
                    <a:gd name="connsiteX9" fmla="*/ 8666 w 12308"/>
                    <a:gd name="connsiteY9" fmla="*/ 8038 h 3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08" h="33031">
                      <a:moveTo>
                        <a:pt x="0" y="13062"/>
                      </a:moveTo>
                      <a:lnTo>
                        <a:pt x="0" y="8666"/>
                      </a:lnTo>
                      <a:lnTo>
                        <a:pt x="8666" y="3642"/>
                      </a:lnTo>
                      <a:lnTo>
                        <a:pt x="8666" y="0"/>
                      </a:lnTo>
                      <a:lnTo>
                        <a:pt x="12308" y="2010"/>
                      </a:lnTo>
                      <a:lnTo>
                        <a:pt x="12308" y="28008"/>
                      </a:lnTo>
                      <a:lnTo>
                        <a:pt x="3642" y="33031"/>
                      </a:lnTo>
                      <a:lnTo>
                        <a:pt x="0" y="30896"/>
                      </a:lnTo>
                      <a:lnTo>
                        <a:pt x="8666" y="25873"/>
                      </a:lnTo>
                      <a:lnTo>
                        <a:pt x="8666" y="8038"/>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0" name="Freeform: Shape 4609">
                  <a:extLst>
                    <a:ext uri="{FF2B5EF4-FFF2-40B4-BE49-F238E27FC236}">
                      <a16:creationId xmlns:a16="http://schemas.microsoft.com/office/drawing/2014/main" id="{EB1A47C5-5562-437F-BD45-74F88F1F4868}"/>
                    </a:ext>
                  </a:extLst>
                </p:cNvPr>
                <p:cNvSpPr/>
                <p:nvPr/>
              </p:nvSpPr>
              <p:spPr>
                <a:xfrm>
                  <a:off x="9392359" y="2466029"/>
                  <a:ext cx="13061" cy="35543"/>
                </a:xfrm>
                <a:custGeom>
                  <a:avLst/>
                  <a:gdLst>
                    <a:gd name="connsiteX0" fmla="*/ 0 w 13061"/>
                    <a:gd name="connsiteY0" fmla="*/ 13187 h 35543"/>
                    <a:gd name="connsiteX1" fmla="*/ 0 w 13061"/>
                    <a:gd name="connsiteY1" fmla="*/ 8792 h 35543"/>
                    <a:gd name="connsiteX2" fmla="*/ 8666 w 13061"/>
                    <a:gd name="connsiteY2" fmla="*/ 3642 h 35543"/>
                    <a:gd name="connsiteX3" fmla="*/ 8666 w 13061"/>
                    <a:gd name="connsiteY3" fmla="*/ 0 h 35543"/>
                    <a:gd name="connsiteX4" fmla="*/ 13062 w 13061"/>
                    <a:gd name="connsiteY4" fmla="*/ 2512 h 35543"/>
                    <a:gd name="connsiteX5" fmla="*/ 13062 w 13061"/>
                    <a:gd name="connsiteY5" fmla="*/ 27882 h 35543"/>
                    <a:gd name="connsiteX6" fmla="*/ 0 w 13061"/>
                    <a:gd name="connsiteY6" fmla="*/ 35543 h 35543"/>
                    <a:gd name="connsiteX7" fmla="*/ 0 w 13061"/>
                    <a:gd name="connsiteY7" fmla="*/ 31022 h 35543"/>
                    <a:gd name="connsiteX8" fmla="*/ 8666 w 13061"/>
                    <a:gd name="connsiteY8" fmla="*/ 25998 h 35543"/>
                    <a:gd name="connsiteX9" fmla="*/ 8666 w 13061"/>
                    <a:gd name="connsiteY9" fmla="*/ 8164 h 3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61" h="35543">
                      <a:moveTo>
                        <a:pt x="0" y="13187"/>
                      </a:moveTo>
                      <a:lnTo>
                        <a:pt x="0" y="8792"/>
                      </a:lnTo>
                      <a:lnTo>
                        <a:pt x="8666" y="3642"/>
                      </a:lnTo>
                      <a:lnTo>
                        <a:pt x="8666" y="0"/>
                      </a:lnTo>
                      <a:lnTo>
                        <a:pt x="13062" y="2512"/>
                      </a:lnTo>
                      <a:lnTo>
                        <a:pt x="13062" y="27882"/>
                      </a:lnTo>
                      <a:lnTo>
                        <a:pt x="0" y="35543"/>
                      </a:lnTo>
                      <a:lnTo>
                        <a:pt x="0" y="31022"/>
                      </a:lnTo>
                      <a:lnTo>
                        <a:pt x="8666" y="25998"/>
                      </a:lnTo>
                      <a:lnTo>
                        <a:pt x="8666" y="8164"/>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11" name="Graphic 4">
                <a:extLst>
                  <a:ext uri="{FF2B5EF4-FFF2-40B4-BE49-F238E27FC236}">
                    <a16:creationId xmlns:a16="http://schemas.microsoft.com/office/drawing/2014/main" id="{84FB7ED1-A2DF-40A1-A747-5F7CF3F14040}"/>
                  </a:ext>
                </a:extLst>
              </p:cNvPr>
              <p:cNvGrpSpPr/>
              <p:nvPr/>
            </p:nvGrpSpPr>
            <p:grpSpPr>
              <a:xfrm>
                <a:off x="9262243" y="2416419"/>
                <a:ext cx="161514" cy="104997"/>
                <a:chOff x="9262243" y="2416419"/>
                <a:chExt cx="161514" cy="104997"/>
              </a:xfrm>
              <a:solidFill>
                <a:schemeClr val="accent1"/>
              </a:solidFill>
            </p:grpSpPr>
            <p:sp>
              <p:nvSpPr>
                <p:cNvPr id="4612" name="Freeform: Shape 4611">
                  <a:extLst>
                    <a:ext uri="{FF2B5EF4-FFF2-40B4-BE49-F238E27FC236}">
                      <a16:creationId xmlns:a16="http://schemas.microsoft.com/office/drawing/2014/main" id="{91F3FD5D-8136-4B74-8BA7-721D46D00F90}"/>
                    </a:ext>
                  </a:extLst>
                </p:cNvPr>
                <p:cNvSpPr/>
                <p:nvPr/>
              </p:nvSpPr>
              <p:spPr>
                <a:xfrm>
                  <a:off x="9262243" y="2416419"/>
                  <a:ext cx="161514" cy="104997"/>
                </a:xfrm>
                <a:custGeom>
                  <a:avLst/>
                  <a:gdLst>
                    <a:gd name="connsiteX0" fmla="*/ 161515 w 161514"/>
                    <a:gd name="connsiteY0" fmla="*/ 91433 h 104997"/>
                    <a:gd name="connsiteX1" fmla="*/ 3266 w 161514"/>
                    <a:gd name="connsiteY1" fmla="*/ 0 h 104997"/>
                    <a:gd name="connsiteX2" fmla="*/ 0 w 161514"/>
                    <a:gd name="connsiteY2" fmla="*/ 2010 h 104997"/>
                    <a:gd name="connsiteX3" fmla="*/ 158249 w 161514"/>
                    <a:gd name="connsiteY3" fmla="*/ 93317 h 104997"/>
                    <a:gd name="connsiteX4" fmla="*/ 158249 w 161514"/>
                    <a:gd name="connsiteY4" fmla="*/ 104997 h 104997"/>
                    <a:gd name="connsiteX5" fmla="*/ 161515 w 161514"/>
                    <a:gd name="connsiteY5" fmla="*/ 103113 h 104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514" h="104997">
                      <a:moveTo>
                        <a:pt x="161515" y="91433"/>
                      </a:moveTo>
                      <a:lnTo>
                        <a:pt x="3266" y="0"/>
                      </a:lnTo>
                      <a:lnTo>
                        <a:pt x="0" y="2010"/>
                      </a:lnTo>
                      <a:lnTo>
                        <a:pt x="158249" y="93317"/>
                      </a:lnTo>
                      <a:lnTo>
                        <a:pt x="158249" y="104997"/>
                      </a:lnTo>
                      <a:lnTo>
                        <a:pt x="161515" y="103113"/>
                      </a:lnTo>
                      <a:close/>
                    </a:path>
                  </a:pathLst>
                </a:custGeom>
                <a:solidFill>
                  <a:srgbClr val="C2181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3" name="Freeform: Shape 4612">
                  <a:extLst>
                    <a:ext uri="{FF2B5EF4-FFF2-40B4-BE49-F238E27FC236}">
                      <a16:creationId xmlns:a16="http://schemas.microsoft.com/office/drawing/2014/main" id="{37515FEB-F913-42C3-9B27-6C3DD5FE78C7}"/>
                    </a:ext>
                  </a:extLst>
                </p:cNvPr>
                <p:cNvSpPr/>
                <p:nvPr/>
              </p:nvSpPr>
              <p:spPr>
                <a:xfrm>
                  <a:off x="9262243" y="2418429"/>
                  <a:ext cx="158249" cy="102987"/>
                </a:xfrm>
                <a:custGeom>
                  <a:avLst/>
                  <a:gdLst>
                    <a:gd name="connsiteX0" fmla="*/ 158249 w 158249"/>
                    <a:gd name="connsiteY0" fmla="*/ 91307 h 102987"/>
                    <a:gd name="connsiteX1" fmla="*/ 0 w 158249"/>
                    <a:gd name="connsiteY1" fmla="*/ 0 h 102987"/>
                    <a:gd name="connsiteX2" fmla="*/ 3516 w 158249"/>
                    <a:gd name="connsiteY2" fmla="*/ 13564 h 102987"/>
                    <a:gd name="connsiteX3" fmla="*/ 158249 w 158249"/>
                    <a:gd name="connsiteY3" fmla="*/ 102988 h 102987"/>
                  </a:gdLst>
                  <a:ahLst/>
                  <a:cxnLst>
                    <a:cxn ang="0">
                      <a:pos x="connsiteX0" y="connsiteY0"/>
                    </a:cxn>
                    <a:cxn ang="0">
                      <a:pos x="connsiteX1" y="connsiteY1"/>
                    </a:cxn>
                    <a:cxn ang="0">
                      <a:pos x="connsiteX2" y="connsiteY2"/>
                    </a:cxn>
                    <a:cxn ang="0">
                      <a:pos x="connsiteX3" y="connsiteY3"/>
                    </a:cxn>
                  </a:cxnLst>
                  <a:rect l="l" t="t" r="r" b="b"/>
                  <a:pathLst>
                    <a:path w="158249" h="102987">
                      <a:moveTo>
                        <a:pt x="158249" y="91307"/>
                      </a:moveTo>
                      <a:lnTo>
                        <a:pt x="0" y="0"/>
                      </a:lnTo>
                      <a:lnTo>
                        <a:pt x="3516" y="13564"/>
                      </a:lnTo>
                      <a:lnTo>
                        <a:pt x="158249" y="102988"/>
                      </a:lnTo>
                      <a:close/>
                    </a:path>
                  </a:pathLst>
                </a:custGeom>
                <a:solidFill>
                  <a:srgbClr val="E012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14" name="Graphic 4">
                <a:extLst>
                  <a:ext uri="{FF2B5EF4-FFF2-40B4-BE49-F238E27FC236}">
                    <a16:creationId xmlns:a16="http://schemas.microsoft.com/office/drawing/2014/main" id="{84FB7ED1-A2DF-40A1-A747-5F7CF3F14040}"/>
                  </a:ext>
                </a:extLst>
              </p:cNvPr>
              <p:cNvGrpSpPr/>
              <p:nvPr/>
            </p:nvGrpSpPr>
            <p:grpSpPr>
              <a:xfrm>
                <a:off x="9255712" y="2390044"/>
                <a:ext cx="168045" cy="108765"/>
                <a:chOff x="9255712" y="2390044"/>
                <a:chExt cx="168045" cy="108765"/>
              </a:xfrm>
              <a:solidFill>
                <a:schemeClr val="accent1"/>
              </a:solidFill>
            </p:grpSpPr>
            <p:sp>
              <p:nvSpPr>
                <p:cNvPr id="4615" name="Freeform: Shape 4614">
                  <a:extLst>
                    <a:ext uri="{FF2B5EF4-FFF2-40B4-BE49-F238E27FC236}">
                      <a16:creationId xmlns:a16="http://schemas.microsoft.com/office/drawing/2014/main" id="{379CF672-A29F-4CE2-B079-3AD7F3BC3A76}"/>
                    </a:ext>
                  </a:extLst>
                </p:cNvPr>
                <p:cNvSpPr/>
                <p:nvPr/>
              </p:nvSpPr>
              <p:spPr>
                <a:xfrm>
                  <a:off x="9255712" y="2390044"/>
                  <a:ext cx="168045" cy="108765"/>
                </a:xfrm>
                <a:custGeom>
                  <a:avLst/>
                  <a:gdLst>
                    <a:gd name="connsiteX0" fmla="*/ 168046 w 168045"/>
                    <a:gd name="connsiteY0" fmla="*/ 95201 h 108765"/>
                    <a:gd name="connsiteX1" fmla="*/ 3266 w 168045"/>
                    <a:gd name="connsiteY1" fmla="*/ 0 h 108765"/>
                    <a:gd name="connsiteX2" fmla="*/ 0 w 168045"/>
                    <a:gd name="connsiteY2" fmla="*/ 1884 h 108765"/>
                    <a:gd name="connsiteX3" fmla="*/ 164780 w 168045"/>
                    <a:gd name="connsiteY3" fmla="*/ 97085 h 108765"/>
                    <a:gd name="connsiteX4" fmla="*/ 164780 w 168045"/>
                    <a:gd name="connsiteY4" fmla="*/ 108765 h 108765"/>
                    <a:gd name="connsiteX5" fmla="*/ 168046 w 168045"/>
                    <a:gd name="connsiteY5" fmla="*/ 106881 h 10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045" h="108765">
                      <a:moveTo>
                        <a:pt x="168046" y="95201"/>
                      </a:moveTo>
                      <a:lnTo>
                        <a:pt x="3266" y="0"/>
                      </a:lnTo>
                      <a:lnTo>
                        <a:pt x="0" y="1884"/>
                      </a:lnTo>
                      <a:lnTo>
                        <a:pt x="164780" y="97085"/>
                      </a:lnTo>
                      <a:lnTo>
                        <a:pt x="164780" y="108765"/>
                      </a:lnTo>
                      <a:lnTo>
                        <a:pt x="168046" y="106881"/>
                      </a:lnTo>
                      <a:close/>
                    </a:path>
                  </a:pathLst>
                </a:custGeom>
                <a:solidFill>
                  <a:srgbClr val="C2181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6" name="Freeform: Shape 4615">
                  <a:extLst>
                    <a:ext uri="{FF2B5EF4-FFF2-40B4-BE49-F238E27FC236}">
                      <a16:creationId xmlns:a16="http://schemas.microsoft.com/office/drawing/2014/main" id="{F26EE263-48D4-4700-9010-80F73324B555}"/>
                    </a:ext>
                  </a:extLst>
                </p:cNvPr>
                <p:cNvSpPr/>
                <p:nvPr/>
              </p:nvSpPr>
              <p:spPr>
                <a:xfrm>
                  <a:off x="9255712" y="2391928"/>
                  <a:ext cx="164780" cy="106881"/>
                </a:xfrm>
                <a:custGeom>
                  <a:avLst/>
                  <a:gdLst>
                    <a:gd name="connsiteX0" fmla="*/ 164780 w 164780"/>
                    <a:gd name="connsiteY0" fmla="*/ 95201 h 106881"/>
                    <a:gd name="connsiteX1" fmla="*/ 0 w 164780"/>
                    <a:gd name="connsiteY1" fmla="*/ 0 h 106881"/>
                    <a:gd name="connsiteX2" fmla="*/ 3391 w 164780"/>
                    <a:gd name="connsiteY2" fmla="*/ 13690 h 106881"/>
                    <a:gd name="connsiteX3" fmla="*/ 164780 w 164780"/>
                    <a:gd name="connsiteY3" fmla="*/ 106881 h 106881"/>
                  </a:gdLst>
                  <a:ahLst/>
                  <a:cxnLst>
                    <a:cxn ang="0">
                      <a:pos x="connsiteX0" y="connsiteY0"/>
                    </a:cxn>
                    <a:cxn ang="0">
                      <a:pos x="connsiteX1" y="connsiteY1"/>
                    </a:cxn>
                    <a:cxn ang="0">
                      <a:pos x="connsiteX2" y="connsiteY2"/>
                    </a:cxn>
                    <a:cxn ang="0">
                      <a:pos x="connsiteX3" y="connsiteY3"/>
                    </a:cxn>
                  </a:cxnLst>
                  <a:rect l="l" t="t" r="r" b="b"/>
                  <a:pathLst>
                    <a:path w="164780" h="106881">
                      <a:moveTo>
                        <a:pt x="164780" y="95201"/>
                      </a:moveTo>
                      <a:lnTo>
                        <a:pt x="0" y="0"/>
                      </a:lnTo>
                      <a:lnTo>
                        <a:pt x="3391" y="13690"/>
                      </a:lnTo>
                      <a:lnTo>
                        <a:pt x="164780" y="106881"/>
                      </a:lnTo>
                      <a:close/>
                    </a:path>
                  </a:pathLst>
                </a:custGeom>
                <a:solidFill>
                  <a:srgbClr val="E012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617" name="Graphic 4">
              <a:extLst>
                <a:ext uri="{FF2B5EF4-FFF2-40B4-BE49-F238E27FC236}">
                  <a16:creationId xmlns:a16="http://schemas.microsoft.com/office/drawing/2014/main" id="{84FB7ED1-A2DF-40A1-A747-5F7CF3F14040}"/>
                </a:ext>
              </a:extLst>
            </p:cNvPr>
            <p:cNvGrpSpPr/>
            <p:nvPr/>
          </p:nvGrpSpPr>
          <p:grpSpPr>
            <a:xfrm>
              <a:off x="9030772" y="2012004"/>
              <a:ext cx="687128" cy="561911"/>
              <a:chOff x="9030772" y="2012004"/>
              <a:chExt cx="687128" cy="561911"/>
            </a:xfrm>
            <a:solidFill>
              <a:schemeClr val="accent1"/>
            </a:solidFill>
          </p:grpSpPr>
          <p:sp>
            <p:nvSpPr>
              <p:cNvPr id="4618" name="Freeform: Shape 4617">
                <a:extLst>
                  <a:ext uri="{FF2B5EF4-FFF2-40B4-BE49-F238E27FC236}">
                    <a16:creationId xmlns:a16="http://schemas.microsoft.com/office/drawing/2014/main" id="{E54DF6E2-78A0-4A4D-AC76-5A612E953FE1}"/>
                  </a:ext>
                </a:extLst>
              </p:cNvPr>
              <p:cNvSpPr/>
              <p:nvPr/>
            </p:nvSpPr>
            <p:spPr>
              <a:xfrm>
                <a:off x="9162144" y="2021172"/>
                <a:ext cx="537043" cy="468719"/>
              </a:xfrm>
              <a:custGeom>
                <a:avLst/>
                <a:gdLst>
                  <a:gd name="connsiteX0" fmla="*/ 537044 w 537043"/>
                  <a:gd name="connsiteY0" fmla="*/ 310093 h 468719"/>
                  <a:gd name="connsiteX1" fmla="*/ 0 w 537043"/>
                  <a:gd name="connsiteY1" fmla="*/ 0 h 468719"/>
                  <a:gd name="connsiteX2" fmla="*/ 0 w 537043"/>
                  <a:gd name="connsiteY2" fmla="*/ 158626 h 468719"/>
                  <a:gd name="connsiteX3" fmla="*/ 537044 w 537043"/>
                  <a:gd name="connsiteY3" fmla="*/ 468720 h 468719"/>
                </a:gdLst>
                <a:ahLst/>
                <a:cxnLst>
                  <a:cxn ang="0">
                    <a:pos x="connsiteX0" y="connsiteY0"/>
                  </a:cxn>
                  <a:cxn ang="0">
                    <a:pos x="connsiteX1" y="connsiteY1"/>
                  </a:cxn>
                  <a:cxn ang="0">
                    <a:pos x="connsiteX2" y="connsiteY2"/>
                  </a:cxn>
                  <a:cxn ang="0">
                    <a:pos x="connsiteX3" y="connsiteY3"/>
                  </a:cxn>
                </a:cxnLst>
                <a:rect l="l" t="t" r="r" b="b"/>
                <a:pathLst>
                  <a:path w="537043" h="468719">
                    <a:moveTo>
                      <a:pt x="537044" y="310093"/>
                    </a:moveTo>
                    <a:lnTo>
                      <a:pt x="0" y="0"/>
                    </a:lnTo>
                    <a:lnTo>
                      <a:pt x="0" y="158626"/>
                    </a:lnTo>
                    <a:lnTo>
                      <a:pt x="537044" y="468720"/>
                    </a:ln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9" name="Freeform: Shape 4618">
                <a:extLst>
                  <a:ext uri="{FF2B5EF4-FFF2-40B4-BE49-F238E27FC236}">
                    <a16:creationId xmlns:a16="http://schemas.microsoft.com/office/drawing/2014/main" id="{367E9FE9-D703-4386-BA9F-2F5DD9FE5736}"/>
                  </a:ext>
                </a:extLst>
              </p:cNvPr>
              <p:cNvSpPr/>
              <p:nvPr/>
            </p:nvSpPr>
            <p:spPr>
              <a:xfrm>
                <a:off x="9035670" y="2097408"/>
                <a:ext cx="126474" cy="155611"/>
              </a:xfrm>
              <a:custGeom>
                <a:avLst/>
                <a:gdLst>
                  <a:gd name="connsiteX0" fmla="*/ 126474 w 126474"/>
                  <a:gd name="connsiteY0" fmla="*/ 82390 h 155611"/>
                  <a:gd name="connsiteX1" fmla="*/ 0 w 126474"/>
                  <a:gd name="connsiteY1" fmla="*/ 155612 h 155611"/>
                  <a:gd name="connsiteX2" fmla="*/ 0 w 126474"/>
                  <a:gd name="connsiteY2" fmla="*/ 0 h 155611"/>
                  <a:gd name="connsiteX3" fmla="*/ 126474 w 126474"/>
                  <a:gd name="connsiteY3" fmla="*/ 69328 h 155611"/>
                </a:gdLst>
                <a:ahLst/>
                <a:cxnLst>
                  <a:cxn ang="0">
                    <a:pos x="connsiteX0" y="connsiteY0"/>
                  </a:cxn>
                  <a:cxn ang="0">
                    <a:pos x="connsiteX1" y="connsiteY1"/>
                  </a:cxn>
                  <a:cxn ang="0">
                    <a:pos x="connsiteX2" y="connsiteY2"/>
                  </a:cxn>
                  <a:cxn ang="0">
                    <a:pos x="connsiteX3" y="connsiteY3"/>
                  </a:cxn>
                </a:cxnLst>
                <a:rect l="l" t="t" r="r" b="b"/>
                <a:pathLst>
                  <a:path w="126474" h="155611">
                    <a:moveTo>
                      <a:pt x="126474" y="82390"/>
                    </a:moveTo>
                    <a:lnTo>
                      <a:pt x="0" y="155612"/>
                    </a:lnTo>
                    <a:lnTo>
                      <a:pt x="0" y="0"/>
                    </a:lnTo>
                    <a:lnTo>
                      <a:pt x="126474" y="69328"/>
                    </a:lnTo>
                    <a:close/>
                  </a:path>
                </a:pathLst>
              </a:custGeom>
              <a:solidFill>
                <a:srgbClr val="918F8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0" name="Freeform: Shape 4619">
                <a:extLst>
                  <a:ext uri="{FF2B5EF4-FFF2-40B4-BE49-F238E27FC236}">
                    <a16:creationId xmlns:a16="http://schemas.microsoft.com/office/drawing/2014/main" id="{F11A06C5-493F-4705-B6E6-FC725EFAF4F9}"/>
                  </a:ext>
                </a:extLst>
              </p:cNvPr>
              <p:cNvSpPr/>
              <p:nvPr/>
            </p:nvSpPr>
            <p:spPr>
              <a:xfrm>
                <a:off x="9035670" y="2179798"/>
                <a:ext cx="538299" cy="384068"/>
              </a:xfrm>
              <a:custGeom>
                <a:avLst/>
                <a:gdLst>
                  <a:gd name="connsiteX0" fmla="*/ 126474 w 538299"/>
                  <a:gd name="connsiteY0" fmla="*/ 0 h 384068"/>
                  <a:gd name="connsiteX1" fmla="*/ 538300 w 538299"/>
                  <a:gd name="connsiteY1" fmla="*/ 237751 h 384068"/>
                  <a:gd name="connsiteX2" fmla="*/ 538300 w 538299"/>
                  <a:gd name="connsiteY2" fmla="*/ 384069 h 384068"/>
                  <a:gd name="connsiteX3" fmla="*/ 0 w 538299"/>
                  <a:gd name="connsiteY3" fmla="*/ 73222 h 384068"/>
                </a:gdLst>
                <a:ahLst/>
                <a:cxnLst>
                  <a:cxn ang="0">
                    <a:pos x="connsiteX0" y="connsiteY0"/>
                  </a:cxn>
                  <a:cxn ang="0">
                    <a:pos x="connsiteX1" y="connsiteY1"/>
                  </a:cxn>
                  <a:cxn ang="0">
                    <a:pos x="connsiteX2" y="connsiteY2"/>
                  </a:cxn>
                  <a:cxn ang="0">
                    <a:pos x="connsiteX3" y="connsiteY3"/>
                  </a:cxn>
                </a:cxnLst>
                <a:rect l="l" t="t" r="r" b="b"/>
                <a:pathLst>
                  <a:path w="538299" h="384068">
                    <a:moveTo>
                      <a:pt x="126474" y="0"/>
                    </a:moveTo>
                    <a:lnTo>
                      <a:pt x="538300" y="237751"/>
                    </a:lnTo>
                    <a:lnTo>
                      <a:pt x="538300" y="384069"/>
                    </a:lnTo>
                    <a:lnTo>
                      <a:pt x="0" y="73222"/>
                    </a:lnTo>
                    <a:close/>
                  </a:path>
                </a:pathLst>
              </a:custGeom>
              <a:solidFill>
                <a:srgbClr val="47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1" name="Freeform: Shape 4620">
                <a:extLst>
                  <a:ext uri="{FF2B5EF4-FFF2-40B4-BE49-F238E27FC236}">
                    <a16:creationId xmlns:a16="http://schemas.microsoft.com/office/drawing/2014/main" id="{ABC6C141-D114-4B1F-80A5-AE0832114AE2}"/>
                  </a:ext>
                </a:extLst>
              </p:cNvPr>
              <p:cNvSpPr/>
              <p:nvPr/>
            </p:nvSpPr>
            <p:spPr>
              <a:xfrm>
                <a:off x="9035670" y="2097408"/>
                <a:ext cx="538299" cy="392609"/>
              </a:xfrm>
              <a:custGeom>
                <a:avLst/>
                <a:gdLst>
                  <a:gd name="connsiteX0" fmla="*/ 538300 w 538299"/>
                  <a:gd name="connsiteY0" fmla="*/ 310721 h 392609"/>
                  <a:gd name="connsiteX1" fmla="*/ 0 w 538299"/>
                  <a:gd name="connsiteY1" fmla="*/ 0 h 392609"/>
                  <a:gd name="connsiteX2" fmla="*/ 63802 w 538299"/>
                  <a:gd name="connsiteY2" fmla="*/ 118687 h 392609"/>
                  <a:gd name="connsiteX3" fmla="*/ 538300 w 538299"/>
                  <a:gd name="connsiteY3" fmla="*/ 392609 h 392609"/>
                </a:gdLst>
                <a:ahLst/>
                <a:cxnLst>
                  <a:cxn ang="0">
                    <a:pos x="connsiteX0" y="connsiteY0"/>
                  </a:cxn>
                  <a:cxn ang="0">
                    <a:pos x="connsiteX1" y="connsiteY1"/>
                  </a:cxn>
                  <a:cxn ang="0">
                    <a:pos x="connsiteX2" y="connsiteY2"/>
                  </a:cxn>
                  <a:cxn ang="0">
                    <a:pos x="connsiteX3" y="connsiteY3"/>
                  </a:cxn>
                </a:cxnLst>
                <a:rect l="l" t="t" r="r" b="b"/>
                <a:pathLst>
                  <a:path w="538299" h="392609">
                    <a:moveTo>
                      <a:pt x="538300" y="310721"/>
                    </a:moveTo>
                    <a:lnTo>
                      <a:pt x="0" y="0"/>
                    </a:lnTo>
                    <a:lnTo>
                      <a:pt x="63802" y="118687"/>
                    </a:lnTo>
                    <a:lnTo>
                      <a:pt x="538300" y="392609"/>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622" name="Graphic 4">
                <a:extLst>
                  <a:ext uri="{FF2B5EF4-FFF2-40B4-BE49-F238E27FC236}">
                    <a16:creationId xmlns:a16="http://schemas.microsoft.com/office/drawing/2014/main" id="{84FB7ED1-A2DF-40A1-A747-5F7CF3F14040}"/>
                  </a:ext>
                </a:extLst>
              </p:cNvPr>
              <p:cNvGrpSpPr/>
              <p:nvPr/>
            </p:nvGrpSpPr>
            <p:grpSpPr>
              <a:xfrm>
                <a:off x="9067697" y="2150284"/>
                <a:ext cx="264125" cy="206226"/>
                <a:chOff x="9067697" y="2150284"/>
                <a:chExt cx="264125" cy="206226"/>
              </a:xfrm>
              <a:solidFill>
                <a:schemeClr val="accent1"/>
              </a:solidFill>
            </p:grpSpPr>
            <p:grpSp>
              <p:nvGrpSpPr>
                <p:cNvPr id="4623" name="Graphic 4">
                  <a:extLst>
                    <a:ext uri="{FF2B5EF4-FFF2-40B4-BE49-F238E27FC236}">
                      <a16:creationId xmlns:a16="http://schemas.microsoft.com/office/drawing/2014/main" id="{84FB7ED1-A2DF-40A1-A747-5F7CF3F14040}"/>
                    </a:ext>
                  </a:extLst>
                </p:cNvPr>
                <p:cNvGrpSpPr/>
                <p:nvPr/>
              </p:nvGrpSpPr>
              <p:grpSpPr>
                <a:xfrm>
                  <a:off x="9067697" y="2150284"/>
                  <a:ext cx="264125" cy="206226"/>
                  <a:chOff x="9067697" y="2150284"/>
                  <a:chExt cx="264125" cy="206226"/>
                </a:xfrm>
                <a:solidFill>
                  <a:schemeClr val="accent1"/>
                </a:solidFill>
              </p:grpSpPr>
              <p:grpSp>
                <p:nvGrpSpPr>
                  <p:cNvPr id="4624" name="Graphic 4">
                    <a:extLst>
                      <a:ext uri="{FF2B5EF4-FFF2-40B4-BE49-F238E27FC236}">
                        <a16:creationId xmlns:a16="http://schemas.microsoft.com/office/drawing/2014/main" id="{84FB7ED1-A2DF-40A1-A747-5F7CF3F14040}"/>
                      </a:ext>
                    </a:extLst>
                  </p:cNvPr>
                  <p:cNvGrpSpPr/>
                  <p:nvPr/>
                </p:nvGrpSpPr>
                <p:grpSpPr>
                  <a:xfrm>
                    <a:off x="9067697" y="2150284"/>
                    <a:ext cx="169175" cy="151467"/>
                    <a:chOff x="9067697" y="2150284"/>
                    <a:chExt cx="169175" cy="151467"/>
                  </a:xfrm>
                  <a:solidFill>
                    <a:schemeClr val="accent1"/>
                  </a:solidFill>
                </p:grpSpPr>
                <p:grpSp>
                  <p:nvGrpSpPr>
                    <p:cNvPr id="4625" name="Graphic 4">
                      <a:extLst>
                        <a:ext uri="{FF2B5EF4-FFF2-40B4-BE49-F238E27FC236}">
                          <a16:creationId xmlns:a16="http://schemas.microsoft.com/office/drawing/2014/main" id="{84FB7ED1-A2DF-40A1-A747-5F7CF3F14040}"/>
                        </a:ext>
                      </a:extLst>
                    </p:cNvPr>
                    <p:cNvGrpSpPr/>
                    <p:nvPr/>
                  </p:nvGrpSpPr>
                  <p:grpSpPr>
                    <a:xfrm>
                      <a:off x="9067697" y="2192484"/>
                      <a:ext cx="169175" cy="109267"/>
                      <a:chOff x="9067697" y="2192484"/>
                      <a:chExt cx="169175" cy="109267"/>
                    </a:xfrm>
                    <a:solidFill>
                      <a:schemeClr val="accent1"/>
                    </a:solidFill>
                  </p:grpSpPr>
                  <p:grpSp>
                    <p:nvGrpSpPr>
                      <p:cNvPr id="4626" name="Graphic 4">
                        <a:extLst>
                          <a:ext uri="{FF2B5EF4-FFF2-40B4-BE49-F238E27FC236}">
                            <a16:creationId xmlns:a16="http://schemas.microsoft.com/office/drawing/2014/main" id="{84FB7ED1-A2DF-40A1-A747-5F7CF3F14040}"/>
                          </a:ext>
                        </a:extLst>
                      </p:cNvPr>
                      <p:cNvGrpSpPr/>
                      <p:nvPr/>
                    </p:nvGrpSpPr>
                    <p:grpSpPr>
                      <a:xfrm>
                        <a:off x="9067697" y="2195247"/>
                        <a:ext cx="169175" cy="97712"/>
                        <a:chOff x="9067697" y="2195247"/>
                        <a:chExt cx="169175" cy="97712"/>
                      </a:xfrm>
                      <a:solidFill>
                        <a:schemeClr val="accent1"/>
                      </a:solidFill>
                    </p:grpSpPr>
                    <p:sp>
                      <p:nvSpPr>
                        <p:cNvPr id="4627" name="Freeform: Shape 4626">
                          <a:extLst>
                            <a:ext uri="{FF2B5EF4-FFF2-40B4-BE49-F238E27FC236}">
                              <a16:creationId xmlns:a16="http://schemas.microsoft.com/office/drawing/2014/main" id="{428B5515-DF26-4B06-A5D6-784D88BFF559}"/>
                            </a:ext>
                          </a:extLst>
                        </p:cNvPr>
                        <p:cNvSpPr/>
                        <p:nvPr/>
                      </p:nvSpPr>
                      <p:spPr>
                        <a:xfrm>
                          <a:off x="9067697" y="2195247"/>
                          <a:ext cx="90804" cy="52373"/>
                        </a:xfrm>
                        <a:custGeom>
                          <a:avLst/>
                          <a:gdLst>
                            <a:gd name="connsiteX0" fmla="*/ 7033 w 90804"/>
                            <a:gd name="connsiteY0" fmla="*/ 52373 h 52373"/>
                            <a:gd name="connsiteX1" fmla="*/ 0 w 90804"/>
                            <a:gd name="connsiteY1" fmla="*/ 48354 h 52373"/>
                            <a:gd name="connsiteX2" fmla="*/ 83772 w 90804"/>
                            <a:gd name="connsiteY2" fmla="*/ 0 h 52373"/>
                            <a:gd name="connsiteX3" fmla="*/ 90805 w 90804"/>
                            <a:gd name="connsiteY3" fmla="*/ 4019 h 52373"/>
                          </a:gdLst>
                          <a:ahLst/>
                          <a:cxnLst>
                            <a:cxn ang="0">
                              <a:pos x="connsiteX0" y="connsiteY0"/>
                            </a:cxn>
                            <a:cxn ang="0">
                              <a:pos x="connsiteX1" y="connsiteY1"/>
                            </a:cxn>
                            <a:cxn ang="0">
                              <a:pos x="connsiteX2" y="connsiteY2"/>
                            </a:cxn>
                            <a:cxn ang="0">
                              <a:pos x="connsiteX3" y="connsiteY3"/>
                            </a:cxn>
                          </a:cxnLst>
                          <a:rect l="l" t="t" r="r" b="b"/>
                          <a:pathLst>
                            <a:path w="90804" h="52373">
                              <a:moveTo>
                                <a:pt x="7033" y="52373"/>
                              </a:moveTo>
                              <a:lnTo>
                                <a:pt x="0" y="48354"/>
                              </a:lnTo>
                              <a:lnTo>
                                <a:pt x="83772" y="0"/>
                              </a:lnTo>
                              <a:lnTo>
                                <a:pt x="90805" y="4019"/>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8" name="Freeform: Shape 4627">
                          <a:extLst>
                            <a:ext uri="{FF2B5EF4-FFF2-40B4-BE49-F238E27FC236}">
                              <a16:creationId xmlns:a16="http://schemas.microsoft.com/office/drawing/2014/main" id="{5ED33EEF-E9B9-4254-A9B8-5C8775CE4CCD}"/>
                            </a:ext>
                          </a:extLst>
                        </p:cNvPr>
                        <p:cNvSpPr/>
                        <p:nvPr/>
                      </p:nvSpPr>
                      <p:spPr>
                        <a:xfrm>
                          <a:off x="9146068" y="2240461"/>
                          <a:ext cx="90804" cy="52498"/>
                        </a:xfrm>
                        <a:custGeom>
                          <a:avLst/>
                          <a:gdLst>
                            <a:gd name="connsiteX0" fmla="*/ 7033 w 90804"/>
                            <a:gd name="connsiteY0" fmla="*/ 52499 h 52498"/>
                            <a:gd name="connsiteX1" fmla="*/ 0 w 90804"/>
                            <a:gd name="connsiteY1" fmla="*/ 48354 h 52498"/>
                            <a:gd name="connsiteX2" fmla="*/ 83772 w 90804"/>
                            <a:gd name="connsiteY2" fmla="*/ 0 h 52498"/>
                            <a:gd name="connsiteX3" fmla="*/ 90805 w 90804"/>
                            <a:gd name="connsiteY3" fmla="*/ 4019 h 52498"/>
                          </a:gdLst>
                          <a:ahLst/>
                          <a:cxnLst>
                            <a:cxn ang="0">
                              <a:pos x="connsiteX0" y="connsiteY0"/>
                            </a:cxn>
                            <a:cxn ang="0">
                              <a:pos x="connsiteX1" y="connsiteY1"/>
                            </a:cxn>
                            <a:cxn ang="0">
                              <a:pos x="connsiteX2" y="connsiteY2"/>
                            </a:cxn>
                            <a:cxn ang="0">
                              <a:pos x="connsiteX3" y="connsiteY3"/>
                            </a:cxn>
                          </a:cxnLst>
                          <a:rect l="l" t="t" r="r" b="b"/>
                          <a:pathLst>
                            <a:path w="90804" h="52498">
                              <a:moveTo>
                                <a:pt x="7033" y="52499"/>
                              </a:moveTo>
                              <a:lnTo>
                                <a:pt x="0" y="48354"/>
                              </a:lnTo>
                              <a:lnTo>
                                <a:pt x="83772" y="0"/>
                              </a:lnTo>
                              <a:lnTo>
                                <a:pt x="90805" y="4019"/>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9" name="Freeform: Shape 4628">
                          <a:extLst>
                            <a:ext uri="{FF2B5EF4-FFF2-40B4-BE49-F238E27FC236}">
                              <a16:creationId xmlns:a16="http://schemas.microsoft.com/office/drawing/2014/main" id="{81563419-2C27-4AB9-8579-D268F497A0B8}"/>
                            </a:ext>
                          </a:extLst>
                        </p:cNvPr>
                        <p:cNvSpPr/>
                        <p:nvPr/>
                      </p:nvSpPr>
                      <p:spPr>
                        <a:xfrm>
                          <a:off x="9106883" y="2217854"/>
                          <a:ext cx="90804" cy="52373"/>
                        </a:xfrm>
                        <a:custGeom>
                          <a:avLst/>
                          <a:gdLst>
                            <a:gd name="connsiteX0" fmla="*/ 7033 w 90804"/>
                            <a:gd name="connsiteY0" fmla="*/ 52373 h 52373"/>
                            <a:gd name="connsiteX1" fmla="*/ 0 w 90804"/>
                            <a:gd name="connsiteY1" fmla="*/ 48354 h 52373"/>
                            <a:gd name="connsiteX2" fmla="*/ 83772 w 90804"/>
                            <a:gd name="connsiteY2" fmla="*/ 0 h 52373"/>
                            <a:gd name="connsiteX3" fmla="*/ 90805 w 90804"/>
                            <a:gd name="connsiteY3" fmla="*/ 4019 h 52373"/>
                          </a:gdLst>
                          <a:ahLst/>
                          <a:cxnLst>
                            <a:cxn ang="0">
                              <a:pos x="connsiteX0" y="connsiteY0"/>
                            </a:cxn>
                            <a:cxn ang="0">
                              <a:pos x="connsiteX1" y="connsiteY1"/>
                            </a:cxn>
                            <a:cxn ang="0">
                              <a:pos x="connsiteX2" y="connsiteY2"/>
                            </a:cxn>
                            <a:cxn ang="0">
                              <a:pos x="connsiteX3" y="connsiteY3"/>
                            </a:cxn>
                          </a:cxnLst>
                          <a:rect l="l" t="t" r="r" b="b"/>
                          <a:pathLst>
                            <a:path w="90804" h="52373">
                              <a:moveTo>
                                <a:pt x="7033" y="52373"/>
                              </a:moveTo>
                              <a:lnTo>
                                <a:pt x="0" y="48354"/>
                              </a:lnTo>
                              <a:lnTo>
                                <a:pt x="83772" y="0"/>
                              </a:lnTo>
                              <a:lnTo>
                                <a:pt x="90805" y="4019"/>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30" name="Freeform: Shape 4629">
                        <a:extLst>
                          <a:ext uri="{FF2B5EF4-FFF2-40B4-BE49-F238E27FC236}">
                            <a16:creationId xmlns:a16="http://schemas.microsoft.com/office/drawing/2014/main" id="{5646A060-E54A-4F7B-8D7B-C3D003178CBD}"/>
                          </a:ext>
                        </a:extLst>
                      </p:cNvPr>
                      <p:cNvSpPr/>
                      <p:nvPr/>
                    </p:nvSpPr>
                    <p:spPr>
                      <a:xfrm>
                        <a:off x="9074730" y="2199266"/>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1" name="Freeform: Shape 4630">
                        <a:extLst>
                          <a:ext uri="{FF2B5EF4-FFF2-40B4-BE49-F238E27FC236}">
                            <a16:creationId xmlns:a16="http://schemas.microsoft.com/office/drawing/2014/main" id="{5D23D71D-FB29-4287-B993-E9412C831A4C}"/>
                          </a:ext>
                        </a:extLst>
                      </p:cNvPr>
                      <p:cNvSpPr/>
                      <p:nvPr/>
                    </p:nvSpPr>
                    <p:spPr>
                      <a:xfrm>
                        <a:off x="9146068" y="2288815"/>
                        <a:ext cx="7033" cy="12936"/>
                      </a:xfrm>
                      <a:custGeom>
                        <a:avLst/>
                        <a:gdLst>
                          <a:gd name="connsiteX0" fmla="*/ 7033 w 7033"/>
                          <a:gd name="connsiteY0" fmla="*/ 12936 h 12936"/>
                          <a:gd name="connsiteX1" fmla="*/ 0 w 7033"/>
                          <a:gd name="connsiteY1" fmla="*/ 8792 h 12936"/>
                          <a:gd name="connsiteX2" fmla="*/ 0 w 7033"/>
                          <a:gd name="connsiteY2" fmla="*/ 0 h 12936"/>
                          <a:gd name="connsiteX3" fmla="*/ 7033 w 7033"/>
                          <a:gd name="connsiteY3" fmla="*/ 4145 h 12936"/>
                        </a:gdLst>
                        <a:ahLst/>
                        <a:cxnLst>
                          <a:cxn ang="0">
                            <a:pos x="connsiteX0" y="connsiteY0"/>
                          </a:cxn>
                          <a:cxn ang="0">
                            <a:pos x="connsiteX1" y="connsiteY1"/>
                          </a:cxn>
                          <a:cxn ang="0">
                            <a:pos x="connsiteX2" y="connsiteY2"/>
                          </a:cxn>
                          <a:cxn ang="0">
                            <a:pos x="connsiteX3" y="connsiteY3"/>
                          </a:cxn>
                        </a:cxnLst>
                        <a:rect l="l" t="t" r="r" b="b"/>
                        <a:pathLst>
                          <a:path w="7033" h="12936">
                            <a:moveTo>
                              <a:pt x="7033" y="12936"/>
                            </a:moveTo>
                            <a:lnTo>
                              <a:pt x="0" y="8792"/>
                            </a:lnTo>
                            <a:lnTo>
                              <a:pt x="0" y="0"/>
                            </a:lnTo>
                            <a:lnTo>
                              <a:pt x="7033" y="4145"/>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2" name="Freeform: Shape 4631">
                        <a:extLst>
                          <a:ext uri="{FF2B5EF4-FFF2-40B4-BE49-F238E27FC236}">
                            <a16:creationId xmlns:a16="http://schemas.microsoft.com/office/drawing/2014/main" id="{A47BBCE6-C3A7-4B76-A4AE-EB3F5769055C}"/>
                          </a:ext>
                        </a:extLst>
                      </p:cNvPr>
                      <p:cNvSpPr/>
                      <p:nvPr/>
                    </p:nvSpPr>
                    <p:spPr>
                      <a:xfrm>
                        <a:off x="9153101" y="2244480"/>
                        <a:ext cx="83771" cy="57271"/>
                      </a:xfrm>
                      <a:custGeom>
                        <a:avLst/>
                        <a:gdLst>
                          <a:gd name="connsiteX0" fmla="*/ 0 w 83771"/>
                          <a:gd name="connsiteY0" fmla="*/ 57271 h 57271"/>
                          <a:gd name="connsiteX1" fmla="*/ 0 w 83771"/>
                          <a:gd name="connsiteY1" fmla="*/ 48480 h 57271"/>
                          <a:gd name="connsiteX2" fmla="*/ 83772 w 83771"/>
                          <a:gd name="connsiteY2" fmla="*/ 0 h 57271"/>
                          <a:gd name="connsiteX3" fmla="*/ 83772 w 83771"/>
                          <a:gd name="connsiteY3" fmla="*/ 8792 h 57271"/>
                        </a:gdLst>
                        <a:ahLst/>
                        <a:cxnLst>
                          <a:cxn ang="0">
                            <a:pos x="connsiteX0" y="connsiteY0"/>
                          </a:cxn>
                          <a:cxn ang="0">
                            <a:pos x="connsiteX1" y="connsiteY1"/>
                          </a:cxn>
                          <a:cxn ang="0">
                            <a:pos x="connsiteX2" y="connsiteY2"/>
                          </a:cxn>
                          <a:cxn ang="0">
                            <a:pos x="connsiteX3" y="connsiteY3"/>
                          </a:cxn>
                        </a:cxnLst>
                        <a:rect l="l" t="t" r="r" b="b"/>
                        <a:pathLst>
                          <a:path w="83771" h="57271">
                            <a:moveTo>
                              <a:pt x="0" y="57271"/>
                            </a:moveTo>
                            <a:lnTo>
                              <a:pt x="0" y="48480"/>
                            </a:lnTo>
                            <a:lnTo>
                              <a:pt x="83772" y="0"/>
                            </a:lnTo>
                            <a:lnTo>
                              <a:pt x="83772" y="8792"/>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3" name="Freeform: Shape 4632">
                        <a:extLst>
                          <a:ext uri="{FF2B5EF4-FFF2-40B4-BE49-F238E27FC236}">
                            <a16:creationId xmlns:a16="http://schemas.microsoft.com/office/drawing/2014/main" id="{0D1FCB55-8CFF-410B-9191-8A2AFAF66EEA}"/>
                          </a:ext>
                        </a:extLst>
                      </p:cNvPr>
                      <p:cNvSpPr/>
                      <p:nvPr/>
                    </p:nvSpPr>
                    <p:spPr>
                      <a:xfrm>
                        <a:off x="9113916" y="2221873"/>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634" name="Graphic 4">
                        <a:extLst>
                          <a:ext uri="{FF2B5EF4-FFF2-40B4-BE49-F238E27FC236}">
                            <a16:creationId xmlns:a16="http://schemas.microsoft.com/office/drawing/2014/main" id="{84FB7ED1-A2DF-40A1-A747-5F7CF3F14040}"/>
                          </a:ext>
                        </a:extLst>
                      </p:cNvPr>
                      <p:cNvGrpSpPr/>
                      <p:nvPr/>
                    </p:nvGrpSpPr>
                    <p:grpSpPr>
                      <a:xfrm>
                        <a:off x="9067697" y="2233679"/>
                        <a:ext cx="97838" cy="59280"/>
                        <a:chOff x="9067697" y="2233679"/>
                        <a:chExt cx="97838" cy="59280"/>
                      </a:xfrm>
                      <a:solidFill>
                        <a:schemeClr val="accent1"/>
                      </a:solidFill>
                    </p:grpSpPr>
                    <p:sp>
                      <p:nvSpPr>
                        <p:cNvPr id="4635" name="Freeform: Shape 4634">
                          <a:extLst>
                            <a:ext uri="{FF2B5EF4-FFF2-40B4-BE49-F238E27FC236}">
                              <a16:creationId xmlns:a16="http://schemas.microsoft.com/office/drawing/2014/main" id="{A427F8F0-44ED-406A-A13B-86FDB1C1CE08}"/>
                            </a:ext>
                          </a:extLst>
                        </p:cNvPr>
                        <p:cNvSpPr/>
                        <p:nvPr/>
                      </p:nvSpPr>
                      <p:spPr>
                        <a:xfrm>
                          <a:off x="9067697" y="2233679"/>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6" name="Freeform: Shape 4635">
                          <a:extLst>
                            <a:ext uri="{FF2B5EF4-FFF2-40B4-BE49-F238E27FC236}">
                              <a16:creationId xmlns:a16="http://schemas.microsoft.com/office/drawing/2014/main" id="{40186F2A-2521-4CEF-BFF7-5B291D4AA747}"/>
                            </a:ext>
                          </a:extLst>
                        </p:cNvPr>
                        <p:cNvSpPr/>
                        <p:nvPr/>
                      </p:nvSpPr>
                      <p:spPr>
                        <a:xfrm>
                          <a:off x="9067697" y="2240837"/>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7" name="Freeform: Shape 4636">
                          <a:extLst>
                            <a:ext uri="{FF2B5EF4-FFF2-40B4-BE49-F238E27FC236}">
                              <a16:creationId xmlns:a16="http://schemas.microsoft.com/office/drawing/2014/main" id="{0BAA8D64-3410-499B-95A9-368ED5D8B39D}"/>
                            </a:ext>
                          </a:extLst>
                        </p:cNvPr>
                        <p:cNvSpPr/>
                        <p:nvPr/>
                      </p:nvSpPr>
                      <p:spPr>
                        <a:xfrm>
                          <a:off x="9153101" y="2283037"/>
                          <a:ext cx="12433" cy="9921"/>
                        </a:xfrm>
                        <a:custGeom>
                          <a:avLst/>
                          <a:gdLst>
                            <a:gd name="connsiteX0" fmla="*/ 0 w 12433"/>
                            <a:gd name="connsiteY0" fmla="*/ 7159 h 9921"/>
                            <a:gd name="connsiteX1" fmla="*/ 0 w 12433"/>
                            <a:gd name="connsiteY1" fmla="*/ 9922 h 9921"/>
                            <a:gd name="connsiteX2" fmla="*/ 12434 w 12433"/>
                            <a:gd name="connsiteY2" fmla="*/ 2637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637"/>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38" name="Graphic 4">
                        <a:extLst>
                          <a:ext uri="{FF2B5EF4-FFF2-40B4-BE49-F238E27FC236}">
                            <a16:creationId xmlns:a16="http://schemas.microsoft.com/office/drawing/2014/main" id="{84FB7ED1-A2DF-40A1-A747-5F7CF3F14040}"/>
                          </a:ext>
                        </a:extLst>
                      </p:cNvPr>
                      <p:cNvGrpSpPr/>
                      <p:nvPr/>
                    </p:nvGrpSpPr>
                    <p:grpSpPr>
                      <a:xfrm>
                        <a:off x="9085531" y="2223380"/>
                        <a:ext cx="97838" cy="59280"/>
                        <a:chOff x="9085531" y="2223380"/>
                        <a:chExt cx="97838" cy="59280"/>
                      </a:xfrm>
                      <a:solidFill>
                        <a:schemeClr val="accent1"/>
                      </a:solidFill>
                    </p:grpSpPr>
                    <p:sp>
                      <p:nvSpPr>
                        <p:cNvPr id="4639" name="Freeform: Shape 4638">
                          <a:extLst>
                            <a:ext uri="{FF2B5EF4-FFF2-40B4-BE49-F238E27FC236}">
                              <a16:creationId xmlns:a16="http://schemas.microsoft.com/office/drawing/2014/main" id="{836E9A37-D463-4CBA-8BEE-F5E9F8C507B9}"/>
                            </a:ext>
                          </a:extLst>
                        </p:cNvPr>
                        <p:cNvSpPr/>
                        <p:nvPr/>
                      </p:nvSpPr>
                      <p:spPr>
                        <a:xfrm>
                          <a:off x="9085531" y="2223380"/>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0" name="Freeform: Shape 4639">
                          <a:extLst>
                            <a:ext uri="{FF2B5EF4-FFF2-40B4-BE49-F238E27FC236}">
                              <a16:creationId xmlns:a16="http://schemas.microsoft.com/office/drawing/2014/main" id="{7921068E-9C04-4B3C-936A-12A9857BBEC5}"/>
                            </a:ext>
                          </a:extLst>
                        </p:cNvPr>
                        <p:cNvSpPr/>
                        <p:nvPr/>
                      </p:nvSpPr>
                      <p:spPr>
                        <a:xfrm>
                          <a:off x="9085531" y="2230539"/>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1" name="Freeform: Shape 4640">
                          <a:extLst>
                            <a:ext uri="{FF2B5EF4-FFF2-40B4-BE49-F238E27FC236}">
                              <a16:creationId xmlns:a16="http://schemas.microsoft.com/office/drawing/2014/main" id="{946347FF-0B20-4CA7-AC5B-4DC73AA3556F}"/>
                            </a:ext>
                          </a:extLst>
                        </p:cNvPr>
                        <p:cNvSpPr/>
                        <p:nvPr/>
                      </p:nvSpPr>
                      <p:spPr>
                        <a:xfrm>
                          <a:off x="9170936" y="2272739"/>
                          <a:ext cx="12433" cy="9921"/>
                        </a:xfrm>
                        <a:custGeom>
                          <a:avLst/>
                          <a:gdLst>
                            <a:gd name="connsiteX0" fmla="*/ 0 w 12433"/>
                            <a:gd name="connsiteY0" fmla="*/ 7159 h 9921"/>
                            <a:gd name="connsiteX1" fmla="*/ 0 w 12433"/>
                            <a:gd name="connsiteY1" fmla="*/ 9922 h 9921"/>
                            <a:gd name="connsiteX2" fmla="*/ 12434 w 12433"/>
                            <a:gd name="connsiteY2" fmla="*/ 2637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637"/>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42" name="Graphic 4">
                        <a:extLst>
                          <a:ext uri="{FF2B5EF4-FFF2-40B4-BE49-F238E27FC236}">
                            <a16:creationId xmlns:a16="http://schemas.microsoft.com/office/drawing/2014/main" id="{84FB7ED1-A2DF-40A1-A747-5F7CF3F14040}"/>
                          </a:ext>
                        </a:extLst>
                      </p:cNvPr>
                      <p:cNvGrpSpPr/>
                      <p:nvPr/>
                    </p:nvGrpSpPr>
                    <p:grpSpPr>
                      <a:xfrm>
                        <a:off x="9103366" y="2213081"/>
                        <a:ext cx="97838" cy="59155"/>
                        <a:chOff x="9103366" y="2213081"/>
                        <a:chExt cx="97838" cy="59155"/>
                      </a:xfrm>
                      <a:solidFill>
                        <a:schemeClr val="accent1"/>
                      </a:solidFill>
                    </p:grpSpPr>
                    <p:sp>
                      <p:nvSpPr>
                        <p:cNvPr id="4643" name="Freeform: Shape 4642">
                          <a:extLst>
                            <a:ext uri="{FF2B5EF4-FFF2-40B4-BE49-F238E27FC236}">
                              <a16:creationId xmlns:a16="http://schemas.microsoft.com/office/drawing/2014/main" id="{72BA2A0C-2AEA-48BB-ACFD-F634F800316D}"/>
                            </a:ext>
                          </a:extLst>
                        </p:cNvPr>
                        <p:cNvSpPr/>
                        <p:nvPr/>
                      </p:nvSpPr>
                      <p:spPr>
                        <a:xfrm>
                          <a:off x="9103366" y="2213081"/>
                          <a:ext cx="97838" cy="56517"/>
                        </a:xfrm>
                        <a:custGeom>
                          <a:avLst/>
                          <a:gdLst>
                            <a:gd name="connsiteX0" fmla="*/ 97839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4" name="Freeform: Shape 4643">
                          <a:extLst>
                            <a:ext uri="{FF2B5EF4-FFF2-40B4-BE49-F238E27FC236}">
                              <a16:creationId xmlns:a16="http://schemas.microsoft.com/office/drawing/2014/main" id="{B3701BF4-E59F-4C6B-8FFB-6716871CA012}"/>
                            </a:ext>
                          </a:extLst>
                        </p:cNvPr>
                        <p:cNvSpPr/>
                        <p:nvPr/>
                      </p:nvSpPr>
                      <p:spPr>
                        <a:xfrm>
                          <a:off x="9103366" y="2220240"/>
                          <a:ext cx="85404" cy="51996"/>
                        </a:xfrm>
                        <a:custGeom>
                          <a:avLst/>
                          <a:gdLst>
                            <a:gd name="connsiteX0" fmla="*/ 0 w 85404"/>
                            <a:gd name="connsiteY0" fmla="*/ 0 h 51996"/>
                            <a:gd name="connsiteX1" fmla="*/ 0 w 85404"/>
                            <a:gd name="connsiteY1" fmla="*/ 2763 h 51996"/>
                            <a:gd name="connsiteX2" fmla="*/ 85404 w 85404"/>
                            <a:gd name="connsiteY2" fmla="*/ 51996 h 51996"/>
                            <a:gd name="connsiteX3" fmla="*/ 85404 w 85404"/>
                            <a:gd name="connsiteY3" fmla="*/ 49359 h 51996"/>
                          </a:gdLst>
                          <a:ahLst/>
                          <a:cxnLst>
                            <a:cxn ang="0">
                              <a:pos x="connsiteX0" y="connsiteY0"/>
                            </a:cxn>
                            <a:cxn ang="0">
                              <a:pos x="connsiteX1" y="connsiteY1"/>
                            </a:cxn>
                            <a:cxn ang="0">
                              <a:pos x="connsiteX2" y="connsiteY2"/>
                            </a:cxn>
                            <a:cxn ang="0">
                              <a:pos x="connsiteX3" y="connsiteY3"/>
                            </a:cxn>
                          </a:cxnLst>
                          <a:rect l="l" t="t" r="r" b="b"/>
                          <a:pathLst>
                            <a:path w="85404" h="51996">
                              <a:moveTo>
                                <a:pt x="0" y="0"/>
                              </a:moveTo>
                              <a:lnTo>
                                <a:pt x="0" y="2763"/>
                              </a:lnTo>
                              <a:lnTo>
                                <a:pt x="85404" y="51996"/>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5" name="Freeform: Shape 4644">
                          <a:extLst>
                            <a:ext uri="{FF2B5EF4-FFF2-40B4-BE49-F238E27FC236}">
                              <a16:creationId xmlns:a16="http://schemas.microsoft.com/office/drawing/2014/main" id="{F5F1B500-DB96-4EBE-84FD-8F6B44E13B51}"/>
                            </a:ext>
                          </a:extLst>
                        </p:cNvPr>
                        <p:cNvSpPr/>
                        <p:nvPr/>
                      </p:nvSpPr>
                      <p:spPr>
                        <a:xfrm>
                          <a:off x="9188770" y="2262440"/>
                          <a:ext cx="12434" cy="9796"/>
                        </a:xfrm>
                        <a:custGeom>
                          <a:avLst/>
                          <a:gdLst>
                            <a:gd name="connsiteX0" fmla="*/ 0 w 12434"/>
                            <a:gd name="connsiteY0" fmla="*/ 7159 h 9796"/>
                            <a:gd name="connsiteX1" fmla="*/ 0 w 12434"/>
                            <a:gd name="connsiteY1" fmla="*/ 9796 h 9796"/>
                            <a:gd name="connsiteX2" fmla="*/ 12435 w 12434"/>
                            <a:gd name="connsiteY2" fmla="*/ 2637 h 9796"/>
                            <a:gd name="connsiteX3" fmla="*/ 12435 w 12434"/>
                            <a:gd name="connsiteY3" fmla="*/ 0 h 9796"/>
                          </a:gdLst>
                          <a:ahLst/>
                          <a:cxnLst>
                            <a:cxn ang="0">
                              <a:pos x="connsiteX0" y="connsiteY0"/>
                            </a:cxn>
                            <a:cxn ang="0">
                              <a:pos x="connsiteX1" y="connsiteY1"/>
                            </a:cxn>
                            <a:cxn ang="0">
                              <a:pos x="connsiteX2" y="connsiteY2"/>
                            </a:cxn>
                            <a:cxn ang="0">
                              <a:pos x="connsiteX3" y="connsiteY3"/>
                            </a:cxn>
                          </a:cxnLst>
                          <a:rect l="l" t="t" r="r" b="b"/>
                          <a:pathLst>
                            <a:path w="12434" h="9796">
                              <a:moveTo>
                                <a:pt x="0" y="7159"/>
                              </a:moveTo>
                              <a:lnTo>
                                <a:pt x="0" y="9796"/>
                              </a:lnTo>
                              <a:lnTo>
                                <a:pt x="12435" y="2637"/>
                              </a:lnTo>
                              <a:lnTo>
                                <a:pt x="12435"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46" name="Graphic 4">
                        <a:extLst>
                          <a:ext uri="{FF2B5EF4-FFF2-40B4-BE49-F238E27FC236}">
                            <a16:creationId xmlns:a16="http://schemas.microsoft.com/office/drawing/2014/main" id="{84FB7ED1-A2DF-40A1-A747-5F7CF3F14040}"/>
                          </a:ext>
                        </a:extLst>
                      </p:cNvPr>
                      <p:cNvGrpSpPr/>
                      <p:nvPr/>
                    </p:nvGrpSpPr>
                    <p:grpSpPr>
                      <a:xfrm>
                        <a:off x="9121200" y="2202782"/>
                        <a:ext cx="97838" cy="59155"/>
                        <a:chOff x="9121200" y="2202782"/>
                        <a:chExt cx="97838" cy="59155"/>
                      </a:xfrm>
                      <a:solidFill>
                        <a:schemeClr val="accent1"/>
                      </a:solidFill>
                    </p:grpSpPr>
                    <p:sp>
                      <p:nvSpPr>
                        <p:cNvPr id="4647" name="Freeform: Shape 4646">
                          <a:extLst>
                            <a:ext uri="{FF2B5EF4-FFF2-40B4-BE49-F238E27FC236}">
                              <a16:creationId xmlns:a16="http://schemas.microsoft.com/office/drawing/2014/main" id="{012D6360-8C21-4F96-9946-9EC032291882}"/>
                            </a:ext>
                          </a:extLst>
                        </p:cNvPr>
                        <p:cNvSpPr/>
                        <p:nvPr/>
                      </p:nvSpPr>
                      <p:spPr>
                        <a:xfrm>
                          <a:off x="9121200" y="2202782"/>
                          <a:ext cx="97838" cy="56517"/>
                        </a:xfrm>
                        <a:custGeom>
                          <a:avLst/>
                          <a:gdLst>
                            <a:gd name="connsiteX0" fmla="*/ 97839 w 97838"/>
                            <a:gd name="connsiteY0" fmla="*/ 49359 h 56517"/>
                            <a:gd name="connsiteX1" fmla="*/ 85405 w 97838"/>
                            <a:gd name="connsiteY1" fmla="*/ 56518 h 56517"/>
                            <a:gd name="connsiteX2" fmla="*/ 0 w 97838"/>
                            <a:gd name="connsiteY2" fmla="*/ 7159 h 56517"/>
                            <a:gd name="connsiteX3" fmla="*/ 12435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5" y="56518"/>
                              </a:lnTo>
                              <a:lnTo>
                                <a:pt x="0" y="7159"/>
                              </a:lnTo>
                              <a:lnTo>
                                <a:pt x="12435"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8" name="Freeform: Shape 4647">
                          <a:extLst>
                            <a:ext uri="{FF2B5EF4-FFF2-40B4-BE49-F238E27FC236}">
                              <a16:creationId xmlns:a16="http://schemas.microsoft.com/office/drawing/2014/main" id="{4BBCE250-9559-44E6-9200-81365C45A988}"/>
                            </a:ext>
                          </a:extLst>
                        </p:cNvPr>
                        <p:cNvSpPr/>
                        <p:nvPr/>
                      </p:nvSpPr>
                      <p:spPr>
                        <a:xfrm>
                          <a:off x="9121200" y="2209941"/>
                          <a:ext cx="85405" cy="51996"/>
                        </a:xfrm>
                        <a:custGeom>
                          <a:avLst/>
                          <a:gdLst>
                            <a:gd name="connsiteX0" fmla="*/ 0 w 85405"/>
                            <a:gd name="connsiteY0" fmla="*/ 0 h 51996"/>
                            <a:gd name="connsiteX1" fmla="*/ 0 w 85405"/>
                            <a:gd name="connsiteY1" fmla="*/ 2763 h 51996"/>
                            <a:gd name="connsiteX2" fmla="*/ 85405 w 85405"/>
                            <a:gd name="connsiteY2" fmla="*/ 51996 h 51996"/>
                            <a:gd name="connsiteX3" fmla="*/ 85405 w 85405"/>
                            <a:gd name="connsiteY3" fmla="*/ 49359 h 51996"/>
                          </a:gdLst>
                          <a:ahLst/>
                          <a:cxnLst>
                            <a:cxn ang="0">
                              <a:pos x="connsiteX0" y="connsiteY0"/>
                            </a:cxn>
                            <a:cxn ang="0">
                              <a:pos x="connsiteX1" y="connsiteY1"/>
                            </a:cxn>
                            <a:cxn ang="0">
                              <a:pos x="connsiteX2" y="connsiteY2"/>
                            </a:cxn>
                            <a:cxn ang="0">
                              <a:pos x="connsiteX3" y="connsiteY3"/>
                            </a:cxn>
                          </a:cxnLst>
                          <a:rect l="l" t="t" r="r" b="b"/>
                          <a:pathLst>
                            <a:path w="85405" h="51996">
                              <a:moveTo>
                                <a:pt x="0" y="0"/>
                              </a:moveTo>
                              <a:lnTo>
                                <a:pt x="0" y="2763"/>
                              </a:lnTo>
                              <a:lnTo>
                                <a:pt x="85405" y="51996"/>
                              </a:lnTo>
                              <a:lnTo>
                                <a:pt x="85405"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9" name="Freeform: Shape 4648">
                          <a:extLst>
                            <a:ext uri="{FF2B5EF4-FFF2-40B4-BE49-F238E27FC236}">
                              <a16:creationId xmlns:a16="http://schemas.microsoft.com/office/drawing/2014/main" id="{A09647DE-40EB-4C76-B29C-657F68B2CC9E}"/>
                            </a:ext>
                          </a:extLst>
                        </p:cNvPr>
                        <p:cNvSpPr/>
                        <p:nvPr/>
                      </p:nvSpPr>
                      <p:spPr>
                        <a:xfrm>
                          <a:off x="9206605" y="2252141"/>
                          <a:ext cx="12433" cy="9796"/>
                        </a:xfrm>
                        <a:custGeom>
                          <a:avLst/>
                          <a:gdLst>
                            <a:gd name="connsiteX0" fmla="*/ 0 w 12433"/>
                            <a:gd name="connsiteY0" fmla="*/ 7159 h 9796"/>
                            <a:gd name="connsiteX1" fmla="*/ 0 w 12433"/>
                            <a:gd name="connsiteY1" fmla="*/ 9796 h 9796"/>
                            <a:gd name="connsiteX2" fmla="*/ 12434 w 12433"/>
                            <a:gd name="connsiteY2" fmla="*/ 2637 h 9796"/>
                            <a:gd name="connsiteX3" fmla="*/ 12434 w 12433"/>
                            <a:gd name="connsiteY3" fmla="*/ 0 h 9796"/>
                          </a:gdLst>
                          <a:ahLst/>
                          <a:cxnLst>
                            <a:cxn ang="0">
                              <a:pos x="connsiteX0" y="connsiteY0"/>
                            </a:cxn>
                            <a:cxn ang="0">
                              <a:pos x="connsiteX1" y="connsiteY1"/>
                            </a:cxn>
                            <a:cxn ang="0">
                              <a:pos x="connsiteX2" y="connsiteY2"/>
                            </a:cxn>
                            <a:cxn ang="0">
                              <a:pos x="connsiteX3" y="connsiteY3"/>
                            </a:cxn>
                          </a:cxnLst>
                          <a:rect l="l" t="t" r="r" b="b"/>
                          <a:pathLst>
                            <a:path w="12433" h="9796">
                              <a:moveTo>
                                <a:pt x="0" y="7159"/>
                              </a:moveTo>
                              <a:lnTo>
                                <a:pt x="0" y="9796"/>
                              </a:lnTo>
                              <a:lnTo>
                                <a:pt x="12434" y="2637"/>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50" name="Graphic 4">
                        <a:extLst>
                          <a:ext uri="{FF2B5EF4-FFF2-40B4-BE49-F238E27FC236}">
                            <a16:creationId xmlns:a16="http://schemas.microsoft.com/office/drawing/2014/main" id="{84FB7ED1-A2DF-40A1-A747-5F7CF3F14040}"/>
                          </a:ext>
                        </a:extLst>
                      </p:cNvPr>
                      <p:cNvGrpSpPr/>
                      <p:nvPr/>
                    </p:nvGrpSpPr>
                    <p:grpSpPr>
                      <a:xfrm>
                        <a:off x="9139035" y="2192484"/>
                        <a:ext cx="97838" cy="59155"/>
                        <a:chOff x="9139035" y="2192484"/>
                        <a:chExt cx="97838" cy="59155"/>
                      </a:xfrm>
                      <a:solidFill>
                        <a:schemeClr val="accent1"/>
                      </a:solidFill>
                    </p:grpSpPr>
                    <p:sp>
                      <p:nvSpPr>
                        <p:cNvPr id="4651" name="Freeform: Shape 4650">
                          <a:extLst>
                            <a:ext uri="{FF2B5EF4-FFF2-40B4-BE49-F238E27FC236}">
                              <a16:creationId xmlns:a16="http://schemas.microsoft.com/office/drawing/2014/main" id="{52369400-27AA-48F6-848D-8B2E7A113BCE}"/>
                            </a:ext>
                          </a:extLst>
                        </p:cNvPr>
                        <p:cNvSpPr/>
                        <p:nvPr/>
                      </p:nvSpPr>
                      <p:spPr>
                        <a:xfrm>
                          <a:off x="9139035" y="2192484"/>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52" name="Freeform: Shape 4651">
                          <a:extLst>
                            <a:ext uri="{FF2B5EF4-FFF2-40B4-BE49-F238E27FC236}">
                              <a16:creationId xmlns:a16="http://schemas.microsoft.com/office/drawing/2014/main" id="{E45948BC-62DD-440A-B054-785EF536DADF}"/>
                            </a:ext>
                          </a:extLst>
                        </p:cNvPr>
                        <p:cNvSpPr/>
                        <p:nvPr/>
                      </p:nvSpPr>
                      <p:spPr>
                        <a:xfrm>
                          <a:off x="9139035" y="2199642"/>
                          <a:ext cx="85404" cy="51996"/>
                        </a:xfrm>
                        <a:custGeom>
                          <a:avLst/>
                          <a:gdLst>
                            <a:gd name="connsiteX0" fmla="*/ 0 w 85404"/>
                            <a:gd name="connsiteY0" fmla="*/ 0 h 51996"/>
                            <a:gd name="connsiteX1" fmla="*/ 0 w 85404"/>
                            <a:gd name="connsiteY1" fmla="*/ 2763 h 51996"/>
                            <a:gd name="connsiteX2" fmla="*/ 85404 w 85404"/>
                            <a:gd name="connsiteY2" fmla="*/ 51996 h 51996"/>
                            <a:gd name="connsiteX3" fmla="*/ 85404 w 85404"/>
                            <a:gd name="connsiteY3" fmla="*/ 49359 h 51996"/>
                          </a:gdLst>
                          <a:ahLst/>
                          <a:cxnLst>
                            <a:cxn ang="0">
                              <a:pos x="connsiteX0" y="connsiteY0"/>
                            </a:cxn>
                            <a:cxn ang="0">
                              <a:pos x="connsiteX1" y="connsiteY1"/>
                            </a:cxn>
                            <a:cxn ang="0">
                              <a:pos x="connsiteX2" y="connsiteY2"/>
                            </a:cxn>
                            <a:cxn ang="0">
                              <a:pos x="connsiteX3" y="connsiteY3"/>
                            </a:cxn>
                          </a:cxnLst>
                          <a:rect l="l" t="t" r="r" b="b"/>
                          <a:pathLst>
                            <a:path w="85404" h="51996">
                              <a:moveTo>
                                <a:pt x="0" y="0"/>
                              </a:moveTo>
                              <a:lnTo>
                                <a:pt x="0" y="2763"/>
                              </a:lnTo>
                              <a:lnTo>
                                <a:pt x="85404" y="51996"/>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53" name="Freeform: Shape 4652">
                          <a:extLst>
                            <a:ext uri="{FF2B5EF4-FFF2-40B4-BE49-F238E27FC236}">
                              <a16:creationId xmlns:a16="http://schemas.microsoft.com/office/drawing/2014/main" id="{BD15DB9F-D665-42F4-A966-FCDE8B049705}"/>
                            </a:ext>
                          </a:extLst>
                        </p:cNvPr>
                        <p:cNvSpPr/>
                        <p:nvPr/>
                      </p:nvSpPr>
                      <p:spPr>
                        <a:xfrm>
                          <a:off x="9224439" y="2241842"/>
                          <a:ext cx="12433" cy="9796"/>
                        </a:xfrm>
                        <a:custGeom>
                          <a:avLst/>
                          <a:gdLst>
                            <a:gd name="connsiteX0" fmla="*/ 0 w 12433"/>
                            <a:gd name="connsiteY0" fmla="*/ 7159 h 9796"/>
                            <a:gd name="connsiteX1" fmla="*/ 0 w 12433"/>
                            <a:gd name="connsiteY1" fmla="*/ 9796 h 9796"/>
                            <a:gd name="connsiteX2" fmla="*/ 12434 w 12433"/>
                            <a:gd name="connsiteY2" fmla="*/ 2637 h 9796"/>
                            <a:gd name="connsiteX3" fmla="*/ 12434 w 12433"/>
                            <a:gd name="connsiteY3" fmla="*/ 0 h 9796"/>
                          </a:gdLst>
                          <a:ahLst/>
                          <a:cxnLst>
                            <a:cxn ang="0">
                              <a:pos x="connsiteX0" y="connsiteY0"/>
                            </a:cxn>
                            <a:cxn ang="0">
                              <a:pos x="connsiteX1" y="connsiteY1"/>
                            </a:cxn>
                            <a:cxn ang="0">
                              <a:pos x="connsiteX2" y="connsiteY2"/>
                            </a:cxn>
                            <a:cxn ang="0">
                              <a:pos x="connsiteX3" y="connsiteY3"/>
                            </a:cxn>
                          </a:cxnLst>
                          <a:rect l="l" t="t" r="r" b="b"/>
                          <a:pathLst>
                            <a:path w="12433" h="9796">
                              <a:moveTo>
                                <a:pt x="0" y="7159"/>
                              </a:moveTo>
                              <a:lnTo>
                                <a:pt x="0" y="9796"/>
                              </a:lnTo>
                              <a:lnTo>
                                <a:pt x="12434" y="2637"/>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54" name="Freeform: Shape 4653">
                        <a:extLst>
                          <a:ext uri="{FF2B5EF4-FFF2-40B4-BE49-F238E27FC236}">
                            <a16:creationId xmlns:a16="http://schemas.microsoft.com/office/drawing/2014/main" id="{36703556-D85F-4BE4-B0C8-6D880197106F}"/>
                          </a:ext>
                        </a:extLst>
                      </p:cNvPr>
                      <p:cNvSpPr/>
                      <p:nvPr/>
                    </p:nvSpPr>
                    <p:spPr>
                      <a:xfrm>
                        <a:off x="9067697" y="2243601"/>
                        <a:ext cx="7033" cy="12810"/>
                      </a:xfrm>
                      <a:custGeom>
                        <a:avLst/>
                        <a:gdLst>
                          <a:gd name="connsiteX0" fmla="*/ 0 w 7033"/>
                          <a:gd name="connsiteY0" fmla="*/ 0 h 12810"/>
                          <a:gd name="connsiteX1" fmla="*/ 0 w 7033"/>
                          <a:gd name="connsiteY1" fmla="*/ 8792 h 12810"/>
                          <a:gd name="connsiteX2" fmla="*/ 7033 w 7033"/>
                          <a:gd name="connsiteY2" fmla="*/ 12811 h 12810"/>
                          <a:gd name="connsiteX3" fmla="*/ 7033 w 7033"/>
                          <a:gd name="connsiteY3" fmla="*/ 4019 h 12810"/>
                        </a:gdLst>
                        <a:ahLst/>
                        <a:cxnLst>
                          <a:cxn ang="0">
                            <a:pos x="connsiteX0" y="connsiteY0"/>
                          </a:cxn>
                          <a:cxn ang="0">
                            <a:pos x="connsiteX1" y="connsiteY1"/>
                          </a:cxn>
                          <a:cxn ang="0">
                            <a:pos x="connsiteX2" y="connsiteY2"/>
                          </a:cxn>
                          <a:cxn ang="0">
                            <a:pos x="connsiteX3" y="connsiteY3"/>
                          </a:cxn>
                        </a:cxnLst>
                        <a:rect l="l" t="t" r="r" b="b"/>
                        <a:pathLst>
                          <a:path w="7033" h="12810">
                            <a:moveTo>
                              <a:pt x="0" y="0"/>
                            </a:moveTo>
                            <a:lnTo>
                              <a:pt x="0" y="8792"/>
                            </a:lnTo>
                            <a:lnTo>
                              <a:pt x="7033" y="12811"/>
                            </a:lnTo>
                            <a:lnTo>
                              <a:pt x="7033" y="4019"/>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55" name="Freeform: Shape 4654">
                        <a:extLst>
                          <a:ext uri="{FF2B5EF4-FFF2-40B4-BE49-F238E27FC236}">
                            <a16:creationId xmlns:a16="http://schemas.microsoft.com/office/drawing/2014/main" id="{66D833E5-43EB-403E-9873-80031C4DFBE0}"/>
                          </a:ext>
                        </a:extLst>
                      </p:cNvPr>
                      <p:cNvSpPr/>
                      <p:nvPr/>
                    </p:nvSpPr>
                    <p:spPr>
                      <a:xfrm>
                        <a:off x="9106883" y="2266208"/>
                        <a:ext cx="7033" cy="12810"/>
                      </a:xfrm>
                      <a:custGeom>
                        <a:avLst/>
                        <a:gdLst>
                          <a:gd name="connsiteX0" fmla="*/ 0 w 7033"/>
                          <a:gd name="connsiteY0" fmla="*/ 0 h 12810"/>
                          <a:gd name="connsiteX1" fmla="*/ 0 w 7033"/>
                          <a:gd name="connsiteY1" fmla="*/ 8792 h 12810"/>
                          <a:gd name="connsiteX2" fmla="*/ 7033 w 7033"/>
                          <a:gd name="connsiteY2" fmla="*/ 12811 h 12810"/>
                          <a:gd name="connsiteX3" fmla="*/ 7033 w 7033"/>
                          <a:gd name="connsiteY3" fmla="*/ 4019 h 12810"/>
                        </a:gdLst>
                        <a:ahLst/>
                        <a:cxnLst>
                          <a:cxn ang="0">
                            <a:pos x="connsiteX0" y="connsiteY0"/>
                          </a:cxn>
                          <a:cxn ang="0">
                            <a:pos x="connsiteX1" y="connsiteY1"/>
                          </a:cxn>
                          <a:cxn ang="0">
                            <a:pos x="connsiteX2" y="connsiteY2"/>
                          </a:cxn>
                          <a:cxn ang="0">
                            <a:pos x="connsiteX3" y="connsiteY3"/>
                          </a:cxn>
                        </a:cxnLst>
                        <a:rect l="l" t="t" r="r" b="b"/>
                        <a:pathLst>
                          <a:path w="7033" h="12810">
                            <a:moveTo>
                              <a:pt x="0" y="0"/>
                            </a:moveTo>
                            <a:lnTo>
                              <a:pt x="0" y="8792"/>
                            </a:lnTo>
                            <a:lnTo>
                              <a:pt x="7033" y="12811"/>
                            </a:lnTo>
                            <a:lnTo>
                              <a:pt x="7033" y="4019"/>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56" name="Graphic 4">
                      <a:extLst>
                        <a:ext uri="{FF2B5EF4-FFF2-40B4-BE49-F238E27FC236}">
                          <a16:creationId xmlns:a16="http://schemas.microsoft.com/office/drawing/2014/main" id="{84FB7ED1-A2DF-40A1-A747-5F7CF3F14040}"/>
                        </a:ext>
                      </a:extLst>
                    </p:cNvPr>
                    <p:cNvGrpSpPr/>
                    <p:nvPr/>
                  </p:nvGrpSpPr>
                  <p:grpSpPr>
                    <a:xfrm>
                      <a:off x="9073348" y="2150284"/>
                      <a:ext cx="159003" cy="136270"/>
                      <a:chOff x="9073348" y="2150284"/>
                      <a:chExt cx="159003" cy="136270"/>
                    </a:xfrm>
                    <a:solidFill>
                      <a:schemeClr val="accent1"/>
                    </a:solidFill>
                  </p:grpSpPr>
                  <p:grpSp>
                    <p:nvGrpSpPr>
                      <p:cNvPr id="4657" name="Graphic 4">
                        <a:extLst>
                          <a:ext uri="{FF2B5EF4-FFF2-40B4-BE49-F238E27FC236}">
                            <a16:creationId xmlns:a16="http://schemas.microsoft.com/office/drawing/2014/main" id="{84FB7ED1-A2DF-40A1-A747-5F7CF3F14040}"/>
                          </a:ext>
                        </a:extLst>
                      </p:cNvPr>
                      <p:cNvGrpSpPr/>
                      <p:nvPr/>
                    </p:nvGrpSpPr>
                    <p:grpSpPr>
                      <a:xfrm>
                        <a:off x="9114167" y="2150284"/>
                        <a:ext cx="77115" cy="89046"/>
                        <a:chOff x="9114167" y="2150284"/>
                        <a:chExt cx="77115" cy="89046"/>
                      </a:xfrm>
                      <a:solidFill>
                        <a:schemeClr val="accent1"/>
                      </a:solidFill>
                    </p:grpSpPr>
                    <p:grpSp>
                      <p:nvGrpSpPr>
                        <p:cNvPr id="4658" name="Graphic 4">
                          <a:extLst>
                            <a:ext uri="{FF2B5EF4-FFF2-40B4-BE49-F238E27FC236}">
                              <a16:creationId xmlns:a16="http://schemas.microsoft.com/office/drawing/2014/main" id="{84FB7ED1-A2DF-40A1-A747-5F7CF3F14040}"/>
                            </a:ext>
                          </a:extLst>
                        </p:cNvPr>
                        <p:cNvGrpSpPr/>
                        <p:nvPr/>
                      </p:nvGrpSpPr>
                      <p:grpSpPr>
                        <a:xfrm>
                          <a:off x="9114167" y="2150284"/>
                          <a:ext cx="77115" cy="89046"/>
                          <a:chOff x="9114167" y="2150284"/>
                          <a:chExt cx="77115" cy="89046"/>
                        </a:xfrm>
                        <a:solidFill>
                          <a:schemeClr val="accent1"/>
                        </a:solidFill>
                      </p:grpSpPr>
                      <p:sp>
                        <p:nvSpPr>
                          <p:cNvPr id="4659" name="Freeform: Shape 4658">
                            <a:extLst>
                              <a:ext uri="{FF2B5EF4-FFF2-40B4-BE49-F238E27FC236}">
                                <a16:creationId xmlns:a16="http://schemas.microsoft.com/office/drawing/2014/main" id="{B3AD758F-990E-4E6F-A5B8-11B4D904E547}"/>
                              </a:ext>
                            </a:extLst>
                          </p:cNvPr>
                          <p:cNvSpPr/>
                          <p:nvPr/>
                        </p:nvSpPr>
                        <p:spPr>
                          <a:xfrm>
                            <a:off x="9152724" y="2172514"/>
                            <a:ext cx="38557" cy="66816"/>
                          </a:xfrm>
                          <a:custGeom>
                            <a:avLst/>
                            <a:gdLst>
                              <a:gd name="connsiteX0" fmla="*/ 38558 w 38557"/>
                              <a:gd name="connsiteY0" fmla="*/ 44586 h 66816"/>
                              <a:gd name="connsiteX1" fmla="*/ 0 w 38557"/>
                              <a:gd name="connsiteY1" fmla="*/ 66816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6"/>
                                </a:lnTo>
                                <a:lnTo>
                                  <a:pt x="0" y="22230"/>
                                </a:lnTo>
                                <a:lnTo>
                                  <a:pt x="38558"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0" name="Freeform: Shape 4659">
                            <a:extLst>
                              <a:ext uri="{FF2B5EF4-FFF2-40B4-BE49-F238E27FC236}">
                                <a16:creationId xmlns:a16="http://schemas.microsoft.com/office/drawing/2014/main" id="{59603E93-1A2B-4C01-95FC-4E181E1AB8CD}"/>
                              </a:ext>
                            </a:extLst>
                          </p:cNvPr>
                          <p:cNvSpPr/>
                          <p:nvPr/>
                        </p:nvSpPr>
                        <p:spPr>
                          <a:xfrm>
                            <a:off x="9114167" y="2150284"/>
                            <a:ext cx="77115" cy="44460"/>
                          </a:xfrm>
                          <a:custGeom>
                            <a:avLst/>
                            <a:gdLst>
                              <a:gd name="connsiteX0" fmla="*/ 77115 w 77115"/>
                              <a:gd name="connsiteY0" fmla="*/ 22230 h 44460"/>
                              <a:gd name="connsiteX1" fmla="*/ 38558 w 77115"/>
                              <a:gd name="connsiteY1" fmla="*/ 44461 h 44460"/>
                              <a:gd name="connsiteX2" fmla="*/ 0 w 77115"/>
                              <a:gd name="connsiteY2" fmla="*/ 22230 h 44460"/>
                              <a:gd name="connsiteX3" fmla="*/ 38558 w 77115"/>
                              <a:gd name="connsiteY3" fmla="*/ 0 h 44460"/>
                            </a:gdLst>
                            <a:ahLst/>
                            <a:cxnLst>
                              <a:cxn ang="0">
                                <a:pos x="connsiteX0" y="connsiteY0"/>
                              </a:cxn>
                              <a:cxn ang="0">
                                <a:pos x="connsiteX1" y="connsiteY1"/>
                              </a:cxn>
                              <a:cxn ang="0">
                                <a:pos x="connsiteX2" y="connsiteY2"/>
                              </a:cxn>
                              <a:cxn ang="0">
                                <a:pos x="connsiteX3" y="connsiteY3"/>
                              </a:cxn>
                            </a:cxnLst>
                            <a:rect l="l" t="t" r="r" b="b"/>
                            <a:pathLst>
                              <a:path w="77115" h="44460">
                                <a:moveTo>
                                  <a:pt x="77115" y="22230"/>
                                </a:moveTo>
                                <a:lnTo>
                                  <a:pt x="38558" y="44461"/>
                                </a:lnTo>
                                <a:lnTo>
                                  <a:pt x="0" y="22230"/>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661" name="Graphic 4">
                            <a:extLst>
                              <a:ext uri="{FF2B5EF4-FFF2-40B4-BE49-F238E27FC236}">
                                <a16:creationId xmlns:a16="http://schemas.microsoft.com/office/drawing/2014/main" id="{84FB7ED1-A2DF-40A1-A747-5F7CF3F14040}"/>
                              </a:ext>
                            </a:extLst>
                          </p:cNvPr>
                          <p:cNvGrpSpPr/>
                          <p:nvPr/>
                        </p:nvGrpSpPr>
                        <p:grpSpPr>
                          <a:xfrm>
                            <a:off x="9114167" y="2172514"/>
                            <a:ext cx="38557" cy="66816"/>
                            <a:chOff x="9114167" y="2172514"/>
                            <a:chExt cx="38557" cy="66816"/>
                          </a:xfrm>
                          <a:solidFill>
                            <a:schemeClr val="accent1"/>
                          </a:solidFill>
                        </p:grpSpPr>
                        <p:sp>
                          <p:nvSpPr>
                            <p:cNvPr id="4662" name="Freeform: Shape 4661">
                              <a:extLst>
                                <a:ext uri="{FF2B5EF4-FFF2-40B4-BE49-F238E27FC236}">
                                  <a16:creationId xmlns:a16="http://schemas.microsoft.com/office/drawing/2014/main" id="{D31D12ED-8C5C-43D3-A31A-3E0269892290}"/>
                                </a:ext>
                              </a:extLst>
                            </p:cNvPr>
                            <p:cNvSpPr/>
                            <p:nvPr/>
                          </p:nvSpPr>
                          <p:spPr>
                            <a:xfrm>
                              <a:off x="9114167" y="2172514"/>
                              <a:ext cx="38557" cy="66816"/>
                            </a:xfrm>
                            <a:custGeom>
                              <a:avLst/>
                              <a:gdLst>
                                <a:gd name="connsiteX0" fmla="*/ 38558 w 38557"/>
                                <a:gd name="connsiteY0" fmla="*/ 66816 h 66816"/>
                                <a:gd name="connsiteX1" fmla="*/ 0 w 38557"/>
                                <a:gd name="connsiteY1" fmla="*/ 44586 h 66816"/>
                                <a:gd name="connsiteX2" fmla="*/ 0 w 38557"/>
                                <a:gd name="connsiteY2" fmla="*/ 0 h 66816"/>
                                <a:gd name="connsiteX3" fmla="*/ 38558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6"/>
                                  </a:moveTo>
                                  <a:lnTo>
                                    <a:pt x="0" y="44586"/>
                                  </a:lnTo>
                                  <a:lnTo>
                                    <a:pt x="0" y="0"/>
                                  </a:lnTo>
                                  <a:lnTo>
                                    <a:pt x="38558" y="2223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3" name="Freeform: Shape 4662">
                              <a:extLst>
                                <a:ext uri="{FF2B5EF4-FFF2-40B4-BE49-F238E27FC236}">
                                  <a16:creationId xmlns:a16="http://schemas.microsoft.com/office/drawing/2014/main" id="{2D2642E9-6024-4057-9111-2F3A9484507F}"/>
                                </a:ext>
                              </a:extLst>
                            </p:cNvPr>
                            <p:cNvSpPr/>
                            <p:nvPr/>
                          </p:nvSpPr>
                          <p:spPr>
                            <a:xfrm>
                              <a:off x="9129615" y="2181431"/>
                              <a:ext cx="7661" cy="16201"/>
                            </a:xfrm>
                            <a:custGeom>
                              <a:avLst/>
                              <a:gdLst>
                                <a:gd name="connsiteX0" fmla="*/ 7661 w 7661"/>
                                <a:gd name="connsiteY0" fmla="*/ 16202 h 16201"/>
                                <a:gd name="connsiteX1" fmla="*/ 0 w 7661"/>
                                <a:gd name="connsiteY1" fmla="*/ 11806 h 16201"/>
                                <a:gd name="connsiteX2" fmla="*/ 0 w 7661"/>
                                <a:gd name="connsiteY2" fmla="*/ 0 h 16201"/>
                                <a:gd name="connsiteX3" fmla="*/ 7661 w 7661"/>
                                <a:gd name="connsiteY3" fmla="*/ 4396 h 16201"/>
                              </a:gdLst>
                              <a:ahLst/>
                              <a:cxnLst>
                                <a:cxn ang="0">
                                  <a:pos x="connsiteX0" y="connsiteY0"/>
                                </a:cxn>
                                <a:cxn ang="0">
                                  <a:pos x="connsiteX1" y="connsiteY1"/>
                                </a:cxn>
                                <a:cxn ang="0">
                                  <a:pos x="connsiteX2" y="connsiteY2"/>
                                </a:cxn>
                                <a:cxn ang="0">
                                  <a:pos x="connsiteX3" y="connsiteY3"/>
                                </a:cxn>
                              </a:cxnLst>
                              <a:rect l="l" t="t" r="r" b="b"/>
                              <a:pathLst>
                                <a:path w="7661" h="16201">
                                  <a:moveTo>
                                    <a:pt x="7661" y="16202"/>
                                  </a:moveTo>
                                  <a:lnTo>
                                    <a:pt x="0" y="11806"/>
                                  </a:lnTo>
                                  <a:lnTo>
                                    <a:pt x="0" y="0"/>
                                  </a:lnTo>
                                  <a:lnTo>
                                    <a:pt x="7661" y="4396"/>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64" name="Freeform: Shape 4663">
                            <a:extLst>
                              <a:ext uri="{FF2B5EF4-FFF2-40B4-BE49-F238E27FC236}">
                                <a16:creationId xmlns:a16="http://schemas.microsoft.com/office/drawing/2014/main" id="{C9496CDF-C46B-4B0B-AB6A-2E1A28974AAA}"/>
                              </a:ext>
                            </a:extLst>
                          </p:cNvPr>
                          <p:cNvSpPr/>
                          <p:nvPr/>
                        </p:nvSpPr>
                        <p:spPr>
                          <a:xfrm>
                            <a:off x="9129615" y="2159075"/>
                            <a:ext cx="46344" cy="26751"/>
                          </a:xfrm>
                          <a:custGeom>
                            <a:avLst/>
                            <a:gdLst>
                              <a:gd name="connsiteX0" fmla="*/ 0 w 46344"/>
                              <a:gd name="connsiteY0" fmla="*/ 22356 h 26751"/>
                              <a:gd name="connsiteX1" fmla="*/ 7661 w 46344"/>
                              <a:gd name="connsiteY1" fmla="*/ 26752 h 26751"/>
                              <a:gd name="connsiteX2" fmla="*/ 46345 w 46344"/>
                              <a:gd name="connsiteY2" fmla="*/ 4521 h 26751"/>
                              <a:gd name="connsiteX3" fmla="*/ 38558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356"/>
                                </a:moveTo>
                                <a:lnTo>
                                  <a:pt x="7661" y="26752"/>
                                </a:lnTo>
                                <a:lnTo>
                                  <a:pt x="46345" y="4521"/>
                                </a:lnTo>
                                <a:lnTo>
                                  <a:pt x="3855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65" name="Graphic 4">
                          <a:extLst>
                            <a:ext uri="{FF2B5EF4-FFF2-40B4-BE49-F238E27FC236}">
                              <a16:creationId xmlns:a16="http://schemas.microsoft.com/office/drawing/2014/main" id="{84FB7ED1-A2DF-40A1-A747-5F7CF3F14040}"/>
                            </a:ext>
                          </a:extLst>
                        </p:cNvPr>
                        <p:cNvGrpSpPr/>
                        <p:nvPr/>
                      </p:nvGrpSpPr>
                      <p:grpSpPr>
                        <a:xfrm>
                          <a:off x="9124717" y="2205922"/>
                          <a:ext cx="17457" cy="23486"/>
                          <a:chOff x="9124717" y="2205922"/>
                          <a:chExt cx="17457" cy="23486"/>
                        </a:xfrm>
                        <a:solidFill>
                          <a:srgbClr val="000000"/>
                        </a:solidFill>
                      </p:grpSpPr>
                      <p:grpSp>
                        <p:nvGrpSpPr>
                          <p:cNvPr id="4666" name="Graphic 4">
                            <a:extLst>
                              <a:ext uri="{FF2B5EF4-FFF2-40B4-BE49-F238E27FC236}">
                                <a16:creationId xmlns:a16="http://schemas.microsoft.com/office/drawing/2014/main" id="{84FB7ED1-A2DF-40A1-A747-5F7CF3F14040}"/>
                              </a:ext>
                            </a:extLst>
                          </p:cNvPr>
                          <p:cNvGrpSpPr/>
                          <p:nvPr/>
                        </p:nvGrpSpPr>
                        <p:grpSpPr>
                          <a:xfrm>
                            <a:off x="9124717" y="2205922"/>
                            <a:ext cx="17457" cy="23486"/>
                            <a:chOff x="9124717" y="2205922"/>
                            <a:chExt cx="17457" cy="23486"/>
                          </a:xfrm>
                          <a:solidFill>
                            <a:srgbClr val="000000"/>
                          </a:solidFill>
                        </p:grpSpPr>
                        <p:sp>
                          <p:nvSpPr>
                            <p:cNvPr id="4667" name="Freeform: Shape 4666">
                              <a:extLst>
                                <a:ext uri="{FF2B5EF4-FFF2-40B4-BE49-F238E27FC236}">
                                  <a16:creationId xmlns:a16="http://schemas.microsoft.com/office/drawing/2014/main" id="{A623E07B-97C1-4BAB-8724-944D76D9FD8B}"/>
                                </a:ext>
                              </a:extLst>
                            </p:cNvPr>
                            <p:cNvSpPr/>
                            <p:nvPr/>
                          </p:nvSpPr>
                          <p:spPr>
                            <a:xfrm>
                              <a:off x="9141296" y="2215467"/>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8" name="Freeform: Shape 4667">
                              <a:extLst>
                                <a:ext uri="{FF2B5EF4-FFF2-40B4-BE49-F238E27FC236}">
                                  <a16:creationId xmlns:a16="http://schemas.microsoft.com/office/drawing/2014/main" id="{98F14174-0EDD-41E3-A104-0B0E8D650F63}"/>
                                </a:ext>
                              </a:extLst>
                            </p:cNvPr>
                            <p:cNvSpPr/>
                            <p:nvPr/>
                          </p:nvSpPr>
                          <p:spPr>
                            <a:xfrm>
                              <a:off x="9139411" y="2214463"/>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303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9" name="Freeform: Shape 4668">
                              <a:extLst>
                                <a:ext uri="{FF2B5EF4-FFF2-40B4-BE49-F238E27FC236}">
                                  <a16:creationId xmlns:a16="http://schemas.microsoft.com/office/drawing/2014/main" id="{6D3156C4-CBE8-4247-B4CF-B07B68B52280}"/>
                                </a:ext>
                              </a:extLst>
                            </p:cNvPr>
                            <p:cNvSpPr/>
                            <p:nvPr/>
                          </p:nvSpPr>
                          <p:spPr>
                            <a:xfrm>
                              <a:off x="9137653" y="2213332"/>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0" name="Freeform: Shape 4669">
                              <a:extLst>
                                <a:ext uri="{FF2B5EF4-FFF2-40B4-BE49-F238E27FC236}">
                                  <a16:creationId xmlns:a16="http://schemas.microsoft.com/office/drawing/2014/main" id="{B353EEC7-C9F8-43D4-984B-BCABA8E9563C}"/>
                                </a:ext>
                              </a:extLst>
                            </p:cNvPr>
                            <p:cNvSpPr/>
                            <p:nvPr/>
                          </p:nvSpPr>
                          <p:spPr>
                            <a:xfrm>
                              <a:off x="9135769" y="2212327"/>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1" name="Freeform: Shape 4670">
                              <a:extLst>
                                <a:ext uri="{FF2B5EF4-FFF2-40B4-BE49-F238E27FC236}">
                                  <a16:creationId xmlns:a16="http://schemas.microsoft.com/office/drawing/2014/main" id="{09B0308C-963D-417F-AAAD-C4B71581C1A0}"/>
                                </a:ext>
                              </a:extLst>
                            </p:cNvPr>
                            <p:cNvSpPr/>
                            <p:nvPr/>
                          </p:nvSpPr>
                          <p:spPr>
                            <a:xfrm>
                              <a:off x="9133885" y="2211197"/>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2" name="Freeform: Shape 4671">
                              <a:extLst>
                                <a:ext uri="{FF2B5EF4-FFF2-40B4-BE49-F238E27FC236}">
                                  <a16:creationId xmlns:a16="http://schemas.microsoft.com/office/drawing/2014/main" id="{94402C15-32D2-498D-BAEE-31F30DCC5DC7}"/>
                                </a:ext>
                              </a:extLst>
                            </p:cNvPr>
                            <p:cNvSpPr/>
                            <p:nvPr/>
                          </p:nvSpPr>
                          <p:spPr>
                            <a:xfrm>
                              <a:off x="9132127" y="2210192"/>
                              <a:ext cx="878" cy="11931"/>
                            </a:xfrm>
                            <a:custGeom>
                              <a:avLst/>
                              <a:gdLst>
                                <a:gd name="connsiteX0" fmla="*/ 0 w 878"/>
                                <a:gd name="connsiteY0" fmla="*/ 0 h 11931"/>
                                <a:gd name="connsiteX1" fmla="*/ 878 w 878"/>
                                <a:gd name="connsiteY1" fmla="*/ 502 h 11931"/>
                                <a:gd name="connsiteX2" fmla="*/ 878 w 878"/>
                                <a:gd name="connsiteY2" fmla="*/ 11932 h 11931"/>
                                <a:gd name="connsiteX3" fmla="*/ 0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0" y="0"/>
                                  </a:moveTo>
                                  <a:lnTo>
                                    <a:pt x="878" y="502"/>
                                  </a:lnTo>
                                  <a:lnTo>
                                    <a:pt x="878"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3" name="Freeform: Shape 4672">
                              <a:extLst>
                                <a:ext uri="{FF2B5EF4-FFF2-40B4-BE49-F238E27FC236}">
                                  <a16:creationId xmlns:a16="http://schemas.microsoft.com/office/drawing/2014/main" id="{9162DEB4-5E1B-45E7-A5D6-9094CD9481E1}"/>
                                </a:ext>
                              </a:extLst>
                            </p:cNvPr>
                            <p:cNvSpPr/>
                            <p:nvPr/>
                          </p:nvSpPr>
                          <p:spPr>
                            <a:xfrm>
                              <a:off x="9130243" y="2209062"/>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4" name="Freeform: Shape 4673">
                              <a:extLst>
                                <a:ext uri="{FF2B5EF4-FFF2-40B4-BE49-F238E27FC236}">
                                  <a16:creationId xmlns:a16="http://schemas.microsoft.com/office/drawing/2014/main" id="{8F1BE6A7-980A-4EF3-940D-8C7D455C50F9}"/>
                                </a:ext>
                              </a:extLst>
                            </p:cNvPr>
                            <p:cNvSpPr/>
                            <p:nvPr/>
                          </p:nvSpPr>
                          <p:spPr>
                            <a:xfrm>
                              <a:off x="9128359" y="2208057"/>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5" name="Freeform: Shape 4674">
                              <a:extLst>
                                <a:ext uri="{FF2B5EF4-FFF2-40B4-BE49-F238E27FC236}">
                                  <a16:creationId xmlns:a16="http://schemas.microsoft.com/office/drawing/2014/main" id="{6136624F-26CB-4BC7-8571-102C100509AC}"/>
                                </a:ext>
                              </a:extLst>
                            </p:cNvPr>
                            <p:cNvSpPr/>
                            <p:nvPr/>
                          </p:nvSpPr>
                          <p:spPr>
                            <a:xfrm>
                              <a:off x="9126601" y="2206927"/>
                              <a:ext cx="878" cy="11931"/>
                            </a:xfrm>
                            <a:custGeom>
                              <a:avLst/>
                              <a:gdLst>
                                <a:gd name="connsiteX0" fmla="*/ 0 w 878"/>
                                <a:gd name="connsiteY0" fmla="*/ 0 h 11931"/>
                                <a:gd name="connsiteX1" fmla="*/ 878 w 878"/>
                                <a:gd name="connsiteY1" fmla="*/ 628 h 11931"/>
                                <a:gd name="connsiteX2" fmla="*/ 878 w 878"/>
                                <a:gd name="connsiteY2" fmla="*/ 11932 h 11931"/>
                                <a:gd name="connsiteX3" fmla="*/ 0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0" y="0"/>
                                  </a:moveTo>
                                  <a:lnTo>
                                    <a:pt x="878" y="628"/>
                                  </a:lnTo>
                                  <a:lnTo>
                                    <a:pt x="878"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6" name="Freeform: Shape 4675">
                              <a:extLst>
                                <a:ext uri="{FF2B5EF4-FFF2-40B4-BE49-F238E27FC236}">
                                  <a16:creationId xmlns:a16="http://schemas.microsoft.com/office/drawing/2014/main" id="{18B19536-AB2B-42A9-B0D7-0FD034AB639C}"/>
                                </a:ext>
                              </a:extLst>
                            </p:cNvPr>
                            <p:cNvSpPr/>
                            <p:nvPr/>
                          </p:nvSpPr>
                          <p:spPr>
                            <a:xfrm>
                              <a:off x="9124717" y="2205922"/>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77" name="Freeform: Shape 4676">
                            <a:extLst>
                              <a:ext uri="{FF2B5EF4-FFF2-40B4-BE49-F238E27FC236}">
                                <a16:creationId xmlns:a16="http://schemas.microsoft.com/office/drawing/2014/main" id="{1F5A10C7-038A-4670-A679-62560A419AA4}"/>
                              </a:ext>
                            </a:extLst>
                          </p:cNvPr>
                          <p:cNvSpPr/>
                          <p:nvPr/>
                        </p:nvSpPr>
                        <p:spPr>
                          <a:xfrm>
                            <a:off x="9126978" y="2219361"/>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8" name="Freeform: Shape 4677">
                            <a:extLst>
                              <a:ext uri="{FF2B5EF4-FFF2-40B4-BE49-F238E27FC236}">
                                <a16:creationId xmlns:a16="http://schemas.microsoft.com/office/drawing/2014/main" id="{EAA3EFEB-0B05-45C9-8529-1CF8AF037AC6}"/>
                              </a:ext>
                            </a:extLst>
                          </p:cNvPr>
                          <p:cNvSpPr/>
                          <p:nvPr/>
                        </p:nvSpPr>
                        <p:spPr>
                          <a:xfrm>
                            <a:off x="9130745" y="2221496"/>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9" name="Freeform: Shape 4678">
                            <a:extLst>
                              <a:ext uri="{FF2B5EF4-FFF2-40B4-BE49-F238E27FC236}">
                                <a16:creationId xmlns:a16="http://schemas.microsoft.com/office/drawing/2014/main" id="{56CA7779-C415-45D4-90BB-EA45E3A070B9}"/>
                              </a:ext>
                            </a:extLst>
                          </p:cNvPr>
                          <p:cNvSpPr/>
                          <p:nvPr/>
                        </p:nvSpPr>
                        <p:spPr>
                          <a:xfrm>
                            <a:off x="9134388" y="2223631"/>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80" name="Freeform: Shape 4679">
                            <a:extLst>
                              <a:ext uri="{FF2B5EF4-FFF2-40B4-BE49-F238E27FC236}">
                                <a16:creationId xmlns:a16="http://schemas.microsoft.com/office/drawing/2014/main" id="{89B832C2-BEC7-4CC8-80C5-34B3C0015EED}"/>
                              </a:ext>
                            </a:extLst>
                          </p:cNvPr>
                          <p:cNvSpPr/>
                          <p:nvPr/>
                        </p:nvSpPr>
                        <p:spPr>
                          <a:xfrm>
                            <a:off x="9138030" y="2225766"/>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681" name="Graphic 4">
                        <a:extLst>
                          <a:ext uri="{FF2B5EF4-FFF2-40B4-BE49-F238E27FC236}">
                            <a16:creationId xmlns:a16="http://schemas.microsoft.com/office/drawing/2014/main" id="{84FB7ED1-A2DF-40A1-A747-5F7CF3F14040}"/>
                          </a:ext>
                        </a:extLst>
                      </p:cNvPr>
                      <p:cNvGrpSpPr/>
                      <p:nvPr/>
                    </p:nvGrpSpPr>
                    <p:grpSpPr>
                      <a:xfrm>
                        <a:off x="9073348" y="2173770"/>
                        <a:ext cx="77115" cy="89172"/>
                        <a:chOff x="9073348" y="2173770"/>
                        <a:chExt cx="77115" cy="89172"/>
                      </a:xfrm>
                      <a:solidFill>
                        <a:schemeClr val="accent1"/>
                      </a:solidFill>
                    </p:grpSpPr>
                    <p:grpSp>
                      <p:nvGrpSpPr>
                        <p:cNvPr id="4682" name="Graphic 4">
                          <a:extLst>
                            <a:ext uri="{FF2B5EF4-FFF2-40B4-BE49-F238E27FC236}">
                              <a16:creationId xmlns:a16="http://schemas.microsoft.com/office/drawing/2014/main" id="{84FB7ED1-A2DF-40A1-A747-5F7CF3F14040}"/>
                            </a:ext>
                          </a:extLst>
                        </p:cNvPr>
                        <p:cNvGrpSpPr/>
                        <p:nvPr/>
                      </p:nvGrpSpPr>
                      <p:grpSpPr>
                        <a:xfrm>
                          <a:off x="9073348" y="2173770"/>
                          <a:ext cx="77115" cy="89172"/>
                          <a:chOff x="9073348" y="2173770"/>
                          <a:chExt cx="77115" cy="89172"/>
                        </a:xfrm>
                        <a:solidFill>
                          <a:schemeClr val="accent1"/>
                        </a:solidFill>
                      </p:grpSpPr>
                      <p:sp>
                        <p:nvSpPr>
                          <p:cNvPr id="4683" name="Freeform: Shape 4682">
                            <a:extLst>
                              <a:ext uri="{FF2B5EF4-FFF2-40B4-BE49-F238E27FC236}">
                                <a16:creationId xmlns:a16="http://schemas.microsoft.com/office/drawing/2014/main" id="{068AF1A6-7680-4EE2-9427-023D7D0240FE}"/>
                              </a:ext>
                            </a:extLst>
                          </p:cNvPr>
                          <p:cNvSpPr/>
                          <p:nvPr/>
                        </p:nvSpPr>
                        <p:spPr>
                          <a:xfrm>
                            <a:off x="9111906" y="2196126"/>
                            <a:ext cx="38557" cy="66816"/>
                          </a:xfrm>
                          <a:custGeom>
                            <a:avLst/>
                            <a:gdLst>
                              <a:gd name="connsiteX0" fmla="*/ 38558 w 38557"/>
                              <a:gd name="connsiteY0" fmla="*/ 44586 h 66816"/>
                              <a:gd name="connsiteX1" fmla="*/ 0 w 38557"/>
                              <a:gd name="connsiteY1" fmla="*/ 66817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7"/>
                                </a:lnTo>
                                <a:lnTo>
                                  <a:pt x="0" y="22230"/>
                                </a:lnTo>
                                <a:lnTo>
                                  <a:pt x="38558"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84" name="Freeform: Shape 4683">
                            <a:extLst>
                              <a:ext uri="{FF2B5EF4-FFF2-40B4-BE49-F238E27FC236}">
                                <a16:creationId xmlns:a16="http://schemas.microsoft.com/office/drawing/2014/main" id="{364919A9-9C14-4FFA-8F12-ED4F314EC8B8}"/>
                              </a:ext>
                            </a:extLst>
                          </p:cNvPr>
                          <p:cNvSpPr/>
                          <p:nvPr/>
                        </p:nvSpPr>
                        <p:spPr>
                          <a:xfrm>
                            <a:off x="9073348" y="2173770"/>
                            <a:ext cx="77115" cy="44586"/>
                          </a:xfrm>
                          <a:custGeom>
                            <a:avLst/>
                            <a:gdLst>
                              <a:gd name="connsiteX0" fmla="*/ 77115 w 77115"/>
                              <a:gd name="connsiteY0" fmla="*/ 22356 h 44586"/>
                              <a:gd name="connsiteX1" fmla="*/ 38558 w 77115"/>
                              <a:gd name="connsiteY1" fmla="*/ 44586 h 44586"/>
                              <a:gd name="connsiteX2" fmla="*/ 0 w 77115"/>
                              <a:gd name="connsiteY2" fmla="*/ 22356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356"/>
                                </a:moveTo>
                                <a:lnTo>
                                  <a:pt x="38558" y="44586"/>
                                </a:lnTo>
                                <a:lnTo>
                                  <a:pt x="0" y="22356"/>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685" name="Graphic 4">
                            <a:extLst>
                              <a:ext uri="{FF2B5EF4-FFF2-40B4-BE49-F238E27FC236}">
                                <a16:creationId xmlns:a16="http://schemas.microsoft.com/office/drawing/2014/main" id="{84FB7ED1-A2DF-40A1-A747-5F7CF3F14040}"/>
                              </a:ext>
                            </a:extLst>
                          </p:cNvPr>
                          <p:cNvGrpSpPr/>
                          <p:nvPr/>
                        </p:nvGrpSpPr>
                        <p:grpSpPr>
                          <a:xfrm>
                            <a:off x="9073348" y="2196126"/>
                            <a:ext cx="38557" cy="66816"/>
                            <a:chOff x="9073348" y="2196126"/>
                            <a:chExt cx="38557" cy="66816"/>
                          </a:xfrm>
                          <a:solidFill>
                            <a:schemeClr val="accent1"/>
                          </a:solidFill>
                        </p:grpSpPr>
                        <p:sp>
                          <p:nvSpPr>
                            <p:cNvPr id="4686" name="Freeform: Shape 4685">
                              <a:extLst>
                                <a:ext uri="{FF2B5EF4-FFF2-40B4-BE49-F238E27FC236}">
                                  <a16:creationId xmlns:a16="http://schemas.microsoft.com/office/drawing/2014/main" id="{E4A2E17C-363B-413E-8AB1-854204EC8BE2}"/>
                                </a:ext>
                              </a:extLst>
                            </p:cNvPr>
                            <p:cNvSpPr/>
                            <p:nvPr/>
                          </p:nvSpPr>
                          <p:spPr>
                            <a:xfrm>
                              <a:off x="9073348" y="2196126"/>
                              <a:ext cx="38557" cy="66816"/>
                            </a:xfrm>
                            <a:custGeom>
                              <a:avLst/>
                              <a:gdLst>
                                <a:gd name="connsiteX0" fmla="*/ 38558 w 38557"/>
                                <a:gd name="connsiteY0" fmla="*/ 66817 h 66816"/>
                                <a:gd name="connsiteX1" fmla="*/ 0 w 38557"/>
                                <a:gd name="connsiteY1" fmla="*/ 44461 h 66816"/>
                                <a:gd name="connsiteX2" fmla="*/ 0 w 38557"/>
                                <a:gd name="connsiteY2" fmla="*/ 0 h 66816"/>
                                <a:gd name="connsiteX3" fmla="*/ 38558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7"/>
                                  </a:moveTo>
                                  <a:lnTo>
                                    <a:pt x="0" y="44461"/>
                                  </a:lnTo>
                                  <a:lnTo>
                                    <a:pt x="0" y="0"/>
                                  </a:lnTo>
                                  <a:lnTo>
                                    <a:pt x="38558"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87" name="Freeform: Shape 4686">
                              <a:extLst>
                                <a:ext uri="{FF2B5EF4-FFF2-40B4-BE49-F238E27FC236}">
                                  <a16:creationId xmlns:a16="http://schemas.microsoft.com/office/drawing/2014/main" id="{33FA7CC0-AA0D-4E8B-865A-C42CF09DC483}"/>
                                </a:ext>
                              </a:extLst>
                            </p:cNvPr>
                            <p:cNvSpPr/>
                            <p:nvPr/>
                          </p:nvSpPr>
                          <p:spPr>
                            <a:xfrm>
                              <a:off x="9088671" y="2205043"/>
                              <a:ext cx="7786" cy="16201"/>
                            </a:xfrm>
                            <a:custGeom>
                              <a:avLst/>
                              <a:gdLst>
                                <a:gd name="connsiteX0" fmla="*/ 7787 w 7786"/>
                                <a:gd name="connsiteY0" fmla="*/ 16202 h 16201"/>
                                <a:gd name="connsiteX1" fmla="*/ 0 w 7786"/>
                                <a:gd name="connsiteY1" fmla="*/ 11806 h 16201"/>
                                <a:gd name="connsiteX2" fmla="*/ 0 w 7786"/>
                                <a:gd name="connsiteY2" fmla="*/ 0 h 16201"/>
                                <a:gd name="connsiteX3" fmla="*/ 7787 w 7786"/>
                                <a:gd name="connsiteY3" fmla="*/ 4396 h 16201"/>
                              </a:gdLst>
                              <a:ahLst/>
                              <a:cxnLst>
                                <a:cxn ang="0">
                                  <a:pos x="connsiteX0" y="connsiteY0"/>
                                </a:cxn>
                                <a:cxn ang="0">
                                  <a:pos x="connsiteX1" y="connsiteY1"/>
                                </a:cxn>
                                <a:cxn ang="0">
                                  <a:pos x="connsiteX2" y="connsiteY2"/>
                                </a:cxn>
                                <a:cxn ang="0">
                                  <a:pos x="connsiteX3" y="connsiteY3"/>
                                </a:cxn>
                              </a:cxnLst>
                              <a:rect l="l" t="t" r="r" b="b"/>
                              <a:pathLst>
                                <a:path w="7786" h="16201">
                                  <a:moveTo>
                                    <a:pt x="7787" y="16202"/>
                                  </a:moveTo>
                                  <a:lnTo>
                                    <a:pt x="0" y="11806"/>
                                  </a:lnTo>
                                  <a:lnTo>
                                    <a:pt x="0" y="0"/>
                                  </a:lnTo>
                                  <a:lnTo>
                                    <a:pt x="7787" y="4396"/>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88" name="Freeform: Shape 4687">
                            <a:extLst>
                              <a:ext uri="{FF2B5EF4-FFF2-40B4-BE49-F238E27FC236}">
                                <a16:creationId xmlns:a16="http://schemas.microsoft.com/office/drawing/2014/main" id="{777E7E05-36DB-4CD8-A057-A3F220B7B908}"/>
                              </a:ext>
                            </a:extLst>
                          </p:cNvPr>
                          <p:cNvSpPr/>
                          <p:nvPr/>
                        </p:nvSpPr>
                        <p:spPr>
                          <a:xfrm>
                            <a:off x="9088671" y="2182687"/>
                            <a:ext cx="46344" cy="26751"/>
                          </a:xfrm>
                          <a:custGeom>
                            <a:avLst/>
                            <a:gdLst>
                              <a:gd name="connsiteX0" fmla="*/ 0 w 46344"/>
                              <a:gd name="connsiteY0" fmla="*/ 22356 h 26751"/>
                              <a:gd name="connsiteX1" fmla="*/ 7787 w 46344"/>
                              <a:gd name="connsiteY1" fmla="*/ 26752 h 26751"/>
                              <a:gd name="connsiteX2" fmla="*/ 46345 w 46344"/>
                              <a:gd name="connsiteY2" fmla="*/ 4521 h 26751"/>
                              <a:gd name="connsiteX3" fmla="*/ 38683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356"/>
                                </a:moveTo>
                                <a:lnTo>
                                  <a:pt x="7787" y="26752"/>
                                </a:lnTo>
                                <a:lnTo>
                                  <a:pt x="46345" y="4521"/>
                                </a:lnTo>
                                <a:lnTo>
                                  <a:pt x="38683"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89" name="Graphic 4">
                          <a:extLst>
                            <a:ext uri="{FF2B5EF4-FFF2-40B4-BE49-F238E27FC236}">
                              <a16:creationId xmlns:a16="http://schemas.microsoft.com/office/drawing/2014/main" id="{84FB7ED1-A2DF-40A1-A747-5F7CF3F14040}"/>
                            </a:ext>
                          </a:extLst>
                        </p:cNvPr>
                        <p:cNvGrpSpPr/>
                        <p:nvPr/>
                      </p:nvGrpSpPr>
                      <p:grpSpPr>
                        <a:xfrm>
                          <a:off x="9083899" y="2229534"/>
                          <a:ext cx="17457" cy="23486"/>
                          <a:chOff x="9083899" y="2229534"/>
                          <a:chExt cx="17457" cy="23486"/>
                        </a:xfrm>
                        <a:solidFill>
                          <a:srgbClr val="000000"/>
                        </a:solidFill>
                      </p:grpSpPr>
                      <p:grpSp>
                        <p:nvGrpSpPr>
                          <p:cNvPr id="4690" name="Graphic 4">
                            <a:extLst>
                              <a:ext uri="{FF2B5EF4-FFF2-40B4-BE49-F238E27FC236}">
                                <a16:creationId xmlns:a16="http://schemas.microsoft.com/office/drawing/2014/main" id="{84FB7ED1-A2DF-40A1-A747-5F7CF3F14040}"/>
                              </a:ext>
                            </a:extLst>
                          </p:cNvPr>
                          <p:cNvGrpSpPr/>
                          <p:nvPr/>
                        </p:nvGrpSpPr>
                        <p:grpSpPr>
                          <a:xfrm>
                            <a:off x="9083899" y="2229534"/>
                            <a:ext cx="17457" cy="23486"/>
                            <a:chOff x="9083899" y="2229534"/>
                            <a:chExt cx="17457" cy="23486"/>
                          </a:xfrm>
                          <a:solidFill>
                            <a:srgbClr val="000000"/>
                          </a:solidFill>
                        </p:grpSpPr>
                        <p:sp>
                          <p:nvSpPr>
                            <p:cNvPr id="4691" name="Freeform: Shape 4690">
                              <a:extLst>
                                <a:ext uri="{FF2B5EF4-FFF2-40B4-BE49-F238E27FC236}">
                                  <a16:creationId xmlns:a16="http://schemas.microsoft.com/office/drawing/2014/main" id="{FB069023-9BB9-4890-96B2-AD472BD38EFA}"/>
                                </a:ext>
                              </a:extLst>
                            </p:cNvPr>
                            <p:cNvSpPr/>
                            <p:nvPr/>
                          </p:nvSpPr>
                          <p:spPr>
                            <a:xfrm>
                              <a:off x="9100477" y="2239079"/>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2" name="Freeform: Shape 4691">
                              <a:extLst>
                                <a:ext uri="{FF2B5EF4-FFF2-40B4-BE49-F238E27FC236}">
                                  <a16:creationId xmlns:a16="http://schemas.microsoft.com/office/drawing/2014/main" id="{A8989E63-4BC8-4691-ADA6-5D189AE2A654}"/>
                                </a:ext>
                              </a:extLst>
                            </p:cNvPr>
                            <p:cNvSpPr/>
                            <p:nvPr/>
                          </p:nvSpPr>
                          <p:spPr>
                            <a:xfrm>
                              <a:off x="9098593" y="2237949"/>
                              <a:ext cx="879" cy="11931"/>
                            </a:xfrm>
                            <a:custGeom>
                              <a:avLst/>
                              <a:gdLst>
                                <a:gd name="connsiteX0" fmla="*/ 0 w 879"/>
                                <a:gd name="connsiteY0" fmla="*/ 0 h 11931"/>
                                <a:gd name="connsiteX1" fmla="*/ 879 w 879"/>
                                <a:gd name="connsiteY1" fmla="*/ 628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3" name="Freeform: Shape 4692">
                              <a:extLst>
                                <a:ext uri="{FF2B5EF4-FFF2-40B4-BE49-F238E27FC236}">
                                  <a16:creationId xmlns:a16="http://schemas.microsoft.com/office/drawing/2014/main" id="{F806C999-DEFA-44E4-A50D-32F363FCA0A9}"/>
                                </a:ext>
                              </a:extLst>
                            </p:cNvPr>
                            <p:cNvSpPr/>
                            <p:nvPr/>
                          </p:nvSpPr>
                          <p:spPr>
                            <a:xfrm>
                              <a:off x="9096710" y="2236944"/>
                              <a:ext cx="1004" cy="11931"/>
                            </a:xfrm>
                            <a:custGeom>
                              <a:avLst/>
                              <a:gdLst>
                                <a:gd name="connsiteX0" fmla="*/ 0 w 1004"/>
                                <a:gd name="connsiteY0" fmla="*/ 0 h 11931"/>
                                <a:gd name="connsiteX1" fmla="*/ 1004 w 1004"/>
                                <a:gd name="connsiteY1" fmla="*/ 502 h 11931"/>
                                <a:gd name="connsiteX2" fmla="*/ 1004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4" name="Freeform: Shape 4693">
                              <a:extLst>
                                <a:ext uri="{FF2B5EF4-FFF2-40B4-BE49-F238E27FC236}">
                                  <a16:creationId xmlns:a16="http://schemas.microsoft.com/office/drawing/2014/main" id="{DBF3FE02-F430-4151-AF0E-B976192267D2}"/>
                                </a:ext>
                              </a:extLst>
                            </p:cNvPr>
                            <p:cNvSpPr/>
                            <p:nvPr/>
                          </p:nvSpPr>
                          <p:spPr>
                            <a:xfrm>
                              <a:off x="9094951" y="2235939"/>
                              <a:ext cx="879" cy="11805"/>
                            </a:xfrm>
                            <a:custGeom>
                              <a:avLst/>
                              <a:gdLst>
                                <a:gd name="connsiteX0" fmla="*/ 0 w 879"/>
                                <a:gd name="connsiteY0" fmla="*/ 0 h 11805"/>
                                <a:gd name="connsiteX1" fmla="*/ 879 w 879"/>
                                <a:gd name="connsiteY1" fmla="*/ 502 h 11805"/>
                                <a:gd name="connsiteX2" fmla="*/ 879 w 879"/>
                                <a:gd name="connsiteY2" fmla="*/ 11806 h 11805"/>
                                <a:gd name="connsiteX3" fmla="*/ 0 w 879"/>
                                <a:gd name="connsiteY3" fmla="*/ 11304 h 11805"/>
                              </a:gdLst>
                              <a:ahLst/>
                              <a:cxnLst>
                                <a:cxn ang="0">
                                  <a:pos x="connsiteX0" y="connsiteY0"/>
                                </a:cxn>
                                <a:cxn ang="0">
                                  <a:pos x="connsiteX1" y="connsiteY1"/>
                                </a:cxn>
                                <a:cxn ang="0">
                                  <a:pos x="connsiteX2" y="connsiteY2"/>
                                </a:cxn>
                                <a:cxn ang="0">
                                  <a:pos x="connsiteX3" y="connsiteY3"/>
                                </a:cxn>
                              </a:cxnLst>
                              <a:rect l="l" t="t" r="r" b="b"/>
                              <a:pathLst>
                                <a:path w="879" h="11805">
                                  <a:moveTo>
                                    <a:pt x="0" y="0"/>
                                  </a:moveTo>
                                  <a:lnTo>
                                    <a:pt x="879" y="502"/>
                                  </a:lnTo>
                                  <a:lnTo>
                                    <a:pt x="879" y="11806"/>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5" name="Freeform: Shape 4694">
                              <a:extLst>
                                <a:ext uri="{FF2B5EF4-FFF2-40B4-BE49-F238E27FC236}">
                                  <a16:creationId xmlns:a16="http://schemas.microsoft.com/office/drawing/2014/main" id="{A597E8A9-BFA3-441B-9C33-F29819F7E5D4}"/>
                                </a:ext>
                              </a:extLst>
                            </p:cNvPr>
                            <p:cNvSpPr/>
                            <p:nvPr/>
                          </p:nvSpPr>
                          <p:spPr>
                            <a:xfrm>
                              <a:off x="9093067" y="2234809"/>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6" name="Freeform: Shape 4695">
                              <a:extLst>
                                <a:ext uri="{FF2B5EF4-FFF2-40B4-BE49-F238E27FC236}">
                                  <a16:creationId xmlns:a16="http://schemas.microsoft.com/office/drawing/2014/main" id="{C0C71C7E-8453-42B8-9326-E17980A49641}"/>
                                </a:ext>
                              </a:extLst>
                            </p:cNvPr>
                            <p:cNvSpPr/>
                            <p:nvPr/>
                          </p:nvSpPr>
                          <p:spPr>
                            <a:xfrm>
                              <a:off x="9091183" y="2233804"/>
                              <a:ext cx="1004" cy="11931"/>
                            </a:xfrm>
                            <a:custGeom>
                              <a:avLst/>
                              <a:gdLst>
                                <a:gd name="connsiteX0" fmla="*/ 0 w 1004"/>
                                <a:gd name="connsiteY0" fmla="*/ 0 h 11931"/>
                                <a:gd name="connsiteX1" fmla="*/ 1004 w 1004"/>
                                <a:gd name="connsiteY1" fmla="*/ 502 h 11931"/>
                                <a:gd name="connsiteX2" fmla="*/ 1004 w 1004"/>
                                <a:gd name="connsiteY2" fmla="*/ 11932 h 11931"/>
                                <a:gd name="connsiteX3" fmla="*/ 0 w 1004"/>
                                <a:gd name="connsiteY3" fmla="*/ 11304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7" name="Freeform: Shape 4696">
                              <a:extLst>
                                <a:ext uri="{FF2B5EF4-FFF2-40B4-BE49-F238E27FC236}">
                                  <a16:creationId xmlns:a16="http://schemas.microsoft.com/office/drawing/2014/main" id="{06E2F404-9746-4754-8EC8-4476D494C85B}"/>
                                </a:ext>
                              </a:extLst>
                            </p:cNvPr>
                            <p:cNvSpPr/>
                            <p:nvPr/>
                          </p:nvSpPr>
                          <p:spPr>
                            <a:xfrm>
                              <a:off x="9089425" y="2232674"/>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8" name="Freeform: Shape 4697">
                              <a:extLst>
                                <a:ext uri="{FF2B5EF4-FFF2-40B4-BE49-F238E27FC236}">
                                  <a16:creationId xmlns:a16="http://schemas.microsoft.com/office/drawing/2014/main" id="{87A41524-5367-45A4-88C4-3D797B6740EC}"/>
                                </a:ext>
                              </a:extLst>
                            </p:cNvPr>
                            <p:cNvSpPr/>
                            <p:nvPr/>
                          </p:nvSpPr>
                          <p:spPr>
                            <a:xfrm>
                              <a:off x="9087541" y="2231669"/>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9" name="Freeform: Shape 4698">
                              <a:extLst>
                                <a:ext uri="{FF2B5EF4-FFF2-40B4-BE49-F238E27FC236}">
                                  <a16:creationId xmlns:a16="http://schemas.microsoft.com/office/drawing/2014/main" id="{D3D5765D-014D-4387-8B1D-ACDC33814C29}"/>
                                </a:ext>
                              </a:extLst>
                            </p:cNvPr>
                            <p:cNvSpPr/>
                            <p:nvPr/>
                          </p:nvSpPr>
                          <p:spPr>
                            <a:xfrm>
                              <a:off x="9085657" y="2230539"/>
                              <a:ext cx="1004" cy="11931"/>
                            </a:xfrm>
                            <a:custGeom>
                              <a:avLst/>
                              <a:gdLst>
                                <a:gd name="connsiteX0" fmla="*/ 0 w 1004"/>
                                <a:gd name="connsiteY0" fmla="*/ 0 h 11931"/>
                                <a:gd name="connsiteX1" fmla="*/ 1004 w 1004"/>
                                <a:gd name="connsiteY1" fmla="*/ 502 h 11931"/>
                                <a:gd name="connsiteX2" fmla="*/ 1004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0" name="Freeform: Shape 4699">
                              <a:extLst>
                                <a:ext uri="{FF2B5EF4-FFF2-40B4-BE49-F238E27FC236}">
                                  <a16:creationId xmlns:a16="http://schemas.microsoft.com/office/drawing/2014/main" id="{D95A2D7B-221D-4420-A59E-5864C087F893}"/>
                                </a:ext>
                              </a:extLst>
                            </p:cNvPr>
                            <p:cNvSpPr/>
                            <p:nvPr/>
                          </p:nvSpPr>
                          <p:spPr>
                            <a:xfrm>
                              <a:off x="9083899" y="2229534"/>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01" name="Freeform: Shape 4700">
                            <a:extLst>
                              <a:ext uri="{FF2B5EF4-FFF2-40B4-BE49-F238E27FC236}">
                                <a16:creationId xmlns:a16="http://schemas.microsoft.com/office/drawing/2014/main" id="{F8333ADC-41F9-4016-8FD9-84141F861947}"/>
                              </a:ext>
                            </a:extLst>
                          </p:cNvPr>
                          <p:cNvSpPr/>
                          <p:nvPr/>
                        </p:nvSpPr>
                        <p:spPr>
                          <a:xfrm>
                            <a:off x="9086159" y="2242973"/>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2" name="Freeform: Shape 4701">
                            <a:extLst>
                              <a:ext uri="{FF2B5EF4-FFF2-40B4-BE49-F238E27FC236}">
                                <a16:creationId xmlns:a16="http://schemas.microsoft.com/office/drawing/2014/main" id="{D1D01818-7402-4CC9-BF18-E4519ECF8FB1}"/>
                              </a:ext>
                            </a:extLst>
                          </p:cNvPr>
                          <p:cNvSpPr/>
                          <p:nvPr/>
                        </p:nvSpPr>
                        <p:spPr>
                          <a:xfrm>
                            <a:off x="9089801" y="2245108"/>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3" name="Freeform: Shape 4702">
                            <a:extLst>
                              <a:ext uri="{FF2B5EF4-FFF2-40B4-BE49-F238E27FC236}">
                                <a16:creationId xmlns:a16="http://schemas.microsoft.com/office/drawing/2014/main" id="{4787935E-E7A6-4106-B6AE-6B5CD7273173}"/>
                              </a:ext>
                            </a:extLst>
                          </p:cNvPr>
                          <p:cNvSpPr/>
                          <p:nvPr/>
                        </p:nvSpPr>
                        <p:spPr>
                          <a:xfrm>
                            <a:off x="9093570" y="2247243"/>
                            <a:ext cx="1757" cy="3139"/>
                          </a:xfrm>
                          <a:custGeom>
                            <a:avLst/>
                            <a:gdLst>
                              <a:gd name="connsiteX0" fmla="*/ 1758 w 1757"/>
                              <a:gd name="connsiteY0" fmla="*/ 3140 h 3139"/>
                              <a:gd name="connsiteX1" fmla="*/ 0 w 1757"/>
                              <a:gd name="connsiteY1" fmla="*/ 2135 h 3139"/>
                              <a:gd name="connsiteX2" fmla="*/ 0 w 1757"/>
                              <a:gd name="connsiteY2" fmla="*/ 0 h 3139"/>
                              <a:gd name="connsiteX3" fmla="*/ 1758 w 1757"/>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7" h="3139">
                                <a:moveTo>
                                  <a:pt x="1758" y="3140"/>
                                </a:moveTo>
                                <a:lnTo>
                                  <a:pt x="0" y="2135"/>
                                </a:lnTo>
                                <a:lnTo>
                                  <a:pt x="0" y="0"/>
                                </a:lnTo>
                                <a:lnTo>
                                  <a:pt x="1758"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4" name="Freeform: Shape 4703">
                            <a:extLst>
                              <a:ext uri="{FF2B5EF4-FFF2-40B4-BE49-F238E27FC236}">
                                <a16:creationId xmlns:a16="http://schemas.microsoft.com/office/drawing/2014/main" id="{A6FC74BF-F891-48AB-A1DA-464F2B57DBAE}"/>
                              </a:ext>
                            </a:extLst>
                          </p:cNvPr>
                          <p:cNvSpPr/>
                          <p:nvPr/>
                        </p:nvSpPr>
                        <p:spPr>
                          <a:xfrm>
                            <a:off x="9097212" y="2249378"/>
                            <a:ext cx="1884" cy="3139"/>
                          </a:xfrm>
                          <a:custGeom>
                            <a:avLst/>
                            <a:gdLst>
                              <a:gd name="connsiteX0" fmla="*/ 1884 w 1884"/>
                              <a:gd name="connsiteY0" fmla="*/ 3140 h 3139"/>
                              <a:gd name="connsiteX1" fmla="*/ 0 w 1884"/>
                              <a:gd name="connsiteY1" fmla="*/ 2009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009"/>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705" name="Graphic 4">
                        <a:extLst>
                          <a:ext uri="{FF2B5EF4-FFF2-40B4-BE49-F238E27FC236}">
                            <a16:creationId xmlns:a16="http://schemas.microsoft.com/office/drawing/2014/main" id="{84FB7ED1-A2DF-40A1-A747-5F7CF3F14040}"/>
                          </a:ext>
                        </a:extLst>
                      </p:cNvPr>
                      <p:cNvGrpSpPr/>
                      <p:nvPr/>
                    </p:nvGrpSpPr>
                    <p:grpSpPr>
                      <a:xfrm>
                        <a:off x="9155111" y="2173895"/>
                        <a:ext cx="77241" cy="89172"/>
                        <a:chOff x="9155111" y="2173895"/>
                        <a:chExt cx="77241" cy="89172"/>
                      </a:xfrm>
                      <a:solidFill>
                        <a:schemeClr val="accent1"/>
                      </a:solidFill>
                    </p:grpSpPr>
                    <p:sp>
                      <p:nvSpPr>
                        <p:cNvPr id="4706" name="Freeform: Shape 4705">
                          <a:extLst>
                            <a:ext uri="{FF2B5EF4-FFF2-40B4-BE49-F238E27FC236}">
                              <a16:creationId xmlns:a16="http://schemas.microsoft.com/office/drawing/2014/main" id="{F79E151A-6B5A-4403-8F38-7500286F6CF2}"/>
                            </a:ext>
                          </a:extLst>
                        </p:cNvPr>
                        <p:cNvSpPr/>
                        <p:nvPr/>
                      </p:nvSpPr>
                      <p:spPr>
                        <a:xfrm>
                          <a:off x="9193794" y="2196251"/>
                          <a:ext cx="38557" cy="66816"/>
                        </a:xfrm>
                        <a:custGeom>
                          <a:avLst/>
                          <a:gdLst>
                            <a:gd name="connsiteX0" fmla="*/ 38558 w 38557"/>
                            <a:gd name="connsiteY0" fmla="*/ 44461 h 66816"/>
                            <a:gd name="connsiteX1" fmla="*/ 0 w 38557"/>
                            <a:gd name="connsiteY1" fmla="*/ 66816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461"/>
                              </a:moveTo>
                              <a:lnTo>
                                <a:pt x="0" y="66816"/>
                              </a:lnTo>
                              <a:lnTo>
                                <a:pt x="0" y="22230"/>
                              </a:lnTo>
                              <a:lnTo>
                                <a:pt x="38558"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7" name="Freeform: Shape 4706">
                          <a:extLst>
                            <a:ext uri="{FF2B5EF4-FFF2-40B4-BE49-F238E27FC236}">
                              <a16:creationId xmlns:a16="http://schemas.microsoft.com/office/drawing/2014/main" id="{00D207A4-4A24-467B-ABCA-A3CB2A80CB66}"/>
                            </a:ext>
                          </a:extLst>
                        </p:cNvPr>
                        <p:cNvSpPr/>
                        <p:nvPr/>
                      </p:nvSpPr>
                      <p:spPr>
                        <a:xfrm>
                          <a:off x="9155111" y="2173895"/>
                          <a:ext cx="77241" cy="44586"/>
                        </a:xfrm>
                        <a:custGeom>
                          <a:avLst/>
                          <a:gdLst>
                            <a:gd name="connsiteX0" fmla="*/ 77241 w 77241"/>
                            <a:gd name="connsiteY0" fmla="*/ 22356 h 44586"/>
                            <a:gd name="connsiteX1" fmla="*/ 38683 w 77241"/>
                            <a:gd name="connsiteY1" fmla="*/ 44586 h 44586"/>
                            <a:gd name="connsiteX2" fmla="*/ 0 w 77241"/>
                            <a:gd name="connsiteY2" fmla="*/ 22356 h 44586"/>
                            <a:gd name="connsiteX3" fmla="*/ 38683 w 77241"/>
                            <a:gd name="connsiteY3" fmla="*/ 0 h 44586"/>
                          </a:gdLst>
                          <a:ahLst/>
                          <a:cxnLst>
                            <a:cxn ang="0">
                              <a:pos x="connsiteX0" y="connsiteY0"/>
                            </a:cxn>
                            <a:cxn ang="0">
                              <a:pos x="connsiteX1" y="connsiteY1"/>
                            </a:cxn>
                            <a:cxn ang="0">
                              <a:pos x="connsiteX2" y="connsiteY2"/>
                            </a:cxn>
                            <a:cxn ang="0">
                              <a:pos x="connsiteX3" y="connsiteY3"/>
                            </a:cxn>
                          </a:cxnLst>
                          <a:rect l="l" t="t" r="r" b="b"/>
                          <a:pathLst>
                            <a:path w="77241" h="44586">
                              <a:moveTo>
                                <a:pt x="77241" y="22356"/>
                              </a:moveTo>
                              <a:lnTo>
                                <a:pt x="38683" y="44586"/>
                              </a:lnTo>
                              <a:lnTo>
                                <a:pt x="0" y="22356"/>
                              </a:lnTo>
                              <a:lnTo>
                                <a:pt x="3868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08" name="Graphic 4">
                          <a:extLst>
                            <a:ext uri="{FF2B5EF4-FFF2-40B4-BE49-F238E27FC236}">
                              <a16:creationId xmlns:a16="http://schemas.microsoft.com/office/drawing/2014/main" id="{84FB7ED1-A2DF-40A1-A747-5F7CF3F14040}"/>
                            </a:ext>
                          </a:extLst>
                        </p:cNvPr>
                        <p:cNvGrpSpPr/>
                        <p:nvPr/>
                      </p:nvGrpSpPr>
                      <p:grpSpPr>
                        <a:xfrm>
                          <a:off x="9155111" y="2196251"/>
                          <a:ext cx="38683" cy="66816"/>
                          <a:chOff x="9155111" y="2196251"/>
                          <a:chExt cx="38683" cy="66816"/>
                        </a:xfrm>
                        <a:solidFill>
                          <a:schemeClr val="accent1"/>
                        </a:solidFill>
                      </p:grpSpPr>
                      <p:sp>
                        <p:nvSpPr>
                          <p:cNvPr id="4709" name="Freeform: Shape 4708">
                            <a:extLst>
                              <a:ext uri="{FF2B5EF4-FFF2-40B4-BE49-F238E27FC236}">
                                <a16:creationId xmlns:a16="http://schemas.microsoft.com/office/drawing/2014/main" id="{A5677791-0CC3-49AF-8CED-7655740B5ACD}"/>
                              </a:ext>
                            </a:extLst>
                          </p:cNvPr>
                          <p:cNvSpPr/>
                          <p:nvPr/>
                        </p:nvSpPr>
                        <p:spPr>
                          <a:xfrm>
                            <a:off x="9155111" y="2196251"/>
                            <a:ext cx="38683" cy="66816"/>
                          </a:xfrm>
                          <a:custGeom>
                            <a:avLst/>
                            <a:gdLst>
                              <a:gd name="connsiteX0" fmla="*/ 38683 w 38683"/>
                              <a:gd name="connsiteY0" fmla="*/ 66816 h 66816"/>
                              <a:gd name="connsiteX1" fmla="*/ 0 w 38683"/>
                              <a:gd name="connsiteY1" fmla="*/ 44461 h 66816"/>
                              <a:gd name="connsiteX2" fmla="*/ 0 w 38683"/>
                              <a:gd name="connsiteY2" fmla="*/ 0 h 66816"/>
                              <a:gd name="connsiteX3" fmla="*/ 38683 w 38683"/>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683" h="66816">
                                <a:moveTo>
                                  <a:pt x="38683" y="66816"/>
                                </a:moveTo>
                                <a:lnTo>
                                  <a:pt x="0" y="44461"/>
                                </a:lnTo>
                                <a:lnTo>
                                  <a:pt x="0" y="0"/>
                                </a:lnTo>
                                <a:lnTo>
                                  <a:pt x="38683" y="2223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10" name="Freeform: Shape 4709">
                            <a:extLst>
                              <a:ext uri="{FF2B5EF4-FFF2-40B4-BE49-F238E27FC236}">
                                <a16:creationId xmlns:a16="http://schemas.microsoft.com/office/drawing/2014/main" id="{ABA2E7A9-C2FE-43E3-B3E2-111EC3B47A48}"/>
                              </a:ext>
                            </a:extLst>
                          </p:cNvPr>
                          <p:cNvSpPr/>
                          <p:nvPr/>
                        </p:nvSpPr>
                        <p:spPr>
                          <a:xfrm>
                            <a:off x="9170559" y="2205043"/>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11" name="Freeform: Shape 4710">
                          <a:extLst>
                            <a:ext uri="{FF2B5EF4-FFF2-40B4-BE49-F238E27FC236}">
                              <a16:creationId xmlns:a16="http://schemas.microsoft.com/office/drawing/2014/main" id="{3EC36D7C-5141-4FBA-99DC-70CF469B6BD2}"/>
                            </a:ext>
                          </a:extLst>
                        </p:cNvPr>
                        <p:cNvSpPr/>
                        <p:nvPr/>
                      </p:nvSpPr>
                      <p:spPr>
                        <a:xfrm>
                          <a:off x="9170559" y="2182813"/>
                          <a:ext cx="46344" cy="26751"/>
                        </a:xfrm>
                        <a:custGeom>
                          <a:avLst/>
                          <a:gdLst>
                            <a:gd name="connsiteX0" fmla="*/ 0 w 46344"/>
                            <a:gd name="connsiteY0" fmla="*/ 22230 h 26751"/>
                            <a:gd name="connsiteX1" fmla="*/ 7787 w 46344"/>
                            <a:gd name="connsiteY1" fmla="*/ 26752 h 26751"/>
                            <a:gd name="connsiteX2" fmla="*/ 46345 w 46344"/>
                            <a:gd name="connsiteY2" fmla="*/ 4521 h 26751"/>
                            <a:gd name="connsiteX3" fmla="*/ 3855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521"/>
                              </a:lnTo>
                              <a:lnTo>
                                <a:pt x="3855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12" name="Graphic 4">
                        <a:extLst>
                          <a:ext uri="{FF2B5EF4-FFF2-40B4-BE49-F238E27FC236}">
                            <a16:creationId xmlns:a16="http://schemas.microsoft.com/office/drawing/2014/main" id="{84FB7ED1-A2DF-40A1-A747-5F7CF3F14040}"/>
                          </a:ext>
                        </a:extLst>
                      </p:cNvPr>
                      <p:cNvGrpSpPr/>
                      <p:nvPr/>
                    </p:nvGrpSpPr>
                    <p:grpSpPr>
                      <a:xfrm>
                        <a:off x="9114292" y="2197507"/>
                        <a:ext cx="77115" cy="89046"/>
                        <a:chOff x="9114292" y="2197507"/>
                        <a:chExt cx="77115" cy="89046"/>
                      </a:xfrm>
                      <a:solidFill>
                        <a:schemeClr val="accent1"/>
                      </a:solidFill>
                    </p:grpSpPr>
                    <p:grpSp>
                      <p:nvGrpSpPr>
                        <p:cNvPr id="4713" name="Graphic 4">
                          <a:extLst>
                            <a:ext uri="{FF2B5EF4-FFF2-40B4-BE49-F238E27FC236}">
                              <a16:creationId xmlns:a16="http://schemas.microsoft.com/office/drawing/2014/main" id="{84FB7ED1-A2DF-40A1-A747-5F7CF3F14040}"/>
                            </a:ext>
                          </a:extLst>
                        </p:cNvPr>
                        <p:cNvGrpSpPr/>
                        <p:nvPr/>
                      </p:nvGrpSpPr>
                      <p:grpSpPr>
                        <a:xfrm>
                          <a:off x="9114292" y="2197507"/>
                          <a:ext cx="77115" cy="89046"/>
                          <a:chOff x="9114292" y="2197507"/>
                          <a:chExt cx="77115" cy="89046"/>
                        </a:xfrm>
                        <a:solidFill>
                          <a:schemeClr val="accent1"/>
                        </a:solidFill>
                      </p:grpSpPr>
                      <p:sp>
                        <p:nvSpPr>
                          <p:cNvPr id="4714" name="Freeform: Shape 4713">
                            <a:extLst>
                              <a:ext uri="{FF2B5EF4-FFF2-40B4-BE49-F238E27FC236}">
                                <a16:creationId xmlns:a16="http://schemas.microsoft.com/office/drawing/2014/main" id="{C63DE4FF-D9C6-4039-83E3-D14A85739CE5}"/>
                              </a:ext>
                            </a:extLst>
                          </p:cNvPr>
                          <p:cNvSpPr/>
                          <p:nvPr/>
                        </p:nvSpPr>
                        <p:spPr>
                          <a:xfrm>
                            <a:off x="9152850" y="2219738"/>
                            <a:ext cx="38557" cy="66816"/>
                          </a:xfrm>
                          <a:custGeom>
                            <a:avLst/>
                            <a:gdLst>
                              <a:gd name="connsiteX0" fmla="*/ 38558 w 38557"/>
                              <a:gd name="connsiteY0" fmla="*/ 44586 h 66816"/>
                              <a:gd name="connsiteX1" fmla="*/ 0 w 38557"/>
                              <a:gd name="connsiteY1" fmla="*/ 66816 h 66816"/>
                              <a:gd name="connsiteX2" fmla="*/ 0 w 38557"/>
                              <a:gd name="connsiteY2" fmla="*/ 22356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6"/>
                                </a:lnTo>
                                <a:lnTo>
                                  <a:pt x="0" y="22356"/>
                                </a:lnTo>
                                <a:lnTo>
                                  <a:pt x="38558"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15" name="Freeform: Shape 4714">
                            <a:extLst>
                              <a:ext uri="{FF2B5EF4-FFF2-40B4-BE49-F238E27FC236}">
                                <a16:creationId xmlns:a16="http://schemas.microsoft.com/office/drawing/2014/main" id="{EB386AF4-B3D8-4133-A918-325894B45651}"/>
                              </a:ext>
                            </a:extLst>
                          </p:cNvPr>
                          <p:cNvSpPr/>
                          <p:nvPr/>
                        </p:nvSpPr>
                        <p:spPr>
                          <a:xfrm>
                            <a:off x="9114292" y="2197507"/>
                            <a:ext cx="77115" cy="44586"/>
                          </a:xfrm>
                          <a:custGeom>
                            <a:avLst/>
                            <a:gdLst>
                              <a:gd name="connsiteX0" fmla="*/ 77115 w 77115"/>
                              <a:gd name="connsiteY0" fmla="*/ 22230 h 44586"/>
                              <a:gd name="connsiteX1" fmla="*/ 38558 w 77115"/>
                              <a:gd name="connsiteY1" fmla="*/ 44586 h 44586"/>
                              <a:gd name="connsiteX2" fmla="*/ 0 w 77115"/>
                              <a:gd name="connsiteY2" fmla="*/ 22230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230"/>
                                </a:moveTo>
                                <a:lnTo>
                                  <a:pt x="38558" y="44586"/>
                                </a:lnTo>
                                <a:lnTo>
                                  <a:pt x="0" y="22230"/>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16" name="Graphic 4">
                            <a:extLst>
                              <a:ext uri="{FF2B5EF4-FFF2-40B4-BE49-F238E27FC236}">
                                <a16:creationId xmlns:a16="http://schemas.microsoft.com/office/drawing/2014/main" id="{84FB7ED1-A2DF-40A1-A747-5F7CF3F14040}"/>
                              </a:ext>
                            </a:extLst>
                          </p:cNvPr>
                          <p:cNvGrpSpPr/>
                          <p:nvPr/>
                        </p:nvGrpSpPr>
                        <p:grpSpPr>
                          <a:xfrm>
                            <a:off x="9114292" y="2219738"/>
                            <a:ext cx="38557" cy="66816"/>
                            <a:chOff x="9114292" y="2219738"/>
                            <a:chExt cx="38557" cy="66816"/>
                          </a:xfrm>
                          <a:solidFill>
                            <a:schemeClr val="accent1"/>
                          </a:solidFill>
                        </p:grpSpPr>
                        <p:sp>
                          <p:nvSpPr>
                            <p:cNvPr id="4717" name="Freeform: Shape 4716">
                              <a:extLst>
                                <a:ext uri="{FF2B5EF4-FFF2-40B4-BE49-F238E27FC236}">
                                  <a16:creationId xmlns:a16="http://schemas.microsoft.com/office/drawing/2014/main" id="{F5350D6B-FE3A-4883-B249-71A8DCF068C2}"/>
                                </a:ext>
                              </a:extLst>
                            </p:cNvPr>
                            <p:cNvSpPr/>
                            <p:nvPr/>
                          </p:nvSpPr>
                          <p:spPr>
                            <a:xfrm>
                              <a:off x="9114292" y="2219738"/>
                              <a:ext cx="38557" cy="66816"/>
                            </a:xfrm>
                            <a:custGeom>
                              <a:avLst/>
                              <a:gdLst>
                                <a:gd name="connsiteX0" fmla="*/ 38558 w 38557"/>
                                <a:gd name="connsiteY0" fmla="*/ 66816 h 66816"/>
                                <a:gd name="connsiteX1" fmla="*/ 0 w 38557"/>
                                <a:gd name="connsiteY1" fmla="*/ 44586 h 66816"/>
                                <a:gd name="connsiteX2" fmla="*/ 0 w 38557"/>
                                <a:gd name="connsiteY2" fmla="*/ 0 h 66816"/>
                                <a:gd name="connsiteX3" fmla="*/ 38558 w 38557"/>
                                <a:gd name="connsiteY3" fmla="*/ 22356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6"/>
                                  </a:moveTo>
                                  <a:lnTo>
                                    <a:pt x="0" y="44586"/>
                                  </a:lnTo>
                                  <a:lnTo>
                                    <a:pt x="0" y="0"/>
                                  </a:lnTo>
                                  <a:lnTo>
                                    <a:pt x="38558" y="22356"/>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18" name="Freeform: Shape 4717">
                              <a:extLst>
                                <a:ext uri="{FF2B5EF4-FFF2-40B4-BE49-F238E27FC236}">
                                  <a16:creationId xmlns:a16="http://schemas.microsoft.com/office/drawing/2014/main" id="{7422DA37-49CD-43AD-9EFC-63A805E3C0CD}"/>
                                </a:ext>
                              </a:extLst>
                            </p:cNvPr>
                            <p:cNvSpPr/>
                            <p:nvPr/>
                          </p:nvSpPr>
                          <p:spPr>
                            <a:xfrm>
                              <a:off x="9129741" y="2228655"/>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19" name="Freeform: Shape 4718">
                            <a:extLst>
                              <a:ext uri="{FF2B5EF4-FFF2-40B4-BE49-F238E27FC236}">
                                <a16:creationId xmlns:a16="http://schemas.microsoft.com/office/drawing/2014/main" id="{8EC8B1F1-51A9-460C-AE82-447627241C84}"/>
                              </a:ext>
                            </a:extLst>
                          </p:cNvPr>
                          <p:cNvSpPr/>
                          <p:nvPr/>
                        </p:nvSpPr>
                        <p:spPr>
                          <a:xfrm>
                            <a:off x="9129741" y="2206425"/>
                            <a:ext cx="46344" cy="26751"/>
                          </a:xfrm>
                          <a:custGeom>
                            <a:avLst/>
                            <a:gdLst>
                              <a:gd name="connsiteX0" fmla="*/ 0 w 46344"/>
                              <a:gd name="connsiteY0" fmla="*/ 22230 h 26751"/>
                              <a:gd name="connsiteX1" fmla="*/ 7787 w 46344"/>
                              <a:gd name="connsiteY1" fmla="*/ 26752 h 26751"/>
                              <a:gd name="connsiteX2" fmla="*/ 46345 w 46344"/>
                              <a:gd name="connsiteY2" fmla="*/ 4396 h 26751"/>
                              <a:gd name="connsiteX3" fmla="*/ 3855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396"/>
                                </a:lnTo>
                                <a:lnTo>
                                  <a:pt x="3855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20" name="Graphic 4">
                          <a:extLst>
                            <a:ext uri="{FF2B5EF4-FFF2-40B4-BE49-F238E27FC236}">
                              <a16:creationId xmlns:a16="http://schemas.microsoft.com/office/drawing/2014/main" id="{84FB7ED1-A2DF-40A1-A747-5F7CF3F14040}"/>
                            </a:ext>
                          </a:extLst>
                        </p:cNvPr>
                        <p:cNvGrpSpPr/>
                        <p:nvPr/>
                      </p:nvGrpSpPr>
                      <p:grpSpPr>
                        <a:xfrm>
                          <a:off x="9124843" y="2253146"/>
                          <a:ext cx="17457" cy="23611"/>
                          <a:chOff x="9124843" y="2253146"/>
                          <a:chExt cx="17457" cy="23611"/>
                        </a:xfrm>
                        <a:solidFill>
                          <a:srgbClr val="000000"/>
                        </a:solidFill>
                      </p:grpSpPr>
                      <p:grpSp>
                        <p:nvGrpSpPr>
                          <p:cNvPr id="4721" name="Graphic 4">
                            <a:extLst>
                              <a:ext uri="{FF2B5EF4-FFF2-40B4-BE49-F238E27FC236}">
                                <a16:creationId xmlns:a16="http://schemas.microsoft.com/office/drawing/2014/main" id="{84FB7ED1-A2DF-40A1-A747-5F7CF3F14040}"/>
                              </a:ext>
                            </a:extLst>
                          </p:cNvPr>
                          <p:cNvGrpSpPr/>
                          <p:nvPr/>
                        </p:nvGrpSpPr>
                        <p:grpSpPr>
                          <a:xfrm>
                            <a:off x="9124843" y="2253146"/>
                            <a:ext cx="17457" cy="23611"/>
                            <a:chOff x="9124843" y="2253146"/>
                            <a:chExt cx="17457" cy="23611"/>
                          </a:xfrm>
                          <a:solidFill>
                            <a:srgbClr val="000000"/>
                          </a:solidFill>
                        </p:grpSpPr>
                        <p:sp>
                          <p:nvSpPr>
                            <p:cNvPr id="4722" name="Freeform: Shape 4721">
                              <a:extLst>
                                <a:ext uri="{FF2B5EF4-FFF2-40B4-BE49-F238E27FC236}">
                                  <a16:creationId xmlns:a16="http://schemas.microsoft.com/office/drawing/2014/main" id="{738BC058-40BF-4D0F-9E78-F2D27316A323}"/>
                                </a:ext>
                              </a:extLst>
                            </p:cNvPr>
                            <p:cNvSpPr/>
                            <p:nvPr/>
                          </p:nvSpPr>
                          <p:spPr>
                            <a:xfrm>
                              <a:off x="9141421" y="2262691"/>
                              <a:ext cx="879" cy="14066"/>
                            </a:xfrm>
                            <a:custGeom>
                              <a:avLst/>
                              <a:gdLst>
                                <a:gd name="connsiteX0" fmla="*/ 0 w 879"/>
                                <a:gd name="connsiteY0" fmla="*/ 0 h 14066"/>
                                <a:gd name="connsiteX1" fmla="*/ 879 w 879"/>
                                <a:gd name="connsiteY1" fmla="*/ 628 h 14066"/>
                                <a:gd name="connsiteX2" fmla="*/ 879 w 879"/>
                                <a:gd name="connsiteY2" fmla="*/ 14067 h 14066"/>
                                <a:gd name="connsiteX3" fmla="*/ 0 w 879"/>
                                <a:gd name="connsiteY3" fmla="*/ 13439 h 14066"/>
                              </a:gdLst>
                              <a:ahLst/>
                              <a:cxnLst>
                                <a:cxn ang="0">
                                  <a:pos x="connsiteX0" y="connsiteY0"/>
                                </a:cxn>
                                <a:cxn ang="0">
                                  <a:pos x="connsiteX1" y="connsiteY1"/>
                                </a:cxn>
                                <a:cxn ang="0">
                                  <a:pos x="connsiteX2" y="connsiteY2"/>
                                </a:cxn>
                                <a:cxn ang="0">
                                  <a:pos x="connsiteX3" y="connsiteY3"/>
                                </a:cxn>
                              </a:cxnLst>
                              <a:rect l="l" t="t" r="r" b="b"/>
                              <a:pathLst>
                                <a:path w="879" h="14066">
                                  <a:moveTo>
                                    <a:pt x="0" y="0"/>
                                  </a:moveTo>
                                  <a:lnTo>
                                    <a:pt x="879" y="628"/>
                                  </a:lnTo>
                                  <a:lnTo>
                                    <a:pt x="879" y="14067"/>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3" name="Freeform: Shape 4722">
                              <a:extLst>
                                <a:ext uri="{FF2B5EF4-FFF2-40B4-BE49-F238E27FC236}">
                                  <a16:creationId xmlns:a16="http://schemas.microsoft.com/office/drawing/2014/main" id="{AD0CFD9A-59FA-4DEF-B600-0C864A894069}"/>
                                </a:ext>
                              </a:extLst>
                            </p:cNvPr>
                            <p:cNvSpPr/>
                            <p:nvPr/>
                          </p:nvSpPr>
                          <p:spPr>
                            <a:xfrm>
                              <a:off x="9139537" y="2261686"/>
                              <a:ext cx="1004" cy="11931"/>
                            </a:xfrm>
                            <a:custGeom>
                              <a:avLst/>
                              <a:gdLst>
                                <a:gd name="connsiteX0" fmla="*/ 0 w 1004"/>
                                <a:gd name="connsiteY0" fmla="*/ 0 h 11931"/>
                                <a:gd name="connsiteX1" fmla="*/ 1005 w 1004"/>
                                <a:gd name="connsiteY1" fmla="*/ 502 h 11931"/>
                                <a:gd name="connsiteX2" fmla="*/ 1005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4" name="Freeform: Shape 4723">
                              <a:extLst>
                                <a:ext uri="{FF2B5EF4-FFF2-40B4-BE49-F238E27FC236}">
                                  <a16:creationId xmlns:a16="http://schemas.microsoft.com/office/drawing/2014/main" id="{3907F51D-4C4E-46D9-A2B5-435671FA300C}"/>
                                </a:ext>
                              </a:extLst>
                            </p:cNvPr>
                            <p:cNvSpPr/>
                            <p:nvPr/>
                          </p:nvSpPr>
                          <p:spPr>
                            <a:xfrm>
                              <a:off x="9137779" y="2260681"/>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3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5" name="Freeform: Shape 4724">
                              <a:extLst>
                                <a:ext uri="{FF2B5EF4-FFF2-40B4-BE49-F238E27FC236}">
                                  <a16:creationId xmlns:a16="http://schemas.microsoft.com/office/drawing/2014/main" id="{2A672336-2270-49F8-AC2E-7D7C8E362F3E}"/>
                                </a:ext>
                              </a:extLst>
                            </p:cNvPr>
                            <p:cNvSpPr/>
                            <p:nvPr/>
                          </p:nvSpPr>
                          <p:spPr>
                            <a:xfrm>
                              <a:off x="9135895" y="2259551"/>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6" name="Freeform: Shape 4725">
                              <a:extLst>
                                <a:ext uri="{FF2B5EF4-FFF2-40B4-BE49-F238E27FC236}">
                                  <a16:creationId xmlns:a16="http://schemas.microsoft.com/office/drawing/2014/main" id="{457C4070-2D58-479D-9C28-AD5C1CC5C551}"/>
                                </a:ext>
                              </a:extLst>
                            </p:cNvPr>
                            <p:cNvSpPr/>
                            <p:nvPr/>
                          </p:nvSpPr>
                          <p:spPr>
                            <a:xfrm>
                              <a:off x="9134011" y="2258546"/>
                              <a:ext cx="1004" cy="11931"/>
                            </a:xfrm>
                            <a:custGeom>
                              <a:avLst/>
                              <a:gdLst>
                                <a:gd name="connsiteX0" fmla="*/ 0 w 1004"/>
                                <a:gd name="connsiteY0" fmla="*/ 0 h 11931"/>
                                <a:gd name="connsiteX1" fmla="*/ 1005 w 1004"/>
                                <a:gd name="connsiteY1" fmla="*/ 502 h 11931"/>
                                <a:gd name="connsiteX2" fmla="*/ 1005 w 1004"/>
                                <a:gd name="connsiteY2" fmla="*/ 11932 h 11931"/>
                                <a:gd name="connsiteX3" fmla="*/ 0 w 1004"/>
                                <a:gd name="connsiteY3" fmla="*/ 11304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7" name="Freeform: Shape 4726">
                              <a:extLst>
                                <a:ext uri="{FF2B5EF4-FFF2-40B4-BE49-F238E27FC236}">
                                  <a16:creationId xmlns:a16="http://schemas.microsoft.com/office/drawing/2014/main" id="{01E4A937-526B-42FC-BDBC-EC78EA7CEA50}"/>
                                </a:ext>
                              </a:extLst>
                            </p:cNvPr>
                            <p:cNvSpPr/>
                            <p:nvPr/>
                          </p:nvSpPr>
                          <p:spPr>
                            <a:xfrm>
                              <a:off x="9132252" y="2257416"/>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8" name="Freeform: Shape 4727">
                              <a:extLst>
                                <a:ext uri="{FF2B5EF4-FFF2-40B4-BE49-F238E27FC236}">
                                  <a16:creationId xmlns:a16="http://schemas.microsoft.com/office/drawing/2014/main" id="{D699AD3E-847C-4E3B-80B7-515755894897}"/>
                                </a:ext>
                              </a:extLst>
                            </p:cNvPr>
                            <p:cNvSpPr/>
                            <p:nvPr/>
                          </p:nvSpPr>
                          <p:spPr>
                            <a:xfrm>
                              <a:off x="9130369" y="2256411"/>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9" name="Freeform: Shape 4728">
                              <a:extLst>
                                <a:ext uri="{FF2B5EF4-FFF2-40B4-BE49-F238E27FC236}">
                                  <a16:creationId xmlns:a16="http://schemas.microsoft.com/office/drawing/2014/main" id="{A46D84C6-B766-48F3-A8AA-5452F873C395}"/>
                                </a:ext>
                              </a:extLst>
                            </p:cNvPr>
                            <p:cNvSpPr/>
                            <p:nvPr/>
                          </p:nvSpPr>
                          <p:spPr>
                            <a:xfrm>
                              <a:off x="9128485" y="2255281"/>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0" name="Freeform: Shape 4729">
                              <a:extLst>
                                <a:ext uri="{FF2B5EF4-FFF2-40B4-BE49-F238E27FC236}">
                                  <a16:creationId xmlns:a16="http://schemas.microsoft.com/office/drawing/2014/main" id="{2BA9F96A-84BF-4375-9EBE-29C7F864A703}"/>
                                </a:ext>
                              </a:extLst>
                            </p:cNvPr>
                            <p:cNvSpPr/>
                            <p:nvPr/>
                          </p:nvSpPr>
                          <p:spPr>
                            <a:xfrm>
                              <a:off x="9126726" y="2254276"/>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1" name="Freeform: Shape 4730">
                              <a:extLst>
                                <a:ext uri="{FF2B5EF4-FFF2-40B4-BE49-F238E27FC236}">
                                  <a16:creationId xmlns:a16="http://schemas.microsoft.com/office/drawing/2014/main" id="{7510FDC4-68A1-4AD2-8D18-4E0006DF0986}"/>
                                </a:ext>
                              </a:extLst>
                            </p:cNvPr>
                            <p:cNvSpPr/>
                            <p:nvPr/>
                          </p:nvSpPr>
                          <p:spPr>
                            <a:xfrm>
                              <a:off x="9124843" y="2253146"/>
                              <a:ext cx="879" cy="14066"/>
                            </a:xfrm>
                            <a:custGeom>
                              <a:avLst/>
                              <a:gdLst>
                                <a:gd name="connsiteX0" fmla="*/ 0 w 879"/>
                                <a:gd name="connsiteY0" fmla="*/ 0 h 14066"/>
                                <a:gd name="connsiteX1" fmla="*/ 879 w 879"/>
                                <a:gd name="connsiteY1" fmla="*/ 628 h 14066"/>
                                <a:gd name="connsiteX2" fmla="*/ 879 w 879"/>
                                <a:gd name="connsiteY2" fmla="*/ 14067 h 14066"/>
                                <a:gd name="connsiteX3" fmla="*/ 0 w 879"/>
                                <a:gd name="connsiteY3" fmla="*/ 13439 h 14066"/>
                              </a:gdLst>
                              <a:ahLst/>
                              <a:cxnLst>
                                <a:cxn ang="0">
                                  <a:pos x="connsiteX0" y="connsiteY0"/>
                                </a:cxn>
                                <a:cxn ang="0">
                                  <a:pos x="connsiteX1" y="connsiteY1"/>
                                </a:cxn>
                                <a:cxn ang="0">
                                  <a:pos x="connsiteX2" y="connsiteY2"/>
                                </a:cxn>
                                <a:cxn ang="0">
                                  <a:pos x="connsiteX3" y="connsiteY3"/>
                                </a:cxn>
                              </a:cxnLst>
                              <a:rect l="l" t="t" r="r" b="b"/>
                              <a:pathLst>
                                <a:path w="879" h="14066">
                                  <a:moveTo>
                                    <a:pt x="0" y="0"/>
                                  </a:moveTo>
                                  <a:lnTo>
                                    <a:pt x="879" y="628"/>
                                  </a:lnTo>
                                  <a:lnTo>
                                    <a:pt x="879" y="14067"/>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32" name="Freeform: Shape 4731">
                            <a:extLst>
                              <a:ext uri="{FF2B5EF4-FFF2-40B4-BE49-F238E27FC236}">
                                <a16:creationId xmlns:a16="http://schemas.microsoft.com/office/drawing/2014/main" id="{E81C6B92-CD04-408E-AC8F-91ADA76FF428}"/>
                              </a:ext>
                            </a:extLst>
                          </p:cNvPr>
                          <p:cNvSpPr/>
                          <p:nvPr/>
                        </p:nvSpPr>
                        <p:spPr>
                          <a:xfrm>
                            <a:off x="9127103" y="2266584"/>
                            <a:ext cx="1884" cy="3265"/>
                          </a:xfrm>
                          <a:custGeom>
                            <a:avLst/>
                            <a:gdLst>
                              <a:gd name="connsiteX0" fmla="*/ 1884 w 1884"/>
                              <a:gd name="connsiteY0" fmla="*/ 3265 h 3265"/>
                              <a:gd name="connsiteX1" fmla="*/ 0 w 1884"/>
                              <a:gd name="connsiteY1" fmla="*/ 2135 h 3265"/>
                              <a:gd name="connsiteX2" fmla="*/ 0 w 1884"/>
                              <a:gd name="connsiteY2" fmla="*/ 0 h 3265"/>
                              <a:gd name="connsiteX3" fmla="*/ 1884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1884" y="3265"/>
                                </a:moveTo>
                                <a:lnTo>
                                  <a:pt x="0" y="2135"/>
                                </a:lnTo>
                                <a:lnTo>
                                  <a:pt x="0" y="0"/>
                                </a:lnTo>
                                <a:lnTo>
                                  <a:pt x="1884"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3" name="Freeform: Shape 4732">
                            <a:extLst>
                              <a:ext uri="{FF2B5EF4-FFF2-40B4-BE49-F238E27FC236}">
                                <a16:creationId xmlns:a16="http://schemas.microsoft.com/office/drawing/2014/main" id="{1FED963D-1893-4AC2-9547-2FC5CB89F4CD}"/>
                              </a:ext>
                            </a:extLst>
                          </p:cNvPr>
                          <p:cNvSpPr/>
                          <p:nvPr/>
                        </p:nvSpPr>
                        <p:spPr>
                          <a:xfrm>
                            <a:off x="9130871" y="2268720"/>
                            <a:ext cx="1758" cy="3265"/>
                          </a:xfrm>
                          <a:custGeom>
                            <a:avLst/>
                            <a:gdLst>
                              <a:gd name="connsiteX0" fmla="*/ 1759 w 1758"/>
                              <a:gd name="connsiteY0" fmla="*/ 3265 h 3265"/>
                              <a:gd name="connsiteX1" fmla="*/ 0 w 1758"/>
                              <a:gd name="connsiteY1" fmla="*/ 2135 h 3265"/>
                              <a:gd name="connsiteX2" fmla="*/ 0 w 1758"/>
                              <a:gd name="connsiteY2" fmla="*/ 0 h 3265"/>
                              <a:gd name="connsiteX3" fmla="*/ 1759 w 1758"/>
                              <a:gd name="connsiteY3" fmla="*/ 1130 h 3265"/>
                            </a:gdLst>
                            <a:ahLst/>
                            <a:cxnLst>
                              <a:cxn ang="0">
                                <a:pos x="connsiteX0" y="connsiteY0"/>
                              </a:cxn>
                              <a:cxn ang="0">
                                <a:pos x="connsiteX1" y="connsiteY1"/>
                              </a:cxn>
                              <a:cxn ang="0">
                                <a:pos x="connsiteX2" y="connsiteY2"/>
                              </a:cxn>
                              <a:cxn ang="0">
                                <a:pos x="connsiteX3" y="connsiteY3"/>
                              </a:cxn>
                            </a:cxnLst>
                            <a:rect l="l" t="t" r="r" b="b"/>
                            <a:pathLst>
                              <a:path w="1758" h="3265">
                                <a:moveTo>
                                  <a:pt x="1759" y="3265"/>
                                </a:moveTo>
                                <a:lnTo>
                                  <a:pt x="0" y="2135"/>
                                </a:lnTo>
                                <a:lnTo>
                                  <a:pt x="0" y="0"/>
                                </a:lnTo>
                                <a:lnTo>
                                  <a:pt x="1759"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4" name="Freeform: Shape 4733">
                            <a:extLst>
                              <a:ext uri="{FF2B5EF4-FFF2-40B4-BE49-F238E27FC236}">
                                <a16:creationId xmlns:a16="http://schemas.microsoft.com/office/drawing/2014/main" id="{EFA3A388-95FC-4ACD-AB96-A324DA2134E8}"/>
                              </a:ext>
                            </a:extLst>
                          </p:cNvPr>
                          <p:cNvSpPr/>
                          <p:nvPr/>
                        </p:nvSpPr>
                        <p:spPr>
                          <a:xfrm>
                            <a:off x="9134513" y="2270855"/>
                            <a:ext cx="1884" cy="3265"/>
                          </a:xfrm>
                          <a:custGeom>
                            <a:avLst/>
                            <a:gdLst>
                              <a:gd name="connsiteX0" fmla="*/ 1884 w 1884"/>
                              <a:gd name="connsiteY0" fmla="*/ 3265 h 3265"/>
                              <a:gd name="connsiteX1" fmla="*/ 0 w 1884"/>
                              <a:gd name="connsiteY1" fmla="*/ 2135 h 3265"/>
                              <a:gd name="connsiteX2" fmla="*/ 0 w 1884"/>
                              <a:gd name="connsiteY2" fmla="*/ 0 h 3265"/>
                              <a:gd name="connsiteX3" fmla="*/ 1884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1884" y="3265"/>
                                </a:moveTo>
                                <a:lnTo>
                                  <a:pt x="0" y="2135"/>
                                </a:lnTo>
                                <a:lnTo>
                                  <a:pt x="0" y="0"/>
                                </a:lnTo>
                                <a:lnTo>
                                  <a:pt x="1884"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5" name="Freeform: Shape 4734">
                            <a:extLst>
                              <a:ext uri="{FF2B5EF4-FFF2-40B4-BE49-F238E27FC236}">
                                <a16:creationId xmlns:a16="http://schemas.microsoft.com/office/drawing/2014/main" id="{1CEB0037-9550-4B6E-B04A-695E58D7119D}"/>
                              </a:ext>
                            </a:extLst>
                          </p:cNvPr>
                          <p:cNvSpPr/>
                          <p:nvPr/>
                        </p:nvSpPr>
                        <p:spPr>
                          <a:xfrm>
                            <a:off x="9138156" y="2272990"/>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130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736" name="Graphic 4">
                    <a:extLst>
                      <a:ext uri="{FF2B5EF4-FFF2-40B4-BE49-F238E27FC236}">
                        <a16:creationId xmlns:a16="http://schemas.microsoft.com/office/drawing/2014/main" id="{84FB7ED1-A2DF-40A1-A747-5F7CF3F14040}"/>
                      </a:ext>
                    </a:extLst>
                  </p:cNvPr>
                  <p:cNvGrpSpPr/>
                  <p:nvPr/>
                </p:nvGrpSpPr>
                <p:grpSpPr>
                  <a:xfrm>
                    <a:off x="9162521" y="2205043"/>
                    <a:ext cx="169301" cy="151467"/>
                    <a:chOff x="9162521" y="2205043"/>
                    <a:chExt cx="169301" cy="151467"/>
                  </a:xfrm>
                  <a:solidFill>
                    <a:schemeClr val="accent1"/>
                  </a:solidFill>
                </p:grpSpPr>
                <p:grpSp>
                  <p:nvGrpSpPr>
                    <p:cNvPr id="4737" name="Graphic 4">
                      <a:extLst>
                        <a:ext uri="{FF2B5EF4-FFF2-40B4-BE49-F238E27FC236}">
                          <a16:creationId xmlns:a16="http://schemas.microsoft.com/office/drawing/2014/main" id="{84FB7ED1-A2DF-40A1-A747-5F7CF3F14040}"/>
                        </a:ext>
                      </a:extLst>
                    </p:cNvPr>
                    <p:cNvGrpSpPr/>
                    <p:nvPr/>
                  </p:nvGrpSpPr>
                  <p:grpSpPr>
                    <a:xfrm>
                      <a:off x="9162521" y="2247243"/>
                      <a:ext cx="169301" cy="109267"/>
                      <a:chOff x="9162521" y="2247243"/>
                      <a:chExt cx="169301" cy="109267"/>
                    </a:xfrm>
                    <a:solidFill>
                      <a:schemeClr val="accent1"/>
                    </a:solidFill>
                  </p:grpSpPr>
                  <p:grpSp>
                    <p:nvGrpSpPr>
                      <p:cNvPr id="4738" name="Graphic 4">
                        <a:extLst>
                          <a:ext uri="{FF2B5EF4-FFF2-40B4-BE49-F238E27FC236}">
                            <a16:creationId xmlns:a16="http://schemas.microsoft.com/office/drawing/2014/main" id="{84FB7ED1-A2DF-40A1-A747-5F7CF3F14040}"/>
                          </a:ext>
                        </a:extLst>
                      </p:cNvPr>
                      <p:cNvGrpSpPr/>
                      <p:nvPr/>
                    </p:nvGrpSpPr>
                    <p:grpSpPr>
                      <a:xfrm>
                        <a:off x="9162521" y="2250006"/>
                        <a:ext cx="169301" cy="97712"/>
                        <a:chOff x="9162521" y="2250006"/>
                        <a:chExt cx="169301" cy="97712"/>
                      </a:xfrm>
                      <a:solidFill>
                        <a:schemeClr val="accent1"/>
                      </a:solidFill>
                    </p:grpSpPr>
                    <p:sp>
                      <p:nvSpPr>
                        <p:cNvPr id="4739" name="Freeform: Shape 4738">
                          <a:extLst>
                            <a:ext uri="{FF2B5EF4-FFF2-40B4-BE49-F238E27FC236}">
                              <a16:creationId xmlns:a16="http://schemas.microsoft.com/office/drawing/2014/main" id="{1F09EB3C-8536-4EA8-ABED-2B4B224FC122}"/>
                            </a:ext>
                          </a:extLst>
                        </p:cNvPr>
                        <p:cNvSpPr/>
                        <p:nvPr/>
                      </p:nvSpPr>
                      <p:spPr>
                        <a:xfrm>
                          <a:off x="9162521" y="2250006"/>
                          <a:ext cx="90930" cy="52498"/>
                        </a:xfrm>
                        <a:custGeom>
                          <a:avLst/>
                          <a:gdLst>
                            <a:gd name="connsiteX0" fmla="*/ 7159 w 90930"/>
                            <a:gd name="connsiteY0" fmla="*/ 52499 h 52498"/>
                            <a:gd name="connsiteX1" fmla="*/ 0 w 90930"/>
                            <a:gd name="connsiteY1" fmla="*/ 48354 h 52498"/>
                            <a:gd name="connsiteX2" fmla="*/ 83897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897" y="0"/>
                              </a:lnTo>
                              <a:lnTo>
                                <a:pt x="90931"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0" name="Freeform: Shape 4739">
                          <a:extLst>
                            <a:ext uri="{FF2B5EF4-FFF2-40B4-BE49-F238E27FC236}">
                              <a16:creationId xmlns:a16="http://schemas.microsoft.com/office/drawing/2014/main" id="{9A85AF2B-1C67-4C3B-B50E-9691280EF9C4}"/>
                            </a:ext>
                          </a:extLst>
                        </p:cNvPr>
                        <p:cNvSpPr/>
                        <p:nvPr/>
                      </p:nvSpPr>
                      <p:spPr>
                        <a:xfrm>
                          <a:off x="9240892" y="2295220"/>
                          <a:ext cx="90930" cy="52498"/>
                        </a:xfrm>
                        <a:custGeom>
                          <a:avLst/>
                          <a:gdLst>
                            <a:gd name="connsiteX0" fmla="*/ 7159 w 90930"/>
                            <a:gd name="connsiteY0" fmla="*/ 52499 h 52498"/>
                            <a:gd name="connsiteX1" fmla="*/ 0 w 90930"/>
                            <a:gd name="connsiteY1" fmla="*/ 48354 h 52498"/>
                            <a:gd name="connsiteX2" fmla="*/ 83772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772" y="0"/>
                              </a:lnTo>
                              <a:lnTo>
                                <a:pt x="90931" y="4145"/>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1" name="Freeform: Shape 4740">
                          <a:extLst>
                            <a:ext uri="{FF2B5EF4-FFF2-40B4-BE49-F238E27FC236}">
                              <a16:creationId xmlns:a16="http://schemas.microsoft.com/office/drawing/2014/main" id="{FA0D369D-A6F4-467B-B055-A39E556404B6}"/>
                            </a:ext>
                          </a:extLst>
                        </p:cNvPr>
                        <p:cNvSpPr/>
                        <p:nvPr/>
                      </p:nvSpPr>
                      <p:spPr>
                        <a:xfrm>
                          <a:off x="9201707" y="2272613"/>
                          <a:ext cx="90930" cy="52498"/>
                        </a:xfrm>
                        <a:custGeom>
                          <a:avLst/>
                          <a:gdLst>
                            <a:gd name="connsiteX0" fmla="*/ 7159 w 90930"/>
                            <a:gd name="connsiteY0" fmla="*/ 52499 h 52498"/>
                            <a:gd name="connsiteX1" fmla="*/ 0 w 90930"/>
                            <a:gd name="connsiteY1" fmla="*/ 48354 h 52498"/>
                            <a:gd name="connsiteX2" fmla="*/ 83772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772" y="0"/>
                              </a:lnTo>
                              <a:lnTo>
                                <a:pt x="90931"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42" name="Freeform: Shape 4741">
                        <a:extLst>
                          <a:ext uri="{FF2B5EF4-FFF2-40B4-BE49-F238E27FC236}">
                            <a16:creationId xmlns:a16="http://schemas.microsoft.com/office/drawing/2014/main" id="{F70489D2-6A92-4A46-91BA-E8D53244E32A}"/>
                          </a:ext>
                        </a:extLst>
                      </p:cNvPr>
                      <p:cNvSpPr/>
                      <p:nvPr/>
                    </p:nvSpPr>
                    <p:spPr>
                      <a:xfrm>
                        <a:off x="9169680" y="2254151"/>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3" name="Freeform: Shape 4742">
                        <a:extLst>
                          <a:ext uri="{FF2B5EF4-FFF2-40B4-BE49-F238E27FC236}">
                            <a16:creationId xmlns:a16="http://schemas.microsoft.com/office/drawing/2014/main" id="{6A12A1AB-DE01-4A6F-B6EC-EB62BCA0D14C}"/>
                          </a:ext>
                        </a:extLst>
                      </p:cNvPr>
                      <p:cNvSpPr/>
                      <p:nvPr/>
                    </p:nvSpPr>
                    <p:spPr>
                      <a:xfrm>
                        <a:off x="9240892" y="2343574"/>
                        <a:ext cx="7158" cy="12936"/>
                      </a:xfrm>
                      <a:custGeom>
                        <a:avLst/>
                        <a:gdLst>
                          <a:gd name="connsiteX0" fmla="*/ 7159 w 7158"/>
                          <a:gd name="connsiteY0" fmla="*/ 12936 h 12936"/>
                          <a:gd name="connsiteX1" fmla="*/ 0 w 7158"/>
                          <a:gd name="connsiteY1" fmla="*/ 8792 h 12936"/>
                          <a:gd name="connsiteX2" fmla="*/ 0 w 7158"/>
                          <a:gd name="connsiteY2" fmla="*/ 0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7159" y="12936"/>
                            </a:moveTo>
                            <a:lnTo>
                              <a:pt x="0" y="8792"/>
                            </a:lnTo>
                            <a:lnTo>
                              <a:pt x="0" y="0"/>
                            </a:lnTo>
                            <a:lnTo>
                              <a:pt x="7159" y="4145"/>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4" name="Freeform: Shape 4743">
                        <a:extLst>
                          <a:ext uri="{FF2B5EF4-FFF2-40B4-BE49-F238E27FC236}">
                            <a16:creationId xmlns:a16="http://schemas.microsoft.com/office/drawing/2014/main" id="{20B8156D-14C0-4E24-9D6D-DA5436577B96}"/>
                          </a:ext>
                        </a:extLst>
                      </p:cNvPr>
                      <p:cNvSpPr/>
                      <p:nvPr/>
                    </p:nvSpPr>
                    <p:spPr>
                      <a:xfrm>
                        <a:off x="9248051" y="2299365"/>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5" name="Freeform: Shape 4744">
                        <a:extLst>
                          <a:ext uri="{FF2B5EF4-FFF2-40B4-BE49-F238E27FC236}">
                            <a16:creationId xmlns:a16="http://schemas.microsoft.com/office/drawing/2014/main" id="{03225ED2-9116-4C1A-9744-977D40EBF48B}"/>
                          </a:ext>
                        </a:extLst>
                      </p:cNvPr>
                      <p:cNvSpPr/>
                      <p:nvPr/>
                    </p:nvSpPr>
                    <p:spPr>
                      <a:xfrm>
                        <a:off x="9208866" y="2276758"/>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46" name="Graphic 4">
                        <a:extLst>
                          <a:ext uri="{FF2B5EF4-FFF2-40B4-BE49-F238E27FC236}">
                            <a16:creationId xmlns:a16="http://schemas.microsoft.com/office/drawing/2014/main" id="{84FB7ED1-A2DF-40A1-A747-5F7CF3F14040}"/>
                          </a:ext>
                        </a:extLst>
                      </p:cNvPr>
                      <p:cNvGrpSpPr/>
                      <p:nvPr/>
                    </p:nvGrpSpPr>
                    <p:grpSpPr>
                      <a:xfrm>
                        <a:off x="9162521" y="2288438"/>
                        <a:ext cx="97838" cy="59280"/>
                        <a:chOff x="9162521" y="2288438"/>
                        <a:chExt cx="97838" cy="59280"/>
                      </a:xfrm>
                      <a:solidFill>
                        <a:schemeClr val="accent1"/>
                      </a:solidFill>
                    </p:grpSpPr>
                    <p:sp>
                      <p:nvSpPr>
                        <p:cNvPr id="4747" name="Freeform: Shape 4746">
                          <a:extLst>
                            <a:ext uri="{FF2B5EF4-FFF2-40B4-BE49-F238E27FC236}">
                              <a16:creationId xmlns:a16="http://schemas.microsoft.com/office/drawing/2014/main" id="{B02F6ADA-6135-44D8-891C-C3E77BF8E977}"/>
                            </a:ext>
                          </a:extLst>
                        </p:cNvPr>
                        <p:cNvSpPr/>
                        <p:nvPr/>
                      </p:nvSpPr>
                      <p:spPr>
                        <a:xfrm>
                          <a:off x="9162521" y="2288438"/>
                          <a:ext cx="97838" cy="56517"/>
                        </a:xfrm>
                        <a:custGeom>
                          <a:avLst/>
                          <a:gdLst>
                            <a:gd name="connsiteX0" fmla="*/ 97838 w 97838"/>
                            <a:gd name="connsiteY0" fmla="*/ 49359 h 56517"/>
                            <a:gd name="connsiteX1" fmla="*/ 85530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530"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8" name="Freeform: Shape 4747">
                          <a:extLst>
                            <a:ext uri="{FF2B5EF4-FFF2-40B4-BE49-F238E27FC236}">
                              <a16:creationId xmlns:a16="http://schemas.microsoft.com/office/drawing/2014/main" id="{62C5CE43-F6F8-4F4B-985B-DB9B14211604}"/>
                            </a:ext>
                          </a:extLst>
                        </p:cNvPr>
                        <p:cNvSpPr/>
                        <p:nvPr/>
                      </p:nvSpPr>
                      <p:spPr>
                        <a:xfrm>
                          <a:off x="9162521" y="2295597"/>
                          <a:ext cx="85530" cy="52121"/>
                        </a:xfrm>
                        <a:custGeom>
                          <a:avLst/>
                          <a:gdLst>
                            <a:gd name="connsiteX0" fmla="*/ 0 w 85530"/>
                            <a:gd name="connsiteY0" fmla="*/ 0 h 52121"/>
                            <a:gd name="connsiteX1" fmla="*/ 0 w 85530"/>
                            <a:gd name="connsiteY1" fmla="*/ 2763 h 52121"/>
                            <a:gd name="connsiteX2" fmla="*/ 85530 w 85530"/>
                            <a:gd name="connsiteY2" fmla="*/ 52122 h 52121"/>
                            <a:gd name="connsiteX3" fmla="*/ 85530 w 85530"/>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530" h="52121">
                              <a:moveTo>
                                <a:pt x="0" y="0"/>
                              </a:moveTo>
                              <a:lnTo>
                                <a:pt x="0" y="2763"/>
                              </a:lnTo>
                              <a:lnTo>
                                <a:pt x="85530" y="52122"/>
                              </a:lnTo>
                              <a:lnTo>
                                <a:pt x="85530" y="49359"/>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9" name="Freeform: Shape 4748">
                          <a:extLst>
                            <a:ext uri="{FF2B5EF4-FFF2-40B4-BE49-F238E27FC236}">
                              <a16:creationId xmlns:a16="http://schemas.microsoft.com/office/drawing/2014/main" id="{88934ED7-B812-4172-8E6E-076DF9035B2D}"/>
                            </a:ext>
                          </a:extLst>
                        </p:cNvPr>
                        <p:cNvSpPr/>
                        <p:nvPr/>
                      </p:nvSpPr>
                      <p:spPr>
                        <a:xfrm>
                          <a:off x="9248051" y="2337797"/>
                          <a:ext cx="12308" cy="9921"/>
                        </a:xfrm>
                        <a:custGeom>
                          <a:avLst/>
                          <a:gdLst>
                            <a:gd name="connsiteX0" fmla="*/ 0 w 12308"/>
                            <a:gd name="connsiteY0" fmla="*/ 7159 h 9921"/>
                            <a:gd name="connsiteX1" fmla="*/ 0 w 12308"/>
                            <a:gd name="connsiteY1" fmla="*/ 9922 h 9921"/>
                            <a:gd name="connsiteX2" fmla="*/ 12308 w 12308"/>
                            <a:gd name="connsiteY2" fmla="*/ 2763 h 9921"/>
                            <a:gd name="connsiteX3" fmla="*/ 12308 w 12308"/>
                            <a:gd name="connsiteY3" fmla="*/ 0 h 9921"/>
                          </a:gdLst>
                          <a:ahLst/>
                          <a:cxnLst>
                            <a:cxn ang="0">
                              <a:pos x="connsiteX0" y="connsiteY0"/>
                            </a:cxn>
                            <a:cxn ang="0">
                              <a:pos x="connsiteX1" y="connsiteY1"/>
                            </a:cxn>
                            <a:cxn ang="0">
                              <a:pos x="connsiteX2" y="connsiteY2"/>
                            </a:cxn>
                            <a:cxn ang="0">
                              <a:pos x="connsiteX3" y="connsiteY3"/>
                            </a:cxn>
                          </a:cxnLst>
                          <a:rect l="l" t="t" r="r" b="b"/>
                          <a:pathLst>
                            <a:path w="12308" h="9921">
                              <a:moveTo>
                                <a:pt x="0" y="7159"/>
                              </a:moveTo>
                              <a:lnTo>
                                <a:pt x="0" y="9922"/>
                              </a:lnTo>
                              <a:lnTo>
                                <a:pt x="12308" y="2763"/>
                              </a:lnTo>
                              <a:lnTo>
                                <a:pt x="12308"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50" name="Graphic 4">
                        <a:extLst>
                          <a:ext uri="{FF2B5EF4-FFF2-40B4-BE49-F238E27FC236}">
                            <a16:creationId xmlns:a16="http://schemas.microsoft.com/office/drawing/2014/main" id="{84FB7ED1-A2DF-40A1-A747-5F7CF3F14040}"/>
                          </a:ext>
                        </a:extLst>
                      </p:cNvPr>
                      <p:cNvGrpSpPr/>
                      <p:nvPr/>
                    </p:nvGrpSpPr>
                    <p:grpSpPr>
                      <a:xfrm>
                        <a:off x="9180355" y="2278139"/>
                        <a:ext cx="97838" cy="59280"/>
                        <a:chOff x="9180355" y="2278139"/>
                        <a:chExt cx="97838" cy="59280"/>
                      </a:xfrm>
                      <a:solidFill>
                        <a:schemeClr val="accent1"/>
                      </a:solidFill>
                    </p:grpSpPr>
                    <p:sp>
                      <p:nvSpPr>
                        <p:cNvPr id="4751" name="Freeform: Shape 4750">
                          <a:extLst>
                            <a:ext uri="{FF2B5EF4-FFF2-40B4-BE49-F238E27FC236}">
                              <a16:creationId xmlns:a16="http://schemas.microsoft.com/office/drawing/2014/main" id="{C5499128-55F5-4544-9D8B-57091A38C647}"/>
                            </a:ext>
                          </a:extLst>
                        </p:cNvPr>
                        <p:cNvSpPr/>
                        <p:nvPr/>
                      </p:nvSpPr>
                      <p:spPr>
                        <a:xfrm>
                          <a:off x="9180355" y="2278139"/>
                          <a:ext cx="97838" cy="56517"/>
                        </a:xfrm>
                        <a:custGeom>
                          <a:avLst/>
                          <a:gdLst>
                            <a:gd name="connsiteX0" fmla="*/ 97838 w 97838"/>
                            <a:gd name="connsiteY0" fmla="*/ 49359 h 56517"/>
                            <a:gd name="connsiteX1" fmla="*/ 85530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530"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2" name="Freeform: Shape 4751">
                          <a:extLst>
                            <a:ext uri="{FF2B5EF4-FFF2-40B4-BE49-F238E27FC236}">
                              <a16:creationId xmlns:a16="http://schemas.microsoft.com/office/drawing/2014/main" id="{BD033524-C25C-4DFD-9D77-B2B33E700455}"/>
                            </a:ext>
                          </a:extLst>
                        </p:cNvPr>
                        <p:cNvSpPr/>
                        <p:nvPr/>
                      </p:nvSpPr>
                      <p:spPr>
                        <a:xfrm>
                          <a:off x="9180355" y="2285298"/>
                          <a:ext cx="85530" cy="52121"/>
                        </a:xfrm>
                        <a:custGeom>
                          <a:avLst/>
                          <a:gdLst>
                            <a:gd name="connsiteX0" fmla="*/ 0 w 85530"/>
                            <a:gd name="connsiteY0" fmla="*/ 0 h 52121"/>
                            <a:gd name="connsiteX1" fmla="*/ 0 w 85530"/>
                            <a:gd name="connsiteY1" fmla="*/ 2763 h 52121"/>
                            <a:gd name="connsiteX2" fmla="*/ 85530 w 85530"/>
                            <a:gd name="connsiteY2" fmla="*/ 52122 h 52121"/>
                            <a:gd name="connsiteX3" fmla="*/ 85530 w 85530"/>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530" h="52121">
                              <a:moveTo>
                                <a:pt x="0" y="0"/>
                              </a:moveTo>
                              <a:lnTo>
                                <a:pt x="0" y="2763"/>
                              </a:lnTo>
                              <a:lnTo>
                                <a:pt x="85530" y="52122"/>
                              </a:lnTo>
                              <a:lnTo>
                                <a:pt x="85530"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3" name="Freeform: Shape 4752">
                          <a:extLst>
                            <a:ext uri="{FF2B5EF4-FFF2-40B4-BE49-F238E27FC236}">
                              <a16:creationId xmlns:a16="http://schemas.microsoft.com/office/drawing/2014/main" id="{EBE751F6-2617-4D33-8A7C-0BB6B3223108}"/>
                            </a:ext>
                          </a:extLst>
                        </p:cNvPr>
                        <p:cNvSpPr/>
                        <p:nvPr/>
                      </p:nvSpPr>
                      <p:spPr>
                        <a:xfrm>
                          <a:off x="9265885" y="2327498"/>
                          <a:ext cx="12308" cy="9921"/>
                        </a:xfrm>
                        <a:custGeom>
                          <a:avLst/>
                          <a:gdLst>
                            <a:gd name="connsiteX0" fmla="*/ 0 w 12308"/>
                            <a:gd name="connsiteY0" fmla="*/ 7159 h 9921"/>
                            <a:gd name="connsiteX1" fmla="*/ 0 w 12308"/>
                            <a:gd name="connsiteY1" fmla="*/ 9922 h 9921"/>
                            <a:gd name="connsiteX2" fmla="*/ 12308 w 12308"/>
                            <a:gd name="connsiteY2" fmla="*/ 2763 h 9921"/>
                            <a:gd name="connsiteX3" fmla="*/ 12308 w 12308"/>
                            <a:gd name="connsiteY3" fmla="*/ 0 h 9921"/>
                          </a:gdLst>
                          <a:ahLst/>
                          <a:cxnLst>
                            <a:cxn ang="0">
                              <a:pos x="connsiteX0" y="connsiteY0"/>
                            </a:cxn>
                            <a:cxn ang="0">
                              <a:pos x="connsiteX1" y="connsiteY1"/>
                            </a:cxn>
                            <a:cxn ang="0">
                              <a:pos x="connsiteX2" y="connsiteY2"/>
                            </a:cxn>
                            <a:cxn ang="0">
                              <a:pos x="connsiteX3" y="connsiteY3"/>
                            </a:cxn>
                          </a:cxnLst>
                          <a:rect l="l" t="t" r="r" b="b"/>
                          <a:pathLst>
                            <a:path w="12308" h="9921">
                              <a:moveTo>
                                <a:pt x="0" y="7159"/>
                              </a:moveTo>
                              <a:lnTo>
                                <a:pt x="0" y="9922"/>
                              </a:lnTo>
                              <a:lnTo>
                                <a:pt x="12308" y="2763"/>
                              </a:lnTo>
                              <a:lnTo>
                                <a:pt x="12308"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54" name="Graphic 4">
                        <a:extLst>
                          <a:ext uri="{FF2B5EF4-FFF2-40B4-BE49-F238E27FC236}">
                            <a16:creationId xmlns:a16="http://schemas.microsoft.com/office/drawing/2014/main" id="{84FB7ED1-A2DF-40A1-A747-5F7CF3F14040}"/>
                          </a:ext>
                        </a:extLst>
                      </p:cNvPr>
                      <p:cNvGrpSpPr/>
                      <p:nvPr/>
                    </p:nvGrpSpPr>
                    <p:grpSpPr>
                      <a:xfrm>
                        <a:off x="9198315" y="2267840"/>
                        <a:ext cx="97838" cy="59280"/>
                        <a:chOff x="9198315" y="2267840"/>
                        <a:chExt cx="97838" cy="59280"/>
                      </a:xfrm>
                      <a:solidFill>
                        <a:schemeClr val="accent1"/>
                      </a:solidFill>
                    </p:grpSpPr>
                    <p:sp>
                      <p:nvSpPr>
                        <p:cNvPr id="4755" name="Freeform: Shape 4754">
                          <a:extLst>
                            <a:ext uri="{FF2B5EF4-FFF2-40B4-BE49-F238E27FC236}">
                              <a16:creationId xmlns:a16="http://schemas.microsoft.com/office/drawing/2014/main" id="{469EABB7-1339-4458-872B-DCA1AE1D6BEF}"/>
                            </a:ext>
                          </a:extLst>
                        </p:cNvPr>
                        <p:cNvSpPr/>
                        <p:nvPr/>
                      </p:nvSpPr>
                      <p:spPr>
                        <a:xfrm>
                          <a:off x="9198315" y="2267840"/>
                          <a:ext cx="97838" cy="56517"/>
                        </a:xfrm>
                        <a:custGeom>
                          <a:avLst/>
                          <a:gdLst>
                            <a:gd name="connsiteX0" fmla="*/ 97839 w 97838"/>
                            <a:gd name="connsiteY0" fmla="*/ 49359 h 56517"/>
                            <a:gd name="connsiteX1" fmla="*/ 85404 w 97838"/>
                            <a:gd name="connsiteY1" fmla="*/ 56518 h 56517"/>
                            <a:gd name="connsiteX2" fmla="*/ 0 w 97838"/>
                            <a:gd name="connsiteY2" fmla="*/ 7159 h 56517"/>
                            <a:gd name="connsiteX3" fmla="*/ 12309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4" y="56518"/>
                              </a:lnTo>
                              <a:lnTo>
                                <a:pt x="0" y="7159"/>
                              </a:lnTo>
                              <a:lnTo>
                                <a:pt x="1230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6" name="Freeform: Shape 4755">
                          <a:extLst>
                            <a:ext uri="{FF2B5EF4-FFF2-40B4-BE49-F238E27FC236}">
                              <a16:creationId xmlns:a16="http://schemas.microsoft.com/office/drawing/2014/main" id="{E4F30896-FBF1-4FDD-B2A4-44AA60A19F5B}"/>
                            </a:ext>
                          </a:extLst>
                        </p:cNvPr>
                        <p:cNvSpPr/>
                        <p:nvPr/>
                      </p:nvSpPr>
                      <p:spPr>
                        <a:xfrm>
                          <a:off x="9198315" y="2274999"/>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7" name="Freeform: Shape 4756">
                          <a:extLst>
                            <a:ext uri="{FF2B5EF4-FFF2-40B4-BE49-F238E27FC236}">
                              <a16:creationId xmlns:a16="http://schemas.microsoft.com/office/drawing/2014/main" id="{AF831F6B-6F6E-4FAA-AE98-BE6EE473E956}"/>
                            </a:ext>
                          </a:extLst>
                        </p:cNvPr>
                        <p:cNvSpPr/>
                        <p:nvPr/>
                      </p:nvSpPr>
                      <p:spPr>
                        <a:xfrm>
                          <a:off x="9283720" y="2317199"/>
                          <a:ext cx="12434" cy="9921"/>
                        </a:xfrm>
                        <a:custGeom>
                          <a:avLst/>
                          <a:gdLst>
                            <a:gd name="connsiteX0" fmla="*/ 0 w 12434"/>
                            <a:gd name="connsiteY0" fmla="*/ 7159 h 9921"/>
                            <a:gd name="connsiteX1" fmla="*/ 0 w 12434"/>
                            <a:gd name="connsiteY1" fmla="*/ 9922 h 9921"/>
                            <a:gd name="connsiteX2" fmla="*/ 12435 w 12434"/>
                            <a:gd name="connsiteY2" fmla="*/ 2763 h 9921"/>
                            <a:gd name="connsiteX3" fmla="*/ 12435 w 12434"/>
                            <a:gd name="connsiteY3" fmla="*/ 0 h 9921"/>
                          </a:gdLst>
                          <a:ahLst/>
                          <a:cxnLst>
                            <a:cxn ang="0">
                              <a:pos x="connsiteX0" y="connsiteY0"/>
                            </a:cxn>
                            <a:cxn ang="0">
                              <a:pos x="connsiteX1" y="connsiteY1"/>
                            </a:cxn>
                            <a:cxn ang="0">
                              <a:pos x="connsiteX2" y="connsiteY2"/>
                            </a:cxn>
                            <a:cxn ang="0">
                              <a:pos x="connsiteX3" y="connsiteY3"/>
                            </a:cxn>
                          </a:cxnLst>
                          <a:rect l="l" t="t" r="r" b="b"/>
                          <a:pathLst>
                            <a:path w="12434" h="9921">
                              <a:moveTo>
                                <a:pt x="0" y="7159"/>
                              </a:moveTo>
                              <a:lnTo>
                                <a:pt x="0" y="9922"/>
                              </a:lnTo>
                              <a:lnTo>
                                <a:pt x="12435" y="2763"/>
                              </a:lnTo>
                              <a:lnTo>
                                <a:pt x="12435"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58" name="Graphic 4">
                        <a:extLst>
                          <a:ext uri="{FF2B5EF4-FFF2-40B4-BE49-F238E27FC236}">
                            <a16:creationId xmlns:a16="http://schemas.microsoft.com/office/drawing/2014/main" id="{84FB7ED1-A2DF-40A1-A747-5F7CF3F14040}"/>
                          </a:ext>
                        </a:extLst>
                      </p:cNvPr>
                      <p:cNvGrpSpPr/>
                      <p:nvPr/>
                    </p:nvGrpSpPr>
                    <p:grpSpPr>
                      <a:xfrm>
                        <a:off x="9216150" y="2257542"/>
                        <a:ext cx="97838" cy="59280"/>
                        <a:chOff x="9216150" y="2257542"/>
                        <a:chExt cx="97838" cy="59280"/>
                      </a:xfrm>
                      <a:solidFill>
                        <a:schemeClr val="accent1"/>
                      </a:solidFill>
                    </p:grpSpPr>
                    <p:sp>
                      <p:nvSpPr>
                        <p:cNvPr id="4759" name="Freeform: Shape 4758">
                          <a:extLst>
                            <a:ext uri="{FF2B5EF4-FFF2-40B4-BE49-F238E27FC236}">
                              <a16:creationId xmlns:a16="http://schemas.microsoft.com/office/drawing/2014/main" id="{6BD56EFF-E284-4046-B8CD-397DEEC0572E}"/>
                            </a:ext>
                          </a:extLst>
                        </p:cNvPr>
                        <p:cNvSpPr/>
                        <p:nvPr/>
                      </p:nvSpPr>
                      <p:spPr>
                        <a:xfrm>
                          <a:off x="9216150" y="2257542"/>
                          <a:ext cx="97838" cy="56517"/>
                        </a:xfrm>
                        <a:custGeom>
                          <a:avLst/>
                          <a:gdLst>
                            <a:gd name="connsiteX0" fmla="*/ 97839 w 97838"/>
                            <a:gd name="connsiteY0" fmla="*/ 49359 h 56517"/>
                            <a:gd name="connsiteX1" fmla="*/ 85405 w 97838"/>
                            <a:gd name="connsiteY1" fmla="*/ 56518 h 56517"/>
                            <a:gd name="connsiteX2" fmla="*/ 0 w 97838"/>
                            <a:gd name="connsiteY2" fmla="*/ 7159 h 56517"/>
                            <a:gd name="connsiteX3" fmla="*/ 12309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5" y="56518"/>
                              </a:lnTo>
                              <a:lnTo>
                                <a:pt x="0" y="7159"/>
                              </a:lnTo>
                              <a:lnTo>
                                <a:pt x="1230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0" name="Freeform: Shape 4759">
                          <a:extLst>
                            <a:ext uri="{FF2B5EF4-FFF2-40B4-BE49-F238E27FC236}">
                              <a16:creationId xmlns:a16="http://schemas.microsoft.com/office/drawing/2014/main" id="{BBB3515A-7A12-4D03-A9EE-058A124A5FC4}"/>
                            </a:ext>
                          </a:extLst>
                        </p:cNvPr>
                        <p:cNvSpPr/>
                        <p:nvPr/>
                      </p:nvSpPr>
                      <p:spPr>
                        <a:xfrm>
                          <a:off x="9216150" y="2264701"/>
                          <a:ext cx="85405" cy="52121"/>
                        </a:xfrm>
                        <a:custGeom>
                          <a:avLst/>
                          <a:gdLst>
                            <a:gd name="connsiteX0" fmla="*/ 0 w 85405"/>
                            <a:gd name="connsiteY0" fmla="*/ 0 h 52121"/>
                            <a:gd name="connsiteX1" fmla="*/ 0 w 85405"/>
                            <a:gd name="connsiteY1" fmla="*/ 2763 h 52121"/>
                            <a:gd name="connsiteX2" fmla="*/ 85405 w 85405"/>
                            <a:gd name="connsiteY2" fmla="*/ 52122 h 52121"/>
                            <a:gd name="connsiteX3" fmla="*/ 85405 w 85405"/>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5" h="52121">
                              <a:moveTo>
                                <a:pt x="0" y="0"/>
                              </a:moveTo>
                              <a:lnTo>
                                <a:pt x="0" y="2763"/>
                              </a:lnTo>
                              <a:lnTo>
                                <a:pt x="85405" y="52122"/>
                              </a:lnTo>
                              <a:lnTo>
                                <a:pt x="85405"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1" name="Freeform: Shape 4760">
                          <a:extLst>
                            <a:ext uri="{FF2B5EF4-FFF2-40B4-BE49-F238E27FC236}">
                              <a16:creationId xmlns:a16="http://schemas.microsoft.com/office/drawing/2014/main" id="{27D736C9-0235-4ADC-8D2A-F8514AD3D58D}"/>
                            </a:ext>
                          </a:extLst>
                        </p:cNvPr>
                        <p:cNvSpPr/>
                        <p:nvPr/>
                      </p:nvSpPr>
                      <p:spPr>
                        <a:xfrm>
                          <a:off x="9301555" y="2306900"/>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62" name="Graphic 4">
                        <a:extLst>
                          <a:ext uri="{FF2B5EF4-FFF2-40B4-BE49-F238E27FC236}">
                            <a16:creationId xmlns:a16="http://schemas.microsoft.com/office/drawing/2014/main" id="{84FB7ED1-A2DF-40A1-A747-5F7CF3F14040}"/>
                          </a:ext>
                        </a:extLst>
                      </p:cNvPr>
                      <p:cNvGrpSpPr/>
                      <p:nvPr/>
                    </p:nvGrpSpPr>
                    <p:grpSpPr>
                      <a:xfrm>
                        <a:off x="9233985" y="2247243"/>
                        <a:ext cx="97838" cy="59280"/>
                        <a:chOff x="9233985" y="2247243"/>
                        <a:chExt cx="97838" cy="59280"/>
                      </a:xfrm>
                      <a:solidFill>
                        <a:schemeClr val="accent1"/>
                      </a:solidFill>
                    </p:grpSpPr>
                    <p:sp>
                      <p:nvSpPr>
                        <p:cNvPr id="4763" name="Freeform: Shape 4762">
                          <a:extLst>
                            <a:ext uri="{FF2B5EF4-FFF2-40B4-BE49-F238E27FC236}">
                              <a16:creationId xmlns:a16="http://schemas.microsoft.com/office/drawing/2014/main" id="{B1BF04B6-63AA-4FAA-9BF8-82CB1D5D0DAD}"/>
                            </a:ext>
                          </a:extLst>
                        </p:cNvPr>
                        <p:cNvSpPr/>
                        <p:nvPr/>
                      </p:nvSpPr>
                      <p:spPr>
                        <a:xfrm>
                          <a:off x="9233985" y="2247243"/>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4" name="Freeform: Shape 4763">
                          <a:extLst>
                            <a:ext uri="{FF2B5EF4-FFF2-40B4-BE49-F238E27FC236}">
                              <a16:creationId xmlns:a16="http://schemas.microsoft.com/office/drawing/2014/main" id="{D9D6A47A-1328-40BC-BD68-5773EA3F5D1D}"/>
                            </a:ext>
                          </a:extLst>
                        </p:cNvPr>
                        <p:cNvSpPr/>
                        <p:nvPr/>
                      </p:nvSpPr>
                      <p:spPr>
                        <a:xfrm>
                          <a:off x="9233985" y="2254402"/>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5" name="Freeform: Shape 4764">
                          <a:extLst>
                            <a:ext uri="{FF2B5EF4-FFF2-40B4-BE49-F238E27FC236}">
                              <a16:creationId xmlns:a16="http://schemas.microsoft.com/office/drawing/2014/main" id="{6D5473B0-2842-4ED2-8D15-6512994627E4}"/>
                            </a:ext>
                          </a:extLst>
                        </p:cNvPr>
                        <p:cNvSpPr/>
                        <p:nvPr/>
                      </p:nvSpPr>
                      <p:spPr>
                        <a:xfrm>
                          <a:off x="9319389" y="2296602"/>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66" name="Freeform: Shape 4765">
                        <a:extLst>
                          <a:ext uri="{FF2B5EF4-FFF2-40B4-BE49-F238E27FC236}">
                            <a16:creationId xmlns:a16="http://schemas.microsoft.com/office/drawing/2014/main" id="{57E589FA-3DDD-4529-8873-4A47C527E692}"/>
                          </a:ext>
                        </a:extLst>
                      </p:cNvPr>
                      <p:cNvSpPr/>
                      <p:nvPr/>
                    </p:nvSpPr>
                    <p:spPr>
                      <a:xfrm>
                        <a:off x="9162521" y="2298360"/>
                        <a:ext cx="7158" cy="12936"/>
                      </a:xfrm>
                      <a:custGeom>
                        <a:avLst/>
                        <a:gdLst>
                          <a:gd name="connsiteX0" fmla="*/ 0 w 7158"/>
                          <a:gd name="connsiteY0" fmla="*/ 0 h 12936"/>
                          <a:gd name="connsiteX1" fmla="*/ 0 w 7158"/>
                          <a:gd name="connsiteY1" fmla="*/ 8792 h 12936"/>
                          <a:gd name="connsiteX2" fmla="*/ 7159 w 7158"/>
                          <a:gd name="connsiteY2" fmla="*/ 12936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0" y="0"/>
                            </a:moveTo>
                            <a:lnTo>
                              <a:pt x="0" y="8792"/>
                            </a:lnTo>
                            <a:lnTo>
                              <a:pt x="7159" y="12936"/>
                            </a:lnTo>
                            <a:lnTo>
                              <a:pt x="7159" y="4145"/>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7" name="Freeform: Shape 4766">
                        <a:extLst>
                          <a:ext uri="{FF2B5EF4-FFF2-40B4-BE49-F238E27FC236}">
                            <a16:creationId xmlns:a16="http://schemas.microsoft.com/office/drawing/2014/main" id="{8DC3ACDC-1CF3-4D9B-A8A0-32E6066FFDA5}"/>
                          </a:ext>
                        </a:extLst>
                      </p:cNvPr>
                      <p:cNvSpPr/>
                      <p:nvPr/>
                    </p:nvSpPr>
                    <p:spPr>
                      <a:xfrm>
                        <a:off x="9201707" y="2320967"/>
                        <a:ext cx="7158" cy="12936"/>
                      </a:xfrm>
                      <a:custGeom>
                        <a:avLst/>
                        <a:gdLst>
                          <a:gd name="connsiteX0" fmla="*/ 0 w 7158"/>
                          <a:gd name="connsiteY0" fmla="*/ 0 h 12936"/>
                          <a:gd name="connsiteX1" fmla="*/ 0 w 7158"/>
                          <a:gd name="connsiteY1" fmla="*/ 8792 h 12936"/>
                          <a:gd name="connsiteX2" fmla="*/ 7159 w 7158"/>
                          <a:gd name="connsiteY2" fmla="*/ 12936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0" y="0"/>
                            </a:moveTo>
                            <a:lnTo>
                              <a:pt x="0" y="8792"/>
                            </a:lnTo>
                            <a:lnTo>
                              <a:pt x="7159" y="12936"/>
                            </a:lnTo>
                            <a:lnTo>
                              <a:pt x="7159" y="4145"/>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68" name="Graphic 4">
                      <a:extLst>
                        <a:ext uri="{FF2B5EF4-FFF2-40B4-BE49-F238E27FC236}">
                          <a16:creationId xmlns:a16="http://schemas.microsoft.com/office/drawing/2014/main" id="{84FB7ED1-A2DF-40A1-A747-5F7CF3F14040}"/>
                        </a:ext>
                      </a:extLst>
                    </p:cNvPr>
                    <p:cNvGrpSpPr/>
                    <p:nvPr/>
                  </p:nvGrpSpPr>
                  <p:grpSpPr>
                    <a:xfrm>
                      <a:off x="9168173" y="2205043"/>
                      <a:ext cx="159002" cy="136395"/>
                      <a:chOff x="9168173" y="2205043"/>
                      <a:chExt cx="159002" cy="136395"/>
                    </a:xfrm>
                    <a:solidFill>
                      <a:schemeClr val="accent1"/>
                    </a:solidFill>
                  </p:grpSpPr>
                  <p:grpSp>
                    <p:nvGrpSpPr>
                      <p:cNvPr id="4769" name="Graphic 4">
                        <a:extLst>
                          <a:ext uri="{FF2B5EF4-FFF2-40B4-BE49-F238E27FC236}">
                            <a16:creationId xmlns:a16="http://schemas.microsoft.com/office/drawing/2014/main" id="{84FB7ED1-A2DF-40A1-A747-5F7CF3F14040}"/>
                          </a:ext>
                        </a:extLst>
                      </p:cNvPr>
                      <p:cNvGrpSpPr/>
                      <p:nvPr/>
                    </p:nvGrpSpPr>
                    <p:grpSpPr>
                      <a:xfrm>
                        <a:off x="9209116" y="2205043"/>
                        <a:ext cx="77115" cy="89046"/>
                        <a:chOff x="9209116" y="2205043"/>
                        <a:chExt cx="77115" cy="89046"/>
                      </a:xfrm>
                      <a:solidFill>
                        <a:schemeClr val="accent1"/>
                      </a:solidFill>
                    </p:grpSpPr>
                    <p:grpSp>
                      <p:nvGrpSpPr>
                        <p:cNvPr id="4770" name="Graphic 4">
                          <a:extLst>
                            <a:ext uri="{FF2B5EF4-FFF2-40B4-BE49-F238E27FC236}">
                              <a16:creationId xmlns:a16="http://schemas.microsoft.com/office/drawing/2014/main" id="{84FB7ED1-A2DF-40A1-A747-5F7CF3F14040}"/>
                            </a:ext>
                          </a:extLst>
                        </p:cNvPr>
                        <p:cNvGrpSpPr/>
                        <p:nvPr/>
                      </p:nvGrpSpPr>
                      <p:grpSpPr>
                        <a:xfrm>
                          <a:off x="9209116" y="2205043"/>
                          <a:ext cx="77115" cy="89046"/>
                          <a:chOff x="9209116" y="2205043"/>
                          <a:chExt cx="77115" cy="89046"/>
                        </a:xfrm>
                        <a:solidFill>
                          <a:schemeClr val="accent1"/>
                        </a:solidFill>
                      </p:grpSpPr>
                      <p:sp>
                        <p:nvSpPr>
                          <p:cNvPr id="4771" name="Freeform: Shape 4770">
                            <a:extLst>
                              <a:ext uri="{FF2B5EF4-FFF2-40B4-BE49-F238E27FC236}">
                                <a16:creationId xmlns:a16="http://schemas.microsoft.com/office/drawing/2014/main" id="{0045BF3A-BF5D-48B4-8981-8F20A6F2C5D1}"/>
                              </a:ext>
                            </a:extLst>
                          </p:cNvPr>
                          <p:cNvSpPr/>
                          <p:nvPr/>
                        </p:nvSpPr>
                        <p:spPr>
                          <a:xfrm>
                            <a:off x="9247674" y="2227273"/>
                            <a:ext cx="38557" cy="66816"/>
                          </a:xfrm>
                          <a:custGeom>
                            <a:avLst/>
                            <a:gdLst>
                              <a:gd name="connsiteX0" fmla="*/ 38558 w 38557"/>
                              <a:gd name="connsiteY0" fmla="*/ 44586 h 66816"/>
                              <a:gd name="connsiteX1" fmla="*/ 0 w 38557"/>
                              <a:gd name="connsiteY1" fmla="*/ 66816 h 66816"/>
                              <a:gd name="connsiteX2" fmla="*/ 0 w 38557"/>
                              <a:gd name="connsiteY2" fmla="*/ 22356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6"/>
                                </a:lnTo>
                                <a:lnTo>
                                  <a:pt x="0" y="22356"/>
                                </a:lnTo>
                                <a:lnTo>
                                  <a:pt x="38558"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72" name="Freeform: Shape 4771">
                            <a:extLst>
                              <a:ext uri="{FF2B5EF4-FFF2-40B4-BE49-F238E27FC236}">
                                <a16:creationId xmlns:a16="http://schemas.microsoft.com/office/drawing/2014/main" id="{989358CE-A23A-45F4-AF2F-D4DD5CE4A791}"/>
                              </a:ext>
                            </a:extLst>
                          </p:cNvPr>
                          <p:cNvSpPr/>
                          <p:nvPr/>
                        </p:nvSpPr>
                        <p:spPr>
                          <a:xfrm>
                            <a:off x="9209116" y="2205043"/>
                            <a:ext cx="77115" cy="44586"/>
                          </a:xfrm>
                          <a:custGeom>
                            <a:avLst/>
                            <a:gdLst>
                              <a:gd name="connsiteX0" fmla="*/ 77115 w 77115"/>
                              <a:gd name="connsiteY0" fmla="*/ 22230 h 44586"/>
                              <a:gd name="connsiteX1" fmla="*/ 38558 w 77115"/>
                              <a:gd name="connsiteY1" fmla="*/ 44586 h 44586"/>
                              <a:gd name="connsiteX2" fmla="*/ 0 w 77115"/>
                              <a:gd name="connsiteY2" fmla="*/ 22230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230"/>
                                </a:moveTo>
                                <a:lnTo>
                                  <a:pt x="38558" y="44586"/>
                                </a:lnTo>
                                <a:lnTo>
                                  <a:pt x="0" y="22230"/>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73" name="Graphic 4">
                            <a:extLst>
                              <a:ext uri="{FF2B5EF4-FFF2-40B4-BE49-F238E27FC236}">
                                <a16:creationId xmlns:a16="http://schemas.microsoft.com/office/drawing/2014/main" id="{84FB7ED1-A2DF-40A1-A747-5F7CF3F14040}"/>
                              </a:ext>
                            </a:extLst>
                          </p:cNvPr>
                          <p:cNvGrpSpPr/>
                          <p:nvPr/>
                        </p:nvGrpSpPr>
                        <p:grpSpPr>
                          <a:xfrm>
                            <a:off x="9209116" y="2227273"/>
                            <a:ext cx="38557" cy="66816"/>
                            <a:chOff x="9209116" y="2227273"/>
                            <a:chExt cx="38557" cy="66816"/>
                          </a:xfrm>
                          <a:solidFill>
                            <a:schemeClr val="accent1"/>
                          </a:solidFill>
                        </p:grpSpPr>
                        <p:sp>
                          <p:nvSpPr>
                            <p:cNvPr id="4774" name="Freeform: Shape 4773">
                              <a:extLst>
                                <a:ext uri="{FF2B5EF4-FFF2-40B4-BE49-F238E27FC236}">
                                  <a16:creationId xmlns:a16="http://schemas.microsoft.com/office/drawing/2014/main" id="{17AA22E9-6A8C-41ED-8223-CED03562CCA4}"/>
                                </a:ext>
                              </a:extLst>
                            </p:cNvPr>
                            <p:cNvSpPr/>
                            <p:nvPr/>
                          </p:nvSpPr>
                          <p:spPr>
                            <a:xfrm>
                              <a:off x="9209116" y="2227273"/>
                              <a:ext cx="38557" cy="66816"/>
                            </a:xfrm>
                            <a:custGeom>
                              <a:avLst/>
                              <a:gdLst>
                                <a:gd name="connsiteX0" fmla="*/ 38558 w 38557"/>
                                <a:gd name="connsiteY0" fmla="*/ 66816 h 66816"/>
                                <a:gd name="connsiteX1" fmla="*/ 0 w 38557"/>
                                <a:gd name="connsiteY1" fmla="*/ 44586 h 66816"/>
                                <a:gd name="connsiteX2" fmla="*/ 0 w 38557"/>
                                <a:gd name="connsiteY2" fmla="*/ 0 h 66816"/>
                                <a:gd name="connsiteX3" fmla="*/ 38558 w 38557"/>
                                <a:gd name="connsiteY3" fmla="*/ 22356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6"/>
                                  </a:moveTo>
                                  <a:lnTo>
                                    <a:pt x="0" y="44586"/>
                                  </a:lnTo>
                                  <a:lnTo>
                                    <a:pt x="0" y="0"/>
                                  </a:lnTo>
                                  <a:lnTo>
                                    <a:pt x="38558" y="22356"/>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75" name="Freeform: Shape 4774">
                              <a:extLst>
                                <a:ext uri="{FF2B5EF4-FFF2-40B4-BE49-F238E27FC236}">
                                  <a16:creationId xmlns:a16="http://schemas.microsoft.com/office/drawing/2014/main" id="{D00E3EE4-5FF3-458E-932C-95D459F35644}"/>
                                </a:ext>
                              </a:extLst>
                            </p:cNvPr>
                            <p:cNvSpPr/>
                            <p:nvPr/>
                          </p:nvSpPr>
                          <p:spPr>
                            <a:xfrm>
                              <a:off x="9224439" y="2236190"/>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76" name="Freeform: Shape 4775">
                            <a:extLst>
                              <a:ext uri="{FF2B5EF4-FFF2-40B4-BE49-F238E27FC236}">
                                <a16:creationId xmlns:a16="http://schemas.microsoft.com/office/drawing/2014/main" id="{18F20296-45E5-41AA-AFA1-A2508C00D36D}"/>
                              </a:ext>
                            </a:extLst>
                          </p:cNvPr>
                          <p:cNvSpPr/>
                          <p:nvPr/>
                        </p:nvSpPr>
                        <p:spPr>
                          <a:xfrm>
                            <a:off x="9224439" y="2213960"/>
                            <a:ext cx="46344" cy="26751"/>
                          </a:xfrm>
                          <a:custGeom>
                            <a:avLst/>
                            <a:gdLst>
                              <a:gd name="connsiteX0" fmla="*/ 0 w 46344"/>
                              <a:gd name="connsiteY0" fmla="*/ 22230 h 26751"/>
                              <a:gd name="connsiteX1" fmla="*/ 7787 w 46344"/>
                              <a:gd name="connsiteY1" fmla="*/ 26752 h 26751"/>
                              <a:gd name="connsiteX2" fmla="*/ 46345 w 46344"/>
                              <a:gd name="connsiteY2" fmla="*/ 4396 h 26751"/>
                              <a:gd name="connsiteX3" fmla="*/ 38558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396"/>
                                </a:lnTo>
                                <a:lnTo>
                                  <a:pt x="3855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77" name="Graphic 4">
                          <a:extLst>
                            <a:ext uri="{FF2B5EF4-FFF2-40B4-BE49-F238E27FC236}">
                              <a16:creationId xmlns:a16="http://schemas.microsoft.com/office/drawing/2014/main" id="{84FB7ED1-A2DF-40A1-A747-5F7CF3F14040}"/>
                            </a:ext>
                          </a:extLst>
                        </p:cNvPr>
                        <p:cNvGrpSpPr/>
                        <p:nvPr/>
                      </p:nvGrpSpPr>
                      <p:grpSpPr>
                        <a:xfrm>
                          <a:off x="9219541" y="2260681"/>
                          <a:ext cx="17583" cy="23611"/>
                          <a:chOff x="9219541" y="2260681"/>
                          <a:chExt cx="17583" cy="23611"/>
                        </a:xfrm>
                        <a:solidFill>
                          <a:srgbClr val="000000"/>
                        </a:solidFill>
                      </p:grpSpPr>
                      <p:grpSp>
                        <p:nvGrpSpPr>
                          <p:cNvPr id="4778" name="Graphic 4">
                            <a:extLst>
                              <a:ext uri="{FF2B5EF4-FFF2-40B4-BE49-F238E27FC236}">
                                <a16:creationId xmlns:a16="http://schemas.microsoft.com/office/drawing/2014/main" id="{84FB7ED1-A2DF-40A1-A747-5F7CF3F14040}"/>
                              </a:ext>
                            </a:extLst>
                          </p:cNvPr>
                          <p:cNvGrpSpPr/>
                          <p:nvPr/>
                        </p:nvGrpSpPr>
                        <p:grpSpPr>
                          <a:xfrm>
                            <a:off x="9219541" y="2260681"/>
                            <a:ext cx="17583" cy="23611"/>
                            <a:chOff x="9219541" y="2260681"/>
                            <a:chExt cx="17583" cy="23611"/>
                          </a:xfrm>
                          <a:solidFill>
                            <a:srgbClr val="000000"/>
                          </a:solidFill>
                        </p:grpSpPr>
                        <p:sp>
                          <p:nvSpPr>
                            <p:cNvPr id="4779" name="Freeform: Shape 4778">
                              <a:extLst>
                                <a:ext uri="{FF2B5EF4-FFF2-40B4-BE49-F238E27FC236}">
                                  <a16:creationId xmlns:a16="http://schemas.microsoft.com/office/drawing/2014/main" id="{41F04E39-B40F-4A18-B5AE-6D1AC903A3DB}"/>
                                </a:ext>
                              </a:extLst>
                            </p:cNvPr>
                            <p:cNvSpPr/>
                            <p:nvPr/>
                          </p:nvSpPr>
                          <p:spPr>
                            <a:xfrm>
                              <a:off x="9236119" y="2270227"/>
                              <a:ext cx="1004" cy="14066"/>
                            </a:xfrm>
                            <a:custGeom>
                              <a:avLst/>
                              <a:gdLst>
                                <a:gd name="connsiteX0" fmla="*/ 0 w 1004"/>
                                <a:gd name="connsiteY0" fmla="*/ 0 h 14066"/>
                                <a:gd name="connsiteX1" fmla="*/ 1005 w 1004"/>
                                <a:gd name="connsiteY1" fmla="*/ 628 h 14066"/>
                                <a:gd name="connsiteX2" fmla="*/ 1005 w 1004"/>
                                <a:gd name="connsiteY2" fmla="*/ 14067 h 14066"/>
                                <a:gd name="connsiteX3" fmla="*/ 0 w 1004"/>
                                <a:gd name="connsiteY3" fmla="*/ 13439 h 14066"/>
                              </a:gdLst>
                              <a:ahLst/>
                              <a:cxnLst>
                                <a:cxn ang="0">
                                  <a:pos x="connsiteX0" y="connsiteY0"/>
                                </a:cxn>
                                <a:cxn ang="0">
                                  <a:pos x="connsiteX1" y="connsiteY1"/>
                                </a:cxn>
                                <a:cxn ang="0">
                                  <a:pos x="connsiteX2" y="connsiteY2"/>
                                </a:cxn>
                                <a:cxn ang="0">
                                  <a:pos x="connsiteX3" y="connsiteY3"/>
                                </a:cxn>
                              </a:cxnLst>
                              <a:rect l="l" t="t" r="r" b="b"/>
                              <a:pathLst>
                                <a:path w="1004" h="14066">
                                  <a:moveTo>
                                    <a:pt x="0" y="0"/>
                                  </a:moveTo>
                                  <a:lnTo>
                                    <a:pt x="1005" y="628"/>
                                  </a:lnTo>
                                  <a:lnTo>
                                    <a:pt x="1005" y="14067"/>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0" name="Freeform: Shape 4779">
                              <a:extLst>
                                <a:ext uri="{FF2B5EF4-FFF2-40B4-BE49-F238E27FC236}">
                                  <a16:creationId xmlns:a16="http://schemas.microsoft.com/office/drawing/2014/main" id="{58F49D13-BFE6-4199-B5A1-B3118BF02F1E}"/>
                                </a:ext>
                              </a:extLst>
                            </p:cNvPr>
                            <p:cNvSpPr/>
                            <p:nvPr/>
                          </p:nvSpPr>
                          <p:spPr>
                            <a:xfrm>
                              <a:off x="9234361" y="2269222"/>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1" name="Freeform: Shape 4780">
                              <a:extLst>
                                <a:ext uri="{FF2B5EF4-FFF2-40B4-BE49-F238E27FC236}">
                                  <a16:creationId xmlns:a16="http://schemas.microsoft.com/office/drawing/2014/main" id="{4275FC91-9BC2-452B-9755-C5B5139609A9}"/>
                                </a:ext>
                              </a:extLst>
                            </p:cNvPr>
                            <p:cNvSpPr/>
                            <p:nvPr/>
                          </p:nvSpPr>
                          <p:spPr>
                            <a:xfrm>
                              <a:off x="9232478" y="2268092"/>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2" name="Freeform: Shape 4781">
                              <a:extLst>
                                <a:ext uri="{FF2B5EF4-FFF2-40B4-BE49-F238E27FC236}">
                                  <a16:creationId xmlns:a16="http://schemas.microsoft.com/office/drawing/2014/main" id="{FE6914E7-F4CB-4903-8FA6-EE3F0FE0B9D3}"/>
                                </a:ext>
                              </a:extLst>
                            </p:cNvPr>
                            <p:cNvSpPr/>
                            <p:nvPr/>
                          </p:nvSpPr>
                          <p:spPr>
                            <a:xfrm>
                              <a:off x="9230593" y="2267087"/>
                              <a:ext cx="1004" cy="11931"/>
                            </a:xfrm>
                            <a:custGeom>
                              <a:avLst/>
                              <a:gdLst>
                                <a:gd name="connsiteX0" fmla="*/ 0 w 1004"/>
                                <a:gd name="connsiteY0" fmla="*/ 0 h 11931"/>
                                <a:gd name="connsiteX1" fmla="*/ 1005 w 1004"/>
                                <a:gd name="connsiteY1" fmla="*/ 502 h 11931"/>
                                <a:gd name="connsiteX2" fmla="*/ 1005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3" name="Freeform: Shape 4782">
                              <a:extLst>
                                <a:ext uri="{FF2B5EF4-FFF2-40B4-BE49-F238E27FC236}">
                                  <a16:creationId xmlns:a16="http://schemas.microsoft.com/office/drawing/2014/main" id="{3C056CED-FB7A-445E-B27C-62573A98AA34}"/>
                                </a:ext>
                              </a:extLst>
                            </p:cNvPr>
                            <p:cNvSpPr/>
                            <p:nvPr/>
                          </p:nvSpPr>
                          <p:spPr>
                            <a:xfrm>
                              <a:off x="9228835" y="2265956"/>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4" name="Freeform: Shape 4783">
                              <a:extLst>
                                <a:ext uri="{FF2B5EF4-FFF2-40B4-BE49-F238E27FC236}">
                                  <a16:creationId xmlns:a16="http://schemas.microsoft.com/office/drawing/2014/main" id="{8AB08F8C-932E-499D-A1DC-CB7DB0FDCB1D}"/>
                                </a:ext>
                              </a:extLst>
                            </p:cNvPr>
                            <p:cNvSpPr/>
                            <p:nvPr/>
                          </p:nvSpPr>
                          <p:spPr>
                            <a:xfrm>
                              <a:off x="9226951" y="2264952"/>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5" name="Freeform: Shape 4784">
                              <a:extLst>
                                <a:ext uri="{FF2B5EF4-FFF2-40B4-BE49-F238E27FC236}">
                                  <a16:creationId xmlns:a16="http://schemas.microsoft.com/office/drawing/2014/main" id="{30EB3604-3128-4D45-811A-4283D5C10E75}"/>
                                </a:ext>
                              </a:extLst>
                            </p:cNvPr>
                            <p:cNvSpPr/>
                            <p:nvPr/>
                          </p:nvSpPr>
                          <p:spPr>
                            <a:xfrm>
                              <a:off x="9225067" y="2263947"/>
                              <a:ext cx="1004" cy="11931"/>
                            </a:xfrm>
                            <a:custGeom>
                              <a:avLst/>
                              <a:gdLst>
                                <a:gd name="connsiteX0" fmla="*/ 0 w 1004"/>
                                <a:gd name="connsiteY0" fmla="*/ 0 h 11931"/>
                                <a:gd name="connsiteX1" fmla="*/ 1005 w 1004"/>
                                <a:gd name="connsiteY1" fmla="*/ 502 h 11931"/>
                                <a:gd name="connsiteX2" fmla="*/ 1005 w 1004"/>
                                <a:gd name="connsiteY2" fmla="*/ 11932 h 11931"/>
                                <a:gd name="connsiteX3" fmla="*/ 0 w 1004"/>
                                <a:gd name="connsiteY3" fmla="*/ 11304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6" name="Freeform: Shape 4785">
                              <a:extLst>
                                <a:ext uri="{FF2B5EF4-FFF2-40B4-BE49-F238E27FC236}">
                                  <a16:creationId xmlns:a16="http://schemas.microsoft.com/office/drawing/2014/main" id="{6D8162A1-F088-45B9-9C31-E1FD33CDC3C7}"/>
                                </a:ext>
                              </a:extLst>
                            </p:cNvPr>
                            <p:cNvSpPr/>
                            <p:nvPr/>
                          </p:nvSpPr>
                          <p:spPr>
                            <a:xfrm>
                              <a:off x="9223309" y="2262817"/>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7" name="Freeform: Shape 4786">
                              <a:extLst>
                                <a:ext uri="{FF2B5EF4-FFF2-40B4-BE49-F238E27FC236}">
                                  <a16:creationId xmlns:a16="http://schemas.microsoft.com/office/drawing/2014/main" id="{ED70F13D-16B8-44B5-8606-600D4326481E}"/>
                                </a:ext>
                              </a:extLst>
                            </p:cNvPr>
                            <p:cNvSpPr/>
                            <p:nvPr/>
                          </p:nvSpPr>
                          <p:spPr>
                            <a:xfrm>
                              <a:off x="9221425" y="2261812"/>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8" name="Freeform: Shape 4787">
                              <a:extLst>
                                <a:ext uri="{FF2B5EF4-FFF2-40B4-BE49-F238E27FC236}">
                                  <a16:creationId xmlns:a16="http://schemas.microsoft.com/office/drawing/2014/main" id="{DA1592A1-BBCB-4E64-988D-CD480A970D94}"/>
                                </a:ext>
                              </a:extLst>
                            </p:cNvPr>
                            <p:cNvSpPr/>
                            <p:nvPr/>
                          </p:nvSpPr>
                          <p:spPr>
                            <a:xfrm>
                              <a:off x="9219541" y="2260681"/>
                              <a:ext cx="1004" cy="13940"/>
                            </a:xfrm>
                            <a:custGeom>
                              <a:avLst/>
                              <a:gdLst>
                                <a:gd name="connsiteX0" fmla="*/ 0 w 1004"/>
                                <a:gd name="connsiteY0" fmla="*/ 0 h 13940"/>
                                <a:gd name="connsiteX1" fmla="*/ 1005 w 1004"/>
                                <a:gd name="connsiteY1" fmla="*/ 502 h 13940"/>
                                <a:gd name="connsiteX2" fmla="*/ 1005 w 1004"/>
                                <a:gd name="connsiteY2" fmla="*/ 13941 h 13940"/>
                                <a:gd name="connsiteX3" fmla="*/ 0 w 1004"/>
                                <a:gd name="connsiteY3" fmla="*/ 13439 h 13940"/>
                              </a:gdLst>
                              <a:ahLst/>
                              <a:cxnLst>
                                <a:cxn ang="0">
                                  <a:pos x="connsiteX0" y="connsiteY0"/>
                                </a:cxn>
                                <a:cxn ang="0">
                                  <a:pos x="connsiteX1" y="connsiteY1"/>
                                </a:cxn>
                                <a:cxn ang="0">
                                  <a:pos x="connsiteX2" y="connsiteY2"/>
                                </a:cxn>
                                <a:cxn ang="0">
                                  <a:pos x="connsiteX3" y="connsiteY3"/>
                                </a:cxn>
                              </a:cxnLst>
                              <a:rect l="l" t="t" r="r" b="b"/>
                              <a:pathLst>
                                <a:path w="1004" h="13940">
                                  <a:moveTo>
                                    <a:pt x="0" y="0"/>
                                  </a:moveTo>
                                  <a:lnTo>
                                    <a:pt x="1005" y="502"/>
                                  </a:lnTo>
                                  <a:lnTo>
                                    <a:pt x="1005"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89" name="Freeform: Shape 4788">
                            <a:extLst>
                              <a:ext uri="{FF2B5EF4-FFF2-40B4-BE49-F238E27FC236}">
                                <a16:creationId xmlns:a16="http://schemas.microsoft.com/office/drawing/2014/main" id="{133DEFFB-9861-4BD3-9321-39B3E81A8A17}"/>
                              </a:ext>
                            </a:extLst>
                          </p:cNvPr>
                          <p:cNvSpPr/>
                          <p:nvPr/>
                        </p:nvSpPr>
                        <p:spPr>
                          <a:xfrm>
                            <a:off x="9221927" y="2274120"/>
                            <a:ext cx="1758" cy="3265"/>
                          </a:xfrm>
                          <a:custGeom>
                            <a:avLst/>
                            <a:gdLst>
                              <a:gd name="connsiteX0" fmla="*/ 1759 w 1758"/>
                              <a:gd name="connsiteY0" fmla="*/ 3265 h 3265"/>
                              <a:gd name="connsiteX1" fmla="*/ 0 w 1758"/>
                              <a:gd name="connsiteY1" fmla="*/ 2135 h 3265"/>
                              <a:gd name="connsiteX2" fmla="*/ 0 w 1758"/>
                              <a:gd name="connsiteY2" fmla="*/ 0 h 3265"/>
                              <a:gd name="connsiteX3" fmla="*/ 1759 w 1758"/>
                              <a:gd name="connsiteY3" fmla="*/ 1130 h 3265"/>
                            </a:gdLst>
                            <a:ahLst/>
                            <a:cxnLst>
                              <a:cxn ang="0">
                                <a:pos x="connsiteX0" y="connsiteY0"/>
                              </a:cxn>
                              <a:cxn ang="0">
                                <a:pos x="connsiteX1" y="connsiteY1"/>
                              </a:cxn>
                              <a:cxn ang="0">
                                <a:pos x="connsiteX2" y="connsiteY2"/>
                              </a:cxn>
                              <a:cxn ang="0">
                                <a:pos x="connsiteX3" y="connsiteY3"/>
                              </a:cxn>
                            </a:cxnLst>
                            <a:rect l="l" t="t" r="r" b="b"/>
                            <a:pathLst>
                              <a:path w="1758" h="3265">
                                <a:moveTo>
                                  <a:pt x="1759" y="3265"/>
                                </a:moveTo>
                                <a:lnTo>
                                  <a:pt x="0" y="2135"/>
                                </a:lnTo>
                                <a:lnTo>
                                  <a:pt x="0" y="0"/>
                                </a:lnTo>
                                <a:lnTo>
                                  <a:pt x="1759"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0" name="Freeform: Shape 4789">
                            <a:extLst>
                              <a:ext uri="{FF2B5EF4-FFF2-40B4-BE49-F238E27FC236}">
                                <a16:creationId xmlns:a16="http://schemas.microsoft.com/office/drawing/2014/main" id="{8713DA50-E68F-4326-97AE-D81909305114}"/>
                              </a:ext>
                            </a:extLst>
                          </p:cNvPr>
                          <p:cNvSpPr/>
                          <p:nvPr/>
                        </p:nvSpPr>
                        <p:spPr>
                          <a:xfrm>
                            <a:off x="9225569" y="2276255"/>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130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1" name="Freeform: Shape 4790">
                            <a:extLst>
                              <a:ext uri="{FF2B5EF4-FFF2-40B4-BE49-F238E27FC236}">
                                <a16:creationId xmlns:a16="http://schemas.microsoft.com/office/drawing/2014/main" id="{908276AE-E81D-45DF-89C7-D35F7502B605}"/>
                              </a:ext>
                            </a:extLst>
                          </p:cNvPr>
                          <p:cNvSpPr/>
                          <p:nvPr/>
                        </p:nvSpPr>
                        <p:spPr>
                          <a:xfrm>
                            <a:off x="9229212" y="2278390"/>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2" name="Freeform: Shape 4791">
                            <a:extLst>
                              <a:ext uri="{FF2B5EF4-FFF2-40B4-BE49-F238E27FC236}">
                                <a16:creationId xmlns:a16="http://schemas.microsoft.com/office/drawing/2014/main" id="{2BB580ED-F5A4-4A85-9B14-BC76415987F0}"/>
                              </a:ext>
                            </a:extLst>
                          </p:cNvPr>
                          <p:cNvSpPr/>
                          <p:nvPr/>
                        </p:nvSpPr>
                        <p:spPr>
                          <a:xfrm>
                            <a:off x="9232980" y="2280525"/>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793" name="Graphic 4">
                        <a:extLst>
                          <a:ext uri="{FF2B5EF4-FFF2-40B4-BE49-F238E27FC236}">
                            <a16:creationId xmlns:a16="http://schemas.microsoft.com/office/drawing/2014/main" id="{84FB7ED1-A2DF-40A1-A747-5F7CF3F14040}"/>
                          </a:ext>
                        </a:extLst>
                      </p:cNvPr>
                      <p:cNvGrpSpPr/>
                      <p:nvPr/>
                    </p:nvGrpSpPr>
                    <p:grpSpPr>
                      <a:xfrm>
                        <a:off x="9168173" y="2228655"/>
                        <a:ext cx="77240" cy="89046"/>
                        <a:chOff x="9168173" y="2228655"/>
                        <a:chExt cx="77240" cy="89046"/>
                      </a:xfrm>
                      <a:solidFill>
                        <a:schemeClr val="accent1"/>
                      </a:solidFill>
                    </p:grpSpPr>
                    <p:grpSp>
                      <p:nvGrpSpPr>
                        <p:cNvPr id="4794" name="Graphic 4">
                          <a:extLst>
                            <a:ext uri="{FF2B5EF4-FFF2-40B4-BE49-F238E27FC236}">
                              <a16:creationId xmlns:a16="http://schemas.microsoft.com/office/drawing/2014/main" id="{84FB7ED1-A2DF-40A1-A747-5F7CF3F14040}"/>
                            </a:ext>
                          </a:extLst>
                        </p:cNvPr>
                        <p:cNvGrpSpPr/>
                        <p:nvPr/>
                      </p:nvGrpSpPr>
                      <p:grpSpPr>
                        <a:xfrm>
                          <a:off x="9168173" y="2228655"/>
                          <a:ext cx="77240" cy="89046"/>
                          <a:chOff x="9168173" y="2228655"/>
                          <a:chExt cx="77240" cy="89046"/>
                        </a:xfrm>
                        <a:solidFill>
                          <a:schemeClr val="accent1"/>
                        </a:solidFill>
                      </p:grpSpPr>
                      <p:sp>
                        <p:nvSpPr>
                          <p:cNvPr id="4795" name="Freeform: Shape 4794">
                            <a:extLst>
                              <a:ext uri="{FF2B5EF4-FFF2-40B4-BE49-F238E27FC236}">
                                <a16:creationId xmlns:a16="http://schemas.microsoft.com/office/drawing/2014/main" id="{42EB19A1-5733-4ACC-8972-885D757B23FE}"/>
                              </a:ext>
                            </a:extLst>
                          </p:cNvPr>
                          <p:cNvSpPr/>
                          <p:nvPr/>
                        </p:nvSpPr>
                        <p:spPr>
                          <a:xfrm>
                            <a:off x="9206730" y="2250885"/>
                            <a:ext cx="38683" cy="66816"/>
                          </a:xfrm>
                          <a:custGeom>
                            <a:avLst/>
                            <a:gdLst>
                              <a:gd name="connsiteX0" fmla="*/ 38683 w 38683"/>
                              <a:gd name="connsiteY0" fmla="*/ 44586 h 66816"/>
                              <a:gd name="connsiteX1" fmla="*/ 0 w 38683"/>
                              <a:gd name="connsiteY1" fmla="*/ 66816 h 66816"/>
                              <a:gd name="connsiteX2" fmla="*/ 0 w 38683"/>
                              <a:gd name="connsiteY2" fmla="*/ 22230 h 66816"/>
                              <a:gd name="connsiteX3" fmla="*/ 38683 w 38683"/>
                              <a:gd name="connsiteY3" fmla="*/ 0 h 66816"/>
                            </a:gdLst>
                            <a:ahLst/>
                            <a:cxnLst>
                              <a:cxn ang="0">
                                <a:pos x="connsiteX0" y="connsiteY0"/>
                              </a:cxn>
                              <a:cxn ang="0">
                                <a:pos x="connsiteX1" y="connsiteY1"/>
                              </a:cxn>
                              <a:cxn ang="0">
                                <a:pos x="connsiteX2" y="connsiteY2"/>
                              </a:cxn>
                              <a:cxn ang="0">
                                <a:pos x="connsiteX3" y="connsiteY3"/>
                              </a:cxn>
                            </a:cxnLst>
                            <a:rect l="l" t="t" r="r" b="b"/>
                            <a:pathLst>
                              <a:path w="38683" h="66816">
                                <a:moveTo>
                                  <a:pt x="38683" y="44586"/>
                                </a:moveTo>
                                <a:lnTo>
                                  <a:pt x="0" y="66816"/>
                                </a:lnTo>
                                <a:lnTo>
                                  <a:pt x="0" y="22230"/>
                                </a:lnTo>
                                <a:lnTo>
                                  <a:pt x="38683"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6" name="Freeform: Shape 4795">
                            <a:extLst>
                              <a:ext uri="{FF2B5EF4-FFF2-40B4-BE49-F238E27FC236}">
                                <a16:creationId xmlns:a16="http://schemas.microsoft.com/office/drawing/2014/main" id="{1F0C5EBE-68C1-416C-B2AC-8FE42756EA1B}"/>
                              </a:ext>
                            </a:extLst>
                          </p:cNvPr>
                          <p:cNvSpPr/>
                          <p:nvPr/>
                        </p:nvSpPr>
                        <p:spPr>
                          <a:xfrm>
                            <a:off x="9168173" y="2228655"/>
                            <a:ext cx="77240" cy="44460"/>
                          </a:xfrm>
                          <a:custGeom>
                            <a:avLst/>
                            <a:gdLst>
                              <a:gd name="connsiteX0" fmla="*/ 77240 w 77240"/>
                              <a:gd name="connsiteY0" fmla="*/ 22230 h 44460"/>
                              <a:gd name="connsiteX1" fmla="*/ 38557 w 77240"/>
                              <a:gd name="connsiteY1" fmla="*/ 44461 h 44460"/>
                              <a:gd name="connsiteX2" fmla="*/ 0 w 77240"/>
                              <a:gd name="connsiteY2" fmla="*/ 22230 h 44460"/>
                              <a:gd name="connsiteX3" fmla="*/ 38557 w 77240"/>
                              <a:gd name="connsiteY3" fmla="*/ 0 h 44460"/>
                            </a:gdLst>
                            <a:ahLst/>
                            <a:cxnLst>
                              <a:cxn ang="0">
                                <a:pos x="connsiteX0" y="connsiteY0"/>
                              </a:cxn>
                              <a:cxn ang="0">
                                <a:pos x="connsiteX1" y="connsiteY1"/>
                              </a:cxn>
                              <a:cxn ang="0">
                                <a:pos x="connsiteX2" y="connsiteY2"/>
                              </a:cxn>
                              <a:cxn ang="0">
                                <a:pos x="connsiteX3" y="connsiteY3"/>
                              </a:cxn>
                            </a:cxnLst>
                            <a:rect l="l" t="t" r="r" b="b"/>
                            <a:pathLst>
                              <a:path w="77240" h="44460">
                                <a:moveTo>
                                  <a:pt x="77240" y="22230"/>
                                </a:moveTo>
                                <a:lnTo>
                                  <a:pt x="38557" y="44461"/>
                                </a:lnTo>
                                <a:lnTo>
                                  <a:pt x="0" y="22230"/>
                                </a:lnTo>
                                <a:lnTo>
                                  <a:pt x="38557"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97" name="Graphic 4">
                            <a:extLst>
                              <a:ext uri="{FF2B5EF4-FFF2-40B4-BE49-F238E27FC236}">
                                <a16:creationId xmlns:a16="http://schemas.microsoft.com/office/drawing/2014/main" id="{84FB7ED1-A2DF-40A1-A747-5F7CF3F14040}"/>
                              </a:ext>
                            </a:extLst>
                          </p:cNvPr>
                          <p:cNvGrpSpPr/>
                          <p:nvPr/>
                        </p:nvGrpSpPr>
                        <p:grpSpPr>
                          <a:xfrm>
                            <a:off x="9168173" y="2250885"/>
                            <a:ext cx="38556" cy="66816"/>
                            <a:chOff x="9168173" y="2250885"/>
                            <a:chExt cx="38556" cy="66816"/>
                          </a:xfrm>
                          <a:solidFill>
                            <a:schemeClr val="accent1"/>
                          </a:solidFill>
                        </p:grpSpPr>
                        <p:sp>
                          <p:nvSpPr>
                            <p:cNvPr id="4798" name="Freeform: Shape 4797">
                              <a:extLst>
                                <a:ext uri="{FF2B5EF4-FFF2-40B4-BE49-F238E27FC236}">
                                  <a16:creationId xmlns:a16="http://schemas.microsoft.com/office/drawing/2014/main" id="{78C9E742-B56E-48DB-91E0-0BE170312DE9}"/>
                                </a:ext>
                              </a:extLst>
                            </p:cNvPr>
                            <p:cNvSpPr/>
                            <p:nvPr/>
                          </p:nvSpPr>
                          <p:spPr>
                            <a:xfrm>
                              <a:off x="9168173" y="2250885"/>
                              <a:ext cx="38556" cy="66816"/>
                            </a:xfrm>
                            <a:custGeom>
                              <a:avLst/>
                              <a:gdLst>
                                <a:gd name="connsiteX0" fmla="*/ 38557 w 38556"/>
                                <a:gd name="connsiteY0" fmla="*/ 66816 h 66816"/>
                                <a:gd name="connsiteX1" fmla="*/ 0 w 38556"/>
                                <a:gd name="connsiteY1" fmla="*/ 44586 h 66816"/>
                                <a:gd name="connsiteX2" fmla="*/ 0 w 38556"/>
                                <a:gd name="connsiteY2" fmla="*/ 0 h 66816"/>
                                <a:gd name="connsiteX3" fmla="*/ 38557 w 38556"/>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6" h="66816">
                                  <a:moveTo>
                                    <a:pt x="38557" y="66816"/>
                                  </a:moveTo>
                                  <a:lnTo>
                                    <a:pt x="0" y="44586"/>
                                  </a:lnTo>
                                  <a:lnTo>
                                    <a:pt x="0" y="0"/>
                                  </a:lnTo>
                                  <a:lnTo>
                                    <a:pt x="38557"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9" name="Freeform: Shape 4798">
                              <a:extLst>
                                <a:ext uri="{FF2B5EF4-FFF2-40B4-BE49-F238E27FC236}">
                                  <a16:creationId xmlns:a16="http://schemas.microsoft.com/office/drawing/2014/main" id="{0280AF84-97D1-462D-A748-D01028BF6FFE}"/>
                                </a:ext>
                              </a:extLst>
                            </p:cNvPr>
                            <p:cNvSpPr/>
                            <p:nvPr/>
                          </p:nvSpPr>
                          <p:spPr>
                            <a:xfrm>
                              <a:off x="9183621" y="2259802"/>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00" name="Freeform: Shape 4799">
                            <a:extLst>
                              <a:ext uri="{FF2B5EF4-FFF2-40B4-BE49-F238E27FC236}">
                                <a16:creationId xmlns:a16="http://schemas.microsoft.com/office/drawing/2014/main" id="{762C33D1-9332-4720-A4A4-F6EA545C889E}"/>
                              </a:ext>
                            </a:extLst>
                          </p:cNvPr>
                          <p:cNvSpPr/>
                          <p:nvPr/>
                        </p:nvSpPr>
                        <p:spPr>
                          <a:xfrm>
                            <a:off x="9183621" y="2237572"/>
                            <a:ext cx="46344" cy="26751"/>
                          </a:xfrm>
                          <a:custGeom>
                            <a:avLst/>
                            <a:gdLst>
                              <a:gd name="connsiteX0" fmla="*/ 0 w 46344"/>
                              <a:gd name="connsiteY0" fmla="*/ 22230 h 26751"/>
                              <a:gd name="connsiteX1" fmla="*/ 7787 w 46344"/>
                              <a:gd name="connsiteY1" fmla="*/ 26752 h 26751"/>
                              <a:gd name="connsiteX2" fmla="*/ 46345 w 46344"/>
                              <a:gd name="connsiteY2" fmla="*/ 4396 h 26751"/>
                              <a:gd name="connsiteX3" fmla="*/ 38558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396"/>
                                </a:lnTo>
                                <a:lnTo>
                                  <a:pt x="3855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801" name="Graphic 4">
                          <a:extLst>
                            <a:ext uri="{FF2B5EF4-FFF2-40B4-BE49-F238E27FC236}">
                              <a16:creationId xmlns:a16="http://schemas.microsoft.com/office/drawing/2014/main" id="{84FB7ED1-A2DF-40A1-A747-5F7CF3F14040}"/>
                            </a:ext>
                          </a:extLst>
                        </p:cNvPr>
                        <p:cNvGrpSpPr/>
                        <p:nvPr/>
                      </p:nvGrpSpPr>
                      <p:grpSpPr>
                        <a:xfrm>
                          <a:off x="9178723" y="2284293"/>
                          <a:ext cx="17583" cy="23486"/>
                          <a:chOff x="9178723" y="2284293"/>
                          <a:chExt cx="17583" cy="23486"/>
                        </a:xfrm>
                        <a:solidFill>
                          <a:srgbClr val="000000"/>
                        </a:solidFill>
                      </p:grpSpPr>
                      <p:grpSp>
                        <p:nvGrpSpPr>
                          <p:cNvPr id="4802" name="Graphic 4">
                            <a:extLst>
                              <a:ext uri="{FF2B5EF4-FFF2-40B4-BE49-F238E27FC236}">
                                <a16:creationId xmlns:a16="http://schemas.microsoft.com/office/drawing/2014/main" id="{84FB7ED1-A2DF-40A1-A747-5F7CF3F14040}"/>
                              </a:ext>
                            </a:extLst>
                          </p:cNvPr>
                          <p:cNvGrpSpPr/>
                          <p:nvPr/>
                        </p:nvGrpSpPr>
                        <p:grpSpPr>
                          <a:xfrm>
                            <a:off x="9178723" y="2284293"/>
                            <a:ext cx="17583" cy="23486"/>
                            <a:chOff x="9178723" y="2284293"/>
                            <a:chExt cx="17583" cy="23486"/>
                          </a:xfrm>
                          <a:solidFill>
                            <a:srgbClr val="000000"/>
                          </a:solidFill>
                        </p:grpSpPr>
                        <p:sp>
                          <p:nvSpPr>
                            <p:cNvPr id="4803" name="Freeform: Shape 4802">
                              <a:extLst>
                                <a:ext uri="{FF2B5EF4-FFF2-40B4-BE49-F238E27FC236}">
                                  <a16:creationId xmlns:a16="http://schemas.microsoft.com/office/drawing/2014/main" id="{7FC7B7C4-C0DD-450A-ADA3-671217763A57}"/>
                                </a:ext>
                              </a:extLst>
                            </p:cNvPr>
                            <p:cNvSpPr/>
                            <p:nvPr/>
                          </p:nvSpPr>
                          <p:spPr>
                            <a:xfrm>
                              <a:off x="9195301" y="2293839"/>
                              <a:ext cx="1004" cy="13941"/>
                            </a:xfrm>
                            <a:custGeom>
                              <a:avLst/>
                              <a:gdLst>
                                <a:gd name="connsiteX0" fmla="*/ 0 w 1004"/>
                                <a:gd name="connsiteY0" fmla="*/ 0 h 13941"/>
                                <a:gd name="connsiteX1" fmla="*/ 1005 w 1004"/>
                                <a:gd name="connsiteY1" fmla="*/ 502 h 13941"/>
                                <a:gd name="connsiteX2" fmla="*/ 1005 w 1004"/>
                                <a:gd name="connsiteY2" fmla="*/ 13941 h 13941"/>
                                <a:gd name="connsiteX3" fmla="*/ 0 w 1004"/>
                                <a:gd name="connsiteY3" fmla="*/ 13439 h 13941"/>
                              </a:gdLst>
                              <a:ahLst/>
                              <a:cxnLst>
                                <a:cxn ang="0">
                                  <a:pos x="connsiteX0" y="connsiteY0"/>
                                </a:cxn>
                                <a:cxn ang="0">
                                  <a:pos x="connsiteX1" y="connsiteY1"/>
                                </a:cxn>
                                <a:cxn ang="0">
                                  <a:pos x="connsiteX2" y="connsiteY2"/>
                                </a:cxn>
                                <a:cxn ang="0">
                                  <a:pos x="connsiteX3" y="connsiteY3"/>
                                </a:cxn>
                              </a:cxnLst>
                              <a:rect l="l" t="t" r="r" b="b"/>
                              <a:pathLst>
                                <a:path w="1004" h="13941">
                                  <a:moveTo>
                                    <a:pt x="0" y="0"/>
                                  </a:moveTo>
                                  <a:lnTo>
                                    <a:pt x="1005" y="502"/>
                                  </a:lnTo>
                                  <a:lnTo>
                                    <a:pt x="1005"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4" name="Freeform: Shape 4803">
                              <a:extLst>
                                <a:ext uri="{FF2B5EF4-FFF2-40B4-BE49-F238E27FC236}">
                                  <a16:creationId xmlns:a16="http://schemas.microsoft.com/office/drawing/2014/main" id="{CF9769E7-6EE9-4718-9B49-F45CE5D44CA0}"/>
                                </a:ext>
                              </a:extLst>
                            </p:cNvPr>
                            <p:cNvSpPr/>
                            <p:nvPr/>
                          </p:nvSpPr>
                          <p:spPr>
                            <a:xfrm>
                              <a:off x="9193543" y="2292834"/>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5" name="Freeform: Shape 4804">
                              <a:extLst>
                                <a:ext uri="{FF2B5EF4-FFF2-40B4-BE49-F238E27FC236}">
                                  <a16:creationId xmlns:a16="http://schemas.microsoft.com/office/drawing/2014/main" id="{D7E6A165-0EDB-4390-9D59-98DA5C5BD7E1}"/>
                                </a:ext>
                              </a:extLst>
                            </p:cNvPr>
                            <p:cNvSpPr/>
                            <p:nvPr/>
                          </p:nvSpPr>
                          <p:spPr>
                            <a:xfrm>
                              <a:off x="9191659" y="2291703"/>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6" name="Freeform: Shape 4805">
                              <a:extLst>
                                <a:ext uri="{FF2B5EF4-FFF2-40B4-BE49-F238E27FC236}">
                                  <a16:creationId xmlns:a16="http://schemas.microsoft.com/office/drawing/2014/main" id="{A44BCC46-C6D5-48AF-AE0C-C2863A4A2D5F}"/>
                                </a:ext>
                              </a:extLst>
                            </p:cNvPr>
                            <p:cNvSpPr/>
                            <p:nvPr/>
                          </p:nvSpPr>
                          <p:spPr>
                            <a:xfrm>
                              <a:off x="9189775" y="2290699"/>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7" name="Freeform: Shape 4806">
                              <a:extLst>
                                <a:ext uri="{FF2B5EF4-FFF2-40B4-BE49-F238E27FC236}">
                                  <a16:creationId xmlns:a16="http://schemas.microsoft.com/office/drawing/2014/main" id="{D86C6D65-232D-4CE3-B63B-3153324ED227}"/>
                                </a:ext>
                              </a:extLst>
                            </p:cNvPr>
                            <p:cNvSpPr/>
                            <p:nvPr/>
                          </p:nvSpPr>
                          <p:spPr>
                            <a:xfrm>
                              <a:off x="9188016" y="2289568"/>
                              <a:ext cx="879" cy="11931"/>
                            </a:xfrm>
                            <a:custGeom>
                              <a:avLst/>
                              <a:gdLst>
                                <a:gd name="connsiteX0" fmla="*/ 0 w 879"/>
                                <a:gd name="connsiteY0" fmla="*/ 0 h 11931"/>
                                <a:gd name="connsiteX1" fmla="*/ 879 w 879"/>
                                <a:gd name="connsiteY1" fmla="*/ 628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8" name="Freeform: Shape 4807">
                              <a:extLst>
                                <a:ext uri="{FF2B5EF4-FFF2-40B4-BE49-F238E27FC236}">
                                  <a16:creationId xmlns:a16="http://schemas.microsoft.com/office/drawing/2014/main" id="{60815F78-AFD5-4B2B-A489-1FD7F073DDBE}"/>
                                </a:ext>
                              </a:extLst>
                            </p:cNvPr>
                            <p:cNvSpPr/>
                            <p:nvPr/>
                          </p:nvSpPr>
                          <p:spPr>
                            <a:xfrm>
                              <a:off x="9186133" y="2288563"/>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9" name="Freeform: Shape 4808">
                              <a:extLst>
                                <a:ext uri="{FF2B5EF4-FFF2-40B4-BE49-F238E27FC236}">
                                  <a16:creationId xmlns:a16="http://schemas.microsoft.com/office/drawing/2014/main" id="{14F9DF49-DCEA-4F54-8F9B-29B61B4D6352}"/>
                                </a:ext>
                              </a:extLst>
                            </p:cNvPr>
                            <p:cNvSpPr/>
                            <p:nvPr/>
                          </p:nvSpPr>
                          <p:spPr>
                            <a:xfrm>
                              <a:off x="9184249" y="2287433"/>
                              <a:ext cx="1004" cy="11931"/>
                            </a:xfrm>
                            <a:custGeom>
                              <a:avLst/>
                              <a:gdLst>
                                <a:gd name="connsiteX0" fmla="*/ 0 w 1004"/>
                                <a:gd name="connsiteY0" fmla="*/ 0 h 11931"/>
                                <a:gd name="connsiteX1" fmla="*/ 1005 w 1004"/>
                                <a:gd name="connsiteY1" fmla="*/ 628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628"/>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0" name="Freeform: Shape 4809">
                              <a:extLst>
                                <a:ext uri="{FF2B5EF4-FFF2-40B4-BE49-F238E27FC236}">
                                  <a16:creationId xmlns:a16="http://schemas.microsoft.com/office/drawing/2014/main" id="{40185F46-870B-48CD-A35F-C40D2107DF6A}"/>
                                </a:ext>
                              </a:extLst>
                            </p:cNvPr>
                            <p:cNvSpPr/>
                            <p:nvPr/>
                          </p:nvSpPr>
                          <p:spPr>
                            <a:xfrm>
                              <a:off x="9182365" y="2286428"/>
                              <a:ext cx="1004" cy="11931"/>
                            </a:xfrm>
                            <a:custGeom>
                              <a:avLst/>
                              <a:gdLst>
                                <a:gd name="connsiteX0" fmla="*/ 125 w 1004"/>
                                <a:gd name="connsiteY0" fmla="*/ 0 h 11931"/>
                                <a:gd name="connsiteX1" fmla="*/ 1004 w 1004"/>
                                <a:gd name="connsiteY1" fmla="*/ 502 h 11931"/>
                                <a:gd name="connsiteX2" fmla="*/ 1004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25" y="0"/>
                                  </a:moveTo>
                                  <a:lnTo>
                                    <a:pt x="1004" y="502"/>
                                  </a:lnTo>
                                  <a:lnTo>
                                    <a:pt x="1004"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1" name="Freeform: Shape 4810">
                              <a:extLst>
                                <a:ext uri="{FF2B5EF4-FFF2-40B4-BE49-F238E27FC236}">
                                  <a16:creationId xmlns:a16="http://schemas.microsoft.com/office/drawing/2014/main" id="{7D341AEF-3D7C-4DEE-803A-B2B74D019BD6}"/>
                                </a:ext>
                              </a:extLst>
                            </p:cNvPr>
                            <p:cNvSpPr/>
                            <p:nvPr/>
                          </p:nvSpPr>
                          <p:spPr>
                            <a:xfrm>
                              <a:off x="9180607" y="2285298"/>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2" name="Freeform: Shape 4811">
                              <a:extLst>
                                <a:ext uri="{FF2B5EF4-FFF2-40B4-BE49-F238E27FC236}">
                                  <a16:creationId xmlns:a16="http://schemas.microsoft.com/office/drawing/2014/main" id="{C719D09D-6735-401D-86F3-050331DF93FC}"/>
                                </a:ext>
                              </a:extLst>
                            </p:cNvPr>
                            <p:cNvSpPr/>
                            <p:nvPr/>
                          </p:nvSpPr>
                          <p:spPr>
                            <a:xfrm>
                              <a:off x="9178723" y="2284293"/>
                              <a:ext cx="1004" cy="13941"/>
                            </a:xfrm>
                            <a:custGeom>
                              <a:avLst/>
                              <a:gdLst>
                                <a:gd name="connsiteX0" fmla="*/ 0 w 1004"/>
                                <a:gd name="connsiteY0" fmla="*/ 0 h 13941"/>
                                <a:gd name="connsiteX1" fmla="*/ 1005 w 1004"/>
                                <a:gd name="connsiteY1" fmla="*/ 502 h 13941"/>
                                <a:gd name="connsiteX2" fmla="*/ 1005 w 1004"/>
                                <a:gd name="connsiteY2" fmla="*/ 13941 h 13941"/>
                                <a:gd name="connsiteX3" fmla="*/ 0 w 1004"/>
                                <a:gd name="connsiteY3" fmla="*/ 13439 h 13941"/>
                              </a:gdLst>
                              <a:ahLst/>
                              <a:cxnLst>
                                <a:cxn ang="0">
                                  <a:pos x="connsiteX0" y="connsiteY0"/>
                                </a:cxn>
                                <a:cxn ang="0">
                                  <a:pos x="connsiteX1" y="connsiteY1"/>
                                </a:cxn>
                                <a:cxn ang="0">
                                  <a:pos x="connsiteX2" y="connsiteY2"/>
                                </a:cxn>
                                <a:cxn ang="0">
                                  <a:pos x="connsiteX3" y="connsiteY3"/>
                                </a:cxn>
                              </a:cxnLst>
                              <a:rect l="l" t="t" r="r" b="b"/>
                              <a:pathLst>
                                <a:path w="1004" h="13941">
                                  <a:moveTo>
                                    <a:pt x="0" y="0"/>
                                  </a:moveTo>
                                  <a:lnTo>
                                    <a:pt x="1005" y="502"/>
                                  </a:lnTo>
                                  <a:lnTo>
                                    <a:pt x="1005"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13" name="Freeform: Shape 4812">
                            <a:extLst>
                              <a:ext uri="{FF2B5EF4-FFF2-40B4-BE49-F238E27FC236}">
                                <a16:creationId xmlns:a16="http://schemas.microsoft.com/office/drawing/2014/main" id="{AD035653-08F3-479A-814A-20689B63668B}"/>
                              </a:ext>
                            </a:extLst>
                          </p:cNvPr>
                          <p:cNvSpPr/>
                          <p:nvPr/>
                        </p:nvSpPr>
                        <p:spPr>
                          <a:xfrm>
                            <a:off x="9180983" y="2297732"/>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4" name="Freeform: Shape 4813">
                            <a:extLst>
                              <a:ext uri="{FF2B5EF4-FFF2-40B4-BE49-F238E27FC236}">
                                <a16:creationId xmlns:a16="http://schemas.microsoft.com/office/drawing/2014/main" id="{A4DF6BF2-99DD-450C-84C1-3B3D3EE8E6E2}"/>
                              </a:ext>
                            </a:extLst>
                          </p:cNvPr>
                          <p:cNvSpPr/>
                          <p:nvPr/>
                        </p:nvSpPr>
                        <p:spPr>
                          <a:xfrm>
                            <a:off x="9184751" y="2299867"/>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5" name="Freeform: Shape 4814">
                            <a:extLst>
                              <a:ext uri="{FF2B5EF4-FFF2-40B4-BE49-F238E27FC236}">
                                <a16:creationId xmlns:a16="http://schemas.microsoft.com/office/drawing/2014/main" id="{A065F255-98C7-41DF-A116-6E60EF9FAE19}"/>
                              </a:ext>
                            </a:extLst>
                          </p:cNvPr>
                          <p:cNvSpPr/>
                          <p:nvPr/>
                        </p:nvSpPr>
                        <p:spPr>
                          <a:xfrm>
                            <a:off x="9188394" y="2302002"/>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6" name="Freeform: Shape 4815">
                            <a:extLst>
                              <a:ext uri="{FF2B5EF4-FFF2-40B4-BE49-F238E27FC236}">
                                <a16:creationId xmlns:a16="http://schemas.microsoft.com/office/drawing/2014/main" id="{ED7F6AD5-3F94-4C89-BD12-02FA89B69C54}"/>
                              </a:ext>
                            </a:extLst>
                          </p:cNvPr>
                          <p:cNvSpPr/>
                          <p:nvPr/>
                        </p:nvSpPr>
                        <p:spPr>
                          <a:xfrm>
                            <a:off x="9192161" y="2304137"/>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817" name="Graphic 4">
                        <a:extLst>
                          <a:ext uri="{FF2B5EF4-FFF2-40B4-BE49-F238E27FC236}">
                            <a16:creationId xmlns:a16="http://schemas.microsoft.com/office/drawing/2014/main" id="{84FB7ED1-A2DF-40A1-A747-5F7CF3F14040}"/>
                          </a:ext>
                        </a:extLst>
                      </p:cNvPr>
                      <p:cNvGrpSpPr/>
                      <p:nvPr/>
                    </p:nvGrpSpPr>
                    <p:grpSpPr>
                      <a:xfrm>
                        <a:off x="9250060" y="2228655"/>
                        <a:ext cx="77115" cy="89172"/>
                        <a:chOff x="9250060" y="2228655"/>
                        <a:chExt cx="77115" cy="89172"/>
                      </a:xfrm>
                      <a:solidFill>
                        <a:schemeClr val="accent1"/>
                      </a:solidFill>
                    </p:grpSpPr>
                    <p:grpSp>
                      <p:nvGrpSpPr>
                        <p:cNvPr id="4818" name="Graphic 4">
                          <a:extLst>
                            <a:ext uri="{FF2B5EF4-FFF2-40B4-BE49-F238E27FC236}">
                              <a16:creationId xmlns:a16="http://schemas.microsoft.com/office/drawing/2014/main" id="{84FB7ED1-A2DF-40A1-A747-5F7CF3F14040}"/>
                            </a:ext>
                          </a:extLst>
                        </p:cNvPr>
                        <p:cNvGrpSpPr/>
                        <p:nvPr/>
                      </p:nvGrpSpPr>
                      <p:grpSpPr>
                        <a:xfrm>
                          <a:off x="9250060" y="2228655"/>
                          <a:ext cx="77115" cy="89172"/>
                          <a:chOff x="9250060" y="2228655"/>
                          <a:chExt cx="77115" cy="89172"/>
                        </a:xfrm>
                        <a:solidFill>
                          <a:schemeClr val="accent1"/>
                        </a:solidFill>
                      </p:grpSpPr>
                      <p:sp>
                        <p:nvSpPr>
                          <p:cNvPr id="4819" name="Freeform: Shape 4818">
                            <a:extLst>
                              <a:ext uri="{FF2B5EF4-FFF2-40B4-BE49-F238E27FC236}">
                                <a16:creationId xmlns:a16="http://schemas.microsoft.com/office/drawing/2014/main" id="{1A1BC2B6-8D40-4FB0-BE96-9D73CB1F5037}"/>
                              </a:ext>
                            </a:extLst>
                          </p:cNvPr>
                          <p:cNvSpPr/>
                          <p:nvPr/>
                        </p:nvSpPr>
                        <p:spPr>
                          <a:xfrm>
                            <a:off x="9288618" y="2251011"/>
                            <a:ext cx="38557" cy="66816"/>
                          </a:xfrm>
                          <a:custGeom>
                            <a:avLst/>
                            <a:gdLst>
                              <a:gd name="connsiteX0" fmla="*/ 38558 w 38557"/>
                              <a:gd name="connsiteY0" fmla="*/ 44586 h 66816"/>
                              <a:gd name="connsiteX1" fmla="*/ 0 w 38557"/>
                              <a:gd name="connsiteY1" fmla="*/ 66816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6"/>
                                </a:lnTo>
                                <a:lnTo>
                                  <a:pt x="0" y="22230"/>
                                </a:lnTo>
                                <a:lnTo>
                                  <a:pt x="38558"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20" name="Freeform: Shape 4819">
                            <a:extLst>
                              <a:ext uri="{FF2B5EF4-FFF2-40B4-BE49-F238E27FC236}">
                                <a16:creationId xmlns:a16="http://schemas.microsoft.com/office/drawing/2014/main" id="{A518008D-AC7E-46AE-B193-B93C085E016B}"/>
                              </a:ext>
                            </a:extLst>
                          </p:cNvPr>
                          <p:cNvSpPr/>
                          <p:nvPr/>
                        </p:nvSpPr>
                        <p:spPr>
                          <a:xfrm>
                            <a:off x="9250060" y="2228655"/>
                            <a:ext cx="77115" cy="44586"/>
                          </a:xfrm>
                          <a:custGeom>
                            <a:avLst/>
                            <a:gdLst>
                              <a:gd name="connsiteX0" fmla="*/ 77115 w 77115"/>
                              <a:gd name="connsiteY0" fmla="*/ 22356 h 44586"/>
                              <a:gd name="connsiteX1" fmla="*/ 38558 w 77115"/>
                              <a:gd name="connsiteY1" fmla="*/ 44586 h 44586"/>
                              <a:gd name="connsiteX2" fmla="*/ 0 w 77115"/>
                              <a:gd name="connsiteY2" fmla="*/ 22356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356"/>
                                </a:moveTo>
                                <a:lnTo>
                                  <a:pt x="38558" y="44586"/>
                                </a:lnTo>
                                <a:lnTo>
                                  <a:pt x="0" y="22356"/>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21" name="Graphic 4">
                            <a:extLst>
                              <a:ext uri="{FF2B5EF4-FFF2-40B4-BE49-F238E27FC236}">
                                <a16:creationId xmlns:a16="http://schemas.microsoft.com/office/drawing/2014/main" id="{84FB7ED1-A2DF-40A1-A747-5F7CF3F14040}"/>
                              </a:ext>
                            </a:extLst>
                          </p:cNvPr>
                          <p:cNvGrpSpPr/>
                          <p:nvPr/>
                        </p:nvGrpSpPr>
                        <p:grpSpPr>
                          <a:xfrm>
                            <a:off x="9250060" y="2251011"/>
                            <a:ext cx="38557" cy="66816"/>
                            <a:chOff x="9250060" y="2251011"/>
                            <a:chExt cx="38557" cy="66816"/>
                          </a:xfrm>
                          <a:solidFill>
                            <a:schemeClr val="accent1"/>
                          </a:solidFill>
                        </p:grpSpPr>
                        <p:sp>
                          <p:nvSpPr>
                            <p:cNvPr id="4822" name="Freeform: Shape 4821">
                              <a:extLst>
                                <a:ext uri="{FF2B5EF4-FFF2-40B4-BE49-F238E27FC236}">
                                  <a16:creationId xmlns:a16="http://schemas.microsoft.com/office/drawing/2014/main" id="{7C720BD4-6359-422D-A11F-BD1ADEAC7A15}"/>
                                </a:ext>
                              </a:extLst>
                            </p:cNvPr>
                            <p:cNvSpPr/>
                            <p:nvPr/>
                          </p:nvSpPr>
                          <p:spPr>
                            <a:xfrm>
                              <a:off x="9250060" y="2251011"/>
                              <a:ext cx="38557" cy="66816"/>
                            </a:xfrm>
                            <a:custGeom>
                              <a:avLst/>
                              <a:gdLst>
                                <a:gd name="connsiteX0" fmla="*/ 38558 w 38557"/>
                                <a:gd name="connsiteY0" fmla="*/ 66816 h 66816"/>
                                <a:gd name="connsiteX1" fmla="*/ 0 w 38557"/>
                                <a:gd name="connsiteY1" fmla="*/ 44461 h 66816"/>
                                <a:gd name="connsiteX2" fmla="*/ 0 w 38557"/>
                                <a:gd name="connsiteY2" fmla="*/ 0 h 66816"/>
                                <a:gd name="connsiteX3" fmla="*/ 38558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6"/>
                                  </a:moveTo>
                                  <a:lnTo>
                                    <a:pt x="0" y="44461"/>
                                  </a:lnTo>
                                  <a:lnTo>
                                    <a:pt x="0" y="0"/>
                                  </a:lnTo>
                                  <a:lnTo>
                                    <a:pt x="38558" y="2223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23" name="Freeform: Shape 4822">
                              <a:extLst>
                                <a:ext uri="{FF2B5EF4-FFF2-40B4-BE49-F238E27FC236}">
                                  <a16:creationId xmlns:a16="http://schemas.microsoft.com/office/drawing/2014/main" id="{C8DB009D-D581-4223-AFA1-A5A1FC7813DF}"/>
                                </a:ext>
                              </a:extLst>
                            </p:cNvPr>
                            <p:cNvSpPr/>
                            <p:nvPr/>
                          </p:nvSpPr>
                          <p:spPr>
                            <a:xfrm>
                              <a:off x="9265509" y="2259928"/>
                              <a:ext cx="7661" cy="16201"/>
                            </a:xfrm>
                            <a:custGeom>
                              <a:avLst/>
                              <a:gdLst>
                                <a:gd name="connsiteX0" fmla="*/ 7661 w 7661"/>
                                <a:gd name="connsiteY0" fmla="*/ 16202 h 16201"/>
                                <a:gd name="connsiteX1" fmla="*/ 0 w 7661"/>
                                <a:gd name="connsiteY1" fmla="*/ 11806 h 16201"/>
                                <a:gd name="connsiteX2" fmla="*/ 0 w 7661"/>
                                <a:gd name="connsiteY2" fmla="*/ 0 h 16201"/>
                                <a:gd name="connsiteX3" fmla="*/ 7661 w 7661"/>
                                <a:gd name="connsiteY3" fmla="*/ 4396 h 16201"/>
                              </a:gdLst>
                              <a:ahLst/>
                              <a:cxnLst>
                                <a:cxn ang="0">
                                  <a:pos x="connsiteX0" y="connsiteY0"/>
                                </a:cxn>
                                <a:cxn ang="0">
                                  <a:pos x="connsiteX1" y="connsiteY1"/>
                                </a:cxn>
                                <a:cxn ang="0">
                                  <a:pos x="connsiteX2" y="connsiteY2"/>
                                </a:cxn>
                                <a:cxn ang="0">
                                  <a:pos x="connsiteX3" y="connsiteY3"/>
                                </a:cxn>
                              </a:cxnLst>
                              <a:rect l="l" t="t" r="r" b="b"/>
                              <a:pathLst>
                                <a:path w="7661" h="16201">
                                  <a:moveTo>
                                    <a:pt x="7661" y="16202"/>
                                  </a:moveTo>
                                  <a:lnTo>
                                    <a:pt x="0" y="11806"/>
                                  </a:lnTo>
                                  <a:lnTo>
                                    <a:pt x="0" y="0"/>
                                  </a:lnTo>
                                  <a:lnTo>
                                    <a:pt x="7661" y="4396"/>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24" name="Freeform: Shape 4823">
                            <a:extLst>
                              <a:ext uri="{FF2B5EF4-FFF2-40B4-BE49-F238E27FC236}">
                                <a16:creationId xmlns:a16="http://schemas.microsoft.com/office/drawing/2014/main" id="{40AD2FA3-6355-4312-B9F5-EC91DC6813A1}"/>
                              </a:ext>
                            </a:extLst>
                          </p:cNvPr>
                          <p:cNvSpPr/>
                          <p:nvPr/>
                        </p:nvSpPr>
                        <p:spPr>
                          <a:xfrm>
                            <a:off x="9265509" y="2237572"/>
                            <a:ext cx="46344" cy="26751"/>
                          </a:xfrm>
                          <a:custGeom>
                            <a:avLst/>
                            <a:gdLst>
                              <a:gd name="connsiteX0" fmla="*/ 0 w 46344"/>
                              <a:gd name="connsiteY0" fmla="*/ 22356 h 26751"/>
                              <a:gd name="connsiteX1" fmla="*/ 7661 w 46344"/>
                              <a:gd name="connsiteY1" fmla="*/ 26752 h 26751"/>
                              <a:gd name="connsiteX2" fmla="*/ 46345 w 46344"/>
                              <a:gd name="connsiteY2" fmla="*/ 4521 h 26751"/>
                              <a:gd name="connsiteX3" fmla="*/ 3855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356"/>
                                </a:moveTo>
                                <a:lnTo>
                                  <a:pt x="7661" y="26752"/>
                                </a:lnTo>
                                <a:lnTo>
                                  <a:pt x="46345" y="4521"/>
                                </a:lnTo>
                                <a:lnTo>
                                  <a:pt x="3855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825" name="Graphic 4">
                          <a:extLst>
                            <a:ext uri="{FF2B5EF4-FFF2-40B4-BE49-F238E27FC236}">
                              <a16:creationId xmlns:a16="http://schemas.microsoft.com/office/drawing/2014/main" id="{84FB7ED1-A2DF-40A1-A747-5F7CF3F14040}"/>
                            </a:ext>
                          </a:extLst>
                        </p:cNvPr>
                        <p:cNvGrpSpPr/>
                        <p:nvPr/>
                      </p:nvGrpSpPr>
                      <p:grpSpPr>
                        <a:xfrm>
                          <a:off x="9260611" y="2284419"/>
                          <a:ext cx="17457" cy="23486"/>
                          <a:chOff x="9260611" y="2284419"/>
                          <a:chExt cx="17457" cy="23486"/>
                        </a:xfrm>
                        <a:solidFill>
                          <a:srgbClr val="000000"/>
                        </a:solidFill>
                      </p:grpSpPr>
                      <p:grpSp>
                        <p:nvGrpSpPr>
                          <p:cNvPr id="4826" name="Graphic 4">
                            <a:extLst>
                              <a:ext uri="{FF2B5EF4-FFF2-40B4-BE49-F238E27FC236}">
                                <a16:creationId xmlns:a16="http://schemas.microsoft.com/office/drawing/2014/main" id="{84FB7ED1-A2DF-40A1-A747-5F7CF3F14040}"/>
                              </a:ext>
                            </a:extLst>
                          </p:cNvPr>
                          <p:cNvGrpSpPr/>
                          <p:nvPr/>
                        </p:nvGrpSpPr>
                        <p:grpSpPr>
                          <a:xfrm>
                            <a:off x="9260611" y="2284419"/>
                            <a:ext cx="17457" cy="23486"/>
                            <a:chOff x="9260611" y="2284419"/>
                            <a:chExt cx="17457" cy="23486"/>
                          </a:xfrm>
                          <a:solidFill>
                            <a:srgbClr val="000000"/>
                          </a:solidFill>
                        </p:grpSpPr>
                        <p:sp>
                          <p:nvSpPr>
                            <p:cNvPr id="4827" name="Freeform: Shape 4826">
                              <a:extLst>
                                <a:ext uri="{FF2B5EF4-FFF2-40B4-BE49-F238E27FC236}">
                                  <a16:creationId xmlns:a16="http://schemas.microsoft.com/office/drawing/2014/main" id="{EE4C2E80-C17B-4961-B8B7-AD9EF1F4334A}"/>
                                </a:ext>
                              </a:extLst>
                            </p:cNvPr>
                            <p:cNvSpPr/>
                            <p:nvPr/>
                          </p:nvSpPr>
                          <p:spPr>
                            <a:xfrm>
                              <a:off x="9277189" y="2293964"/>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28" name="Freeform: Shape 4827">
                              <a:extLst>
                                <a:ext uri="{FF2B5EF4-FFF2-40B4-BE49-F238E27FC236}">
                                  <a16:creationId xmlns:a16="http://schemas.microsoft.com/office/drawing/2014/main" id="{AD5B89EE-9E0E-4007-93ED-EB0383549C2D}"/>
                                </a:ext>
                              </a:extLst>
                            </p:cNvPr>
                            <p:cNvSpPr/>
                            <p:nvPr/>
                          </p:nvSpPr>
                          <p:spPr>
                            <a:xfrm>
                              <a:off x="9275305" y="2292834"/>
                              <a:ext cx="1004" cy="11931"/>
                            </a:xfrm>
                            <a:custGeom>
                              <a:avLst/>
                              <a:gdLst>
                                <a:gd name="connsiteX0" fmla="*/ 0 w 1004"/>
                                <a:gd name="connsiteY0" fmla="*/ 0 h 11931"/>
                                <a:gd name="connsiteX1" fmla="*/ 1005 w 1004"/>
                                <a:gd name="connsiteY1" fmla="*/ 628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628"/>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29" name="Freeform: Shape 4828">
                              <a:extLst>
                                <a:ext uri="{FF2B5EF4-FFF2-40B4-BE49-F238E27FC236}">
                                  <a16:creationId xmlns:a16="http://schemas.microsoft.com/office/drawing/2014/main" id="{09BFBD7F-3921-4E18-9189-C777CF810C76}"/>
                                </a:ext>
                              </a:extLst>
                            </p:cNvPr>
                            <p:cNvSpPr/>
                            <p:nvPr/>
                          </p:nvSpPr>
                          <p:spPr>
                            <a:xfrm>
                              <a:off x="9273546" y="2291829"/>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0" name="Freeform: Shape 4829">
                              <a:extLst>
                                <a:ext uri="{FF2B5EF4-FFF2-40B4-BE49-F238E27FC236}">
                                  <a16:creationId xmlns:a16="http://schemas.microsoft.com/office/drawing/2014/main" id="{A65BF574-BDA2-448E-9E76-BC6C6B3E273D}"/>
                                </a:ext>
                              </a:extLst>
                            </p:cNvPr>
                            <p:cNvSpPr/>
                            <p:nvPr/>
                          </p:nvSpPr>
                          <p:spPr>
                            <a:xfrm>
                              <a:off x="9271663" y="2290824"/>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1" name="Freeform: Shape 4830">
                              <a:extLst>
                                <a:ext uri="{FF2B5EF4-FFF2-40B4-BE49-F238E27FC236}">
                                  <a16:creationId xmlns:a16="http://schemas.microsoft.com/office/drawing/2014/main" id="{3302FC39-0EB1-4836-B568-4E8F925CE292}"/>
                                </a:ext>
                              </a:extLst>
                            </p:cNvPr>
                            <p:cNvSpPr/>
                            <p:nvPr/>
                          </p:nvSpPr>
                          <p:spPr>
                            <a:xfrm>
                              <a:off x="9269779" y="2289694"/>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2" name="Freeform: Shape 4831">
                              <a:extLst>
                                <a:ext uri="{FF2B5EF4-FFF2-40B4-BE49-F238E27FC236}">
                                  <a16:creationId xmlns:a16="http://schemas.microsoft.com/office/drawing/2014/main" id="{990F96A1-CC9B-4466-B700-CF49383D4E9D}"/>
                                </a:ext>
                              </a:extLst>
                            </p:cNvPr>
                            <p:cNvSpPr/>
                            <p:nvPr/>
                          </p:nvSpPr>
                          <p:spPr>
                            <a:xfrm>
                              <a:off x="9268020" y="2288689"/>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3" name="Freeform: Shape 4832">
                              <a:extLst>
                                <a:ext uri="{FF2B5EF4-FFF2-40B4-BE49-F238E27FC236}">
                                  <a16:creationId xmlns:a16="http://schemas.microsoft.com/office/drawing/2014/main" id="{E01B8CCA-8A76-4227-AA54-A23B9D745550}"/>
                                </a:ext>
                              </a:extLst>
                            </p:cNvPr>
                            <p:cNvSpPr/>
                            <p:nvPr/>
                          </p:nvSpPr>
                          <p:spPr>
                            <a:xfrm>
                              <a:off x="9266137" y="2287559"/>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4" name="Freeform: Shape 4833">
                              <a:extLst>
                                <a:ext uri="{FF2B5EF4-FFF2-40B4-BE49-F238E27FC236}">
                                  <a16:creationId xmlns:a16="http://schemas.microsoft.com/office/drawing/2014/main" id="{70FF24E6-468B-4028-A7F6-F7244524B6AD}"/>
                                </a:ext>
                              </a:extLst>
                            </p:cNvPr>
                            <p:cNvSpPr/>
                            <p:nvPr/>
                          </p:nvSpPr>
                          <p:spPr>
                            <a:xfrm>
                              <a:off x="9264253" y="2286554"/>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304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5" name="Freeform: Shape 4834">
                              <a:extLst>
                                <a:ext uri="{FF2B5EF4-FFF2-40B4-BE49-F238E27FC236}">
                                  <a16:creationId xmlns:a16="http://schemas.microsoft.com/office/drawing/2014/main" id="{9D98338D-17B4-4F81-9919-88FD407FD373}"/>
                                </a:ext>
                              </a:extLst>
                            </p:cNvPr>
                            <p:cNvSpPr/>
                            <p:nvPr/>
                          </p:nvSpPr>
                          <p:spPr>
                            <a:xfrm>
                              <a:off x="9262494" y="2285424"/>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6" name="Freeform: Shape 4835">
                              <a:extLst>
                                <a:ext uri="{FF2B5EF4-FFF2-40B4-BE49-F238E27FC236}">
                                  <a16:creationId xmlns:a16="http://schemas.microsoft.com/office/drawing/2014/main" id="{768D9BA0-0E1F-4593-93B1-149C561067DC}"/>
                                </a:ext>
                              </a:extLst>
                            </p:cNvPr>
                            <p:cNvSpPr/>
                            <p:nvPr/>
                          </p:nvSpPr>
                          <p:spPr>
                            <a:xfrm>
                              <a:off x="9260611" y="2284419"/>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37" name="Freeform: Shape 4836">
                            <a:extLst>
                              <a:ext uri="{FF2B5EF4-FFF2-40B4-BE49-F238E27FC236}">
                                <a16:creationId xmlns:a16="http://schemas.microsoft.com/office/drawing/2014/main" id="{26E50E38-E6C7-408C-8B3F-7991C0174B12}"/>
                              </a:ext>
                            </a:extLst>
                          </p:cNvPr>
                          <p:cNvSpPr/>
                          <p:nvPr/>
                        </p:nvSpPr>
                        <p:spPr>
                          <a:xfrm>
                            <a:off x="9262871" y="2297858"/>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8" name="Freeform: Shape 4837">
                            <a:extLst>
                              <a:ext uri="{FF2B5EF4-FFF2-40B4-BE49-F238E27FC236}">
                                <a16:creationId xmlns:a16="http://schemas.microsoft.com/office/drawing/2014/main" id="{F6D2EBC1-36F8-4CC4-9B3E-37DE29BE24E7}"/>
                              </a:ext>
                            </a:extLst>
                          </p:cNvPr>
                          <p:cNvSpPr/>
                          <p:nvPr/>
                        </p:nvSpPr>
                        <p:spPr>
                          <a:xfrm>
                            <a:off x="9266639" y="2299993"/>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9" name="Freeform: Shape 4838">
                            <a:extLst>
                              <a:ext uri="{FF2B5EF4-FFF2-40B4-BE49-F238E27FC236}">
                                <a16:creationId xmlns:a16="http://schemas.microsoft.com/office/drawing/2014/main" id="{8F8C47F6-4127-4A76-8267-7AF77D7AC6BC}"/>
                              </a:ext>
                            </a:extLst>
                          </p:cNvPr>
                          <p:cNvSpPr/>
                          <p:nvPr/>
                        </p:nvSpPr>
                        <p:spPr>
                          <a:xfrm>
                            <a:off x="9270282" y="2302128"/>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40" name="Freeform: Shape 4839">
                            <a:extLst>
                              <a:ext uri="{FF2B5EF4-FFF2-40B4-BE49-F238E27FC236}">
                                <a16:creationId xmlns:a16="http://schemas.microsoft.com/office/drawing/2014/main" id="{EE38D7A2-1A79-41CA-B43E-FADE74A5B0A5}"/>
                              </a:ext>
                            </a:extLst>
                          </p:cNvPr>
                          <p:cNvSpPr/>
                          <p:nvPr/>
                        </p:nvSpPr>
                        <p:spPr>
                          <a:xfrm>
                            <a:off x="9273924" y="2304263"/>
                            <a:ext cx="1883" cy="3139"/>
                          </a:xfrm>
                          <a:custGeom>
                            <a:avLst/>
                            <a:gdLst>
                              <a:gd name="connsiteX0" fmla="*/ 1883 w 1883"/>
                              <a:gd name="connsiteY0" fmla="*/ 3140 h 3139"/>
                              <a:gd name="connsiteX1" fmla="*/ 0 w 1883"/>
                              <a:gd name="connsiteY1" fmla="*/ 2010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010"/>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841" name="Graphic 4">
                        <a:extLst>
                          <a:ext uri="{FF2B5EF4-FFF2-40B4-BE49-F238E27FC236}">
                            <a16:creationId xmlns:a16="http://schemas.microsoft.com/office/drawing/2014/main" id="{84FB7ED1-A2DF-40A1-A747-5F7CF3F14040}"/>
                          </a:ext>
                        </a:extLst>
                      </p:cNvPr>
                      <p:cNvGrpSpPr/>
                      <p:nvPr/>
                    </p:nvGrpSpPr>
                    <p:grpSpPr>
                      <a:xfrm>
                        <a:off x="9209242" y="2252267"/>
                        <a:ext cx="77115" cy="89172"/>
                        <a:chOff x="9209242" y="2252267"/>
                        <a:chExt cx="77115" cy="89172"/>
                      </a:xfrm>
                      <a:solidFill>
                        <a:schemeClr val="accent1"/>
                      </a:solidFill>
                    </p:grpSpPr>
                    <p:grpSp>
                      <p:nvGrpSpPr>
                        <p:cNvPr id="4842" name="Graphic 4">
                          <a:extLst>
                            <a:ext uri="{FF2B5EF4-FFF2-40B4-BE49-F238E27FC236}">
                              <a16:creationId xmlns:a16="http://schemas.microsoft.com/office/drawing/2014/main" id="{84FB7ED1-A2DF-40A1-A747-5F7CF3F14040}"/>
                            </a:ext>
                          </a:extLst>
                        </p:cNvPr>
                        <p:cNvGrpSpPr/>
                        <p:nvPr/>
                      </p:nvGrpSpPr>
                      <p:grpSpPr>
                        <a:xfrm>
                          <a:off x="9209242" y="2252267"/>
                          <a:ext cx="77115" cy="89172"/>
                          <a:chOff x="9209242" y="2252267"/>
                          <a:chExt cx="77115" cy="89172"/>
                        </a:xfrm>
                        <a:solidFill>
                          <a:schemeClr val="accent1"/>
                        </a:solidFill>
                      </p:grpSpPr>
                      <p:sp>
                        <p:nvSpPr>
                          <p:cNvPr id="4843" name="Freeform: Shape 4842">
                            <a:extLst>
                              <a:ext uri="{FF2B5EF4-FFF2-40B4-BE49-F238E27FC236}">
                                <a16:creationId xmlns:a16="http://schemas.microsoft.com/office/drawing/2014/main" id="{AC9A15DD-34E6-4CCD-81B9-5590E947378E}"/>
                              </a:ext>
                            </a:extLst>
                          </p:cNvPr>
                          <p:cNvSpPr/>
                          <p:nvPr/>
                        </p:nvSpPr>
                        <p:spPr>
                          <a:xfrm>
                            <a:off x="9247800" y="2274622"/>
                            <a:ext cx="38557" cy="66816"/>
                          </a:xfrm>
                          <a:custGeom>
                            <a:avLst/>
                            <a:gdLst>
                              <a:gd name="connsiteX0" fmla="*/ 38558 w 38557"/>
                              <a:gd name="connsiteY0" fmla="*/ 44461 h 66816"/>
                              <a:gd name="connsiteX1" fmla="*/ 0 w 38557"/>
                              <a:gd name="connsiteY1" fmla="*/ 66817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461"/>
                                </a:moveTo>
                                <a:lnTo>
                                  <a:pt x="0" y="66817"/>
                                </a:lnTo>
                                <a:lnTo>
                                  <a:pt x="0" y="22230"/>
                                </a:lnTo>
                                <a:lnTo>
                                  <a:pt x="38558"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44" name="Freeform: Shape 4843">
                            <a:extLst>
                              <a:ext uri="{FF2B5EF4-FFF2-40B4-BE49-F238E27FC236}">
                                <a16:creationId xmlns:a16="http://schemas.microsoft.com/office/drawing/2014/main" id="{DBDA80AA-7711-4BCA-9FCB-CA3366A5002C}"/>
                              </a:ext>
                            </a:extLst>
                          </p:cNvPr>
                          <p:cNvSpPr/>
                          <p:nvPr/>
                        </p:nvSpPr>
                        <p:spPr>
                          <a:xfrm>
                            <a:off x="9209242" y="2252267"/>
                            <a:ext cx="77115" cy="44586"/>
                          </a:xfrm>
                          <a:custGeom>
                            <a:avLst/>
                            <a:gdLst>
                              <a:gd name="connsiteX0" fmla="*/ 77115 w 77115"/>
                              <a:gd name="connsiteY0" fmla="*/ 22356 h 44586"/>
                              <a:gd name="connsiteX1" fmla="*/ 38558 w 77115"/>
                              <a:gd name="connsiteY1" fmla="*/ 44586 h 44586"/>
                              <a:gd name="connsiteX2" fmla="*/ 0 w 77115"/>
                              <a:gd name="connsiteY2" fmla="*/ 22356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356"/>
                                </a:moveTo>
                                <a:lnTo>
                                  <a:pt x="38558" y="44586"/>
                                </a:lnTo>
                                <a:lnTo>
                                  <a:pt x="0" y="22356"/>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45" name="Graphic 4">
                            <a:extLst>
                              <a:ext uri="{FF2B5EF4-FFF2-40B4-BE49-F238E27FC236}">
                                <a16:creationId xmlns:a16="http://schemas.microsoft.com/office/drawing/2014/main" id="{84FB7ED1-A2DF-40A1-A747-5F7CF3F14040}"/>
                              </a:ext>
                            </a:extLst>
                          </p:cNvPr>
                          <p:cNvGrpSpPr/>
                          <p:nvPr/>
                        </p:nvGrpSpPr>
                        <p:grpSpPr>
                          <a:xfrm>
                            <a:off x="9209242" y="2274622"/>
                            <a:ext cx="38557" cy="66816"/>
                            <a:chOff x="9209242" y="2274622"/>
                            <a:chExt cx="38557" cy="66816"/>
                          </a:xfrm>
                          <a:solidFill>
                            <a:schemeClr val="accent1"/>
                          </a:solidFill>
                        </p:grpSpPr>
                        <p:sp>
                          <p:nvSpPr>
                            <p:cNvPr id="4846" name="Freeform: Shape 4845">
                              <a:extLst>
                                <a:ext uri="{FF2B5EF4-FFF2-40B4-BE49-F238E27FC236}">
                                  <a16:creationId xmlns:a16="http://schemas.microsoft.com/office/drawing/2014/main" id="{2DCE1141-822C-41FC-90DA-E0E47A147F19}"/>
                                </a:ext>
                              </a:extLst>
                            </p:cNvPr>
                            <p:cNvSpPr/>
                            <p:nvPr/>
                          </p:nvSpPr>
                          <p:spPr>
                            <a:xfrm>
                              <a:off x="9209242" y="2274622"/>
                              <a:ext cx="38557" cy="66816"/>
                            </a:xfrm>
                            <a:custGeom>
                              <a:avLst/>
                              <a:gdLst>
                                <a:gd name="connsiteX0" fmla="*/ 38558 w 38557"/>
                                <a:gd name="connsiteY0" fmla="*/ 66817 h 66816"/>
                                <a:gd name="connsiteX1" fmla="*/ 0 w 38557"/>
                                <a:gd name="connsiteY1" fmla="*/ 44461 h 66816"/>
                                <a:gd name="connsiteX2" fmla="*/ 0 w 38557"/>
                                <a:gd name="connsiteY2" fmla="*/ 0 h 66816"/>
                                <a:gd name="connsiteX3" fmla="*/ 38558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7"/>
                                  </a:moveTo>
                                  <a:lnTo>
                                    <a:pt x="0" y="44461"/>
                                  </a:lnTo>
                                  <a:lnTo>
                                    <a:pt x="0" y="0"/>
                                  </a:lnTo>
                                  <a:lnTo>
                                    <a:pt x="38558"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47" name="Freeform: Shape 4846">
                              <a:extLst>
                                <a:ext uri="{FF2B5EF4-FFF2-40B4-BE49-F238E27FC236}">
                                  <a16:creationId xmlns:a16="http://schemas.microsoft.com/office/drawing/2014/main" id="{3E9DBF11-691F-4568-B0D6-0E5716CCFDF6}"/>
                                </a:ext>
                              </a:extLst>
                            </p:cNvPr>
                            <p:cNvSpPr/>
                            <p:nvPr/>
                          </p:nvSpPr>
                          <p:spPr>
                            <a:xfrm>
                              <a:off x="9224565" y="2283414"/>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48" name="Freeform: Shape 4847">
                            <a:extLst>
                              <a:ext uri="{FF2B5EF4-FFF2-40B4-BE49-F238E27FC236}">
                                <a16:creationId xmlns:a16="http://schemas.microsoft.com/office/drawing/2014/main" id="{AD0DBE82-3AD5-4564-BE3B-DCE3BF26EE5D}"/>
                              </a:ext>
                            </a:extLst>
                          </p:cNvPr>
                          <p:cNvSpPr/>
                          <p:nvPr/>
                        </p:nvSpPr>
                        <p:spPr>
                          <a:xfrm>
                            <a:off x="9224565" y="2261184"/>
                            <a:ext cx="46344" cy="26751"/>
                          </a:xfrm>
                          <a:custGeom>
                            <a:avLst/>
                            <a:gdLst>
                              <a:gd name="connsiteX0" fmla="*/ 0 w 46344"/>
                              <a:gd name="connsiteY0" fmla="*/ 22230 h 26751"/>
                              <a:gd name="connsiteX1" fmla="*/ 7787 w 46344"/>
                              <a:gd name="connsiteY1" fmla="*/ 26752 h 26751"/>
                              <a:gd name="connsiteX2" fmla="*/ 46345 w 46344"/>
                              <a:gd name="connsiteY2" fmla="*/ 4521 h 26751"/>
                              <a:gd name="connsiteX3" fmla="*/ 38683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521"/>
                                </a:lnTo>
                                <a:lnTo>
                                  <a:pt x="38683"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849" name="Graphic 4">
                          <a:extLst>
                            <a:ext uri="{FF2B5EF4-FFF2-40B4-BE49-F238E27FC236}">
                              <a16:creationId xmlns:a16="http://schemas.microsoft.com/office/drawing/2014/main" id="{84FB7ED1-A2DF-40A1-A747-5F7CF3F14040}"/>
                            </a:ext>
                          </a:extLst>
                        </p:cNvPr>
                        <p:cNvGrpSpPr/>
                        <p:nvPr/>
                      </p:nvGrpSpPr>
                      <p:grpSpPr>
                        <a:xfrm>
                          <a:off x="9219792" y="2308031"/>
                          <a:ext cx="17457" cy="23486"/>
                          <a:chOff x="9219792" y="2308031"/>
                          <a:chExt cx="17457" cy="23486"/>
                        </a:xfrm>
                        <a:solidFill>
                          <a:srgbClr val="000000"/>
                        </a:solidFill>
                      </p:grpSpPr>
                      <p:grpSp>
                        <p:nvGrpSpPr>
                          <p:cNvPr id="4850" name="Graphic 4">
                            <a:extLst>
                              <a:ext uri="{FF2B5EF4-FFF2-40B4-BE49-F238E27FC236}">
                                <a16:creationId xmlns:a16="http://schemas.microsoft.com/office/drawing/2014/main" id="{84FB7ED1-A2DF-40A1-A747-5F7CF3F14040}"/>
                              </a:ext>
                            </a:extLst>
                          </p:cNvPr>
                          <p:cNvGrpSpPr/>
                          <p:nvPr/>
                        </p:nvGrpSpPr>
                        <p:grpSpPr>
                          <a:xfrm>
                            <a:off x="9219792" y="2308031"/>
                            <a:ext cx="17457" cy="23486"/>
                            <a:chOff x="9219792" y="2308031"/>
                            <a:chExt cx="17457" cy="23486"/>
                          </a:xfrm>
                          <a:solidFill>
                            <a:srgbClr val="000000"/>
                          </a:solidFill>
                        </p:grpSpPr>
                        <p:sp>
                          <p:nvSpPr>
                            <p:cNvPr id="4851" name="Freeform: Shape 4850">
                              <a:extLst>
                                <a:ext uri="{FF2B5EF4-FFF2-40B4-BE49-F238E27FC236}">
                                  <a16:creationId xmlns:a16="http://schemas.microsoft.com/office/drawing/2014/main" id="{296E2A15-7CAF-496F-9A5F-14B25485D820}"/>
                                </a:ext>
                              </a:extLst>
                            </p:cNvPr>
                            <p:cNvSpPr/>
                            <p:nvPr/>
                          </p:nvSpPr>
                          <p:spPr>
                            <a:xfrm>
                              <a:off x="9236371" y="2317576"/>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2" name="Freeform: Shape 4851">
                              <a:extLst>
                                <a:ext uri="{FF2B5EF4-FFF2-40B4-BE49-F238E27FC236}">
                                  <a16:creationId xmlns:a16="http://schemas.microsoft.com/office/drawing/2014/main" id="{20D4D564-607F-406A-A029-2F338BA60998}"/>
                                </a:ext>
                              </a:extLst>
                            </p:cNvPr>
                            <p:cNvSpPr/>
                            <p:nvPr/>
                          </p:nvSpPr>
                          <p:spPr>
                            <a:xfrm>
                              <a:off x="9234487" y="2316446"/>
                              <a:ext cx="879" cy="11931"/>
                            </a:xfrm>
                            <a:custGeom>
                              <a:avLst/>
                              <a:gdLst>
                                <a:gd name="connsiteX0" fmla="*/ 0 w 879"/>
                                <a:gd name="connsiteY0" fmla="*/ 0 h 11931"/>
                                <a:gd name="connsiteX1" fmla="*/ 879 w 879"/>
                                <a:gd name="connsiteY1" fmla="*/ 628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3" name="Freeform: Shape 4852">
                              <a:extLst>
                                <a:ext uri="{FF2B5EF4-FFF2-40B4-BE49-F238E27FC236}">
                                  <a16:creationId xmlns:a16="http://schemas.microsoft.com/office/drawing/2014/main" id="{D48707BF-D4AD-4917-BB32-A35B1EF00611}"/>
                                </a:ext>
                              </a:extLst>
                            </p:cNvPr>
                            <p:cNvSpPr/>
                            <p:nvPr/>
                          </p:nvSpPr>
                          <p:spPr>
                            <a:xfrm>
                              <a:off x="9232603" y="2315441"/>
                              <a:ext cx="1004" cy="11931"/>
                            </a:xfrm>
                            <a:custGeom>
                              <a:avLst/>
                              <a:gdLst>
                                <a:gd name="connsiteX0" fmla="*/ 0 w 1004"/>
                                <a:gd name="connsiteY0" fmla="*/ 0 h 11931"/>
                                <a:gd name="connsiteX1" fmla="*/ 1004 w 1004"/>
                                <a:gd name="connsiteY1" fmla="*/ 502 h 11931"/>
                                <a:gd name="connsiteX2" fmla="*/ 1004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4" name="Freeform: Shape 4853">
                              <a:extLst>
                                <a:ext uri="{FF2B5EF4-FFF2-40B4-BE49-F238E27FC236}">
                                  <a16:creationId xmlns:a16="http://schemas.microsoft.com/office/drawing/2014/main" id="{49D0EE09-C7E0-4FB8-B680-A874872EB800}"/>
                                </a:ext>
                              </a:extLst>
                            </p:cNvPr>
                            <p:cNvSpPr/>
                            <p:nvPr/>
                          </p:nvSpPr>
                          <p:spPr>
                            <a:xfrm>
                              <a:off x="9230845" y="2314310"/>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5" name="Freeform: Shape 4854">
                              <a:extLst>
                                <a:ext uri="{FF2B5EF4-FFF2-40B4-BE49-F238E27FC236}">
                                  <a16:creationId xmlns:a16="http://schemas.microsoft.com/office/drawing/2014/main" id="{2A83ABDD-E574-4E29-8706-8B779C7F0B49}"/>
                                </a:ext>
                              </a:extLst>
                            </p:cNvPr>
                            <p:cNvSpPr/>
                            <p:nvPr/>
                          </p:nvSpPr>
                          <p:spPr>
                            <a:xfrm>
                              <a:off x="9228960" y="2313306"/>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6" name="Freeform: Shape 4855">
                              <a:extLst>
                                <a:ext uri="{FF2B5EF4-FFF2-40B4-BE49-F238E27FC236}">
                                  <a16:creationId xmlns:a16="http://schemas.microsoft.com/office/drawing/2014/main" id="{CD8FAEF1-4ECB-4A7F-8F9E-5B77AA2363F2}"/>
                                </a:ext>
                              </a:extLst>
                            </p:cNvPr>
                            <p:cNvSpPr/>
                            <p:nvPr/>
                          </p:nvSpPr>
                          <p:spPr>
                            <a:xfrm>
                              <a:off x="9227077" y="2312175"/>
                              <a:ext cx="1004" cy="11931"/>
                            </a:xfrm>
                            <a:custGeom>
                              <a:avLst/>
                              <a:gdLst>
                                <a:gd name="connsiteX0" fmla="*/ 0 w 1004"/>
                                <a:gd name="connsiteY0" fmla="*/ 0 h 11931"/>
                                <a:gd name="connsiteX1" fmla="*/ 1004 w 1004"/>
                                <a:gd name="connsiteY1" fmla="*/ 628 h 11931"/>
                                <a:gd name="connsiteX2" fmla="*/ 1004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628"/>
                                  </a:lnTo>
                                  <a:lnTo>
                                    <a:pt x="1004"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7" name="Freeform: Shape 4856">
                              <a:extLst>
                                <a:ext uri="{FF2B5EF4-FFF2-40B4-BE49-F238E27FC236}">
                                  <a16:creationId xmlns:a16="http://schemas.microsoft.com/office/drawing/2014/main" id="{82248FCA-E0D1-40A1-9C88-71DAAD10BEAF}"/>
                                </a:ext>
                              </a:extLst>
                            </p:cNvPr>
                            <p:cNvSpPr/>
                            <p:nvPr/>
                          </p:nvSpPr>
                          <p:spPr>
                            <a:xfrm>
                              <a:off x="9225319" y="2311171"/>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8" name="Freeform: Shape 4857">
                              <a:extLst>
                                <a:ext uri="{FF2B5EF4-FFF2-40B4-BE49-F238E27FC236}">
                                  <a16:creationId xmlns:a16="http://schemas.microsoft.com/office/drawing/2014/main" id="{6A99C85D-3D65-4E12-A998-98DF69A21D2F}"/>
                                </a:ext>
                              </a:extLst>
                            </p:cNvPr>
                            <p:cNvSpPr/>
                            <p:nvPr/>
                          </p:nvSpPr>
                          <p:spPr>
                            <a:xfrm>
                              <a:off x="9223434" y="2310040"/>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9" name="Freeform: Shape 4858">
                              <a:extLst>
                                <a:ext uri="{FF2B5EF4-FFF2-40B4-BE49-F238E27FC236}">
                                  <a16:creationId xmlns:a16="http://schemas.microsoft.com/office/drawing/2014/main" id="{81810D47-7F2D-4E4A-8BCC-8338F472E20D}"/>
                                </a:ext>
                              </a:extLst>
                            </p:cNvPr>
                            <p:cNvSpPr/>
                            <p:nvPr/>
                          </p:nvSpPr>
                          <p:spPr>
                            <a:xfrm>
                              <a:off x="9221551" y="2309035"/>
                              <a:ext cx="1004" cy="11931"/>
                            </a:xfrm>
                            <a:custGeom>
                              <a:avLst/>
                              <a:gdLst>
                                <a:gd name="connsiteX0" fmla="*/ 0 w 1004"/>
                                <a:gd name="connsiteY0" fmla="*/ 0 h 11931"/>
                                <a:gd name="connsiteX1" fmla="*/ 1004 w 1004"/>
                                <a:gd name="connsiteY1" fmla="*/ 502 h 11931"/>
                                <a:gd name="connsiteX2" fmla="*/ 1004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0" name="Freeform: Shape 4859">
                              <a:extLst>
                                <a:ext uri="{FF2B5EF4-FFF2-40B4-BE49-F238E27FC236}">
                                  <a16:creationId xmlns:a16="http://schemas.microsoft.com/office/drawing/2014/main" id="{EA291549-0429-456F-8C65-941454F5B484}"/>
                                </a:ext>
                              </a:extLst>
                            </p:cNvPr>
                            <p:cNvSpPr/>
                            <p:nvPr/>
                          </p:nvSpPr>
                          <p:spPr>
                            <a:xfrm>
                              <a:off x="9219792" y="2308031"/>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61" name="Freeform: Shape 4860">
                            <a:extLst>
                              <a:ext uri="{FF2B5EF4-FFF2-40B4-BE49-F238E27FC236}">
                                <a16:creationId xmlns:a16="http://schemas.microsoft.com/office/drawing/2014/main" id="{6058615E-39D7-4EFD-A673-79189E5903C5}"/>
                              </a:ext>
                            </a:extLst>
                          </p:cNvPr>
                          <p:cNvSpPr/>
                          <p:nvPr/>
                        </p:nvSpPr>
                        <p:spPr>
                          <a:xfrm>
                            <a:off x="9222053" y="2321469"/>
                            <a:ext cx="1884" cy="3139"/>
                          </a:xfrm>
                          <a:custGeom>
                            <a:avLst/>
                            <a:gdLst>
                              <a:gd name="connsiteX0" fmla="*/ 1884 w 1884"/>
                              <a:gd name="connsiteY0" fmla="*/ 3140 h 3139"/>
                              <a:gd name="connsiteX1" fmla="*/ 0 w 1884"/>
                              <a:gd name="connsiteY1" fmla="*/ 2010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010"/>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2" name="Freeform: Shape 4861">
                            <a:extLst>
                              <a:ext uri="{FF2B5EF4-FFF2-40B4-BE49-F238E27FC236}">
                                <a16:creationId xmlns:a16="http://schemas.microsoft.com/office/drawing/2014/main" id="{8B31EB57-5A55-4C45-8830-4915413CCCC4}"/>
                              </a:ext>
                            </a:extLst>
                          </p:cNvPr>
                          <p:cNvSpPr/>
                          <p:nvPr/>
                        </p:nvSpPr>
                        <p:spPr>
                          <a:xfrm>
                            <a:off x="9225695" y="2323479"/>
                            <a:ext cx="1884" cy="3265"/>
                          </a:xfrm>
                          <a:custGeom>
                            <a:avLst/>
                            <a:gdLst>
                              <a:gd name="connsiteX0" fmla="*/ 1884 w 1884"/>
                              <a:gd name="connsiteY0" fmla="*/ 3265 h 3265"/>
                              <a:gd name="connsiteX1" fmla="*/ 0 w 1884"/>
                              <a:gd name="connsiteY1" fmla="*/ 2135 h 3265"/>
                              <a:gd name="connsiteX2" fmla="*/ 0 w 1884"/>
                              <a:gd name="connsiteY2" fmla="*/ 0 h 3265"/>
                              <a:gd name="connsiteX3" fmla="*/ 1884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1884" y="3265"/>
                                </a:moveTo>
                                <a:lnTo>
                                  <a:pt x="0" y="2135"/>
                                </a:lnTo>
                                <a:lnTo>
                                  <a:pt x="0" y="0"/>
                                </a:lnTo>
                                <a:lnTo>
                                  <a:pt x="1884"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3" name="Freeform: Shape 4862">
                            <a:extLst>
                              <a:ext uri="{FF2B5EF4-FFF2-40B4-BE49-F238E27FC236}">
                                <a16:creationId xmlns:a16="http://schemas.microsoft.com/office/drawing/2014/main" id="{89D40212-F9FB-4034-BB1A-7A09661A0277}"/>
                              </a:ext>
                            </a:extLst>
                          </p:cNvPr>
                          <p:cNvSpPr/>
                          <p:nvPr/>
                        </p:nvSpPr>
                        <p:spPr>
                          <a:xfrm>
                            <a:off x="9229463" y="2325614"/>
                            <a:ext cx="1757" cy="3265"/>
                          </a:xfrm>
                          <a:custGeom>
                            <a:avLst/>
                            <a:gdLst>
                              <a:gd name="connsiteX0" fmla="*/ 1758 w 1757"/>
                              <a:gd name="connsiteY0" fmla="*/ 3265 h 3265"/>
                              <a:gd name="connsiteX1" fmla="*/ 0 w 1757"/>
                              <a:gd name="connsiteY1" fmla="*/ 2135 h 3265"/>
                              <a:gd name="connsiteX2" fmla="*/ 0 w 1757"/>
                              <a:gd name="connsiteY2" fmla="*/ 0 h 3265"/>
                              <a:gd name="connsiteX3" fmla="*/ 1758 w 1757"/>
                              <a:gd name="connsiteY3" fmla="*/ 1130 h 3265"/>
                            </a:gdLst>
                            <a:ahLst/>
                            <a:cxnLst>
                              <a:cxn ang="0">
                                <a:pos x="connsiteX0" y="connsiteY0"/>
                              </a:cxn>
                              <a:cxn ang="0">
                                <a:pos x="connsiteX1" y="connsiteY1"/>
                              </a:cxn>
                              <a:cxn ang="0">
                                <a:pos x="connsiteX2" y="connsiteY2"/>
                              </a:cxn>
                              <a:cxn ang="0">
                                <a:pos x="connsiteX3" y="connsiteY3"/>
                              </a:cxn>
                            </a:cxnLst>
                            <a:rect l="l" t="t" r="r" b="b"/>
                            <a:pathLst>
                              <a:path w="1757" h="3265">
                                <a:moveTo>
                                  <a:pt x="1758" y="3265"/>
                                </a:moveTo>
                                <a:lnTo>
                                  <a:pt x="0" y="2135"/>
                                </a:lnTo>
                                <a:lnTo>
                                  <a:pt x="0" y="0"/>
                                </a:lnTo>
                                <a:lnTo>
                                  <a:pt x="1758"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4" name="Freeform: Shape 4863">
                            <a:extLst>
                              <a:ext uri="{FF2B5EF4-FFF2-40B4-BE49-F238E27FC236}">
                                <a16:creationId xmlns:a16="http://schemas.microsoft.com/office/drawing/2014/main" id="{54011F76-B320-4A26-88C2-8020580698EE}"/>
                              </a:ext>
                            </a:extLst>
                          </p:cNvPr>
                          <p:cNvSpPr/>
                          <p:nvPr/>
                        </p:nvSpPr>
                        <p:spPr>
                          <a:xfrm>
                            <a:off x="9233105" y="2327749"/>
                            <a:ext cx="1883" cy="3265"/>
                          </a:xfrm>
                          <a:custGeom>
                            <a:avLst/>
                            <a:gdLst>
                              <a:gd name="connsiteX0" fmla="*/ 1883 w 1883"/>
                              <a:gd name="connsiteY0" fmla="*/ 3265 h 3265"/>
                              <a:gd name="connsiteX1" fmla="*/ 0 w 1883"/>
                              <a:gd name="connsiteY1" fmla="*/ 2135 h 3265"/>
                              <a:gd name="connsiteX2" fmla="*/ 0 w 1883"/>
                              <a:gd name="connsiteY2" fmla="*/ 0 h 3265"/>
                              <a:gd name="connsiteX3" fmla="*/ 1883 w 1883"/>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3" h="3265">
                                <a:moveTo>
                                  <a:pt x="1883" y="3265"/>
                                </a:moveTo>
                                <a:lnTo>
                                  <a:pt x="0" y="2135"/>
                                </a:lnTo>
                                <a:lnTo>
                                  <a:pt x="0" y="0"/>
                                </a:lnTo>
                                <a:lnTo>
                                  <a:pt x="1883"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sp>
              <p:nvSpPr>
                <p:cNvPr id="4865" name="Freeform: Shape 4864">
                  <a:extLst>
                    <a:ext uri="{FF2B5EF4-FFF2-40B4-BE49-F238E27FC236}">
                      <a16:creationId xmlns:a16="http://schemas.microsoft.com/office/drawing/2014/main" id="{C13D67AD-9326-45B3-AA01-85751EEB5A33}"/>
                    </a:ext>
                  </a:extLst>
                </p:cNvPr>
                <p:cNvSpPr/>
                <p:nvPr/>
              </p:nvSpPr>
              <p:spPr>
                <a:xfrm>
                  <a:off x="9089048" y="2157694"/>
                  <a:ext cx="242774" cy="171436"/>
                </a:xfrm>
                <a:custGeom>
                  <a:avLst/>
                  <a:gdLst>
                    <a:gd name="connsiteX0" fmla="*/ 174451 w 242774"/>
                    <a:gd name="connsiteY0" fmla="*/ 130116 h 171436"/>
                    <a:gd name="connsiteX1" fmla="*/ 94825 w 242774"/>
                    <a:gd name="connsiteY1" fmla="*/ 84149 h 171436"/>
                    <a:gd name="connsiteX2" fmla="*/ 88670 w 242774"/>
                    <a:gd name="connsiteY2" fmla="*/ 87665 h 171436"/>
                    <a:gd name="connsiteX3" fmla="*/ 79502 w 242774"/>
                    <a:gd name="connsiteY3" fmla="*/ 75231 h 171436"/>
                    <a:gd name="connsiteX4" fmla="*/ 0 w 242774"/>
                    <a:gd name="connsiteY4" fmla="*/ 29389 h 171436"/>
                    <a:gd name="connsiteX5" fmla="*/ 22858 w 242774"/>
                    <a:gd name="connsiteY5" fmla="*/ 16076 h 171436"/>
                    <a:gd name="connsiteX6" fmla="*/ 25119 w 242774"/>
                    <a:gd name="connsiteY6" fmla="*/ 17458 h 171436"/>
                    <a:gd name="connsiteX7" fmla="*/ 25119 w 242774"/>
                    <a:gd name="connsiteY7" fmla="*/ 14820 h 171436"/>
                    <a:gd name="connsiteX8" fmla="*/ 50867 w 242774"/>
                    <a:gd name="connsiteY8" fmla="*/ 0 h 171436"/>
                    <a:gd name="connsiteX9" fmla="*/ 225443 w 242774"/>
                    <a:gd name="connsiteY9" fmla="*/ 100601 h 171436"/>
                    <a:gd name="connsiteX10" fmla="*/ 238128 w 242774"/>
                    <a:gd name="connsiteY10" fmla="*/ 108012 h 171436"/>
                    <a:gd name="connsiteX11" fmla="*/ 238128 w 242774"/>
                    <a:gd name="connsiteY11" fmla="*/ 136270 h 171436"/>
                    <a:gd name="connsiteX12" fmla="*/ 242775 w 242774"/>
                    <a:gd name="connsiteY12" fmla="*/ 138908 h 171436"/>
                    <a:gd name="connsiteX13" fmla="*/ 242775 w 242774"/>
                    <a:gd name="connsiteY13" fmla="*/ 150463 h 171436"/>
                    <a:gd name="connsiteX14" fmla="*/ 206227 w 242774"/>
                    <a:gd name="connsiteY14" fmla="*/ 171437 h 171436"/>
                    <a:gd name="connsiteX15" fmla="*/ 200324 w 242774"/>
                    <a:gd name="connsiteY15" fmla="*/ 163399 h 171436"/>
                    <a:gd name="connsiteX16" fmla="*/ 197310 w 242774"/>
                    <a:gd name="connsiteY16" fmla="*/ 161389 h 171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2774" h="171436">
                      <a:moveTo>
                        <a:pt x="174451" y="130116"/>
                      </a:moveTo>
                      <a:lnTo>
                        <a:pt x="94825" y="84149"/>
                      </a:lnTo>
                      <a:lnTo>
                        <a:pt x="88670" y="87665"/>
                      </a:lnTo>
                      <a:lnTo>
                        <a:pt x="79502" y="75231"/>
                      </a:lnTo>
                      <a:lnTo>
                        <a:pt x="0" y="29389"/>
                      </a:lnTo>
                      <a:lnTo>
                        <a:pt x="22858" y="16076"/>
                      </a:lnTo>
                      <a:lnTo>
                        <a:pt x="25119" y="17458"/>
                      </a:lnTo>
                      <a:lnTo>
                        <a:pt x="25119" y="14820"/>
                      </a:lnTo>
                      <a:lnTo>
                        <a:pt x="50867" y="0"/>
                      </a:lnTo>
                      <a:lnTo>
                        <a:pt x="225443" y="100601"/>
                      </a:lnTo>
                      <a:lnTo>
                        <a:pt x="238128" y="108012"/>
                      </a:lnTo>
                      <a:lnTo>
                        <a:pt x="238128" y="136270"/>
                      </a:lnTo>
                      <a:lnTo>
                        <a:pt x="242775" y="138908"/>
                      </a:lnTo>
                      <a:lnTo>
                        <a:pt x="242775" y="150463"/>
                      </a:lnTo>
                      <a:lnTo>
                        <a:pt x="206227" y="171437"/>
                      </a:lnTo>
                      <a:lnTo>
                        <a:pt x="200324" y="163399"/>
                      </a:lnTo>
                      <a:lnTo>
                        <a:pt x="197310" y="161389"/>
                      </a:lnTo>
                      <a:close/>
                    </a:path>
                  </a:pathLst>
                </a:custGeom>
                <a:solidFill>
                  <a:srgbClr val="000000">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66" name="Freeform: Shape 4865">
                <a:extLst>
                  <a:ext uri="{FF2B5EF4-FFF2-40B4-BE49-F238E27FC236}">
                    <a16:creationId xmlns:a16="http://schemas.microsoft.com/office/drawing/2014/main" id="{C49F40A2-6699-465B-82EF-CE28EA95B612}"/>
                  </a:ext>
                </a:extLst>
              </p:cNvPr>
              <p:cNvSpPr/>
              <p:nvPr/>
            </p:nvSpPr>
            <p:spPr>
              <a:xfrm>
                <a:off x="9030772" y="2090124"/>
                <a:ext cx="543197" cy="478767"/>
              </a:xfrm>
              <a:custGeom>
                <a:avLst/>
                <a:gdLst>
                  <a:gd name="connsiteX0" fmla="*/ 4898 w 543197"/>
                  <a:gd name="connsiteY0" fmla="*/ 162896 h 478767"/>
                  <a:gd name="connsiteX1" fmla="*/ 4898 w 543197"/>
                  <a:gd name="connsiteY1" fmla="*/ 7285 h 478767"/>
                  <a:gd name="connsiteX2" fmla="*/ 543198 w 543197"/>
                  <a:gd name="connsiteY2" fmla="*/ 318006 h 478767"/>
                  <a:gd name="connsiteX3" fmla="*/ 543198 w 543197"/>
                  <a:gd name="connsiteY3" fmla="*/ 313610 h 478767"/>
                  <a:gd name="connsiteX4" fmla="*/ 0 w 543197"/>
                  <a:gd name="connsiteY4" fmla="*/ 0 h 478767"/>
                  <a:gd name="connsiteX5" fmla="*/ 0 w 543197"/>
                  <a:gd name="connsiteY5" fmla="*/ 165157 h 478767"/>
                  <a:gd name="connsiteX6" fmla="*/ 543198 w 543197"/>
                  <a:gd name="connsiteY6" fmla="*/ 478767 h 478767"/>
                  <a:gd name="connsiteX7" fmla="*/ 543198 w 543197"/>
                  <a:gd name="connsiteY7" fmla="*/ 473744 h 478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3197" h="478767">
                    <a:moveTo>
                      <a:pt x="4898" y="162896"/>
                    </a:moveTo>
                    <a:lnTo>
                      <a:pt x="4898" y="7285"/>
                    </a:lnTo>
                    <a:lnTo>
                      <a:pt x="543198" y="318006"/>
                    </a:lnTo>
                    <a:lnTo>
                      <a:pt x="543198" y="313610"/>
                    </a:lnTo>
                    <a:lnTo>
                      <a:pt x="0" y="0"/>
                    </a:lnTo>
                    <a:lnTo>
                      <a:pt x="0" y="165157"/>
                    </a:lnTo>
                    <a:lnTo>
                      <a:pt x="543198" y="478767"/>
                    </a:lnTo>
                    <a:lnTo>
                      <a:pt x="543198" y="473744"/>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67" name="Graphic 4">
                <a:extLst>
                  <a:ext uri="{FF2B5EF4-FFF2-40B4-BE49-F238E27FC236}">
                    <a16:creationId xmlns:a16="http://schemas.microsoft.com/office/drawing/2014/main" id="{84FB7ED1-A2DF-40A1-A747-5F7CF3F14040}"/>
                  </a:ext>
                </a:extLst>
              </p:cNvPr>
              <p:cNvGrpSpPr/>
              <p:nvPr/>
            </p:nvGrpSpPr>
            <p:grpSpPr>
              <a:xfrm>
                <a:off x="9304317" y="2252518"/>
                <a:ext cx="9671" cy="158375"/>
                <a:chOff x="9304317" y="2252518"/>
                <a:chExt cx="9671" cy="158375"/>
              </a:xfrm>
              <a:solidFill>
                <a:schemeClr val="accent1"/>
              </a:solidFill>
            </p:grpSpPr>
            <p:sp>
              <p:nvSpPr>
                <p:cNvPr id="4868" name="Freeform: Shape 4867">
                  <a:extLst>
                    <a:ext uri="{FF2B5EF4-FFF2-40B4-BE49-F238E27FC236}">
                      <a16:creationId xmlns:a16="http://schemas.microsoft.com/office/drawing/2014/main" id="{EAEB3AA6-EDE1-4EF4-9D1A-3BF968DE392F}"/>
                    </a:ext>
                  </a:extLst>
                </p:cNvPr>
                <p:cNvSpPr/>
                <p:nvPr/>
              </p:nvSpPr>
              <p:spPr>
                <a:xfrm>
                  <a:off x="9304317" y="2252518"/>
                  <a:ext cx="4898" cy="158375"/>
                </a:xfrm>
                <a:custGeom>
                  <a:avLst/>
                  <a:gdLst>
                    <a:gd name="connsiteX0" fmla="*/ 4898 w 4898"/>
                    <a:gd name="connsiteY0" fmla="*/ 2763 h 158375"/>
                    <a:gd name="connsiteX1" fmla="*/ 4898 w 4898"/>
                    <a:gd name="connsiteY1" fmla="*/ 158375 h 158375"/>
                    <a:gd name="connsiteX2" fmla="*/ 0 w 4898"/>
                    <a:gd name="connsiteY2" fmla="*/ 155612 h 158375"/>
                    <a:gd name="connsiteX3" fmla="*/ 0 w 4898"/>
                    <a:gd name="connsiteY3" fmla="*/ 0 h 158375"/>
                  </a:gdLst>
                  <a:ahLst/>
                  <a:cxnLst>
                    <a:cxn ang="0">
                      <a:pos x="connsiteX0" y="connsiteY0"/>
                    </a:cxn>
                    <a:cxn ang="0">
                      <a:pos x="connsiteX1" y="connsiteY1"/>
                    </a:cxn>
                    <a:cxn ang="0">
                      <a:pos x="connsiteX2" y="connsiteY2"/>
                    </a:cxn>
                    <a:cxn ang="0">
                      <a:pos x="connsiteX3" y="connsiteY3"/>
                    </a:cxn>
                  </a:cxnLst>
                  <a:rect l="l" t="t" r="r" b="b"/>
                  <a:pathLst>
                    <a:path w="4898" h="158375">
                      <a:moveTo>
                        <a:pt x="4898" y="2763"/>
                      </a:moveTo>
                      <a:lnTo>
                        <a:pt x="4898" y="158375"/>
                      </a:lnTo>
                      <a:lnTo>
                        <a:pt x="0" y="155612"/>
                      </a:lnTo>
                      <a:lnTo>
                        <a:pt x="0" y="0"/>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9" name="Freeform: Shape 4868">
                  <a:extLst>
                    <a:ext uri="{FF2B5EF4-FFF2-40B4-BE49-F238E27FC236}">
                      <a16:creationId xmlns:a16="http://schemas.microsoft.com/office/drawing/2014/main" id="{65F6EEE3-CE78-45F3-A8A0-B10E9282E645}"/>
                    </a:ext>
                  </a:extLst>
                </p:cNvPr>
                <p:cNvSpPr/>
                <p:nvPr/>
              </p:nvSpPr>
              <p:spPr>
                <a:xfrm>
                  <a:off x="9309216" y="2255281"/>
                  <a:ext cx="4772" cy="155611"/>
                </a:xfrm>
                <a:custGeom>
                  <a:avLst/>
                  <a:gdLst>
                    <a:gd name="connsiteX0" fmla="*/ 0 w 4772"/>
                    <a:gd name="connsiteY0" fmla="*/ 0 h 155611"/>
                    <a:gd name="connsiteX1" fmla="*/ 0 w 4772"/>
                    <a:gd name="connsiteY1" fmla="*/ 155612 h 155611"/>
                    <a:gd name="connsiteX2" fmla="*/ 4773 w 4772"/>
                    <a:gd name="connsiteY2" fmla="*/ 152849 h 155611"/>
                    <a:gd name="connsiteX3" fmla="*/ 4773 w 4772"/>
                    <a:gd name="connsiteY3" fmla="*/ 2763 h 155611"/>
                  </a:gdLst>
                  <a:ahLst/>
                  <a:cxnLst>
                    <a:cxn ang="0">
                      <a:pos x="connsiteX0" y="connsiteY0"/>
                    </a:cxn>
                    <a:cxn ang="0">
                      <a:pos x="connsiteX1" y="connsiteY1"/>
                    </a:cxn>
                    <a:cxn ang="0">
                      <a:pos x="connsiteX2" y="connsiteY2"/>
                    </a:cxn>
                    <a:cxn ang="0">
                      <a:pos x="connsiteX3" y="connsiteY3"/>
                    </a:cxn>
                  </a:cxnLst>
                  <a:rect l="l" t="t" r="r" b="b"/>
                  <a:pathLst>
                    <a:path w="4772" h="155611">
                      <a:moveTo>
                        <a:pt x="0" y="0"/>
                      </a:moveTo>
                      <a:lnTo>
                        <a:pt x="0" y="155612"/>
                      </a:lnTo>
                      <a:lnTo>
                        <a:pt x="4773" y="152849"/>
                      </a:lnTo>
                      <a:lnTo>
                        <a:pt x="4773" y="2763"/>
                      </a:lnTo>
                      <a:close/>
                    </a:path>
                  </a:pathLst>
                </a:custGeom>
                <a:solidFill>
                  <a:srgbClr val="918F8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70" name="Freeform: Shape 4869">
                <a:extLst>
                  <a:ext uri="{FF2B5EF4-FFF2-40B4-BE49-F238E27FC236}">
                    <a16:creationId xmlns:a16="http://schemas.microsoft.com/office/drawing/2014/main" id="{EED58BFF-F2D4-4273-9D8F-CAD699F81657}"/>
                  </a:ext>
                </a:extLst>
              </p:cNvPr>
              <p:cNvSpPr/>
              <p:nvPr/>
            </p:nvSpPr>
            <p:spPr>
              <a:xfrm>
                <a:off x="9030772" y="2012004"/>
                <a:ext cx="687128" cy="396753"/>
              </a:xfrm>
              <a:custGeom>
                <a:avLst/>
                <a:gdLst>
                  <a:gd name="connsiteX0" fmla="*/ 135265 w 687128"/>
                  <a:gd name="connsiteY0" fmla="*/ 0 h 396753"/>
                  <a:gd name="connsiteX1" fmla="*/ 0 w 687128"/>
                  <a:gd name="connsiteY1" fmla="*/ 78120 h 396753"/>
                  <a:gd name="connsiteX2" fmla="*/ 543198 w 687128"/>
                  <a:gd name="connsiteY2" fmla="*/ 391730 h 396753"/>
                  <a:gd name="connsiteX3" fmla="*/ 551864 w 687128"/>
                  <a:gd name="connsiteY3" fmla="*/ 396754 h 396753"/>
                  <a:gd name="connsiteX4" fmla="*/ 687129 w 687128"/>
                  <a:gd name="connsiteY4" fmla="*/ 318634 h 39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128" h="396753">
                    <a:moveTo>
                      <a:pt x="135265" y="0"/>
                    </a:moveTo>
                    <a:lnTo>
                      <a:pt x="0" y="78120"/>
                    </a:lnTo>
                    <a:lnTo>
                      <a:pt x="543198" y="391730"/>
                    </a:lnTo>
                    <a:lnTo>
                      <a:pt x="551864" y="396754"/>
                    </a:lnTo>
                    <a:lnTo>
                      <a:pt x="687129" y="318634"/>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71" name="Graphic 4">
                <a:extLst>
                  <a:ext uri="{FF2B5EF4-FFF2-40B4-BE49-F238E27FC236}">
                    <a16:creationId xmlns:a16="http://schemas.microsoft.com/office/drawing/2014/main" id="{84FB7ED1-A2DF-40A1-A747-5F7CF3F14040}"/>
                  </a:ext>
                </a:extLst>
              </p:cNvPr>
              <p:cNvGrpSpPr/>
              <p:nvPr/>
            </p:nvGrpSpPr>
            <p:grpSpPr>
              <a:xfrm>
                <a:off x="9573970" y="2325614"/>
                <a:ext cx="143931" cy="248300"/>
                <a:chOff x="9573970" y="2325614"/>
                <a:chExt cx="143931" cy="248300"/>
              </a:xfrm>
              <a:solidFill>
                <a:schemeClr val="accent1"/>
              </a:solidFill>
            </p:grpSpPr>
            <p:sp>
              <p:nvSpPr>
                <p:cNvPr id="4872" name="Freeform: Shape 4871">
                  <a:extLst>
                    <a:ext uri="{FF2B5EF4-FFF2-40B4-BE49-F238E27FC236}">
                      <a16:creationId xmlns:a16="http://schemas.microsoft.com/office/drawing/2014/main" id="{A10BE81E-5E08-4ACD-86AA-0FBE13C55B5B}"/>
                    </a:ext>
                  </a:extLst>
                </p:cNvPr>
                <p:cNvSpPr/>
                <p:nvPr/>
              </p:nvSpPr>
              <p:spPr>
                <a:xfrm>
                  <a:off x="9573970" y="2403734"/>
                  <a:ext cx="8666" cy="170180"/>
                </a:xfrm>
                <a:custGeom>
                  <a:avLst/>
                  <a:gdLst>
                    <a:gd name="connsiteX0" fmla="*/ 0 w 8666"/>
                    <a:gd name="connsiteY0" fmla="*/ 165157 h 170180"/>
                    <a:gd name="connsiteX1" fmla="*/ 8666 w 8666"/>
                    <a:gd name="connsiteY1" fmla="*/ 170181 h 170180"/>
                    <a:gd name="connsiteX2" fmla="*/ 8666 w 8666"/>
                    <a:gd name="connsiteY2" fmla="*/ 5024 h 170180"/>
                    <a:gd name="connsiteX3" fmla="*/ 0 w 8666"/>
                    <a:gd name="connsiteY3" fmla="*/ 0 h 170180"/>
                  </a:gdLst>
                  <a:ahLst/>
                  <a:cxnLst>
                    <a:cxn ang="0">
                      <a:pos x="connsiteX0" y="connsiteY0"/>
                    </a:cxn>
                    <a:cxn ang="0">
                      <a:pos x="connsiteX1" y="connsiteY1"/>
                    </a:cxn>
                    <a:cxn ang="0">
                      <a:pos x="connsiteX2" y="connsiteY2"/>
                    </a:cxn>
                    <a:cxn ang="0">
                      <a:pos x="connsiteX3" y="connsiteY3"/>
                    </a:cxn>
                  </a:cxnLst>
                  <a:rect l="l" t="t" r="r" b="b"/>
                  <a:pathLst>
                    <a:path w="8666" h="170180">
                      <a:moveTo>
                        <a:pt x="0" y="165157"/>
                      </a:moveTo>
                      <a:lnTo>
                        <a:pt x="8666" y="170181"/>
                      </a:lnTo>
                      <a:lnTo>
                        <a:pt x="8666" y="5024"/>
                      </a:lnTo>
                      <a:lnTo>
                        <a:pt x="0" y="0"/>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3" name="Freeform: Shape 4872">
                  <a:extLst>
                    <a:ext uri="{FF2B5EF4-FFF2-40B4-BE49-F238E27FC236}">
                      <a16:creationId xmlns:a16="http://schemas.microsoft.com/office/drawing/2014/main" id="{99192A35-C5CC-4C0C-8D55-F83A820D4B0C}"/>
                    </a:ext>
                  </a:extLst>
                </p:cNvPr>
                <p:cNvSpPr/>
                <p:nvPr/>
              </p:nvSpPr>
              <p:spPr>
                <a:xfrm>
                  <a:off x="9582636" y="2330638"/>
                  <a:ext cx="135265" cy="243277"/>
                </a:xfrm>
                <a:custGeom>
                  <a:avLst/>
                  <a:gdLst>
                    <a:gd name="connsiteX0" fmla="*/ 0 w 135265"/>
                    <a:gd name="connsiteY0" fmla="*/ 78120 h 243277"/>
                    <a:gd name="connsiteX1" fmla="*/ 135265 w 135265"/>
                    <a:gd name="connsiteY1" fmla="*/ 0 h 243277"/>
                    <a:gd name="connsiteX2" fmla="*/ 135265 w 135265"/>
                    <a:gd name="connsiteY2" fmla="*/ 165157 h 243277"/>
                    <a:gd name="connsiteX3" fmla="*/ 0 w 135265"/>
                    <a:gd name="connsiteY3" fmla="*/ 243277 h 243277"/>
                  </a:gdLst>
                  <a:ahLst/>
                  <a:cxnLst>
                    <a:cxn ang="0">
                      <a:pos x="connsiteX0" y="connsiteY0"/>
                    </a:cxn>
                    <a:cxn ang="0">
                      <a:pos x="connsiteX1" y="connsiteY1"/>
                    </a:cxn>
                    <a:cxn ang="0">
                      <a:pos x="connsiteX2" y="connsiteY2"/>
                    </a:cxn>
                    <a:cxn ang="0">
                      <a:pos x="connsiteX3" y="connsiteY3"/>
                    </a:cxn>
                  </a:cxnLst>
                  <a:rect l="l" t="t" r="r" b="b"/>
                  <a:pathLst>
                    <a:path w="135265" h="243277">
                      <a:moveTo>
                        <a:pt x="0" y="78120"/>
                      </a:moveTo>
                      <a:lnTo>
                        <a:pt x="135265" y="0"/>
                      </a:lnTo>
                      <a:lnTo>
                        <a:pt x="135265" y="165157"/>
                      </a:lnTo>
                      <a:lnTo>
                        <a:pt x="0" y="243277"/>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4" name="Freeform: Shape 4873">
                  <a:extLst>
                    <a:ext uri="{FF2B5EF4-FFF2-40B4-BE49-F238E27FC236}">
                      <a16:creationId xmlns:a16="http://schemas.microsoft.com/office/drawing/2014/main" id="{4A59360D-45AF-4402-A108-76094D07CE66}"/>
                    </a:ext>
                  </a:extLst>
                </p:cNvPr>
                <p:cNvSpPr/>
                <p:nvPr/>
              </p:nvSpPr>
              <p:spPr>
                <a:xfrm>
                  <a:off x="9595070" y="2361157"/>
                  <a:ext cx="122831" cy="205598"/>
                </a:xfrm>
                <a:custGeom>
                  <a:avLst/>
                  <a:gdLst>
                    <a:gd name="connsiteX0" fmla="*/ 122831 w 122831"/>
                    <a:gd name="connsiteY0" fmla="*/ 134638 h 205598"/>
                    <a:gd name="connsiteX1" fmla="*/ 122831 w 122831"/>
                    <a:gd name="connsiteY1" fmla="*/ 0 h 205598"/>
                    <a:gd name="connsiteX2" fmla="*/ 0 w 122831"/>
                    <a:gd name="connsiteY2" fmla="*/ 70961 h 205598"/>
                    <a:gd name="connsiteX3" fmla="*/ 0 w 122831"/>
                    <a:gd name="connsiteY3" fmla="*/ 205599 h 205598"/>
                  </a:gdLst>
                  <a:ahLst/>
                  <a:cxnLst>
                    <a:cxn ang="0">
                      <a:pos x="connsiteX0" y="connsiteY0"/>
                    </a:cxn>
                    <a:cxn ang="0">
                      <a:pos x="connsiteX1" y="connsiteY1"/>
                    </a:cxn>
                    <a:cxn ang="0">
                      <a:pos x="connsiteX2" y="connsiteY2"/>
                    </a:cxn>
                    <a:cxn ang="0">
                      <a:pos x="connsiteX3" y="connsiteY3"/>
                    </a:cxn>
                  </a:cxnLst>
                  <a:rect l="l" t="t" r="r" b="b"/>
                  <a:pathLst>
                    <a:path w="122831" h="205598">
                      <a:moveTo>
                        <a:pt x="122831" y="134638"/>
                      </a:moveTo>
                      <a:lnTo>
                        <a:pt x="122831" y="0"/>
                      </a:lnTo>
                      <a:lnTo>
                        <a:pt x="0" y="70961"/>
                      </a:lnTo>
                      <a:lnTo>
                        <a:pt x="0" y="205599"/>
                      </a:lnTo>
                      <a:close/>
                    </a:path>
                  </a:pathLst>
                </a:custGeom>
                <a:solidFill>
                  <a:srgbClr val="878A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5" name="Freeform: Shape 4874">
                  <a:extLst>
                    <a:ext uri="{FF2B5EF4-FFF2-40B4-BE49-F238E27FC236}">
                      <a16:creationId xmlns:a16="http://schemas.microsoft.com/office/drawing/2014/main" id="{0D4805E3-1043-487B-8370-4553A7A7EA94}"/>
                    </a:ext>
                  </a:extLst>
                </p:cNvPr>
                <p:cNvSpPr/>
                <p:nvPr/>
              </p:nvSpPr>
              <p:spPr>
                <a:xfrm>
                  <a:off x="9573970" y="2325614"/>
                  <a:ext cx="143931" cy="83143"/>
                </a:xfrm>
                <a:custGeom>
                  <a:avLst/>
                  <a:gdLst>
                    <a:gd name="connsiteX0" fmla="*/ 135265 w 143931"/>
                    <a:gd name="connsiteY0" fmla="*/ 0 h 83143"/>
                    <a:gd name="connsiteX1" fmla="*/ 0 w 143931"/>
                    <a:gd name="connsiteY1" fmla="*/ 78120 h 83143"/>
                    <a:gd name="connsiteX2" fmla="*/ 8666 w 143931"/>
                    <a:gd name="connsiteY2" fmla="*/ 83144 h 83143"/>
                    <a:gd name="connsiteX3" fmla="*/ 143931 w 143931"/>
                    <a:gd name="connsiteY3" fmla="*/ 5024 h 83143"/>
                  </a:gdLst>
                  <a:ahLst/>
                  <a:cxnLst>
                    <a:cxn ang="0">
                      <a:pos x="connsiteX0" y="connsiteY0"/>
                    </a:cxn>
                    <a:cxn ang="0">
                      <a:pos x="connsiteX1" y="connsiteY1"/>
                    </a:cxn>
                    <a:cxn ang="0">
                      <a:pos x="connsiteX2" y="connsiteY2"/>
                    </a:cxn>
                    <a:cxn ang="0">
                      <a:pos x="connsiteX3" y="connsiteY3"/>
                    </a:cxn>
                  </a:cxnLst>
                  <a:rect l="l" t="t" r="r" b="b"/>
                  <a:pathLst>
                    <a:path w="143931" h="83143">
                      <a:moveTo>
                        <a:pt x="135265" y="0"/>
                      </a:moveTo>
                      <a:lnTo>
                        <a:pt x="0" y="78120"/>
                      </a:lnTo>
                      <a:lnTo>
                        <a:pt x="8666" y="83144"/>
                      </a:lnTo>
                      <a:lnTo>
                        <a:pt x="143931" y="5024"/>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76" name="Freeform: Shape 4875">
                <a:extLst>
                  <a:ext uri="{FF2B5EF4-FFF2-40B4-BE49-F238E27FC236}">
                    <a16:creationId xmlns:a16="http://schemas.microsoft.com/office/drawing/2014/main" id="{823403FD-4696-4DDF-B459-04527DD5247F}"/>
                  </a:ext>
                </a:extLst>
              </p:cNvPr>
              <p:cNvSpPr/>
              <p:nvPr/>
            </p:nvSpPr>
            <p:spPr>
              <a:xfrm>
                <a:off x="9074730" y="2247620"/>
                <a:ext cx="32152" cy="22858"/>
              </a:xfrm>
              <a:custGeom>
                <a:avLst/>
                <a:gdLst>
                  <a:gd name="connsiteX0" fmla="*/ 0 w 32152"/>
                  <a:gd name="connsiteY0" fmla="*/ 0 h 22858"/>
                  <a:gd name="connsiteX1" fmla="*/ 3893 w 32152"/>
                  <a:gd name="connsiteY1" fmla="*/ 6531 h 22858"/>
                  <a:gd name="connsiteX2" fmla="*/ 32152 w 32152"/>
                  <a:gd name="connsiteY2" fmla="*/ 22858 h 22858"/>
                  <a:gd name="connsiteX3" fmla="*/ 32152 w 32152"/>
                  <a:gd name="connsiteY3" fmla="*/ 18588 h 22858"/>
                </a:gdLst>
                <a:ahLst/>
                <a:cxnLst>
                  <a:cxn ang="0">
                    <a:pos x="connsiteX0" y="connsiteY0"/>
                  </a:cxn>
                  <a:cxn ang="0">
                    <a:pos x="connsiteX1" y="connsiteY1"/>
                  </a:cxn>
                  <a:cxn ang="0">
                    <a:pos x="connsiteX2" y="connsiteY2"/>
                  </a:cxn>
                  <a:cxn ang="0">
                    <a:pos x="connsiteX3" y="connsiteY3"/>
                  </a:cxn>
                </a:cxnLst>
                <a:rect l="l" t="t" r="r" b="b"/>
                <a:pathLst>
                  <a:path w="32152" h="22858">
                    <a:moveTo>
                      <a:pt x="0" y="0"/>
                    </a:moveTo>
                    <a:lnTo>
                      <a:pt x="3893" y="6531"/>
                    </a:lnTo>
                    <a:lnTo>
                      <a:pt x="32152" y="22858"/>
                    </a:lnTo>
                    <a:lnTo>
                      <a:pt x="32152" y="18588"/>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7" name="Freeform: Shape 4876">
                <a:extLst>
                  <a:ext uri="{FF2B5EF4-FFF2-40B4-BE49-F238E27FC236}">
                    <a16:creationId xmlns:a16="http://schemas.microsoft.com/office/drawing/2014/main" id="{067F0115-3884-4853-8BD1-F55F63ABB98B}"/>
                  </a:ext>
                </a:extLst>
              </p:cNvPr>
              <p:cNvSpPr/>
              <p:nvPr/>
            </p:nvSpPr>
            <p:spPr>
              <a:xfrm>
                <a:off x="9113916" y="2270352"/>
                <a:ext cx="47725" cy="31775"/>
              </a:xfrm>
              <a:custGeom>
                <a:avLst/>
                <a:gdLst>
                  <a:gd name="connsiteX0" fmla="*/ 0 w 47725"/>
                  <a:gd name="connsiteY0" fmla="*/ 0 h 31775"/>
                  <a:gd name="connsiteX1" fmla="*/ 19467 w 47725"/>
                  <a:gd name="connsiteY1" fmla="*/ 15448 h 31775"/>
                  <a:gd name="connsiteX2" fmla="*/ 47726 w 47725"/>
                  <a:gd name="connsiteY2" fmla="*/ 31775 h 31775"/>
                  <a:gd name="connsiteX3" fmla="*/ 47726 w 47725"/>
                  <a:gd name="connsiteY3" fmla="*/ 27505 h 31775"/>
                </a:gdLst>
                <a:ahLst/>
                <a:cxnLst>
                  <a:cxn ang="0">
                    <a:pos x="connsiteX0" y="connsiteY0"/>
                  </a:cxn>
                  <a:cxn ang="0">
                    <a:pos x="connsiteX1" y="connsiteY1"/>
                  </a:cxn>
                  <a:cxn ang="0">
                    <a:pos x="connsiteX2" y="connsiteY2"/>
                  </a:cxn>
                  <a:cxn ang="0">
                    <a:pos x="connsiteX3" y="connsiteY3"/>
                  </a:cxn>
                </a:cxnLst>
                <a:rect l="l" t="t" r="r" b="b"/>
                <a:pathLst>
                  <a:path w="47725" h="31775">
                    <a:moveTo>
                      <a:pt x="0" y="0"/>
                    </a:moveTo>
                    <a:lnTo>
                      <a:pt x="19467" y="15448"/>
                    </a:lnTo>
                    <a:lnTo>
                      <a:pt x="47726" y="31775"/>
                    </a:lnTo>
                    <a:lnTo>
                      <a:pt x="47726" y="27505"/>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8" name="Freeform: Shape 4877">
                <a:extLst>
                  <a:ext uri="{FF2B5EF4-FFF2-40B4-BE49-F238E27FC236}">
                    <a16:creationId xmlns:a16="http://schemas.microsoft.com/office/drawing/2014/main" id="{8A1F70EC-2363-4FF9-B3EC-9DCA99E91265}"/>
                  </a:ext>
                </a:extLst>
              </p:cNvPr>
              <p:cNvSpPr/>
              <p:nvPr/>
            </p:nvSpPr>
            <p:spPr>
              <a:xfrm>
                <a:off x="9169680" y="2302504"/>
                <a:ext cx="32152" cy="22732"/>
              </a:xfrm>
              <a:custGeom>
                <a:avLst/>
                <a:gdLst>
                  <a:gd name="connsiteX0" fmla="*/ 0 w 32152"/>
                  <a:gd name="connsiteY0" fmla="*/ 0 h 22732"/>
                  <a:gd name="connsiteX1" fmla="*/ 3893 w 32152"/>
                  <a:gd name="connsiteY1" fmla="*/ 6531 h 22732"/>
                  <a:gd name="connsiteX2" fmla="*/ 32152 w 32152"/>
                  <a:gd name="connsiteY2" fmla="*/ 22733 h 22732"/>
                  <a:gd name="connsiteX3" fmla="*/ 32152 w 32152"/>
                  <a:gd name="connsiteY3" fmla="*/ 18462 h 22732"/>
                </a:gdLst>
                <a:ahLst/>
                <a:cxnLst>
                  <a:cxn ang="0">
                    <a:pos x="connsiteX0" y="connsiteY0"/>
                  </a:cxn>
                  <a:cxn ang="0">
                    <a:pos x="connsiteX1" y="connsiteY1"/>
                  </a:cxn>
                  <a:cxn ang="0">
                    <a:pos x="connsiteX2" y="connsiteY2"/>
                  </a:cxn>
                  <a:cxn ang="0">
                    <a:pos x="connsiteX3" y="connsiteY3"/>
                  </a:cxn>
                </a:cxnLst>
                <a:rect l="l" t="t" r="r" b="b"/>
                <a:pathLst>
                  <a:path w="32152" h="22732">
                    <a:moveTo>
                      <a:pt x="0" y="0"/>
                    </a:moveTo>
                    <a:lnTo>
                      <a:pt x="3893" y="6531"/>
                    </a:lnTo>
                    <a:lnTo>
                      <a:pt x="32152" y="22733"/>
                    </a:lnTo>
                    <a:lnTo>
                      <a:pt x="32152" y="18462"/>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9" name="Freeform: Shape 4878">
                <a:extLst>
                  <a:ext uri="{FF2B5EF4-FFF2-40B4-BE49-F238E27FC236}">
                    <a16:creationId xmlns:a16="http://schemas.microsoft.com/office/drawing/2014/main" id="{F9A60526-84E9-492B-821D-F09AB2E6D702}"/>
                  </a:ext>
                </a:extLst>
              </p:cNvPr>
              <p:cNvSpPr/>
              <p:nvPr/>
            </p:nvSpPr>
            <p:spPr>
              <a:xfrm>
                <a:off x="9208866" y="2325112"/>
                <a:ext cx="32026" cy="22732"/>
              </a:xfrm>
              <a:custGeom>
                <a:avLst/>
                <a:gdLst>
                  <a:gd name="connsiteX0" fmla="*/ 0 w 32026"/>
                  <a:gd name="connsiteY0" fmla="*/ 0 h 22732"/>
                  <a:gd name="connsiteX1" fmla="*/ 3893 w 32026"/>
                  <a:gd name="connsiteY1" fmla="*/ 6531 h 22732"/>
                  <a:gd name="connsiteX2" fmla="*/ 32027 w 32026"/>
                  <a:gd name="connsiteY2" fmla="*/ 22733 h 22732"/>
                  <a:gd name="connsiteX3" fmla="*/ 32027 w 32026"/>
                  <a:gd name="connsiteY3" fmla="*/ 18462 h 22732"/>
                </a:gdLst>
                <a:ahLst/>
                <a:cxnLst>
                  <a:cxn ang="0">
                    <a:pos x="connsiteX0" y="connsiteY0"/>
                  </a:cxn>
                  <a:cxn ang="0">
                    <a:pos x="connsiteX1" y="connsiteY1"/>
                  </a:cxn>
                  <a:cxn ang="0">
                    <a:pos x="connsiteX2" y="connsiteY2"/>
                  </a:cxn>
                  <a:cxn ang="0">
                    <a:pos x="connsiteX3" y="connsiteY3"/>
                  </a:cxn>
                </a:cxnLst>
                <a:rect l="l" t="t" r="r" b="b"/>
                <a:pathLst>
                  <a:path w="32026" h="22732">
                    <a:moveTo>
                      <a:pt x="0" y="0"/>
                    </a:moveTo>
                    <a:lnTo>
                      <a:pt x="3893" y="6531"/>
                    </a:lnTo>
                    <a:lnTo>
                      <a:pt x="32027" y="22733"/>
                    </a:lnTo>
                    <a:lnTo>
                      <a:pt x="32027" y="18462"/>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80" name="Freeform: Shape 4879">
              <a:extLst>
                <a:ext uri="{FF2B5EF4-FFF2-40B4-BE49-F238E27FC236}">
                  <a16:creationId xmlns:a16="http://schemas.microsoft.com/office/drawing/2014/main" id="{32944E4E-780D-4C6D-9B55-388C2DB0C47B}"/>
                </a:ext>
              </a:extLst>
            </p:cNvPr>
            <p:cNvSpPr/>
            <p:nvPr/>
          </p:nvSpPr>
          <p:spPr>
            <a:xfrm>
              <a:off x="9831136" y="2526942"/>
              <a:ext cx="14495" cy="17708"/>
            </a:xfrm>
            <a:custGeom>
              <a:avLst/>
              <a:gdLst>
                <a:gd name="connsiteX0" fmla="*/ 1433 w 14495"/>
                <a:gd name="connsiteY0" fmla="*/ 17709 h 17708"/>
                <a:gd name="connsiteX1" fmla="*/ 177 w 14495"/>
                <a:gd name="connsiteY1" fmla="*/ 16955 h 17708"/>
                <a:gd name="connsiteX2" fmla="*/ 679 w 14495"/>
                <a:gd name="connsiteY2" fmla="*/ 15071 h 17708"/>
                <a:gd name="connsiteX3" fmla="*/ 11732 w 14495"/>
                <a:gd name="connsiteY3" fmla="*/ 1382 h 17708"/>
                <a:gd name="connsiteX4" fmla="*/ 13113 w 14495"/>
                <a:gd name="connsiteY4" fmla="*/ 0 h 17708"/>
                <a:gd name="connsiteX5" fmla="*/ 14495 w 14495"/>
                <a:gd name="connsiteY5" fmla="*/ 1382 h 17708"/>
                <a:gd name="connsiteX6" fmla="*/ 2061 w 14495"/>
                <a:gd name="connsiteY6" fmla="*/ 17583 h 17708"/>
                <a:gd name="connsiteX7" fmla="*/ 1433 w 14495"/>
                <a:gd name="connsiteY7" fmla="*/ 17709 h 1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95" h="17708">
                  <a:moveTo>
                    <a:pt x="1433" y="17709"/>
                  </a:moveTo>
                  <a:cubicBezTo>
                    <a:pt x="931" y="17709"/>
                    <a:pt x="428" y="17458"/>
                    <a:pt x="177" y="16955"/>
                  </a:cubicBezTo>
                  <a:cubicBezTo>
                    <a:pt x="-200" y="16327"/>
                    <a:pt x="52" y="15448"/>
                    <a:pt x="679" y="15071"/>
                  </a:cubicBezTo>
                  <a:cubicBezTo>
                    <a:pt x="7838" y="10927"/>
                    <a:pt x="11732" y="6154"/>
                    <a:pt x="11732" y="1382"/>
                  </a:cubicBezTo>
                  <a:cubicBezTo>
                    <a:pt x="11732" y="628"/>
                    <a:pt x="12360" y="0"/>
                    <a:pt x="13113" y="0"/>
                  </a:cubicBezTo>
                  <a:cubicBezTo>
                    <a:pt x="13867" y="0"/>
                    <a:pt x="14495" y="628"/>
                    <a:pt x="14495" y="1382"/>
                  </a:cubicBezTo>
                  <a:cubicBezTo>
                    <a:pt x="14495" y="7285"/>
                    <a:pt x="10350" y="12811"/>
                    <a:pt x="2061" y="17583"/>
                  </a:cubicBezTo>
                  <a:cubicBezTo>
                    <a:pt x="1936" y="17583"/>
                    <a:pt x="1684" y="17709"/>
                    <a:pt x="1433" y="1770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1" name="Freeform: Shape 4880">
              <a:extLst>
                <a:ext uri="{FF2B5EF4-FFF2-40B4-BE49-F238E27FC236}">
                  <a16:creationId xmlns:a16="http://schemas.microsoft.com/office/drawing/2014/main" id="{2641669B-52AF-4B6C-824E-D646B99078C8}"/>
                </a:ext>
              </a:extLst>
            </p:cNvPr>
            <p:cNvSpPr/>
            <p:nvPr/>
          </p:nvSpPr>
          <p:spPr>
            <a:xfrm>
              <a:off x="9838472" y="2489986"/>
              <a:ext cx="12433" cy="42859"/>
            </a:xfrm>
            <a:custGeom>
              <a:avLst/>
              <a:gdLst>
                <a:gd name="connsiteX0" fmla="*/ 9168 w 12433"/>
                <a:gd name="connsiteY0" fmla="*/ 37710 h 42859"/>
                <a:gd name="connsiteX1" fmla="*/ 2637 w 12433"/>
                <a:gd name="connsiteY1" fmla="*/ 42357 h 42859"/>
                <a:gd name="connsiteX2" fmla="*/ 628 w 12433"/>
                <a:gd name="connsiteY2" fmla="*/ 42734 h 42859"/>
                <a:gd name="connsiteX3" fmla="*/ 0 w 12433"/>
                <a:gd name="connsiteY3" fmla="*/ 41226 h 42859"/>
                <a:gd name="connsiteX4" fmla="*/ 0 w 12433"/>
                <a:gd name="connsiteY4" fmla="*/ 7441 h 42859"/>
                <a:gd name="connsiteX5" fmla="*/ 2637 w 12433"/>
                <a:gd name="connsiteY5" fmla="*/ 3171 h 42859"/>
                <a:gd name="connsiteX6" fmla="*/ 9168 w 12433"/>
                <a:gd name="connsiteY6" fmla="*/ 283 h 42859"/>
                <a:gd name="connsiteX7" fmla="*/ 11303 w 12433"/>
                <a:gd name="connsiteY7" fmla="*/ 283 h 42859"/>
                <a:gd name="connsiteX8" fmla="*/ 12434 w 12433"/>
                <a:gd name="connsiteY8" fmla="*/ 2669 h 42859"/>
                <a:gd name="connsiteX9" fmla="*/ 12434 w 12433"/>
                <a:gd name="connsiteY9" fmla="*/ 31807 h 42859"/>
                <a:gd name="connsiteX10" fmla="*/ 9168 w 12433"/>
                <a:gd name="connsiteY10" fmla="*/ 37710 h 4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3" h="42859">
                  <a:moveTo>
                    <a:pt x="9168" y="37710"/>
                  </a:moveTo>
                  <a:lnTo>
                    <a:pt x="2637" y="42357"/>
                  </a:lnTo>
                  <a:cubicBezTo>
                    <a:pt x="1883" y="42859"/>
                    <a:pt x="1130" y="42985"/>
                    <a:pt x="628" y="42734"/>
                  </a:cubicBezTo>
                  <a:cubicBezTo>
                    <a:pt x="251" y="42482"/>
                    <a:pt x="0" y="41980"/>
                    <a:pt x="0" y="41226"/>
                  </a:cubicBezTo>
                  <a:lnTo>
                    <a:pt x="0" y="7441"/>
                  </a:lnTo>
                  <a:cubicBezTo>
                    <a:pt x="0" y="5809"/>
                    <a:pt x="1256" y="3799"/>
                    <a:pt x="2637" y="3171"/>
                  </a:cubicBezTo>
                  <a:lnTo>
                    <a:pt x="9168" y="283"/>
                  </a:lnTo>
                  <a:cubicBezTo>
                    <a:pt x="10047" y="-94"/>
                    <a:pt x="10801" y="-94"/>
                    <a:pt x="11303" y="283"/>
                  </a:cubicBezTo>
                  <a:cubicBezTo>
                    <a:pt x="11931" y="659"/>
                    <a:pt x="12434" y="1539"/>
                    <a:pt x="12434" y="2669"/>
                  </a:cubicBezTo>
                  <a:lnTo>
                    <a:pt x="12434" y="31807"/>
                  </a:lnTo>
                  <a:cubicBezTo>
                    <a:pt x="12434" y="33816"/>
                    <a:pt x="11052" y="36454"/>
                    <a:pt x="9168" y="37710"/>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2" name="Freeform: Shape 4881">
              <a:extLst>
                <a:ext uri="{FF2B5EF4-FFF2-40B4-BE49-F238E27FC236}">
                  <a16:creationId xmlns:a16="http://schemas.microsoft.com/office/drawing/2014/main" id="{239C4E43-ECB3-4695-AB3B-8653A3458C49}"/>
                </a:ext>
              </a:extLst>
            </p:cNvPr>
            <p:cNvSpPr/>
            <p:nvPr/>
          </p:nvSpPr>
          <p:spPr>
            <a:xfrm>
              <a:off x="9835960" y="2488605"/>
              <a:ext cx="13815" cy="44115"/>
            </a:xfrm>
            <a:custGeom>
              <a:avLst/>
              <a:gdLst>
                <a:gd name="connsiteX0" fmla="*/ 2512 w 13815"/>
                <a:gd name="connsiteY0" fmla="*/ 42608 h 44115"/>
                <a:gd name="connsiteX1" fmla="*/ 2512 w 13815"/>
                <a:gd name="connsiteY1" fmla="*/ 8823 h 44115"/>
                <a:gd name="connsiteX2" fmla="*/ 5149 w 13815"/>
                <a:gd name="connsiteY2" fmla="*/ 4553 h 44115"/>
                <a:gd name="connsiteX3" fmla="*/ 11680 w 13815"/>
                <a:gd name="connsiteY3" fmla="*/ 1664 h 44115"/>
                <a:gd name="connsiteX4" fmla="*/ 13815 w 13815"/>
                <a:gd name="connsiteY4" fmla="*/ 1664 h 44115"/>
                <a:gd name="connsiteX5" fmla="*/ 11303 w 13815"/>
                <a:gd name="connsiteY5" fmla="*/ 283 h 44115"/>
                <a:gd name="connsiteX6" fmla="*/ 9168 w 13815"/>
                <a:gd name="connsiteY6" fmla="*/ 283 h 44115"/>
                <a:gd name="connsiteX7" fmla="*/ 2638 w 13815"/>
                <a:gd name="connsiteY7" fmla="*/ 3171 h 44115"/>
                <a:gd name="connsiteX8" fmla="*/ 0 w 13815"/>
                <a:gd name="connsiteY8" fmla="*/ 7441 h 44115"/>
                <a:gd name="connsiteX9" fmla="*/ 0 w 13815"/>
                <a:gd name="connsiteY9" fmla="*/ 41227 h 44115"/>
                <a:gd name="connsiteX10" fmla="*/ 754 w 13815"/>
                <a:gd name="connsiteY10" fmla="*/ 42734 h 44115"/>
                <a:gd name="connsiteX11" fmla="*/ 3266 w 13815"/>
                <a:gd name="connsiteY11" fmla="*/ 44115 h 44115"/>
                <a:gd name="connsiteX12" fmla="*/ 2512 w 13815"/>
                <a:gd name="connsiteY12" fmla="*/ 42608 h 4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5" h="44115">
                  <a:moveTo>
                    <a:pt x="2512" y="42608"/>
                  </a:moveTo>
                  <a:lnTo>
                    <a:pt x="2512" y="8823"/>
                  </a:lnTo>
                  <a:cubicBezTo>
                    <a:pt x="2512" y="7190"/>
                    <a:pt x="3768" y="5181"/>
                    <a:pt x="5149" y="4553"/>
                  </a:cubicBezTo>
                  <a:lnTo>
                    <a:pt x="11680" y="1664"/>
                  </a:lnTo>
                  <a:cubicBezTo>
                    <a:pt x="12559" y="1287"/>
                    <a:pt x="13313" y="1287"/>
                    <a:pt x="13815" y="1664"/>
                  </a:cubicBezTo>
                  <a:cubicBezTo>
                    <a:pt x="13815" y="1664"/>
                    <a:pt x="12057" y="659"/>
                    <a:pt x="11303" y="283"/>
                  </a:cubicBezTo>
                  <a:cubicBezTo>
                    <a:pt x="10675" y="-94"/>
                    <a:pt x="10047" y="-94"/>
                    <a:pt x="9168" y="283"/>
                  </a:cubicBezTo>
                  <a:lnTo>
                    <a:pt x="2638" y="3171"/>
                  </a:lnTo>
                  <a:cubicBezTo>
                    <a:pt x="1256" y="3799"/>
                    <a:pt x="0" y="5809"/>
                    <a:pt x="0" y="7441"/>
                  </a:cubicBezTo>
                  <a:lnTo>
                    <a:pt x="0" y="41227"/>
                  </a:lnTo>
                  <a:cubicBezTo>
                    <a:pt x="0" y="41980"/>
                    <a:pt x="251" y="42482"/>
                    <a:pt x="754" y="42734"/>
                  </a:cubicBezTo>
                  <a:cubicBezTo>
                    <a:pt x="1256" y="42985"/>
                    <a:pt x="3266" y="44115"/>
                    <a:pt x="3266" y="44115"/>
                  </a:cubicBezTo>
                  <a:cubicBezTo>
                    <a:pt x="2763" y="43864"/>
                    <a:pt x="2512" y="43362"/>
                    <a:pt x="2512" y="4260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3" name="Freeform: Shape 4882">
              <a:extLst>
                <a:ext uri="{FF2B5EF4-FFF2-40B4-BE49-F238E27FC236}">
                  <a16:creationId xmlns:a16="http://schemas.microsoft.com/office/drawing/2014/main" id="{BF34D4E1-D562-44B0-8186-B19AAAE29089}"/>
                </a:ext>
              </a:extLst>
            </p:cNvPr>
            <p:cNvSpPr/>
            <p:nvPr/>
          </p:nvSpPr>
          <p:spPr>
            <a:xfrm>
              <a:off x="9831136" y="2484039"/>
              <a:ext cx="14508" cy="7108"/>
            </a:xfrm>
            <a:custGeom>
              <a:avLst/>
              <a:gdLst>
                <a:gd name="connsiteX0" fmla="*/ 13113 w 14508"/>
                <a:gd name="connsiteY0" fmla="*/ 7109 h 7108"/>
                <a:gd name="connsiteX1" fmla="*/ 11732 w 14508"/>
                <a:gd name="connsiteY1" fmla="*/ 5727 h 7108"/>
                <a:gd name="connsiteX2" fmla="*/ 10727 w 14508"/>
                <a:gd name="connsiteY2" fmla="*/ 2964 h 7108"/>
                <a:gd name="connsiteX3" fmla="*/ 2061 w 14508"/>
                <a:gd name="connsiteY3" fmla="*/ 5602 h 7108"/>
                <a:gd name="connsiteX4" fmla="*/ 177 w 14508"/>
                <a:gd name="connsiteY4" fmla="*/ 5099 h 7108"/>
                <a:gd name="connsiteX5" fmla="*/ 679 w 14508"/>
                <a:gd name="connsiteY5" fmla="*/ 3215 h 7108"/>
                <a:gd name="connsiteX6" fmla="*/ 12109 w 14508"/>
                <a:gd name="connsiteY6" fmla="*/ 578 h 7108"/>
                <a:gd name="connsiteX7" fmla="*/ 14495 w 14508"/>
                <a:gd name="connsiteY7" fmla="*/ 5727 h 7108"/>
                <a:gd name="connsiteX8" fmla="*/ 13113 w 14508"/>
                <a:gd name="connsiteY8" fmla="*/ 7109 h 7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08" h="7108">
                  <a:moveTo>
                    <a:pt x="13113" y="7109"/>
                  </a:moveTo>
                  <a:cubicBezTo>
                    <a:pt x="12360" y="7109"/>
                    <a:pt x="11732" y="6481"/>
                    <a:pt x="11732" y="5727"/>
                  </a:cubicBezTo>
                  <a:cubicBezTo>
                    <a:pt x="11732" y="4722"/>
                    <a:pt x="11606" y="3466"/>
                    <a:pt x="10727" y="2964"/>
                  </a:cubicBezTo>
                  <a:cubicBezTo>
                    <a:pt x="10099" y="2587"/>
                    <a:pt x="7964" y="2085"/>
                    <a:pt x="2061" y="5602"/>
                  </a:cubicBezTo>
                  <a:cubicBezTo>
                    <a:pt x="1433" y="5978"/>
                    <a:pt x="554" y="5727"/>
                    <a:pt x="177" y="5099"/>
                  </a:cubicBezTo>
                  <a:cubicBezTo>
                    <a:pt x="-200" y="4471"/>
                    <a:pt x="52" y="3592"/>
                    <a:pt x="679" y="3215"/>
                  </a:cubicBezTo>
                  <a:cubicBezTo>
                    <a:pt x="6080" y="75"/>
                    <a:pt x="9848" y="-678"/>
                    <a:pt x="12109" y="578"/>
                  </a:cubicBezTo>
                  <a:cubicBezTo>
                    <a:pt x="13742" y="1457"/>
                    <a:pt x="14495" y="3215"/>
                    <a:pt x="14495" y="5727"/>
                  </a:cubicBezTo>
                  <a:cubicBezTo>
                    <a:pt x="14620" y="6481"/>
                    <a:pt x="13867" y="7109"/>
                    <a:pt x="13113" y="710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4" name="Freeform: Shape 4883">
              <a:extLst>
                <a:ext uri="{FF2B5EF4-FFF2-40B4-BE49-F238E27FC236}">
                  <a16:creationId xmlns:a16="http://schemas.microsoft.com/office/drawing/2014/main" id="{E8889858-B69A-4B18-9C06-44FA95E06BC4}"/>
                </a:ext>
              </a:extLst>
            </p:cNvPr>
            <p:cNvSpPr/>
            <p:nvPr/>
          </p:nvSpPr>
          <p:spPr>
            <a:xfrm>
              <a:off x="9732596" y="2398961"/>
              <a:ext cx="110790" cy="167292"/>
            </a:xfrm>
            <a:custGeom>
              <a:avLst/>
              <a:gdLst>
                <a:gd name="connsiteX0" fmla="*/ 76613 w 110790"/>
                <a:gd name="connsiteY0" fmla="*/ 167292 h 167292"/>
                <a:gd name="connsiteX1" fmla="*/ 0 w 110790"/>
                <a:gd name="connsiteY1" fmla="*/ 123083 h 167292"/>
                <a:gd name="connsiteX2" fmla="*/ 0 w 110790"/>
                <a:gd name="connsiteY2" fmla="*/ 0 h 167292"/>
                <a:gd name="connsiteX3" fmla="*/ 99471 w 110790"/>
                <a:gd name="connsiteY3" fmla="*/ 57397 h 167292"/>
                <a:gd name="connsiteX4" fmla="*/ 109895 w 110790"/>
                <a:gd name="connsiteY4" fmla="*/ 73473 h 167292"/>
                <a:gd name="connsiteX5" fmla="*/ 110774 w 110790"/>
                <a:gd name="connsiteY5" fmla="*/ 79376 h 167292"/>
                <a:gd name="connsiteX6" fmla="*/ 109518 w 110790"/>
                <a:gd name="connsiteY6" fmla="*/ 80381 h 167292"/>
                <a:gd name="connsiteX7" fmla="*/ 104997 w 110790"/>
                <a:gd name="connsiteY7" fmla="*/ 77743 h 167292"/>
                <a:gd name="connsiteX8" fmla="*/ 104997 w 110790"/>
                <a:gd name="connsiteY8" fmla="*/ 77743 h 167292"/>
                <a:gd name="connsiteX9" fmla="*/ 101104 w 110790"/>
                <a:gd name="connsiteY9" fmla="*/ 80506 h 167292"/>
                <a:gd name="connsiteX10" fmla="*/ 101104 w 110790"/>
                <a:gd name="connsiteY10" fmla="*/ 143680 h 167292"/>
                <a:gd name="connsiteX11" fmla="*/ 104997 w 110790"/>
                <a:gd name="connsiteY11" fmla="*/ 150839 h 167292"/>
                <a:gd name="connsiteX12" fmla="*/ 104997 w 110790"/>
                <a:gd name="connsiteY12" fmla="*/ 150839 h 167292"/>
                <a:gd name="connsiteX13" fmla="*/ 76613 w 110790"/>
                <a:gd name="connsiteY13" fmla="*/ 167292 h 167292"/>
                <a:gd name="connsiteX14" fmla="*/ 88670 w 110790"/>
                <a:gd name="connsiteY14" fmla="*/ 74603 h 167292"/>
                <a:gd name="connsiteX15" fmla="*/ 48730 w 110790"/>
                <a:gd name="connsiteY15" fmla="*/ 51494 h 167292"/>
                <a:gd name="connsiteX16" fmla="*/ 45590 w 110790"/>
                <a:gd name="connsiteY16" fmla="*/ 53880 h 167292"/>
                <a:gd name="connsiteX17" fmla="*/ 45590 w 110790"/>
                <a:gd name="connsiteY17" fmla="*/ 98969 h 167292"/>
                <a:gd name="connsiteX18" fmla="*/ 48730 w 110790"/>
                <a:gd name="connsiteY18" fmla="*/ 104872 h 167292"/>
                <a:gd name="connsiteX19" fmla="*/ 88670 w 110790"/>
                <a:gd name="connsiteY19" fmla="*/ 127981 h 167292"/>
                <a:gd name="connsiteX20" fmla="*/ 91810 w 110790"/>
                <a:gd name="connsiteY20" fmla="*/ 125595 h 167292"/>
                <a:gd name="connsiteX21" fmla="*/ 91810 w 110790"/>
                <a:gd name="connsiteY21" fmla="*/ 80506 h 167292"/>
                <a:gd name="connsiteX22" fmla="*/ 88670 w 110790"/>
                <a:gd name="connsiteY22" fmla="*/ 74603 h 167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0790" h="167292">
                  <a:moveTo>
                    <a:pt x="76613" y="167292"/>
                  </a:moveTo>
                  <a:lnTo>
                    <a:pt x="0" y="123083"/>
                  </a:lnTo>
                  <a:lnTo>
                    <a:pt x="0" y="0"/>
                  </a:lnTo>
                  <a:lnTo>
                    <a:pt x="99471" y="57397"/>
                  </a:lnTo>
                  <a:cubicBezTo>
                    <a:pt x="104620" y="60286"/>
                    <a:pt x="109016" y="67068"/>
                    <a:pt x="109895" y="73473"/>
                  </a:cubicBezTo>
                  <a:lnTo>
                    <a:pt x="110774" y="79376"/>
                  </a:lnTo>
                  <a:cubicBezTo>
                    <a:pt x="110900" y="80381"/>
                    <a:pt x="110272" y="80883"/>
                    <a:pt x="109518" y="80381"/>
                  </a:cubicBezTo>
                  <a:lnTo>
                    <a:pt x="104997" y="77743"/>
                  </a:lnTo>
                  <a:lnTo>
                    <a:pt x="104997" y="77743"/>
                  </a:lnTo>
                  <a:cubicBezTo>
                    <a:pt x="102862" y="76738"/>
                    <a:pt x="101104" y="77869"/>
                    <a:pt x="101104" y="80506"/>
                  </a:cubicBezTo>
                  <a:lnTo>
                    <a:pt x="101104" y="143680"/>
                  </a:lnTo>
                  <a:cubicBezTo>
                    <a:pt x="101104" y="146318"/>
                    <a:pt x="102736" y="149332"/>
                    <a:pt x="104997" y="150839"/>
                  </a:cubicBezTo>
                  <a:lnTo>
                    <a:pt x="104997" y="150839"/>
                  </a:lnTo>
                  <a:lnTo>
                    <a:pt x="76613" y="167292"/>
                  </a:lnTo>
                  <a:close/>
                  <a:moveTo>
                    <a:pt x="88670" y="74603"/>
                  </a:moveTo>
                  <a:lnTo>
                    <a:pt x="48730" y="51494"/>
                  </a:lnTo>
                  <a:cubicBezTo>
                    <a:pt x="46972" y="50489"/>
                    <a:pt x="45590" y="51494"/>
                    <a:pt x="45590" y="53880"/>
                  </a:cubicBezTo>
                  <a:lnTo>
                    <a:pt x="45590" y="98969"/>
                  </a:lnTo>
                  <a:cubicBezTo>
                    <a:pt x="45590" y="101229"/>
                    <a:pt x="46972" y="103867"/>
                    <a:pt x="48730" y="104872"/>
                  </a:cubicBezTo>
                  <a:lnTo>
                    <a:pt x="88670" y="127981"/>
                  </a:lnTo>
                  <a:cubicBezTo>
                    <a:pt x="90428" y="128986"/>
                    <a:pt x="91810" y="127981"/>
                    <a:pt x="91810" y="125595"/>
                  </a:cubicBezTo>
                  <a:lnTo>
                    <a:pt x="91810" y="80506"/>
                  </a:lnTo>
                  <a:cubicBezTo>
                    <a:pt x="91810" y="78246"/>
                    <a:pt x="90428" y="75608"/>
                    <a:pt x="88670" y="74603"/>
                  </a:cubicBez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5" name="Freeform: Shape 4884">
              <a:extLst>
                <a:ext uri="{FF2B5EF4-FFF2-40B4-BE49-F238E27FC236}">
                  <a16:creationId xmlns:a16="http://schemas.microsoft.com/office/drawing/2014/main" id="{2449E9C8-5816-4D0C-9456-F878797CE972}"/>
                </a:ext>
              </a:extLst>
            </p:cNvPr>
            <p:cNvSpPr/>
            <p:nvPr/>
          </p:nvSpPr>
          <p:spPr>
            <a:xfrm>
              <a:off x="9833700" y="2476328"/>
              <a:ext cx="5149" cy="73472"/>
            </a:xfrm>
            <a:custGeom>
              <a:avLst/>
              <a:gdLst>
                <a:gd name="connsiteX0" fmla="*/ 0 w 5149"/>
                <a:gd name="connsiteY0" fmla="*/ 3140 h 73472"/>
                <a:gd name="connsiteX1" fmla="*/ 0 w 5149"/>
                <a:gd name="connsiteY1" fmla="*/ 66314 h 73472"/>
                <a:gd name="connsiteX2" fmla="*/ 3893 w 5149"/>
                <a:gd name="connsiteY2" fmla="*/ 73473 h 73472"/>
                <a:gd name="connsiteX3" fmla="*/ 3893 w 5149"/>
                <a:gd name="connsiteY3" fmla="*/ 73473 h 73472"/>
                <a:gd name="connsiteX4" fmla="*/ 5149 w 5149"/>
                <a:gd name="connsiteY4" fmla="*/ 72719 h 73472"/>
                <a:gd name="connsiteX5" fmla="*/ 1256 w 5149"/>
                <a:gd name="connsiteY5" fmla="*/ 65560 h 73472"/>
                <a:gd name="connsiteX6" fmla="*/ 1256 w 5149"/>
                <a:gd name="connsiteY6" fmla="*/ 2386 h 73472"/>
                <a:gd name="connsiteX7" fmla="*/ 2009 w 5149"/>
                <a:gd name="connsiteY7" fmla="*/ 0 h 73472"/>
                <a:gd name="connsiteX8" fmla="*/ 0 w 5149"/>
                <a:gd name="connsiteY8" fmla="*/ 3140 h 7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9" h="73472">
                  <a:moveTo>
                    <a:pt x="0" y="3140"/>
                  </a:moveTo>
                  <a:lnTo>
                    <a:pt x="0" y="66314"/>
                  </a:lnTo>
                  <a:cubicBezTo>
                    <a:pt x="0" y="68952"/>
                    <a:pt x="1633" y="71966"/>
                    <a:pt x="3893" y="73473"/>
                  </a:cubicBezTo>
                  <a:lnTo>
                    <a:pt x="3893" y="73473"/>
                  </a:lnTo>
                  <a:lnTo>
                    <a:pt x="5149" y="72719"/>
                  </a:lnTo>
                  <a:cubicBezTo>
                    <a:pt x="3014" y="71212"/>
                    <a:pt x="1256" y="68072"/>
                    <a:pt x="1256" y="65560"/>
                  </a:cubicBezTo>
                  <a:lnTo>
                    <a:pt x="1256" y="2386"/>
                  </a:lnTo>
                  <a:cubicBezTo>
                    <a:pt x="1256" y="1382"/>
                    <a:pt x="1507" y="628"/>
                    <a:pt x="2009" y="0"/>
                  </a:cubicBezTo>
                  <a:cubicBezTo>
                    <a:pt x="879" y="251"/>
                    <a:pt x="0" y="1382"/>
                    <a:pt x="0" y="3140"/>
                  </a:cubicBezTo>
                  <a:close/>
                </a:path>
              </a:pathLst>
            </a:custGeom>
            <a:solidFill>
              <a:srgbClr val="EB1C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6" name="Freeform: Shape 4885">
              <a:extLst>
                <a:ext uri="{FF2B5EF4-FFF2-40B4-BE49-F238E27FC236}">
                  <a16:creationId xmlns:a16="http://schemas.microsoft.com/office/drawing/2014/main" id="{54A1701A-ED00-4F54-8D38-A38B94CEC81A}"/>
                </a:ext>
              </a:extLst>
            </p:cNvPr>
            <p:cNvSpPr/>
            <p:nvPr/>
          </p:nvSpPr>
          <p:spPr>
            <a:xfrm>
              <a:off x="9778186" y="2450076"/>
              <a:ext cx="46093" cy="77173"/>
            </a:xfrm>
            <a:custGeom>
              <a:avLst/>
              <a:gdLst>
                <a:gd name="connsiteX0" fmla="*/ 46094 w 46093"/>
                <a:gd name="connsiteY0" fmla="*/ 75611 h 77173"/>
                <a:gd name="connsiteX1" fmla="*/ 45591 w 46093"/>
                <a:gd name="connsiteY1" fmla="*/ 75359 h 77173"/>
                <a:gd name="connsiteX2" fmla="*/ 5652 w 46093"/>
                <a:gd name="connsiteY2" fmla="*/ 52250 h 77173"/>
                <a:gd name="connsiteX3" fmla="*/ 2512 w 46093"/>
                <a:gd name="connsiteY3" fmla="*/ 46347 h 77173"/>
                <a:gd name="connsiteX4" fmla="*/ 2512 w 46093"/>
                <a:gd name="connsiteY4" fmla="*/ 1258 h 77173"/>
                <a:gd name="connsiteX5" fmla="*/ 2638 w 46093"/>
                <a:gd name="connsiteY5" fmla="*/ 128 h 77173"/>
                <a:gd name="connsiteX6" fmla="*/ 0 w 46093"/>
                <a:gd name="connsiteY6" fmla="*/ 2640 h 77173"/>
                <a:gd name="connsiteX7" fmla="*/ 0 w 46093"/>
                <a:gd name="connsiteY7" fmla="*/ 47728 h 77173"/>
                <a:gd name="connsiteX8" fmla="*/ 3140 w 46093"/>
                <a:gd name="connsiteY8" fmla="*/ 53631 h 77173"/>
                <a:gd name="connsiteX9" fmla="*/ 43080 w 46093"/>
                <a:gd name="connsiteY9" fmla="*/ 76741 h 77173"/>
                <a:gd name="connsiteX10" fmla="*/ 46094 w 46093"/>
                <a:gd name="connsiteY10" fmla="*/ 75611 h 7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093" h="77173">
                  <a:moveTo>
                    <a:pt x="46094" y="75611"/>
                  </a:moveTo>
                  <a:cubicBezTo>
                    <a:pt x="45968" y="75611"/>
                    <a:pt x="45717" y="75485"/>
                    <a:pt x="45591" y="75359"/>
                  </a:cubicBezTo>
                  <a:lnTo>
                    <a:pt x="5652" y="52250"/>
                  </a:lnTo>
                  <a:cubicBezTo>
                    <a:pt x="3894" y="51245"/>
                    <a:pt x="2512" y="48608"/>
                    <a:pt x="2512" y="46347"/>
                  </a:cubicBezTo>
                  <a:lnTo>
                    <a:pt x="2512" y="1258"/>
                  </a:lnTo>
                  <a:cubicBezTo>
                    <a:pt x="2512" y="882"/>
                    <a:pt x="2638" y="505"/>
                    <a:pt x="2638" y="128"/>
                  </a:cubicBezTo>
                  <a:cubicBezTo>
                    <a:pt x="1131" y="-374"/>
                    <a:pt x="0" y="630"/>
                    <a:pt x="0" y="2640"/>
                  </a:cubicBezTo>
                  <a:lnTo>
                    <a:pt x="0" y="47728"/>
                  </a:lnTo>
                  <a:cubicBezTo>
                    <a:pt x="0" y="49989"/>
                    <a:pt x="1382" y="52627"/>
                    <a:pt x="3140" y="53631"/>
                  </a:cubicBezTo>
                  <a:lnTo>
                    <a:pt x="43080" y="76741"/>
                  </a:lnTo>
                  <a:cubicBezTo>
                    <a:pt x="44461" y="77620"/>
                    <a:pt x="45717" y="77118"/>
                    <a:pt x="46094" y="75611"/>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7" name="Freeform: Shape 4886">
              <a:extLst>
                <a:ext uri="{FF2B5EF4-FFF2-40B4-BE49-F238E27FC236}">
                  <a16:creationId xmlns:a16="http://schemas.microsoft.com/office/drawing/2014/main" id="{A103B693-B4B2-49EC-B0DF-6EF2DBAC2A00}"/>
                </a:ext>
              </a:extLst>
            </p:cNvPr>
            <p:cNvSpPr/>
            <p:nvPr/>
          </p:nvSpPr>
          <p:spPr>
            <a:xfrm>
              <a:off x="9778186" y="2450068"/>
              <a:ext cx="46219" cy="77261"/>
            </a:xfrm>
            <a:custGeom>
              <a:avLst/>
              <a:gdLst>
                <a:gd name="connsiteX0" fmla="*/ 43080 w 46219"/>
                <a:gd name="connsiteY0" fmla="*/ 23497 h 77261"/>
                <a:gd name="connsiteX1" fmla="*/ 3140 w 46219"/>
                <a:gd name="connsiteY1" fmla="*/ 387 h 77261"/>
                <a:gd name="connsiteX2" fmla="*/ 0 w 46219"/>
                <a:gd name="connsiteY2" fmla="*/ 2774 h 77261"/>
                <a:gd name="connsiteX3" fmla="*/ 0 w 46219"/>
                <a:gd name="connsiteY3" fmla="*/ 47862 h 77261"/>
                <a:gd name="connsiteX4" fmla="*/ 3140 w 46219"/>
                <a:gd name="connsiteY4" fmla="*/ 53765 h 77261"/>
                <a:gd name="connsiteX5" fmla="*/ 43080 w 46219"/>
                <a:gd name="connsiteY5" fmla="*/ 76874 h 77261"/>
                <a:gd name="connsiteX6" fmla="*/ 46220 w 46219"/>
                <a:gd name="connsiteY6" fmla="*/ 74488 h 77261"/>
                <a:gd name="connsiteX7" fmla="*/ 46220 w 46219"/>
                <a:gd name="connsiteY7" fmla="*/ 29400 h 77261"/>
                <a:gd name="connsiteX8" fmla="*/ 43080 w 46219"/>
                <a:gd name="connsiteY8" fmla="*/ 23497 h 77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19" h="77261">
                  <a:moveTo>
                    <a:pt x="43080" y="23497"/>
                  </a:moveTo>
                  <a:lnTo>
                    <a:pt x="3140" y="387"/>
                  </a:lnTo>
                  <a:cubicBezTo>
                    <a:pt x="1382" y="-617"/>
                    <a:pt x="0" y="387"/>
                    <a:pt x="0" y="2774"/>
                  </a:cubicBezTo>
                  <a:lnTo>
                    <a:pt x="0" y="47862"/>
                  </a:lnTo>
                  <a:cubicBezTo>
                    <a:pt x="0" y="50123"/>
                    <a:pt x="1382" y="52760"/>
                    <a:pt x="3140" y="53765"/>
                  </a:cubicBezTo>
                  <a:lnTo>
                    <a:pt x="43080" y="76874"/>
                  </a:lnTo>
                  <a:cubicBezTo>
                    <a:pt x="44837" y="77879"/>
                    <a:pt x="46220" y="76874"/>
                    <a:pt x="46220" y="74488"/>
                  </a:cubicBezTo>
                  <a:lnTo>
                    <a:pt x="46220" y="29400"/>
                  </a:lnTo>
                  <a:cubicBezTo>
                    <a:pt x="46220" y="27139"/>
                    <a:pt x="44837" y="24501"/>
                    <a:pt x="43080" y="23497"/>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8" name="Freeform: Shape 4887">
              <a:extLst>
                <a:ext uri="{FF2B5EF4-FFF2-40B4-BE49-F238E27FC236}">
                  <a16:creationId xmlns:a16="http://schemas.microsoft.com/office/drawing/2014/main" id="{A1812077-9601-4A30-9AE5-A38EE8CDBE7E}"/>
                </a:ext>
              </a:extLst>
            </p:cNvPr>
            <p:cNvSpPr/>
            <p:nvPr/>
          </p:nvSpPr>
          <p:spPr>
            <a:xfrm>
              <a:off x="9630236" y="2517900"/>
              <a:ext cx="199444" cy="115170"/>
            </a:xfrm>
            <a:custGeom>
              <a:avLst/>
              <a:gdLst>
                <a:gd name="connsiteX0" fmla="*/ 104746 w 199444"/>
                <a:gd name="connsiteY0" fmla="*/ 115170 h 115170"/>
                <a:gd name="connsiteX1" fmla="*/ 199445 w 199444"/>
                <a:gd name="connsiteY1" fmla="*/ 60537 h 115170"/>
                <a:gd name="connsiteX2" fmla="*/ 178973 w 199444"/>
                <a:gd name="connsiteY2" fmla="*/ 48354 h 115170"/>
                <a:gd name="connsiteX3" fmla="*/ 95327 w 199444"/>
                <a:gd name="connsiteY3" fmla="*/ 0 h 115170"/>
                <a:gd name="connsiteX4" fmla="*/ 0 w 199444"/>
                <a:gd name="connsiteY4" fmla="*/ 55010 h 115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444" h="115170">
                  <a:moveTo>
                    <a:pt x="104746" y="115170"/>
                  </a:moveTo>
                  <a:lnTo>
                    <a:pt x="199445" y="60537"/>
                  </a:lnTo>
                  <a:lnTo>
                    <a:pt x="178973" y="48354"/>
                  </a:lnTo>
                  <a:lnTo>
                    <a:pt x="95327" y="0"/>
                  </a:lnTo>
                  <a:lnTo>
                    <a:pt x="0" y="5501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9" name="Freeform: Shape 4888">
              <a:extLst>
                <a:ext uri="{FF2B5EF4-FFF2-40B4-BE49-F238E27FC236}">
                  <a16:creationId xmlns:a16="http://schemas.microsoft.com/office/drawing/2014/main" id="{3E983DF4-A740-458A-9323-CA4C5D5E0603}"/>
                </a:ext>
              </a:extLst>
            </p:cNvPr>
            <p:cNvSpPr/>
            <p:nvPr/>
          </p:nvSpPr>
          <p:spPr>
            <a:xfrm>
              <a:off x="9626594" y="2405743"/>
              <a:ext cx="98968" cy="167166"/>
            </a:xfrm>
            <a:custGeom>
              <a:avLst/>
              <a:gdLst>
                <a:gd name="connsiteX0" fmla="*/ 0 w 98968"/>
                <a:gd name="connsiteY0" fmla="*/ 57146 h 167166"/>
                <a:gd name="connsiteX1" fmla="*/ 0 w 98968"/>
                <a:gd name="connsiteY1" fmla="*/ 162520 h 167166"/>
                <a:gd name="connsiteX2" fmla="*/ 3642 w 98968"/>
                <a:gd name="connsiteY2" fmla="*/ 167167 h 167166"/>
                <a:gd name="connsiteX3" fmla="*/ 98969 w 98968"/>
                <a:gd name="connsiteY3" fmla="*/ 112156 h 167166"/>
                <a:gd name="connsiteX4" fmla="*/ 98969 w 98968"/>
                <a:gd name="connsiteY4" fmla="*/ 0 h 167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968" h="167166">
                  <a:moveTo>
                    <a:pt x="0" y="57146"/>
                  </a:moveTo>
                  <a:lnTo>
                    <a:pt x="0" y="162520"/>
                  </a:lnTo>
                  <a:lnTo>
                    <a:pt x="3642" y="167167"/>
                  </a:lnTo>
                  <a:lnTo>
                    <a:pt x="98969" y="112156"/>
                  </a:lnTo>
                  <a:lnTo>
                    <a:pt x="98969" y="0"/>
                  </a:ln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0" name="Freeform: Shape 4889">
              <a:extLst>
                <a:ext uri="{FF2B5EF4-FFF2-40B4-BE49-F238E27FC236}">
                  <a16:creationId xmlns:a16="http://schemas.microsoft.com/office/drawing/2014/main" id="{BA28CA1B-46E6-4DD5-BC21-D0524953FC4F}"/>
                </a:ext>
              </a:extLst>
            </p:cNvPr>
            <p:cNvSpPr/>
            <p:nvPr/>
          </p:nvSpPr>
          <p:spPr>
            <a:xfrm>
              <a:off x="9844626" y="2594387"/>
              <a:ext cx="3516" cy="64806"/>
            </a:xfrm>
            <a:custGeom>
              <a:avLst/>
              <a:gdLst>
                <a:gd name="connsiteX0" fmla="*/ 3516 w 3516"/>
                <a:gd name="connsiteY0" fmla="*/ 0 h 64806"/>
                <a:gd name="connsiteX1" fmla="*/ 126 w 3516"/>
                <a:gd name="connsiteY1" fmla="*/ 4773 h 64806"/>
                <a:gd name="connsiteX2" fmla="*/ 0 w 3516"/>
                <a:gd name="connsiteY2" fmla="*/ 4898 h 64806"/>
                <a:gd name="connsiteX3" fmla="*/ 0 w 3516"/>
                <a:gd name="connsiteY3" fmla="*/ 64807 h 64806"/>
                <a:gd name="connsiteX4" fmla="*/ 126 w 3516"/>
                <a:gd name="connsiteY4" fmla="*/ 64681 h 64806"/>
                <a:gd name="connsiteX5" fmla="*/ 3516 w 3516"/>
                <a:gd name="connsiteY5" fmla="*/ 59909 h 64806"/>
                <a:gd name="connsiteX6" fmla="*/ 3516 w 3516"/>
                <a:gd name="connsiteY6" fmla="*/ 0 h 6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16" h="64806">
                  <a:moveTo>
                    <a:pt x="3516" y="0"/>
                  </a:moveTo>
                  <a:cubicBezTo>
                    <a:pt x="3516" y="1758"/>
                    <a:pt x="2386" y="3391"/>
                    <a:pt x="126" y="4773"/>
                  </a:cubicBezTo>
                  <a:lnTo>
                    <a:pt x="0" y="4898"/>
                  </a:lnTo>
                  <a:lnTo>
                    <a:pt x="0" y="64807"/>
                  </a:lnTo>
                  <a:lnTo>
                    <a:pt x="126" y="64681"/>
                  </a:lnTo>
                  <a:cubicBezTo>
                    <a:pt x="2386" y="63425"/>
                    <a:pt x="3516" y="61667"/>
                    <a:pt x="3516" y="59909"/>
                  </a:cubicBezTo>
                  <a:cubicBezTo>
                    <a:pt x="3516" y="58150"/>
                    <a:pt x="3516" y="0"/>
                    <a:pt x="3516" y="0"/>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1" name="Freeform: Shape 4890">
              <a:extLst>
                <a:ext uri="{FF2B5EF4-FFF2-40B4-BE49-F238E27FC236}">
                  <a16:creationId xmlns:a16="http://schemas.microsoft.com/office/drawing/2014/main" id="{9A3B2F79-BB45-4BB7-BDA8-B68E03D01B95}"/>
                </a:ext>
              </a:extLst>
            </p:cNvPr>
            <p:cNvSpPr/>
            <p:nvPr/>
          </p:nvSpPr>
          <p:spPr>
            <a:xfrm>
              <a:off x="9843370" y="2598406"/>
              <a:ext cx="1256" cy="60662"/>
            </a:xfrm>
            <a:custGeom>
              <a:avLst/>
              <a:gdLst>
                <a:gd name="connsiteX0" fmla="*/ 126 w 1256"/>
                <a:gd name="connsiteY0" fmla="*/ 0 h 60662"/>
                <a:gd name="connsiteX1" fmla="*/ 0 w 1256"/>
                <a:gd name="connsiteY1" fmla="*/ 5526 h 60662"/>
                <a:gd name="connsiteX2" fmla="*/ 126 w 1256"/>
                <a:gd name="connsiteY2" fmla="*/ 59909 h 60662"/>
                <a:gd name="connsiteX3" fmla="*/ 1256 w 1256"/>
                <a:gd name="connsiteY3" fmla="*/ 60662 h 60662"/>
                <a:gd name="connsiteX4" fmla="*/ 1256 w 1256"/>
                <a:gd name="connsiteY4" fmla="*/ 754 h 60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 h="60662">
                  <a:moveTo>
                    <a:pt x="126" y="0"/>
                  </a:moveTo>
                  <a:lnTo>
                    <a:pt x="0" y="5526"/>
                  </a:lnTo>
                  <a:lnTo>
                    <a:pt x="126" y="59909"/>
                  </a:lnTo>
                  <a:lnTo>
                    <a:pt x="1256" y="60662"/>
                  </a:lnTo>
                  <a:lnTo>
                    <a:pt x="1256" y="754"/>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2" name="Freeform: Shape 4891">
              <a:extLst>
                <a:ext uri="{FF2B5EF4-FFF2-40B4-BE49-F238E27FC236}">
                  <a16:creationId xmlns:a16="http://schemas.microsoft.com/office/drawing/2014/main" id="{A351D031-521B-4D65-8B18-208583FBE5E5}"/>
                </a:ext>
              </a:extLst>
            </p:cNvPr>
            <p:cNvSpPr/>
            <p:nvPr/>
          </p:nvSpPr>
          <p:spPr>
            <a:xfrm>
              <a:off x="9846259" y="2598406"/>
              <a:ext cx="1883" cy="31398"/>
            </a:xfrm>
            <a:custGeom>
              <a:avLst/>
              <a:gdLst>
                <a:gd name="connsiteX0" fmla="*/ 0 w 1883"/>
                <a:gd name="connsiteY0" fmla="*/ 31399 h 31398"/>
                <a:gd name="connsiteX1" fmla="*/ 1883 w 1883"/>
                <a:gd name="connsiteY1" fmla="*/ 26249 h 31398"/>
                <a:gd name="connsiteX2" fmla="*/ 1883 w 1883"/>
                <a:gd name="connsiteY2" fmla="*/ 0 h 31398"/>
                <a:gd name="connsiteX3" fmla="*/ 0 w 1883"/>
                <a:gd name="connsiteY3" fmla="*/ 3642 h 31398"/>
                <a:gd name="connsiteX4" fmla="*/ 0 w 1883"/>
                <a:gd name="connsiteY4" fmla="*/ 31399 h 31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31398">
                  <a:moveTo>
                    <a:pt x="0" y="31399"/>
                  </a:moveTo>
                  <a:cubicBezTo>
                    <a:pt x="0" y="31399"/>
                    <a:pt x="1883" y="29515"/>
                    <a:pt x="1883" y="26249"/>
                  </a:cubicBezTo>
                  <a:cubicBezTo>
                    <a:pt x="1883" y="22858"/>
                    <a:pt x="1883" y="0"/>
                    <a:pt x="1883" y="0"/>
                  </a:cubicBezTo>
                  <a:cubicBezTo>
                    <a:pt x="1883" y="2135"/>
                    <a:pt x="0" y="3642"/>
                    <a:pt x="0" y="3642"/>
                  </a:cubicBezTo>
                  <a:lnTo>
                    <a:pt x="0" y="31399"/>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3" name="Freeform: Shape 4892">
              <a:extLst>
                <a:ext uri="{FF2B5EF4-FFF2-40B4-BE49-F238E27FC236}">
                  <a16:creationId xmlns:a16="http://schemas.microsoft.com/office/drawing/2014/main" id="{43752E56-0D54-413B-9A5E-03B0D9CC1E8D}"/>
                </a:ext>
              </a:extLst>
            </p:cNvPr>
            <p:cNvSpPr/>
            <p:nvPr/>
          </p:nvSpPr>
          <p:spPr>
            <a:xfrm>
              <a:off x="9747165" y="2598406"/>
              <a:ext cx="96331" cy="115547"/>
            </a:xfrm>
            <a:custGeom>
              <a:avLst/>
              <a:gdLst>
                <a:gd name="connsiteX0" fmla="*/ 0 w 96331"/>
                <a:gd name="connsiteY0" fmla="*/ 55638 h 115547"/>
                <a:gd name="connsiteX1" fmla="*/ 0 w 96331"/>
                <a:gd name="connsiteY1" fmla="*/ 115547 h 115547"/>
                <a:gd name="connsiteX2" fmla="*/ 96331 w 96331"/>
                <a:gd name="connsiteY2" fmla="*/ 59909 h 115547"/>
                <a:gd name="connsiteX3" fmla="*/ 96331 w 96331"/>
                <a:gd name="connsiteY3" fmla="*/ 0 h 115547"/>
              </a:gdLst>
              <a:ahLst/>
              <a:cxnLst>
                <a:cxn ang="0">
                  <a:pos x="connsiteX0" y="connsiteY0"/>
                </a:cxn>
                <a:cxn ang="0">
                  <a:pos x="connsiteX1" y="connsiteY1"/>
                </a:cxn>
                <a:cxn ang="0">
                  <a:pos x="connsiteX2" y="connsiteY2"/>
                </a:cxn>
                <a:cxn ang="0">
                  <a:pos x="connsiteX3" y="connsiteY3"/>
                </a:cxn>
              </a:cxnLst>
              <a:rect l="l" t="t" r="r" b="b"/>
              <a:pathLst>
                <a:path w="96331" h="115547">
                  <a:moveTo>
                    <a:pt x="0" y="55638"/>
                  </a:moveTo>
                  <a:lnTo>
                    <a:pt x="0" y="115547"/>
                  </a:lnTo>
                  <a:lnTo>
                    <a:pt x="96331" y="59909"/>
                  </a:lnTo>
                  <a:lnTo>
                    <a:pt x="96331"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4" name="Freeform: Shape 4893">
              <a:extLst>
                <a:ext uri="{FF2B5EF4-FFF2-40B4-BE49-F238E27FC236}">
                  <a16:creationId xmlns:a16="http://schemas.microsoft.com/office/drawing/2014/main" id="{8B2ECB63-4200-475A-B29F-08372848F1C0}"/>
                </a:ext>
              </a:extLst>
            </p:cNvPr>
            <p:cNvSpPr/>
            <p:nvPr/>
          </p:nvSpPr>
          <p:spPr>
            <a:xfrm>
              <a:off x="9746411" y="2654044"/>
              <a:ext cx="753" cy="879"/>
            </a:xfrm>
            <a:custGeom>
              <a:avLst/>
              <a:gdLst>
                <a:gd name="connsiteX0" fmla="*/ 0 w 753"/>
                <a:gd name="connsiteY0" fmla="*/ 377 h 879"/>
                <a:gd name="connsiteX1" fmla="*/ 754 w 753"/>
                <a:gd name="connsiteY1" fmla="*/ 879 h 879"/>
                <a:gd name="connsiteX2" fmla="*/ 754 w 753"/>
                <a:gd name="connsiteY2" fmla="*/ 0 h 879"/>
              </a:gdLst>
              <a:ahLst/>
              <a:cxnLst>
                <a:cxn ang="0">
                  <a:pos x="connsiteX0" y="connsiteY0"/>
                </a:cxn>
                <a:cxn ang="0">
                  <a:pos x="connsiteX1" y="connsiteY1"/>
                </a:cxn>
                <a:cxn ang="0">
                  <a:pos x="connsiteX2" y="connsiteY2"/>
                </a:cxn>
              </a:cxnLst>
              <a:rect l="l" t="t" r="r" b="b"/>
              <a:pathLst>
                <a:path w="753" h="879">
                  <a:moveTo>
                    <a:pt x="0" y="377"/>
                  </a:moveTo>
                  <a:lnTo>
                    <a:pt x="754" y="879"/>
                  </a:lnTo>
                  <a:lnTo>
                    <a:pt x="754" y="0"/>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5" name="Freeform: Shape 4894">
              <a:extLst>
                <a:ext uri="{FF2B5EF4-FFF2-40B4-BE49-F238E27FC236}">
                  <a16:creationId xmlns:a16="http://schemas.microsoft.com/office/drawing/2014/main" id="{C0125C00-55E5-4F1C-973D-D7610375D0FF}"/>
                </a:ext>
              </a:extLst>
            </p:cNvPr>
            <p:cNvSpPr/>
            <p:nvPr/>
          </p:nvSpPr>
          <p:spPr>
            <a:xfrm>
              <a:off x="9842742" y="2598406"/>
              <a:ext cx="753" cy="60285"/>
            </a:xfrm>
            <a:custGeom>
              <a:avLst/>
              <a:gdLst>
                <a:gd name="connsiteX0" fmla="*/ 0 w 753"/>
                <a:gd name="connsiteY0" fmla="*/ 60285 h 60285"/>
                <a:gd name="connsiteX1" fmla="*/ 754 w 753"/>
                <a:gd name="connsiteY1" fmla="*/ 59909 h 60285"/>
                <a:gd name="connsiteX2" fmla="*/ 754 w 753"/>
                <a:gd name="connsiteY2" fmla="*/ 0 h 60285"/>
                <a:gd name="connsiteX3" fmla="*/ 0 w 753"/>
                <a:gd name="connsiteY3" fmla="*/ 502 h 60285"/>
              </a:gdLst>
              <a:ahLst/>
              <a:cxnLst>
                <a:cxn ang="0">
                  <a:pos x="connsiteX0" y="connsiteY0"/>
                </a:cxn>
                <a:cxn ang="0">
                  <a:pos x="connsiteX1" y="connsiteY1"/>
                </a:cxn>
                <a:cxn ang="0">
                  <a:pos x="connsiteX2" y="connsiteY2"/>
                </a:cxn>
                <a:cxn ang="0">
                  <a:pos x="connsiteX3" y="connsiteY3"/>
                </a:cxn>
              </a:cxnLst>
              <a:rect l="l" t="t" r="r" b="b"/>
              <a:pathLst>
                <a:path w="753" h="60285">
                  <a:moveTo>
                    <a:pt x="0" y="60285"/>
                  </a:moveTo>
                  <a:lnTo>
                    <a:pt x="754" y="59909"/>
                  </a:lnTo>
                  <a:lnTo>
                    <a:pt x="754" y="0"/>
                  </a:lnTo>
                  <a:lnTo>
                    <a:pt x="0" y="502"/>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96" name="Graphic 4">
              <a:extLst>
                <a:ext uri="{FF2B5EF4-FFF2-40B4-BE49-F238E27FC236}">
                  <a16:creationId xmlns:a16="http://schemas.microsoft.com/office/drawing/2014/main" id="{84FB7ED1-A2DF-40A1-A747-5F7CF3F14040}"/>
                </a:ext>
              </a:extLst>
            </p:cNvPr>
            <p:cNvGrpSpPr/>
            <p:nvPr/>
          </p:nvGrpSpPr>
          <p:grpSpPr>
            <a:xfrm>
              <a:off x="9760226" y="2607197"/>
              <a:ext cx="69454" cy="68063"/>
              <a:chOff x="9760226" y="2607197"/>
              <a:chExt cx="69454" cy="68063"/>
            </a:xfrm>
            <a:solidFill>
              <a:schemeClr val="accent1"/>
            </a:solidFill>
          </p:grpSpPr>
          <p:sp>
            <p:nvSpPr>
              <p:cNvPr id="4897" name="Freeform: Shape 4896">
                <a:extLst>
                  <a:ext uri="{FF2B5EF4-FFF2-40B4-BE49-F238E27FC236}">
                    <a16:creationId xmlns:a16="http://schemas.microsoft.com/office/drawing/2014/main" id="{9CFF916D-C234-4F10-8614-8D78ABD99EB1}"/>
                  </a:ext>
                </a:extLst>
              </p:cNvPr>
              <p:cNvSpPr/>
              <p:nvPr/>
            </p:nvSpPr>
            <p:spPr>
              <a:xfrm>
                <a:off x="9760226" y="2607197"/>
                <a:ext cx="69454" cy="68063"/>
              </a:xfrm>
              <a:custGeom>
                <a:avLst/>
                <a:gdLst>
                  <a:gd name="connsiteX0" fmla="*/ 0 w 69454"/>
                  <a:gd name="connsiteY0" fmla="*/ 40065 h 68063"/>
                  <a:gd name="connsiteX1" fmla="*/ 6531 w 69454"/>
                  <a:gd name="connsiteY1" fmla="*/ 62546 h 68063"/>
                  <a:gd name="connsiteX2" fmla="*/ 17960 w 69454"/>
                  <a:gd name="connsiteY2" fmla="*/ 67193 h 68063"/>
                  <a:gd name="connsiteX3" fmla="*/ 34036 w 69454"/>
                  <a:gd name="connsiteY3" fmla="*/ 59155 h 68063"/>
                  <a:gd name="connsiteX4" fmla="*/ 34790 w 69454"/>
                  <a:gd name="connsiteY4" fmla="*/ 58778 h 68063"/>
                  <a:gd name="connsiteX5" fmla="*/ 51494 w 69454"/>
                  <a:gd name="connsiteY5" fmla="*/ 47852 h 68063"/>
                  <a:gd name="connsiteX6" fmla="*/ 62923 w 69454"/>
                  <a:gd name="connsiteY6" fmla="*/ 30143 h 68063"/>
                  <a:gd name="connsiteX7" fmla="*/ 69454 w 69454"/>
                  <a:gd name="connsiteY7" fmla="*/ 0 h 68063"/>
                  <a:gd name="connsiteX8" fmla="*/ 0 w 69454"/>
                  <a:gd name="connsiteY8" fmla="*/ 40065 h 68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54" h="68063">
                    <a:moveTo>
                      <a:pt x="0" y="40065"/>
                    </a:moveTo>
                    <a:lnTo>
                      <a:pt x="6531" y="62546"/>
                    </a:lnTo>
                    <a:cubicBezTo>
                      <a:pt x="7913" y="67444"/>
                      <a:pt x="12435" y="69328"/>
                      <a:pt x="17960" y="67193"/>
                    </a:cubicBezTo>
                    <a:cubicBezTo>
                      <a:pt x="24240" y="64681"/>
                      <a:pt x="29892" y="61541"/>
                      <a:pt x="34036" y="59155"/>
                    </a:cubicBezTo>
                    <a:lnTo>
                      <a:pt x="34790" y="58778"/>
                    </a:lnTo>
                    <a:cubicBezTo>
                      <a:pt x="41949" y="54634"/>
                      <a:pt x="47098" y="51243"/>
                      <a:pt x="51494" y="47852"/>
                    </a:cubicBezTo>
                    <a:cubicBezTo>
                      <a:pt x="57021" y="43707"/>
                      <a:pt x="61416" y="36674"/>
                      <a:pt x="62923" y="30143"/>
                    </a:cubicBezTo>
                    <a:lnTo>
                      <a:pt x="69454" y="0"/>
                    </a:lnTo>
                    <a:lnTo>
                      <a:pt x="0" y="40065"/>
                    </a:lnTo>
                    <a:close/>
                  </a:path>
                </a:pathLst>
              </a:custGeom>
              <a:solidFill>
                <a:srgbClr val="B0B0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8" name="Freeform: Shape 4897">
                <a:extLst>
                  <a:ext uri="{FF2B5EF4-FFF2-40B4-BE49-F238E27FC236}">
                    <a16:creationId xmlns:a16="http://schemas.microsoft.com/office/drawing/2014/main" id="{B362C473-83EF-4F81-88A2-5FD142AB14F8}"/>
                  </a:ext>
                </a:extLst>
              </p:cNvPr>
              <p:cNvSpPr/>
              <p:nvPr/>
            </p:nvSpPr>
            <p:spPr>
              <a:xfrm>
                <a:off x="9764497" y="2612347"/>
                <a:ext cx="61038" cy="58474"/>
              </a:xfrm>
              <a:custGeom>
                <a:avLst/>
                <a:gdLst>
                  <a:gd name="connsiteX0" fmla="*/ 0 w 61038"/>
                  <a:gd name="connsiteY0" fmla="*/ 35292 h 58474"/>
                  <a:gd name="connsiteX1" fmla="*/ 5652 w 61038"/>
                  <a:gd name="connsiteY1" fmla="*/ 54382 h 58474"/>
                  <a:gd name="connsiteX2" fmla="*/ 14318 w 61038"/>
                  <a:gd name="connsiteY2" fmla="*/ 57774 h 58474"/>
                  <a:gd name="connsiteX3" fmla="*/ 30519 w 61038"/>
                  <a:gd name="connsiteY3" fmla="*/ 49610 h 58474"/>
                  <a:gd name="connsiteX4" fmla="*/ 46721 w 61038"/>
                  <a:gd name="connsiteY4" fmla="*/ 39060 h 58474"/>
                  <a:gd name="connsiteX5" fmla="*/ 55387 w 61038"/>
                  <a:gd name="connsiteY5" fmla="*/ 25621 h 58474"/>
                  <a:gd name="connsiteX6" fmla="*/ 61039 w 61038"/>
                  <a:gd name="connsiteY6" fmla="*/ 0 h 58474"/>
                  <a:gd name="connsiteX7" fmla="*/ 0 w 61038"/>
                  <a:gd name="connsiteY7" fmla="*/ 35292 h 58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038" h="58474">
                    <a:moveTo>
                      <a:pt x="0" y="35292"/>
                    </a:moveTo>
                    <a:lnTo>
                      <a:pt x="5652" y="54382"/>
                    </a:lnTo>
                    <a:cubicBezTo>
                      <a:pt x="6782" y="58150"/>
                      <a:pt x="10173" y="59406"/>
                      <a:pt x="14318" y="57774"/>
                    </a:cubicBezTo>
                    <a:cubicBezTo>
                      <a:pt x="20598" y="55387"/>
                      <a:pt x="26124" y="52122"/>
                      <a:pt x="30519" y="49610"/>
                    </a:cubicBezTo>
                    <a:cubicBezTo>
                      <a:pt x="36548" y="46093"/>
                      <a:pt x="42074" y="42702"/>
                      <a:pt x="46721" y="39060"/>
                    </a:cubicBezTo>
                    <a:cubicBezTo>
                      <a:pt x="50866" y="35794"/>
                      <a:pt x="54257" y="30645"/>
                      <a:pt x="55387" y="25621"/>
                    </a:cubicBezTo>
                    <a:lnTo>
                      <a:pt x="61039" y="0"/>
                    </a:lnTo>
                    <a:lnTo>
                      <a:pt x="0" y="3529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99" name="Graphic 4">
                <a:extLst>
                  <a:ext uri="{FF2B5EF4-FFF2-40B4-BE49-F238E27FC236}">
                    <a16:creationId xmlns:a16="http://schemas.microsoft.com/office/drawing/2014/main" id="{84FB7ED1-A2DF-40A1-A747-5F7CF3F14040}"/>
                  </a:ext>
                </a:extLst>
              </p:cNvPr>
              <p:cNvGrpSpPr/>
              <p:nvPr/>
            </p:nvGrpSpPr>
            <p:grpSpPr>
              <a:xfrm>
                <a:off x="9764999" y="2614984"/>
                <a:ext cx="59908" cy="56020"/>
                <a:chOff x="9764999" y="2614984"/>
                <a:chExt cx="59908" cy="56020"/>
              </a:xfrm>
              <a:solidFill>
                <a:srgbClr val="454351"/>
              </a:solidFill>
            </p:grpSpPr>
            <p:sp>
              <p:nvSpPr>
                <p:cNvPr id="4900" name="Freeform: Shape 4899">
                  <a:extLst>
                    <a:ext uri="{FF2B5EF4-FFF2-40B4-BE49-F238E27FC236}">
                      <a16:creationId xmlns:a16="http://schemas.microsoft.com/office/drawing/2014/main" id="{A18345D4-6AB8-42BE-9B87-8C20C48C7764}"/>
                    </a:ext>
                  </a:extLst>
                </p:cNvPr>
                <p:cNvSpPr/>
                <p:nvPr/>
              </p:nvSpPr>
              <p:spPr>
                <a:xfrm>
                  <a:off x="9773289" y="2645629"/>
                  <a:ext cx="43330" cy="25375"/>
                </a:xfrm>
                <a:custGeom>
                  <a:avLst/>
                  <a:gdLst>
                    <a:gd name="connsiteX0" fmla="*/ 40065 w 43330"/>
                    <a:gd name="connsiteY0" fmla="*/ 4019 h 25375"/>
                    <a:gd name="connsiteX1" fmla="*/ 43330 w 43330"/>
                    <a:gd name="connsiteY1" fmla="*/ 0 h 25375"/>
                    <a:gd name="connsiteX2" fmla="*/ 0 w 43330"/>
                    <a:gd name="connsiteY2" fmla="*/ 24993 h 25375"/>
                    <a:gd name="connsiteX3" fmla="*/ 3266 w 43330"/>
                    <a:gd name="connsiteY3" fmla="*/ 25245 h 25375"/>
                    <a:gd name="connsiteX4" fmla="*/ 40065 w 43330"/>
                    <a:gd name="connsiteY4" fmla="*/ 4019 h 25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30" h="25375">
                      <a:moveTo>
                        <a:pt x="40065" y="4019"/>
                      </a:moveTo>
                      <a:cubicBezTo>
                        <a:pt x="41320" y="2763"/>
                        <a:pt x="42451" y="1382"/>
                        <a:pt x="43330" y="0"/>
                      </a:cubicBezTo>
                      <a:lnTo>
                        <a:pt x="0" y="24993"/>
                      </a:lnTo>
                      <a:cubicBezTo>
                        <a:pt x="1004" y="25370"/>
                        <a:pt x="2009" y="25496"/>
                        <a:pt x="3266" y="25245"/>
                      </a:cubicBezTo>
                      <a:lnTo>
                        <a:pt x="40065" y="401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1" name="Freeform: Shape 4900">
                  <a:extLst>
                    <a:ext uri="{FF2B5EF4-FFF2-40B4-BE49-F238E27FC236}">
                      <a16:creationId xmlns:a16="http://schemas.microsoft.com/office/drawing/2014/main" id="{5C92911F-C20E-47CF-89D3-896CD43613C4}"/>
                    </a:ext>
                  </a:extLst>
                </p:cNvPr>
                <p:cNvSpPr/>
                <p:nvPr/>
              </p:nvSpPr>
              <p:spPr>
                <a:xfrm>
                  <a:off x="9769270" y="2634703"/>
                  <a:ext cx="51242" cy="31398"/>
                </a:xfrm>
                <a:custGeom>
                  <a:avLst/>
                  <a:gdLst>
                    <a:gd name="connsiteX0" fmla="*/ 0 w 51242"/>
                    <a:gd name="connsiteY0" fmla="*/ 29640 h 31398"/>
                    <a:gd name="connsiteX1" fmla="*/ 502 w 51242"/>
                    <a:gd name="connsiteY1" fmla="*/ 31399 h 31398"/>
                    <a:gd name="connsiteX2" fmla="*/ 50740 w 51242"/>
                    <a:gd name="connsiteY2" fmla="*/ 2512 h 31398"/>
                    <a:gd name="connsiteX3" fmla="*/ 51243 w 51242"/>
                    <a:gd name="connsiteY3" fmla="*/ 0 h 31398"/>
                  </a:gdLst>
                  <a:ahLst/>
                  <a:cxnLst>
                    <a:cxn ang="0">
                      <a:pos x="connsiteX0" y="connsiteY0"/>
                    </a:cxn>
                    <a:cxn ang="0">
                      <a:pos x="connsiteX1" y="connsiteY1"/>
                    </a:cxn>
                    <a:cxn ang="0">
                      <a:pos x="connsiteX2" y="connsiteY2"/>
                    </a:cxn>
                    <a:cxn ang="0">
                      <a:pos x="connsiteX3" y="connsiteY3"/>
                    </a:cxn>
                  </a:cxnLst>
                  <a:rect l="l" t="t" r="r" b="b"/>
                  <a:pathLst>
                    <a:path w="51242" h="31398">
                      <a:moveTo>
                        <a:pt x="0" y="29640"/>
                      </a:moveTo>
                      <a:lnTo>
                        <a:pt x="502" y="31399"/>
                      </a:lnTo>
                      <a:lnTo>
                        <a:pt x="50740" y="2512"/>
                      </a:lnTo>
                      <a:lnTo>
                        <a:pt x="51243"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2" name="Freeform: Shape 4901">
                  <a:extLst>
                    <a:ext uri="{FF2B5EF4-FFF2-40B4-BE49-F238E27FC236}">
                      <a16:creationId xmlns:a16="http://schemas.microsoft.com/office/drawing/2014/main" id="{4E2CEEB5-DD1B-4D85-B9D4-5785CD6DAAF2}"/>
                    </a:ext>
                  </a:extLst>
                </p:cNvPr>
                <p:cNvSpPr/>
                <p:nvPr/>
              </p:nvSpPr>
              <p:spPr>
                <a:xfrm>
                  <a:off x="9770400" y="2639727"/>
                  <a:ext cx="49107" cy="29765"/>
                </a:xfrm>
                <a:custGeom>
                  <a:avLst/>
                  <a:gdLst>
                    <a:gd name="connsiteX0" fmla="*/ 0 w 49107"/>
                    <a:gd name="connsiteY0" fmla="*/ 28259 h 29765"/>
                    <a:gd name="connsiteX1" fmla="*/ 1131 w 49107"/>
                    <a:gd name="connsiteY1" fmla="*/ 29766 h 29765"/>
                    <a:gd name="connsiteX2" fmla="*/ 47977 w 49107"/>
                    <a:gd name="connsiteY2" fmla="*/ 2763 h 29765"/>
                    <a:gd name="connsiteX3" fmla="*/ 49108 w 49107"/>
                    <a:gd name="connsiteY3" fmla="*/ 0 h 29765"/>
                    <a:gd name="connsiteX4" fmla="*/ 0 w 49107"/>
                    <a:gd name="connsiteY4" fmla="*/ 28259 h 29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07" h="29765">
                      <a:moveTo>
                        <a:pt x="0" y="28259"/>
                      </a:moveTo>
                      <a:cubicBezTo>
                        <a:pt x="251" y="28887"/>
                        <a:pt x="629" y="29389"/>
                        <a:pt x="1131" y="29766"/>
                      </a:cubicBezTo>
                      <a:lnTo>
                        <a:pt x="47977" y="2763"/>
                      </a:lnTo>
                      <a:cubicBezTo>
                        <a:pt x="48354" y="1884"/>
                        <a:pt x="48731" y="879"/>
                        <a:pt x="49108" y="0"/>
                      </a:cubicBezTo>
                      <a:lnTo>
                        <a:pt x="0" y="2825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3" name="Freeform: Shape 4902">
                  <a:extLst>
                    <a:ext uri="{FF2B5EF4-FFF2-40B4-BE49-F238E27FC236}">
                      <a16:creationId xmlns:a16="http://schemas.microsoft.com/office/drawing/2014/main" id="{5C8F0261-BF78-4722-AD13-309FB850FBCF}"/>
                    </a:ext>
                  </a:extLst>
                </p:cNvPr>
                <p:cNvSpPr/>
                <p:nvPr/>
              </p:nvSpPr>
              <p:spPr>
                <a:xfrm>
                  <a:off x="9764999" y="2614984"/>
                  <a:ext cx="59908" cy="36422"/>
                </a:xfrm>
                <a:custGeom>
                  <a:avLst/>
                  <a:gdLst>
                    <a:gd name="connsiteX0" fmla="*/ 0 w 59908"/>
                    <a:gd name="connsiteY0" fmla="*/ 34539 h 36422"/>
                    <a:gd name="connsiteX1" fmla="*/ 503 w 59908"/>
                    <a:gd name="connsiteY1" fmla="*/ 36422 h 36422"/>
                    <a:gd name="connsiteX2" fmla="*/ 59281 w 59908"/>
                    <a:gd name="connsiteY2" fmla="*/ 2512 h 36422"/>
                    <a:gd name="connsiteX3" fmla="*/ 59909 w 59908"/>
                    <a:gd name="connsiteY3" fmla="*/ 0 h 36422"/>
                  </a:gdLst>
                  <a:ahLst/>
                  <a:cxnLst>
                    <a:cxn ang="0">
                      <a:pos x="connsiteX0" y="connsiteY0"/>
                    </a:cxn>
                    <a:cxn ang="0">
                      <a:pos x="connsiteX1" y="connsiteY1"/>
                    </a:cxn>
                    <a:cxn ang="0">
                      <a:pos x="connsiteX2" y="connsiteY2"/>
                    </a:cxn>
                    <a:cxn ang="0">
                      <a:pos x="connsiteX3" y="connsiteY3"/>
                    </a:cxn>
                  </a:cxnLst>
                  <a:rect l="l" t="t" r="r" b="b"/>
                  <a:pathLst>
                    <a:path w="59908" h="36422">
                      <a:moveTo>
                        <a:pt x="0" y="34539"/>
                      </a:moveTo>
                      <a:lnTo>
                        <a:pt x="503" y="36422"/>
                      </a:lnTo>
                      <a:lnTo>
                        <a:pt x="59281" y="2512"/>
                      </a:lnTo>
                      <a:lnTo>
                        <a:pt x="59909"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4" name="Freeform: Shape 4903">
                  <a:extLst>
                    <a:ext uri="{FF2B5EF4-FFF2-40B4-BE49-F238E27FC236}">
                      <a16:creationId xmlns:a16="http://schemas.microsoft.com/office/drawing/2014/main" id="{D4534770-2A56-4D9E-BC7B-6BDB30AB53E4}"/>
                    </a:ext>
                  </a:extLst>
                </p:cNvPr>
                <p:cNvSpPr/>
                <p:nvPr/>
              </p:nvSpPr>
              <p:spPr>
                <a:xfrm>
                  <a:off x="9766004" y="2619883"/>
                  <a:ext cx="57773" cy="35166"/>
                </a:xfrm>
                <a:custGeom>
                  <a:avLst/>
                  <a:gdLst>
                    <a:gd name="connsiteX0" fmla="*/ 0 w 57773"/>
                    <a:gd name="connsiteY0" fmla="*/ 33408 h 35166"/>
                    <a:gd name="connsiteX1" fmla="*/ 628 w 57773"/>
                    <a:gd name="connsiteY1" fmla="*/ 35166 h 35166"/>
                    <a:gd name="connsiteX2" fmla="*/ 57271 w 57773"/>
                    <a:gd name="connsiteY2" fmla="*/ 2512 h 35166"/>
                    <a:gd name="connsiteX3" fmla="*/ 57773 w 57773"/>
                    <a:gd name="connsiteY3" fmla="*/ 0 h 35166"/>
                  </a:gdLst>
                  <a:ahLst/>
                  <a:cxnLst>
                    <a:cxn ang="0">
                      <a:pos x="connsiteX0" y="connsiteY0"/>
                    </a:cxn>
                    <a:cxn ang="0">
                      <a:pos x="connsiteX1" y="connsiteY1"/>
                    </a:cxn>
                    <a:cxn ang="0">
                      <a:pos x="connsiteX2" y="connsiteY2"/>
                    </a:cxn>
                    <a:cxn ang="0">
                      <a:pos x="connsiteX3" y="connsiteY3"/>
                    </a:cxn>
                  </a:cxnLst>
                  <a:rect l="l" t="t" r="r" b="b"/>
                  <a:pathLst>
                    <a:path w="57773" h="35166">
                      <a:moveTo>
                        <a:pt x="0" y="33408"/>
                      </a:moveTo>
                      <a:lnTo>
                        <a:pt x="628" y="35166"/>
                      </a:lnTo>
                      <a:lnTo>
                        <a:pt x="57271" y="2512"/>
                      </a:lnTo>
                      <a:lnTo>
                        <a:pt x="57773"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5" name="Freeform: Shape 4904">
                  <a:extLst>
                    <a:ext uri="{FF2B5EF4-FFF2-40B4-BE49-F238E27FC236}">
                      <a16:creationId xmlns:a16="http://schemas.microsoft.com/office/drawing/2014/main" id="{A322033F-5DFC-4C68-858A-0CDD60F915A8}"/>
                    </a:ext>
                  </a:extLst>
                </p:cNvPr>
                <p:cNvSpPr/>
                <p:nvPr/>
              </p:nvSpPr>
              <p:spPr>
                <a:xfrm>
                  <a:off x="9767135" y="2624781"/>
                  <a:ext cx="55638" cy="34036"/>
                </a:xfrm>
                <a:custGeom>
                  <a:avLst/>
                  <a:gdLst>
                    <a:gd name="connsiteX0" fmla="*/ 0 w 55638"/>
                    <a:gd name="connsiteY0" fmla="*/ 32152 h 34036"/>
                    <a:gd name="connsiteX1" fmla="*/ 502 w 55638"/>
                    <a:gd name="connsiteY1" fmla="*/ 34036 h 34036"/>
                    <a:gd name="connsiteX2" fmla="*/ 55010 w 55638"/>
                    <a:gd name="connsiteY2" fmla="*/ 2512 h 34036"/>
                    <a:gd name="connsiteX3" fmla="*/ 55638 w 55638"/>
                    <a:gd name="connsiteY3" fmla="*/ 0 h 34036"/>
                  </a:gdLst>
                  <a:ahLst/>
                  <a:cxnLst>
                    <a:cxn ang="0">
                      <a:pos x="connsiteX0" y="connsiteY0"/>
                    </a:cxn>
                    <a:cxn ang="0">
                      <a:pos x="connsiteX1" y="connsiteY1"/>
                    </a:cxn>
                    <a:cxn ang="0">
                      <a:pos x="connsiteX2" y="connsiteY2"/>
                    </a:cxn>
                    <a:cxn ang="0">
                      <a:pos x="connsiteX3" y="connsiteY3"/>
                    </a:cxn>
                  </a:cxnLst>
                  <a:rect l="l" t="t" r="r" b="b"/>
                  <a:pathLst>
                    <a:path w="55638" h="34036">
                      <a:moveTo>
                        <a:pt x="0" y="32152"/>
                      </a:moveTo>
                      <a:lnTo>
                        <a:pt x="502" y="34036"/>
                      </a:lnTo>
                      <a:lnTo>
                        <a:pt x="55010" y="2512"/>
                      </a:lnTo>
                      <a:lnTo>
                        <a:pt x="55638"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6" name="Freeform: Shape 4905">
                  <a:extLst>
                    <a:ext uri="{FF2B5EF4-FFF2-40B4-BE49-F238E27FC236}">
                      <a16:creationId xmlns:a16="http://schemas.microsoft.com/office/drawing/2014/main" id="{9D9C315C-42D0-43B6-A935-1AEB154AE887}"/>
                    </a:ext>
                  </a:extLst>
                </p:cNvPr>
                <p:cNvSpPr/>
                <p:nvPr/>
              </p:nvSpPr>
              <p:spPr>
                <a:xfrm>
                  <a:off x="9768265" y="2629805"/>
                  <a:ext cx="53377" cy="32654"/>
                </a:xfrm>
                <a:custGeom>
                  <a:avLst/>
                  <a:gdLst>
                    <a:gd name="connsiteX0" fmla="*/ 0 w 53377"/>
                    <a:gd name="connsiteY0" fmla="*/ 30771 h 32654"/>
                    <a:gd name="connsiteX1" fmla="*/ 502 w 53377"/>
                    <a:gd name="connsiteY1" fmla="*/ 32655 h 32654"/>
                    <a:gd name="connsiteX2" fmla="*/ 52876 w 53377"/>
                    <a:gd name="connsiteY2" fmla="*/ 2386 h 32654"/>
                    <a:gd name="connsiteX3" fmla="*/ 53378 w 53377"/>
                    <a:gd name="connsiteY3" fmla="*/ 0 h 32654"/>
                  </a:gdLst>
                  <a:ahLst/>
                  <a:cxnLst>
                    <a:cxn ang="0">
                      <a:pos x="connsiteX0" y="connsiteY0"/>
                    </a:cxn>
                    <a:cxn ang="0">
                      <a:pos x="connsiteX1" y="connsiteY1"/>
                    </a:cxn>
                    <a:cxn ang="0">
                      <a:pos x="connsiteX2" y="connsiteY2"/>
                    </a:cxn>
                    <a:cxn ang="0">
                      <a:pos x="connsiteX3" y="connsiteY3"/>
                    </a:cxn>
                  </a:cxnLst>
                  <a:rect l="l" t="t" r="r" b="b"/>
                  <a:pathLst>
                    <a:path w="53377" h="32654">
                      <a:moveTo>
                        <a:pt x="0" y="30771"/>
                      </a:moveTo>
                      <a:lnTo>
                        <a:pt x="502" y="32655"/>
                      </a:lnTo>
                      <a:lnTo>
                        <a:pt x="52876" y="2386"/>
                      </a:lnTo>
                      <a:lnTo>
                        <a:pt x="53378"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907" name="Graphic 4">
              <a:extLst>
                <a:ext uri="{FF2B5EF4-FFF2-40B4-BE49-F238E27FC236}">
                  <a16:creationId xmlns:a16="http://schemas.microsoft.com/office/drawing/2014/main" id="{84FB7ED1-A2DF-40A1-A747-5F7CF3F14040}"/>
                </a:ext>
              </a:extLst>
            </p:cNvPr>
            <p:cNvGrpSpPr/>
            <p:nvPr/>
          </p:nvGrpSpPr>
          <p:grpSpPr>
            <a:xfrm>
              <a:off x="9748923" y="2653731"/>
              <a:ext cx="14390" cy="31981"/>
              <a:chOff x="9748923" y="2653731"/>
              <a:chExt cx="14390" cy="31981"/>
            </a:xfrm>
            <a:solidFill>
              <a:schemeClr val="accent1"/>
            </a:solidFill>
          </p:grpSpPr>
          <p:sp>
            <p:nvSpPr>
              <p:cNvPr id="4908" name="Freeform: Shape 4907">
                <a:extLst>
                  <a:ext uri="{FF2B5EF4-FFF2-40B4-BE49-F238E27FC236}">
                    <a16:creationId xmlns:a16="http://schemas.microsoft.com/office/drawing/2014/main" id="{CB89248E-C10D-4DEC-B0F4-61A00BA46CA6}"/>
                  </a:ext>
                </a:extLst>
              </p:cNvPr>
              <p:cNvSpPr/>
              <p:nvPr/>
            </p:nvSpPr>
            <p:spPr>
              <a:xfrm>
                <a:off x="9750179" y="2654170"/>
                <a:ext cx="13135" cy="31241"/>
              </a:xfrm>
              <a:custGeom>
                <a:avLst/>
                <a:gdLst>
                  <a:gd name="connsiteX0" fmla="*/ 4773 w 13135"/>
                  <a:gd name="connsiteY0" fmla="*/ 377 h 31241"/>
                  <a:gd name="connsiteX1" fmla="*/ 1633 w 13135"/>
                  <a:gd name="connsiteY1" fmla="*/ 2135 h 31241"/>
                  <a:gd name="connsiteX2" fmla="*/ 0 w 13135"/>
                  <a:gd name="connsiteY2" fmla="*/ 4898 h 31241"/>
                  <a:gd name="connsiteX3" fmla="*/ 0 w 13135"/>
                  <a:gd name="connsiteY3" fmla="*/ 29138 h 31241"/>
                  <a:gd name="connsiteX4" fmla="*/ 879 w 13135"/>
                  <a:gd name="connsiteY4" fmla="*/ 31022 h 31241"/>
                  <a:gd name="connsiteX5" fmla="*/ 3014 w 13135"/>
                  <a:gd name="connsiteY5" fmla="*/ 30771 h 31241"/>
                  <a:gd name="connsiteX6" fmla="*/ 10801 w 13135"/>
                  <a:gd name="connsiteY6" fmla="*/ 26249 h 31241"/>
                  <a:gd name="connsiteX7" fmla="*/ 13062 w 13135"/>
                  <a:gd name="connsiteY7" fmla="*/ 21477 h 31241"/>
                  <a:gd name="connsiteX8" fmla="*/ 7033 w 13135"/>
                  <a:gd name="connsiteY8" fmla="*/ 879 h 31241"/>
                  <a:gd name="connsiteX9" fmla="*/ 6405 w 13135"/>
                  <a:gd name="connsiteY9" fmla="*/ 0 h 31241"/>
                  <a:gd name="connsiteX10" fmla="*/ 4773 w 13135"/>
                  <a:gd name="connsiteY10" fmla="*/ 377 h 31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135" h="31241">
                    <a:moveTo>
                      <a:pt x="4773" y="377"/>
                    </a:moveTo>
                    <a:lnTo>
                      <a:pt x="1633" y="2135"/>
                    </a:lnTo>
                    <a:cubicBezTo>
                      <a:pt x="754" y="2637"/>
                      <a:pt x="0" y="3894"/>
                      <a:pt x="0" y="4898"/>
                    </a:cubicBezTo>
                    <a:lnTo>
                      <a:pt x="0" y="29138"/>
                    </a:lnTo>
                    <a:cubicBezTo>
                      <a:pt x="0" y="30143"/>
                      <a:pt x="377" y="30771"/>
                      <a:pt x="879" y="31022"/>
                    </a:cubicBezTo>
                    <a:cubicBezTo>
                      <a:pt x="1381" y="31399"/>
                      <a:pt x="2135" y="31273"/>
                      <a:pt x="3014" y="30771"/>
                    </a:cubicBezTo>
                    <a:lnTo>
                      <a:pt x="10801" y="26249"/>
                    </a:lnTo>
                    <a:cubicBezTo>
                      <a:pt x="12308" y="25370"/>
                      <a:pt x="13439" y="22984"/>
                      <a:pt x="13062" y="21477"/>
                    </a:cubicBezTo>
                    <a:lnTo>
                      <a:pt x="7033" y="879"/>
                    </a:lnTo>
                    <a:cubicBezTo>
                      <a:pt x="6908" y="502"/>
                      <a:pt x="6657" y="251"/>
                      <a:pt x="6405" y="0"/>
                    </a:cubicBezTo>
                    <a:cubicBezTo>
                      <a:pt x="6028" y="0"/>
                      <a:pt x="5400" y="0"/>
                      <a:pt x="4773" y="377"/>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9" name="Freeform: Shape 4908">
                <a:extLst>
                  <a:ext uri="{FF2B5EF4-FFF2-40B4-BE49-F238E27FC236}">
                    <a16:creationId xmlns:a16="http://schemas.microsoft.com/office/drawing/2014/main" id="{9F2694B7-FBAB-4762-B8B5-58D72D9BE1A1}"/>
                  </a:ext>
                </a:extLst>
              </p:cNvPr>
              <p:cNvSpPr/>
              <p:nvPr/>
            </p:nvSpPr>
            <p:spPr>
              <a:xfrm>
                <a:off x="9748923" y="2653731"/>
                <a:ext cx="8288" cy="31981"/>
              </a:xfrm>
              <a:custGeom>
                <a:avLst/>
                <a:gdLst>
                  <a:gd name="connsiteX0" fmla="*/ 2135 w 8288"/>
                  <a:gd name="connsiteY0" fmla="*/ 31587 h 31981"/>
                  <a:gd name="connsiteX1" fmla="*/ 1256 w 8288"/>
                  <a:gd name="connsiteY1" fmla="*/ 29703 h 31981"/>
                  <a:gd name="connsiteX2" fmla="*/ 1256 w 8288"/>
                  <a:gd name="connsiteY2" fmla="*/ 5463 h 31981"/>
                  <a:gd name="connsiteX3" fmla="*/ 2888 w 8288"/>
                  <a:gd name="connsiteY3" fmla="*/ 2700 h 31981"/>
                  <a:gd name="connsiteX4" fmla="*/ 6028 w 8288"/>
                  <a:gd name="connsiteY4" fmla="*/ 941 h 31981"/>
                  <a:gd name="connsiteX5" fmla="*/ 7661 w 8288"/>
                  <a:gd name="connsiteY5" fmla="*/ 816 h 31981"/>
                  <a:gd name="connsiteX6" fmla="*/ 8289 w 8288"/>
                  <a:gd name="connsiteY6" fmla="*/ 1695 h 31981"/>
                  <a:gd name="connsiteX7" fmla="*/ 5526 w 8288"/>
                  <a:gd name="connsiteY7" fmla="*/ 62 h 31981"/>
                  <a:gd name="connsiteX8" fmla="*/ 4773 w 8288"/>
                  <a:gd name="connsiteY8" fmla="*/ 313 h 31981"/>
                  <a:gd name="connsiteX9" fmla="*/ 1633 w 8288"/>
                  <a:gd name="connsiteY9" fmla="*/ 2072 h 31981"/>
                  <a:gd name="connsiteX10" fmla="*/ 0 w 8288"/>
                  <a:gd name="connsiteY10" fmla="*/ 4835 h 31981"/>
                  <a:gd name="connsiteX11" fmla="*/ 0 w 8288"/>
                  <a:gd name="connsiteY11" fmla="*/ 29075 h 31981"/>
                  <a:gd name="connsiteX12" fmla="*/ 126 w 8288"/>
                  <a:gd name="connsiteY12" fmla="*/ 29828 h 31981"/>
                  <a:gd name="connsiteX13" fmla="*/ 3014 w 8288"/>
                  <a:gd name="connsiteY13" fmla="*/ 31963 h 31981"/>
                  <a:gd name="connsiteX14" fmla="*/ 3014 w 8288"/>
                  <a:gd name="connsiteY14" fmla="*/ 31963 h 31981"/>
                  <a:gd name="connsiteX15" fmla="*/ 2135 w 8288"/>
                  <a:gd name="connsiteY15" fmla="*/ 31587 h 3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88" h="31981">
                    <a:moveTo>
                      <a:pt x="2135" y="31587"/>
                    </a:moveTo>
                    <a:cubicBezTo>
                      <a:pt x="1633" y="31210"/>
                      <a:pt x="1256" y="30582"/>
                      <a:pt x="1256" y="29703"/>
                    </a:cubicBezTo>
                    <a:lnTo>
                      <a:pt x="1256" y="5463"/>
                    </a:lnTo>
                    <a:cubicBezTo>
                      <a:pt x="1256" y="4458"/>
                      <a:pt x="2009" y="3202"/>
                      <a:pt x="2888" y="2700"/>
                    </a:cubicBezTo>
                    <a:lnTo>
                      <a:pt x="6028" y="941"/>
                    </a:lnTo>
                    <a:cubicBezTo>
                      <a:pt x="6656" y="565"/>
                      <a:pt x="7284" y="565"/>
                      <a:pt x="7661" y="816"/>
                    </a:cubicBezTo>
                    <a:cubicBezTo>
                      <a:pt x="7913" y="941"/>
                      <a:pt x="8163" y="1318"/>
                      <a:pt x="8289" y="1695"/>
                    </a:cubicBezTo>
                    <a:cubicBezTo>
                      <a:pt x="7913" y="313"/>
                      <a:pt x="6530" y="-189"/>
                      <a:pt x="5526" y="62"/>
                    </a:cubicBezTo>
                    <a:cubicBezTo>
                      <a:pt x="5275" y="62"/>
                      <a:pt x="5023" y="188"/>
                      <a:pt x="4773" y="313"/>
                    </a:cubicBezTo>
                    <a:lnTo>
                      <a:pt x="1633" y="2072"/>
                    </a:lnTo>
                    <a:cubicBezTo>
                      <a:pt x="754" y="2574"/>
                      <a:pt x="0" y="3830"/>
                      <a:pt x="0" y="4835"/>
                    </a:cubicBezTo>
                    <a:lnTo>
                      <a:pt x="0" y="29075"/>
                    </a:lnTo>
                    <a:cubicBezTo>
                      <a:pt x="0" y="29326"/>
                      <a:pt x="0" y="29577"/>
                      <a:pt x="126" y="29828"/>
                    </a:cubicBezTo>
                    <a:cubicBezTo>
                      <a:pt x="502" y="31587"/>
                      <a:pt x="2009" y="32089"/>
                      <a:pt x="3014" y="31963"/>
                    </a:cubicBezTo>
                    <a:lnTo>
                      <a:pt x="3014" y="31963"/>
                    </a:lnTo>
                    <a:cubicBezTo>
                      <a:pt x="2637" y="31838"/>
                      <a:pt x="2386" y="31712"/>
                      <a:pt x="2135" y="31587"/>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0" name="Freeform: Shape 4909">
                <a:extLst>
                  <a:ext uri="{FF2B5EF4-FFF2-40B4-BE49-F238E27FC236}">
                    <a16:creationId xmlns:a16="http://schemas.microsoft.com/office/drawing/2014/main" id="{6202D695-2A8B-4D9C-B7ED-D48578F90040}"/>
                  </a:ext>
                </a:extLst>
              </p:cNvPr>
              <p:cNvSpPr/>
              <p:nvPr/>
            </p:nvSpPr>
            <p:spPr>
              <a:xfrm>
                <a:off x="9749451" y="2668875"/>
                <a:ext cx="13399" cy="15422"/>
              </a:xfrm>
              <a:custGeom>
                <a:avLst/>
                <a:gdLst>
                  <a:gd name="connsiteX0" fmla="*/ 10028 w 13399"/>
                  <a:gd name="connsiteY0" fmla="*/ 1947 h 15422"/>
                  <a:gd name="connsiteX1" fmla="*/ 10071 w 13399"/>
                  <a:gd name="connsiteY1" fmla="*/ 9658 h 15422"/>
                  <a:gd name="connsiteX2" fmla="*/ 3371 w 13399"/>
                  <a:gd name="connsiteY2" fmla="*/ 13477 h 15422"/>
                  <a:gd name="connsiteX3" fmla="*/ 3328 w 13399"/>
                  <a:gd name="connsiteY3" fmla="*/ 5765 h 15422"/>
                  <a:gd name="connsiteX4" fmla="*/ 10028 w 13399"/>
                  <a:gd name="connsiteY4" fmla="*/ 1947 h 15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9" h="15422">
                    <a:moveTo>
                      <a:pt x="10028" y="1947"/>
                    </a:moveTo>
                    <a:cubicBezTo>
                      <a:pt x="11890" y="3022"/>
                      <a:pt x="11910" y="6475"/>
                      <a:pt x="10071" y="9658"/>
                    </a:cubicBezTo>
                    <a:cubicBezTo>
                      <a:pt x="8233" y="12842"/>
                      <a:pt x="5233" y="14552"/>
                      <a:pt x="3371" y="13477"/>
                    </a:cubicBezTo>
                    <a:cubicBezTo>
                      <a:pt x="1509" y="12401"/>
                      <a:pt x="1490" y="8949"/>
                      <a:pt x="3328" y="5765"/>
                    </a:cubicBezTo>
                    <a:cubicBezTo>
                      <a:pt x="5166" y="2581"/>
                      <a:pt x="8166" y="872"/>
                      <a:pt x="10028" y="1947"/>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1" name="Freeform: Shape 4910">
                <a:extLst>
                  <a:ext uri="{FF2B5EF4-FFF2-40B4-BE49-F238E27FC236}">
                    <a16:creationId xmlns:a16="http://schemas.microsoft.com/office/drawing/2014/main" id="{7C3063C5-54C1-4C03-A62C-EF165F4AC361}"/>
                  </a:ext>
                </a:extLst>
              </p:cNvPr>
              <p:cNvSpPr/>
              <p:nvPr/>
            </p:nvSpPr>
            <p:spPr>
              <a:xfrm>
                <a:off x="9751310" y="2661388"/>
                <a:ext cx="6279" cy="8045"/>
              </a:xfrm>
              <a:custGeom>
                <a:avLst/>
                <a:gdLst>
                  <a:gd name="connsiteX0" fmla="*/ 6280 w 6279"/>
                  <a:gd name="connsiteY0" fmla="*/ 2201 h 8045"/>
                  <a:gd name="connsiteX1" fmla="*/ 3140 w 6279"/>
                  <a:gd name="connsiteY1" fmla="*/ 7602 h 8045"/>
                  <a:gd name="connsiteX2" fmla="*/ 0 w 6279"/>
                  <a:gd name="connsiteY2" fmla="*/ 5844 h 8045"/>
                  <a:gd name="connsiteX3" fmla="*/ 3140 w 6279"/>
                  <a:gd name="connsiteY3" fmla="*/ 443 h 8045"/>
                  <a:gd name="connsiteX4" fmla="*/ 6280 w 6279"/>
                  <a:gd name="connsiteY4" fmla="*/ 2201 h 8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9" h="8045">
                    <a:moveTo>
                      <a:pt x="6280" y="2201"/>
                    </a:moveTo>
                    <a:cubicBezTo>
                      <a:pt x="6280" y="4211"/>
                      <a:pt x="4898" y="6597"/>
                      <a:pt x="3140" y="7602"/>
                    </a:cubicBezTo>
                    <a:cubicBezTo>
                      <a:pt x="1381" y="8607"/>
                      <a:pt x="0" y="7853"/>
                      <a:pt x="0" y="5844"/>
                    </a:cubicBezTo>
                    <a:cubicBezTo>
                      <a:pt x="0" y="3834"/>
                      <a:pt x="1381" y="1448"/>
                      <a:pt x="3140" y="443"/>
                    </a:cubicBezTo>
                    <a:cubicBezTo>
                      <a:pt x="4898" y="-562"/>
                      <a:pt x="6280" y="192"/>
                      <a:pt x="6280" y="2201"/>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2" name="Freeform: Shape 4911">
                <a:extLst>
                  <a:ext uri="{FF2B5EF4-FFF2-40B4-BE49-F238E27FC236}">
                    <a16:creationId xmlns:a16="http://schemas.microsoft.com/office/drawing/2014/main" id="{17BDABD9-5EBD-4620-A5AE-823EA649A8CE}"/>
                  </a:ext>
                </a:extLst>
              </p:cNvPr>
              <p:cNvSpPr/>
              <p:nvPr/>
            </p:nvSpPr>
            <p:spPr>
              <a:xfrm>
                <a:off x="9751310" y="2655704"/>
                <a:ext cx="4772" cy="5472"/>
              </a:xfrm>
              <a:custGeom>
                <a:avLst/>
                <a:gdLst>
                  <a:gd name="connsiteX0" fmla="*/ 4019 w 4772"/>
                  <a:gd name="connsiteY0" fmla="*/ 3490 h 5472"/>
                  <a:gd name="connsiteX1" fmla="*/ 754 w 4772"/>
                  <a:gd name="connsiteY1" fmla="*/ 5374 h 5472"/>
                  <a:gd name="connsiteX2" fmla="*/ 0 w 4772"/>
                  <a:gd name="connsiteY2" fmla="*/ 4871 h 5472"/>
                  <a:gd name="connsiteX3" fmla="*/ 0 w 4772"/>
                  <a:gd name="connsiteY3" fmla="*/ 3364 h 5472"/>
                  <a:gd name="connsiteX4" fmla="*/ 754 w 4772"/>
                  <a:gd name="connsiteY4" fmla="*/ 1982 h 5472"/>
                  <a:gd name="connsiteX5" fmla="*/ 4019 w 4772"/>
                  <a:gd name="connsiteY5" fmla="*/ 99 h 5472"/>
                  <a:gd name="connsiteX6" fmla="*/ 4773 w 4772"/>
                  <a:gd name="connsiteY6" fmla="*/ 601 h 5472"/>
                  <a:gd name="connsiteX7" fmla="*/ 4773 w 4772"/>
                  <a:gd name="connsiteY7" fmla="*/ 2108 h 5472"/>
                  <a:gd name="connsiteX8" fmla="*/ 4019 w 4772"/>
                  <a:gd name="connsiteY8" fmla="*/ 3490 h 5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2" h="5472">
                    <a:moveTo>
                      <a:pt x="4019" y="3490"/>
                    </a:moveTo>
                    <a:lnTo>
                      <a:pt x="754" y="5374"/>
                    </a:lnTo>
                    <a:cubicBezTo>
                      <a:pt x="376" y="5625"/>
                      <a:pt x="0" y="5374"/>
                      <a:pt x="0" y="4871"/>
                    </a:cubicBezTo>
                    <a:lnTo>
                      <a:pt x="0" y="3364"/>
                    </a:lnTo>
                    <a:cubicBezTo>
                      <a:pt x="0" y="2862"/>
                      <a:pt x="376" y="2234"/>
                      <a:pt x="754" y="1982"/>
                    </a:cubicBezTo>
                    <a:lnTo>
                      <a:pt x="4019" y="99"/>
                    </a:lnTo>
                    <a:cubicBezTo>
                      <a:pt x="4396" y="-153"/>
                      <a:pt x="4773" y="99"/>
                      <a:pt x="4773" y="601"/>
                    </a:cubicBezTo>
                    <a:lnTo>
                      <a:pt x="4773" y="2108"/>
                    </a:lnTo>
                    <a:cubicBezTo>
                      <a:pt x="4773" y="2610"/>
                      <a:pt x="4396" y="3238"/>
                      <a:pt x="4019" y="3490"/>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13" name="Graphic 4">
              <a:extLst>
                <a:ext uri="{FF2B5EF4-FFF2-40B4-BE49-F238E27FC236}">
                  <a16:creationId xmlns:a16="http://schemas.microsoft.com/office/drawing/2014/main" id="{84FB7ED1-A2DF-40A1-A747-5F7CF3F14040}"/>
                </a:ext>
              </a:extLst>
            </p:cNvPr>
            <p:cNvGrpSpPr/>
            <p:nvPr/>
          </p:nvGrpSpPr>
          <p:grpSpPr>
            <a:xfrm>
              <a:off x="9827828" y="2604434"/>
              <a:ext cx="14286" cy="35920"/>
              <a:chOff x="9827828" y="2604434"/>
              <a:chExt cx="14286" cy="35920"/>
            </a:xfrm>
            <a:solidFill>
              <a:schemeClr val="accent1"/>
            </a:solidFill>
          </p:grpSpPr>
          <p:sp>
            <p:nvSpPr>
              <p:cNvPr id="4914" name="Freeform: Shape 4913">
                <a:extLst>
                  <a:ext uri="{FF2B5EF4-FFF2-40B4-BE49-F238E27FC236}">
                    <a16:creationId xmlns:a16="http://schemas.microsoft.com/office/drawing/2014/main" id="{3394CA02-15A4-45B6-AEC8-90C4A0F920AB}"/>
                  </a:ext>
                </a:extLst>
              </p:cNvPr>
              <p:cNvSpPr/>
              <p:nvPr/>
            </p:nvSpPr>
            <p:spPr>
              <a:xfrm>
                <a:off x="9828980" y="2604966"/>
                <a:ext cx="13134" cy="35331"/>
              </a:xfrm>
              <a:custGeom>
                <a:avLst/>
                <a:gdLst>
                  <a:gd name="connsiteX0" fmla="*/ 8362 w 13134"/>
                  <a:gd name="connsiteY0" fmla="*/ 1980 h 35331"/>
                  <a:gd name="connsiteX1" fmla="*/ 11502 w 13134"/>
                  <a:gd name="connsiteY1" fmla="*/ 222 h 35331"/>
                  <a:gd name="connsiteX2" fmla="*/ 13135 w 13134"/>
                  <a:gd name="connsiteY2" fmla="*/ 1101 h 35331"/>
                  <a:gd name="connsiteX3" fmla="*/ 13135 w 13134"/>
                  <a:gd name="connsiteY3" fmla="*/ 25341 h 35331"/>
                  <a:gd name="connsiteX4" fmla="*/ 10121 w 13134"/>
                  <a:gd name="connsiteY4" fmla="*/ 30490 h 35331"/>
                  <a:gd name="connsiteX5" fmla="*/ 2334 w 13134"/>
                  <a:gd name="connsiteY5" fmla="*/ 35011 h 35331"/>
                  <a:gd name="connsiteX6" fmla="*/ 73 w 13134"/>
                  <a:gd name="connsiteY6" fmla="*/ 32876 h 35331"/>
                  <a:gd name="connsiteX7" fmla="*/ 6101 w 13134"/>
                  <a:gd name="connsiteY7" fmla="*/ 5371 h 35331"/>
                  <a:gd name="connsiteX8" fmla="*/ 8362 w 13134"/>
                  <a:gd name="connsiteY8" fmla="*/ 1980 h 3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34" h="35331">
                    <a:moveTo>
                      <a:pt x="8362" y="1980"/>
                    </a:moveTo>
                    <a:lnTo>
                      <a:pt x="11502" y="222"/>
                    </a:lnTo>
                    <a:cubicBezTo>
                      <a:pt x="12381" y="-281"/>
                      <a:pt x="13135" y="96"/>
                      <a:pt x="13135" y="1101"/>
                    </a:cubicBezTo>
                    <a:lnTo>
                      <a:pt x="13135" y="25341"/>
                    </a:lnTo>
                    <a:cubicBezTo>
                      <a:pt x="13135" y="27224"/>
                      <a:pt x="11753" y="29611"/>
                      <a:pt x="10121" y="30490"/>
                    </a:cubicBezTo>
                    <a:lnTo>
                      <a:pt x="2334" y="35011"/>
                    </a:lnTo>
                    <a:cubicBezTo>
                      <a:pt x="827" y="35890"/>
                      <a:pt x="-304" y="34886"/>
                      <a:pt x="73" y="32876"/>
                    </a:cubicBezTo>
                    <a:lnTo>
                      <a:pt x="6101" y="5371"/>
                    </a:lnTo>
                    <a:cubicBezTo>
                      <a:pt x="6353" y="3989"/>
                      <a:pt x="7357" y="2608"/>
                      <a:pt x="8362" y="1980"/>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5" name="Freeform: Shape 4914">
                <a:extLst>
                  <a:ext uri="{FF2B5EF4-FFF2-40B4-BE49-F238E27FC236}">
                    <a16:creationId xmlns:a16="http://schemas.microsoft.com/office/drawing/2014/main" id="{FEAD65F4-B8F8-4B33-900A-474628EE5260}"/>
                  </a:ext>
                </a:extLst>
              </p:cNvPr>
              <p:cNvSpPr/>
              <p:nvPr/>
            </p:nvSpPr>
            <p:spPr>
              <a:xfrm>
                <a:off x="9827828" y="2604434"/>
                <a:ext cx="14160" cy="35920"/>
              </a:xfrm>
              <a:custGeom>
                <a:avLst/>
                <a:gdLst>
                  <a:gd name="connsiteX0" fmla="*/ 1225 w 14160"/>
                  <a:gd name="connsiteY0" fmla="*/ 33408 h 35920"/>
                  <a:gd name="connsiteX1" fmla="*/ 7253 w 14160"/>
                  <a:gd name="connsiteY1" fmla="*/ 5903 h 35920"/>
                  <a:gd name="connsiteX2" fmla="*/ 9514 w 14160"/>
                  <a:gd name="connsiteY2" fmla="*/ 2637 h 35920"/>
                  <a:gd name="connsiteX3" fmla="*/ 12654 w 14160"/>
                  <a:gd name="connsiteY3" fmla="*/ 879 h 35920"/>
                  <a:gd name="connsiteX4" fmla="*/ 14161 w 14160"/>
                  <a:gd name="connsiteY4" fmla="*/ 1130 h 35920"/>
                  <a:gd name="connsiteX5" fmla="*/ 14161 w 14160"/>
                  <a:gd name="connsiteY5" fmla="*/ 1130 h 35920"/>
                  <a:gd name="connsiteX6" fmla="*/ 12402 w 14160"/>
                  <a:gd name="connsiteY6" fmla="*/ 0 h 35920"/>
                  <a:gd name="connsiteX7" fmla="*/ 11524 w 14160"/>
                  <a:gd name="connsiteY7" fmla="*/ 251 h 35920"/>
                  <a:gd name="connsiteX8" fmla="*/ 8384 w 14160"/>
                  <a:gd name="connsiteY8" fmla="*/ 2010 h 35920"/>
                  <a:gd name="connsiteX9" fmla="*/ 6123 w 14160"/>
                  <a:gd name="connsiteY9" fmla="*/ 5275 h 35920"/>
                  <a:gd name="connsiteX10" fmla="*/ 94 w 14160"/>
                  <a:gd name="connsiteY10" fmla="*/ 32780 h 35920"/>
                  <a:gd name="connsiteX11" fmla="*/ 94 w 14160"/>
                  <a:gd name="connsiteY11" fmla="*/ 34162 h 35920"/>
                  <a:gd name="connsiteX12" fmla="*/ 2481 w 14160"/>
                  <a:gd name="connsiteY12" fmla="*/ 35920 h 35920"/>
                  <a:gd name="connsiteX13" fmla="*/ 1225 w 14160"/>
                  <a:gd name="connsiteY13" fmla="*/ 33408 h 3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160" h="35920">
                    <a:moveTo>
                      <a:pt x="1225" y="33408"/>
                    </a:moveTo>
                    <a:lnTo>
                      <a:pt x="7253" y="5903"/>
                    </a:lnTo>
                    <a:cubicBezTo>
                      <a:pt x="7505" y="4521"/>
                      <a:pt x="8509" y="3265"/>
                      <a:pt x="9514" y="2637"/>
                    </a:cubicBezTo>
                    <a:lnTo>
                      <a:pt x="12654" y="879"/>
                    </a:lnTo>
                    <a:cubicBezTo>
                      <a:pt x="13282" y="502"/>
                      <a:pt x="13910" y="628"/>
                      <a:pt x="14161" y="1130"/>
                    </a:cubicBezTo>
                    <a:lnTo>
                      <a:pt x="14161" y="1130"/>
                    </a:lnTo>
                    <a:cubicBezTo>
                      <a:pt x="13910" y="502"/>
                      <a:pt x="13031" y="0"/>
                      <a:pt x="12402" y="0"/>
                    </a:cubicBezTo>
                    <a:cubicBezTo>
                      <a:pt x="11900" y="0"/>
                      <a:pt x="11649" y="126"/>
                      <a:pt x="11524" y="251"/>
                    </a:cubicBezTo>
                    <a:lnTo>
                      <a:pt x="8384" y="2010"/>
                    </a:lnTo>
                    <a:cubicBezTo>
                      <a:pt x="7379" y="2637"/>
                      <a:pt x="6374" y="4019"/>
                      <a:pt x="6123" y="5275"/>
                    </a:cubicBezTo>
                    <a:lnTo>
                      <a:pt x="94" y="32780"/>
                    </a:lnTo>
                    <a:cubicBezTo>
                      <a:pt x="-31" y="33283"/>
                      <a:pt x="-31" y="33785"/>
                      <a:pt x="94" y="34162"/>
                    </a:cubicBezTo>
                    <a:cubicBezTo>
                      <a:pt x="471" y="35543"/>
                      <a:pt x="1601" y="35920"/>
                      <a:pt x="2481" y="35920"/>
                    </a:cubicBezTo>
                    <a:cubicBezTo>
                      <a:pt x="1476" y="35794"/>
                      <a:pt x="974" y="34790"/>
                      <a:pt x="1225" y="33408"/>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6" name="Freeform: Shape 4915">
                <a:extLst>
                  <a:ext uri="{FF2B5EF4-FFF2-40B4-BE49-F238E27FC236}">
                    <a16:creationId xmlns:a16="http://schemas.microsoft.com/office/drawing/2014/main" id="{79F366DD-08C2-421F-B0E2-917E9F73F1BF}"/>
                  </a:ext>
                </a:extLst>
              </p:cNvPr>
              <p:cNvSpPr/>
              <p:nvPr/>
            </p:nvSpPr>
            <p:spPr>
              <a:xfrm>
                <a:off x="9831564" y="2623891"/>
                <a:ext cx="9545" cy="12204"/>
              </a:xfrm>
              <a:custGeom>
                <a:avLst/>
                <a:gdLst>
                  <a:gd name="connsiteX0" fmla="*/ 0 w 9545"/>
                  <a:gd name="connsiteY0" fmla="*/ 8802 h 12204"/>
                  <a:gd name="connsiteX1" fmla="*/ 4773 w 9545"/>
                  <a:gd name="connsiteY1" fmla="*/ 11565 h 12204"/>
                  <a:gd name="connsiteX2" fmla="*/ 9545 w 9545"/>
                  <a:gd name="connsiteY2" fmla="*/ 3402 h 12204"/>
                  <a:gd name="connsiteX3" fmla="*/ 4773 w 9545"/>
                  <a:gd name="connsiteY3" fmla="*/ 639 h 12204"/>
                  <a:gd name="connsiteX4" fmla="*/ 0 w 9545"/>
                  <a:gd name="connsiteY4" fmla="*/ 8802 h 12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45" h="12204">
                    <a:moveTo>
                      <a:pt x="0" y="8802"/>
                    </a:moveTo>
                    <a:cubicBezTo>
                      <a:pt x="0" y="11817"/>
                      <a:pt x="2136" y="13073"/>
                      <a:pt x="4773" y="11565"/>
                    </a:cubicBezTo>
                    <a:cubicBezTo>
                      <a:pt x="7410" y="10058"/>
                      <a:pt x="9545" y="6416"/>
                      <a:pt x="9545" y="3402"/>
                    </a:cubicBezTo>
                    <a:cubicBezTo>
                      <a:pt x="9545" y="387"/>
                      <a:pt x="7410" y="-868"/>
                      <a:pt x="4773" y="639"/>
                    </a:cubicBezTo>
                    <a:cubicBezTo>
                      <a:pt x="2136" y="2146"/>
                      <a:pt x="0" y="5788"/>
                      <a:pt x="0" y="880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7" name="Freeform: Shape 4916">
                <a:extLst>
                  <a:ext uri="{FF2B5EF4-FFF2-40B4-BE49-F238E27FC236}">
                    <a16:creationId xmlns:a16="http://schemas.microsoft.com/office/drawing/2014/main" id="{62E0D21C-6FAC-409B-9DF6-732B65D8F262}"/>
                  </a:ext>
                </a:extLst>
              </p:cNvPr>
              <p:cNvSpPr/>
              <p:nvPr/>
            </p:nvSpPr>
            <p:spPr>
              <a:xfrm>
                <a:off x="9834704" y="2613285"/>
                <a:ext cx="6279" cy="8045"/>
              </a:xfrm>
              <a:custGeom>
                <a:avLst/>
                <a:gdLst>
                  <a:gd name="connsiteX0" fmla="*/ 0 w 6279"/>
                  <a:gd name="connsiteY0" fmla="*/ 5844 h 8045"/>
                  <a:gd name="connsiteX1" fmla="*/ 3140 w 6279"/>
                  <a:gd name="connsiteY1" fmla="*/ 7602 h 8045"/>
                  <a:gd name="connsiteX2" fmla="*/ 6280 w 6279"/>
                  <a:gd name="connsiteY2" fmla="*/ 2201 h 8045"/>
                  <a:gd name="connsiteX3" fmla="*/ 3140 w 6279"/>
                  <a:gd name="connsiteY3" fmla="*/ 443 h 8045"/>
                  <a:gd name="connsiteX4" fmla="*/ 0 w 6279"/>
                  <a:gd name="connsiteY4" fmla="*/ 5844 h 8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9" h="8045">
                    <a:moveTo>
                      <a:pt x="0" y="5844"/>
                    </a:moveTo>
                    <a:cubicBezTo>
                      <a:pt x="0" y="7853"/>
                      <a:pt x="1382" y="8607"/>
                      <a:pt x="3140" y="7602"/>
                    </a:cubicBezTo>
                    <a:cubicBezTo>
                      <a:pt x="4898" y="6597"/>
                      <a:pt x="6280" y="4211"/>
                      <a:pt x="6280" y="2201"/>
                    </a:cubicBezTo>
                    <a:cubicBezTo>
                      <a:pt x="6280" y="192"/>
                      <a:pt x="4898" y="-562"/>
                      <a:pt x="3140" y="443"/>
                    </a:cubicBezTo>
                    <a:cubicBezTo>
                      <a:pt x="1382" y="1322"/>
                      <a:pt x="0" y="3834"/>
                      <a:pt x="0" y="5844"/>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8" name="Freeform: Shape 4917">
                <a:extLst>
                  <a:ext uri="{FF2B5EF4-FFF2-40B4-BE49-F238E27FC236}">
                    <a16:creationId xmlns:a16="http://schemas.microsoft.com/office/drawing/2014/main" id="{3A8DBEFE-6854-4376-AC59-4018EC783280}"/>
                  </a:ext>
                </a:extLst>
              </p:cNvPr>
              <p:cNvSpPr/>
              <p:nvPr/>
            </p:nvSpPr>
            <p:spPr>
              <a:xfrm>
                <a:off x="9836212" y="2606597"/>
                <a:ext cx="4771" cy="5472"/>
              </a:xfrm>
              <a:custGeom>
                <a:avLst/>
                <a:gdLst>
                  <a:gd name="connsiteX0" fmla="*/ 754 w 4771"/>
                  <a:gd name="connsiteY0" fmla="*/ 5373 h 5472"/>
                  <a:gd name="connsiteX1" fmla="*/ 4018 w 4771"/>
                  <a:gd name="connsiteY1" fmla="*/ 3490 h 5472"/>
                  <a:gd name="connsiteX2" fmla="*/ 4772 w 4771"/>
                  <a:gd name="connsiteY2" fmla="*/ 2108 h 5472"/>
                  <a:gd name="connsiteX3" fmla="*/ 4772 w 4771"/>
                  <a:gd name="connsiteY3" fmla="*/ 601 h 5472"/>
                  <a:gd name="connsiteX4" fmla="*/ 4018 w 4771"/>
                  <a:gd name="connsiteY4" fmla="*/ 99 h 5472"/>
                  <a:gd name="connsiteX5" fmla="*/ 754 w 4771"/>
                  <a:gd name="connsiteY5" fmla="*/ 1982 h 5472"/>
                  <a:gd name="connsiteX6" fmla="*/ 0 w 4771"/>
                  <a:gd name="connsiteY6" fmla="*/ 3364 h 5472"/>
                  <a:gd name="connsiteX7" fmla="*/ 0 w 4771"/>
                  <a:gd name="connsiteY7" fmla="*/ 4871 h 5472"/>
                  <a:gd name="connsiteX8" fmla="*/ 754 w 4771"/>
                  <a:gd name="connsiteY8" fmla="*/ 5373 h 5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1" h="5472">
                    <a:moveTo>
                      <a:pt x="754" y="5373"/>
                    </a:moveTo>
                    <a:lnTo>
                      <a:pt x="4018" y="3490"/>
                    </a:lnTo>
                    <a:cubicBezTo>
                      <a:pt x="4396" y="3238"/>
                      <a:pt x="4772" y="2610"/>
                      <a:pt x="4772" y="2108"/>
                    </a:cubicBezTo>
                    <a:lnTo>
                      <a:pt x="4772" y="601"/>
                    </a:lnTo>
                    <a:cubicBezTo>
                      <a:pt x="4772" y="99"/>
                      <a:pt x="4396" y="-153"/>
                      <a:pt x="4018" y="99"/>
                    </a:cubicBezTo>
                    <a:lnTo>
                      <a:pt x="754" y="1982"/>
                    </a:lnTo>
                    <a:cubicBezTo>
                      <a:pt x="376" y="2234"/>
                      <a:pt x="0" y="2862"/>
                      <a:pt x="0" y="3364"/>
                    </a:cubicBezTo>
                    <a:lnTo>
                      <a:pt x="0" y="4871"/>
                    </a:lnTo>
                    <a:cubicBezTo>
                      <a:pt x="0" y="5373"/>
                      <a:pt x="376" y="5625"/>
                      <a:pt x="754" y="5373"/>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19" name="Graphic 4">
              <a:extLst>
                <a:ext uri="{FF2B5EF4-FFF2-40B4-BE49-F238E27FC236}">
                  <a16:creationId xmlns:a16="http://schemas.microsoft.com/office/drawing/2014/main" id="{84FB7ED1-A2DF-40A1-A747-5F7CF3F14040}"/>
                </a:ext>
              </a:extLst>
            </p:cNvPr>
            <p:cNvGrpSpPr/>
            <p:nvPr/>
          </p:nvGrpSpPr>
          <p:grpSpPr>
            <a:xfrm>
              <a:off x="9747165" y="2641485"/>
              <a:ext cx="96833" cy="73096"/>
              <a:chOff x="9747165" y="2641485"/>
              <a:chExt cx="96833" cy="73096"/>
            </a:xfrm>
            <a:solidFill>
              <a:schemeClr val="accent1"/>
            </a:solidFill>
          </p:grpSpPr>
          <p:sp>
            <p:nvSpPr>
              <p:cNvPr id="4920" name="Freeform: Shape 4919">
                <a:extLst>
                  <a:ext uri="{FF2B5EF4-FFF2-40B4-BE49-F238E27FC236}">
                    <a16:creationId xmlns:a16="http://schemas.microsoft.com/office/drawing/2014/main" id="{98633FAF-B3A4-439E-A9CF-A83E48B06CCC}"/>
                  </a:ext>
                </a:extLst>
              </p:cNvPr>
              <p:cNvSpPr/>
              <p:nvPr/>
            </p:nvSpPr>
            <p:spPr>
              <a:xfrm>
                <a:off x="9747165" y="2696621"/>
                <a:ext cx="1255" cy="17960"/>
              </a:xfrm>
              <a:custGeom>
                <a:avLst/>
                <a:gdLst>
                  <a:gd name="connsiteX0" fmla="*/ 0 w 1255"/>
                  <a:gd name="connsiteY0" fmla="*/ 0 h 17960"/>
                  <a:gd name="connsiteX1" fmla="*/ 0 w 1255"/>
                  <a:gd name="connsiteY1" fmla="*/ 17332 h 17960"/>
                  <a:gd name="connsiteX2" fmla="*/ 1256 w 1255"/>
                  <a:gd name="connsiteY2" fmla="*/ 17960 h 17960"/>
                  <a:gd name="connsiteX3" fmla="*/ 1256 w 1255"/>
                  <a:gd name="connsiteY3" fmla="*/ 4396 h 17960"/>
                </a:gdLst>
                <a:ahLst/>
                <a:cxnLst>
                  <a:cxn ang="0">
                    <a:pos x="connsiteX0" y="connsiteY0"/>
                  </a:cxn>
                  <a:cxn ang="0">
                    <a:pos x="connsiteX1" y="connsiteY1"/>
                  </a:cxn>
                  <a:cxn ang="0">
                    <a:pos x="connsiteX2" y="connsiteY2"/>
                  </a:cxn>
                  <a:cxn ang="0">
                    <a:pos x="connsiteX3" y="connsiteY3"/>
                  </a:cxn>
                </a:cxnLst>
                <a:rect l="l" t="t" r="r" b="b"/>
                <a:pathLst>
                  <a:path w="1255" h="17960">
                    <a:moveTo>
                      <a:pt x="0" y="0"/>
                    </a:moveTo>
                    <a:lnTo>
                      <a:pt x="0" y="17332"/>
                    </a:lnTo>
                    <a:lnTo>
                      <a:pt x="1256" y="17960"/>
                    </a:lnTo>
                    <a:lnTo>
                      <a:pt x="1256" y="4396"/>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21" name="Freeform: Shape 4920">
                <a:extLst>
                  <a:ext uri="{FF2B5EF4-FFF2-40B4-BE49-F238E27FC236}">
                    <a16:creationId xmlns:a16="http://schemas.microsoft.com/office/drawing/2014/main" id="{8068A1E3-AE4F-467E-8C66-8B7901A08383}"/>
                  </a:ext>
                </a:extLst>
              </p:cNvPr>
              <p:cNvSpPr/>
              <p:nvPr/>
            </p:nvSpPr>
            <p:spPr>
              <a:xfrm>
                <a:off x="9748420" y="2645881"/>
                <a:ext cx="95578" cy="68700"/>
              </a:xfrm>
              <a:custGeom>
                <a:avLst/>
                <a:gdLst>
                  <a:gd name="connsiteX0" fmla="*/ 95578 w 95578"/>
                  <a:gd name="connsiteY0" fmla="*/ 13564 h 68700"/>
                  <a:gd name="connsiteX1" fmla="*/ 0 w 95578"/>
                  <a:gd name="connsiteY1" fmla="*/ 68700 h 68700"/>
                  <a:gd name="connsiteX2" fmla="*/ 0 w 95578"/>
                  <a:gd name="connsiteY2" fmla="*/ 55136 h 68700"/>
                  <a:gd name="connsiteX3" fmla="*/ 95578 w 95578"/>
                  <a:gd name="connsiteY3" fmla="*/ 0 h 68700"/>
                </a:gdLst>
                <a:ahLst/>
                <a:cxnLst>
                  <a:cxn ang="0">
                    <a:pos x="connsiteX0" y="connsiteY0"/>
                  </a:cxn>
                  <a:cxn ang="0">
                    <a:pos x="connsiteX1" y="connsiteY1"/>
                  </a:cxn>
                  <a:cxn ang="0">
                    <a:pos x="connsiteX2" y="connsiteY2"/>
                  </a:cxn>
                  <a:cxn ang="0">
                    <a:pos x="connsiteX3" y="connsiteY3"/>
                  </a:cxn>
                </a:cxnLst>
                <a:rect l="l" t="t" r="r" b="b"/>
                <a:pathLst>
                  <a:path w="95578" h="68700">
                    <a:moveTo>
                      <a:pt x="95578" y="13564"/>
                    </a:moveTo>
                    <a:lnTo>
                      <a:pt x="0" y="68700"/>
                    </a:lnTo>
                    <a:lnTo>
                      <a:pt x="0" y="55136"/>
                    </a:lnTo>
                    <a:lnTo>
                      <a:pt x="95578"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22" name="Freeform: Shape 4921">
                <a:extLst>
                  <a:ext uri="{FF2B5EF4-FFF2-40B4-BE49-F238E27FC236}">
                    <a16:creationId xmlns:a16="http://schemas.microsoft.com/office/drawing/2014/main" id="{EA62F976-3092-41CE-B444-A3FAC38BEE6B}"/>
                  </a:ext>
                </a:extLst>
              </p:cNvPr>
              <p:cNvSpPr/>
              <p:nvPr/>
            </p:nvSpPr>
            <p:spPr>
              <a:xfrm>
                <a:off x="9747165" y="2641485"/>
                <a:ext cx="96833" cy="59531"/>
              </a:xfrm>
              <a:custGeom>
                <a:avLst/>
                <a:gdLst>
                  <a:gd name="connsiteX0" fmla="*/ 96834 w 96833"/>
                  <a:gd name="connsiteY0" fmla="*/ 4396 h 59531"/>
                  <a:gd name="connsiteX1" fmla="*/ 1256 w 96833"/>
                  <a:gd name="connsiteY1" fmla="*/ 59532 h 59531"/>
                  <a:gd name="connsiteX2" fmla="*/ 0 w 96833"/>
                  <a:gd name="connsiteY2" fmla="*/ 55136 h 59531"/>
                  <a:gd name="connsiteX3" fmla="*/ 95577 w 96833"/>
                  <a:gd name="connsiteY3" fmla="*/ 0 h 59531"/>
                </a:gdLst>
                <a:ahLst/>
                <a:cxnLst>
                  <a:cxn ang="0">
                    <a:pos x="connsiteX0" y="connsiteY0"/>
                  </a:cxn>
                  <a:cxn ang="0">
                    <a:pos x="connsiteX1" y="connsiteY1"/>
                  </a:cxn>
                  <a:cxn ang="0">
                    <a:pos x="connsiteX2" y="connsiteY2"/>
                  </a:cxn>
                  <a:cxn ang="0">
                    <a:pos x="connsiteX3" y="connsiteY3"/>
                  </a:cxn>
                </a:cxnLst>
                <a:rect l="l" t="t" r="r" b="b"/>
                <a:pathLst>
                  <a:path w="96833" h="59531">
                    <a:moveTo>
                      <a:pt x="96834" y="4396"/>
                    </a:moveTo>
                    <a:lnTo>
                      <a:pt x="1256" y="59532"/>
                    </a:lnTo>
                    <a:lnTo>
                      <a:pt x="0" y="55136"/>
                    </a:lnTo>
                    <a:lnTo>
                      <a:pt x="95577" y="0"/>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23" name="Freeform: Shape 4922">
              <a:extLst>
                <a:ext uri="{FF2B5EF4-FFF2-40B4-BE49-F238E27FC236}">
                  <a16:creationId xmlns:a16="http://schemas.microsoft.com/office/drawing/2014/main" id="{75617621-BFA7-43CD-9022-4000C75A99A4}"/>
                </a:ext>
              </a:extLst>
            </p:cNvPr>
            <p:cNvSpPr/>
            <p:nvPr/>
          </p:nvSpPr>
          <p:spPr>
            <a:xfrm>
              <a:off x="9771279" y="2663801"/>
              <a:ext cx="49861" cy="32859"/>
            </a:xfrm>
            <a:custGeom>
              <a:avLst/>
              <a:gdLst>
                <a:gd name="connsiteX0" fmla="*/ 47601 w 49861"/>
                <a:gd name="connsiteY0" fmla="*/ 6445 h 32859"/>
                <a:gd name="connsiteX1" fmla="*/ 2261 w 49861"/>
                <a:gd name="connsiteY1" fmla="*/ 32569 h 32859"/>
                <a:gd name="connsiteX2" fmla="*/ 0 w 49861"/>
                <a:gd name="connsiteY2" fmla="*/ 30810 h 32859"/>
                <a:gd name="connsiteX3" fmla="*/ 0 w 49861"/>
                <a:gd name="connsiteY3" fmla="*/ 30810 h 32859"/>
                <a:gd name="connsiteX4" fmla="*/ 2261 w 49861"/>
                <a:gd name="connsiteY4" fmla="*/ 26415 h 32859"/>
                <a:gd name="connsiteX5" fmla="*/ 47601 w 49861"/>
                <a:gd name="connsiteY5" fmla="*/ 291 h 32859"/>
                <a:gd name="connsiteX6" fmla="*/ 49862 w 49861"/>
                <a:gd name="connsiteY6" fmla="*/ 2049 h 32859"/>
                <a:gd name="connsiteX7" fmla="*/ 49862 w 49861"/>
                <a:gd name="connsiteY7" fmla="*/ 2049 h 32859"/>
                <a:gd name="connsiteX8" fmla="*/ 47601 w 49861"/>
                <a:gd name="connsiteY8" fmla="*/ 6445 h 3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61" h="32859">
                  <a:moveTo>
                    <a:pt x="47601" y="6445"/>
                  </a:moveTo>
                  <a:lnTo>
                    <a:pt x="2261" y="32569"/>
                  </a:lnTo>
                  <a:cubicBezTo>
                    <a:pt x="1005" y="33322"/>
                    <a:pt x="0" y="32569"/>
                    <a:pt x="0" y="30810"/>
                  </a:cubicBezTo>
                  <a:lnTo>
                    <a:pt x="0" y="30810"/>
                  </a:lnTo>
                  <a:cubicBezTo>
                    <a:pt x="0" y="29052"/>
                    <a:pt x="1005" y="27168"/>
                    <a:pt x="2261" y="26415"/>
                  </a:cubicBezTo>
                  <a:lnTo>
                    <a:pt x="47601" y="291"/>
                  </a:lnTo>
                  <a:cubicBezTo>
                    <a:pt x="48857" y="-463"/>
                    <a:pt x="49862" y="291"/>
                    <a:pt x="49862" y="2049"/>
                  </a:cubicBezTo>
                  <a:lnTo>
                    <a:pt x="49862" y="2049"/>
                  </a:lnTo>
                  <a:cubicBezTo>
                    <a:pt x="49862" y="3682"/>
                    <a:pt x="48857" y="5692"/>
                    <a:pt x="47601" y="6445"/>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24" name="Graphic 4">
              <a:extLst>
                <a:ext uri="{FF2B5EF4-FFF2-40B4-BE49-F238E27FC236}">
                  <a16:creationId xmlns:a16="http://schemas.microsoft.com/office/drawing/2014/main" id="{84FB7ED1-A2DF-40A1-A747-5F7CF3F14040}"/>
                </a:ext>
              </a:extLst>
            </p:cNvPr>
            <p:cNvGrpSpPr/>
            <p:nvPr/>
          </p:nvGrpSpPr>
          <p:grpSpPr>
            <a:xfrm>
              <a:off x="9751937" y="2698038"/>
              <a:ext cx="8288" cy="10730"/>
              <a:chOff x="9751937" y="2698038"/>
              <a:chExt cx="8288" cy="10730"/>
            </a:xfrm>
            <a:solidFill>
              <a:schemeClr val="accent1"/>
            </a:solidFill>
          </p:grpSpPr>
          <p:sp>
            <p:nvSpPr>
              <p:cNvPr id="4925" name="Freeform: Shape 4924">
                <a:extLst>
                  <a:ext uri="{FF2B5EF4-FFF2-40B4-BE49-F238E27FC236}">
                    <a16:creationId xmlns:a16="http://schemas.microsoft.com/office/drawing/2014/main" id="{45F1798A-8FBB-4469-9438-1887A0DB679C}"/>
                  </a:ext>
                </a:extLst>
              </p:cNvPr>
              <p:cNvSpPr/>
              <p:nvPr/>
            </p:nvSpPr>
            <p:spPr>
              <a:xfrm>
                <a:off x="9751937" y="2698038"/>
                <a:ext cx="8288" cy="10730"/>
              </a:xfrm>
              <a:custGeom>
                <a:avLst/>
                <a:gdLst>
                  <a:gd name="connsiteX0" fmla="*/ 8289 w 8288"/>
                  <a:gd name="connsiteY0" fmla="*/ 2979 h 10730"/>
                  <a:gd name="connsiteX1" fmla="*/ 4145 w 8288"/>
                  <a:gd name="connsiteY1" fmla="*/ 10138 h 10730"/>
                  <a:gd name="connsiteX2" fmla="*/ 0 w 8288"/>
                  <a:gd name="connsiteY2" fmla="*/ 7752 h 10730"/>
                  <a:gd name="connsiteX3" fmla="*/ 4145 w 8288"/>
                  <a:gd name="connsiteY3" fmla="*/ 593 h 10730"/>
                  <a:gd name="connsiteX4" fmla="*/ 8289 w 8288"/>
                  <a:gd name="connsiteY4" fmla="*/ 2979 h 10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8" h="10730">
                    <a:moveTo>
                      <a:pt x="8289" y="2979"/>
                    </a:moveTo>
                    <a:cubicBezTo>
                      <a:pt x="8289" y="5617"/>
                      <a:pt x="6405" y="8882"/>
                      <a:pt x="4145" y="10138"/>
                    </a:cubicBezTo>
                    <a:cubicBezTo>
                      <a:pt x="1884" y="11520"/>
                      <a:pt x="0" y="10389"/>
                      <a:pt x="0" y="7752"/>
                    </a:cubicBezTo>
                    <a:cubicBezTo>
                      <a:pt x="0" y="5114"/>
                      <a:pt x="1884" y="1849"/>
                      <a:pt x="4145" y="593"/>
                    </a:cubicBezTo>
                    <a:cubicBezTo>
                      <a:pt x="6405" y="-789"/>
                      <a:pt x="8289" y="342"/>
                      <a:pt x="8289" y="2979"/>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26" name="Freeform: Shape 4925">
                <a:extLst>
                  <a:ext uri="{FF2B5EF4-FFF2-40B4-BE49-F238E27FC236}">
                    <a16:creationId xmlns:a16="http://schemas.microsoft.com/office/drawing/2014/main" id="{6E849944-B8CF-418D-819D-8C8C8C7FCD1C}"/>
                  </a:ext>
                </a:extLst>
              </p:cNvPr>
              <p:cNvSpPr/>
              <p:nvPr/>
            </p:nvSpPr>
            <p:spPr>
              <a:xfrm>
                <a:off x="9752817" y="2699140"/>
                <a:ext cx="6530" cy="8470"/>
              </a:xfrm>
              <a:custGeom>
                <a:avLst/>
                <a:gdLst>
                  <a:gd name="connsiteX0" fmla="*/ 6530 w 6530"/>
                  <a:gd name="connsiteY0" fmla="*/ 2379 h 8470"/>
                  <a:gd name="connsiteX1" fmla="*/ 3266 w 6530"/>
                  <a:gd name="connsiteY1" fmla="*/ 8031 h 8470"/>
                  <a:gd name="connsiteX2" fmla="*/ 0 w 6530"/>
                  <a:gd name="connsiteY2" fmla="*/ 6147 h 8470"/>
                  <a:gd name="connsiteX3" fmla="*/ 3266 w 6530"/>
                  <a:gd name="connsiteY3" fmla="*/ 495 h 8470"/>
                  <a:gd name="connsiteX4" fmla="*/ 6530 w 6530"/>
                  <a:gd name="connsiteY4" fmla="*/ 2379 h 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0" h="8470">
                    <a:moveTo>
                      <a:pt x="6530" y="2379"/>
                    </a:moveTo>
                    <a:cubicBezTo>
                      <a:pt x="6530" y="4514"/>
                      <a:pt x="5023" y="7026"/>
                      <a:pt x="3266" y="8031"/>
                    </a:cubicBezTo>
                    <a:cubicBezTo>
                      <a:pt x="1507" y="9036"/>
                      <a:pt x="0" y="8282"/>
                      <a:pt x="0" y="6147"/>
                    </a:cubicBezTo>
                    <a:cubicBezTo>
                      <a:pt x="0" y="4012"/>
                      <a:pt x="1507" y="1500"/>
                      <a:pt x="3266" y="495"/>
                    </a:cubicBezTo>
                    <a:cubicBezTo>
                      <a:pt x="5023" y="-635"/>
                      <a:pt x="6530" y="244"/>
                      <a:pt x="6530" y="2379"/>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27" name="Graphic 4">
              <a:extLst>
                <a:ext uri="{FF2B5EF4-FFF2-40B4-BE49-F238E27FC236}">
                  <a16:creationId xmlns:a16="http://schemas.microsoft.com/office/drawing/2014/main" id="{84FB7ED1-A2DF-40A1-A747-5F7CF3F14040}"/>
                </a:ext>
              </a:extLst>
            </p:cNvPr>
            <p:cNvGrpSpPr/>
            <p:nvPr/>
          </p:nvGrpSpPr>
          <p:grpSpPr>
            <a:xfrm>
              <a:off x="9832067" y="2651693"/>
              <a:ext cx="8288" cy="10730"/>
              <a:chOff x="9832067" y="2651693"/>
              <a:chExt cx="8288" cy="10730"/>
            </a:xfrm>
            <a:solidFill>
              <a:schemeClr val="accent1"/>
            </a:solidFill>
          </p:grpSpPr>
          <p:sp>
            <p:nvSpPr>
              <p:cNvPr id="4928" name="Freeform: Shape 4927">
                <a:extLst>
                  <a:ext uri="{FF2B5EF4-FFF2-40B4-BE49-F238E27FC236}">
                    <a16:creationId xmlns:a16="http://schemas.microsoft.com/office/drawing/2014/main" id="{F3D6F7ED-2CB7-4F81-A2E8-DCCD0DEA04D2}"/>
                  </a:ext>
                </a:extLst>
              </p:cNvPr>
              <p:cNvSpPr/>
              <p:nvPr/>
            </p:nvSpPr>
            <p:spPr>
              <a:xfrm>
                <a:off x="9832067" y="2651693"/>
                <a:ext cx="8288" cy="10730"/>
              </a:xfrm>
              <a:custGeom>
                <a:avLst/>
                <a:gdLst>
                  <a:gd name="connsiteX0" fmla="*/ 0 w 8288"/>
                  <a:gd name="connsiteY0" fmla="*/ 7752 h 10730"/>
                  <a:gd name="connsiteX1" fmla="*/ 4145 w 8288"/>
                  <a:gd name="connsiteY1" fmla="*/ 10138 h 10730"/>
                  <a:gd name="connsiteX2" fmla="*/ 8289 w 8288"/>
                  <a:gd name="connsiteY2" fmla="*/ 2979 h 10730"/>
                  <a:gd name="connsiteX3" fmla="*/ 4145 w 8288"/>
                  <a:gd name="connsiteY3" fmla="*/ 593 h 10730"/>
                  <a:gd name="connsiteX4" fmla="*/ 0 w 8288"/>
                  <a:gd name="connsiteY4" fmla="*/ 7752 h 10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8" h="10730">
                    <a:moveTo>
                      <a:pt x="0" y="7752"/>
                    </a:moveTo>
                    <a:cubicBezTo>
                      <a:pt x="0" y="10389"/>
                      <a:pt x="1883" y="11519"/>
                      <a:pt x="4145" y="10138"/>
                    </a:cubicBezTo>
                    <a:cubicBezTo>
                      <a:pt x="6405" y="8756"/>
                      <a:pt x="8289" y="5616"/>
                      <a:pt x="8289" y="2979"/>
                    </a:cubicBezTo>
                    <a:cubicBezTo>
                      <a:pt x="8289" y="341"/>
                      <a:pt x="6405" y="-789"/>
                      <a:pt x="4145" y="593"/>
                    </a:cubicBezTo>
                    <a:cubicBezTo>
                      <a:pt x="1883" y="1974"/>
                      <a:pt x="0" y="5114"/>
                      <a:pt x="0" y="7752"/>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29" name="Freeform: Shape 4928">
                <a:extLst>
                  <a:ext uri="{FF2B5EF4-FFF2-40B4-BE49-F238E27FC236}">
                    <a16:creationId xmlns:a16="http://schemas.microsoft.com/office/drawing/2014/main" id="{2BBB3133-FA7D-403E-BCBF-05FDE30D753A}"/>
                  </a:ext>
                </a:extLst>
              </p:cNvPr>
              <p:cNvSpPr/>
              <p:nvPr/>
            </p:nvSpPr>
            <p:spPr>
              <a:xfrm>
                <a:off x="9832946" y="2652851"/>
                <a:ext cx="6530" cy="8415"/>
              </a:xfrm>
              <a:custGeom>
                <a:avLst/>
                <a:gdLst>
                  <a:gd name="connsiteX0" fmla="*/ 0 w 6530"/>
                  <a:gd name="connsiteY0" fmla="*/ 6092 h 8415"/>
                  <a:gd name="connsiteX1" fmla="*/ 3266 w 6530"/>
                  <a:gd name="connsiteY1" fmla="*/ 7975 h 8415"/>
                  <a:gd name="connsiteX2" fmla="*/ 6530 w 6530"/>
                  <a:gd name="connsiteY2" fmla="*/ 2324 h 8415"/>
                  <a:gd name="connsiteX3" fmla="*/ 3266 w 6530"/>
                  <a:gd name="connsiteY3" fmla="*/ 440 h 8415"/>
                  <a:gd name="connsiteX4" fmla="*/ 0 w 6530"/>
                  <a:gd name="connsiteY4" fmla="*/ 6092 h 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0" h="8415">
                    <a:moveTo>
                      <a:pt x="0" y="6092"/>
                    </a:moveTo>
                    <a:cubicBezTo>
                      <a:pt x="0" y="8227"/>
                      <a:pt x="1507" y="8980"/>
                      <a:pt x="3266" y="7975"/>
                    </a:cubicBezTo>
                    <a:cubicBezTo>
                      <a:pt x="5023" y="6971"/>
                      <a:pt x="6530" y="4333"/>
                      <a:pt x="6530" y="2324"/>
                    </a:cubicBezTo>
                    <a:cubicBezTo>
                      <a:pt x="6530" y="189"/>
                      <a:pt x="5023" y="-565"/>
                      <a:pt x="3266" y="440"/>
                    </a:cubicBezTo>
                    <a:cubicBezTo>
                      <a:pt x="1507" y="1445"/>
                      <a:pt x="0" y="3956"/>
                      <a:pt x="0" y="609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30" name="Freeform: Shape 4929">
              <a:extLst>
                <a:ext uri="{FF2B5EF4-FFF2-40B4-BE49-F238E27FC236}">
                  <a16:creationId xmlns:a16="http://schemas.microsoft.com/office/drawing/2014/main" id="{57C7AA0B-49B4-436B-B8EA-50B75BB05678}"/>
                </a:ext>
              </a:extLst>
            </p:cNvPr>
            <p:cNvSpPr/>
            <p:nvPr/>
          </p:nvSpPr>
          <p:spPr>
            <a:xfrm>
              <a:off x="9611899" y="2520788"/>
              <a:ext cx="236369" cy="136238"/>
            </a:xfrm>
            <a:custGeom>
              <a:avLst/>
              <a:gdLst>
                <a:gd name="connsiteX0" fmla="*/ 232853 w 236369"/>
                <a:gd name="connsiteY0" fmla="*/ 68826 h 136238"/>
                <a:gd name="connsiteX1" fmla="*/ 113664 w 236369"/>
                <a:gd name="connsiteY1" fmla="*/ 0 h 136238"/>
                <a:gd name="connsiteX2" fmla="*/ 0 w 236369"/>
                <a:gd name="connsiteY2" fmla="*/ 65560 h 136238"/>
                <a:gd name="connsiteX3" fmla="*/ 20096 w 236369"/>
                <a:gd name="connsiteY3" fmla="*/ 77115 h 136238"/>
                <a:gd name="connsiteX4" fmla="*/ 26375 w 236369"/>
                <a:gd name="connsiteY4" fmla="*/ 73473 h 136238"/>
                <a:gd name="connsiteX5" fmla="*/ 57774 w 236369"/>
                <a:gd name="connsiteY5" fmla="*/ 91559 h 136238"/>
                <a:gd name="connsiteX6" fmla="*/ 51620 w 236369"/>
                <a:gd name="connsiteY6" fmla="*/ 95201 h 136238"/>
                <a:gd name="connsiteX7" fmla="*/ 119315 w 236369"/>
                <a:gd name="connsiteY7" fmla="*/ 134261 h 136238"/>
                <a:gd name="connsiteX8" fmla="*/ 135643 w 236369"/>
                <a:gd name="connsiteY8" fmla="*/ 134261 h 136238"/>
                <a:gd name="connsiteX9" fmla="*/ 135768 w 236369"/>
                <a:gd name="connsiteY9" fmla="*/ 134135 h 136238"/>
                <a:gd name="connsiteX10" fmla="*/ 134512 w 236369"/>
                <a:gd name="connsiteY10" fmla="*/ 133382 h 136238"/>
                <a:gd name="connsiteX11" fmla="*/ 135266 w 236369"/>
                <a:gd name="connsiteY11" fmla="*/ 133005 h 136238"/>
                <a:gd name="connsiteX12" fmla="*/ 231597 w 236369"/>
                <a:gd name="connsiteY12" fmla="*/ 77366 h 136238"/>
                <a:gd name="connsiteX13" fmla="*/ 232853 w 236369"/>
                <a:gd name="connsiteY13" fmla="*/ 78120 h 136238"/>
                <a:gd name="connsiteX14" fmla="*/ 232979 w 236369"/>
                <a:gd name="connsiteY14" fmla="*/ 77994 h 136238"/>
                <a:gd name="connsiteX15" fmla="*/ 236370 w 236369"/>
                <a:gd name="connsiteY15" fmla="*/ 73222 h 136238"/>
                <a:gd name="connsiteX16" fmla="*/ 232853 w 236369"/>
                <a:gd name="connsiteY16" fmla="*/ 68826 h 136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369" h="136238">
                  <a:moveTo>
                    <a:pt x="232853" y="68826"/>
                  </a:moveTo>
                  <a:lnTo>
                    <a:pt x="113664" y="0"/>
                  </a:lnTo>
                  <a:lnTo>
                    <a:pt x="0" y="65560"/>
                  </a:lnTo>
                  <a:lnTo>
                    <a:pt x="20096" y="77115"/>
                  </a:lnTo>
                  <a:lnTo>
                    <a:pt x="26375" y="73473"/>
                  </a:lnTo>
                  <a:lnTo>
                    <a:pt x="57774" y="91559"/>
                  </a:lnTo>
                  <a:lnTo>
                    <a:pt x="51620" y="95201"/>
                  </a:lnTo>
                  <a:lnTo>
                    <a:pt x="119315" y="134261"/>
                  </a:lnTo>
                  <a:cubicBezTo>
                    <a:pt x="123837" y="136898"/>
                    <a:pt x="131121" y="136898"/>
                    <a:pt x="135643" y="134261"/>
                  </a:cubicBezTo>
                  <a:lnTo>
                    <a:pt x="135768" y="134135"/>
                  </a:lnTo>
                  <a:lnTo>
                    <a:pt x="134512" y="133382"/>
                  </a:lnTo>
                  <a:lnTo>
                    <a:pt x="135266" y="133005"/>
                  </a:lnTo>
                  <a:lnTo>
                    <a:pt x="231597" y="77366"/>
                  </a:lnTo>
                  <a:lnTo>
                    <a:pt x="232853" y="78120"/>
                  </a:lnTo>
                  <a:lnTo>
                    <a:pt x="232979" y="77994"/>
                  </a:lnTo>
                  <a:cubicBezTo>
                    <a:pt x="235240" y="76738"/>
                    <a:pt x="236370" y="74980"/>
                    <a:pt x="236370" y="73222"/>
                  </a:cubicBezTo>
                  <a:cubicBezTo>
                    <a:pt x="236244" y="71840"/>
                    <a:pt x="235114" y="70207"/>
                    <a:pt x="232853" y="6882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31" name="Freeform: Shape 4930">
              <a:extLst>
                <a:ext uri="{FF2B5EF4-FFF2-40B4-BE49-F238E27FC236}">
                  <a16:creationId xmlns:a16="http://schemas.microsoft.com/office/drawing/2014/main" id="{9A4F8F1E-0C5F-4E31-BCE4-59B9ABC9C3E2}"/>
                </a:ext>
              </a:extLst>
            </p:cNvPr>
            <p:cNvSpPr/>
            <p:nvPr/>
          </p:nvSpPr>
          <p:spPr>
            <a:xfrm>
              <a:off x="9611773" y="2583586"/>
              <a:ext cx="234611" cy="71212"/>
            </a:xfrm>
            <a:custGeom>
              <a:avLst/>
              <a:gdLst>
                <a:gd name="connsiteX0" fmla="*/ 234360 w 234611"/>
                <a:gd name="connsiteY0" fmla="*/ 8038 h 71212"/>
                <a:gd name="connsiteX1" fmla="*/ 231220 w 234611"/>
                <a:gd name="connsiteY1" fmla="*/ 11052 h 71212"/>
                <a:gd name="connsiteX2" fmla="*/ 230467 w 234611"/>
                <a:gd name="connsiteY2" fmla="*/ 11555 h 71212"/>
                <a:gd name="connsiteX3" fmla="*/ 135643 w 234611"/>
                <a:gd name="connsiteY3" fmla="*/ 66314 h 71212"/>
                <a:gd name="connsiteX4" fmla="*/ 119315 w 234611"/>
                <a:gd name="connsiteY4" fmla="*/ 66314 h 71212"/>
                <a:gd name="connsiteX5" fmla="*/ 4898 w 234611"/>
                <a:gd name="connsiteY5" fmla="*/ 0 h 71212"/>
                <a:gd name="connsiteX6" fmla="*/ 0 w 234611"/>
                <a:gd name="connsiteY6" fmla="*/ 2763 h 71212"/>
                <a:gd name="connsiteX7" fmla="*/ 7159 w 234611"/>
                <a:gd name="connsiteY7" fmla="*/ 6908 h 71212"/>
                <a:gd name="connsiteX8" fmla="*/ 10927 w 234611"/>
                <a:gd name="connsiteY8" fmla="*/ 6657 h 71212"/>
                <a:gd name="connsiteX9" fmla="*/ 119441 w 234611"/>
                <a:gd name="connsiteY9" fmla="*/ 69328 h 71212"/>
                <a:gd name="connsiteX10" fmla="*/ 135517 w 234611"/>
                <a:gd name="connsiteY10" fmla="*/ 69328 h 71212"/>
                <a:gd name="connsiteX11" fmla="*/ 231220 w 234611"/>
                <a:gd name="connsiteY11" fmla="*/ 14067 h 71212"/>
                <a:gd name="connsiteX12" fmla="*/ 234612 w 234611"/>
                <a:gd name="connsiteY12" fmla="*/ 9420 h 71212"/>
                <a:gd name="connsiteX13" fmla="*/ 234360 w 234611"/>
                <a:gd name="connsiteY13" fmla="*/ 8038 h 7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4611" h="71212">
                  <a:moveTo>
                    <a:pt x="234360" y="8038"/>
                  </a:moveTo>
                  <a:cubicBezTo>
                    <a:pt x="233733" y="8917"/>
                    <a:pt x="232602" y="10048"/>
                    <a:pt x="231220" y="11052"/>
                  </a:cubicBezTo>
                  <a:cubicBezTo>
                    <a:pt x="230969" y="11178"/>
                    <a:pt x="230718" y="11429"/>
                    <a:pt x="230467" y="11555"/>
                  </a:cubicBezTo>
                  <a:lnTo>
                    <a:pt x="135643" y="66314"/>
                  </a:lnTo>
                  <a:cubicBezTo>
                    <a:pt x="131121" y="68952"/>
                    <a:pt x="123837" y="68952"/>
                    <a:pt x="119315" y="66314"/>
                  </a:cubicBezTo>
                  <a:lnTo>
                    <a:pt x="4898" y="0"/>
                  </a:lnTo>
                  <a:lnTo>
                    <a:pt x="0" y="2763"/>
                  </a:lnTo>
                  <a:lnTo>
                    <a:pt x="7159" y="6908"/>
                  </a:lnTo>
                  <a:lnTo>
                    <a:pt x="10927" y="6657"/>
                  </a:lnTo>
                  <a:lnTo>
                    <a:pt x="119441" y="69328"/>
                  </a:lnTo>
                  <a:cubicBezTo>
                    <a:pt x="123837" y="71840"/>
                    <a:pt x="131121" y="71840"/>
                    <a:pt x="135517" y="69328"/>
                  </a:cubicBezTo>
                  <a:lnTo>
                    <a:pt x="231220" y="14067"/>
                  </a:lnTo>
                  <a:cubicBezTo>
                    <a:pt x="233481" y="12811"/>
                    <a:pt x="234612" y="11052"/>
                    <a:pt x="234612" y="9420"/>
                  </a:cubicBezTo>
                  <a:cubicBezTo>
                    <a:pt x="234612" y="9043"/>
                    <a:pt x="234612" y="8540"/>
                    <a:pt x="234360" y="8038"/>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32" name="Graphic 4">
              <a:extLst>
                <a:ext uri="{FF2B5EF4-FFF2-40B4-BE49-F238E27FC236}">
                  <a16:creationId xmlns:a16="http://schemas.microsoft.com/office/drawing/2014/main" id="{84FB7ED1-A2DF-40A1-A747-5F7CF3F14040}"/>
                </a:ext>
              </a:extLst>
            </p:cNvPr>
            <p:cNvGrpSpPr/>
            <p:nvPr/>
          </p:nvGrpSpPr>
          <p:grpSpPr>
            <a:xfrm>
              <a:off x="9658369" y="2637089"/>
              <a:ext cx="33282" cy="35920"/>
              <a:chOff x="9658369" y="2637089"/>
              <a:chExt cx="33282" cy="35920"/>
            </a:xfrm>
            <a:solidFill>
              <a:schemeClr val="accent1"/>
            </a:solidFill>
          </p:grpSpPr>
          <p:sp>
            <p:nvSpPr>
              <p:cNvPr id="4933" name="Freeform: Shape 4932">
                <a:extLst>
                  <a:ext uri="{FF2B5EF4-FFF2-40B4-BE49-F238E27FC236}">
                    <a16:creationId xmlns:a16="http://schemas.microsoft.com/office/drawing/2014/main" id="{4B5B17A9-58C5-4255-9AF2-CA801C20DBAB}"/>
                  </a:ext>
                </a:extLst>
              </p:cNvPr>
              <p:cNvSpPr/>
              <p:nvPr/>
            </p:nvSpPr>
            <p:spPr>
              <a:xfrm>
                <a:off x="9663268" y="2639099"/>
                <a:ext cx="28384" cy="27505"/>
              </a:xfrm>
              <a:custGeom>
                <a:avLst/>
                <a:gdLst>
                  <a:gd name="connsiteX0" fmla="*/ 3266 w 28384"/>
                  <a:gd name="connsiteY0" fmla="*/ 9043 h 27505"/>
                  <a:gd name="connsiteX1" fmla="*/ 0 w 28384"/>
                  <a:gd name="connsiteY1" fmla="*/ 21477 h 27505"/>
                  <a:gd name="connsiteX2" fmla="*/ 0 w 28384"/>
                  <a:gd name="connsiteY2" fmla="*/ 27505 h 27505"/>
                  <a:gd name="connsiteX3" fmla="*/ 28385 w 28384"/>
                  <a:gd name="connsiteY3" fmla="*/ 11052 h 27505"/>
                  <a:gd name="connsiteX4" fmla="*/ 9294 w 28384"/>
                  <a:gd name="connsiteY4" fmla="*/ 0 h 27505"/>
                  <a:gd name="connsiteX5" fmla="*/ 3266 w 28384"/>
                  <a:gd name="connsiteY5" fmla="*/ 9043 h 2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84" h="27505">
                    <a:moveTo>
                      <a:pt x="3266" y="9043"/>
                    </a:moveTo>
                    <a:cubicBezTo>
                      <a:pt x="1130" y="12183"/>
                      <a:pt x="0" y="16453"/>
                      <a:pt x="0" y="21477"/>
                    </a:cubicBezTo>
                    <a:lnTo>
                      <a:pt x="0" y="27505"/>
                    </a:lnTo>
                    <a:lnTo>
                      <a:pt x="28385" y="11052"/>
                    </a:lnTo>
                    <a:lnTo>
                      <a:pt x="9294" y="0"/>
                    </a:lnTo>
                    <a:lnTo>
                      <a:pt x="3266"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34" name="Freeform: Shape 4933">
                <a:extLst>
                  <a:ext uri="{FF2B5EF4-FFF2-40B4-BE49-F238E27FC236}">
                    <a16:creationId xmlns:a16="http://schemas.microsoft.com/office/drawing/2014/main" id="{472A9809-5422-4BC1-9306-FF71DAD4072B}"/>
                  </a:ext>
                </a:extLst>
              </p:cNvPr>
              <p:cNvSpPr/>
              <p:nvPr/>
            </p:nvSpPr>
            <p:spPr>
              <a:xfrm>
                <a:off x="9658369" y="2637089"/>
                <a:ext cx="14192" cy="35920"/>
              </a:xfrm>
              <a:custGeom>
                <a:avLst/>
                <a:gdLst>
                  <a:gd name="connsiteX0" fmla="*/ 10801 w 14192"/>
                  <a:gd name="connsiteY0" fmla="*/ 2638 h 35920"/>
                  <a:gd name="connsiteX1" fmla="*/ 3266 w 14192"/>
                  <a:gd name="connsiteY1" fmla="*/ 13816 h 35920"/>
                  <a:gd name="connsiteX2" fmla="*/ 0 w 14192"/>
                  <a:gd name="connsiteY2" fmla="*/ 26249 h 35920"/>
                  <a:gd name="connsiteX3" fmla="*/ 0 w 14192"/>
                  <a:gd name="connsiteY3" fmla="*/ 35920 h 35920"/>
                  <a:gd name="connsiteX4" fmla="*/ 2888 w 14192"/>
                  <a:gd name="connsiteY4" fmla="*/ 34287 h 35920"/>
                  <a:gd name="connsiteX5" fmla="*/ 4898 w 14192"/>
                  <a:gd name="connsiteY5" fmla="*/ 30645 h 35920"/>
                  <a:gd name="connsiteX6" fmla="*/ 4898 w 14192"/>
                  <a:gd name="connsiteY6" fmla="*/ 23361 h 35920"/>
                  <a:gd name="connsiteX7" fmla="*/ 8164 w 14192"/>
                  <a:gd name="connsiteY7" fmla="*/ 10927 h 35920"/>
                  <a:gd name="connsiteX8" fmla="*/ 14192 w 14192"/>
                  <a:gd name="connsiteY8" fmla="*/ 2010 h 35920"/>
                  <a:gd name="connsiteX9" fmla="*/ 10801 w 14192"/>
                  <a:gd name="connsiteY9" fmla="*/ 0 h 35920"/>
                  <a:gd name="connsiteX10" fmla="*/ 10801 w 14192"/>
                  <a:gd name="connsiteY10" fmla="*/ 2638 h 3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92" h="35920">
                    <a:moveTo>
                      <a:pt x="10801" y="2638"/>
                    </a:moveTo>
                    <a:lnTo>
                      <a:pt x="3266" y="13816"/>
                    </a:lnTo>
                    <a:cubicBezTo>
                      <a:pt x="1131" y="16955"/>
                      <a:pt x="0" y="21226"/>
                      <a:pt x="0" y="26249"/>
                    </a:cubicBezTo>
                    <a:lnTo>
                      <a:pt x="0" y="35920"/>
                    </a:lnTo>
                    <a:lnTo>
                      <a:pt x="2888" y="34287"/>
                    </a:lnTo>
                    <a:cubicBezTo>
                      <a:pt x="4145" y="33534"/>
                      <a:pt x="4898" y="32152"/>
                      <a:pt x="4898" y="30645"/>
                    </a:cubicBezTo>
                    <a:lnTo>
                      <a:pt x="4898" y="23361"/>
                    </a:lnTo>
                    <a:cubicBezTo>
                      <a:pt x="4898" y="18337"/>
                      <a:pt x="6028" y="14067"/>
                      <a:pt x="8164" y="10927"/>
                    </a:cubicBezTo>
                    <a:lnTo>
                      <a:pt x="14192" y="2010"/>
                    </a:lnTo>
                    <a:lnTo>
                      <a:pt x="10801" y="0"/>
                    </a:lnTo>
                    <a:lnTo>
                      <a:pt x="10801" y="2638"/>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35" name="Graphic 4">
              <a:extLst>
                <a:ext uri="{FF2B5EF4-FFF2-40B4-BE49-F238E27FC236}">
                  <a16:creationId xmlns:a16="http://schemas.microsoft.com/office/drawing/2014/main" id="{84FB7ED1-A2DF-40A1-A747-5F7CF3F14040}"/>
                </a:ext>
              </a:extLst>
            </p:cNvPr>
            <p:cNvGrpSpPr/>
            <p:nvPr/>
          </p:nvGrpSpPr>
          <p:grpSpPr>
            <a:xfrm>
              <a:off x="9654001" y="2643109"/>
              <a:ext cx="76738" cy="81782"/>
              <a:chOff x="9654001" y="2643109"/>
              <a:chExt cx="76738" cy="81782"/>
            </a:xfrm>
            <a:solidFill>
              <a:schemeClr val="accent1"/>
            </a:solidFill>
          </p:grpSpPr>
          <p:grpSp>
            <p:nvGrpSpPr>
              <p:cNvPr id="4936" name="Graphic 4">
                <a:extLst>
                  <a:ext uri="{FF2B5EF4-FFF2-40B4-BE49-F238E27FC236}">
                    <a16:creationId xmlns:a16="http://schemas.microsoft.com/office/drawing/2014/main" id="{84FB7ED1-A2DF-40A1-A747-5F7CF3F14040}"/>
                  </a:ext>
                </a:extLst>
              </p:cNvPr>
              <p:cNvGrpSpPr/>
              <p:nvPr/>
            </p:nvGrpSpPr>
            <p:grpSpPr>
              <a:xfrm>
                <a:off x="9654001" y="2643109"/>
                <a:ext cx="76738" cy="81782"/>
                <a:chOff x="9654001" y="2643109"/>
                <a:chExt cx="76738" cy="81782"/>
              </a:xfrm>
              <a:solidFill>
                <a:schemeClr val="accent1"/>
              </a:solidFill>
            </p:grpSpPr>
            <p:sp>
              <p:nvSpPr>
                <p:cNvPr id="4937" name="Freeform: Shape 4936">
                  <a:extLst>
                    <a:ext uri="{FF2B5EF4-FFF2-40B4-BE49-F238E27FC236}">
                      <a16:creationId xmlns:a16="http://schemas.microsoft.com/office/drawing/2014/main" id="{C73F2BB8-7EC5-4259-91AF-20A838B59832}"/>
                    </a:ext>
                  </a:extLst>
                </p:cNvPr>
                <p:cNvSpPr/>
                <p:nvPr/>
              </p:nvSpPr>
              <p:spPr>
                <a:xfrm>
                  <a:off x="9672687" y="2643109"/>
                  <a:ext cx="58052" cy="72225"/>
                </a:xfrm>
                <a:custGeom>
                  <a:avLst/>
                  <a:gdLst>
                    <a:gd name="connsiteX0" fmla="*/ 50866 w 58052"/>
                    <a:gd name="connsiteY0" fmla="*/ 21737 h 72225"/>
                    <a:gd name="connsiteX1" fmla="*/ 33534 w 58052"/>
                    <a:gd name="connsiteY1" fmla="*/ 3400 h 72225"/>
                    <a:gd name="connsiteX2" fmla="*/ 22105 w 58052"/>
                    <a:gd name="connsiteY2" fmla="*/ 9 h 72225"/>
                    <a:gd name="connsiteX3" fmla="*/ 18337 w 58052"/>
                    <a:gd name="connsiteY3" fmla="*/ 134 h 72225"/>
                    <a:gd name="connsiteX4" fmla="*/ 18337 w 58052"/>
                    <a:gd name="connsiteY4" fmla="*/ 134 h 72225"/>
                    <a:gd name="connsiteX5" fmla="*/ 18337 w 58052"/>
                    <a:gd name="connsiteY5" fmla="*/ 134 h 72225"/>
                    <a:gd name="connsiteX6" fmla="*/ 18337 w 58052"/>
                    <a:gd name="connsiteY6" fmla="*/ 134 h 72225"/>
                    <a:gd name="connsiteX7" fmla="*/ 12057 w 58052"/>
                    <a:gd name="connsiteY7" fmla="*/ 1767 h 72225"/>
                    <a:gd name="connsiteX8" fmla="*/ 0 w 58052"/>
                    <a:gd name="connsiteY8" fmla="*/ 8800 h 72225"/>
                    <a:gd name="connsiteX9" fmla="*/ 18337 w 58052"/>
                    <a:gd name="connsiteY9" fmla="*/ 10684 h 72225"/>
                    <a:gd name="connsiteX10" fmla="*/ 36673 w 58052"/>
                    <a:gd name="connsiteY10" fmla="*/ 30026 h 72225"/>
                    <a:gd name="connsiteX11" fmla="*/ 36548 w 58052"/>
                    <a:gd name="connsiteY11" fmla="*/ 72226 h 72225"/>
                    <a:gd name="connsiteX12" fmla="*/ 48605 w 58052"/>
                    <a:gd name="connsiteY12" fmla="*/ 65192 h 72225"/>
                    <a:gd name="connsiteX13" fmla="*/ 55387 w 58052"/>
                    <a:gd name="connsiteY13" fmla="*/ 57154 h 72225"/>
                    <a:gd name="connsiteX14" fmla="*/ 50866 w 58052"/>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2" h="72225">
                      <a:moveTo>
                        <a:pt x="50866" y="21737"/>
                      </a:moveTo>
                      <a:cubicBezTo>
                        <a:pt x="46093" y="13447"/>
                        <a:pt x="39813" y="7042"/>
                        <a:pt x="33534" y="3400"/>
                      </a:cubicBezTo>
                      <a:cubicBezTo>
                        <a:pt x="29640" y="1139"/>
                        <a:pt x="25621" y="-117"/>
                        <a:pt x="22105" y="9"/>
                      </a:cubicBezTo>
                      <a:cubicBezTo>
                        <a:pt x="20848" y="9"/>
                        <a:pt x="19593" y="134"/>
                        <a:pt x="18337" y="134"/>
                      </a:cubicBezTo>
                      <a:cubicBezTo>
                        <a:pt x="18337" y="134"/>
                        <a:pt x="18337" y="134"/>
                        <a:pt x="18337" y="134"/>
                      </a:cubicBezTo>
                      <a:lnTo>
                        <a:pt x="18337" y="134"/>
                      </a:lnTo>
                      <a:lnTo>
                        <a:pt x="18337" y="134"/>
                      </a:lnTo>
                      <a:cubicBezTo>
                        <a:pt x="16076" y="134"/>
                        <a:pt x="13941" y="762"/>
                        <a:pt x="12057" y="1767"/>
                      </a:cubicBezTo>
                      <a:lnTo>
                        <a:pt x="0" y="8800"/>
                      </a:lnTo>
                      <a:cubicBezTo>
                        <a:pt x="5023" y="5912"/>
                        <a:pt x="11680" y="6791"/>
                        <a:pt x="18337" y="10684"/>
                      </a:cubicBezTo>
                      <a:cubicBezTo>
                        <a:pt x="24993" y="14578"/>
                        <a:pt x="31650" y="21234"/>
                        <a:pt x="36673" y="30026"/>
                      </a:cubicBezTo>
                      <a:cubicBezTo>
                        <a:pt x="46721" y="47483"/>
                        <a:pt x="46721" y="66448"/>
                        <a:pt x="36548" y="72226"/>
                      </a:cubicBezTo>
                      <a:lnTo>
                        <a:pt x="48605" y="65192"/>
                      </a:lnTo>
                      <a:cubicBezTo>
                        <a:pt x="52876" y="62680"/>
                        <a:pt x="55011" y="57782"/>
                        <a:pt x="55387" y="57154"/>
                      </a:cubicBezTo>
                      <a:cubicBezTo>
                        <a:pt x="60034" y="49242"/>
                        <a:pt x="58653" y="35050"/>
                        <a:pt x="50866"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38" name="Freeform: Shape 4937">
                  <a:extLst>
                    <a:ext uri="{FF2B5EF4-FFF2-40B4-BE49-F238E27FC236}">
                      <a16:creationId xmlns:a16="http://schemas.microsoft.com/office/drawing/2014/main" id="{B2752D9A-76FD-4904-8D6D-CFF1DF583B5E}"/>
                    </a:ext>
                  </a:extLst>
                </p:cNvPr>
                <p:cNvSpPr/>
                <p:nvPr/>
              </p:nvSpPr>
              <p:spPr>
                <a:xfrm>
                  <a:off x="9665268" y="2650203"/>
                  <a:ext cx="51628" cy="66243"/>
                </a:xfrm>
                <a:custGeom>
                  <a:avLst/>
                  <a:gdLst>
                    <a:gd name="connsiteX0" fmla="*/ 43967 w 51628"/>
                    <a:gd name="connsiteY0" fmla="*/ 22932 h 66243"/>
                    <a:gd name="connsiteX1" fmla="*/ 25631 w 51628"/>
                    <a:gd name="connsiteY1" fmla="*/ 3590 h 66243"/>
                    <a:gd name="connsiteX2" fmla="*/ 7293 w 51628"/>
                    <a:gd name="connsiteY2" fmla="*/ 1706 h 66243"/>
                    <a:gd name="connsiteX3" fmla="*/ 9 w 51628"/>
                    <a:gd name="connsiteY3" fmla="*/ 13512 h 66243"/>
                    <a:gd name="connsiteX4" fmla="*/ 32790 w 51628"/>
                    <a:gd name="connsiteY4" fmla="*/ 65885 h 66243"/>
                    <a:gd name="connsiteX5" fmla="*/ 43841 w 51628"/>
                    <a:gd name="connsiteY5" fmla="*/ 65006 h 66243"/>
                    <a:gd name="connsiteX6" fmla="*/ 43967 w 51628"/>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28"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90" y="65885"/>
                        <a:pt x="32790" y="65885"/>
                      </a:cubicBezTo>
                      <a:cubicBezTo>
                        <a:pt x="36683" y="66639"/>
                        <a:pt x="41958" y="66136"/>
                        <a:pt x="43841" y="65006"/>
                      </a:cubicBezTo>
                      <a:cubicBezTo>
                        <a:pt x="54266" y="59103"/>
                        <a:pt x="54140" y="40389"/>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39" name="Freeform: Shape 4938">
                  <a:extLst>
                    <a:ext uri="{FF2B5EF4-FFF2-40B4-BE49-F238E27FC236}">
                      <a16:creationId xmlns:a16="http://schemas.microsoft.com/office/drawing/2014/main" id="{0601CA12-5583-4DEB-ACD0-948CCC344F44}"/>
                    </a:ext>
                  </a:extLst>
                </p:cNvPr>
                <p:cNvSpPr/>
                <p:nvPr/>
              </p:nvSpPr>
              <p:spPr>
                <a:xfrm>
                  <a:off x="9654001" y="2644541"/>
                  <a:ext cx="69594" cy="80351"/>
                </a:xfrm>
                <a:custGeom>
                  <a:avLst/>
                  <a:gdLst>
                    <a:gd name="connsiteX0" fmla="*/ 52199 w 69594"/>
                    <a:gd name="connsiteY0" fmla="*/ 30128 h 80351"/>
                    <a:gd name="connsiteX1" fmla="*/ 52192 w 69594"/>
                    <a:gd name="connsiteY1" fmla="*/ 70303 h 80351"/>
                    <a:gd name="connsiteX2" fmla="*/ 17395 w 69594"/>
                    <a:gd name="connsiteY2" fmla="*/ 50223 h 80351"/>
                    <a:gd name="connsiteX3" fmla="*/ 17402 w 69594"/>
                    <a:gd name="connsiteY3" fmla="*/ 10048 h 80351"/>
                    <a:gd name="connsiteX4" fmla="*/ 52199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199" y="30128"/>
                      </a:moveTo>
                      <a:cubicBezTo>
                        <a:pt x="61806" y="46767"/>
                        <a:pt x="61803" y="64755"/>
                        <a:pt x="52192" y="70303"/>
                      </a:cubicBezTo>
                      <a:cubicBezTo>
                        <a:pt x="42581" y="75853"/>
                        <a:pt x="27002" y="66862"/>
                        <a:pt x="17395" y="50223"/>
                      </a:cubicBezTo>
                      <a:cubicBezTo>
                        <a:pt x="7788" y="33584"/>
                        <a:pt x="7792" y="15596"/>
                        <a:pt x="17402" y="10048"/>
                      </a:cubicBezTo>
                      <a:cubicBezTo>
                        <a:pt x="27014" y="4498"/>
                        <a:pt x="42592" y="13489"/>
                        <a:pt x="52199"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40" name="Graphic 4">
                <a:extLst>
                  <a:ext uri="{FF2B5EF4-FFF2-40B4-BE49-F238E27FC236}">
                    <a16:creationId xmlns:a16="http://schemas.microsoft.com/office/drawing/2014/main" id="{84FB7ED1-A2DF-40A1-A747-5F7CF3F14040}"/>
                  </a:ext>
                </a:extLst>
              </p:cNvPr>
              <p:cNvGrpSpPr/>
              <p:nvPr/>
            </p:nvGrpSpPr>
            <p:grpSpPr>
              <a:xfrm>
                <a:off x="9672436" y="2663234"/>
                <a:ext cx="33282" cy="42911"/>
                <a:chOff x="9672436" y="2663234"/>
                <a:chExt cx="33282" cy="42911"/>
              </a:xfrm>
              <a:solidFill>
                <a:schemeClr val="accent1"/>
              </a:solidFill>
            </p:grpSpPr>
            <p:sp>
              <p:nvSpPr>
                <p:cNvPr id="4941" name="Freeform: Shape 4940">
                  <a:extLst>
                    <a:ext uri="{FF2B5EF4-FFF2-40B4-BE49-F238E27FC236}">
                      <a16:creationId xmlns:a16="http://schemas.microsoft.com/office/drawing/2014/main" id="{CC15151E-87A7-4521-A502-DD68D7B974BB}"/>
                    </a:ext>
                  </a:extLst>
                </p:cNvPr>
                <p:cNvSpPr/>
                <p:nvPr/>
              </p:nvSpPr>
              <p:spPr>
                <a:xfrm>
                  <a:off x="9673692" y="2664805"/>
                  <a:ext cx="30770" cy="39768"/>
                </a:xfrm>
                <a:custGeom>
                  <a:avLst/>
                  <a:gdLst>
                    <a:gd name="connsiteX0" fmla="*/ 26249 w 30770"/>
                    <a:gd name="connsiteY0" fmla="*/ 38723 h 39768"/>
                    <a:gd name="connsiteX1" fmla="*/ 4521 w 30770"/>
                    <a:gd name="connsiteY1" fmla="*/ 26164 h 39768"/>
                    <a:gd name="connsiteX2" fmla="*/ 4521 w 30770"/>
                    <a:gd name="connsiteY2" fmla="*/ 1045 h 39768"/>
                    <a:gd name="connsiteX3" fmla="*/ 26249 w 30770"/>
                    <a:gd name="connsiteY3" fmla="*/ 13604 h 39768"/>
                    <a:gd name="connsiteX4" fmla="*/ 26249 w 30770"/>
                    <a:gd name="connsiteY4" fmla="*/ 38723 h 3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39768">
                      <a:moveTo>
                        <a:pt x="26249" y="38723"/>
                      </a:moveTo>
                      <a:cubicBezTo>
                        <a:pt x="20221" y="42240"/>
                        <a:pt x="10424" y="36588"/>
                        <a:pt x="4521" y="26164"/>
                      </a:cubicBezTo>
                      <a:cubicBezTo>
                        <a:pt x="-1507" y="15740"/>
                        <a:pt x="-1507" y="4436"/>
                        <a:pt x="4521" y="1045"/>
                      </a:cubicBezTo>
                      <a:cubicBezTo>
                        <a:pt x="10550" y="-2472"/>
                        <a:pt x="20346" y="3180"/>
                        <a:pt x="26249" y="13604"/>
                      </a:cubicBezTo>
                      <a:cubicBezTo>
                        <a:pt x="32277" y="24029"/>
                        <a:pt x="32277" y="35207"/>
                        <a:pt x="26249" y="3872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2" name="Freeform: Shape 4941">
                  <a:extLst>
                    <a:ext uri="{FF2B5EF4-FFF2-40B4-BE49-F238E27FC236}">
                      <a16:creationId xmlns:a16="http://schemas.microsoft.com/office/drawing/2014/main" id="{CB4DEEA7-C7D0-43A0-921C-2419BB207E1E}"/>
                    </a:ext>
                  </a:extLst>
                </p:cNvPr>
                <p:cNvSpPr/>
                <p:nvPr/>
              </p:nvSpPr>
              <p:spPr>
                <a:xfrm>
                  <a:off x="9672436" y="2663234"/>
                  <a:ext cx="33282" cy="42911"/>
                </a:xfrm>
                <a:custGeom>
                  <a:avLst/>
                  <a:gdLst>
                    <a:gd name="connsiteX0" fmla="*/ 28385 w 33282"/>
                    <a:gd name="connsiteY0" fmla="*/ 14673 h 42911"/>
                    <a:gd name="connsiteX1" fmla="*/ 4898 w 33282"/>
                    <a:gd name="connsiteY1" fmla="*/ 1109 h 42911"/>
                    <a:gd name="connsiteX2" fmla="*/ 4898 w 33282"/>
                    <a:gd name="connsiteY2" fmla="*/ 28238 h 42911"/>
                    <a:gd name="connsiteX3" fmla="*/ 28385 w 33282"/>
                    <a:gd name="connsiteY3" fmla="*/ 41802 h 42911"/>
                    <a:gd name="connsiteX4" fmla="*/ 28385 w 33282"/>
                    <a:gd name="connsiteY4" fmla="*/ 14673 h 42911"/>
                    <a:gd name="connsiteX5" fmla="*/ 29515 w 33282"/>
                    <a:gd name="connsiteY5" fmla="*/ 19069 h 42911"/>
                    <a:gd name="connsiteX6" fmla="*/ 22356 w 33282"/>
                    <a:gd name="connsiteY6" fmla="*/ 17562 h 42911"/>
                    <a:gd name="connsiteX7" fmla="*/ 20723 w 33282"/>
                    <a:gd name="connsiteY7" fmla="*/ 15301 h 42911"/>
                    <a:gd name="connsiteX8" fmla="*/ 20723 w 33282"/>
                    <a:gd name="connsiteY8" fmla="*/ 6510 h 42911"/>
                    <a:gd name="connsiteX9" fmla="*/ 27505 w 33282"/>
                    <a:gd name="connsiteY9" fmla="*/ 15050 h 42911"/>
                    <a:gd name="connsiteX10" fmla="*/ 29515 w 33282"/>
                    <a:gd name="connsiteY10" fmla="*/ 19069 h 42911"/>
                    <a:gd name="connsiteX11" fmla="*/ 5778 w 33282"/>
                    <a:gd name="connsiteY11" fmla="*/ 2616 h 42911"/>
                    <a:gd name="connsiteX12" fmla="*/ 12559 w 33282"/>
                    <a:gd name="connsiteY12" fmla="*/ 1988 h 42911"/>
                    <a:gd name="connsiteX13" fmla="*/ 12559 w 33282"/>
                    <a:gd name="connsiteY13" fmla="*/ 10780 h 42911"/>
                    <a:gd name="connsiteX14" fmla="*/ 10927 w 33282"/>
                    <a:gd name="connsiteY14" fmla="*/ 11157 h 42911"/>
                    <a:gd name="connsiteX15" fmla="*/ 3768 w 33282"/>
                    <a:gd name="connsiteY15" fmla="*/ 4249 h 42911"/>
                    <a:gd name="connsiteX16" fmla="*/ 5778 w 33282"/>
                    <a:gd name="connsiteY16" fmla="*/ 2616 h 42911"/>
                    <a:gd name="connsiteX17" fmla="*/ 1256 w 33282"/>
                    <a:gd name="connsiteY17" fmla="*/ 11785 h 42911"/>
                    <a:gd name="connsiteX18" fmla="*/ 8415 w 33282"/>
                    <a:gd name="connsiteY18" fmla="*/ 18692 h 42911"/>
                    <a:gd name="connsiteX19" fmla="*/ 9043 w 33282"/>
                    <a:gd name="connsiteY19" fmla="*/ 21204 h 42911"/>
                    <a:gd name="connsiteX20" fmla="*/ 4647 w 33282"/>
                    <a:gd name="connsiteY20" fmla="*/ 25726 h 42911"/>
                    <a:gd name="connsiteX21" fmla="*/ 1256 w 33282"/>
                    <a:gd name="connsiteY21" fmla="*/ 11785 h 42911"/>
                    <a:gd name="connsiteX22" fmla="*/ 11178 w 33282"/>
                    <a:gd name="connsiteY22" fmla="*/ 34894 h 42911"/>
                    <a:gd name="connsiteX23" fmla="*/ 15574 w 33282"/>
                    <a:gd name="connsiteY23" fmla="*/ 30373 h 42911"/>
                    <a:gd name="connsiteX24" fmla="*/ 17584 w 33282"/>
                    <a:gd name="connsiteY24" fmla="*/ 31503 h 42911"/>
                    <a:gd name="connsiteX25" fmla="*/ 21979 w 33282"/>
                    <a:gd name="connsiteY25" fmla="*/ 41174 h 42911"/>
                    <a:gd name="connsiteX26" fmla="*/ 11178 w 33282"/>
                    <a:gd name="connsiteY26" fmla="*/ 34894 h 42911"/>
                    <a:gd name="connsiteX27" fmla="*/ 28636 w 33282"/>
                    <a:gd name="connsiteY27" fmla="*/ 39541 h 42911"/>
                    <a:gd name="connsiteX28" fmla="*/ 24240 w 33282"/>
                    <a:gd name="connsiteY28" fmla="*/ 29870 h 42911"/>
                    <a:gd name="connsiteX29" fmla="*/ 24868 w 33282"/>
                    <a:gd name="connsiteY29" fmla="*/ 28112 h 42911"/>
                    <a:gd name="connsiteX30" fmla="*/ 32027 w 33282"/>
                    <a:gd name="connsiteY30" fmla="*/ 29619 h 42911"/>
                    <a:gd name="connsiteX31" fmla="*/ 28636 w 33282"/>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282" h="42911">
                      <a:moveTo>
                        <a:pt x="28385" y="14673"/>
                      </a:moveTo>
                      <a:cubicBezTo>
                        <a:pt x="21853" y="3496"/>
                        <a:pt x="11430" y="-2659"/>
                        <a:pt x="4898" y="1109"/>
                      </a:cubicBezTo>
                      <a:cubicBezTo>
                        <a:pt x="-1633" y="4877"/>
                        <a:pt x="-1633" y="16934"/>
                        <a:pt x="4898" y="28238"/>
                      </a:cubicBezTo>
                      <a:cubicBezTo>
                        <a:pt x="11430" y="39416"/>
                        <a:pt x="21853" y="45570"/>
                        <a:pt x="28385" y="41802"/>
                      </a:cubicBezTo>
                      <a:cubicBezTo>
                        <a:pt x="34916" y="38034"/>
                        <a:pt x="34916" y="25851"/>
                        <a:pt x="28385" y="14673"/>
                      </a:cubicBezTo>
                      <a:close/>
                      <a:moveTo>
                        <a:pt x="29515" y="19069"/>
                      </a:moveTo>
                      <a:lnTo>
                        <a:pt x="22356" y="17562"/>
                      </a:lnTo>
                      <a:cubicBezTo>
                        <a:pt x="21853" y="16809"/>
                        <a:pt x="21351" y="16055"/>
                        <a:pt x="20723" y="15301"/>
                      </a:cubicBezTo>
                      <a:lnTo>
                        <a:pt x="20723" y="6510"/>
                      </a:lnTo>
                      <a:cubicBezTo>
                        <a:pt x="23236" y="8771"/>
                        <a:pt x="25622" y="11659"/>
                        <a:pt x="27505" y="15050"/>
                      </a:cubicBezTo>
                      <a:cubicBezTo>
                        <a:pt x="28259" y="16432"/>
                        <a:pt x="28887" y="17813"/>
                        <a:pt x="29515" y="19069"/>
                      </a:cubicBezTo>
                      <a:close/>
                      <a:moveTo>
                        <a:pt x="5778" y="2616"/>
                      </a:moveTo>
                      <a:cubicBezTo>
                        <a:pt x="7787" y="1486"/>
                        <a:pt x="10047" y="1360"/>
                        <a:pt x="12559" y="1988"/>
                      </a:cubicBezTo>
                      <a:lnTo>
                        <a:pt x="12559" y="10780"/>
                      </a:lnTo>
                      <a:cubicBezTo>
                        <a:pt x="12057" y="10780"/>
                        <a:pt x="11430" y="10906"/>
                        <a:pt x="10927" y="11157"/>
                      </a:cubicBezTo>
                      <a:lnTo>
                        <a:pt x="3768" y="4249"/>
                      </a:lnTo>
                      <a:cubicBezTo>
                        <a:pt x="4271" y="3621"/>
                        <a:pt x="5024" y="2993"/>
                        <a:pt x="5778" y="2616"/>
                      </a:cubicBezTo>
                      <a:close/>
                      <a:moveTo>
                        <a:pt x="1256" y="11785"/>
                      </a:moveTo>
                      <a:lnTo>
                        <a:pt x="8415" y="18692"/>
                      </a:lnTo>
                      <a:cubicBezTo>
                        <a:pt x="8540" y="19446"/>
                        <a:pt x="8792" y="20325"/>
                        <a:pt x="9043" y="21204"/>
                      </a:cubicBezTo>
                      <a:lnTo>
                        <a:pt x="4647" y="25726"/>
                      </a:lnTo>
                      <a:cubicBezTo>
                        <a:pt x="2135" y="20702"/>
                        <a:pt x="1131" y="15804"/>
                        <a:pt x="1256" y="11785"/>
                      </a:cubicBezTo>
                      <a:close/>
                      <a:moveTo>
                        <a:pt x="11178" y="34894"/>
                      </a:moveTo>
                      <a:lnTo>
                        <a:pt x="15574" y="30373"/>
                      </a:lnTo>
                      <a:cubicBezTo>
                        <a:pt x="16202" y="30875"/>
                        <a:pt x="16830" y="31252"/>
                        <a:pt x="17584" y="31503"/>
                      </a:cubicBezTo>
                      <a:lnTo>
                        <a:pt x="21979" y="41174"/>
                      </a:lnTo>
                      <a:cubicBezTo>
                        <a:pt x="18589" y="40672"/>
                        <a:pt x="14694" y="38536"/>
                        <a:pt x="11178" y="34894"/>
                      </a:cubicBezTo>
                      <a:close/>
                      <a:moveTo>
                        <a:pt x="28636" y="39541"/>
                      </a:moveTo>
                      <a:lnTo>
                        <a:pt x="24240" y="29870"/>
                      </a:lnTo>
                      <a:cubicBezTo>
                        <a:pt x="24491" y="29368"/>
                        <a:pt x="24743" y="28740"/>
                        <a:pt x="24868" y="28112"/>
                      </a:cubicBezTo>
                      <a:lnTo>
                        <a:pt x="32027" y="29619"/>
                      </a:lnTo>
                      <a:cubicBezTo>
                        <a:pt x="32152" y="33764"/>
                        <a:pt x="31022" y="37406"/>
                        <a:pt x="28636"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43" name="Graphic 4">
                  <a:extLst>
                    <a:ext uri="{FF2B5EF4-FFF2-40B4-BE49-F238E27FC236}">
                      <a16:creationId xmlns:a16="http://schemas.microsoft.com/office/drawing/2014/main" id="{84FB7ED1-A2DF-40A1-A747-5F7CF3F14040}"/>
                    </a:ext>
                  </a:extLst>
                </p:cNvPr>
                <p:cNvGrpSpPr/>
                <p:nvPr/>
              </p:nvGrpSpPr>
              <p:grpSpPr>
                <a:xfrm>
                  <a:off x="9673683" y="2665222"/>
                  <a:ext cx="29146" cy="39185"/>
                  <a:chOff x="9673683" y="2665222"/>
                  <a:chExt cx="29146" cy="39185"/>
                </a:xfrm>
                <a:solidFill>
                  <a:srgbClr val="ADAA99"/>
                </a:solidFill>
              </p:grpSpPr>
              <p:sp>
                <p:nvSpPr>
                  <p:cNvPr id="4944" name="Freeform: Shape 4943">
                    <a:extLst>
                      <a:ext uri="{FF2B5EF4-FFF2-40B4-BE49-F238E27FC236}">
                        <a16:creationId xmlns:a16="http://schemas.microsoft.com/office/drawing/2014/main" id="{EAC48189-8684-41D6-BBDB-5FB08346DE67}"/>
                      </a:ext>
                    </a:extLst>
                  </p:cNvPr>
                  <p:cNvSpPr/>
                  <p:nvPr/>
                </p:nvSpPr>
                <p:spPr>
                  <a:xfrm>
                    <a:off x="9693159" y="2669869"/>
                    <a:ext cx="8791" cy="12559"/>
                  </a:xfrm>
                  <a:custGeom>
                    <a:avLst/>
                    <a:gdLst>
                      <a:gd name="connsiteX0" fmla="*/ 2135 w 8791"/>
                      <a:gd name="connsiteY0" fmla="*/ 7536 h 12559"/>
                      <a:gd name="connsiteX1" fmla="*/ 2135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768 w 8791"/>
                      <a:gd name="connsiteY7" fmla="*/ 9796 h 12559"/>
                      <a:gd name="connsiteX8" fmla="*/ 2135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5" y="7536"/>
                        </a:moveTo>
                        <a:lnTo>
                          <a:pt x="2135" y="2135"/>
                        </a:lnTo>
                        <a:cubicBezTo>
                          <a:pt x="1381" y="1382"/>
                          <a:pt x="754" y="628"/>
                          <a:pt x="0" y="0"/>
                        </a:cubicBezTo>
                        <a:lnTo>
                          <a:pt x="0" y="8792"/>
                        </a:lnTo>
                        <a:cubicBezTo>
                          <a:pt x="502" y="9420"/>
                          <a:pt x="1130" y="10173"/>
                          <a:pt x="1633" y="11052"/>
                        </a:cubicBezTo>
                        <a:lnTo>
                          <a:pt x="8792" y="12559"/>
                        </a:lnTo>
                        <a:cubicBezTo>
                          <a:pt x="8540" y="11932"/>
                          <a:pt x="8289" y="11304"/>
                          <a:pt x="7913" y="10676"/>
                        </a:cubicBezTo>
                        <a:lnTo>
                          <a:pt x="3768" y="9796"/>
                        </a:lnTo>
                        <a:cubicBezTo>
                          <a:pt x="3266" y="8917"/>
                          <a:pt x="2637" y="8164"/>
                          <a:pt x="2135"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5" name="Freeform: Shape 4944">
                    <a:extLst>
                      <a:ext uri="{FF2B5EF4-FFF2-40B4-BE49-F238E27FC236}">
                        <a16:creationId xmlns:a16="http://schemas.microsoft.com/office/drawing/2014/main" id="{48F47EF3-5A3B-4D49-B8CA-976B3B85597A}"/>
                      </a:ext>
                    </a:extLst>
                  </p:cNvPr>
                  <p:cNvSpPr/>
                  <p:nvPr/>
                </p:nvSpPr>
                <p:spPr>
                  <a:xfrm>
                    <a:off x="9696675" y="2691220"/>
                    <a:ext cx="6154" cy="11429"/>
                  </a:xfrm>
                  <a:custGeom>
                    <a:avLst/>
                    <a:gdLst>
                      <a:gd name="connsiteX0" fmla="*/ 2261 w 6154"/>
                      <a:gd name="connsiteY0" fmla="*/ 377 h 11429"/>
                      <a:gd name="connsiteX1" fmla="*/ 629 w 6154"/>
                      <a:gd name="connsiteY1" fmla="*/ 0 h 11429"/>
                      <a:gd name="connsiteX2" fmla="*/ 0 w 6154"/>
                      <a:gd name="connsiteY2" fmla="*/ 1758 h 11429"/>
                      <a:gd name="connsiteX3" fmla="*/ 4396 w 6154"/>
                      <a:gd name="connsiteY3" fmla="*/ 11429 h 11429"/>
                      <a:gd name="connsiteX4" fmla="*/ 6154 w 6154"/>
                      <a:gd name="connsiteY4" fmla="*/ 9294 h 11429"/>
                      <a:gd name="connsiteX5" fmla="*/ 2136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9" y="0"/>
                        </a:lnTo>
                        <a:cubicBezTo>
                          <a:pt x="503" y="628"/>
                          <a:pt x="251" y="1256"/>
                          <a:pt x="0" y="1758"/>
                        </a:cubicBezTo>
                        <a:lnTo>
                          <a:pt x="4396" y="11429"/>
                        </a:lnTo>
                        <a:cubicBezTo>
                          <a:pt x="5024" y="10801"/>
                          <a:pt x="5652" y="10173"/>
                          <a:pt x="6154" y="9294"/>
                        </a:cubicBezTo>
                        <a:lnTo>
                          <a:pt x="2136" y="502"/>
                        </a:lnTo>
                        <a:cubicBezTo>
                          <a:pt x="2136" y="502"/>
                          <a:pt x="2136" y="502"/>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6" name="Freeform: Shape 4945">
                    <a:extLst>
                      <a:ext uri="{FF2B5EF4-FFF2-40B4-BE49-F238E27FC236}">
                        <a16:creationId xmlns:a16="http://schemas.microsoft.com/office/drawing/2014/main" id="{6719F372-29E8-4130-B7F2-C070C3267BAF}"/>
                      </a:ext>
                    </a:extLst>
                  </p:cNvPr>
                  <p:cNvSpPr/>
                  <p:nvPr/>
                </p:nvSpPr>
                <p:spPr>
                  <a:xfrm>
                    <a:off x="9673683" y="2675019"/>
                    <a:ext cx="5284" cy="13941"/>
                  </a:xfrm>
                  <a:custGeom>
                    <a:avLst/>
                    <a:gdLst>
                      <a:gd name="connsiteX0" fmla="*/ 9 w 5284"/>
                      <a:gd name="connsiteY0" fmla="*/ 0 h 13941"/>
                      <a:gd name="connsiteX1" fmla="*/ 3400 w 5284"/>
                      <a:gd name="connsiteY1" fmla="*/ 13941 h 13941"/>
                      <a:gd name="connsiteX2" fmla="*/ 5284 w 5284"/>
                      <a:gd name="connsiteY2" fmla="*/ 12057 h 13941"/>
                      <a:gd name="connsiteX3" fmla="*/ 2396 w 5284"/>
                      <a:gd name="connsiteY3" fmla="*/ 2261 h 13941"/>
                      <a:gd name="connsiteX4" fmla="*/ 9 w 5284"/>
                      <a:gd name="connsiteY4" fmla="*/ 0 h 13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1">
                        <a:moveTo>
                          <a:pt x="9" y="0"/>
                        </a:moveTo>
                        <a:cubicBezTo>
                          <a:pt x="-116" y="4145"/>
                          <a:pt x="1014" y="9043"/>
                          <a:pt x="3400" y="13941"/>
                        </a:cubicBezTo>
                        <a:lnTo>
                          <a:pt x="5284" y="12057"/>
                        </a:lnTo>
                        <a:cubicBezTo>
                          <a:pt x="3651" y="8666"/>
                          <a:pt x="2772"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7" name="Freeform: Shape 4946">
                    <a:extLst>
                      <a:ext uri="{FF2B5EF4-FFF2-40B4-BE49-F238E27FC236}">
                        <a16:creationId xmlns:a16="http://schemas.microsoft.com/office/drawing/2014/main" id="{767B7128-A79B-43E6-A26C-5FFE06CCA1F6}"/>
                      </a:ext>
                    </a:extLst>
                  </p:cNvPr>
                  <p:cNvSpPr/>
                  <p:nvPr/>
                </p:nvSpPr>
                <p:spPr>
                  <a:xfrm>
                    <a:off x="9683740" y="2693607"/>
                    <a:ext cx="10926" cy="10801"/>
                  </a:xfrm>
                  <a:custGeom>
                    <a:avLst/>
                    <a:gdLst>
                      <a:gd name="connsiteX0" fmla="*/ 2009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09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09" y="3265"/>
                        </a:moveTo>
                        <a:lnTo>
                          <a:pt x="4898" y="377"/>
                        </a:lnTo>
                        <a:cubicBezTo>
                          <a:pt x="4773" y="251"/>
                          <a:pt x="4521" y="126"/>
                          <a:pt x="4396" y="0"/>
                        </a:cubicBezTo>
                        <a:lnTo>
                          <a:pt x="0" y="4521"/>
                        </a:lnTo>
                        <a:cubicBezTo>
                          <a:pt x="3516" y="8038"/>
                          <a:pt x="7410" y="10299"/>
                          <a:pt x="10927" y="10801"/>
                        </a:cubicBezTo>
                        <a:lnTo>
                          <a:pt x="9922" y="8666"/>
                        </a:lnTo>
                        <a:cubicBezTo>
                          <a:pt x="7159" y="7661"/>
                          <a:pt x="4521" y="5777"/>
                          <a:pt x="2009"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8" name="Freeform: Shape 4947">
                    <a:extLst>
                      <a:ext uri="{FF2B5EF4-FFF2-40B4-BE49-F238E27FC236}">
                        <a16:creationId xmlns:a16="http://schemas.microsoft.com/office/drawing/2014/main" id="{767ECD60-601E-465C-968B-BE5B3CA3911D}"/>
                      </a:ext>
                    </a:extLst>
                  </p:cNvPr>
                  <p:cNvSpPr/>
                  <p:nvPr/>
                </p:nvSpPr>
                <p:spPr>
                  <a:xfrm>
                    <a:off x="9676203" y="2665222"/>
                    <a:ext cx="8791" cy="9042"/>
                  </a:xfrm>
                  <a:custGeom>
                    <a:avLst/>
                    <a:gdLst>
                      <a:gd name="connsiteX0" fmla="*/ 3140 w 8791"/>
                      <a:gd name="connsiteY0" fmla="*/ 0 h 9042"/>
                      <a:gd name="connsiteX1" fmla="*/ 2010 w 8791"/>
                      <a:gd name="connsiteY1" fmla="*/ 502 h 9042"/>
                      <a:gd name="connsiteX2" fmla="*/ 0 w 8791"/>
                      <a:gd name="connsiteY2" fmla="*/ 2135 h 9042"/>
                      <a:gd name="connsiteX3" fmla="*/ 7159 w 8791"/>
                      <a:gd name="connsiteY3" fmla="*/ 9043 h 9042"/>
                      <a:gd name="connsiteX4" fmla="*/ 8792 w 8791"/>
                      <a:gd name="connsiteY4" fmla="*/ 8666 h 9042"/>
                      <a:gd name="connsiteX5" fmla="*/ 8792 w 8791"/>
                      <a:gd name="connsiteY5" fmla="*/ 7284 h 9042"/>
                      <a:gd name="connsiteX6" fmla="*/ 2136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10" y="502"/>
                        </a:cubicBezTo>
                        <a:cubicBezTo>
                          <a:pt x="1256" y="879"/>
                          <a:pt x="629" y="1507"/>
                          <a:pt x="0" y="2135"/>
                        </a:cubicBezTo>
                        <a:lnTo>
                          <a:pt x="7159" y="9043"/>
                        </a:lnTo>
                        <a:cubicBezTo>
                          <a:pt x="7662" y="8792"/>
                          <a:pt x="8164" y="8666"/>
                          <a:pt x="8792" y="8666"/>
                        </a:cubicBezTo>
                        <a:lnTo>
                          <a:pt x="8792" y="7284"/>
                        </a:lnTo>
                        <a:lnTo>
                          <a:pt x="2136" y="1005"/>
                        </a:lnTo>
                        <a:cubicBezTo>
                          <a:pt x="2386" y="628"/>
                          <a:pt x="2763" y="377"/>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49" name="Graphic 4">
                  <a:extLst>
                    <a:ext uri="{FF2B5EF4-FFF2-40B4-BE49-F238E27FC236}">
                      <a16:creationId xmlns:a16="http://schemas.microsoft.com/office/drawing/2014/main" id="{84FB7ED1-A2DF-40A1-A747-5F7CF3F14040}"/>
                    </a:ext>
                  </a:extLst>
                </p:cNvPr>
                <p:cNvGrpSpPr/>
                <p:nvPr/>
              </p:nvGrpSpPr>
              <p:grpSpPr>
                <a:xfrm>
                  <a:off x="9682739" y="2676826"/>
                  <a:ext cx="12606" cy="16202"/>
                  <a:chOff x="9682739" y="2676826"/>
                  <a:chExt cx="12606" cy="16202"/>
                </a:xfrm>
                <a:solidFill>
                  <a:srgbClr val="222222"/>
                </a:solidFill>
              </p:grpSpPr>
              <p:sp>
                <p:nvSpPr>
                  <p:cNvPr id="4950" name="Freeform: Shape 4949">
                    <a:extLst>
                      <a:ext uri="{FF2B5EF4-FFF2-40B4-BE49-F238E27FC236}">
                        <a16:creationId xmlns:a16="http://schemas.microsoft.com/office/drawing/2014/main" id="{A7B032B6-C82A-4394-9C0D-3E1B5792CD5A}"/>
                      </a:ext>
                    </a:extLst>
                  </p:cNvPr>
                  <p:cNvSpPr/>
                  <p:nvPr/>
                </p:nvSpPr>
                <p:spPr>
                  <a:xfrm>
                    <a:off x="9687068" y="2682021"/>
                    <a:ext cx="4113" cy="5336"/>
                  </a:xfrm>
                  <a:custGeom>
                    <a:avLst/>
                    <a:gdLst>
                      <a:gd name="connsiteX0" fmla="*/ 3454 w 4113"/>
                      <a:gd name="connsiteY0" fmla="*/ 5180 h 5336"/>
                      <a:gd name="connsiteX1" fmla="*/ 565 w 4113"/>
                      <a:gd name="connsiteY1" fmla="*/ 3547 h 5336"/>
                      <a:gd name="connsiteX2" fmla="*/ 565 w 4113"/>
                      <a:gd name="connsiteY2" fmla="*/ 156 h 5336"/>
                      <a:gd name="connsiteX3" fmla="*/ 3454 w 4113"/>
                      <a:gd name="connsiteY3" fmla="*/ 1789 h 5336"/>
                      <a:gd name="connsiteX4" fmla="*/ 3454 w 4113"/>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3" h="5336">
                        <a:moveTo>
                          <a:pt x="3454" y="5180"/>
                        </a:moveTo>
                        <a:cubicBezTo>
                          <a:pt x="2700" y="5682"/>
                          <a:pt x="1319" y="4929"/>
                          <a:pt x="565" y="3547"/>
                        </a:cubicBezTo>
                        <a:cubicBezTo>
                          <a:pt x="-188" y="2166"/>
                          <a:pt x="-188" y="659"/>
                          <a:pt x="565" y="156"/>
                        </a:cubicBezTo>
                        <a:cubicBezTo>
                          <a:pt x="1319" y="-346"/>
                          <a:pt x="2700" y="407"/>
                          <a:pt x="3454" y="1789"/>
                        </a:cubicBezTo>
                        <a:cubicBezTo>
                          <a:pt x="4333" y="3170"/>
                          <a:pt x="4333" y="4678"/>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1" name="Freeform: Shape 4950">
                    <a:extLst>
                      <a:ext uri="{FF2B5EF4-FFF2-40B4-BE49-F238E27FC236}">
                        <a16:creationId xmlns:a16="http://schemas.microsoft.com/office/drawing/2014/main" id="{2B085F8C-DD92-4F18-BC0F-4DEAFA759663}"/>
                      </a:ext>
                    </a:extLst>
                  </p:cNvPr>
                  <p:cNvSpPr/>
                  <p:nvPr/>
                </p:nvSpPr>
                <p:spPr>
                  <a:xfrm>
                    <a:off x="9687884" y="2676826"/>
                    <a:ext cx="2385" cy="3167"/>
                  </a:xfrm>
                  <a:custGeom>
                    <a:avLst/>
                    <a:gdLst>
                      <a:gd name="connsiteX0" fmla="*/ 2009 w 2385"/>
                      <a:gd name="connsiteY0" fmla="*/ 3091 h 3167"/>
                      <a:gd name="connsiteX1" fmla="*/ 377 w 2385"/>
                      <a:gd name="connsiteY1" fmla="*/ 2086 h 3167"/>
                      <a:gd name="connsiteX2" fmla="*/ 377 w 2385"/>
                      <a:gd name="connsiteY2" fmla="*/ 76 h 3167"/>
                      <a:gd name="connsiteX3" fmla="*/ 2009 w 2385"/>
                      <a:gd name="connsiteY3" fmla="*/ 1081 h 3167"/>
                      <a:gd name="connsiteX4" fmla="*/ 2009 w 2385"/>
                      <a:gd name="connsiteY4" fmla="*/ 3091 h 3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5" h="3167">
                        <a:moveTo>
                          <a:pt x="2009" y="3091"/>
                        </a:moveTo>
                        <a:cubicBezTo>
                          <a:pt x="1507" y="3342"/>
                          <a:pt x="754" y="2965"/>
                          <a:pt x="377" y="2086"/>
                        </a:cubicBezTo>
                        <a:cubicBezTo>
                          <a:pt x="-126" y="1332"/>
                          <a:pt x="-126" y="453"/>
                          <a:pt x="377" y="76"/>
                        </a:cubicBezTo>
                        <a:cubicBezTo>
                          <a:pt x="879" y="-175"/>
                          <a:pt x="1632" y="202"/>
                          <a:pt x="2009" y="1081"/>
                        </a:cubicBezTo>
                        <a:cubicBezTo>
                          <a:pt x="2511" y="1960"/>
                          <a:pt x="2511" y="2839"/>
                          <a:pt x="2009" y="309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2" name="Freeform: Shape 4951">
                    <a:extLst>
                      <a:ext uri="{FF2B5EF4-FFF2-40B4-BE49-F238E27FC236}">
                        <a16:creationId xmlns:a16="http://schemas.microsoft.com/office/drawing/2014/main" id="{665BCB2E-3F8F-4621-A534-7A3184E1DA52}"/>
                      </a:ext>
                    </a:extLst>
                  </p:cNvPr>
                  <p:cNvSpPr/>
                  <p:nvPr/>
                </p:nvSpPr>
                <p:spPr>
                  <a:xfrm>
                    <a:off x="9684725" y="2686257"/>
                    <a:ext cx="2424" cy="3019"/>
                  </a:xfrm>
                  <a:custGeom>
                    <a:avLst/>
                    <a:gdLst>
                      <a:gd name="connsiteX0" fmla="*/ 1024 w 2424"/>
                      <a:gd name="connsiteY0" fmla="*/ 65 h 3019"/>
                      <a:gd name="connsiteX1" fmla="*/ 2405 w 2424"/>
                      <a:gd name="connsiteY1" fmla="*/ 1949 h 3019"/>
                      <a:gd name="connsiteX2" fmla="*/ 1401 w 2424"/>
                      <a:gd name="connsiteY2" fmla="*/ 2954 h 3019"/>
                      <a:gd name="connsiteX3" fmla="*/ 19 w 2424"/>
                      <a:gd name="connsiteY3" fmla="*/ 1070 h 3019"/>
                      <a:gd name="connsiteX4" fmla="*/ 1024 w 2424"/>
                      <a:gd name="connsiteY4" fmla="*/ 65 h 3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019">
                        <a:moveTo>
                          <a:pt x="1024" y="65"/>
                        </a:moveTo>
                        <a:cubicBezTo>
                          <a:pt x="1651" y="317"/>
                          <a:pt x="2280" y="1196"/>
                          <a:pt x="2405" y="1949"/>
                        </a:cubicBezTo>
                        <a:cubicBezTo>
                          <a:pt x="2531" y="2703"/>
                          <a:pt x="2029" y="3205"/>
                          <a:pt x="1401" y="2954"/>
                        </a:cubicBezTo>
                        <a:cubicBezTo>
                          <a:pt x="773" y="2703"/>
                          <a:pt x="144" y="1824"/>
                          <a:pt x="19" y="1070"/>
                        </a:cubicBezTo>
                        <a:cubicBezTo>
                          <a:pt x="-106" y="317"/>
                          <a:pt x="396" y="-186"/>
                          <a:pt x="1024" y="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3" name="Freeform: Shape 4952">
                    <a:extLst>
                      <a:ext uri="{FF2B5EF4-FFF2-40B4-BE49-F238E27FC236}">
                        <a16:creationId xmlns:a16="http://schemas.microsoft.com/office/drawing/2014/main" id="{A41E5B2C-F429-4FCD-9C24-3722FBF2A666}"/>
                      </a:ext>
                    </a:extLst>
                  </p:cNvPr>
                  <p:cNvSpPr/>
                  <p:nvPr/>
                </p:nvSpPr>
                <p:spPr>
                  <a:xfrm>
                    <a:off x="9691005" y="2689914"/>
                    <a:ext cx="2424" cy="3114"/>
                  </a:xfrm>
                  <a:custGeom>
                    <a:avLst/>
                    <a:gdLst>
                      <a:gd name="connsiteX0" fmla="*/ 19 w 2424"/>
                      <a:gd name="connsiteY0" fmla="*/ 678 h 3114"/>
                      <a:gd name="connsiteX1" fmla="*/ 1401 w 2424"/>
                      <a:gd name="connsiteY1" fmla="*/ 301 h 3114"/>
                      <a:gd name="connsiteX2" fmla="*/ 2405 w 2424"/>
                      <a:gd name="connsiteY2" fmla="*/ 2437 h 3114"/>
                      <a:gd name="connsiteX3" fmla="*/ 1024 w 2424"/>
                      <a:gd name="connsiteY3" fmla="*/ 2813 h 3114"/>
                      <a:gd name="connsiteX4" fmla="*/ 19 w 2424"/>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114">
                        <a:moveTo>
                          <a:pt x="19" y="678"/>
                        </a:moveTo>
                        <a:cubicBezTo>
                          <a:pt x="144" y="-75"/>
                          <a:pt x="773" y="-201"/>
                          <a:pt x="1401" y="301"/>
                        </a:cubicBezTo>
                        <a:cubicBezTo>
                          <a:pt x="2029" y="804"/>
                          <a:pt x="2531" y="1809"/>
                          <a:pt x="2405" y="2437"/>
                        </a:cubicBezTo>
                        <a:cubicBezTo>
                          <a:pt x="2280" y="3190"/>
                          <a:pt x="1651" y="3316"/>
                          <a:pt x="1024" y="2813"/>
                        </a:cubicBezTo>
                        <a:cubicBezTo>
                          <a:pt x="396" y="2311"/>
                          <a:pt x="-106" y="1306"/>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4" name="Freeform: Shape 4953">
                    <a:extLst>
                      <a:ext uri="{FF2B5EF4-FFF2-40B4-BE49-F238E27FC236}">
                        <a16:creationId xmlns:a16="http://schemas.microsoft.com/office/drawing/2014/main" id="{3ABC43DF-BE67-4DD5-99CF-70ACEC074C66}"/>
                      </a:ext>
                    </a:extLst>
                  </p:cNvPr>
                  <p:cNvSpPr/>
                  <p:nvPr/>
                </p:nvSpPr>
                <p:spPr>
                  <a:xfrm>
                    <a:off x="9692856" y="2684137"/>
                    <a:ext cx="2489" cy="3114"/>
                  </a:xfrm>
                  <a:custGeom>
                    <a:avLst/>
                    <a:gdLst>
                      <a:gd name="connsiteX0" fmla="*/ 679 w 2489"/>
                      <a:gd name="connsiteY0" fmla="*/ 2437 h 3114"/>
                      <a:gd name="connsiteX1" fmla="*/ 177 w 2489"/>
                      <a:gd name="connsiteY1" fmla="*/ 301 h 3114"/>
                      <a:gd name="connsiteX2" fmla="*/ 1810 w 2489"/>
                      <a:gd name="connsiteY2" fmla="*/ 678 h 3114"/>
                      <a:gd name="connsiteX3" fmla="*/ 2312 w 2489"/>
                      <a:gd name="connsiteY3" fmla="*/ 2813 h 3114"/>
                      <a:gd name="connsiteX4" fmla="*/ 679 w 2489"/>
                      <a:gd name="connsiteY4" fmla="*/ 2437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114">
                        <a:moveTo>
                          <a:pt x="679" y="2437"/>
                        </a:moveTo>
                        <a:cubicBezTo>
                          <a:pt x="52" y="1809"/>
                          <a:pt x="-200" y="804"/>
                          <a:pt x="177" y="301"/>
                        </a:cubicBezTo>
                        <a:cubicBezTo>
                          <a:pt x="429" y="-201"/>
                          <a:pt x="1182" y="-75"/>
                          <a:pt x="1810" y="678"/>
                        </a:cubicBezTo>
                        <a:cubicBezTo>
                          <a:pt x="2438" y="1306"/>
                          <a:pt x="2689" y="2311"/>
                          <a:pt x="2312" y="2813"/>
                        </a:cubicBezTo>
                        <a:cubicBezTo>
                          <a:pt x="2061" y="3316"/>
                          <a:pt x="1308" y="3190"/>
                          <a:pt x="679"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5" name="Freeform: Shape 4954">
                    <a:extLst>
                      <a:ext uri="{FF2B5EF4-FFF2-40B4-BE49-F238E27FC236}">
                        <a16:creationId xmlns:a16="http://schemas.microsoft.com/office/drawing/2014/main" id="{D7C84B22-D26E-43FA-9CE1-818668D6EE73}"/>
                      </a:ext>
                    </a:extLst>
                  </p:cNvPr>
                  <p:cNvSpPr/>
                  <p:nvPr/>
                </p:nvSpPr>
                <p:spPr>
                  <a:xfrm>
                    <a:off x="9682739" y="2678284"/>
                    <a:ext cx="2377" cy="3014"/>
                  </a:xfrm>
                  <a:custGeom>
                    <a:avLst/>
                    <a:gdLst>
                      <a:gd name="connsiteX0" fmla="*/ 2256 w 2377"/>
                      <a:gd name="connsiteY0" fmla="*/ 1507 h 3014"/>
                      <a:gd name="connsiteX1" fmla="*/ 1754 w 2377"/>
                      <a:gd name="connsiteY1" fmla="*/ 3014 h 3014"/>
                      <a:gd name="connsiteX2" fmla="*/ 121 w 2377"/>
                      <a:gd name="connsiteY2" fmla="*/ 1507 h 3014"/>
                      <a:gd name="connsiteX3" fmla="*/ 624 w 2377"/>
                      <a:gd name="connsiteY3" fmla="*/ 0 h 3014"/>
                      <a:gd name="connsiteX4" fmla="*/ 2256 w 2377"/>
                      <a:gd name="connsiteY4" fmla="*/ 1507 h 3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7" h="3014">
                        <a:moveTo>
                          <a:pt x="2256" y="1507"/>
                        </a:moveTo>
                        <a:cubicBezTo>
                          <a:pt x="2508" y="2386"/>
                          <a:pt x="2382" y="3014"/>
                          <a:pt x="1754" y="3014"/>
                        </a:cubicBezTo>
                        <a:cubicBezTo>
                          <a:pt x="1126" y="3014"/>
                          <a:pt x="498" y="2386"/>
                          <a:pt x="121" y="1507"/>
                        </a:cubicBezTo>
                        <a:cubicBezTo>
                          <a:pt x="-130" y="628"/>
                          <a:pt x="-4" y="0"/>
                          <a:pt x="624" y="0"/>
                        </a:cubicBezTo>
                        <a:cubicBezTo>
                          <a:pt x="1251" y="0"/>
                          <a:pt x="2006" y="628"/>
                          <a:pt x="2256" y="150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4956" name="Freeform: Shape 4955">
              <a:extLst>
                <a:ext uri="{FF2B5EF4-FFF2-40B4-BE49-F238E27FC236}">
                  <a16:creationId xmlns:a16="http://schemas.microsoft.com/office/drawing/2014/main" id="{C02CC908-21AA-4E57-85DD-96CD78C46D00}"/>
                </a:ext>
              </a:extLst>
            </p:cNvPr>
            <p:cNvSpPr/>
            <p:nvPr/>
          </p:nvSpPr>
          <p:spPr>
            <a:xfrm>
              <a:off x="9612025" y="2586474"/>
              <a:ext cx="135767" cy="130838"/>
            </a:xfrm>
            <a:custGeom>
              <a:avLst/>
              <a:gdLst>
                <a:gd name="connsiteX0" fmla="*/ 135517 w 135767"/>
                <a:gd name="connsiteY0" fmla="*/ 68826 h 130838"/>
                <a:gd name="connsiteX1" fmla="*/ 119189 w 135767"/>
                <a:gd name="connsiteY1" fmla="*/ 68826 h 130838"/>
                <a:gd name="connsiteX2" fmla="*/ 0 w 135767"/>
                <a:gd name="connsiteY2" fmla="*/ 0 h 130838"/>
                <a:gd name="connsiteX3" fmla="*/ 0 w 135767"/>
                <a:gd name="connsiteY3" fmla="*/ 59909 h 130838"/>
                <a:gd name="connsiteX4" fmla="*/ 46470 w 135767"/>
                <a:gd name="connsiteY4" fmla="*/ 86786 h 130838"/>
                <a:gd name="connsiteX5" fmla="*/ 46470 w 135767"/>
                <a:gd name="connsiteY5" fmla="*/ 77115 h 130838"/>
                <a:gd name="connsiteX6" fmla="*/ 49736 w 135767"/>
                <a:gd name="connsiteY6" fmla="*/ 64681 h 130838"/>
                <a:gd name="connsiteX7" fmla="*/ 57271 w 135767"/>
                <a:gd name="connsiteY7" fmla="*/ 53503 h 130838"/>
                <a:gd name="connsiteX8" fmla="*/ 57271 w 135767"/>
                <a:gd name="connsiteY8" fmla="*/ 50866 h 130838"/>
                <a:gd name="connsiteX9" fmla="*/ 98592 w 135767"/>
                <a:gd name="connsiteY9" fmla="*/ 74729 h 130838"/>
                <a:gd name="connsiteX10" fmla="*/ 105374 w 135767"/>
                <a:gd name="connsiteY10" fmla="*/ 88293 h 130838"/>
                <a:gd name="connsiteX11" fmla="*/ 111277 w 135767"/>
                <a:gd name="connsiteY11" fmla="*/ 110649 h 130838"/>
                <a:gd name="connsiteX12" fmla="*/ 111277 w 135767"/>
                <a:gd name="connsiteY12" fmla="*/ 124213 h 130838"/>
                <a:gd name="connsiteX13" fmla="*/ 119315 w 135767"/>
                <a:gd name="connsiteY13" fmla="*/ 128860 h 130838"/>
                <a:gd name="connsiteX14" fmla="*/ 135642 w 135767"/>
                <a:gd name="connsiteY14" fmla="*/ 128860 h 130838"/>
                <a:gd name="connsiteX15" fmla="*/ 135768 w 135767"/>
                <a:gd name="connsiteY15" fmla="*/ 128860 h 130838"/>
                <a:gd name="connsiteX16" fmla="*/ 135517 w 135767"/>
                <a:gd name="connsiteY16" fmla="*/ 68826 h 130838"/>
                <a:gd name="connsiteX17" fmla="*/ 135517 w 135767"/>
                <a:gd name="connsiteY17" fmla="*/ 68826 h 13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5767" h="130838">
                  <a:moveTo>
                    <a:pt x="135517" y="68826"/>
                  </a:moveTo>
                  <a:cubicBezTo>
                    <a:pt x="130995" y="71463"/>
                    <a:pt x="123711" y="71463"/>
                    <a:pt x="119189" y="68826"/>
                  </a:cubicBezTo>
                  <a:lnTo>
                    <a:pt x="0" y="0"/>
                  </a:lnTo>
                  <a:lnTo>
                    <a:pt x="0" y="59909"/>
                  </a:lnTo>
                  <a:lnTo>
                    <a:pt x="46470" y="86786"/>
                  </a:lnTo>
                  <a:lnTo>
                    <a:pt x="46470" y="77115"/>
                  </a:lnTo>
                  <a:cubicBezTo>
                    <a:pt x="46470" y="72091"/>
                    <a:pt x="47601" y="67821"/>
                    <a:pt x="49736" y="64681"/>
                  </a:cubicBezTo>
                  <a:lnTo>
                    <a:pt x="57271" y="53503"/>
                  </a:lnTo>
                  <a:lnTo>
                    <a:pt x="57271" y="50866"/>
                  </a:lnTo>
                  <a:lnTo>
                    <a:pt x="98592" y="74729"/>
                  </a:lnTo>
                  <a:lnTo>
                    <a:pt x="105374" y="88293"/>
                  </a:lnTo>
                  <a:cubicBezTo>
                    <a:pt x="109142" y="95829"/>
                    <a:pt x="111277" y="103741"/>
                    <a:pt x="111277" y="110649"/>
                  </a:cubicBezTo>
                  <a:lnTo>
                    <a:pt x="111277" y="124213"/>
                  </a:lnTo>
                  <a:lnTo>
                    <a:pt x="119315" y="128860"/>
                  </a:lnTo>
                  <a:cubicBezTo>
                    <a:pt x="123836" y="131498"/>
                    <a:pt x="131121" y="131498"/>
                    <a:pt x="135642" y="128860"/>
                  </a:cubicBezTo>
                  <a:lnTo>
                    <a:pt x="135768" y="128860"/>
                  </a:lnTo>
                  <a:lnTo>
                    <a:pt x="135517" y="68826"/>
                  </a:lnTo>
                  <a:lnTo>
                    <a:pt x="135517" y="68826"/>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57" name="Graphic 4">
              <a:extLst>
                <a:ext uri="{FF2B5EF4-FFF2-40B4-BE49-F238E27FC236}">
                  <a16:creationId xmlns:a16="http://schemas.microsoft.com/office/drawing/2014/main" id="{84FB7ED1-A2DF-40A1-A747-5F7CF3F14040}"/>
                </a:ext>
              </a:extLst>
            </p:cNvPr>
            <p:cNvGrpSpPr/>
            <p:nvPr/>
          </p:nvGrpSpPr>
          <p:grpSpPr>
            <a:xfrm>
              <a:off x="9631241" y="2594387"/>
              <a:ext cx="38431" cy="73347"/>
              <a:chOff x="9631241" y="2594387"/>
              <a:chExt cx="38431" cy="73347"/>
            </a:xfrm>
            <a:solidFill>
              <a:schemeClr val="accent1"/>
            </a:solidFill>
          </p:grpSpPr>
          <p:sp>
            <p:nvSpPr>
              <p:cNvPr id="4958" name="Freeform: Shape 4957">
                <a:extLst>
                  <a:ext uri="{FF2B5EF4-FFF2-40B4-BE49-F238E27FC236}">
                    <a16:creationId xmlns:a16="http://schemas.microsoft.com/office/drawing/2014/main" id="{D81EC576-BAAD-402C-84B3-A1ECE1F50098}"/>
                  </a:ext>
                </a:extLst>
              </p:cNvPr>
              <p:cNvSpPr/>
              <p:nvPr/>
            </p:nvSpPr>
            <p:spPr>
              <a:xfrm>
                <a:off x="9638274" y="2594387"/>
                <a:ext cx="31398" cy="66188"/>
              </a:xfrm>
              <a:custGeom>
                <a:avLst/>
                <a:gdLst>
                  <a:gd name="connsiteX0" fmla="*/ 25245 w 31398"/>
                  <a:gd name="connsiteY0" fmla="*/ 21728 h 66188"/>
                  <a:gd name="connsiteX1" fmla="*/ 31399 w 31398"/>
                  <a:gd name="connsiteY1" fmla="*/ 18211 h 66188"/>
                  <a:gd name="connsiteX2" fmla="*/ 0 w 31398"/>
                  <a:gd name="connsiteY2" fmla="*/ 0 h 66188"/>
                  <a:gd name="connsiteX3" fmla="*/ 0 w 31398"/>
                  <a:gd name="connsiteY3" fmla="*/ 56392 h 66188"/>
                  <a:gd name="connsiteX4" fmla="*/ 16829 w 31398"/>
                  <a:gd name="connsiteY4" fmla="*/ 66188 h 66188"/>
                  <a:gd name="connsiteX5" fmla="*/ 16829 w 31398"/>
                  <a:gd name="connsiteY5" fmla="*/ 34539 h 66188"/>
                  <a:gd name="connsiteX6" fmla="*/ 25245 w 31398"/>
                  <a:gd name="connsiteY6" fmla="*/ 39311 h 6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98" h="66188">
                    <a:moveTo>
                      <a:pt x="25245" y="21728"/>
                    </a:moveTo>
                    <a:lnTo>
                      <a:pt x="31399" y="18211"/>
                    </a:lnTo>
                    <a:lnTo>
                      <a:pt x="0" y="0"/>
                    </a:lnTo>
                    <a:lnTo>
                      <a:pt x="0" y="56392"/>
                    </a:lnTo>
                    <a:lnTo>
                      <a:pt x="16829" y="66188"/>
                    </a:lnTo>
                    <a:lnTo>
                      <a:pt x="16829" y="34539"/>
                    </a:lnTo>
                    <a:lnTo>
                      <a:pt x="25245" y="39311"/>
                    </a:lnTo>
                    <a:close/>
                  </a:path>
                </a:pathLst>
              </a:custGeom>
              <a:solidFill>
                <a:srgbClr val="1A1A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9" name="Freeform: Shape 4958">
                <a:extLst>
                  <a:ext uri="{FF2B5EF4-FFF2-40B4-BE49-F238E27FC236}">
                    <a16:creationId xmlns:a16="http://schemas.microsoft.com/office/drawing/2014/main" id="{1421F6F3-8C28-454D-9AC2-41B60193F86B}"/>
                  </a:ext>
                </a:extLst>
              </p:cNvPr>
              <p:cNvSpPr/>
              <p:nvPr/>
            </p:nvSpPr>
            <p:spPr>
              <a:xfrm>
                <a:off x="9631995" y="2594387"/>
                <a:ext cx="6279" cy="60034"/>
              </a:xfrm>
              <a:custGeom>
                <a:avLst/>
                <a:gdLst>
                  <a:gd name="connsiteX0" fmla="*/ 0 w 6279"/>
                  <a:gd name="connsiteY0" fmla="*/ 3642 h 60034"/>
                  <a:gd name="connsiteX1" fmla="*/ 0 w 6279"/>
                  <a:gd name="connsiteY1" fmla="*/ 60034 h 60034"/>
                  <a:gd name="connsiteX2" fmla="*/ 6280 w 6279"/>
                  <a:gd name="connsiteY2" fmla="*/ 56392 h 60034"/>
                  <a:gd name="connsiteX3" fmla="*/ 6280 w 6279"/>
                  <a:gd name="connsiteY3" fmla="*/ 0 h 60034"/>
                </a:gdLst>
                <a:ahLst/>
                <a:cxnLst>
                  <a:cxn ang="0">
                    <a:pos x="connsiteX0" y="connsiteY0"/>
                  </a:cxn>
                  <a:cxn ang="0">
                    <a:pos x="connsiteX1" y="connsiteY1"/>
                  </a:cxn>
                  <a:cxn ang="0">
                    <a:pos x="connsiteX2" y="connsiteY2"/>
                  </a:cxn>
                  <a:cxn ang="0">
                    <a:pos x="connsiteX3" y="connsiteY3"/>
                  </a:cxn>
                </a:cxnLst>
                <a:rect l="l" t="t" r="r" b="b"/>
                <a:pathLst>
                  <a:path w="6279" h="60034">
                    <a:moveTo>
                      <a:pt x="0" y="3642"/>
                    </a:moveTo>
                    <a:lnTo>
                      <a:pt x="0" y="60034"/>
                    </a:lnTo>
                    <a:lnTo>
                      <a:pt x="6280" y="56392"/>
                    </a:lnTo>
                    <a:lnTo>
                      <a:pt x="6280" y="0"/>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0" name="Freeform: Shape 4959">
                <a:extLst>
                  <a:ext uri="{FF2B5EF4-FFF2-40B4-BE49-F238E27FC236}">
                    <a16:creationId xmlns:a16="http://schemas.microsoft.com/office/drawing/2014/main" id="{5D0CAFA1-5527-4653-8131-FA1CBA1C48C3}"/>
                  </a:ext>
                </a:extLst>
              </p:cNvPr>
              <p:cNvSpPr/>
              <p:nvPr/>
            </p:nvSpPr>
            <p:spPr>
              <a:xfrm>
                <a:off x="9631241" y="2634954"/>
                <a:ext cx="24113" cy="16955"/>
              </a:xfrm>
              <a:custGeom>
                <a:avLst/>
                <a:gdLst>
                  <a:gd name="connsiteX0" fmla="*/ 24114 w 24113"/>
                  <a:gd name="connsiteY0" fmla="*/ 16955 h 16955"/>
                  <a:gd name="connsiteX1" fmla="*/ 0 w 24113"/>
                  <a:gd name="connsiteY1" fmla="*/ 3140 h 16955"/>
                  <a:gd name="connsiteX2" fmla="*/ 754 w 24113"/>
                  <a:gd name="connsiteY2" fmla="*/ 0 h 16955"/>
                  <a:gd name="connsiteX3" fmla="*/ 23863 w 24113"/>
                  <a:gd name="connsiteY3" fmla="*/ 13313 h 16955"/>
                </a:gdLst>
                <a:ahLst/>
                <a:cxnLst>
                  <a:cxn ang="0">
                    <a:pos x="connsiteX0" y="connsiteY0"/>
                  </a:cxn>
                  <a:cxn ang="0">
                    <a:pos x="connsiteX1" y="connsiteY1"/>
                  </a:cxn>
                  <a:cxn ang="0">
                    <a:pos x="connsiteX2" y="connsiteY2"/>
                  </a:cxn>
                  <a:cxn ang="0">
                    <a:pos x="connsiteX3" y="connsiteY3"/>
                  </a:cxn>
                </a:cxnLst>
                <a:rect l="l" t="t" r="r" b="b"/>
                <a:pathLst>
                  <a:path w="24113" h="16955">
                    <a:moveTo>
                      <a:pt x="24114" y="16955"/>
                    </a:moveTo>
                    <a:lnTo>
                      <a:pt x="0" y="3140"/>
                    </a:lnTo>
                    <a:lnTo>
                      <a:pt x="754" y="0"/>
                    </a:lnTo>
                    <a:lnTo>
                      <a:pt x="23863" y="13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1" name="Freeform: Shape 4960">
                <a:extLst>
                  <a:ext uri="{FF2B5EF4-FFF2-40B4-BE49-F238E27FC236}">
                    <a16:creationId xmlns:a16="http://schemas.microsoft.com/office/drawing/2014/main" id="{6CCE4E28-19FC-424B-9BFA-1E8FA574E3DD}"/>
                  </a:ext>
                </a:extLst>
              </p:cNvPr>
              <p:cNvSpPr/>
              <p:nvPr/>
            </p:nvSpPr>
            <p:spPr>
              <a:xfrm>
                <a:off x="9631743" y="2615612"/>
                <a:ext cx="23737" cy="16955"/>
              </a:xfrm>
              <a:custGeom>
                <a:avLst/>
                <a:gdLst>
                  <a:gd name="connsiteX0" fmla="*/ 23738 w 23737"/>
                  <a:gd name="connsiteY0" fmla="*/ 16955 h 16955"/>
                  <a:gd name="connsiteX1" fmla="*/ 0 w 23737"/>
                  <a:gd name="connsiteY1" fmla="*/ 3265 h 16955"/>
                  <a:gd name="connsiteX2" fmla="*/ 251 w 23737"/>
                  <a:gd name="connsiteY2" fmla="*/ 0 h 16955"/>
                  <a:gd name="connsiteX3" fmla="*/ 23360 w 23737"/>
                  <a:gd name="connsiteY3" fmla="*/ 13313 h 16955"/>
                </a:gdLst>
                <a:ahLst/>
                <a:cxnLst>
                  <a:cxn ang="0">
                    <a:pos x="connsiteX0" y="connsiteY0"/>
                  </a:cxn>
                  <a:cxn ang="0">
                    <a:pos x="connsiteX1" y="connsiteY1"/>
                  </a:cxn>
                  <a:cxn ang="0">
                    <a:pos x="connsiteX2" y="connsiteY2"/>
                  </a:cxn>
                  <a:cxn ang="0">
                    <a:pos x="connsiteX3" y="connsiteY3"/>
                  </a:cxn>
                </a:cxnLst>
                <a:rect l="l" t="t" r="r" b="b"/>
                <a:pathLst>
                  <a:path w="23737" h="16955">
                    <a:moveTo>
                      <a:pt x="23738" y="16955"/>
                    </a:moveTo>
                    <a:lnTo>
                      <a:pt x="0" y="3265"/>
                    </a:lnTo>
                    <a:lnTo>
                      <a:pt x="251" y="0"/>
                    </a:lnTo>
                    <a:lnTo>
                      <a:pt x="23360" y="13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2" name="Freeform: Shape 4961">
                <a:extLst>
                  <a:ext uri="{FF2B5EF4-FFF2-40B4-BE49-F238E27FC236}">
                    <a16:creationId xmlns:a16="http://schemas.microsoft.com/office/drawing/2014/main" id="{4B378542-D2FC-47AB-8BC4-66FCBC0CB330}"/>
                  </a:ext>
                </a:extLst>
              </p:cNvPr>
              <p:cNvSpPr/>
              <p:nvPr/>
            </p:nvSpPr>
            <p:spPr>
              <a:xfrm>
                <a:off x="9631995" y="2650779"/>
                <a:ext cx="23109" cy="16955"/>
              </a:xfrm>
              <a:custGeom>
                <a:avLst/>
                <a:gdLst>
                  <a:gd name="connsiteX0" fmla="*/ 6280 w 23109"/>
                  <a:gd name="connsiteY0" fmla="*/ 0 h 16955"/>
                  <a:gd name="connsiteX1" fmla="*/ 0 w 23109"/>
                  <a:gd name="connsiteY1" fmla="*/ 3642 h 16955"/>
                  <a:gd name="connsiteX2" fmla="*/ 23109 w 23109"/>
                  <a:gd name="connsiteY2" fmla="*/ 16955 h 16955"/>
                  <a:gd name="connsiteX3" fmla="*/ 23109 w 23109"/>
                  <a:gd name="connsiteY3" fmla="*/ 9796 h 16955"/>
                </a:gdLst>
                <a:ahLst/>
                <a:cxnLst>
                  <a:cxn ang="0">
                    <a:pos x="connsiteX0" y="connsiteY0"/>
                  </a:cxn>
                  <a:cxn ang="0">
                    <a:pos x="connsiteX1" y="connsiteY1"/>
                  </a:cxn>
                  <a:cxn ang="0">
                    <a:pos x="connsiteX2" y="connsiteY2"/>
                  </a:cxn>
                  <a:cxn ang="0">
                    <a:pos x="connsiteX3" y="connsiteY3"/>
                  </a:cxn>
                </a:cxnLst>
                <a:rect l="l" t="t" r="r" b="b"/>
                <a:pathLst>
                  <a:path w="23109" h="16955">
                    <a:moveTo>
                      <a:pt x="6280" y="0"/>
                    </a:moveTo>
                    <a:lnTo>
                      <a:pt x="0" y="3642"/>
                    </a:lnTo>
                    <a:lnTo>
                      <a:pt x="23109" y="16955"/>
                    </a:lnTo>
                    <a:lnTo>
                      <a:pt x="23109" y="9796"/>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3" name="Freeform: Shape 4962">
                <a:extLst>
                  <a:ext uri="{FF2B5EF4-FFF2-40B4-BE49-F238E27FC236}">
                    <a16:creationId xmlns:a16="http://schemas.microsoft.com/office/drawing/2014/main" id="{706CC4C2-AA91-4C56-BF1A-B9404E7DF9AD}"/>
                  </a:ext>
                </a:extLst>
              </p:cNvPr>
              <p:cNvSpPr/>
              <p:nvPr/>
            </p:nvSpPr>
            <p:spPr>
              <a:xfrm>
                <a:off x="9631995" y="2631437"/>
                <a:ext cx="23109" cy="16829"/>
              </a:xfrm>
              <a:custGeom>
                <a:avLst/>
                <a:gdLst>
                  <a:gd name="connsiteX0" fmla="*/ 6280 w 23109"/>
                  <a:gd name="connsiteY0" fmla="*/ 0 h 16829"/>
                  <a:gd name="connsiteX1" fmla="*/ 0 w 23109"/>
                  <a:gd name="connsiteY1" fmla="*/ 3517 h 16829"/>
                  <a:gd name="connsiteX2" fmla="*/ 23109 w 23109"/>
                  <a:gd name="connsiteY2" fmla="*/ 16830 h 16829"/>
                  <a:gd name="connsiteX3" fmla="*/ 23109 w 23109"/>
                  <a:gd name="connsiteY3" fmla="*/ 9671 h 16829"/>
                </a:gdLst>
                <a:ahLst/>
                <a:cxnLst>
                  <a:cxn ang="0">
                    <a:pos x="connsiteX0" y="connsiteY0"/>
                  </a:cxn>
                  <a:cxn ang="0">
                    <a:pos x="connsiteX1" y="connsiteY1"/>
                  </a:cxn>
                  <a:cxn ang="0">
                    <a:pos x="connsiteX2" y="connsiteY2"/>
                  </a:cxn>
                  <a:cxn ang="0">
                    <a:pos x="connsiteX3" y="connsiteY3"/>
                  </a:cxn>
                </a:cxnLst>
                <a:rect l="l" t="t" r="r" b="b"/>
                <a:pathLst>
                  <a:path w="23109" h="16829">
                    <a:moveTo>
                      <a:pt x="6280" y="0"/>
                    </a:moveTo>
                    <a:lnTo>
                      <a:pt x="0" y="3517"/>
                    </a:lnTo>
                    <a:lnTo>
                      <a:pt x="23109" y="16830"/>
                    </a:lnTo>
                    <a:lnTo>
                      <a:pt x="23109" y="9671"/>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4" name="Freeform: Shape 4963">
                <a:extLst>
                  <a:ext uri="{FF2B5EF4-FFF2-40B4-BE49-F238E27FC236}">
                    <a16:creationId xmlns:a16="http://schemas.microsoft.com/office/drawing/2014/main" id="{8CCA864B-56AF-42E8-85D0-1B3799443BDA}"/>
                  </a:ext>
                </a:extLst>
              </p:cNvPr>
              <p:cNvSpPr/>
              <p:nvPr/>
            </p:nvSpPr>
            <p:spPr>
              <a:xfrm>
                <a:off x="9631995" y="2611970"/>
                <a:ext cx="31524" cy="21727"/>
              </a:xfrm>
              <a:custGeom>
                <a:avLst/>
                <a:gdLst>
                  <a:gd name="connsiteX0" fmla="*/ 6280 w 31524"/>
                  <a:gd name="connsiteY0" fmla="*/ 0 h 21727"/>
                  <a:gd name="connsiteX1" fmla="*/ 0 w 31524"/>
                  <a:gd name="connsiteY1" fmla="*/ 3642 h 21727"/>
                  <a:gd name="connsiteX2" fmla="*/ 31524 w 31524"/>
                  <a:gd name="connsiteY2" fmla="*/ 21728 h 21727"/>
                  <a:gd name="connsiteX3" fmla="*/ 31524 w 31524"/>
                  <a:gd name="connsiteY3" fmla="*/ 14569 h 21727"/>
                </a:gdLst>
                <a:ahLst/>
                <a:cxnLst>
                  <a:cxn ang="0">
                    <a:pos x="connsiteX0" y="connsiteY0"/>
                  </a:cxn>
                  <a:cxn ang="0">
                    <a:pos x="connsiteX1" y="connsiteY1"/>
                  </a:cxn>
                  <a:cxn ang="0">
                    <a:pos x="connsiteX2" y="connsiteY2"/>
                  </a:cxn>
                  <a:cxn ang="0">
                    <a:pos x="connsiteX3" y="connsiteY3"/>
                  </a:cxn>
                </a:cxnLst>
                <a:rect l="l" t="t" r="r" b="b"/>
                <a:pathLst>
                  <a:path w="31524" h="21727">
                    <a:moveTo>
                      <a:pt x="6280" y="0"/>
                    </a:moveTo>
                    <a:lnTo>
                      <a:pt x="0" y="3642"/>
                    </a:lnTo>
                    <a:lnTo>
                      <a:pt x="31524" y="21728"/>
                    </a:lnTo>
                    <a:lnTo>
                      <a:pt x="31524" y="14569"/>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65" name="Freeform: Shape 4964">
              <a:extLst>
                <a:ext uri="{FF2B5EF4-FFF2-40B4-BE49-F238E27FC236}">
                  <a16:creationId xmlns:a16="http://schemas.microsoft.com/office/drawing/2014/main" id="{0CA46667-B097-4BA8-9C2B-F93F39249457}"/>
                </a:ext>
              </a:extLst>
            </p:cNvPr>
            <p:cNvSpPr/>
            <p:nvPr/>
          </p:nvSpPr>
          <p:spPr>
            <a:xfrm>
              <a:off x="9736992" y="2660073"/>
              <a:ext cx="9042" cy="27756"/>
            </a:xfrm>
            <a:custGeom>
              <a:avLst/>
              <a:gdLst>
                <a:gd name="connsiteX0" fmla="*/ 0 w 9042"/>
                <a:gd name="connsiteY0" fmla="*/ 1130 h 27756"/>
                <a:gd name="connsiteX1" fmla="*/ 0 w 9042"/>
                <a:gd name="connsiteY1" fmla="*/ 19970 h 27756"/>
                <a:gd name="connsiteX2" fmla="*/ 9042 w 9042"/>
                <a:gd name="connsiteY2" fmla="*/ 27756 h 27756"/>
                <a:gd name="connsiteX3" fmla="*/ 9042 w 9042"/>
                <a:gd name="connsiteY3" fmla="*/ 0 h 27756"/>
                <a:gd name="connsiteX4" fmla="*/ 0 w 9042"/>
                <a:gd name="connsiteY4" fmla="*/ 1130 h 277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 h="27756">
                  <a:moveTo>
                    <a:pt x="0" y="1130"/>
                  </a:moveTo>
                  <a:lnTo>
                    <a:pt x="0" y="19970"/>
                  </a:lnTo>
                  <a:cubicBezTo>
                    <a:pt x="0" y="27882"/>
                    <a:pt x="9042" y="27756"/>
                    <a:pt x="9042" y="27756"/>
                  </a:cubicBezTo>
                  <a:lnTo>
                    <a:pt x="9042" y="0"/>
                  </a:lnTo>
                  <a:cubicBezTo>
                    <a:pt x="6405" y="1130"/>
                    <a:pt x="3140" y="1382"/>
                    <a:pt x="0" y="1130"/>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6" name="Freeform: Shape 4965">
              <a:extLst>
                <a:ext uri="{FF2B5EF4-FFF2-40B4-BE49-F238E27FC236}">
                  <a16:creationId xmlns:a16="http://schemas.microsoft.com/office/drawing/2014/main" id="{1ABCCC12-91CC-4D7F-9948-233135C96AF4}"/>
                </a:ext>
              </a:extLst>
            </p:cNvPr>
            <p:cNvSpPr/>
            <p:nvPr/>
          </p:nvSpPr>
          <p:spPr>
            <a:xfrm>
              <a:off x="9709738" y="2642866"/>
              <a:ext cx="753" cy="18085"/>
            </a:xfrm>
            <a:custGeom>
              <a:avLst/>
              <a:gdLst>
                <a:gd name="connsiteX0" fmla="*/ 754 w 753"/>
                <a:gd name="connsiteY0" fmla="*/ 18086 h 18085"/>
                <a:gd name="connsiteX1" fmla="*/ 0 w 753"/>
                <a:gd name="connsiteY1" fmla="*/ 17709 h 18085"/>
                <a:gd name="connsiteX2" fmla="*/ 0 w 753"/>
                <a:gd name="connsiteY2" fmla="*/ 0 h 18085"/>
                <a:gd name="connsiteX3" fmla="*/ 754 w 753"/>
                <a:gd name="connsiteY3" fmla="*/ 377 h 18085"/>
              </a:gdLst>
              <a:ahLst/>
              <a:cxnLst>
                <a:cxn ang="0">
                  <a:pos x="connsiteX0" y="connsiteY0"/>
                </a:cxn>
                <a:cxn ang="0">
                  <a:pos x="connsiteX1" y="connsiteY1"/>
                </a:cxn>
                <a:cxn ang="0">
                  <a:pos x="connsiteX2" y="connsiteY2"/>
                </a:cxn>
                <a:cxn ang="0">
                  <a:pos x="connsiteX3" y="connsiteY3"/>
                </a:cxn>
              </a:cxnLst>
              <a:rect l="l" t="t" r="r" b="b"/>
              <a:pathLst>
                <a:path w="753" h="18085">
                  <a:moveTo>
                    <a:pt x="754" y="18086"/>
                  </a:moveTo>
                  <a:lnTo>
                    <a:pt x="0" y="17709"/>
                  </a:lnTo>
                  <a:lnTo>
                    <a:pt x="0" y="0"/>
                  </a:lnTo>
                  <a:lnTo>
                    <a:pt x="754"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7" name="Freeform: Shape 4966">
              <a:extLst>
                <a:ext uri="{FF2B5EF4-FFF2-40B4-BE49-F238E27FC236}">
                  <a16:creationId xmlns:a16="http://schemas.microsoft.com/office/drawing/2014/main" id="{988FFC49-719F-42F7-989F-1552D5FD19AD}"/>
                </a:ext>
              </a:extLst>
            </p:cNvPr>
            <p:cNvSpPr/>
            <p:nvPr/>
          </p:nvSpPr>
          <p:spPr>
            <a:xfrm>
              <a:off x="9669170" y="2619506"/>
              <a:ext cx="753" cy="18085"/>
            </a:xfrm>
            <a:custGeom>
              <a:avLst/>
              <a:gdLst>
                <a:gd name="connsiteX0" fmla="*/ 754 w 753"/>
                <a:gd name="connsiteY0" fmla="*/ 18086 h 18085"/>
                <a:gd name="connsiteX1" fmla="*/ 0 w 753"/>
                <a:gd name="connsiteY1" fmla="*/ 17583 h 18085"/>
                <a:gd name="connsiteX2" fmla="*/ 0 w 753"/>
                <a:gd name="connsiteY2" fmla="*/ 0 h 18085"/>
                <a:gd name="connsiteX3" fmla="*/ 754 w 753"/>
                <a:gd name="connsiteY3" fmla="*/ 377 h 18085"/>
              </a:gdLst>
              <a:ahLst/>
              <a:cxnLst>
                <a:cxn ang="0">
                  <a:pos x="connsiteX0" y="connsiteY0"/>
                </a:cxn>
                <a:cxn ang="0">
                  <a:pos x="connsiteX1" y="connsiteY1"/>
                </a:cxn>
                <a:cxn ang="0">
                  <a:pos x="connsiteX2" y="connsiteY2"/>
                </a:cxn>
                <a:cxn ang="0">
                  <a:pos x="connsiteX3" y="connsiteY3"/>
                </a:cxn>
              </a:cxnLst>
              <a:rect l="l" t="t" r="r" b="b"/>
              <a:pathLst>
                <a:path w="753" h="18085">
                  <a:moveTo>
                    <a:pt x="754" y="18086"/>
                  </a:moveTo>
                  <a:lnTo>
                    <a:pt x="0" y="17583"/>
                  </a:lnTo>
                  <a:lnTo>
                    <a:pt x="0" y="0"/>
                  </a:lnTo>
                  <a:lnTo>
                    <a:pt x="754"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8" name="Freeform: Shape 4967">
              <a:extLst>
                <a:ext uri="{FF2B5EF4-FFF2-40B4-BE49-F238E27FC236}">
                  <a16:creationId xmlns:a16="http://schemas.microsoft.com/office/drawing/2014/main" id="{9FABA6C0-9A48-40B3-BD4B-3D29684B37A2}"/>
                </a:ext>
              </a:extLst>
            </p:cNvPr>
            <p:cNvSpPr/>
            <p:nvPr/>
          </p:nvSpPr>
          <p:spPr>
            <a:xfrm>
              <a:off x="9848143" y="2560099"/>
              <a:ext cx="12559" cy="376"/>
            </a:xfrm>
            <a:custGeom>
              <a:avLst/>
              <a:gdLst>
                <a:gd name="connsiteX0" fmla="*/ 0 w 12559"/>
                <a:gd name="connsiteY0" fmla="*/ 0 h 376"/>
                <a:gd name="connsiteX1" fmla="*/ 0 w 12559"/>
                <a:gd name="connsiteY1" fmla="*/ 377 h 376"/>
                <a:gd name="connsiteX2" fmla="*/ 0 w 12559"/>
                <a:gd name="connsiteY2" fmla="*/ 0 h 376"/>
              </a:gdLst>
              <a:ahLst/>
              <a:cxnLst>
                <a:cxn ang="0">
                  <a:pos x="connsiteX0" y="connsiteY0"/>
                </a:cxn>
                <a:cxn ang="0">
                  <a:pos x="connsiteX1" y="connsiteY1"/>
                </a:cxn>
                <a:cxn ang="0">
                  <a:pos x="connsiteX2" y="connsiteY2"/>
                </a:cxn>
              </a:cxnLst>
              <a:rect l="l" t="t" r="r" b="b"/>
              <a:pathLst>
                <a:path w="12559" h="376">
                  <a:moveTo>
                    <a:pt x="0" y="0"/>
                  </a:moveTo>
                  <a:lnTo>
                    <a:pt x="0" y="377"/>
                  </a:lnTo>
                  <a:cubicBezTo>
                    <a:pt x="0" y="126"/>
                    <a:pt x="0" y="0"/>
                    <a:pt x="0" y="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9" name="Freeform: Shape 4968">
              <a:extLst>
                <a:ext uri="{FF2B5EF4-FFF2-40B4-BE49-F238E27FC236}">
                  <a16:creationId xmlns:a16="http://schemas.microsoft.com/office/drawing/2014/main" id="{72E9ACDC-B09C-4D52-93D2-D7C03DAFDF61}"/>
                </a:ext>
              </a:extLst>
            </p:cNvPr>
            <p:cNvSpPr/>
            <p:nvPr/>
          </p:nvSpPr>
          <p:spPr>
            <a:xfrm>
              <a:off x="9671054" y="2521542"/>
              <a:ext cx="91307" cy="64932"/>
            </a:xfrm>
            <a:custGeom>
              <a:avLst/>
              <a:gdLst>
                <a:gd name="connsiteX0" fmla="*/ 91308 w 91307"/>
                <a:gd name="connsiteY0" fmla="*/ 12183 h 64932"/>
                <a:gd name="connsiteX1" fmla="*/ 0 w 91307"/>
                <a:gd name="connsiteY1" fmla="*/ 64932 h 64932"/>
                <a:gd name="connsiteX2" fmla="*/ 0 w 91307"/>
                <a:gd name="connsiteY2" fmla="*/ 52624 h 64932"/>
                <a:gd name="connsiteX3" fmla="*/ 91308 w 91307"/>
                <a:gd name="connsiteY3" fmla="*/ 0 h 64932"/>
              </a:gdLst>
              <a:ahLst/>
              <a:cxnLst>
                <a:cxn ang="0">
                  <a:pos x="connsiteX0" y="connsiteY0"/>
                </a:cxn>
                <a:cxn ang="0">
                  <a:pos x="connsiteX1" y="connsiteY1"/>
                </a:cxn>
                <a:cxn ang="0">
                  <a:pos x="connsiteX2" y="connsiteY2"/>
                </a:cxn>
                <a:cxn ang="0">
                  <a:pos x="connsiteX3" y="connsiteY3"/>
                </a:cxn>
              </a:cxnLst>
              <a:rect l="l" t="t" r="r" b="b"/>
              <a:pathLst>
                <a:path w="91307" h="64932">
                  <a:moveTo>
                    <a:pt x="91308" y="12183"/>
                  </a:moveTo>
                  <a:lnTo>
                    <a:pt x="0" y="64932"/>
                  </a:lnTo>
                  <a:lnTo>
                    <a:pt x="0" y="52624"/>
                  </a:lnTo>
                  <a:lnTo>
                    <a:pt x="91308" y="0"/>
                  </a:ln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70" name="Freeform: Shape 4969">
              <a:extLst>
                <a:ext uri="{FF2B5EF4-FFF2-40B4-BE49-F238E27FC236}">
                  <a16:creationId xmlns:a16="http://schemas.microsoft.com/office/drawing/2014/main" id="{42BC4A7C-A04F-4D7B-B704-3F2D1DC1D508}"/>
                </a:ext>
              </a:extLst>
            </p:cNvPr>
            <p:cNvSpPr/>
            <p:nvPr/>
          </p:nvSpPr>
          <p:spPr>
            <a:xfrm>
              <a:off x="9631492" y="2498684"/>
              <a:ext cx="130870" cy="75482"/>
            </a:xfrm>
            <a:custGeom>
              <a:avLst/>
              <a:gdLst>
                <a:gd name="connsiteX0" fmla="*/ 130870 w 130870"/>
                <a:gd name="connsiteY0" fmla="*/ 22858 h 75482"/>
                <a:gd name="connsiteX1" fmla="*/ 39563 w 130870"/>
                <a:gd name="connsiteY1" fmla="*/ 75482 h 75482"/>
                <a:gd name="connsiteX2" fmla="*/ 0 w 130870"/>
                <a:gd name="connsiteY2" fmla="*/ 52750 h 75482"/>
                <a:gd name="connsiteX3" fmla="*/ 91308 w 130870"/>
                <a:gd name="connsiteY3" fmla="*/ 0 h 75482"/>
              </a:gdLst>
              <a:ahLst/>
              <a:cxnLst>
                <a:cxn ang="0">
                  <a:pos x="connsiteX0" y="connsiteY0"/>
                </a:cxn>
                <a:cxn ang="0">
                  <a:pos x="connsiteX1" y="connsiteY1"/>
                </a:cxn>
                <a:cxn ang="0">
                  <a:pos x="connsiteX2" y="connsiteY2"/>
                </a:cxn>
                <a:cxn ang="0">
                  <a:pos x="connsiteX3" y="connsiteY3"/>
                </a:cxn>
              </a:cxnLst>
              <a:rect l="l" t="t" r="r" b="b"/>
              <a:pathLst>
                <a:path w="130870" h="75482">
                  <a:moveTo>
                    <a:pt x="130870" y="22858"/>
                  </a:moveTo>
                  <a:lnTo>
                    <a:pt x="39563" y="75482"/>
                  </a:lnTo>
                  <a:lnTo>
                    <a:pt x="0" y="52750"/>
                  </a:lnTo>
                  <a:lnTo>
                    <a:pt x="91308" y="0"/>
                  </a:lnTo>
                  <a:close/>
                </a:path>
              </a:pathLst>
            </a:custGeom>
            <a:solidFill>
              <a:srgbClr val="33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71" name="Freeform: Shape 4970">
              <a:extLst>
                <a:ext uri="{FF2B5EF4-FFF2-40B4-BE49-F238E27FC236}">
                  <a16:creationId xmlns:a16="http://schemas.microsoft.com/office/drawing/2014/main" id="{B42D57B5-9F57-4610-8FBD-56FC5E5E009E}"/>
                </a:ext>
              </a:extLst>
            </p:cNvPr>
            <p:cNvSpPr/>
            <p:nvPr/>
          </p:nvSpPr>
          <p:spPr>
            <a:xfrm>
              <a:off x="9671054" y="2586474"/>
              <a:ext cx="42702" cy="54131"/>
            </a:xfrm>
            <a:custGeom>
              <a:avLst/>
              <a:gdLst>
                <a:gd name="connsiteX0" fmla="*/ 20974 w 42702"/>
                <a:gd name="connsiteY0" fmla="*/ 12057 h 54131"/>
                <a:gd name="connsiteX1" fmla="*/ 42703 w 42702"/>
                <a:gd name="connsiteY1" fmla="*/ 49610 h 54131"/>
                <a:gd name="connsiteX2" fmla="*/ 42703 w 42702"/>
                <a:gd name="connsiteY2" fmla="*/ 54131 h 54131"/>
                <a:gd name="connsiteX3" fmla="*/ 0 w 42702"/>
                <a:gd name="connsiteY3" fmla="*/ 29515 h 54131"/>
                <a:gd name="connsiteX4" fmla="*/ 0 w 42702"/>
                <a:gd name="connsiteY4" fmla="*/ 0 h 54131"/>
                <a:gd name="connsiteX5" fmla="*/ 20974 w 42702"/>
                <a:gd name="connsiteY5" fmla="*/ 12057 h 5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02" h="54131">
                  <a:moveTo>
                    <a:pt x="20974" y="12057"/>
                  </a:moveTo>
                  <a:cubicBezTo>
                    <a:pt x="32906" y="18965"/>
                    <a:pt x="42703" y="35794"/>
                    <a:pt x="42703" y="49610"/>
                  </a:cubicBezTo>
                  <a:lnTo>
                    <a:pt x="42703" y="54131"/>
                  </a:lnTo>
                  <a:lnTo>
                    <a:pt x="0" y="29515"/>
                  </a:lnTo>
                  <a:lnTo>
                    <a:pt x="0" y="0"/>
                  </a:lnTo>
                  <a:lnTo>
                    <a:pt x="20974" y="12057"/>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72" name="Graphic 4">
              <a:extLst>
                <a:ext uri="{FF2B5EF4-FFF2-40B4-BE49-F238E27FC236}">
                  <a16:creationId xmlns:a16="http://schemas.microsoft.com/office/drawing/2014/main" id="{84FB7ED1-A2DF-40A1-A747-5F7CF3F14040}"/>
                </a:ext>
              </a:extLst>
            </p:cNvPr>
            <p:cNvGrpSpPr/>
            <p:nvPr/>
          </p:nvGrpSpPr>
          <p:grpSpPr>
            <a:xfrm>
              <a:off x="9671054" y="2533725"/>
              <a:ext cx="134009" cy="106881"/>
              <a:chOff x="9671054" y="2533725"/>
              <a:chExt cx="134009" cy="106881"/>
            </a:xfrm>
            <a:solidFill>
              <a:schemeClr val="accent1"/>
            </a:solidFill>
          </p:grpSpPr>
          <p:sp>
            <p:nvSpPr>
              <p:cNvPr id="4973" name="Freeform: Shape 4972">
                <a:extLst>
                  <a:ext uri="{FF2B5EF4-FFF2-40B4-BE49-F238E27FC236}">
                    <a16:creationId xmlns:a16="http://schemas.microsoft.com/office/drawing/2014/main" id="{618B94A9-13BF-4CAF-860D-78C6C91BB5D5}"/>
                  </a:ext>
                </a:extLst>
              </p:cNvPr>
              <p:cNvSpPr/>
              <p:nvPr/>
            </p:nvSpPr>
            <p:spPr>
              <a:xfrm>
                <a:off x="9692028" y="2545782"/>
                <a:ext cx="113035" cy="94824"/>
              </a:xfrm>
              <a:custGeom>
                <a:avLst/>
                <a:gdLst>
                  <a:gd name="connsiteX0" fmla="*/ 91308 w 113035"/>
                  <a:gd name="connsiteY0" fmla="*/ 0 h 94824"/>
                  <a:gd name="connsiteX1" fmla="*/ 0 w 113035"/>
                  <a:gd name="connsiteY1" fmla="*/ 52750 h 94824"/>
                  <a:gd name="connsiteX2" fmla="*/ 21728 w 113035"/>
                  <a:gd name="connsiteY2" fmla="*/ 90303 h 94824"/>
                  <a:gd name="connsiteX3" fmla="*/ 21728 w 113035"/>
                  <a:gd name="connsiteY3" fmla="*/ 94824 h 94824"/>
                  <a:gd name="connsiteX4" fmla="*/ 113035 w 113035"/>
                  <a:gd name="connsiteY4" fmla="*/ 42074 h 94824"/>
                  <a:gd name="connsiteX5" fmla="*/ 113035 w 113035"/>
                  <a:gd name="connsiteY5" fmla="*/ 37553 h 94824"/>
                  <a:gd name="connsiteX6" fmla="*/ 91308 w 113035"/>
                  <a:gd name="connsiteY6" fmla="*/ 0 h 9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035" h="94824">
                    <a:moveTo>
                      <a:pt x="91308" y="0"/>
                    </a:moveTo>
                    <a:lnTo>
                      <a:pt x="0" y="52750"/>
                    </a:lnTo>
                    <a:cubicBezTo>
                      <a:pt x="11932" y="59658"/>
                      <a:pt x="21728" y="76487"/>
                      <a:pt x="21728" y="90303"/>
                    </a:cubicBezTo>
                    <a:lnTo>
                      <a:pt x="21728" y="94824"/>
                    </a:lnTo>
                    <a:lnTo>
                      <a:pt x="113035" y="42074"/>
                    </a:lnTo>
                    <a:lnTo>
                      <a:pt x="113035" y="37553"/>
                    </a:lnTo>
                    <a:cubicBezTo>
                      <a:pt x="113035" y="23737"/>
                      <a:pt x="103239" y="6908"/>
                      <a:pt x="91308" y="0"/>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74" name="Freeform: Shape 4973">
                <a:extLst>
                  <a:ext uri="{FF2B5EF4-FFF2-40B4-BE49-F238E27FC236}">
                    <a16:creationId xmlns:a16="http://schemas.microsoft.com/office/drawing/2014/main" id="{40B86E77-F0BF-48EB-93AA-6E46C92D46BE}"/>
                  </a:ext>
                </a:extLst>
              </p:cNvPr>
              <p:cNvSpPr/>
              <p:nvPr/>
            </p:nvSpPr>
            <p:spPr>
              <a:xfrm>
                <a:off x="9671054" y="2533725"/>
                <a:ext cx="112281" cy="64806"/>
              </a:xfrm>
              <a:custGeom>
                <a:avLst/>
                <a:gdLst>
                  <a:gd name="connsiteX0" fmla="*/ 91308 w 112281"/>
                  <a:gd name="connsiteY0" fmla="*/ 0 h 64806"/>
                  <a:gd name="connsiteX1" fmla="*/ 0 w 112281"/>
                  <a:gd name="connsiteY1" fmla="*/ 52750 h 64806"/>
                  <a:gd name="connsiteX2" fmla="*/ 20974 w 112281"/>
                  <a:gd name="connsiteY2" fmla="*/ 64807 h 64806"/>
                  <a:gd name="connsiteX3" fmla="*/ 112282 w 112281"/>
                  <a:gd name="connsiteY3" fmla="*/ 12057 h 64806"/>
                </a:gdLst>
                <a:ahLst/>
                <a:cxnLst>
                  <a:cxn ang="0">
                    <a:pos x="connsiteX0" y="connsiteY0"/>
                  </a:cxn>
                  <a:cxn ang="0">
                    <a:pos x="connsiteX1" y="connsiteY1"/>
                  </a:cxn>
                  <a:cxn ang="0">
                    <a:pos x="connsiteX2" y="connsiteY2"/>
                  </a:cxn>
                  <a:cxn ang="0">
                    <a:pos x="connsiteX3" y="connsiteY3"/>
                  </a:cxn>
                </a:cxnLst>
                <a:rect l="l" t="t" r="r" b="b"/>
                <a:pathLst>
                  <a:path w="112281" h="64806">
                    <a:moveTo>
                      <a:pt x="91308" y="0"/>
                    </a:moveTo>
                    <a:lnTo>
                      <a:pt x="0" y="52750"/>
                    </a:lnTo>
                    <a:lnTo>
                      <a:pt x="20974" y="64807"/>
                    </a:lnTo>
                    <a:lnTo>
                      <a:pt x="112282" y="12057"/>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75" name="Graphic 4">
              <a:extLst>
                <a:ext uri="{FF2B5EF4-FFF2-40B4-BE49-F238E27FC236}">
                  <a16:creationId xmlns:a16="http://schemas.microsoft.com/office/drawing/2014/main" id="{84FB7ED1-A2DF-40A1-A747-5F7CF3F14040}"/>
                </a:ext>
              </a:extLst>
            </p:cNvPr>
            <p:cNvGrpSpPr/>
            <p:nvPr/>
          </p:nvGrpSpPr>
          <p:grpSpPr>
            <a:xfrm>
              <a:off x="9733600" y="2530836"/>
              <a:ext cx="59281" cy="43495"/>
              <a:chOff x="9733600" y="2530836"/>
              <a:chExt cx="59281" cy="43495"/>
            </a:xfrm>
            <a:solidFill>
              <a:schemeClr val="accent1"/>
            </a:solidFill>
          </p:grpSpPr>
          <p:sp>
            <p:nvSpPr>
              <p:cNvPr id="4976" name="Freeform: Shape 4975">
                <a:extLst>
                  <a:ext uri="{FF2B5EF4-FFF2-40B4-BE49-F238E27FC236}">
                    <a16:creationId xmlns:a16="http://schemas.microsoft.com/office/drawing/2014/main" id="{3AA15687-44D8-455C-8C1F-B3AEA466D213}"/>
                  </a:ext>
                </a:extLst>
              </p:cNvPr>
              <p:cNvSpPr/>
              <p:nvPr/>
            </p:nvSpPr>
            <p:spPr>
              <a:xfrm>
                <a:off x="9733726" y="2545154"/>
                <a:ext cx="34538" cy="29177"/>
              </a:xfrm>
              <a:custGeom>
                <a:avLst/>
                <a:gdLst>
                  <a:gd name="connsiteX0" fmla="*/ 3266 w 34538"/>
                  <a:gd name="connsiteY0" fmla="*/ 12308 h 29177"/>
                  <a:gd name="connsiteX1" fmla="*/ 31650 w 34538"/>
                  <a:gd name="connsiteY1" fmla="*/ 28761 h 29177"/>
                  <a:gd name="connsiteX2" fmla="*/ 33659 w 34538"/>
                  <a:gd name="connsiteY2" fmla="*/ 29012 h 29177"/>
                  <a:gd name="connsiteX3" fmla="*/ 34539 w 34538"/>
                  <a:gd name="connsiteY3" fmla="*/ 27129 h 29177"/>
                  <a:gd name="connsiteX4" fmla="*/ 34539 w 34538"/>
                  <a:gd name="connsiteY4" fmla="*/ 24365 h 29177"/>
                  <a:gd name="connsiteX5" fmla="*/ 30519 w 34538"/>
                  <a:gd name="connsiteY5" fmla="*/ 16202 h 29177"/>
                  <a:gd name="connsiteX6" fmla="*/ 16327 w 34538"/>
                  <a:gd name="connsiteY6" fmla="*/ 7285 h 29177"/>
                  <a:gd name="connsiteX7" fmla="*/ 0 w 34538"/>
                  <a:gd name="connsiteY7" fmla="*/ 0 h 29177"/>
                  <a:gd name="connsiteX8" fmla="*/ 3266 w 34538"/>
                  <a:gd name="connsiteY8" fmla="*/ 12308 h 29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38" h="29177">
                    <a:moveTo>
                      <a:pt x="3266" y="12308"/>
                    </a:moveTo>
                    <a:lnTo>
                      <a:pt x="31650" y="28761"/>
                    </a:lnTo>
                    <a:cubicBezTo>
                      <a:pt x="32404" y="29264"/>
                      <a:pt x="33157" y="29264"/>
                      <a:pt x="33659" y="29012"/>
                    </a:cubicBezTo>
                    <a:cubicBezTo>
                      <a:pt x="34162" y="28761"/>
                      <a:pt x="34539" y="28133"/>
                      <a:pt x="34539" y="27129"/>
                    </a:cubicBezTo>
                    <a:lnTo>
                      <a:pt x="34539" y="24365"/>
                    </a:lnTo>
                    <a:cubicBezTo>
                      <a:pt x="34539" y="21602"/>
                      <a:pt x="32906" y="18211"/>
                      <a:pt x="30519" y="16202"/>
                    </a:cubicBezTo>
                    <a:cubicBezTo>
                      <a:pt x="25747" y="12057"/>
                      <a:pt x="21226" y="9294"/>
                      <a:pt x="16327" y="7285"/>
                    </a:cubicBezTo>
                    <a:cubicBezTo>
                      <a:pt x="11304" y="5275"/>
                      <a:pt x="5150" y="3014"/>
                      <a:pt x="0" y="0"/>
                    </a:cubicBezTo>
                    <a:lnTo>
                      <a:pt x="3266" y="1230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77" name="Freeform: Shape 4976">
                <a:extLst>
                  <a:ext uri="{FF2B5EF4-FFF2-40B4-BE49-F238E27FC236}">
                    <a16:creationId xmlns:a16="http://schemas.microsoft.com/office/drawing/2014/main" id="{91AE2983-DA4D-4DFE-AB13-83D70BB3DCCC}"/>
                  </a:ext>
                </a:extLst>
              </p:cNvPr>
              <p:cNvSpPr/>
              <p:nvPr/>
            </p:nvSpPr>
            <p:spPr>
              <a:xfrm>
                <a:off x="9733600" y="2530836"/>
                <a:ext cx="59281" cy="43330"/>
              </a:xfrm>
              <a:custGeom>
                <a:avLst/>
                <a:gdLst>
                  <a:gd name="connsiteX0" fmla="*/ 34539 w 59281"/>
                  <a:gd name="connsiteY0" fmla="*/ 41446 h 43330"/>
                  <a:gd name="connsiteX1" fmla="*/ 34539 w 59281"/>
                  <a:gd name="connsiteY1" fmla="*/ 38683 h 43330"/>
                  <a:gd name="connsiteX2" fmla="*/ 30519 w 59281"/>
                  <a:gd name="connsiteY2" fmla="*/ 30520 h 43330"/>
                  <a:gd name="connsiteX3" fmla="*/ 16327 w 59281"/>
                  <a:gd name="connsiteY3" fmla="*/ 21602 h 43330"/>
                  <a:gd name="connsiteX4" fmla="*/ 0 w 59281"/>
                  <a:gd name="connsiteY4" fmla="*/ 14318 h 43330"/>
                  <a:gd name="connsiteX5" fmla="*/ 24743 w 59281"/>
                  <a:gd name="connsiteY5" fmla="*/ 0 h 43330"/>
                  <a:gd name="connsiteX6" fmla="*/ 41070 w 59281"/>
                  <a:gd name="connsiteY6" fmla="*/ 7285 h 43330"/>
                  <a:gd name="connsiteX7" fmla="*/ 55262 w 59281"/>
                  <a:gd name="connsiteY7" fmla="*/ 16202 h 43330"/>
                  <a:gd name="connsiteX8" fmla="*/ 59281 w 59281"/>
                  <a:gd name="connsiteY8" fmla="*/ 24365 h 43330"/>
                  <a:gd name="connsiteX9" fmla="*/ 59281 w 59281"/>
                  <a:gd name="connsiteY9" fmla="*/ 27129 h 43330"/>
                  <a:gd name="connsiteX10" fmla="*/ 58402 w 59281"/>
                  <a:gd name="connsiteY10" fmla="*/ 29012 h 43330"/>
                  <a:gd name="connsiteX11" fmla="*/ 33659 w 59281"/>
                  <a:gd name="connsiteY11" fmla="*/ 43330 h 43330"/>
                  <a:gd name="connsiteX12" fmla="*/ 34539 w 59281"/>
                  <a:gd name="connsiteY12" fmla="*/ 41446 h 4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281" h="43330">
                    <a:moveTo>
                      <a:pt x="34539" y="41446"/>
                    </a:moveTo>
                    <a:lnTo>
                      <a:pt x="34539" y="38683"/>
                    </a:lnTo>
                    <a:cubicBezTo>
                      <a:pt x="34539" y="35920"/>
                      <a:pt x="32906" y="32529"/>
                      <a:pt x="30519" y="30520"/>
                    </a:cubicBezTo>
                    <a:cubicBezTo>
                      <a:pt x="25747" y="26375"/>
                      <a:pt x="21226" y="23612"/>
                      <a:pt x="16327" y="21602"/>
                    </a:cubicBezTo>
                    <a:cubicBezTo>
                      <a:pt x="11304" y="19593"/>
                      <a:pt x="5150" y="17332"/>
                      <a:pt x="0" y="14318"/>
                    </a:cubicBezTo>
                    <a:lnTo>
                      <a:pt x="24743" y="0"/>
                    </a:lnTo>
                    <a:cubicBezTo>
                      <a:pt x="29892" y="3014"/>
                      <a:pt x="36046" y="5149"/>
                      <a:pt x="41070" y="7285"/>
                    </a:cubicBezTo>
                    <a:cubicBezTo>
                      <a:pt x="45968" y="9294"/>
                      <a:pt x="50364" y="12057"/>
                      <a:pt x="55262" y="16202"/>
                    </a:cubicBezTo>
                    <a:cubicBezTo>
                      <a:pt x="57648" y="18211"/>
                      <a:pt x="59281" y="21602"/>
                      <a:pt x="59281" y="24365"/>
                    </a:cubicBezTo>
                    <a:lnTo>
                      <a:pt x="59281" y="27129"/>
                    </a:lnTo>
                    <a:cubicBezTo>
                      <a:pt x="59281" y="28008"/>
                      <a:pt x="58904" y="28636"/>
                      <a:pt x="58402" y="29012"/>
                    </a:cubicBezTo>
                    <a:cubicBezTo>
                      <a:pt x="57900" y="29264"/>
                      <a:pt x="33659" y="43330"/>
                      <a:pt x="33659" y="43330"/>
                    </a:cubicBezTo>
                    <a:cubicBezTo>
                      <a:pt x="34288" y="42953"/>
                      <a:pt x="34539" y="42325"/>
                      <a:pt x="34539" y="41446"/>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78" name="Freeform: Shape 4977">
              <a:extLst>
                <a:ext uri="{FF2B5EF4-FFF2-40B4-BE49-F238E27FC236}">
                  <a16:creationId xmlns:a16="http://schemas.microsoft.com/office/drawing/2014/main" id="{A9ADA294-ECD2-41DC-A21D-C85ECBAA9709}"/>
                </a:ext>
              </a:extLst>
            </p:cNvPr>
            <p:cNvSpPr/>
            <p:nvPr/>
          </p:nvSpPr>
          <p:spPr>
            <a:xfrm>
              <a:off x="9763743" y="2561104"/>
              <a:ext cx="26248" cy="17708"/>
            </a:xfrm>
            <a:custGeom>
              <a:avLst/>
              <a:gdLst>
                <a:gd name="connsiteX0" fmla="*/ 3642 w 26248"/>
                <a:gd name="connsiteY0" fmla="*/ 13062 h 17708"/>
                <a:gd name="connsiteX1" fmla="*/ 26249 w 26248"/>
                <a:gd name="connsiteY1" fmla="*/ 0 h 17708"/>
                <a:gd name="connsiteX2" fmla="*/ 26249 w 26248"/>
                <a:gd name="connsiteY2" fmla="*/ 0 h 17708"/>
                <a:gd name="connsiteX3" fmla="*/ 24742 w 26248"/>
                <a:gd name="connsiteY3" fmla="*/ 3391 h 17708"/>
                <a:gd name="connsiteX4" fmla="*/ 24742 w 26248"/>
                <a:gd name="connsiteY4" fmla="*/ 3391 h 17708"/>
                <a:gd name="connsiteX5" fmla="*/ 0 w 26248"/>
                <a:gd name="connsiteY5" fmla="*/ 17709 h 17708"/>
                <a:gd name="connsiteX6" fmla="*/ 1633 w 26248"/>
                <a:gd name="connsiteY6" fmla="*/ 12936 h 17708"/>
                <a:gd name="connsiteX7" fmla="*/ 1633 w 26248"/>
                <a:gd name="connsiteY7" fmla="*/ 12936 h 17708"/>
                <a:gd name="connsiteX8" fmla="*/ 3642 w 26248"/>
                <a:gd name="connsiteY8" fmla="*/ 13062 h 1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48" h="17708">
                  <a:moveTo>
                    <a:pt x="3642" y="13062"/>
                  </a:moveTo>
                  <a:cubicBezTo>
                    <a:pt x="3642" y="13062"/>
                    <a:pt x="20221" y="3517"/>
                    <a:pt x="26249" y="0"/>
                  </a:cubicBezTo>
                  <a:lnTo>
                    <a:pt x="26249" y="0"/>
                  </a:lnTo>
                  <a:cubicBezTo>
                    <a:pt x="26124" y="1633"/>
                    <a:pt x="25621" y="2889"/>
                    <a:pt x="24742" y="3391"/>
                  </a:cubicBezTo>
                  <a:lnTo>
                    <a:pt x="24742" y="3391"/>
                  </a:lnTo>
                  <a:lnTo>
                    <a:pt x="0" y="17709"/>
                  </a:lnTo>
                  <a:lnTo>
                    <a:pt x="1633" y="12936"/>
                  </a:lnTo>
                  <a:lnTo>
                    <a:pt x="1633" y="12936"/>
                  </a:lnTo>
                  <a:cubicBezTo>
                    <a:pt x="2386" y="13313"/>
                    <a:pt x="3140" y="13313"/>
                    <a:pt x="3642" y="13062"/>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79" name="Graphic 4">
              <a:extLst>
                <a:ext uri="{FF2B5EF4-FFF2-40B4-BE49-F238E27FC236}">
                  <a16:creationId xmlns:a16="http://schemas.microsoft.com/office/drawing/2014/main" id="{84FB7ED1-A2DF-40A1-A747-5F7CF3F14040}"/>
                </a:ext>
              </a:extLst>
            </p:cNvPr>
            <p:cNvGrpSpPr/>
            <p:nvPr/>
          </p:nvGrpSpPr>
          <p:grpSpPr>
            <a:xfrm>
              <a:off x="9724664" y="2491852"/>
              <a:ext cx="42470" cy="57697"/>
              <a:chOff x="9724664" y="2491852"/>
              <a:chExt cx="42470" cy="57697"/>
            </a:xfrm>
            <a:solidFill>
              <a:schemeClr val="accent1"/>
            </a:solidFill>
          </p:grpSpPr>
          <p:sp>
            <p:nvSpPr>
              <p:cNvPr id="4980" name="Freeform: Shape 4979">
                <a:extLst>
                  <a:ext uri="{FF2B5EF4-FFF2-40B4-BE49-F238E27FC236}">
                    <a16:creationId xmlns:a16="http://schemas.microsoft.com/office/drawing/2014/main" id="{A95FE1E2-EE36-44FC-8BC0-DD03D732AB87}"/>
                  </a:ext>
                </a:extLst>
              </p:cNvPr>
              <p:cNvSpPr/>
              <p:nvPr/>
            </p:nvSpPr>
            <p:spPr>
              <a:xfrm>
                <a:off x="9724664" y="2506044"/>
                <a:ext cx="17853" cy="43379"/>
              </a:xfrm>
              <a:custGeom>
                <a:avLst/>
                <a:gdLst>
                  <a:gd name="connsiteX0" fmla="*/ 3662 w 17853"/>
                  <a:gd name="connsiteY0" fmla="*/ 175 h 43379"/>
                  <a:gd name="connsiteX1" fmla="*/ 3662 w 17853"/>
                  <a:gd name="connsiteY1" fmla="*/ 175 h 43379"/>
                  <a:gd name="connsiteX2" fmla="*/ 8560 w 17853"/>
                  <a:gd name="connsiteY2" fmla="*/ 5324 h 43379"/>
                  <a:gd name="connsiteX3" fmla="*/ 12202 w 17853"/>
                  <a:gd name="connsiteY3" fmla="*/ 15623 h 43379"/>
                  <a:gd name="connsiteX4" fmla="*/ 15090 w 17853"/>
                  <a:gd name="connsiteY4" fmla="*/ 29564 h 43379"/>
                  <a:gd name="connsiteX5" fmla="*/ 16473 w 17853"/>
                  <a:gd name="connsiteY5" fmla="*/ 37602 h 43379"/>
                  <a:gd name="connsiteX6" fmla="*/ 17854 w 17853"/>
                  <a:gd name="connsiteY6" fmla="*/ 43380 h 43379"/>
                  <a:gd name="connsiteX7" fmla="*/ 9188 w 17853"/>
                  <a:gd name="connsiteY7" fmla="*/ 39235 h 43379"/>
                  <a:gd name="connsiteX8" fmla="*/ 270 w 17853"/>
                  <a:gd name="connsiteY8" fmla="*/ 5324 h 43379"/>
                  <a:gd name="connsiteX9" fmla="*/ 1401 w 17853"/>
                  <a:gd name="connsiteY9" fmla="*/ 301 h 43379"/>
                  <a:gd name="connsiteX10" fmla="*/ 3662 w 17853"/>
                  <a:gd name="connsiteY10" fmla="*/ 175 h 43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53" h="43379">
                    <a:moveTo>
                      <a:pt x="3662" y="175"/>
                    </a:moveTo>
                    <a:lnTo>
                      <a:pt x="3662" y="175"/>
                    </a:lnTo>
                    <a:cubicBezTo>
                      <a:pt x="5546" y="803"/>
                      <a:pt x="7429" y="2813"/>
                      <a:pt x="8560" y="5324"/>
                    </a:cubicBezTo>
                    <a:cubicBezTo>
                      <a:pt x="9816" y="8339"/>
                      <a:pt x="11072" y="11855"/>
                      <a:pt x="12202" y="15623"/>
                    </a:cubicBezTo>
                    <a:cubicBezTo>
                      <a:pt x="13835" y="21149"/>
                      <a:pt x="14588" y="25796"/>
                      <a:pt x="15090" y="29564"/>
                    </a:cubicBezTo>
                    <a:cubicBezTo>
                      <a:pt x="15342" y="32202"/>
                      <a:pt x="15844" y="34839"/>
                      <a:pt x="16473" y="37602"/>
                    </a:cubicBezTo>
                    <a:lnTo>
                      <a:pt x="17854" y="43380"/>
                    </a:lnTo>
                    <a:cubicBezTo>
                      <a:pt x="14840" y="42124"/>
                      <a:pt x="11826" y="40742"/>
                      <a:pt x="9188" y="39235"/>
                    </a:cubicBezTo>
                    <a:lnTo>
                      <a:pt x="270" y="5324"/>
                    </a:lnTo>
                    <a:cubicBezTo>
                      <a:pt x="-358" y="2938"/>
                      <a:pt x="145" y="1054"/>
                      <a:pt x="1401" y="301"/>
                    </a:cubicBezTo>
                    <a:cubicBezTo>
                      <a:pt x="1903" y="-76"/>
                      <a:pt x="2657" y="-76"/>
                      <a:pt x="3662" y="175"/>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81" name="Freeform: Shape 4980">
                <a:extLst>
                  <a:ext uri="{FF2B5EF4-FFF2-40B4-BE49-F238E27FC236}">
                    <a16:creationId xmlns:a16="http://schemas.microsoft.com/office/drawing/2014/main" id="{085DE0F8-33CB-4FB3-B77A-E7075C9B0DDF}"/>
                  </a:ext>
                </a:extLst>
              </p:cNvPr>
              <p:cNvSpPr/>
              <p:nvPr/>
            </p:nvSpPr>
            <p:spPr>
              <a:xfrm>
                <a:off x="9725814" y="2491852"/>
                <a:ext cx="41321" cy="57697"/>
              </a:xfrm>
              <a:custGeom>
                <a:avLst/>
                <a:gdLst>
                  <a:gd name="connsiteX0" fmla="*/ 13816 w 41321"/>
                  <a:gd name="connsiteY0" fmla="*/ 43882 h 57697"/>
                  <a:gd name="connsiteX1" fmla="*/ 10927 w 41321"/>
                  <a:gd name="connsiteY1" fmla="*/ 29941 h 57697"/>
                  <a:gd name="connsiteX2" fmla="*/ 7285 w 41321"/>
                  <a:gd name="connsiteY2" fmla="*/ 19642 h 57697"/>
                  <a:gd name="connsiteX3" fmla="*/ 2386 w 41321"/>
                  <a:gd name="connsiteY3" fmla="*/ 14493 h 57697"/>
                  <a:gd name="connsiteX4" fmla="*/ 2386 w 41321"/>
                  <a:gd name="connsiteY4" fmla="*/ 14493 h 57697"/>
                  <a:gd name="connsiteX5" fmla="*/ 0 w 41321"/>
                  <a:gd name="connsiteY5" fmla="*/ 14619 h 57697"/>
                  <a:gd name="connsiteX6" fmla="*/ 24743 w 41321"/>
                  <a:gd name="connsiteY6" fmla="*/ 301 h 57697"/>
                  <a:gd name="connsiteX7" fmla="*/ 27129 w 41321"/>
                  <a:gd name="connsiteY7" fmla="*/ 175 h 57697"/>
                  <a:gd name="connsiteX8" fmla="*/ 27129 w 41321"/>
                  <a:gd name="connsiteY8" fmla="*/ 175 h 57697"/>
                  <a:gd name="connsiteX9" fmla="*/ 32027 w 41321"/>
                  <a:gd name="connsiteY9" fmla="*/ 5324 h 57697"/>
                  <a:gd name="connsiteX10" fmla="*/ 35669 w 41321"/>
                  <a:gd name="connsiteY10" fmla="*/ 15623 h 57697"/>
                  <a:gd name="connsiteX11" fmla="*/ 38558 w 41321"/>
                  <a:gd name="connsiteY11" fmla="*/ 29564 h 57697"/>
                  <a:gd name="connsiteX12" fmla="*/ 39939 w 41321"/>
                  <a:gd name="connsiteY12" fmla="*/ 37602 h 57697"/>
                  <a:gd name="connsiteX13" fmla="*/ 41321 w 41321"/>
                  <a:gd name="connsiteY13" fmla="*/ 43380 h 57697"/>
                  <a:gd name="connsiteX14" fmla="*/ 16579 w 41321"/>
                  <a:gd name="connsiteY14" fmla="*/ 57698 h 57697"/>
                  <a:gd name="connsiteX15" fmla="*/ 15197 w 41321"/>
                  <a:gd name="connsiteY15" fmla="*/ 51920 h 57697"/>
                  <a:gd name="connsiteX16" fmla="*/ 13816 w 41321"/>
                  <a:gd name="connsiteY16" fmla="*/ 43882 h 57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321" h="57697">
                    <a:moveTo>
                      <a:pt x="13816" y="43882"/>
                    </a:moveTo>
                    <a:cubicBezTo>
                      <a:pt x="13439" y="40114"/>
                      <a:pt x="12559" y="35467"/>
                      <a:pt x="10927" y="29941"/>
                    </a:cubicBezTo>
                    <a:cubicBezTo>
                      <a:pt x="9797" y="26048"/>
                      <a:pt x="8540" y="22657"/>
                      <a:pt x="7285" y="19642"/>
                    </a:cubicBezTo>
                    <a:cubicBezTo>
                      <a:pt x="6280" y="17130"/>
                      <a:pt x="4271" y="15121"/>
                      <a:pt x="2386" y="14493"/>
                    </a:cubicBezTo>
                    <a:lnTo>
                      <a:pt x="2386" y="14493"/>
                    </a:lnTo>
                    <a:cubicBezTo>
                      <a:pt x="1507" y="14116"/>
                      <a:pt x="628" y="14242"/>
                      <a:pt x="0" y="14619"/>
                    </a:cubicBezTo>
                    <a:cubicBezTo>
                      <a:pt x="0" y="14619"/>
                      <a:pt x="23486" y="1054"/>
                      <a:pt x="24743" y="301"/>
                    </a:cubicBezTo>
                    <a:cubicBezTo>
                      <a:pt x="25370" y="-76"/>
                      <a:pt x="26124" y="-76"/>
                      <a:pt x="27129" y="175"/>
                    </a:cubicBezTo>
                    <a:lnTo>
                      <a:pt x="27129" y="175"/>
                    </a:lnTo>
                    <a:cubicBezTo>
                      <a:pt x="29012" y="803"/>
                      <a:pt x="30897" y="2813"/>
                      <a:pt x="32027" y="5324"/>
                    </a:cubicBezTo>
                    <a:cubicBezTo>
                      <a:pt x="33283" y="8339"/>
                      <a:pt x="34539" y="11855"/>
                      <a:pt x="35669" y="15623"/>
                    </a:cubicBezTo>
                    <a:cubicBezTo>
                      <a:pt x="37302" y="21149"/>
                      <a:pt x="38056" y="25796"/>
                      <a:pt x="38558" y="29564"/>
                    </a:cubicBezTo>
                    <a:cubicBezTo>
                      <a:pt x="38809" y="32202"/>
                      <a:pt x="39311" y="34839"/>
                      <a:pt x="39939" y="37602"/>
                    </a:cubicBezTo>
                    <a:lnTo>
                      <a:pt x="41321" y="43380"/>
                    </a:lnTo>
                    <a:lnTo>
                      <a:pt x="16579" y="57698"/>
                    </a:lnTo>
                    <a:lnTo>
                      <a:pt x="15197" y="51920"/>
                    </a:lnTo>
                    <a:cubicBezTo>
                      <a:pt x="14569" y="49157"/>
                      <a:pt x="14067" y="46394"/>
                      <a:pt x="13816" y="43882"/>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82" name="Freeform: Shape 4981">
              <a:extLst>
                <a:ext uri="{FF2B5EF4-FFF2-40B4-BE49-F238E27FC236}">
                  <a16:creationId xmlns:a16="http://schemas.microsoft.com/office/drawing/2014/main" id="{06009A37-1BC0-451A-97D4-54D4EF5FC6A4}"/>
                </a:ext>
              </a:extLst>
            </p:cNvPr>
            <p:cNvSpPr/>
            <p:nvPr/>
          </p:nvSpPr>
          <p:spPr>
            <a:xfrm>
              <a:off x="9749927" y="2565123"/>
              <a:ext cx="15448" cy="13564"/>
            </a:xfrm>
            <a:custGeom>
              <a:avLst/>
              <a:gdLst>
                <a:gd name="connsiteX0" fmla="*/ 15449 w 15448"/>
                <a:gd name="connsiteY0" fmla="*/ 8792 h 13564"/>
                <a:gd name="connsiteX1" fmla="*/ 13816 w 15448"/>
                <a:gd name="connsiteY1" fmla="*/ 13564 h 13564"/>
                <a:gd name="connsiteX2" fmla="*/ 13816 w 15448"/>
                <a:gd name="connsiteY2" fmla="*/ 13564 h 13564"/>
                <a:gd name="connsiteX3" fmla="*/ 0 w 15448"/>
                <a:gd name="connsiteY3" fmla="*/ 0 h 13564"/>
                <a:gd name="connsiteX4" fmla="*/ 15449 w 15448"/>
                <a:gd name="connsiteY4" fmla="*/ 8792 h 1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48" h="13564">
                  <a:moveTo>
                    <a:pt x="15449" y="8792"/>
                  </a:moveTo>
                  <a:cubicBezTo>
                    <a:pt x="15449" y="11052"/>
                    <a:pt x="15072" y="12936"/>
                    <a:pt x="13816" y="13564"/>
                  </a:cubicBezTo>
                  <a:lnTo>
                    <a:pt x="13816" y="13564"/>
                  </a:lnTo>
                  <a:cubicBezTo>
                    <a:pt x="10048" y="7912"/>
                    <a:pt x="5276" y="3014"/>
                    <a:pt x="0" y="0"/>
                  </a:cubicBezTo>
                  <a:lnTo>
                    <a:pt x="15449" y="8792"/>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83" name="Graphic 4">
              <a:extLst>
                <a:ext uri="{FF2B5EF4-FFF2-40B4-BE49-F238E27FC236}">
                  <a16:creationId xmlns:a16="http://schemas.microsoft.com/office/drawing/2014/main" id="{84FB7ED1-A2DF-40A1-A747-5F7CF3F14040}"/>
                </a:ext>
              </a:extLst>
            </p:cNvPr>
            <p:cNvGrpSpPr/>
            <p:nvPr/>
          </p:nvGrpSpPr>
          <p:grpSpPr>
            <a:xfrm>
              <a:off x="9684116" y="2559346"/>
              <a:ext cx="59281" cy="43620"/>
              <a:chOff x="9684116" y="2559346"/>
              <a:chExt cx="59281" cy="43620"/>
            </a:xfrm>
            <a:solidFill>
              <a:schemeClr val="accent1"/>
            </a:solidFill>
          </p:grpSpPr>
          <p:sp>
            <p:nvSpPr>
              <p:cNvPr id="4984" name="Freeform: Shape 4983">
                <a:extLst>
                  <a:ext uri="{FF2B5EF4-FFF2-40B4-BE49-F238E27FC236}">
                    <a16:creationId xmlns:a16="http://schemas.microsoft.com/office/drawing/2014/main" id="{CD909028-E8BC-4514-93F0-BB0F7E8E0BEF}"/>
                  </a:ext>
                </a:extLst>
              </p:cNvPr>
              <p:cNvSpPr/>
              <p:nvPr/>
            </p:nvSpPr>
            <p:spPr>
              <a:xfrm>
                <a:off x="9684242" y="2573789"/>
                <a:ext cx="34538" cy="29177"/>
              </a:xfrm>
              <a:custGeom>
                <a:avLst/>
                <a:gdLst>
                  <a:gd name="connsiteX0" fmla="*/ 3266 w 34538"/>
                  <a:gd name="connsiteY0" fmla="*/ 12308 h 29177"/>
                  <a:gd name="connsiteX1" fmla="*/ 31650 w 34538"/>
                  <a:gd name="connsiteY1" fmla="*/ 28761 h 29177"/>
                  <a:gd name="connsiteX2" fmla="*/ 33659 w 34538"/>
                  <a:gd name="connsiteY2" fmla="*/ 29012 h 29177"/>
                  <a:gd name="connsiteX3" fmla="*/ 34539 w 34538"/>
                  <a:gd name="connsiteY3" fmla="*/ 27128 h 29177"/>
                  <a:gd name="connsiteX4" fmla="*/ 34539 w 34538"/>
                  <a:gd name="connsiteY4" fmla="*/ 24365 h 29177"/>
                  <a:gd name="connsiteX5" fmla="*/ 30519 w 34538"/>
                  <a:gd name="connsiteY5" fmla="*/ 16202 h 29177"/>
                  <a:gd name="connsiteX6" fmla="*/ 16327 w 34538"/>
                  <a:gd name="connsiteY6" fmla="*/ 7284 h 29177"/>
                  <a:gd name="connsiteX7" fmla="*/ 0 w 34538"/>
                  <a:gd name="connsiteY7" fmla="*/ 0 h 29177"/>
                  <a:gd name="connsiteX8" fmla="*/ 3266 w 34538"/>
                  <a:gd name="connsiteY8" fmla="*/ 12308 h 29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38" h="29177">
                    <a:moveTo>
                      <a:pt x="3266" y="12308"/>
                    </a:moveTo>
                    <a:lnTo>
                      <a:pt x="31650" y="28761"/>
                    </a:lnTo>
                    <a:cubicBezTo>
                      <a:pt x="32404" y="29264"/>
                      <a:pt x="33157" y="29264"/>
                      <a:pt x="33659" y="29012"/>
                    </a:cubicBezTo>
                    <a:cubicBezTo>
                      <a:pt x="34162" y="28761"/>
                      <a:pt x="34539" y="28133"/>
                      <a:pt x="34539" y="27128"/>
                    </a:cubicBezTo>
                    <a:lnTo>
                      <a:pt x="34539" y="24365"/>
                    </a:lnTo>
                    <a:cubicBezTo>
                      <a:pt x="34539" y="21602"/>
                      <a:pt x="32906" y="18211"/>
                      <a:pt x="30519" y="16202"/>
                    </a:cubicBezTo>
                    <a:cubicBezTo>
                      <a:pt x="25747" y="12057"/>
                      <a:pt x="21226" y="9294"/>
                      <a:pt x="16327" y="7284"/>
                    </a:cubicBezTo>
                    <a:cubicBezTo>
                      <a:pt x="11304" y="5275"/>
                      <a:pt x="5150" y="3014"/>
                      <a:pt x="0" y="0"/>
                    </a:cubicBezTo>
                    <a:lnTo>
                      <a:pt x="3266" y="1230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85" name="Freeform: Shape 4984">
                <a:extLst>
                  <a:ext uri="{FF2B5EF4-FFF2-40B4-BE49-F238E27FC236}">
                    <a16:creationId xmlns:a16="http://schemas.microsoft.com/office/drawing/2014/main" id="{3DB2096F-E1D9-4CAE-8B68-BC8B6B3913F2}"/>
                  </a:ext>
                </a:extLst>
              </p:cNvPr>
              <p:cNvSpPr/>
              <p:nvPr/>
            </p:nvSpPr>
            <p:spPr>
              <a:xfrm>
                <a:off x="9684116" y="2559346"/>
                <a:ext cx="59281" cy="43330"/>
              </a:xfrm>
              <a:custGeom>
                <a:avLst/>
                <a:gdLst>
                  <a:gd name="connsiteX0" fmla="*/ 34539 w 59281"/>
                  <a:gd name="connsiteY0" fmla="*/ 41446 h 43330"/>
                  <a:gd name="connsiteX1" fmla="*/ 34539 w 59281"/>
                  <a:gd name="connsiteY1" fmla="*/ 38683 h 43330"/>
                  <a:gd name="connsiteX2" fmla="*/ 30519 w 59281"/>
                  <a:gd name="connsiteY2" fmla="*/ 30520 h 43330"/>
                  <a:gd name="connsiteX3" fmla="*/ 16328 w 59281"/>
                  <a:gd name="connsiteY3" fmla="*/ 21602 h 43330"/>
                  <a:gd name="connsiteX4" fmla="*/ 0 w 59281"/>
                  <a:gd name="connsiteY4" fmla="*/ 14318 h 43330"/>
                  <a:gd name="connsiteX5" fmla="*/ 24743 w 59281"/>
                  <a:gd name="connsiteY5" fmla="*/ 0 h 43330"/>
                  <a:gd name="connsiteX6" fmla="*/ 41070 w 59281"/>
                  <a:gd name="connsiteY6" fmla="*/ 7284 h 43330"/>
                  <a:gd name="connsiteX7" fmla="*/ 55262 w 59281"/>
                  <a:gd name="connsiteY7" fmla="*/ 16202 h 43330"/>
                  <a:gd name="connsiteX8" fmla="*/ 59281 w 59281"/>
                  <a:gd name="connsiteY8" fmla="*/ 24365 h 43330"/>
                  <a:gd name="connsiteX9" fmla="*/ 59281 w 59281"/>
                  <a:gd name="connsiteY9" fmla="*/ 27128 h 43330"/>
                  <a:gd name="connsiteX10" fmla="*/ 58402 w 59281"/>
                  <a:gd name="connsiteY10" fmla="*/ 29012 h 43330"/>
                  <a:gd name="connsiteX11" fmla="*/ 33659 w 59281"/>
                  <a:gd name="connsiteY11" fmla="*/ 43330 h 43330"/>
                  <a:gd name="connsiteX12" fmla="*/ 34539 w 59281"/>
                  <a:gd name="connsiteY12" fmla="*/ 41446 h 4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281" h="43330">
                    <a:moveTo>
                      <a:pt x="34539" y="41446"/>
                    </a:moveTo>
                    <a:lnTo>
                      <a:pt x="34539" y="38683"/>
                    </a:lnTo>
                    <a:cubicBezTo>
                      <a:pt x="34539" y="35920"/>
                      <a:pt x="32906" y="32529"/>
                      <a:pt x="30519" y="30520"/>
                    </a:cubicBezTo>
                    <a:cubicBezTo>
                      <a:pt x="25748" y="26375"/>
                      <a:pt x="21226" y="23612"/>
                      <a:pt x="16328" y="21602"/>
                    </a:cubicBezTo>
                    <a:cubicBezTo>
                      <a:pt x="11304" y="19593"/>
                      <a:pt x="5150" y="17332"/>
                      <a:pt x="0" y="14318"/>
                    </a:cubicBezTo>
                    <a:lnTo>
                      <a:pt x="24743" y="0"/>
                    </a:lnTo>
                    <a:cubicBezTo>
                      <a:pt x="29892" y="3014"/>
                      <a:pt x="36046" y="5149"/>
                      <a:pt x="41070" y="7284"/>
                    </a:cubicBezTo>
                    <a:cubicBezTo>
                      <a:pt x="45968" y="9294"/>
                      <a:pt x="50364" y="12057"/>
                      <a:pt x="55262" y="16202"/>
                    </a:cubicBezTo>
                    <a:cubicBezTo>
                      <a:pt x="57648" y="18211"/>
                      <a:pt x="59281" y="21602"/>
                      <a:pt x="59281" y="24365"/>
                    </a:cubicBezTo>
                    <a:lnTo>
                      <a:pt x="59281" y="27128"/>
                    </a:lnTo>
                    <a:cubicBezTo>
                      <a:pt x="59281" y="28008"/>
                      <a:pt x="58904" y="28636"/>
                      <a:pt x="58402" y="29012"/>
                    </a:cubicBezTo>
                    <a:cubicBezTo>
                      <a:pt x="57900" y="29264"/>
                      <a:pt x="33659" y="43330"/>
                      <a:pt x="33659" y="43330"/>
                    </a:cubicBezTo>
                    <a:cubicBezTo>
                      <a:pt x="34288" y="43079"/>
                      <a:pt x="34539" y="42451"/>
                      <a:pt x="34539" y="41446"/>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86" name="Freeform: Shape 4985">
              <a:extLst>
                <a:ext uri="{FF2B5EF4-FFF2-40B4-BE49-F238E27FC236}">
                  <a16:creationId xmlns:a16="http://schemas.microsoft.com/office/drawing/2014/main" id="{B05F50C7-1524-4EC1-BD2B-D2DDEE069BF5}"/>
                </a:ext>
              </a:extLst>
            </p:cNvPr>
            <p:cNvSpPr/>
            <p:nvPr/>
          </p:nvSpPr>
          <p:spPr>
            <a:xfrm>
              <a:off x="9714259" y="2589614"/>
              <a:ext cx="26248" cy="17708"/>
            </a:xfrm>
            <a:custGeom>
              <a:avLst/>
              <a:gdLst>
                <a:gd name="connsiteX0" fmla="*/ 3642 w 26248"/>
                <a:gd name="connsiteY0" fmla="*/ 13062 h 17708"/>
                <a:gd name="connsiteX1" fmla="*/ 26249 w 26248"/>
                <a:gd name="connsiteY1" fmla="*/ 0 h 17708"/>
                <a:gd name="connsiteX2" fmla="*/ 26249 w 26248"/>
                <a:gd name="connsiteY2" fmla="*/ 0 h 17708"/>
                <a:gd name="connsiteX3" fmla="*/ 24742 w 26248"/>
                <a:gd name="connsiteY3" fmla="*/ 3391 h 17708"/>
                <a:gd name="connsiteX4" fmla="*/ 24742 w 26248"/>
                <a:gd name="connsiteY4" fmla="*/ 3391 h 17708"/>
                <a:gd name="connsiteX5" fmla="*/ 0 w 26248"/>
                <a:gd name="connsiteY5" fmla="*/ 17709 h 17708"/>
                <a:gd name="connsiteX6" fmla="*/ 1633 w 26248"/>
                <a:gd name="connsiteY6" fmla="*/ 12936 h 17708"/>
                <a:gd name="connsiteX7" fmla="*/ 1633 w 26248"/>
                <a:gd name="connsiteY7" fmla="*/ 12936 h 17708"/>
                <a:gd name="connsiteX8" fmla="*/ 3642 w 26248"/>
                <a:gd name="connsiteY8" fmla="*/ 13062 h 1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48" h="17708">
                  <a:moveTo>
                    <a:pt x="3642" y="13062"/>
                  </a:moveTo>
                  <a:cubicBezTo>
                    <a:pt x="3642" y="13062"/>
                    <a:pt x="20221" y="3517"/>
                    <a:pt x="26249" y="0"/>
                  </a:cubicBezTo>
                  <a:lnTo>
                    <a:pt x="26249" y="0"/>
                  </a:lnTo>
                  <a:cubicBezTo>
                    <a:pt x="26124" y="1633"/>
                    <a:pt x="25621" y="2889"/>
                    <a:pt x="24742" y="3391"/>
                  </a:cubicBezTo>
                  <a:lnTo>
                    <a:pt x="24742" y="3391"/>
                  </a:lnTo>
                  <a:lnTo>
                    <a:pt x="0" y="17709"/>
                  </a:lnTo>
                  <a:lnTo>
                    <a:pt x="1633" y="12936"/>
                  </a:lnTo>
                  <a:lnTo>
                    <a:pt x="1633" y="12936"/>
                  </a:lnTo>
                  <a:cubicBezTo>
                    <a:pt x="2386" y="13313"/>
                    <a:pt x="3140" y="13313"/>
                    <a:pt x="3642" y="13062"/>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87" name="Graphic 4">
              <a:extLst>
                <a:ext uri="{FF2B5EF4-FFF2-40B4-BE49-F238E27FC236}">
                  <a16:creationId xmlns:a16="http://schemas.microsoft.com/office/drawing/2014/main" id="{84FB7ED1-A2DF-40A1-A747-5F7CF3F14040}"/>
                </a:ext>
              </a:extLst>
            </p:cNvPr>
            <p:cNvGrpSpPr/>
            <p:nvPr/>
          </p:nvGrpSpPr>
          <p:grpSpPr>
            <a:xfrm>
              <a:off x="9675180" y="2520362"/>
              <a:ext cx="42470" cy="57697"/>
              <a:chOff x="9675180" y="2520362"/>
              <a:chExt cx="42470" cy="57697"/>
            </a:xfrm>
            <a:solidFill>
              <a:schemeClr val="accent1"/>
            </a:solidFill>
          </p:grpSpPr>
          <p:sp>
            <p:nvSpPr>
              <p:cNvPr id="4988" name="Freeform: Shape 4987">
                <a:extLst>
                  <a:ext uri="{FF2B5EF4-FFF2-40B4-BE49-F238E27FC236}">
                    <a16:creationId xmlns:a16="http://schemas.microsoft.com/office/drawing/2014/main" id="{55C4C439-033F-4CEC-A4DD-1F7A16B35311}"/>
                  </a:ext>
                </a:extLst>
              </p:cNvPr>
              <p:cNvSpPr/>
              <p:nvPr/>
            </p:nvSpPr>
            <p:spPr>
              <a:xfrm>
                <a:off x="9675180" y="2534627"/>
                <a:ext cx="17853" cy="43432"/>
              </a:xfrm>
              <a:custGeom>
                <a:avLst/>
                <a:gdLst>
                  <a:gd name="connsiteX0" fmla="*/ 3661 w 17853"/>
                  <a:gd name="connsiteY0" fmla="*/ 227 h 43432"/>
                  <a:gd name="connsiteX1" fmla="*/ 3661 w 17853"/>
                  <a:gd name="connsiteY1" fmla="*/ 227 h 43432"/>
                  <a:gd name="connsiteX2" fmla="*/ 8560 w 17853"/>
                  <a:gd name="connsiteY2" fmla="*/ 5377 h 43432"/>
                  <a:gd name="connsiteX3" fmla="*/ 12202 w 17853"/>
                  <a:gd name="connsiteY3" fmla="*/ 15676 h 43432"/>
                  <a:gd name="connsiteX4" fmla="*/ 15090 w 17853"/>
                  <a:gd name="connsiteY4" fmla="*/ 29617 h 43432"/>
                  <a:gd name="connsiteX5" fmla="*/ 16472 w 17853"/>
                  <a:gd name="connsiteY5" fmla="*/ 37655 h 43432"/>
                  <a:gd name="connsiteX6" fmla="*/ 17854 w 17853"/>
                  <a:gd name="connsiteY6" fmla="*/ 43432 h 43432"/>
                  <a:gd name="connsiteX7" fmla="*/ 9188 w 17853"/>
                  <a:gd name="connsiteY7" fmla="*/ 39287 h 43432"/>
                  <a:gd name="connsiteX8" fmla="*/ 270 w 17853"/>
                  <a:gd name="connsiteY8" fmla="*/ 5377 h 43432"/>
                  <a:gd name="connsiteX9" fmla="*/ 1401 w 17853"/>
                  <a:gd name="connsiteY9" fmla="*/ 353 h 43432"/>
                  <a:gd name="connsiteX10" fmla="*/ 3661 w 17853"/>
                  <a:gd name="connsiteY10" fmla="*/ 227 h 43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53" h="43432">
                    <a:moveTo>
                      <a:pt x="3661" y="227"/>
                    </a:moveTo>
                    <a:lnTo>
                      <a:pt x="3661" y="227"/>
                    </a:lnTo>
                    <a:cubicBezTo>
                      <a:pt x="5546" y="855"/>
                      <a:pt x="7429" y="2865"/>
                      <a:pt x="8560" y="5377"/>
                    </a:cubicBezTo>
                    <a:cubicBezTo>
                      <a:pt x="9815" y="8391"/>
                      <a:pt x="11072" y="11908"/>
                      <a:pt x="12202" y="15676"/>
                    </a:cubicBezTo>
                    <a:cubicBezTo>
                      <a:pt x="13835" y="21202"/>
                      <a:pt x="14588" y="25849"/>
                      <a:pt x="15090" y="29617"/>
                    </a:cubicBezTo>
                    <a:cubicBezTo>
                      <a:pt x="15342" y="32254"/>
                      <a:pt x="15845" y="34892"/>
                      <a:pt x="16472" y="37655"/>
                    </a:cubicBezTo>
                    <a:lnTo>
                      <a:pt x="17854" y="43432"/>
                    </a:lnTo>
                    <a:cubicBezTo>
                      <a:pt x="14840" y="42176"/>
                      <a:pt x="11825" y="40795"/>
                      <a:pt x="9188" y="39287"/>
                    </a:cubicBezTo>
                    <a:lnTo>
                      <a:pt x="270" y="5377"/>
                    </a:lnTo>
                    <a:cubicBezTo>
                      <a:pt x="-358" y="2991"/>
                      <a:pt x="145" y="1107"/>
                      <a:pt x="1401" y="353"/>
                    </a:cubicBezTo>
                    <a:cubicBezTo>
                      <a:pt x="1903" y="-24"/>
                      <a:pt x="2656" y="-149"/>
                      <a:pt x="3661" y="227"/>
                    </a:cubicBezTo>
                    <a:close/>
                  </a:path>
                </a:pathLst>
              </a:custGeom>
              <a:solidFill>
                <a:srgbClr val="423C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89" name="Freeform: Shape 4988">
                <a:extLst>
                  <a:ext uri="{FF2B5EF4-FFF2-40B4-BE49-F238E27FC236}">
                    <a16:creationId xmlns:a16="http://schemas.microsoft.com/office/drawing/2014/main" id="{2C7A48E1-8F5E-40D6-A17C-D09E8843FD3F}"/>
                  </a:ext>
                </a:extLst>
              </p:cNvPr>
              <p:cNvSpPr/>
              <p:nvPr/>
            </p:nvSpPr>
            <p:spPr>
              <a:xfrm>
                <a:off x="9676329" y="2520362"/>
                <a:ext cx="41321" cy="57697"/>
              </a:xfrm>
              <a:custGeom>
                <a:avLst/>
                <a:gdLst>
                  <a:gd name="connsiteX0" fmla="*/ 13816 w 41321"/>
                  <a:gd name="connsiteY0" fmla="*/ 43882 h 57697"/>
                  <a:gd name="connsiteX1" fmla="*/ 10927 w 41321"/>
                  <a:gd name="connsiteY1" fmla="*/ 29941 h 57697"/>
                  <a:gd name="connsiteX2" fmla="*/ 7285 w 41321"/>
                  <a:gd name="connsiteY2" fmla="*/ 19642 h 57697"/>
                  <a:gd name="connsiteX3" fmla="*/ 2386 w 41321"/>
                  <a:gd name="connsiteY3" fmla="*/ 14493 h 57697"/>
                  <a:gd name="connsiteX4" fmla="*/ 2386 w 41321"/>
                  <a:gd name="connsiteY4" fmla="*/ 14493 h 57697"/>
                  <a:gd name="connsiteX5" fmla="*/ 0 w 41321"/>
                  <a:gd name="connsiteY5" fmla="*/ 14618 h 57697"/>
                  <a:gd name="connsiteX6" fmla="*/ 24743 w 41321"/>
                  <a:gd name="connsiteY6" fmla="*/ 301 h 57697"/>
                  <a:gd name="connsiteX7" fmla="*/ 27129 w 41321"/>
                  <a:gd name="connsiteY7" fmla="*/ 175 h 57697"/>
                  <a:gd name="connsiteX8" fmla="*/ 27129 w 41321"/>
                  <a:gd name="connsiteY8" fmla="*/ 175 h 57697"/>
                  <a:gd name="connsiteX9" fmla="*/ 32027 w 41321"/>
                  <a:gd name="connsiteY9" fmla="*/ 5324 h 57697"/>
                  <a:gd name="connsiteX10" fmla="*/ 35669 w 41321"/>
                  <a:gd name="connsiteY10" fmla="*/ 15623 h 57697"/>
                  <a:gd name="connsiteX11" fmla="*/ 38558 w 41321"/>
                  <a:gd name="connsiteY11" fmla="*/ 29564 h 57697"/>
                  <a:gd name="connsiteX12" fmla="*/ 39939 w 41321"/>
                  <a:gd name="connsiteY12" fmla="*/ 37602 h 57697"/>
                  <a:gd name="connsiteX13" fmla="*/ 41321 w 41321"/>
                  <a:gd name="connsiteY13" fmla="*/ 43380 h 57697"/>
                  <a:gd name="connsiteX14" fmla="*/ 16579 w 41321"/>
                  <a:gd name="connsiteY14" fmla="*/ 57697 h 57697"/>
                  <a:gd name="connsiteX15" fmla="*/ 15197 w 41321"/>
                  <a:gd name="connsiteY15" fmla="*/ 51920 h 57697"/>
                  <a:gd name="connsiteX16" fmla="*/ 13816 w 41321"/>
                  <a:gd name="connsiteY16" fmla="*/ 43882 h 57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321" h="57697">
                    <a:moveTo>
                      <a:pt x="13816" y="43882"/>
                    </a:moveTo>
                    <a:cubicBezTo>
                      <a:pt x="13439" y="40114"/>
                      <a:pt x="12559" y="35467"/>
                      <a:pt x="10927" y="29941"/>
                    </a:cubicBezTo>
                    <a:cubicBezTo>
                      <a:pt x="9797" y="26048"/>
                      <a:pt x="8540" y="22657"/>
                      <a:pt x="7285" y="19642"/>
                    </a:cubicBezTo>
                    <a:cubicBezTo>
                      <a:pt x="6280" y="17130"/>
                      <a:pt x="4271" y="15121"/>
                      <a:pt x="2386" y="14493"/>
                    </a:cubicBezTo>
                    <a:lnTo>
                      <a:pt x="2386" y="14493"/>
                    </a:lnTo>
                    <a:cubicBezTo>
                      <a:pt x="1507" y="14116"/>
                      <a:pt x="628" y="14242"/>
                      <a:pt x="0" y="14618"/>
                    </a:cubicBezTo>
                    <a:cubicBezTo>
                      <a:pt x="0" y="14618"/>
                      <a:pt x="23486" y="1054"/>
                      <a:pt x="24743" y="301"/>
                    </a:cubicBezTo>
                    <a:cubicBezTo>
                      <a:pt x="25370" y="-76"/>
                      <a:pt x="26124" y="-76"/>
                      <a:pt x="27129" y="175"/>
                    </a:cubicBezTo>
                    <a:lnTo>
                      <a:pt x="27129" y="175"/>
                    </a:lnTo>
                    <a:cubicBezTo>
                      <a:pt x="29012" y="803"/>
                      <a:pt x="30897" y="2813"/>
                      <a:pt x="32027" y="5324"/>
                    </a:cubicBezTo>
                    <a:cubicBezTo>
                      <a:pt x="33283" y="8339"/>
                      <a:pt x="34539" y="11855"/>
                      <a:pt x="35669" y="15623"/>
                    </a:cubicBezTo>
                    <a:cubicBezTo>
                      <a:pt x="37302" y="21149"/>
                      <a:pt x="38056" y="25796"/>
                      <a:pt x="38558" y="29564"/>
                    </a:cubicBezTo>
                    <a:cubicBezTo>
                      <a:pt x="38809" y="32202"/>
                      <a:pt x="39311" y="34839"/>
                      <a:pt x="39939" y="37602"/>
                    </a:cubicBezTo>
                    <a:lnTo>
                      <a:pt x="41321" y="43380"/>
                    </a:lnTo>
                    <a:lnTo>
                      <a:pt x="16579" y="57697"/>
                    </a:lnTo>
                    <a:lnTo>
                      <a:pt x="15197" y="51920"/>
                    </a:lnTo>
                    <a:cubicBezTo>
                      <a:pt x="14569" y="49157"/>
                      <a:pt x="14067" y="46520"/>
                      <a:pt x="13816" y="43882"/>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90" name="Freeform: Shape 4989">
              <a:extLst>
                <a:ext uri="{FF2B5EF4-FFF2-40B4-BE49-F238E27FC236}">
                  <a16:creationId xmlns:a16="http://schemas.microsoft.com/office/drawing/2014/main" id="{3E77445F-C881-4885-956A-2DC2C0A9C1E2}"/>
                </a:ext>
              </a:extLst>
            </p:cNvPr>
            <p:cNvSpPr/>
            <p:nvPr/>
          </p:nvSpPr>
          <p:spPr>
            <a:xfrm>
              <a:off x="9700444" y="2593633"/>
              <a:ext cx="15447" cy="13564"/>
            </a:xfrm>
            <a:custGeom>
              <a:avLst/>
              <a:gdLst>
                <a:gd name="connsiteX0" fmla="*/ 15448 w 15447"/>
                <a:gd name="connsiteY0" fmla="*/ 8792 h 13564"/>
                <a:gd name="connsiteX1" fmla="*/ 13815 w 15447"/>
                <a:gd name="connsiteY1" fmla="*/ 13564 h 13564"/>
                <a:gd name="connsiteX2" fmla="*/ 13815 w 15447"/>
                <a:gd name="connsiteY2" fmla="*/ 13564 h 13564"/>
                <a:gd name="connsiteX3" fmla="*/ 0 w 15447"/>
                <a:gd name="connsiteY3" fmla="*/ 0 h 13564"/>
                <a:gd name="connsiteX4" fmla="*/ 15448 w 15447"/>
                <a:gd name="connsiteY4" fmla="*/ 8792 h 1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47" h="13564">
                  <a:moveTo>
                    <a:pt x="15448" y="8792"/>
                  </a:moveTo>
                  <a:cubicBezTo>
                    <a:pt x="15448" y="11052"/>
                    <a:pt x="15071" y="12936"/>
                    <a:pt x="13815" y="13564"/>
                  </a:cubicBezTo>
                  <a:lnTo>
                    <a:pt x="13815" y="13564"/>
                  </a:lnTo>
                  <a:cubicBezTo>
                    <a:pt x="10047" y="7913"/>
                    <a:pt x="5275" y="3014"/>
                    <a:pt x="0" y="0"/>
                  </a:cubicBezTo>
                  <a:lnTo>
                    <a:pt x="15448" y="8792"/>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1" name="Freeform: Shape 4990">
              <a:extLst>
                <a:ext uri="{FF2B5EF4-FFF2-40B4-BE49-F238E27FC236}">
                  <a16:creationId xmlns:a16="http://schemas.microsoft.com/office/drawing/2014/main" id="{37904896-B04B-4793-9DFD-90D13773F2CA}"/>
                </a:ext>
              </a:extLst>
            </p:cNvPr>
            <p:cNvSpPr/>
            <p:nvPr/>
          </p:nvSpPr>
          <p:spPr>
            <a:xfrm>
              <a:off x="9794389" y="2551308"/>
              <a:ext cx="10298" cy="8665"/>
            </a:xfrm>
            <a:custGeom>
              <a:avLst/>
              <a:gdLst>
                <a:gd name="connsiteX0" fmla="*/ 7787 w 10298"/>
                <a:gd name="connsiteY0" fmla="*/ 0 h 8665"/>
                <a:gd name="connsiteX1" fmla="*/ 0 w 10298"/>
                <a:gd name="connsiteY1" fmla="*/ 4145 h 8665"/>
                <a:gd name="connsiteX2" fmla="*/ 2637 w 10298"/>
                <a:gd name="connsiteY2" fmla="*/ 8666 h 8665"/>
                <a:gd name="connsiteX3" fmla="*/ 10299 w 10298"/>
                <a:gd name="connsiteY3" fmla="*/ 4521 h 8665"/>
              </a:gdLst>
              <a:ahLst/>
              <a:cxnLst>
                <a:cxn ang="0">
                  <a:pos x="connsiteX0" y="connsiteY0"/>
                </a:cxn>
                <a:cxn ang="0">
                  <a:pos x="connsiteX1" y="connsiteY1"/>
                </a:cxn>
                <a:cxn ang="0">
                  <a:pos x="connsiteX2" y="connsiteY2"/>
                </a:cxn>
                <a:cxn ang="0">
                  <a:pos x="connsiteX3" y="connsiteY3"/>
                </a:cxn>
              </a:cxnLst>
              <a:rect l="l" t="t" r="r" b="b"/>
              <a:pathLst>
                <a:path w="10298" h="8665">
                  <a:moveTo>
                    <a:pt x="7787" y="0"/>
                  </a:moveTo>
                  <a:lnTo>
                    <a:pt x="0" y="4145"/>
                  </a:lnTo>
                  <a:lnTo>
                    <a:pt x="2637" y="8666"/>
                  </a:lnTo>
                  <a:lnTo>
                    <a:pt x="10299" y="452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92" name="Graphic 4">
              <a:extLst>
                <a:ext uri="{FF2B5EF4-FFF2-40B4-BE49-F238E27FC236}">
                  <a16:creationId xmlns:a16="http://schemas.microsoft.com/office/drawing/2014/main" id="{84FB7ED1-A2DF-40A1-A747-5F7CF3F14040}"/>
                </a:ext>
              </a:extLst>
            </p:cNvPr>
            <p:cNvGrpSpPr/>
            <p:nvPr/>
          </p:nvGrpSpPr>
          <p:grpSpPr>
            <a:xfrm>
              <a:off x="9774827" y="2536818"/>
              <a:ext cx="44307" cy="26821"/>
              <a:chOff x="9774827" y="2536818"/>
              <a:chExt cx="44307" cy="26821"/>
            </a:xfrm>
            <a:solidFill>
              <a:schemeClr val="accent1"/>
            </a:solidFill>
          </p:grpSpPr>
          <p:sp>
            <p:nvSpPr>
              <p:cNvPr id="4993" name="Freeform: Shape 4992">
                <a:extLst>
                  <a:ext uri="{FF2B5EF4-FFF2-40B4-BE49-F238E27FC236}">
                    <a16:creationId xmlns:a16="http://schemas.microsoft.com/office/drawing/2014/main" id="{AD782A78-41A4-4D83-8E95-41A951B0F8A8}"/>
                  </a:ext>
                </a:extLst>
              </p:cNvPr>
              <p:cNvSpPr/>
              <p:nvPr/>
            </p:nvSpPr>
            <p:spPr>
              <a:xfrm>
                <a:off x="9779814" y="2540507"/>
                <a:ext cx="29896" cy="17080"/>
              </a:xfrm>
              <a:custGeom>
                <a:avLst/>
                <a:gdLst>
                  <a:gd name="connsiteX0" fmla="*/ 29897 w 29896"/>
                  <a:gd name="connsiteY0" fmla="*/ 1507 h 17080"/>
                  <a:gd name="connsiteX1" fmla="*/ 29143 w 29896"/>
                  <a:gd name="connsiteY1" fmla="*/ 0 h 17080"/>
                  <a:gd name="connsiteX2" fmla="*/ 29017 w 29896"/>
                  <a:gd name="connsiteY2" fmla="*/ 0 h 17080"/>
                  <a:gd name="connsiteX3" fmla="*/ 28892 w 29896"/>
                  <a:gd name="connsiteY3" fmla="*/ 0 h 17080"/>
                  <a:gd name="connsiteX4" fmla="*/ 6536 w 29896"/>
                  <a:gd name="connsiteY4" fmla="*/ 11806 h 17080"/>
                  <a:gd name="connsiteX5" fmla="*/ 5 w 29896"/>
                  <a:gd name="connsiteY5" fmla="*/ 16076 h 17080"/>
                  <a:gd name="connsiteX6" fmla="*/ 634 w 29896"/>
                  <a:gd name="connsiteY6" fmla="*/ 17081 h 17080"/>
                  <a:gd name="connsiteX7" fmla="*/ 29897 w 29896"/>
                  <a:gd name="connsiteY7" fmla="*/ 1507 h 1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96" h="17080">
                    <a:moveTo>
                      <a:pt x="29897" y="1507"/>
                    </a:moveTo>
                    <a:lnTo>
                      <a:pt x="29143" y="0"/>
                    </a:lnTo>
                    <a:cubicBezTo>
                      <a:pt x="29143" y="0"/>
                      <a:pt x="29143" y="0"/>
                      <a:pt x="29017" y="0"/>
                    </a:cubicBezTo>
                    <a:cubicBezTo>
                      <a:pt x="29017" y="0"/>
                      <a:pt x="28892" y="0"/>
                      <a:pt x="28892" y="0"/>
                    </a:cubicBezTo>
                    <a:cubicBezTo>
                      <a:pt x="23617" y="2386"/>
                      <a:pt x="13695" y="7661"/>
                      <a:pt x="6536" y="11806"/>
                    </a:cubicBezTo>
                    <a:cubicBezTo>
                      <a:pt x="2141" y="14318"/>
                      <a:pt x="-120" y="15825"/>
                      <a:pt x="5" y="16076"/>
                    </a:cubicBezTo>
                    <a:lnTo>
                      <a:pt x="634" y="17081"/>
                    </a:lnTo>
                    <a:lnTo>
                      <a:pt x="29897" y="1507"/>
                    </a:lnTo>
                    <a:close/>
                  </a:path>
                </a:pathLst>
              </a:custGeom>
              <a:solidFill>
                <a:srgbClr val="4E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4" name="Freeform: Shape 4993">
                <a:extLst>
                  <a:ext uri="{FF2B5EF4-FFF2-40B4-BE49-F238E27FC236}">
                    <a16:creationId xmlns:a16="http://schemas.microsoft.com/office/drawing/2014/main" id="{18CE345A-9F10-4830-B71E-E840D8DB8999}"/>
                  </a:ext>
                </a:extLst>
              </p:cNvPr>
              <p:cNvSpPr/>
              <p:nvPr/>
            </p:nvSpPr>
            <p:spPr>
              <a:xfrm>
                <a:off x="9790495" y="2550680"/>
                <a:ext cx="627" cy="251"/>
              </a:xfrm>
              <a:custGeom>
                <a:avLst/>
                <a:gdLst>
                  <a:gd name="connsiteX0" fmla="*/ 0 w 627"/>
                  <a:gd name="connsiteY0" fmla="*/ 251 h 251"/>
                  <a:gd name="connsiteX1" fmla="*/ 0 w 627"/>
                  <a:gd name="connsiteY1" fmla="*/ 251 h 251"/>
                  <a:gd name="connsiteX2" fmla="*/ 628 w 627"/>
                  <a:gd name="connsiteY2" fmla="*/ 0 h 251"/>
                  <a:gd name="connsiteX3" fmla="*/ 0 w 627"/>
                  <a:gd name="connsiteY3" fmla="*/ 251 h 251"/>
                </a:gdLst>
                <a:ahLst/>
                <a:cxnLst>
                  <a:cxn ang="0">
                    <a:pos x="connsiteX0" y="connsiteY0"/>
                  </a:cxn>
                  <a:cxn ang="0">
                    <a:pos x="connsiteX1" y="connsiteY1"/>
                  </a:cxn>
                  <a:cxn ang="0">
                    <a:pos x="connsiteX2" y="connsiteY2"/>
                  </a:cxn>
                  <a:cxn ang="0">
                    <a:pos x="connsiteX3" y="connsiteY3"/>
                  </a:cxn>
                </a:cxnLst>
                <a:rect l="l" t="t" r="r" b="b"/>
                <a:pathLst>
                  <a:path w="627" h="251">
                    <a:moveTo>
                      <a:pt x="0" y="251"/>
                    </a:moveTo>
                    <a:lnTo>
                      <a:pt x="0" y="251"/>
                    </a:lnTo>
                    <a:lnTo>
                      <a:pt x="628" y="0"/>
                    </a:lnTo>
                    <a:cubicBezTo>
                      <a:pt x="251" y="251"/>
                      <a:pt x="0" y="251"/>
                      <a:pt x="0" y="251"/>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5" name="Freeform: Shape 4994">
                <a:extLst>
                  <a:ext uri="{FF2B5EF4-FFF2-40B4-BE49-F238E27FC236}">
                    <a16:creationId xmlns:a16="http://schemas.microsoft.com/office/drawing/2014/main" id="{2031F224-15B1-47EA-BD20-DE1623FD5441}"/>
                  </a:ext>
                </a:extLst>
              </p:cNvPr>
              <p:cNvSpPr/>
              <p:nvPr/>
            </p:nvSpPr>
            <p:spPr>
              <a:xfrm>
                <a:off x="9786978" y="2539628"/>
                <a:ext cx="24993" cy="14945"/>
              </a:xfrm>
              <a:custGeom>
                <a:avLst/>
                <a:gdLst>
                  <a:gd name="connsiteX0" fmla="*/ 0 w 24993"/>
                  <a:gd name="connsiteY0" fmla="*/ 13941 h 14945"/>
                  <a:gd name="connsiteX1" fmla="*/ 503 w 24993"/>
                  <a:gd name="connsiteY1" fmla="*/ 14946 h 14945"/>
                  <a:gd name="connsiteX2" fmla="*/ 24993 w 24993"/>
                  <a:gd name="connsiteY2" fmla="*/ 1382 h 14945"/>
                  <a:gd name="connsiteX3" fmla="*/ 24240 w 24993"/>
                  <a:gd name="connsiteY3" fmla="*/ 0 h 14945"/>
                </a:gdLst>
                <a:ahLst/>
                <a:cxnLst>
                  <a:cxn ang="0">
                    <a:pos x="connsiteX0" y="connsiteY0"/>
                  </a:cxn>
                  <a:cxn ang="0">
                    <a:pos x="connsiteX1" y="connsiteY1"/>
                  </a:cxn>
                  <a:cxn ang="0">
                    <a:pos x="connsiteX2" y="connsiteY2"/>
                  </a:cxn>
                  <a:cxn ang="0">
                    <a:pos x="connsiteX3" y="connsiteY3"/>
                  </a:cxn>
                </a:cxnLst>
                <a:rect l="l" t="t" r="r" b="b"/>
                <a:pathLst>
                  <a:path w="24993" h="14945">
                    <a:moveTo>
                      <a:pt x="0" y="13941"/>
                    </a:moveTo>
                    <a:lnTo>
                      <a:pt x="503" y="14946"/>
                    </a:lnTo>
                    <a:lnTo>
                      <a:pt x="24993" y="1382"/>
                    </a:lnTo>
                    <a:lnTo>
                      <a:pt x="24240" y="0"/>
                    </a:lnTo>
                    <a:close/>
                  </a:path>
                </a:pathLst>
              </a:custGeom>
              <a:solidFill>
                <a:srgbClr val="6158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6" name="Freeform: Shape 4995">
                <a:extLst>
                  <a:ext uri="{FF2B5EF4-FFF2-40B4-BE49-F238E27FC236}">
                    <a16:creationId xmlns:a16="http://schemas.microsoft.com/office/drawing/2014/main" id="{76FEBFC1-ED02-4847-A677-4E91616BC849}"/>
                  </a:ext>
                </a:extLst>
              </p:cNvPr>
              <p:cNvSpPr/>
              <p:nvPr/>
            </p:nvSpPr>
            <p:spPr>
              <a:xfrm>
                <a:off x="9811218" y="2539502"/>
                <a:ext cx="753" cy="502"/>
              </a:xfrm>
              <a:custGeom>
                <a:avLst/>
                <a:gdLst>
                  <a:gd name="connsiteX0" fmla="*/ 0 w 753"/>
                  <a:gd name="connsiteY0" fmla="*/ 126 h 502"/>
                  <a:gd name="connsiteX1" fmla="*/ 0 w 753"/>
                  <a:gd name="connsiteY1" fmla="*/ 126 h 502"/>
                  <a:gd name="connsiteX2" fmla="*/ 629 w 753"/>
                  <a:gd name="connsiteY2" fmla="*/ 0 h 502"/>
                  <a:gd name="connsiteX3" fmla="*/ 754 w 753"/>
                  <a:gd name="connsiteY3" fmla="*/ 126 h 502"/>
                  <a:gd name="connsiteX4" fmla="*/ 251 w 753"/>
                  <a:gd name="connsiteY4" fmla="*/ 502 h 502"/>
                  <a:gd name="connsiteX5" fmla="*/ 0 w 753"/>
                  <a:gd name="connsiteY5" fmla="*/ 126 h 502"/>
                  <a:gd name="connsiteX6" fmla="*/ 0 w 753"/>
                  <a:gd name="connsiteY6" fmla="*/ 126 h 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3" h="502">
                    <a:moveTo>
                      <a:pt x="0" y="126"/>
                    </a:moveTo>
                    <a:lnTo>
                      <a:pt x="0" y="126"/>
                    </a:lnTo>
                    <a:cubicBezTo>
                      <a:pt x="377" y="0"/>
                      <a:pt x="629" y="0"/>
                      <a:pt x="629" y="0"/>
                    </a:cubicBezTo>
                    <a:lnTo>
                      <a:pt x="754" y="126"/>
                    </a:lnTo>
                    <a:lnTo>
                      <a:pt x="251" y="502"/>
                    </a:lnTo>
                    <a:lnTo>
                      <a:pt x="0" y="126"/>
                    </a:lnTo>
                    <a:cubicBezTo>
                      <a:pt x="0" y="126"/>
                      <a:pt x="0" y="126"/>
                      <a:pt x="0" y="126"/>
                    </a:cubicBezTo>
                    <a:close/>
                  </a:path>
                </a:pathLst>
              </a:custGeom>
              <a:solidFill>
                <a:srgbClr val="3B35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7" name="Freeform: Shape 4996">
                <a:extLst>
                  <a:ext uri="{FF2B5EF4-FFF2-40B4-BE49-F238E27FC236}">
                    <a16:creationId xmlns:a16="http://schemas.microsoft.com/office/drawing/2014/main" id="{4A819377-285B-47F8-88AE-B53D1C8803BE}"/>
                  </a:ext>
                </a:extLst>
              </p:cNvPr>
              <p:cNvSpPr/>
              <p:nvPr/>
            </p:nvSpPr>
            <p:spPr>
              <a:xfrm>
                <a:off x="9782708" y="2539879"/>
                <a:ext cx="28635" cy="15824"/>
              </a:xfrm>
              <a:custGeom>
                <a:avLst/>
                <a:gdLst>
                  <a:gd name="connsiteX0" fmla="*/ 10047 w 28635"/>
                  <a:gd name="connsiteY0" fmla="*/ 9671 h 15824"/>
                  <a:gd name="connsiteX1" fmla="*/ 8540 w 28635"/>
                  <a:gd name="connsiteY1" fmla="*/ 10927 h 15824"/>
                  <a:gd name="connsiteX2" fmla="*/ 0 w 28635"/>
                  <a:gd name="connsiteY2" fmla="*/ 15825 h 15824"/>
                  <a:gd name="connsiteX3" fmla="*/ 376 w 28635"/>
                  <a:gd name="connsiteY3" fmla="*/ 15699 h 15824"/>
                  <a:gd name="connsiteX4" fmla="*/ 502 w 28635"/>
                  <a:gd name="connsiteY4" fmla="*/ 15699 h 15824"/>
                  <a:gd name="connsiteX5" fmla="*/ 628 w 28635"/>
                  <a:gd name="connsiteY5" fmla="*/ 15699 h 15824"/>
                  <a:gd name="connsiteX6" fmla="*/ 754 w 28635"/>
                  <a:gd name="connsiteY6" fmla="*/ 15699 h 15824"/>
                  <a:gd name="connsiteX7" fmla="*/ 1004 w 28635"/>
                  <a:gd name="connsiteY7" fmla="*/ 15574 h 15824"/>
                  <a:gd name="connsiteX8" fmla="*/ 4396 w 28635"/>
                  <a:gd name="connsiteY8" fmla="*/ 13941 h 15824"/>
                  <a:gd name="connsiteX9" fmla="*/ 28635 w 28635"/>
                  <a:gd name="connsiteY9" fmla="*/ 0 h 15824"/>
                  <a:gd name="connsiteX10" fmla="*/ 26375 w 28635"/>
                  <a:gd name="connsiteY10" fmla="*/ 879 h 15824"/>
                  <a:gd name="connsiteX11" fmla="*/ 26249 w 28635"/>
                  <a:gd name="connsiteY11" fmla="*/ 879 h 15824"/>
                  <a:gd name="connsiteX12" fmla="*/ 26123 w 28635"/>
                  <a:gd name="connsiteY12" fmla="*/ 879 h 15824"/>
                  <a:gd name="connsiteX13" fmla="*/ 25747 w 28635"/>
                  <a:gd name="connsiteY13" fmla="*/ 1130 h 15824"/>
                  <a:gd name="connsiteX14" fmla="*/ 17206 w 28635"/>
                  <a:gd name="connsiteY14" fmla="*/ 6029 h 15824"/>
                  <a:gd name="connsiteX15" fmla="*/ 10047 w 28635"/>
                  <a:gd name="connsiteY15" fmla="*/ 9671 h 1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635" h="15824">
                    <a:moveTo>
                      <a:pt x="10047" y="9671"/>
                    </a:moveTo>
                    <a:cubicBezTo>
                      <a:pt x="7913" y="10927"/>
                      <a:pt x="7284" y="11429"/>
                      <a:pt x="8540" y="10927"/>
                    </a:cubicBezTo>
                    <a:lnTo>
                      <a:pt x="0" y="15825"/>
                    </a:lnTo>
                    <a:cubicBezTo>
                      <a:pt x="126" y="15825"/>
                      <a:pt x="251" y="15699"/>
                      <a:pt x="376" y="15699"/>
                    </a:cubicBezTo>
                    <a:cubicBezTo>
                      <a:pt x="376" y="15699"/>
                      <a:pt x="502" y="15699"/>
                      <a:pt x="502" y="15699"/>
                    </a:cubicBezTo>
                    <a:cubicBezTo>
                      <a:pt x="502" y="15699"/>
                      <a:pt x="628" y="15699"/>
                      <a:pt x="628" y="15699"/>
                    </a:cubicBezTo>
                    <a:cubicBezTo>
                      <a:pt x="628" y="15699"/>
                      <a:pt x="754" y="15699"/>
                      <a:pt x="754" y="15699"/>
                    </a:cubicBezTo>
                    <a:cubicBezTo>
                      <a:pt x="879" y="15699"/>
                      <a:pt x="879" y="15574"/>
                      <a:pt x="1004" y="15574"/>
                    </a:cubicBezTo>
                    <a:cubicBezTo>
                      <a:pt x="2009" y="15071"/>
                      <a:pt x="3140" y="14569"/>
                      <a:pt x="4396" y="13941"/>
                    </a:cubicBezTo>
                    <a:lnTo>
                      <a:pt x="28635" y="0"/>
                    </a:lnTo>
                    <a:cubicBezTo>
                      <a:pt x="28133" y="126"/>
                      <a:pt x="27380" y="502"/>
                      <a:pt x="26375" y="879"/>
                    </a:cubicBezTo>
                    <a:cubicBezTo>
                      <a:pt x="26375" y="879"/>
                      <a:pt x="26249" y="879"/>
                      <a:pt x="26249" y="879"/>
                    </a:cubicBezTo>
                    <a:cubicBezTo>
                      <a:pt x="26249" y="879"/>
                      <a:pt x="26123" y="879"/>
                      <a:pt x="26123" y="879"/>
                    </a:cubicBezTo>
                    <a:cubicBezTo>
                      <a:pt x="25998" y="1005"/>
                      <a:pt x="25873" y="1005"/>
                      <a:pt x="25747" y="1130"/>
                    </a:cubicBezTo>
                    <a:lnTo>
                      <a:pt x="17206" y="6029"/>
                    </a:lnTo>
                    <a:cubicBezTo>
                      <a:pt x="15196" y="6782"/>
                      <a:pt x="12182" y="8415"/>
                      <a:pt x="10047" y="9671"/>
                    </a:cubicBez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8" name="Freeform: Shape 4997">
                <a:extLst>
                  <a:ext uri="{FF2B5EF4-FFF2-40B4-BE49-F238E27FC236}">
                    <a16:creationId xmlns:a16="http://schemas.microsoft.com/office/drawing/2014/main" id="{BC808BD0-9CF5-4BC5-8705-45C205743BCA}"/>
                  </a:ext>
                </a:extLst>
              </p:cNvPr>
              <p:cNvSpPr/>
              <p:nvPr/>
            </p:nvSpPr>
            <p:spPr>
              <a:xfrm>
                <a:off x="9774922" y="2536864"/>
                <a:ext cx="44212" cy="26774"/>
              </a:xfrm>
              <a:custGeom>
                <a:avLst/>
                <a:gdLst>
                  <a:gd name="connsiteX0" fmla="*/ 0 w 44212"/>
                  <a:gd name="connsiteY0" fmla="*/ 22481 h 26774"/>
                  <a:gd name="connsiteX1" fmla="*/ 2261 w 44212"/>
                  <a:gd name="connsiteY1" fmla="*/ 26752 h 26774"/>
                  <a:gd name="connsiteX2" fmla="*/ 6280 w 44212"/>
                  <a:gd name="connsiteY2" fmla="*/ 25245 h 26774"/>
                  <a:gd name="connsiteX3" fmla="*/ 35668 w 44212"/>
                  <a:gd name="connsiteY3" fmla="*/ 9796 h 26774"/>
                  <a:gd name="connsiteX4" fmla="*/ 44209 w 44212"/>
                  <a:gd name="connsiteY4" fmla="*/ 4270 h 26774"/>
                  <a:gd name="connsiteX5" fmla="*/ 41948 w 44212"/>
                  <a:gd name="connsiteY5" fmla="*/ 0 h 26774"/>
                  <a:gd name="connsiteX6" fmla="*/ 33408 w 44212"/>
                  <a:gd name="connsiteY6" fmla="*/ 5526 h 26774"/>
                  <a:gd name="connsiteX7" fmla="*/ 4019 w 44212"/>
                  <a:gd name="connsiteY7" fmla="*/ 20974 h 26774"/>
                  <a:gd name="connsiteX8" fmla="*/ 0 w 44212"/>
                  <a:gd name="connsiteY8" fmla="*/ 22481 h 26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12" h="26774">
                    <a:moveTo>
                      <a:pt x="0" y="22481"/>
                    </a:moveTo>
                    <a:lnTo>
                      <a:pt x="2261" y="26752"/>
                    </a:lnTo>
                    <a:cubicBezTo>
                      <a:pt x="2386" y="26877"/>
                      <a:pt x="3642" y="26501"/>
                      <a:pt x="6280" y="25245"/>
                    </a:cubicBezTo>
                    <a:cubicBezTo>
                      <a:pt x="13187" y="22105"/>
                      <a:pt x="26249" y="15071"/>
                      <a:pt x="35668" y="9796"/>
                    </a:cubicBezTo>
                    <a:cubicBezTo>
                      <a:pt x="41446" y="6531"/>
                      <a:pt x="44335" y="4521"/>
                      <a:pt x="44209" y="4270"/>
                    </a:cubicBezTo>
                    <a:lnTo>
                      <a:pt x="41948" y="0"/>
                    </a:lnTo>
                    <a:cubicBezTo>
                      <a:pt x="42074" y="251"/>
                      <a:pt x="39186" y="2261"/>
                      <a:pt x="33408" y="5526"/>
                    </a:cubicBezTo>
                    <a:cubicBezTo>
                      <a:pt x="24114" y="10927"/>
                      <a:pt x="10927" y="17834"/>
                      <a:pt x="4019" y="20974"/>
                    </a:cubicBezTo>
                    <a:cubicBezTo>
                      <a:pt x="1381" y="22230"/>
                      <a:pt x="125" y="22607"/>
                      <a:pt x="0" y="22481"/>
                    </a:cubicBezTo>
                    <a:close/>
                  </a:path>
                </a:pathLst>
              </a:custGeom>
              <a:solidFill>
                <a:srgbClr val="5E55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9" name="Freeform: Shape 4998">
                <a:extLst>
                  <a:ext uri="{FF2B5EF4-FFF2-40B4-BE49-F238E27FC236}">
                    <a16:creationId xmlns:a16="http://schemas.microsoft.com/office/drawing/2014/main" id="{6CA46AF1-419F-4C4E-9145-7E3C767696C2}"/>
                  </a:ext>
                </a:extLst>
              </p:cNvPr>
              <p:cNvSpPr/>
              <p:nvPr/>
            </p:nvSpPr>
            <p:spPr>
              <a:xfrm>
                <a:off x="9790369" y="2544023"/>
                <a:ext cx="17206" cy="12308"/>
              </a:xfrm>
              <a:custGeom>
                <a:avLst/>
                <a:gdLst>
                  <a:gd name="connsiteX0" fmla="*/ 17206 w 17206"/>
                  <a:gd name="connsiteY0" fmla="*/ 4270 h 12308"/>
                  <a:gd name="connsiteX1" fmla="*/ 2261 w 17206"/>
                  <a:gd name="connsiteY1" fmla="*/ 12308 h 12308"/>
                  <a:gd name="connsiteX2" fmla="*/ 0 w 17206"/>
                  <a:gd name="connsiteY2" fmla="*/ 8038 h 12308"/>
                  <a:gd name="connsiteX3" fmla="*/ 14946 w 17206"/>
                  <a:gd name="connsiteY3" fmla="*/ 0 h 12308"/>
                  <a:gd name="connsiteX4" fmla="*/ 17206 w 17206"/>
                  <a:gd name="connsiteY4" fmla="*/ 4270 h 12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06" h="12308">
                    <a:moveTo>
                      <a:pt x="17206" y="4270"/>
                    </a:moveTo>
                    <a:cubicBezTo>
                      <a:pt x="12559" y="6908"/>
                      <a:pt x="7159" y="9796"/>
                      <a:pt x="2261" y="12308"/>
                    </a:cubicBezTo>
                    <a:lnTo>
                      <a:pt x="0" y="8038"/>
                    </a:lnTo>
                    <a:cubicBezTo>
                      <a:pt x="4898" y="5526"/>
                      <a:pt x="10173" y="2637"/>
                      <a:pt x="14946" y="0"/>
                    </a:cubicBezTo>
                    <a:lnTo>
                      <a:pt x="17206" y="4270"/>
                    </a:lnTo>
                    <a:close/>
                  </a:path>
                </a:pathLst>
              </a:custGeom>
              <a:solidFill>
                <a:srgbClr val="73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0" name="Freeform: Shape 4999">
                <a:extLst>
                  <a:ext uri="{FF2B5EF4-FFF2-40B4-BE49-F238E27FC236}">
                    <a16:creationId xmlns:a16="http://schemas.microsoft.com/office/drawing/2014/main" id="{03252528-C4E4-4CE6-BCAB-C27B6F5E7CB2}"/>
                  </a:ext>
                </a:extLst>
              </p:cNvPr>
              <p:cNvSpPr/>
              <p:nvPr/>
            </p:nvSpPr>
            <p:spPr>
              <a:xfrm>
                <a:off x="9774827" y="2536818"/>
                <a:ext cx="42012" cy="22574"/>
              </a:xfrm>
              <a:custGeom>
                <a:avLst/>
                <a:gdLst>
                  <a:gd name="connsiteX0" fmla="*/ 37898 w 42012"/>
                  <a:gd name="connsiteY0" fmla="*/ 1554 h 22574"/>
                  <a:gd name="connsiteX1" fmla="*/ 33503 w 42012"/>
                  <a:gd name="connsiteY1" fmla="*/ 5573 h 22574"/>
                  <a:gd name="connsiteX2" fmla="*/ 4114 w 42012"/>
                  <a:gd name="connsiteY2" fmla="*/ 21021 h 22574"/>
                  <a:gd name="connsiteX3" fmla="*/ 8509 w 42012"/>
                  <a:gd name="connsiteY3" fmla="*/ 17002 h 22574"/>
                  <a:gd name="connsiteX4" fmla="*/ 37898 w 42012"/>
                  <a:gd name="connsiteY4" fmla="*/ 1554 h 22574"/>
                  <a:gd name="connsiteX5" fmla="*/ 8258 w 42012"/>
                  <a:gd name="connsiteY5" fmla="*/ 18635 h 22574"/>
                  <a:gd name="connsiteX6" fmla="*/ 8258 w 42012"/>
                  <a:gd name="connsiteY6" fmla="*/ 18635 h 22574"/>
                  <a:gd name="connsiteX7" fmla="*/ 8509 w 42012"/>
                  <a:gd name="connsiteY7" fmla="*/ 18509 h 22574"/>
                  <a:gd name="connsiteX8" fmla="*/ 8761 w 42012"/>
                  <a:gd name="connsiteY8" fmla="*/ 18383 h 22574"/>
                  <a:gd name="connsiteX9" fmla="*/ 30614 w 42012"/>
                  <a:gd name="connsiteY9" fmla="*/ 6829 h 22574"/>
                  <a:gd name="connsiteX10" fmla="*/ 34256 w 42012"/>
                  <a:gd name="connsiteY10" fmla="*/ 3689 h 22574"/>
                  <a:gd name="connsiteX11" fmla="*/ 34131 w 42012"/>
                  <a:gd name="connsiteY11" fmla="*/ 3689 h 22574"/>
                  <a:gd name="connsiteX12" fmla="*/ 34005 w 42012"/>
                  <a:gd name="connsiteY12" fmla="*/ 3689 h 22574"/>
                  <a:gd name="connsiteX13" fmla="*/ 11649 w 42012"/>
                  <a:gd name="connsiteY13" fmla="*/ 15495 h 22574"/>
                  <a:gd name="connsiteX14" fmla="*/ 8258 w 42012"/>
                  <a:gd name="connsiteY14" fmla="*/ 18635 h 22574"/>
                  <a:gd name="connsiteX15" fmla="*/ 8258 w 42012"/>
                  <a:gd name="connsiteY15" fmla="*/ 18635 h 22574"/>
                  <a:gd name="connsiteX16" fmla="*/ 8258 w 42012"/>
                  <a:gd name="connsiteY16" fmla="*/ 18635 h 22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012" h="22574">
                    <a:moveTo>
                      <a:pt x="37898" y="1554"/>
                    </a:moveTo>
                    <a:cubicBezTo>
                      <a:pt x="44807" y="-1586"/>
                      <a:pt x="42797" y="172"/>
                      <a:pt x="33503" y="5573"/>
                    </a:cubicBezTo>
                    <a:cubicBezTo>
                      <a:pt x="24209" y="10973"/>
                      <a:pt x="11021" y="17881"/>
                      <a:pt x="4114" y="21021"/>
                    </a:cubicBezTo>
                    <a:cubicBezTo>
                      <a:pt x="-2794" y="24161"/>
                      <a:pt x="-784" y="22402"/>
                      <a:pt x="8509" y="17002"/>
                    </a:cubicBezTo>
                    <a:cubicBezTo>
                      <a:pt x="17929" y="11601"/>
                      <a:pt x="31116" y="4694"/>
                      <a:pt x="37898" y="1554"/>
                    </a:cubicBezTo>
                    <a:close/>
                    <a:moveTo>
                      <a:pt x="8258" y="18635"/>
                    </a:moveTo>
                    <a:cubicBezTo>
                      <a:pt x="8384" y="18635"/>
                      <a:pt x="8384" y="18635"/>
                      <a:pt x="8258" y="18635"/>
                    </a:cubicBezTo>
                    <a:cubicBezTo>
                      <a:pt x="8384" y="18509"/>
                      <a:pt x="8384" y="18509"/>
                      <a:pt x="8509" y="18509"/>
                    </a:cubicBezTo>
                    <a:cubicBezTo>
                      <a:pt x="8635" y="18509"/>
                      <a:pt x="8635" y="18383"/>
                      <a:pt x="8761" y="18383"/>
                    </a:cubicBezTo>
                    <a:cubicBezTo>
                      <a:pt x="14161" y="15872"/>
                      <a:pt x="23707" y="10848"/>
                      <a:pt x="30614" y="6829"/>
                    </a:cubicBezTo>
                    <a:cubicBezTo>
                      <a:pt x="37648" y="2810"/>
                      <a:pt x="39155" y="1428"/>
                      <a:pt x="34256" y="3689"/>
                    </a:cubicBezTo>
                    <a:cubicBezTo>
                      <a:pt x="34256" y="3689"/>
                      <a:pt x="34256" y="3689"/>
                      <a:pt x="34131" y="3689"/>
                    </a:cubicBezTo>
                    <a:cubicBezTo>
                      <a:pt x="34131" y="3689"/>
                      <a:pt x="34005" y="3689"/>
                      <a:pt x="34005" y="3689"/>
                    </a:cubicBezTo>
                    <a:cubicBezTo>
                      <a:pt x="28730" y="6075"/>
                      <a:pt x="18808" y="11350"/>
                      <a:pt x="11649" y="15495"/>
                    </a:cubicBezTo>
                    <a:cubicBezTo>
                      <a:pt x="4490" y="19765"/>
                      <a:pt x="2983" y="21147"/>
                      <a:pt x="8258" y="18635"/>
                    </a:cubicBezTo>
                    <a:cubicBezTo>
                      <a:pt x="8258" y="18635"/>
                      <a:pt x="8258" y="18635"/>
                      <a:pt x="8258" y="18635"/>
                    </a:cubicBezTo>
                    <a:lnTo>
                      <a:pt x="8258" y="18635"/>
                    </a:ln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01" name="Freeform: Shape 5000">
              <a:extLst>
                <a:ext uri="{FF2B5EF4-FFF2-40B4-BE49-F238E27FC236}">
                  <a16:creationId xmlns:a16="http://schemas.microsoft.com/office/drawing/2014/main" id="{4AC7BA5F-DDAD-483A-BAD3-957E3A5D2228}"/>
                </a:ext>
              </a:extLst>
            </p:cNvPr>
            <p:cNvSpPr/>
            <p:nvPr/>
          </p:nvSpPr>
          <p:spPr>
            <a:xfrm>
              <a:off x="9727446" y="2543647"/>
              <a:ext cx="113914" cy="69893"/>
            </a:xfrm>
            <a:custGeom>
              <a:avLst/>
              <a:gdLst>
                <a:gd name="connsiteX0" fmla="*/ 4271 w 113914"/>
                <a:gd name="connsiteY0" fmla="*/ 67947 h 69893"/>
                <a:gd name="connsiteX1" fmla="*/ 6028 w 113914"/>
                <a:gd name="connsiteY1" fmla="*/ 68952 h 69893"/>
                <a:gd name="connsiteX2" fmla="*/ 14067 w 113914"/>
                <a:gd name="connsiteY2" fmla="*/ 68952 h 69893"/>
                <a:gd name="connsiteX3" fmla="*/ 112282 w 113914"/>
                <a:gd name="connsiteY3" fmla="*/ 12308 h 69893"/>
                <a:gd name="connsiteX4" fmla="*/ 113915 w 113914"/>
                <a:gd name="connsiteY4" fmla="*/ 9922 h 69893"/>
                <a:gd name="connsiteX5" fmla="*/ 112282 w 113914"/>
                <a:gd name="connsiteY5" fmla="*/ 7536 h 69893"/>
                <a:gd name="connsiteX6" fmla="*/ 110021 w 113914"/>
                <a:gd name="connsiteY6" fmla="*/ 6280 h 69893"/>
                <a:gd name="connsiteX7" fmla="*/ 106253 w 113914"/>
                <a:gd name="connsiteY7" fmla="*/ 0 h 69893"/>
                <a:gd name="connsiteX8" fmla="*/ 0 w 113914"/>
                <a:gd name="connsiteY8" fmla="*/ 61416 h 69893"/>
                <a:gd name="connsiteX9" fmla="*/ 1256 w 113914"/>
                <a:gd name="connsiteY9" fmla="*/ 64932 h 69893"/>
                <a:gd name="connsiteX10" fmla="*/ 3768 w 113914"/>
                <a:gd name="connsiteY10" fmla="*/ 67696 h 69893"/>
                <a:gd name="connsiteX11" fmla="*/ 4271 w 113914"/>
                <a:gd name="connsiteY11" fmla="*/ 67947 h 69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914" h="69893">
                  <a:moveTo>
                    <a:pt x="4271" y="67947"/>
                  </a:moveTo>
                  <a:lnTo>
                    <a:pt x="6028" y="68952"/>
                  </a:lnTo>
                  <a:cubicBezTo>
                    <a:pt x="8290" y="70207"/>
                    <a:pt x="11932" y="70207"/>
                    <a:pt x="14067" y="68952"/>
                  </a:cubicBezTo>
                  <a:lnTo>
                    <a:pt x="112282" y="12308"/>
                  </a:lnTo>
                  <a:cubicBezTo>
                    <a:pt x="113412" y="11680"/>
                    <a:pt x="113915" y="10801"/>
                    <a:pt x="113915" y="9922"/>
                  </a:cubicBezTo>
                  <a:cubicBezTo>
                    <a:pt x="113915" y="9043"/>
                    <a:pt x="113412" y="8164"/>
                    <a:pt x="112282" y="7536"/>
                  </a:cubicBezTo>
                  <a:lnTo>
                    <a:pt x="110021" y="6280"/>
                  </a:lnTo>
                  <a:cubicBezTo>
                    <a:pt x="110021" y="6280"/>
                    <a:pt x="106881" y="4145"/>
                    <a:pt x="106253" y="0"/>
                  </a:cubicBezTo>
                  <a:lnTo>
                    <a:pt x="0" y="61416"/>
                  </a:lnTo>
                  <a:cubicBezTo>
                    <a:pt x="126" y="62169"/>
                    <a:pt x="377" y="63551"/>
                    <a:pt x="1256" y="64932"/>
                  </a:cubicBezTo>
                  <a:cubicBezTo>
                    <a:pt x="2135" y="66314"/>
                    <a:pt x="3140" y="67193"/>
                    <a:pt x="3768" y="67696"/>
                  </a:cubicBezTo>
                  <a:cubicBezTo>
                    <a:pt x="4019" y="67696"/>
                    <a:pt x="4145" y="67821"/>
                    <a:pt x="4271" y="67947"/>
                  </a:cubicBezTo>
                  <a:close/>
                </a:path>
              </a:pathLst>
            </a:custGeom>
            <a:solidFill>
              <a:srgbClr val="4740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2" name="Freeform: Shape 5001">
              <a:extLst>
                <a:ext uri="{FF2B5EF4-FFF2-40B4-BE49-F238E27FC236}">
                  <a16:creationId xmlns:a16="http://schemas.microsoft.com/office/drawing/2014/main" id="{3E1D6FB5-4108-4DFE-A0B3-A69A3A6A14B7}"/>
                </a:ext>
              </a:extLst>
            </p:cNvPr>
            <p:cNvSpPr/>
            <p:nvPr/>
          </p:nvSpPr>
          <p:spPr>
            <a:xfrm>
              <a:off x="9727572" y="2543521"/>
              <a:ext cx="107257" cy="64430"/>
            </a:xfrm>
            <a:custGeom>
              <a:avLst/>
              <a:gdLst>
                <a:gd name="connsiteX0" fmla="*/ 106253 w 107257"/>
                <a:gd name="connsiteY0" fmla="*/ 0 h 64430"/>
                <a:gd name="connsiteX1" fmla="*/ 0 w 107257"/>
                <a:gd name="connsiteY1" fmla="*/ 61416 h 64430"/>
                <a:gd name="connsiteX2" fmla="*/ 1005 w 107257"/>
                <a:gd name="connsiteY2" fmla="*/ 64430 h 64430"/>
                <a:gd name="connsiteX3" fmla="*/ 107258 w 107257"/>
                <a:gd name="connsiteY3" fmla="*/ 3014 h 64430"/>
                <a:gd name="connsiteX4" fmla="*/ 106253 w 107257"/>
                <a:gd name="connsiteY4" fmla="*/ 0 h 64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257" h="64430">
                  <a:moveTo>
                    <a:pt x="106253" y="0"/>
                  </a:moveTo>
                  <a:lnTo>
                    <a:pt x="0" y="61416"/>
                  </a:lnTo>
                  <a:cubicBezTo>
                    <a:pt x="126" y="62169"/>
                    <a:pt x="376" y="63300"/>
                    <a:pt x="1005" y="64430"/>
                  </a:cubicBezTo>
                  <a:lnTo>
                    <a:pt x="107258" y="3014"/>
                  </a:lnTo>
                  <a:cubicBezTo>
                    <a:pt x="106756" y="2261"/>
                    <a:pt x="106378" y="1256"/>
                    <a:pt x="106253" y="0"/>
                  </a:cubicBez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3" name="Freeform: Shape 5002">
              <a:extLst>
                <a:ext uri="{FF2B5EF4-FFF2-40B4-BE49-F238E27FC236}">
                  <a16:creationId xmlns:a16="http://schemas.microsoft.com/office/drawing/2014/main" id="{6F300656-7B36-420C-BF2A-92B6BA0D9C71}"/>
                </a:ext>
              </a:extLst>
            </p:cNvPr>
            <p:cNvSpPr/>
            <p:nvPr/>
          </p:nvSpPr>
          <p:spPr>
            <a:xfrm>
              <a:off x="9787481" y="2544853"/>
              <a:ext cx="38934" cy="27328"/>
            </a:xfrm>
            <a:custGeom>
              <a:avLst/>
              <a:gdLst>
                <a:gd name="connsiteX0" fmla="*/ 38934 w 38934"/>
                <a:gd name="connsiteY0" fmla="*/ 3943 h 27328"/>
                <a:gd name="connsiteX1" fmla="*/ 0 w 38934"/>
                <a:gd name="connsiteY1" fmla="*/ 26424 h 27328"/>
                <a:gd name="connsiteX2" fmla="*/ 19467 w 38934"/>
                <a:gd name="connsiteY2" fmla="*/ 4948 h 27328"/>
                <a:gd name="connsiteX3" fmla="*/ 38934 w 38934"/>
                <a:gd name="connsiteY3" fmla="*/ 3943 h 27328"/>
              </a:gdLst>
              <a:ahLst/>
              <a:cxnLst>
                <a:cxn ang="0">
                  <a:pos x="connsiteX0" y="connsiteY0"/>
                </a:cxn>
                <a:cxn ang="0">
                  <a:pos x="connsiteX1" y="connsiteY1"/>
                </a:cxn>
                <a:cxn ang="0">
                  <a:pos x="connsiteX2" y="connsiteY2"/>
                </a:cxn>
                <a:cxn ang="0">
                  <a:pos x="connsiteX3" y="connsiteY3"/>
                </a:cxn>
              </a:cxnLst>
              <a:rect l="l" t="t" r="r" b="b"/>
              <a:pathLst>
                <a:path w="38934" h="27328">
                  <a:moveTo>
                    <a:pt x="38934" y="3943"/>
                  </a:moveTo>
                  <a:cubicBezTo>
                    <a:pt x="38934" y="9595"/>
                    <a:pt x="0" y="32076"/>
                    <a:pt x="0" y="26424"/>
                  </a:cubicBezTo>
                  <a:cubicBezTo>
                    <a:pt x="0" y="20773"/>
                    <a:pt x="8666" y="11227"/>
                    <a:pt x="19467" y="4948"/>
                  </a:cubicBezTo>
                  <a:cubicBezTo>
                    <a:pt x="30268" y="-1207"/>
                    <a:pt x="38934" y="-1709"/>
                    <a:pt x="38934" y="3943"/>
                  </a:cubicBezTo>
                  <a:close/>
                </a:path>
              </a:pathLst>
            </a:custGeom>
            <a:solidFill>
              <a:srgbClr val="3832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4" name="Freeform: Shape 5003">
              <a:extLst>
                <a:ext uri="{FF2B5EF4-FFF2-40B4-BE49-F238E27FC236}">
                  <a16:creationId xmlns:a16="http://schemas.microsoft.com/office/drawing/2014/main" id="{855D7C35-A06A-4CA6-A6FC-E92666BDF831}"/>
                </a:ext>
              </a:extLst>
            </p:cNvPr>
            <p:cNvSpPr/>
            <p:nvPr/>
          </p:nvSpPr>
          <p:spPr>
            <a:xfrm>
              <a:off x="9730084" y="2549173"/>
              <a:ext cx="117412" cy="71589"/>
            </a:xfrm>
            <a:custGeom>
              <a:avLst/>
              <a:gdLst>
                <a:gd name="connsiteX0" fmla="*/ 115045 w 117412"/>
                <a:gd name="connsiteY0" fmla="*/ 3642 h 71589"/>
                <a:gd name="connsiteX1" fmla="*/ 108765 w 117412"/>
                <a:gd name="connsiteY1" fmla="*/ 0 h 71589"/>
                <a:gd name="connsiteX2" fmla="*/ 108765 w 117412"/>
                <a:gd name="connsiteY2" fmla="*/ 0 h 71589"/>
                <a:gd name="connsiteX3" fmla="*/ 107509 w 117412"/>
                <a:gd name="connsiteY3" fmla="*/ 754 h 71589"/>
                <a:gd name="connsiteX4" fmla="*/ 109770 w 117412"/>
                <a:gd name="connsiteY4" fmla="*/ 2010 h 71589"/>
                <a:gd name="connsiteX5" fmla="*/ 111403 w 117412"/>
                <a:gd name="connsiteY5" fmla="*/ 4396 h 71589"/>
                <a:gd name="connsiteX6" fmla="*/ 109770 w 117412"/>
                <a:gd name="connsiteY6" fmla="*/ 6782 h 71589"/>
                <a:gd name="connsiteX7" fmla="*/ 11555 w 117412"/>
                <a:gd name="connsiteY7" fmla="*/ 63425 h 71589"/>
                <a:gd name="connsiteX8" fmla="*/ 3516 w 117412"/>
                <a:gd name="connsiteY8" fmla="*/ 63425 h 71589"/>
                <a:gd name="connsiteX9" fmla="*/ 1759 w 117412"/>
                <a:gd name="connsiteY9" fmla="*/ 62421 h 71589"/>
                <a:gd name="connsiteX10" fmla="*/ 1256 w 117412"/>
                <a:gd name="connsiteY10" fmla="*/ 62169 h 71589"/>
                <a:gd name="connsiteX11" fmla="*/ 0 w 117412"/>
                <a:gd name="connsiteY11" fmla="*/ 62923 h 71589"/>
                <a:gd name="connsiteX12" fmla="*/ 6280 w 117412"/>
                <a:gd name="connsiteY12" fmla="*/ 66565 h 71589"/>
                <a:gd name="connsiteX13" fmla="*/ 9294 w 117412"/>
                <a:gd name="connsiteY13" fmla="*/ 71589 h 71589"/>
                <a:gd name="connsiteX14" fmla="*/ 115798 w 117412"/>
                <a:gd name="connsiteY14" fmla="*/ 9922 h 71589"/>
                <a:gd name="connsiteX15" fmla="*/ 116803 w 117412"/>
                <a:gd name="connsiteY15" fmla="*/ 5401 h 71589"/>
                <a:gd name="connsiteX16" fmla="*/ 115045 w 117412"/>
                <a:gd name="connsiteY16" fmla="*/ 3642 h 7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412" h="71589">
                  <a:moveTo>
                    <a:pt x="115045" y="3642"/>
                  </a:moveTo>
                  <a:lnTo>
                    <a:pt x="108765" y="0"/>
                  </a:lnTo>
                  <a:lnTo>
                    <a:pt x="108765" y="0"/>
                  </a:lnTo>
                  <a:lnTo>
                    <a:pt x="107509" y="754"/>
                  </a:lnTo>
                  <a:lnTo>
                    <a:pt x="109770" y="2010"/>
                  </a:lnTo>
                  <a:cubicBezTo>
                    <a:pt x="110900" y="2638"/>
                    <a:pt x="111403" y="3517"/>
                    <a:pt x="111403" y="4396"/>
                  </a:cubicBezTo>
                  <a:cubicBezTo>
                    <a:pt x="111403" y="5275"/>
                    <a:pt x="110900" y="6154"/>
                    <a:pt x="109770" y="6782"/>
                  </a:cubicBezTo>
                  <a:lnTo>
                    <a:pt x="11555" y="63425"/>
                  </a:lnTo>
                  <a:cubicBezTo>
                    <a:pt x="9294" y="64681"/>
                    <a:pt x="5652" y="64681"/>
                    <a:pt x="3516" y="63425"/>
                  </a:cubicBezTo>
                  <a:lnTo>
                    <a:pt x="1759" y="62421"/>
                  </a:lnTo>
                  <a:cubicBezTo>
                    <a:pt x="1633" y="62295"/>
                    <a:pt x="1381" y="62169"/>
                    <a:pt x="1256" y="62169"/>
                  </a:cubicBezTo>
                  <a:lnTo>
                    <a:pt x="0" y="62923"/>
                  </a:lnTo>
                  <a:lnTo>
                    <a:pt x="6280" y="66565"/>
                  </a:lnTo>
                  <a:cubicBezTo>
                    <a:pt x="7913" y="67444"/>
                    <a:pt x="9294" y="69831"/>
                    <a:pt x="9294" y="71589"/>
                  </a:cubicBezTo>
                  <a:lnTo>
                    <a:pt x="115798" y="9922"/>
                  </a:lnTo>
                  <a:cubicBezTo>
                    <a:pt x="117431" y="9043"/>
                    <a:pt x="117934" y="6782"/>
                    <a:pt x="116803" y="5401"/>
                  </a:cubicBezTo>
                  <a:cubicBezTo>
                    <a:pt x="116301" y="4521"/>
                    <a:pt x="115672" y="4019"/>
                    <a:pt x="115045" y="364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5" name="Freeform: Shape 5004">
              <a:extLst>
                <a:ext uri="{FF2B5EF4-FFF2-40B4-BE49-F238E27FC236}">
                  <a16:creationId xmlns:a16="http://schemas.microsoft.com/office/drawing/2014/main" id="{060901E5-E4CD-43ED-803B-A1D3351961F3}"/>
                </a:ext>
              </a:extLst>
            </p:cNvPr>
            <p:cNvSpPr/>
            <p:nvPr/>
          </p:nvSpPr>
          <p:spPr>
            <a:xfrm>
              <a:off x="9726191" y="2538246"/>
              <a:ext cx="5149" cy="73598"/>
            </a:xfrm>
            <a:custGeom>
              <a:avLst/>
              <a:gdLst>
                <a:gd name="connsiteX0" fmla="*/ 0 w 5149"/>
                <a:gd name="connsiteY0" fmla="*/ 3265 h 73598"/>
                <a:gd name="connsiteX1" fmla="*/ 0 w 5149"/>
                <a:gd name="connsiteY1" fmla="*/ 66440 h 73598"/>
                <a:gd name="connsiteX2" fmla="*/ 3893 w 5149"/>
                <a:gd name="connsiteY2" fmla="*/ 73599 h 73598"/>
                <a:gd name="connsiteX3" fmla="*/ 5149 w 5149"/>
                <a:gd name="connsiteY3" fmla="*/ 72845 h 73598"/>
                <a:gd name="connsiteX4" fmla="*/ 1256 w 5149"/>
                <a:gd name="connsiteY4" fmla="*/ 65686 h 73598"/>
                <a:gd name="connsiteX5" fmla="*/ 1381 w 5149"/>
                <a:gd name="connsiteY5" fmla="*/ 2386 h 73598"/>
                <a:gd name="connsiteX6" fmla="*/ 2135 w 5149"/>
                <a:gd name="connsiteY6" fmla="*/ 0 h 73598"/>
                <a:gd name="connsiteX7" fmla="*/ 0 w 5149"/>
                <a:gd name="connsiteY7" fmla="*/ 3265 h 73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9" h="73598">
                  <a:moveTo>
                    <a:pt x="0" y="3265"/>
                  </a:moveTo>
                  <a:lnTo>
                    <a:pt x="0" y="66440"/>
                  </a:lnTo>
                  <a:cubicBezTo>
                    <a:pt x="0" y="69077"/>
                    <a:pt x="1633" y="72091"/>
                    <a:pt x="3893" y="73599"/>
                  </a:cubicBezTo>
                  <a:lnTo>
                    <a:pt x="5149" y="72845"/>
                  </a:lnTo>
                  <a:cubicBezTo>
                    <a:pt x="3014" y="71338"/>
                    <a:pt x="1256" y="68198"/>
                    <a:pt x="1256" y="65686"/>
                  </a:cubicBezTo>
                  <a:lnTo>
                    <a:pt x="1381" y="2386"/>
                  </a:lnTo>
                  <a:cubicBezTo>
                    <a:pt x="1381" y="1382"/>
                    <a:pt x="1633" y="628"/>
                    <a:pt x="2135" y="0"/>
                  </a:cubicBezTo>
                  <a:cubicBezTo>
                    <a:pt x="879" y="377"/>
                    <a:pt x="0" y="1507"/>
                    <a:pt x="0" y="326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06" name="Graphic 4">
              <a:extLst>
                <a:ext uri="{FF2B5EF4-FFF2-40B4-BE49-F238E27FC236}">
                  <a16:creationId xmlns:a16="http://schemas.microsoft.com/office/drawing/2014/main" id="{84FB7ED1-A2DF-40A1-A747-5F7CF3F14040}"/>
                </a:ext>
              </a:extLst>
            </p:cNvPr>
            <p:cNvGrpSpPr/>
            <p:nvPr/>
          </p:nvGrpSpPr>
          <p:grpSpPr>
            <a:xfrm>
              <a:off x="9738499" y="2554322"/>
              <a:ext cx="109644" cy="98466"/>
              <a:chOff x="9738499" y="2554322"/>
              <a:chExt cx="109644" cy="98466"/>
            </a:xfrm>
            <a:solidFill>
              <a:srgbClr val="3972C1"/>
            </a:solidFill>
          </p:grpSpPr>
          <p:sp>
            <p:nvSpPr>
              <p:cNvPr id="5007" name="Freeform: Shape 5006">
                <a:extLst>
                  <a:ext uri="{FF2B5EF4-FFF2-40B4-BE49-F238E27FC236}">
                    <a16:creationId xmlns:a16="http://schemas.microsoft.com/office/drawing/2014/main" id="{756F3741-022A-4EDD-8DA8-20B099A0BCEC}"/>
                  </a:ext>
                </a:extLst>
              </p:cNvPr>
              <p:cNvSpPr/>
              <p:nvPr/>
            </p:nvSpPr>
            <p:spPr>
              <a:xfrm>
                <a:off x="9739378" y="2590745"/>
                <a:ext cx="107885" cy="62043"/>
              </a:xfrm>
              <a:custGeom>
                <a:avLst/>
                <a:gdLst>
                  <a:gd name="connsiteX0" fmla="*/ 105374 w 107885"/>
                  <a:gd name="connsiteY0" fmla="*/ 2135 h 62043"/>
                  <a:gd name="connsiteX1" fmla="*/ 8164 w 107885"/>
                  <a:gd name="connsiteY1" fmla="*/ 58276 h 62043"/>
                  <a:gd name="connsiteX2" fmla="*/ 0 w 107885"/>
                  <a:gd name="connsiteY2" fmla="*/ 60285 h 62043"/>
                  <a:gd name="connsiteX3" fmla="*/ 0 w 107885"/>
                  <a:gd name="connsiteY3" fmla="*/ 62044 h 62043"/>
                  <a:gd name="connsiteX4" fmla="*/ 8164 w 107885"/>
                  <a:gd name="connsiteY4" fmla="*/ 60160 h 62043"/>
                  <a:gd name="connsiteX5" fmla="*/ 102988 w 107885"/>
                  <a:gd name="connsiteY5" fmla="*/ 5401 h 62043"/>
                  <a:gd name="connsiteX6" fmla="*/ 103741 w 107885"/>
                  <a:gd name="connsiteY6" fmla="*/ 4898 h 62043"/>
                  <a:gd name="connsiteX7" fmla="*/ 107886 w 107885"/>
                  <a:gd name="connsiteY7" fmla="*/ 0 h 62043"/>
                  <a:gd name="connsiteX8" fmla="*/ 105374 w 107885"/>
                  <a:gd name="connsiteY8" fmla="*/ 2135 h 62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885" h="62043">
                    <a:moveTo>
                      <a:pt x="105374" y="2135"/>
                    </a:moveTo>
                    <a:lnTo>
                      <a:pt x="8164" y="58276"/>
                    </a:lnTo>
                    <a:cubicBezTo>
                      <a:pt x="5903" y="59532"/>
                      <a:pt x="2888" y="60285"/>
                      <a:pt x="0" y="60285"/>
                    </a:cubicBezTo>
                    <a:lnTo>
                      <a:pt x="0" y="62044"/>
                    </a:lnTo>
                    <a:cubicBezTo>
                      <a:pt x="3014" y="62044"/>
                      <a:pt x="5903" y="61416"/>
                      <a:pt x="8164" y="60160"/>
                    </a:cubicBezTo>
                    <a:lnTo>
                      <a:pt x="102988" y="5401"/>
                    </a:lnTo>
                    <a:cubicBezTo>
                      <a:pt x="103239" y="5275"/>
                      <a:pt x="103490" y="5024"/>
                      <a:pt x="103741" y="4898"/>
                    </a:cubicBezTo>
                    <a:cubicBezTo>
                      <a:pt x="106378" y="3014"/>
                      <a:pt x="107635" y="628"/>
                      <a:pt x="107886" y="0"/>
                    </a:cubicBezTo>
                    <a:cubicBezTo>
                      <a:pt x="106881" y="1382"/>
                      <a:pt x="105374" y="2135"/>
                      <a:pt x="105374" y="2135"/>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8" name="Freeform: Shape 5007">
                <a:extLst>
                  <a:ext uri="{FF2B5EF4-FFF2-40B4-BE49-F238E27FC236}">
                    <a16:creationId xmlns:a16="http://schemas.microsoft.com/office/drawing/2014/main" id="{9F39C54E-BB8A-4CF5-BC37-39944D229572}"/>
                  </a:ext>
                </a:extLst>
              </p:cNvPr>
              <p:cNvSpPr/>
              <p:nvPr/>
            </p:nvSpPr>
            <p:spPr>
              <a:xfrm>
                <a:off x="9738499" y="2554322"/>
                <a:ext cx="109644" cy="96582"/>
              </a:xfrm>
              <a:custGeom>
                <a:avLst/>
                <a:gdLst>
                  <a:gd name="connsiteX0" fmla="*/ 109644 w 109644"/>
                  <a:gd name="connsiteY0" fmla="*/ 3265 h 96582"/>
                  <a:gd name="connsiteX1" fmla="*/ 108388 w 109644"/>
                  <a:gd name="connsiteY1" fmla="*/ 0 h 96582"/>
                  <a:gd name="connsiteX2" fmla="*/ 107383 w 109644"/>
                  <a:gd name="connsiteY2" fmla="*/ 4521 h 96582"/>
                  <a:gd name="connsiteX3" fmla="*/ 8540 w 109644"/>
                  <a:gd name="connsiteY3" fmla="*/ 61667 h 96582"/>
                  <a:gd name="connsiteX4" fmla="*/ 754 w 109644"/>
                  <a:gd name="connsiteY4" fmla="*/ 63677 h 96582"/>
                  <a:gd name="connsiteX5" fmla="*/ 0 w 109644"/>
                  <a:gd name="connsiteY5" fmla="*/ 63677 h 96582"/>
                  <a:gd name="connsiteX6" fmla="*/ 754 w 109644"/>
                  <a:gd name="connsiteY6" fmla="*/ 66188 h 96582"/>
                  <a:gd name="connsiteX7" fmla="*/ 754 w 109644"/>
                  <a:gd name="connsiteY7" fmla="*/ 66188 h 96582"/>
                  <a:gd name="connsiteX8" fmla="*/ 754 w 109644"/>
                  <a:gd name="connsiteY8" fmla="*/ 96582 h 96582"/>
                  <a:gd name="connsiteX9" fmla="*/ 8918 w 109644"/>
                  <a:gd name="connsiteY9" fmla="*/ 94573 h 96582"/>
                  <a:gd name="connsiteX10" fmla="*/ 106128 w 109644"/>
                  <a:gd name="connsiteY10" fmla="*/ 38432 h 96582"/>
                  <a:gd name="connsiteX11" fmla="*/ 108640 w 109644"/>
                  <a:gd name="connsiteY11" fmla="*/ 36297 h 96582"/>
                  <a:gd name="connsiteX12" fmla="*/ 109519 w 109644"/>
                  <a:gd name="connsiteY12" fmla="*/ 33659 h 96582"/>
                  <a:gd name="connsiteX13" fmla="*/ 109644 w 109644"/>
                  <a:gd name="connsiteY13" fmla="*/ 3265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644" h="96582">
                    <a:moveTo>
                      <a:pt x="109644" y="3265"/>
                    </a:moveTo>
                    <a:cubicBezTo>
                      <a:pt x="109644" y="2135"/>
                      <a:pt x="109142" y="1005"/>
                      <a:pt x="108388" y="0"/>
                    </a:cubicBezTo>
                    <a:cubicBezTo>
                      <a:pt x="109519" y="1507"/>
                      <a:pt x="109016" y="3642"/>
                      <a:pt x="107383" y="4521"/>
                    </a:cubicBezTo>
                    <a:lnTo>
                      <a:pt x="8540" y="61667"/>
                    </a:lnTo>
                    <a:cubicBezTo>
                      <a:pt x="6280" y="62797"/>
                      <a:pt x="3517" y="63677"/>
                      <a:pt x="754" y="63677"/>
                    </a:cubicBezTo>
                    <a:cubicBezTo>
                      <a:pt x="502" y="63677"/>
                      <a:pt x="251" y="63677"/>
                      <a:pt x="0" y="63677"/>
                    </a:cubicBezTo>
                    <a:cubicBezTo>
                      <a:pt x="502" y="64556"/>
                      <a:pt x="754" y="65435"/>
                      <a:pt x="754" y="66188"/>
                    </a:cubicBezTo>
                    <a:lnTo>
                      <a:pt x="754" y="66188"/>
                    </a:lnTo>
                    <a:lnTo>
                      <a:pt x="754" y="96582"/>
                    </a:lnTo>
                    <a:cubicBezTo>
                      <a:pt x="3768" y="96582"/>
                      <a:pt x="6657" y="95954"/>
                      <a:pt x="8918" y="94573"/>
                    </a:cubicBezTo>
                    <a:lnTo>
                      <a:pt x="106128" y="38432"/>
                    </a:lnTo>
                    <a:cubicBezTo>
                      <a:pt x="106128" y="38432"/>
                      <a:pt x="107635" y="37678"/>
                      <a:pt x="108640" y="36297"/>
                    </a:cubicBezTo>
                    <a:cubicBezTo>
                      <a:pt x="109644" y="34915"/>
                      <a:pt x="109519" y="33659"/>
                      <a:pt x="109519" y="33659"/>
                    </a:cubicBezTo>
                    <a:lnTo>
                      <a:pt x="109644" y="3265"/>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09" name="Freeform: Shape 5008">
              <a:extLst>
                <a:ext uri="{FF2B5EF4-FFF2-40B4-BE49-F238E27FC236}">
                  <a16:creationId xmlns:a16="http://schemas.microsoft.com/office/drawing/2014/main" id="{BE50E42A-1049-4FB6-82B7-80F3FBB870D5}"/>
                </a:ext>
              </a:extLst>
            </p:cNvPr>
            <p:cNvSpPr/>
            <p:nvPr/>
          </p:nvSpPr>
          <p:spPr>
            <a:xfrm>
              <a:off x="9739378" y="2558090"/>
              <a:ext cx="108769" cy="63425"/>
            </a:xfrm>
            <a:custGeom>
              <a:avLst/>
              <a:gdLst>
                <a:gd name="connsiteX0" fmla="*/ 108765 w 108769"/>
                <a:gd name="connsiteY0" fmla="*/ 502 h 63425"/>
                <a:gd name="connsiteX1" fmla="*/ 108765 w 108769"/>
                <a:gd name="connsiteY1" fmla="*/ 0 h 63425"/>
                <a:gd name="connsiteX2" fmla="*/ 107886 w 108769"/>
                <a:gd name="connsiteY2" fmla="*/ 2261 h 63425"/>
                <a:gd name="connsiteX3" fmla="*/ 105374 w 108769"/>
                <a:gd name="connsiteY3" fmla="*/ 4396 h 63425"/>
                <a:gd name="connsiteX4" fmla="*/ 8164 w 108769"/>
                <a:gd name="connsiteY4" fmla="*/ 60537 h 63425"/>
                <a:gd name="connsiteX5" fmla="*/ 0 w 108769"/>
                <a:gd name="connsiteY5" fmla="*/ 62546 h 63425"/>
                <a:gd name="connsiteX6" fmla="*/ 0 w 108769"/>
                <a:gd name="connsiteY6" fmla="*/ 63425 h 63425"/>
                <a:gd name="connsiteX7" fmla="*/ 8164 w 108769"/>
                <a:gd name="connsiteY7" fmla="*/ 61416 h 63425"/>
                <a:gd name="connsiteX8" fmla="*/ 105374 w 108769"/>
                <a:gd name="connsiteY8" fmla="*/ 5275 h 63425"/>
                <a:gd name="connsiteX9" fmla="*/ 107886 w 108769"/>
                <a:gd name="connsiteY9" fmla="*/ 3140 h 63425"/>
                <a:gd name="connsiteX10" fmla="*/ 108765 w 108769"/>
                <a:gd name="connsiteY10" fmla="*/ 502 h 6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769" h="63425">
                  <a:moveTo>
                    <a:pt x="108765" y="502"/>
                  </a:moveTo>
                  <a:lnTo>
                    <a:pt x="108765" y="0"/>
                  </a:lnTo>
                  <a:cubicBezTo>
                    <a:pt x="108765" y="502"/>
                    <a:pt x="108514" y="1256"/>
                    <a:pt x="107886" y="2261"/>
                  </a:cubicBezTo>
                  <a:cubicBezTo>
                    <a:pt x="106881" y="3642"/>
                    <a:pt x="105374" y="4396"/>
                    <a:pt x="105374" y="4396"/>
                  </a:cubicBezTo>
                  <a:lnTo>
                    <a:pt x="8164" y="60537"/>
                  </a:lnTo>
                  <a:cubicBezTo>
                    <a:pt x="5903" y="61793"/>
                    <a:pt x="2888" y="62546"/>
                    <a:pt x="0" y="62546"/>
                  </a:cubicBezTo>
                  <a:lnTo>
                    <a:pt x="0" y="63425"/>
                  </a:lnTo>
                  <a:cubicBezTo>
                    <a:pt x="3014" y="63425"/>
                    <a:pt x="5903" y="62797"/>
                    <a:pt x="8164" y="61416"/>
                  </a:cubicBezTo>
                  <a:lnTo>
                    <a:pt x="105374" y="5275"/>
                  </a:lnTo>
                  <a:cubicBezTo>
                    <a:pt x="105374" y="5275"/>
                    <a:pt x="106881" y="4521"/>
                    <a:pt x="107886" y="3140"/>
                  </a:cubicBezTo>
                  <a:cubicBezTo>
                    <a:pt x="108890" y="1758"/>
                    <a:pt x="108765" y="502"/>
                    <a:pt x="108765" y="50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0" name="Freeform: Shape 5009">
              <a:extLst>
                <a:ext uri="{FF2B5EF4-FFF2-40B4-BE49-F238E27FC236}">
                  <a16:creationId xmlns:a16="http://schemas.microsoft.com/office/drawing/2014/main" id="{4F5C11F0-10C2-4A22-9EA2-E0BF1F182E0A}"/>
                </a:ext>
              </a:extLst>
            </p:cNvPr>
            <p:cNvSpPr/>
            <p:nvPr/>
          </p:nvSpPr>
          <p:spPr>
            <a:xfrm>
              <a:off x="9842617" y="2563365"/>
              <a:ext cx="2009" cy="32529"/>
            </a:xfrm>
            <a:custGeom>
              <a:avLst/>
              <a:gdLst>
                <a:gd name="connsiteX0" fmla="*/ 1382 w 2009"/>
                <a:gd name="connsiteY0" fmla="*/ 502 h 32529"/>
                <a:gd name="connsiteX1" fmla="*/ 1382 w 2009"/>
                <a:gd name="connsiteY1" fmla="*/ 30017 h 32529"/>
                <a:gd name="connsiteX2" fmla="*/ 0 w 2009"/>
                <a:gd name="connsiteY2" fmla="*/ 32529 h 32529"/>
                <a:gd name="connsiteX3" fmla="*/ 754 w 2009"/>
                <a:gd name="connsiteY3" fmla="*/ 31901 h 32529"/>
                <a:gd name="connsiteX4" fmla="*/ 2010 w 2009"/>
                <a:gd name="connsiteY4" fmla="*/ 29515 h 32529"/>
                <a:gd name="connsiteX5" fmla="*/ 2010 w 2009"/>
                <a:gd name="connsiteY5" fmla="*/ 0 h 32529"/>
                <a:gd name="connsiteX6" fmla="*/ 1382 w 2009"/>
                <a:gd name="connsiteY6" fmla="*/ 502 h 32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 h="32529">
                  <a:moveTo>
                    <a:pt x="1382" y="502"/>
                  </a:moveTo>
                  <a:cubicBezTo>
                    <a:pt x="1382" y="502"/>
                    <a:pt x="1382" y="29264"/>
                    <a:pt x="1382" y="30017"/>
                  </a:cubicBezTo>
                  <a:cubicBezTo>
                    <a:pt x="1382" y="30771"/>
                    <a:pt x="0" y="32529"/>
                    <a:pt x="0" y="32529"/>
                  </a:cubicBezTo>
                  <a:lnTo>
                    <a:pt x="754" y="31901"/>
                  </a:lnTo>
                  <a:cubicBezTo>
                    <a:pt x="754" y="31901"/>
                    <a:pt x="2010" y="30143"/>
                    <a:pt x="2010" y="29515"/>
                  </a:cubicBezTo>
                  <a:cubicBezTo>
                    <a:pt x="2010" y="28761"/>
                    <a:pt x="2010" y="0"/>
                    <a:pt x="2010" y="0"/>
                  </a:cubicBezTo>
                  <a:lnTo>
                    <a:pt x="1382"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1" name="Freeform: Shape 5010">
              <a:extLst>
                <a:ext uri="{FF2B5EF4-FFF2-40B4-BE49-F238E27FC236}">
                  <a16:creationId xmlns:a16="http://schemas.microsoft.com/office/drawing/2014/main" id="{988274F0-310D-4045-996C-3CE4704CCD2C}"/>
                </a:ext>
              </a:extLst>
            </p:cNvPr>
            <p:cNvSpPr/>
            <p:nvPr/>
          </p:nvSpPr>
          <p:spPr>
            <a:xfrm>
              <a:off x="9746411" y="2619003"/>
              <a:ext cx="2009" cy="32403"/>
            </a:xfrm>
            <a:custGeom>
              <a:avLst/>
              <a:gdLst>
                <a:gd name="connsiteX0" fmla="*/ 1256 w 2009"/>
                <a:gd name="connsiteY0" fmla="*/ 377 h 32403"/>
                <a:gd name="connsiteX1" fmla="*/ 1256 w 2009"/>
                <a:gd name="connsiteY1" fmla="*/ 29892 h 32403"/>
                <a:gd name="connsiteX2" fmla="*/ 0 w 2009"/>
                <a:gd name="connsiteY2" fmla="*/ 32403 h 32403"/>
                <a:gd name="connsiteX3" fmla="*/ 628 w 2009"/>
                <a:gd name="connsiteY3" fmla="*/ 32027 h 32403"/>
                <a:gd name="connsiteX4" fmla="*/ 2009 w 2009"/>
                <a:gd name="connsiteY4" fmla="*/ 29515 h 32403"/>
                <a:gd name="connsiteX5" fmla="*/ 2009 w 2009"/>
                <a:gd name="connsiteY5" fmla="*/ 0 h 32403"/>
                <a:gd name="connsiteX6" fmla="*/ 1256 w 2009"/>
                <a:gd name="connsiteY6" fmla="*/ 377 h 32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 h="32403">
                  <a:moveTo>
                    <a:pt x="1256" y="377"/>
                  </a:moveTo>
                  <a:cubicBezTo>
                    <a:pt x="1256" y="377"/>
                    <a:pt x="1256" y="29138"/>
                    <a:pt x="1256" y="29892"/>
                  </a:cubicBezTo>
                  <a:cubicBezTo>
                    <a:pt x="1256" y="30645"/>
                    <a:pt x="0" y="32403"/>
                    <a:pt x="0" y="32403"/>
                  </a:cubicBezTo>
                  <a:lnTo>
                    <a:pt x="628" y="32027"/>
                  </a:lnTo>
                  <a:cubicBezTo>
                    <a:pt x="628" y="32027"/>
                    <a:pt x="2009" y="30394"/>
                    <a:pt x="2009" y="29515"/>
                  </a:cubicBezTo>
                  <a:cubicBezTo>
                    <a:pt x="2009" y="28761"/>
                    <a:pt x="2009" y="0"/>
                    <a:pt x="2009" y="0"/>
                  </a:cubicBezTo>
                  <a:lnTo>
                    <a:pt x="1256"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2" name="Freeform: Shape 5011">
              <a:extLst>
                <a:ext uri="{FF2B5EF4-FFF2-40B4-BE49-F238E27FC236}">
                  <a16:creationId xmlns:a16="http://schemas.microsoft.com/office/drawing/2014/main" id="{D8388BD3-8F6A-4C70-9516-3001325763A4}"/>
                </a:ext>
              </a:extLst>
            </p:cNvPr>
            <p:cNvSpPr/>
            <p:nvPr/>
          </p:nvSpPr>
          <p:spPr>
            <a:xfrm>
              <a:off x="9833826" y="2476366"/>
              <a:ext cx="7661" cy="77202"/>
            </a:xfrm>
            <a:custGeom>
              <a:avLst/>
              <a:gdLst>
                <a:gd name="connsiteX0" fmla="*/ 6908 w 7661"/>
                <a:gd name="connsiteY0" fmla="*/ 2097 h 77202"/>
                <a:gd name="connsiteX1" fmla="*/ 4270 w 7661"/>
                <a:gd name="connsiteY1" fmla="*/ 590 h 77202"/>
                <a:gd name="connsiteX2" fmla="*/ 0 w 7661"/>
                <a:gd name="connsiteY2" fmla="*/ 3102 h 77202"/>
                <a:gd name="connsiteX3" fmla="*/ 0 w 7661"/>
                <a:gd name="connsiteY3" fmla="*/ 66276 h 77202"/>
                <a:gd name="connsiteX4" fmla="*/ 4270 w 7661"/>
                <a:gd name="connsiteY4" fmla="*/ 73811 h 77202"/>
                <a:gd name="connsiteX5" fmla="*/ 4270 w 7661"/>
                <a:gd name="connsiteY5" fmla="*/ 73811 h 77202"/>
                <a:gd name="connsiteX6" fmla="*/ 6028 w 7661"/>
                <a:gd name="connsiteY6" fmla="*/ 74816 h 77202"/>
                <a:gd name="connsiteX7" fmla="*/ 7661 w 7661"/>
                <a:gd name="connsiteY7" fmla="*/ 77203 h 77202"/>
                <a:gd name="connsiteX8" fmla="*/ 6908 w 7661"/>
                <a:gd name="connsiteY8" fmla="*/ 2097 h 7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1" h="77202">
                  <a:moveTo>
                    <a:pt x="6908" y="2097"/>
                  </a:moveTo>
                  <a:lnTo>
                    <a:pt x="4270" y="590"/>
                  </a:lnTo>
                  <a:cubicBezTo>
                    <a:pt x="1883" y="-792"/>
                    <a:pt x="0" y="338"/>
                    <a:pt x="0" y="3102"/>
                  </a:cubicBezTo>
                  <a:lnTo>
                    <a:pt x="0" y="66276"/>
                  </a:lnTo>
                  <a:cubicBezTo>
                    <a:pt x="0" y="69039"/>
                    <a:pt x="1883" y="72430"/>
                    <a:pt x="4270" y="73811"/>
                  </a:cubicBezTo>
                  <a:lnTo>
                    <a:pt x="4270" y="73811"/>
                  </a:lnTo>
                  <a:lnTo>
                    <a:pt x="6028" y="74816"/>
                  </a:lnTo>
                  <a:cubicBezTo>
                    <a:pt x="7158" y="75444"/>
                    <a:pt x="7661" y="76323"/>
                    <a:pt x="7661" y="77203"/>
                  </a:cubicBezTo>
                  <a:lnTo>
                    <a:pt x="6908" y="2097"/>
                  </a:lnTo>
                  <a:close/>
                </a:path>
              </a:pathLst>
            </a:custGeom>
            <a:solidFill>
              <a:srgbClr val="1B8CD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3" name="Freeform: Shape 5012">
              <a:extLst>
                <a:ext uri="{FF2B5EF4-FFF2-40B4-BE49-F238E27FC236}">
                  <a16:creationId xmlns:a16="http://schemas.microsoft.com/office/drawing/2014/main" id="{A093A641-9674-497B-A34A-CE4C4411578E}"/>
                </a:ext>
              </a:extLst>
            </p:cNvPr>
            <p:cNvSpPr/>
            <p:nvPr/>
          </p:nvSpPr>
          <p:spPr>
            <a:xfrm>
              <a:off x="9727321" y="2477835"/>
              <a:ext cx="113937" cy="135705"/>
            </a:xfrm>
            <a:custGeom>
              <a:avLst/>
              <a:gdLst>
                <a:gd name="connsiteX0" fmla="*/ 112282 w 113937"/>
                <a:gd name="connsiteY0" fmla="*/ 0 h 135705"/>
                <a:gd name="connsiteX1" fmla="*/ 1256 w 113937"/>
                <a:gd name="connsiteY1" fmla="*/ 60286 h 135705"/>
                <a:gd name="connsiteX2" fmla="*/ 126 w 113937"/>
                <a:gd name="connsiteY2" fmla="*/ 63049 h 135705"/>
                <a:gd name="connsiteX3" fmla="*/ 0 w 113937"/>
                <a:gd name="connsiteY3" fmla="*/ 126223 h 135705"/>
                <a:gd name="connsiteX4" fmla="*/ 4271 w 113937"/>
                <a:gd name="connsiteY4" fmla="*/ 133758 h 135705"/>
                <a:gd name="connsiteX5" fmla="*/ 6029 w 113937"/>
                <a:gd name="connsiteY5" fmla="*/ 134763 h 135705"/>
                <a:gd name="connsiteX6" fmla="*/ 14067 w 113937"/>
                <a:gd name="connsiteY6" fmla="*/ 134763 h 135705"/>
                <a:gd name="connsiteX7" fmla="*/ 112282 w 113937"/>
                <a:gd name="connsiteY7" fmla="*/ 78120 h 135705"/>
                <a:gd name="connsiteX8" fmla="*/ 113915 w 113937"/>
                <a:gd name="connsiteY8" fmla="*/ 75734 h 135705"/>
                <a:gd name="connsiteX9" fmla="*/ 112282 w 113937"/>
                <a:gd name="connsiteY9" fmla="*/ 0 h 135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937" h="135705">
                  <a:moveTo>
                    <a:pt x="112282" y="0"/>
                  </a:moveTo>
                  <a:cubicBezTo>
                    <a:pt x="112282" y="0"/>
                    <a:pt x="2010" y="59783"/>
                    <a:pt x="1256" y="60286"/>
                  </a:cubicBezTo>
                  <a:cubicBezTo>
                    <a:pt x="503" y="60788"/>
                    <a:pt x="126" y="61667"/>
                    <a:pt x="126" y="63049"/>
                  </a:cubicBezTo>
                  <a:lnTo>
                    <a:pt x="0" y="126223"/>
                  </a:lnTo>
                  <a:cubicBezTo>
                    <a:pt x="0" y="128986"/>
                    <a:pt x="1884" y="132377"/>
                    <a:pt x="4271" y="133758"/>
                  </a:cubicBezTo>
                  <a:lnTo>
                    <a:pt x="6029" y="134763"/>
                  </a:lnTo>
                  <a:cubicBezTo>
                    <a:pt x="8290" y="136019"/>
                    <a:pt x="11932" y="136019"/>
                    <a:pt x="14067" y="134763"/>
                  </a:cubicBezTo>
                  <a:lnTo>
                    <a:pt x="112282" y="78120"/>
                  </a:lnTo>
                  <a:cubicBezTo>
                    <a:pt x="113412" y="77492"/>
                    <a:pt x="113915" y="76613"/>
                    <a:pt x="113915" y="75734"/>
                  </a:cubicBezTo>
                  <a:cubicBezTo>
                    <a:pt x="114166" y="74855"/>
                    <a:pt x="112282" y="0"/>
                    <a:pt x="112282" y="0"/>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4" name="Freeform: Shape 5013">
              <a:extLst>
                <a:ext uri="{FF2B5EF4-FFF2-40B4-BE49-F238E27FC236}">
                  <a16:creationId xmlns:a16="http://schemas.microsoft.com/office/drawing/2014/main" id="{E693BD3E-6D9E-4432-8D0B-E7730A4104A7}"/>
                </a:ext>
              </a:extLst>
            </p:cNvPr>
            <p:cNvSpPr/>
            <p:nvPr/>
          </p:nvSpPr>
          <p:spPr>
            <a:xfrm>
              <a:off x="9727446" y="2537755"/>
              <a:ext cx="7661" cy="75721"/>
            </a:xfrm>
            <a:custGeom>
              <a:avLst/>
              <a:gdLst>
                <a:gd name="connsiteX0" fmla="*/ 5903 w 7661"/>
                <a:gd name="connsiteY0" fmla="*/ 1495 h 75721"/>
                <a:gd name="connsiteX1" fmla="*/ 4396 w 7661"/>
                <a:gd name="connsiteY1" fmla="*/ 616 h 75721"/>
                <a:gd name="connsiteX2" fmla="*/ 126 w 7661"/>
                <a:gd name="connsiteY2" fmla="*/ 3002 h 75721"/>
                <a:gd name="connsiteX3" fmla="*/ 0 w 7661"/>
                <a:gd name="connsiteY3" fmla="*/ 66302 h 75721"/>
                <a:gd name="connsiteX4" fmla="*/ 4271 w 7661"/>
                <a:gd name="connsiteY4" fmla="*/ 73838 h 75721"/>
                <a:gd name="connsiteX5" fmla="*/ 7661 w 7661"/>
                <a:gd name="connsiteY5" fmla="*/ 75722 h 75721"/>
                <a:gd name="connsiteX6" fmla="*/ 5903 w 7661"/>
                <a:gd name="connsiteY6" fmla="*/ 1495 h 75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61" h="75721">
                  <a:moveTo>
                    <a:pt x="5903" y="1495"/>
                  </a:moveTo>
                  <a:lnTo>
                    <a:pt x="4396" y="616"/>
                  </a:lnTo>
                  <a:cubicBezTo>
                    <a:pt x="2010" y="-765"/>
                    <a:pt x="126" y="239"/>
                    <a:pt x="126" y="3002"/>
                  </a:cubicBezTo>
                  <a:lnTo>
                    <a:pt x="0" y="66302"/>
                  </a:lnTo>
                  <a:cubicBezTo>
                    <a:pt x="0" y="69065"/>
                    <a:pt x="1884" y="72456"/>
                    <a:pt x="4271" y="73838"/>
                  </a:cubicBezTo>
                  <a:lnTo>
                    <a:pt x="7661" y="75722"/>
                  </a:lnTo>
                  <a:lnTo>
                    <a:pt x="5903" y="1495"/>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5" name="Freeform: Shape 5014">
              <a:extLst>
                <a:ext uri="{FF2B5EF4-FFF2-40B4-BE49-F238E27FC236}">
                  <a16:creationId xmlns:a16="http://schemas.microsoft.com/office/drawing/2014/main" id="{A37CE2E3-19B3-4376-B3D2-A919B3EDC479}"/>
                </a:ext>
              </a:extLst>
            </p:cNvPr>
            <p:cNvSpPr/>
            <p:nvPr/>
          </p:nvSpPr>
          <p:spPr>
            <a:xfrm>
              <a:off x="9622701" y="2587856"/>
              <a:ext cx="116677" cy="64932"/>
            </a:xfrm>
            <a:custGeom>
              <a:avLst/>
              <a:gdLst>
                <a:gd name="connsiteX0" fmla="*/ 108513 w 116677"/>
                <a:gd name="connsiteY0" fmla="*/ 61165 h 64932"/>
                <a:gd name="connsiteX1" fmla="*/ 2511 w 116677"/>
                <a:gd name="connsiteY1" fmla="*/ 0 h 64932"/>
                <a:gd name="connsiteX2" fmla="*/ 0 w 116677"/>
                <a:gd name="connsiteY2" fmla="*/ 377 h 64932"/>
                <a:gd name="connsiteX3" fmla="*/ 108513 w 116677"/>
                <a:gd name="connsiteY3" fmla="*/ 63049 h 64932"/>
                <a:gd name="connsiteX4" fmla="*/ 116677 w 116677"/>
                <a:gd name="connsiteY4" fmla="*/ 64932 h 64932"/>
                <a:gd name="connsiteX5" fmla="*/ 116677 w 116677"/>
                <a:gd name="connsiteY5" fmla="*/ 63174 h 64932"/>
                <a:gd name="connsiteX6" fmla="*/ 108513 w 116677"/>
                <a:gd name="connsiteY6" fmla="*/ 61165 h 6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677" h="64932">
                  <a:moveTo>
                    <a:pt x="108513" y="61165"/>
                  </a:moveTo>
                  <a:lnTo>
                    <a:pt x="2511" y="0"/>
                  </a:lnTo>
                  <a:lnTo>
                    <a:pt x="0" y="377"/>
                  </a:lnTo>
                  <a:lnTo>
                    <a:pt x="108513" y="63049"/>
                  </a:lnTo>
                  <a:cubicBezTo>
                    <a:pt x="110774" y="64305"/>
                    <a:pt x="113663" y="64932"/>
                    <a:pt x="116677" y="64932"/>
                  </a:cubicBezTo>
                  <a:lnTo>
                    <a:pt x="116677" y="63174"/>
                  </a:lnTo>
                  <a:cubicBezTo>
                    <a:pt x="113663" y="63174"/>
                    <a:pt x="110774" y="62546"/>
                    <a:pt x="108513" y="6116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6" name="Freeform: Shape 5015">
              <a:extLst>
                <a:ext uri="{FF2B5EF4-FFF2-40B4-BE49-F238E27FC236}">
                  <a16:creationId xmlns:a16="http://schemas.microsoft.com/office/drawing/2014/main" id="{5323288E-9F9B-43D0-8FB4-3315EF4BE345}"/>
                </a:ext>
              </a:extLst>
            </p:cNvPr>
            <p:cNvSpPr/>
            <p:nvPr/>
          </p:nvSpPr>
          <p:spPr>
            <a:xfrm>
              <a:off x="9625087" y="2461131"/>
              <a:ext cx="114172" cy="189899"/>
            </a:xfrm>
            <a:custGeom>
              <a:avLst/>
              <a:gdLst>
                <a:gd name="connsiteX0" fmla="*/ 111277 w 114172"/>
                <a:gd name="connsiteY0" fmla="*/ 154482 h 189899"/>
                <a:gd name="connsiteX1" fmla="*/ 104997 w 114172"/>
                <a:gd name="connsiteY1" fmla="*/ 150839 h 189899"/>
                <a:gd name="connsiteX2" fmla="*/ 101104 w 114172"/>
                <a:gd name="connsiteY2" fmla="*/ 143680 h 189899"/>
                <a:gd name="connsiteX3" fmla="*/ 101104 w 114172"/>
                <a:gd name="connsiteY3" fmla="*/ 80506 h 189899"/>
                <a:gd name="connsiteX4" fmla="*/ 104997 w 114172"/>
                <a:gd name="connsiteY4" fmla="*/ 77743 h 189899"/>
                <a:gd name="connsiteX5" fmla="*/ 108890 w 114172"/>
                <a:gd name="connsiteY5" fmla="*/ 75734 h 189899"/>
                <a:gd name="connsiteX6" fmla="*/ 111025 w 114172"/>
                <a:gd name="connsiteY6" fmla="*/ 70961 h 189899"/>
                <a:gd name="connsiteX7" fmla="*/ 104871 w 114172"/>
                <a:gd name="connsiteY7" fmla="*/ 60537 h 189899"/>
                <a:gd name="connsiteX8" fmla="*/ 0 w 114172"/>
                <a:gd name="connsiteY8" fmla="*/ 0 h 189899"/>
                <a:gd name="connsiteX9" fmla="*/ 0 w 114172"/>
                <a:gd name="connsiteY9" fmla="*/ 126725 h 189899"/>
                <a:gd name="connsiteX10" fmla="*/ 106001 w 114172"/>
                <a:gd name="connsiteY10" fmla="*/ 187890 h 189899"/>
                <a:gd name="connsiteX11" fmla="*/ 114165 w 114172"/>
                <a:gd name="connsiteY11" fmla="*/ 189899 h 189899"/>
                <a:gd name="connsiteX12" fmla="*/ 114165 w 114172"/>
                <a:gd name="connsiteY12" fmla="*/ 159505 h 189899"/>
                <a:gd name="connsiteX13" fmla="*/ 111277 w 114172"/>
                <a:gd name="connsiteY13" fmla="*/ 154482 h 189899"/>
                <a:gd name="connsiteX14" fmla="*/ 39186 w 114172"/>
                <a:gd name="connsiteY14" fmla="*/ 72971 h 189899"/>
                <a:gd name="connsiteX15" fmla="*/ 36046 w 114172"/>
                <a:gd name="connsiteY15" fmla="*/ 75357 h 189899"/>
                <a:gd name="connsiteX16" fmla="*/ 8037 w 114172"/>
                <a:gd name="connsiteY16" fmla="*/ 59155 h 189899"/>
                <a:gd name="connsiteX17" fmla="*/ 4898 w 114172"/>
                <a:gd name="connsiteY17" fmla="*/ 53252 h 189899"/>
                <a:gd name="connsiteX18" fmla="*/ 4898 w 114172"/>
                <a:gd name="connsiteY18" fmla="*/ 29012 h 189899"/>
                <a:gd name="connsiteX19" fmla="*/ 8037 w 114172"/>
                <a:gd name="connsiteY19" fmla="*/ 26626 h 189899"/>
                <a:gd name="connsiteX20" fmla="*/ 36046 w 114172"/>
                <a:gd name="connsiteY20" fmla="*/ 42828 h 189899"/>
                <a:gd name="connsiteX21" fmla="*/ 39186 w 114172"/>
                <a:gd name="connsiteY21" fmla="*/ 48731 h 189899"/>
                <a:gd name="connsiteX22" fmla="*/ 39186 w 114172"/>
                <a:gd name="connsiteY22" fmla="*/ 72971 h 189899"/>
                <a:gd name="connsiteX23" fmla="*/ 92940 w 114172"/>
                <a:gd name="connsiteY23" fmla="*/ 124841 h 189899"/>
                <a:gd name="connsiteX24" fmla="*/ 89800 w 114172"/>
                <a:gd name="connsiteY24" fmla="*/ 127227 h 189899"/>
                <a:gd name="connsiteX25" fmla="*/ 49861 w 114172"/>
                <a:gd name="connsiteY25" fmla="*/ 104118 h 189899"/>
                <a:gd name="connsiteX26" fmla="*/ 46721 w 114172"/>
                <a:gd name="connsiteY26" fmla="*/ 98215 h 189899"/>
                <a:gd name="connsiteX27" fmla="*/ 46721 w 114172"/>
                <a:gd name="connsiteY27" fmla="*/ 53127 h 189899"/>
                <a:gd name="connsiteX28" fmla="*/ 49861 w 114172"/>
                <a:gd name="connsiteY28" fmla="*/ 50740 h 189899"/>
                <a:gd name="connsiteX29" fmla="*/ 89800 w 114172"/>
                <a:gd name="connsiteY29" fmla="*/ 73850 h 189899"/>
                <a:gd name="connsiteX30" fmla="*/ 92940 w 114172"/>
                <a:gd name="connsiteY30" fmla="*/ 79753 h 189899"/>
                <a:gd name="connsiteX31" fmla="*/ 92940 w 114172"/>
                <a:gd name="connsiteY31" fmla="*/ 124841 h 18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4172" h="189899">
                  <a:moveTo>
                    <a:pt x="111277" y="154482"/>
                  </a:moveTo>
                  <a:lnTo>
                    <a:pt x="104997" y="150839"/>
                  </a:lnTo>
                  <a:cubicBezTo>
                    <a:pt x="102861" y="149332"/>
                    <a:pt x="101104" y="146192"/>
                    <a:pt x="101104" y="143680"/>
                  </a:cubicBezTo>
                  <a:lnTo>
                    <a:pt x="101104" y="80506"/>
                  </a:lnTo>
                  <a:cubicBezTo>
                    <a:pt x="101104" y="77869"/>
                    <a:pt x="102736" y="76738"/>
                    <a:pt x="104997" y="77743"/>
                  </a:cubicBezTo>
                  <a:cubicBezTo>
                    <a:pt x="105625" y="77618"/>
                    <a:pt x="107383" y="77241"/>
                    <a:pt x="108890" y="75734"/>
                  </a:cubicBezTo>
                  <a:cubicBezTo>
                    <a:pt x="110774" y="73850"/>
                    <a:pt x="111025" y="71589"/>
                    <a:pt x="111025" y="70961"/>
                  </a:cubicBezTo>
                  <a:cubicBezTo>
                    <a:pt x="111025" y="67696"/>
                    <a:pt x="109393" y="63174"/>
                    <a:pt x="104871" y="60537"/>
                  </a:cubicBezTo>
                  <a:lnTo>
                    <a:pt x="0" y="0"/>
                  </a:lnTo>
                  <a:lnTo>
                    <a:pt x="0" y="126725"/>
                  </a:lnTo>
                  <a:lnTo>
                    <a:pt x="106001" y="187890"/>
                  </a:lnTo>
                  <a:cubicBezTo>
                    <a:pt x="108263" y="189146"/>
                    <a:pt x="111277" y="189899"/>
                    <a:pt x="114165" y="189899"/>
                  </a:cubicBezTo>
                  <a:lnTo>
                    <a:pt x="114165" y="159505"/>
                  </a:lnTo>
                  <a:cubicBezTo>
                    <a:pt x="114291" y="157747"/>
                    <a:pt x="112784" y="155361"/>
                    <a:pt x="111277" y="154482"/>
                  </a:cubicBezTo>
                  <a:close/>
                  <a:moveTo>
                    <a:pt x="39186" y="72971"/>
                  </a:moveTo>
                  <a:cubicBezTo>
                    <a:pt x="39186" y="75231"/>
                    <a:pt x="37803" y="76362"/>
                    <a:pt x="36046" y="75357"/>
                  </a:cubicBezTo>
                  <a:lnTo>
                    <a:pt x="8037" y="59155"/>
                  </a:lnTo>
                  <a:cubicBezTo>
                    <a:pt x="6280" y="58150"/>
                    <a:pt x="4898" y="55513"/>
                    <a:pt x="4898" y="53252"/>
                  </a:cubicBezTo>
                  <a:lnTo>
                    <a:pt x="4898" y="29012"/>
                  </a:lnTo>
                  <a:cubicBezTo>
                    <a:pt x="4898" y="26752"/>
                    <a:pt x="6280" y="25621"/>
                    <a:pt x="8037" y="26626"/>
                  </a:cubicBezTo>
                  <a:lnTo>
                    <a:pt x="36046" y="42828"/>
                  </a:lnTo>
                  <a:cubicBezTo>
                    <a:pt x="37803" y="43833"/>
                    <a:pt x="39186" y="46470"/>
                    <a:pt x="39186" y="48731"/>
                  </a:cubicBezTo>
                  <a:lnTo>
                    <a:pt x="39186" y="72971"/>
                  </a:lnTo>
                  <a:close/>
                  <a:moveTo>
                    <a:pt x="92940" y="124841"/>
                  </a:moveTo>
                  <a:cubicBezTo>
                    <a:pt x="92940" y="127102"/>
                    <a:pt x="91558" y="128232"/>
                    <a:pt x="89800" y="127227"/>
                  </a:cubicBezTo>
                  <a:lnTo>
                    <a:pt x="49861" y="104118"/>
                  </a:lnTo>
                  <a:cubicBezTo>
                    <a:pt x="48102" y="103113"/>
                    <a:pt x="46721" y="100476"/>
                    <a:pt x="46721" y="98215"/>
                  </a:cubicBezTo>
                  <a:lnTo>
                    <a:pt x="46721" y="53127"/>
                  </a:lnTo>
                  <a:cubicBezTo>
                    <a:pt x="46721" y="50866"/>
                    <a:pt x="48102" y="49736"/>
                    <a:pt x="49861" y="50740"/>
                  </a:cubicBezTo>
                  <a:lnTo>
                    <a:pt x="89800" y="73850"/>
                  </a:lnTo>
                  <a:cubicBezTo>
                    <a:pt x="91558" y="74854"/>
                    <a:pt x="92940" y="77492"/>
                    <a:pt x="92940" y="79753"/>
                  </a:cubicBezTo>
                  <a:lnTo>
                    <a:pt x="92940" y="124841"/>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7" name="Freeform: Shape 5016">
              <a:extLst>
                <a:ext uri="{FF2B5EF4-FFF2-40B4-BE49-F238E27FC236}">
                  <a16:creationId xmlns:a16="http://schemas.microsoft.com/office/drawing/2014/main" id="{CCC43AC5-9DB6-4F70-910C-85D733F0CBDC}"/>
                </a:ext>
              </a:extLst>
            </p:cNvPr>
            <p:cNvSpPr/>
            <p:nvPr/>
          </p:nvSpPr>
          <p:spPr>
            <a:xfrm>
              <a:off x="9720790" y="2612598"/>
              <a:ext cx="18587" cy="8917"/>
            </a:xfrm>
            <a:custGeom>
              <a:avLst/>
              <a:gdLst>
                <a:gd name="connsiteX0" fmla="*/ 10424 w 18587"/>
                <a:gd name="connsiteY0" fmla="*/ 6029 h 8917"/>
                <a:gd name="connsiteX1" fmla="*/ 0 w 18587"/>
                <a:gd name="connsiteY1" fmla="*/ 0 h 8917"/>
                <a:gd name="connsiteX2" fmla="*/ 0 w 18587"/>
                <a:gd name="connsiteY2" fmla="*/ 879 h 8917"/>
                <a:gd name="connsiteX3" fmla="*/ 10424 w 18587"/>
                <a:gd name="connsiteY3" fmla="*/ 6908 h 8917"/>
                <a:gd name="connsiteX4" fmla="*/ 18588 w 18587"/>
                <a:gd name="connsiteY4" fmla="*/ 8917 h 8917"/>
                <a:gd name="connsiteX5" fmla="*/ 18588 w 18587"/>
                <a:gd name="connsiteY5" fmla="*/ 8038 h 8917"/>
                <a:gd name="connsiteX6" fmla="*/ 10424 w 18587"/>
                <a:gd name="connsiteY6" fmla="*/ 6029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87" h="8917">
                  <a:moveTo>
                    <a:pt x="10424" y="6029"/>
                  </a:moveTo>
                  <a:lnTo>
                    <a:pt x="0" y="0"/>
                  </a:lnTo>
                  <a:lnTo>
                    <a:pt x="0" y="879"/>
                  </a:lnTo>
                  <a:lnTo>
                    <a:pt x="10424" y="6908"/>
                  </a:lnTo>
                  <a:cubicBezTo>
                    <a:pt x="12684" y="8164"/>
                    <a:pt x="15699" y="8917"/>
                    <a:pt x="18588" y="8917"/>
                  </a:cubicBezTo>
                  <a:lnTo>
                    <a:pt x="18588" y="8038"/>
                  </a:lnTo>
                  <a:cubicBezTo>
                    <a:pt x="15574" y="8038"/>
                    <a:pt x="12684" y="7285"/>
                    <a:pt x="10424" y="6029"/>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8" name="Freeform: Shape 5017">
              <a:extLst>
                <a:ext uri="{FF2B5EF4-FFF2-40B4-BE49-F238E27FC236}">
                  <a16:creationId xmlns:a16="http://schemas.microsoft.com/office/drawing/2014/main" id="{5FB62B19-B869-4802-B2D7-4979413F3D95}"/>
                </a:ext>
              </a:extLst>
            </p:cNvPr>
            <p:cNvSpPr/>
            <p:nvPr/>
          </p:nvSpPr>
          <p:spPr>
            <a:xfrm>
              <a:off x="9719911" y="2533850"/>
              <a:ext cx="2134" cy="111779"/>
            </a:xfrm>
            <a:custGeom>
              <a:avLst/>
              <a:gdLst>
                <a:gd name="connsiteX0" fmla="*/ 754 w 2134"/>
                <a:gd name="connsiteY0" fmla="*/ 377 h 111779"/>
                <a:gd name="connsiteX1" fmla="*/ 754 w 2134"/>
                <a:gd name="connsiteY1" fmla="*/ 109142 h 111779"/>
                <a:gd name="connsiteX2" fmla="*/ 2135 w 2134"/>
                <a:gd name="connsiteY2" fmla="*/ 111779 h 111779"/>
                <a:gd name="connsiteX3" fmla="*/ 1381 w 2134"/>
                <a:gd name="connsiteY3" fmla="*/ 111403 h 111779"/>
                <a:gd name="connsiteX4" fmla="*/ 0 w 2134"/>
                <a:gd name="connsiteY4" fmla="*/ 108765 h 111779"/>
                <a:gd name="connsiteX5" fmla="*/ 0 w 2134"/>
                <a:gd name="connsiteY5" fmla="*/ 0 h 111779"/>
                <a:gd name="connsiteX6" fmla="*/ 754 w 2134"/>
                <a:gd name="connsiteY6" fmla="*/ 377 h 11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4" h="111779">
                  <a:moveTo>
                    <a:pt x="754" y="377"/>
                  </a:moveTo>
                  <a:cubicBezTo>
                    <a:pt x="754" y="377"/>
                    <a:pt x="754" y="108388"/>
                    <a:pt x="754" y="109142"/>
                  </a:cubicBezTo>
                  <a:cubicBezTo>
                    <a:pt x="754" y="109895"/>
                    <a:pt x="2135" y="111779"/>
                    <a:pt x="2135" y="111779"/>
                  </a:cubicBezTo>
                  <a:lnTo>
                    <a:pt x="1381" y="111403"/>
                  </a:lnTo>
                  <a:cubicBezTo>
                    <a:pt x="1381" y="111403"/>
                    <a:pt x="0" y="109770"/>
                    <a:pt x="0" y="108765"/>
                  </a:cubicBezTo>
                  <a:cubicBezTo>
                    <a:pt x="0" y="108012"/>
                    <a:pt x="0" y="0"/>
                    <a:pt x="0" y="0"/>
                  </a:cubicBezTo>
                  <a:lnTo>
                    <a:pt x="754"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9" name="Freeform: Shape 5018">
              <a:extLst>
                <a:ext uri="{FF2B5EF4-FFF2-40B4-BE49-F238E27FC236}">
                  <a16:creationId xmlns:a16="http://schemas.microsoft.com/office/drawing/2014/main" id="{5ED5B0BD-92E2-4C32-99BD-150A2233189A}"/>
                </a:ext>
              </a:extLst>
            </p:cNvPr>
            <p:cNvSpPr/>
            <p:nvPr/>
          </p:nvSpPr>
          <p:spPr>
            <a:xfrm>
              <a:off x="9669170" y="2504587"/>
              <a:ext cx="2135" cy="111779"/>
            </a:xfrm>
            <a:custGeom>
              <a:avLst/>
              <a:gdLst>
                <a:gd name="connsiteX0" fmla="*/ 754 w 2135"/>
                <a:gd name="connsiteY0" fmla="*/ 377 h 111779"/>
                <a:gd name="connsiteX1" fmla="*/ 754 w 2135"/>
                <a:gd name="connsiteY1" fmla="*/ 109142 h 111779"/>
                <a:gd name="connsiteX2" fmla="*/ 2136 w 2135"/>
                <a:gd name="connsiteY2" fmla="*/ 111779 h 111779"/>
                <a:gd name="connsiteX3" fmla="*/ 1382 w 2135"/>
                <a:gd name="connsiteY3" fmla="*/ 111403 h 111779"/>
                <a:gd name="connsiteX4" fmla="*/ 0 w 2135"/>
                <a:gd name="connsiteY4" fmla="*/ 108765 h 111779"/>
                <a:gd name="connsiteX5" fmla="*/ 0 w 2135"/>
                <a:gd name="connsiteY5" fmla="*/ 0 h 111779"/>
                <a:gd name="connsiteX6" fmla="*/ 754 w 2135"/>
                <a:gd name="connsiteY6" fmla="*/ 377 h 11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 h="111779">
                  <a:moveTo>
                    <a:pt x="754" y="377"/>
                  </a:moveTo>
                  <a:cubicBezTo>
                    <a:pt x="754" y="377"/>
                    <a:pt x="754" y="108388"/>
                    <a:pt x="754" y="109142"/>
                  </a:cubicBezTo>
                  <a:cubicBezTo>
                    <a:pt x="754" y="109895"/>
                    <a:pt x="2136" y="111779"/>
                    <a:pt x="2136" y="111779"/>
                  </a:cubicBezTo>
                  <a:lnTo>
                    <a:pt x="1382" y="111403"/>
                  </a:lnTo>
                  <a:cubicBezTo>
                    <a:pt x="1382" y="111403"/>
                    <a:pt x="0" y="109770"/>
                    <a:pt x="0" y="108765"/>
                  </a:cubicBezTo>
                  <a:cubicBezTo>
                    <a:pt x="0" y="108012"/>
                    <a:pt x="0" y="0"/>
                    <a:pt x="0" y="0"/>
                  </a:cubicBezTo>
                  <a:lnTo>
                    <a:pt x="754"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0" name="Freeform: Shape 5019">
              <a:extLst>
                <a:ext uri="{FF2B5EF4-FFF2-40B4-BE49-F238E27FC236}">
                  <a16:creationId xmlns:a16="http://schemas.microsoft.com/office/drawing/2014/main" id="{87E35967-8E1F-4E5D-967E-C52B7D799589}"/>
                </a:ext>
              </a:extLst>
            </p:cNvPr>
            <p:cNvSpPr/>
            <p:nvPr/>
          </p:nvSpPr>
          <p:spPr>
            <a:xfrm>
              <a:off x="9625087" y="2478212"/>
              <a:ext cx="104871" cy="60536"/>
            </a:xfrm>
            <a:custGeom>
              <a:avLst/>
              <a:gdLst>
                <a:gd name="connsiteX0" fmla="*/ 104871 w 104871"/>
                <a:gd name="connsiteY0" fmla="*/ 60537 h 60536"/>
                <a:gd name="connsiteX1" fmla="*/ 0 w 104871"/>
                <a:gd name="connsiteY1" fmla="*/ 0 h 60536"/>
                <a:gd name="connsiteX2" fmla="*/ 0 w 104871"/>
                <a:gd name="connsiteY2" fmla="*/ 879 h 60536"/>
                <a:gd name="connsiteX3" fmla="*/ 102987 w 104871"/>
                <a:gd name="connsiteY3" fmla="*/ 60285 h 60536"/>
                <a:gd name="connsiteX4" fmla="*/ 104871 w 104871"/>
                <a:gd name="connsiteY4" fmla="*/ 60537 h 60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71" h="60536">
                  <a:moveTo>
                    <a:pt x="104871" y="60537"/>
                  </a:moveTo>
                  <a:lnTo>
                    <a:pt x="0" y="0"/>
                  </a:lnTo>
                  <a:lnTo>
                    <a:pt x="0" y="879"/>
                  </a:lnTo>
                  <a:lnTo>
                    <a:pt x="102987" y="60285"/>
                  </a:lnTo>
                  <a:cubicBezTo>
                    <a:pt x="103616" y="60160"/>
                    <a:pt x="104244" y="60285"/>
                    <a:pt x="104871" y="60537"/>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21" name="Graphic 4">
              <a:extLst>
                <a:ext uri="{FF2B5EF4-FFF2-40B4-BE49-F238E27FC236}">
                  <a16:creationId xmlns:a16="http://schemas.microsoft.com/office/drawing/2014/main" id="{84FB7ED1-A2DF-40A1-A747-5F7CF3F14040}"/>
                </a:ext>
              </a:extLst>
            </p:cNvPr>
            <p:cNvGrpSpPr/>
            <p:nvPr/>
          </p:nvGrpSpPr>
          <p:grpSpPr>
            <a:xfrm>
              <a:off x="9673189" y="2573738"/>
              <a:ext cx="6499" cy="15598"/>
              <a:chOff x="9673189" y="2573738"/>
              <a:chExt cx="6499" cy="15598"/>
            </a:xfrm>
            <a:solidFill>
              <a:schemeClr val="accent1"/>
            </a:solidFill>
          </p:grpSpPr>
          <p:sp>
            <p:nvSpPr>
              <p:cNvPr id="5022" name="Freeform: Shape 5021">
                <a:extLst>
                  <a:ext uri="{FF2B5EF4-FFF2-40B4-BE49-F238E27FC236}">
                    <a16:creationId xmlns:a16="http://schemas.microsoft.com/office/drawing/2014/main" id="{15B5556C-4C1C-457B-92C7-98BDA2F16B23}"/>
                  </a:ext>
                </a:extLst>
              </p:cNvPr>
              <p:cNvSpPr/>
              <p:nvPr/>
            </p:nvSpPr>
            <p:spPr>
              <a:xfrm>
                <a:off x="9673189" y="2573738"/>
                <a:ext cx="6405" cy="15598"/>
              </a:xfrm>
              <a:custGeom>
                <a:avLst/>
                <a:gdLst>
                  <a:gd name="connsiteX0" fmla="*/ 0 w 6405"/>
                  <a:gd name="connsiteY0" fmla="*/ 679 h 15598"/>
                  <a:gd name="connsiteX1" fmla="*/ 0 w 6405"/>
                  <a:gd name="connsiteY1" fmla="*/ 11104 h 15598"/>
                  <a:gd name="connsiteX2" fmla="*/ 879 w 6405"/>
                  <a:gd name="connsiteY2" fmla="*/ 12736 h 15598"/>
                  <a:gd name="connsiteX3" fmla="*/ 5526 w 6405"/>
                  <a:gd name="connsiteY3" fmla="*/ 15500 h 15598"/>
                  <a:gd name="connsiteX4" fmla="*/ 6405 w 6405"/>
                  <a:gd name="connsiteY4" fmla="*/ 14997 h 15598"/>
                  <a:gd name="connsiteX5" fmla="*/ 6405 w 6405"/>
                  <a:gd name="connsiteY5" fmla="*/ 4573 h 15598"/>
                  <a:gd name="connsiteX6" fmla="*/ 5526 w 6405"/>
                  <a:gd name="connsiteY6" fmla="*/ 2940 h 15598"/>
                  <a:gd name="connsiteX7" fmla="*/ 879 w 6405"/>
                  <a:gd name="connsiteY7" fmla="*/ 177 h 15598"/>
                  <a:gd name="connsiteX8" fmla="*/ 0 w 6405"/>
                  <a:gd name="connsiteY8" fmla="*/ 679 h 15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5" h="15598">
                    <a:moveTo>
                      <a:pt x="0" y="679"/>
                    </a:moveTo>
                    <a:lnTo>
                      <a:pt x="0" y="11104"/>
                    </a:lnTo>
                    <a:cubicBezTo>
                      <a:pt x="0" y="11732"/>
                      <a:pt x="377" y="12485"/>
                      <a:pt x="879" y="12736"/>
                    </a:cubicBezTo>
                    <a:lnTo>
                      <a:pt x="5526" y="15500"/>
                    </a:lnTo>
                    <a:cubicBezTo>
                      <a:pt x="6029" y="15751"/>
                      <a:pt x="6405" y="15500"/>
                      <a:pt x="6405" y="14997"/>
                    </a:cubicBezTo>
                    <a:lnTo>
                      <a:pt x="6405" y="4573"/>
                    </a:lnTo>
                    <a:cubicBezTo>
                      <a:pt x="6405" y="3945"/>
                      <a:pt x="6029" y="3191"/>
                      <a:pt x="5526" y="2940"/>
                    </a:cubicBezTo>
                    <a:lnTo>
                      <a:pt x="879" y="177"/>
                    </a:lnTo>
                    <a:cubicBezTo>
                      <a:pt x="377" y="-200"/>
                      <a:pt x="0" y="51"/>
                      <a:pt x="0" y="679"/>
                    </a:cubicBezTo>
                    <a:close/>
                  </a:path>
                </a:pathLst>
              </a:custGeom>
              <a:solidFill>
                <a:srgbClr val="000000">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3" name="Freeform: Shape 5022">
                <a:extLst>
                  <a:ext uri="{FF2B5EF4-FFF2-40B4-BE49-F238E27FC236}">
                    <a16:creationId xmlns:a16="http://schemas.microsoft.com/office/drawing/2014/main" id="{DE707EAA-8230-4008-A09E-CEC8BAB14016}"/>
                  </a:ext>
                </a:extLst>
              </p:cNvPr>
              <p:cNvSpPr/>
              <p:nvPr/>
            </p:nvSpPr>
            <p:spPr>
              <a:xfrm>
                <a:off x="9674822" y="2575195"/>
                <a:ext cx="4866" cy="12283"/>
              </a:xfrm>
              <a:custGeom>
                <a:avLst/>
                <a:gdLst>
                  <a:gd name="connsiteX0" fmla="*/ 4773 w 4866"/>
                  <a:gd name="connsiteY0" fmla="*/ 2362 h 12283"/>
                  <a:gd name="connsiteX1" fmla="*/ 4773 w 4866"/>
                  <a:gd name="connsiteY1" fmla="*/ 2362 h 12283"/>
                  <a:gd name="connsiteX2" fmla="*/ 754 w 4866"/>
                  <a:gd name="connsiteY2" fmla="*/ 101 h 12283"/>
                  <a:gd name="connsiteX3" fmla="*/ 0 w 4866"/>
                  <a:gd name="connsiteY3" fmla="*/ 478 h 12283"/>
                  <a:gd name="connsiteX4" fmla="*/ 0 w 4866"/>
                  <a:gd name="connsiteY4" fmla="*/ 8642 h 12283"/>
                  <a:gd name="connsiteX5" fmla="*/ 754 w 4866"/>
                  <a:gd name="connsiteY5" fmla="*/ 9897 h 12283"/>
                  <a:gd name="connsiteX6" fmla="*/ 4773 w 4866"/>
                  <a:gd name="connsiteY6" fmla="*/ 12284 h 12283"/>
                  <a:gd name="connsiteX7" fmla="*/ 4773 w 4866"/>
                  <a:gd name="connsiteY7" fmla="*/ 2864 h 12283"/>
                  <a:gd name="connsiteX8" fmla="*/ 4773 w 4866"/>
                  <a:gd name="connsiteY8" fmla="*/ 2362 h 12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66" h="12283">
                    <a:moveTo>
                      <a:pt x="4773" y="2362"/>
                    </a:moveTo>
                    <a:lnTo>
                      <a:pt x="4773" y="2362"/>
                    </a:lnTo>
                    <a:lnTo>
                      <a:pt x="754" y="101"/>
                    </a:lnTo>
                    <a:cubicBezTo>
                      <a:pt x="377" y="-150"/>
                      <a:pt x="0" y="101"/>
                      <a:pt x="0" y="478"/>
                    </a:cubicBezTo>
                    <a:lnTo>
                      <a:pt x="0" y="8642"/>
                    </a:lnTo>
                    <a:cubicBezTo>
                      <a:pt x="0" y="9144"/>
                      <a:pt x="377" y="9646"/>
                      <a:pt x="754" y="9897"/>
                    </a:cubicBezTo>
                    <a:lnTo>
                      <a:pt x="4773" y="12284"/>
                    </a:lnTo>
                    <a:lnTo>
                      <a:pt x="4773" y="2864"/>
                    </a:lnTo>
                    <a:cubicBezTo>
                      <a:pt x="4898" y="2739"/>
                      <a:pt x="4898" y="2613"/>
                      <a:pt x="4773" y="2362"/>
                    </a:cubicBez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4" name="Freeform: Shape 5023">
                <a:extLst>
                  <a:ext uri="{FF2B5EF4-FFF2-40B4-BE49-F238E27FC236}">
                    <a16:creationId xmlns:a16="http://schemas.microsoft.com/office/drawing/2014/main" id="{2D6C968D-A8BF-45F5-B599-386D85E3AB52}"/>
                  </a:ext>
                </a:extLst>
              </p:cNvPr>
              <p:cNvSpPr/>
              <p:nvPr/>
            </p:nvSpPr>
            <p:spPr>
              <a:xfrm>
                <a:off x="9674069" y="2586029"/>
                <a:ext cx="5526" cy="3181"/>
              </a:xfrm>
              <a:custGeom>
                <a:avLst/>
                <a:gdLst>
                  <a:gd name="connsiteX0" fmla="*/ 0 w 5526"/>
                  <a:gd name="connsiteY0" fmla="*/ 320 h 3181"/>
                  <a:gd name="connsiteX1" fmla="*/ 0 w 5526"/>
                  <a:gd name="connsiteY1" fmla="*/ 320 h 3181"/>
                  <a:gd name="connsiteX2" fmla="*/ 4647 w 5526"/>
                  <a:gd name="connsiteY2" fmla="*/ 3083 h 3181"/>
                  <a:gd name="connsiteX3" fmla="*/ 5526 w 5526"/>
                  <a:gd name="connsiteY3" fmla="*/ 2580 h 3181"/>
                  <a:gd name="connsiteX4" fmla="*/ 5526 w 5526"/>
                  <a:gd name="connsiteY4" fmla="*/ 2204 h 3181"/>
                  <a:gd name="connsiteX5" fmla="*/ 2512 w 5526"/>
                  <a:gd name="connsiteY5" fmla="*/ 445 h 3181"/>
                  <a:gd name="connsiteX6" fmla="*/ 0 w 5526"/>
                  <a:gd name="connsiteY6" fmla="*/ 320 h 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26" h="3181">
                    <a:moveTo>
                      <a:pt x="0" y="320"/>
                    </a:moveTo>
                    <a:lnTo>
                      <a:pt x="0" y="320"/>
                    </a:lnTo>
                    <a:lnTo>
                      <a:pt x="4647" y="3083"/>
                    </a:lnTo>
                    <a:cubicBezTo>
                      <a:pt x="5150" y="3334"/>
                      <a:pt x="5526" y="3083"/>
                      <a:pt x="5526" y="2580"/>
                    </a:cubicBezTo>
                    <a:lnTo>
                      <a:pt x="5526" y="2204"/>
                    </a:lnTo>
                    <a:cubicBezTo>
                      <a:pt x="5526" y="2204"/>
                      <a:pt x="3014" y="822"/>
                      <a:pt x="2512" y="445"/>
                    </a:cubicBezTo>
                    <a:cubicBezTo>
                      <a:pt x="2010" y="-57"/>
                      <a:pt x="1005" y="-183"/>
                      <a:pt x="0" y="320"/>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25" name="Graphic 4">
              <a:extLst>
                <a:ext uri="{FF2B5EF4-FFF2-40B4-BE49-F238E27FC236}">
                  <a16:creationId xmlns:a16="http://schemas.microsoft.com/office/drawing/2014/main" id="{84FB7ED1-A2DF-40A1-A747-5F7CF3F14040}"/>
                </a:ext>
              </a:extLst>
            </p:cNvPr>
            <p:cNvGrpSpPr/>
            <p:nvPr/>
          </p:nvGrpSpPr>
          <p:grpSpPr>
            <a:xfrm>
              <a:off x="9673189" y="2575045"/>
              <a:ext cx="3893" cy="10632"/>
              <a:chOff x="9673189" y="2575045"/>
              <a:chExt cx="3893" cy="10632"/>
            </a:xfrm>
            <a:solidFill>
              <a:schemeClr val="accent1"/>
            </a:solidFill>
          </p:grpSpPr>
          <p:sp>
            <p:nvSpPr>
              <p:cNvPr id="5026" name="Freeform: Shape 5025">
                <a:extLst>
                  <a:ext uri="{FF2B5EF4-FFF2-40B4-BE49-F238E27FC236}">
                    <a16:creationId xmlns:a16="http://schemas.microsoft.com/office/drawing/2014/main" id="{7CE39F36-C24B-41AE-9631-C9128E5D1CF5}"/>
                  </a:ext>
                </a:extLst>
              </p:cNvPr>
              <p:cNvSpPr/>
              <p:nvPr/>
            </p:nvSpPr>
            <p:spPr>
              <a:xfrm>
                <a:off x="9673189" y="2575296"/>
                <a:ext cx="3517" cy="10381"/>
              </a:xfrm>
              <a:custGeom>
                <a:avLst/>
                <a:gdLst>
                  <a:gd name="connsiteX0" fmla="*/ 2136 w 3517"/>
                  <a:gd name="connsiteY0" fmla="*/ 1256 h 10381"/>
                  <a:gd name="connsiteX1" fmla="*/ 0 w 3517"/>
                  <a:gd name="connsiteY1" fmla="*/ 0 h 10381"/>
                  <a:gd name="connsiteX2" fmla="*/ 0 w 3517"/>
                  <a:gd name="connsiteY2" fmla="*/ 8917 h 10381"/>
                  <a:gd name="connsiteX3" fmla="*/ 2136 w 3517"/>
                  <a:gd name="connsiteY3" fmla="*/ 10173 h 10381"/>
                  <a:gd name="connsiteX4" fmla="*/ 3014 w 3517"/>
                  <a:gd name="connsiteY4" fmla="*/ 10299 h 10381"/>
                  <a:gd name="connsiteX5" fmla="*/ 3517 w 3517"/>
                  <a:gd name="connsiteY5" fmla="*/ 9294 h 10381"/>
                  <a:gd name="connsiteX6" fmla="*/ 3517 w 3517"/>
                  <a:gd name="connsiteY6" fmla="*/ 3893 h 10381"/>
                  <a:gd name="connsiteX7" fmla="*/ 2136 w 3517"/>
                  <a:gd name="connsiteY7" fmla="*/ 1256 h 1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7" h="10381">
                    <a:moveTo>
                      <a:pt x="2136" y="1256"/>
                    </a:moveTo>
                    <a:lnTo>
                      <a:pt x="0" y="0"/>
                    </a:lnTo>
                    <a:lnTo>
                      <a:pt x="0" y="8917"/>
                    </a:lnTo>
                    <a:lnTo>
                      <a:pt x="2136" y="10173"/>
                    </a:lnTo>
                    <a:cubicBezTo>
                      <a:pt x="2512" y="10424"/>
                      <a:pt x="2763" y="10424"/>
                      <a:pt x="3014" y="10299"/>
                    </a:cubicBezTo>
                    <a:cubicBezTo>
                      <a:pt x="3266" y="10173"/>
                      <a:pt x="3517" y="9796"/>
                      <a:pt x="3517" y="9294"/>
                    </a:cubicBezTo>
                    <a:lnTo>
                      <a:pt x="3517" y="3893"/>
                    </a:lnTo>
                    <a:cubicBezTo>
                      <a:pt x="3517" y="2763"/>
                      <a:pt x="2889" y="1633"/>
                      <a:pt x="2136" y="1256"/>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7" name="Freeform: Shape 5026">
                <a:extLst>
                  <a:ext uri="{FF2B5EF4-FFF2-40B4-BE49-F238E27FC236}">
                    <a16:creationId xmlns:a16="http://schemas.microsoft.com/office/drawing/2014/main" id="{763908E6-3034-4FE3-8823-ADC5542EFA97}"/>
                  </a:ext>
                </a:extLst>
              </p:cNvPr>
              <p:cNvSpPr/>
              <p:nvPr/>
            </p:nvSpPr>
            <p:spPr>
              <a:xfrm>
                <a:off x="9673315" y="2575045"/>
                <a:ext cx="3767" cy="10424"/>
              </a:xfrm>
              <a:custGeom>
                <a:avLst/>
                <a:gdLst>
                  <a:gd name="connsiteX0" fmla="*/ 2512 w 3767"/>
                  <a:gd name="connsiteY0" fmla="*/ 1256 h 10424"/>
                  <a:gd name="connsiteX1" fmla="*/ 377 w 3767"/>
                  <a:gd name="connsiteY1" fmla="*/ 0 h 10424"/>
                  <a:gd name="connsiteX2" fmla="*/ 0 w 3767"/>
                  <a:gd name="connsiteY2" fmla="*/ 251 h 10424"/>
                  <a:gd name="connsiteX3" fmla="*/ 2135 w 3767"/>
                  <a:gd name="connsiteY3" fmla="*/ 1507 h 10424"/>
                  <a:gd name="connsiteX4" fmla="*/ 3391 w 3767"/>
                  <a:gd name="connsiteY4" fmla="*/ 4019 h 10424"/>
                  <a:gd name="connsiteX5" fmla="*/ 3391 w 3767"/>
                  <a:gd name="connsiteY5" fmla="*/ 9420 h 10424"/>
                  <a:gd name="connsiteX6" fmla="*/ 2888 w 3767"/>
                  <a:gd name="connsiteY6" fmla="*/ 10424 h 10424"/>
                  <a:gd name="connsiteX7" fmla="*/ 3266 w 3767"/>
                  <a:gd name="connsiteY7" fmla="*/ 10173 h 10424"/>
                  <a:gd name="connsiteX8" fmla="*/ 3768 w 3767"/>
                  <a:gd name="connsiteY8" fmla="*/ 9168 h 10424"/>
                  <a:gd name="connsiteX9" fmla="*/ 3768 w 3767"/>
                  <a:gd name="connsiteY9" fmla="*/ 3768 h 10424"/>
                  <a:gd name="connsiteX10" fmla="*/ 2512 w 3767"/>
                  <a:gd name="connsiteY10" fmla="*/ 1256 h 1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 h="10424">
                    <a:moveTo>
                      <a:pt x="2512" y="1256"/>
                    </a:moveTo>
                    <a:lnTo>
                      <a:pt x="377" y="0"/>
                    </a:lnTo>
                    <a:lnTo>
                      <a:pt x="0" y="251"/>
                    </a:lnTo>
                    <a:lnTo>
                      <a:pt x="2135" y="1507"/>
                    </a:lnTo>
                    <a:cubicBezTo>
                      <a:pt x="2888" y="1884"/>
                      <a:pt x="3391" y="3014"/>
                      <a:pt x="3391" y="4019"/>
                    </a:cubicBezTo>
                    <a:lnTo>
                      <a:pt x="3391" y="9420"/>
                    </a:lnTo>
                    <a:cubicBezTo>
                      <a:pt x="3391" y="9922"/>
                      <a:pt x="3266" y="10299"/>
                      <a:pt x="2888" y="10424"/>
                    </a:cubicBezTo>
                    <a:cubicBezTo>
                      <a:pt x="2888" y="10424"/>
                      <a:pt x="3014" y="10299"/>
                      <a:pt x="3266" y="10173"/>
                    </a:cubicBezTo>
                    <a:cubicBezTo>
                      <a:pt x="3517" y="10048"/>
                      <a:pt x="3768" y="9671"/>
                      <a:pt x="3768" y="9168"/>
                    </a:cubicBezTo>
                    <a:lnTo>
                      <a:pt x="3768" y="3768"/>
                    </a:lnTo>
                    <a:cubicBezTo>
                      <a:pt x="3768" y="2889"/>
                      <a:pt x="3140" y="1758"/>
                      <a:pt x="2512" y="125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28" name="Freeform: Shape 5027">
              <a:extLst>
                <a:ext uri="{FF2B5EF4-FFF2-40B4-BE49-F238E27FC236}">
                  <a16:creationId xmlns:a16="http://schemas.microsoft.com/office/drawing/2014/main" id="{14C9EFE0-CFA4-4B0D-BC6F-CDC3E48FF0EB}"/>
                </a:ext>
              </a:extLst>
            </p:cNvPr>
            <p:cNvSpPr/>
            <p:nvPr/>
          </p:nvSpPr>
          <p:spPr>
            <a:xfrm>
              <a:off x="9629985" y="2487378"/>
              <a:ext cx="34162" cy="49416"/>
            </a:xfrm>
            <a:custGeom>
              <a:avLst/>
              <a:gdLst>
                <a:gd name="connsiteX0" fmla="*/ 34162 w 34162"/>
                <a:gd name="connsiteY0" fmla="*/ 47854 h 49416"/>
                <a:gd name="connsiteX1" fmla="*/ 33659 w 34162"/>
                <a:gd name="connsiteY1" fmla="*/ 47603 h 49416"/>
                <a:gd name="connsiteX2" fmla="*/ 5652 w 34162"/>
                <a:gd name="connsiteY2" fmla="*/ 31401 h 49416"/>
                <a:gd name="connsiteX3" fmla="*/ 2512 w 34162"/>
                <a:gd name="connsiteY3" fmla="*/ 25498 h 49416"/>
                <a:gd name="connsiteX4" fmla="*/ 2512 w 34162"/>
                <a:gd name="connsiteY4" fmla="*/ 1258 h 49416"/>
                <a:gd name="connsiteX5" fmla="*/ 2638 w 34162"/>
                <a:gd name="connsiteY5" fmla="*/ 128 h 49416"/>
                <a:gd name="connsiteX6" fmla="*/ 0 w 34162"/>
                <a:gd name="connsiteY6" fmla="*/ 2640 h 49416"/>
                <a:gd name="connsiteX7" fmla="*/ 0 w 34162"/>
                <a:gd name="connsiteY7" fmla="*/ 26880 h 49416"/>
                <a:gd name="connsiteX8" fmla="*/ 3140 w 34162"/>
                <a:gd name="connsiteY8" fmla="*/ 32783 h 49416"/>
                <a:gd name="connsiteX9" fmla="*/ 31148 w 34162"/>
                <a:gd name="connsiteY9" fmla="*/ 48984 h 49416"/>
                <a:gd name="connsiteX10" fmla="*/ 34162 w 34162"/>
                <a:gd name="connsiteY10" fmla="*/ 47854 h 49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162" h="49416">
                  <a:moveTo>
                    <a:pt x="34162" y="47854"/>
                  </a:moveTo>
                  <a:cubicBezTo>
                    <a:pt x="34036" y="47854"/>
                    <a:pt x="33785" y="47728"/>
                    <a:pt x="33659" y="47603"/>
                  </a:cubicBezTo>
                  <a:lnTo>
                    <a:pt x="5652" y="31401"/>
                  </a:lnTo>
                  <a:cubicBezTo>
                    <a:pt x="3893" y="30396"/>
                    <a:pt x="2512" y="27759"/>
                    <a:pt x="2512" y="25498"/>
                  </a:cubicBezTo>
                  <a:lnTo>
                    <a:pt x="2512" y="1258"/>
                  </a:lnTo>
                  <a:cubicBezTo>
                    <a:pt x="2512" y="882"/>
                    <a:pt x="2638" y="505"/>
                    <a:pt x="2638" y="128"/>
                  </a:cubicBezTo>
                  <a:cubicBezTo>
                    <a:pt x="1131" y="-374"/>
                    <a:pt x="0" y="630"/>
                    <a:pt x="0" y="2640"/>
                  </a:cubicBezTo>
                  <a:lnTo>
                    <a:pt x="0" y="26880"/>
                  </a:lnTo>
                  <a:cubicBezTo>
                    <a:pt x="0" y="29140"/>
                    <a:pt x="1382" y="31778"/>
                    <a:pt x="3140" y="32783"/>
                  </a:cubicBezTo>
                  <a:lnTo>
                    <a:pt x="31148" y="48984"/>
                  </a:lnTo>
                  <a:cubicBezTo>
                    <a:pt x="32529" y="49864"/>
                    <a:pt x="33785" y="49361"/>
                    <a:pt x="34162" y="47854"/>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29" name="Graphic 4">
              <a:extLst>
                <a:ext uri="{FF2B5EF4-FFF2-40B4-BE49-F238E27FC236}">
                  <a16:creationId xmlns:a16="http://schemas.microsoft.com/office/drawing/2014/main" id="{84FB7ED1-A2DF-40A1-A747-5F7CF3F14040}"/>
                </a:ext>
              </a:extLst>
            </p:cNvPr>
            <p:cNvGrpSpPr/>
            <p:nvPr/>
          </p:nvGrpSpPr>
          <p:grpSpPr>
            <a:xfrm>
              <a:off x="9628729" y="2485712"/>
              <a:ext cx="36799" cy="52568"/>
              <a:chOff x="9628729" y="2485712"/>
              <a:chExt cx="36799" cy="52568"/>
            </a:xfrm>
            <a:solidFill>
              <a:schemeClr val="accent1"/>
            </a:solidFill>
          </p:grpSpPr>
          <p:sp>
            <p:nvSpPr>
              <p:cNvPr id="5030" name="Freeform: Shape 5029">
                <a:extLst>
                  <a:ext uri="{FF2B5EF4-FFF2-40B4-BE49-F238E27FC236}">
                    <a16:creationId xmlns:a16="http://schemas.microsoft.com/office/drawing/2014/main" id="{41CBAB68-97A3-4603-9B32-E3F7C39863DB}"/>
                  </a:ext>
                </a:extLst>
              </p:cNvPr>
              <p:cNvSpPr/>
              <p:nvPr/>
            </p:nvSpPr>
            <p:spPr>
              <a:xfrm>
                <a:off x="9628729" y="2485712"/>
                <a:ext cx="36799" cy="52568"/>
              </a:xfrm>
              <a:custGeom>
                <a:avLst/>
                <a:gdLst>
                  <a:gd name="connsiteX0" fmla="*/ 32404 w 36799"/>
                  <a:gd name="connsiteY0" fmla="*/ 16739 h 52568"/>
                  <a:gd name="connsiteX1" fmla="*/ 4396 w 36799"/>
                  <a:gd name="connsiteY1" fmla="*/ 537 h 52568"/>
                  <a:gd name="connsiteX2" fmla="*/ 0 w 36799"/>
                  <a:gd name="connsiteY2" fmla="*/ 3552 h 52568"/>
                  <a:gd name="connsiteX3" fmla="*/ 0 w 36799"/>
                  <a:gd name="connsiteY3" fmla="*/ 27791 h 52568"/>
                  <a:gd name="connsiteX4" fmla="*/ 4396 w 36799"/>
                  <a:gd name="connsiteY4" fmla="*/ 35829 h 52568"/>
                  <a:gd name="connsiteX5" fmla="*/ 32404 w 36799"/>
                  <a:gd name="connsiteY5" fmla="*/ 52031 h 52568"/>
                  <a:gd name="connsiteX6" fmla="*/ 36799 w 36799"/>
                  <a:gd name="connsiteY6" fmla="*/ 49017 h 52568"/>
                  <a:gd name="connsiteX7" fmla="*/ 36799 w 36799"/>
                  <a:gd name="connsiteY7" fmla="*/ 24777 h 52568"/>
                  <a:gd name="connsiteX8" fmla="*/ 32404 w 36799"/>
                  <a:gd name="connsiteY8" fmla="*/ 16739 h 52568"/>
                  <a:gd name="connsiteX9" fmla="*/ 35544 w 36799"/>
                  <a:gd name="connsiteY9" fmla="*/ 48389 h 52568"/>
                  <a:gd name="connsiteX10" fmla="*/ 32404 w 36799"/>
                  <a:gd name="connsiteY10" fmla="*/ 50775 h 52568"/>
                  <a:gd name="connsiteX11" fmla="*/ 4396 w 36799"/>
                  <a:gd name="connsiteY11" fmla="*/ 34573 h 52568"/>
                  <a:gd name="connsiteX12" fmla="*/ 1256 w 36799"/>
                  <a:gd name="connsiteY12" fmla="*/ 28670 h 52568"/>
                  <a:gd name="connsiteX13" fmla="*/ 1256 w 36799"/>
                  <a:gd name="connsiteY13" fmla="*/ 4431 h 52568"/>
                  <a:gd name="connsiteX14" fmla="*/ 4396 w 36799"/>
                  <a:gd name="connsiteY14" fmla="*/ 2044 h 52568"/>
                  <a:gd name="connsiteX15" fmla="*/ 32404 w 36799"/>
                  <a:gd name="connsiteY15" fmla="*/ 18246 h 52568"/>
                  <a:gd name="connsiteX16" fmla="*/ 35544 w 36799"/>
                  <a:gd name="connsiteY16" fmla="*/ 24149 h 52568"/>
                  <a:gd name="connsiteX17" fmla="*/ 35544 w 36799"/>
                  <a:gd name="connsiteY17" fmla="*/ 48389 h 52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799" h="52568">
                    <a:moveTo>
                      <a:pt x="32404" y="16739"/>
                    </a:moveTo>
                    <a:lnTo>
                      <a:pt x="4396" y="537"/>
                    </a:lnTo>
                    <a:cubicBezTo>
                      <a:pt x="2009" y="-844"/>
                      <a:pt x="0" y="537"/>
                      <a:pt x="0" y="3552"/>
                    </a:cubicBezTo>
                    <a:lnTo>
                      <a:pt x="0" y="27791"/>
                    </a:lnTo>
                    <a:cubicBezTo>
                      <a:pt x="0" y="30806"/>
                      <a:pt x="2009" y="34448"/>
                      <a:pt x="4396" y="35829"/>
                    </a:cubicBezTo>
                    <a:lnTo>
                      <a:pt x="32404" y="52031"/>
                    </a:lnTo>
                    <a:cubicBezTo>
                      <a:pt x="34790" y="53413"/>
                      <a:pt x="36799" y="52031"/>
                      <a:pt x="36799" y="49017"/>
                    </a:cubicBezTo>
                    <a:lnTo>
                      <a:pt x="36799" y="24777"/>
                    </a:lnTo>
                    <a:cubicBezTo>
                      <a:pt x="36799" y="21763"/>
                      <a:pt x="34790" y="18120"/>
                      <a:pt x="32404" y="16739"/>
                    </a:cubicBezTo>
                    <a:close/>
                    <a:moveTo>
                      <a:pt x="35544" y="48389"/>
                    </a:moveTo>
                    <a:cubicBezTo>
                      <a:pt x="35544" y="50650"/>
                      <a:pt x="34161" y="51780"/>
                      <a:pt x="32404" y="50775"/>
                    </a:cubicBezTo>
                    <a:lnTo>
                      <a:pt x="4396" y="34573"/>
                    </a:lnTo>
                    <a:cubicBezTo>
                      <a:pt x="2638" y="33569"/>
                      <a:pt x="1256" y="30931"/>
                      <a:pt x="1256" y="28670"/>
                    </a:cubicBezTo>
                    <a:lnTo>
                      <a:pt x="1256" y="4431"/>
                    </a:lnTo>
                    <a:cubicBezTo>
                      <a:pt x="1256" y="2170"/>
                      <a:pt x="2638" y="1040"/>
                      <a:pt x="4396" y="2044"/>
                    </a:cubicBezTo>
                    <a:lnTo>
                      <a:pt x="32404" y="18246"/>
                    </a:lnTo>
                    <a:cubicBezTo>
                      <a:pt x="34161" y="19251"/>
                      <a:pt x="35544" y="21888"/>
                      <a:pt x="35544" y="24149"/>
                    </a:cubicBezTo>
                    <a:lnTo>
                      <a:pt x="35544" y="48389"/>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1" name="Freeform: Shape 5030">
                <a:extLst>
                  <a:ext uri="{FF2B5EF4-FFF2-40B4-BE49-F238E27FC236}">
                    <a16:creationId xmlns:a16="http://schemas.microsoft.com/office/drawing/2014/main" id="{A5639015-CD65-4B61-B29C-6E47384E3CD8}"/>
                  </a:ext>
                </a:extLst>
              </p:cNvPr>
              <p:cNvSpPr/>
              <p:nvPr/>
            </p:nvSpPr>
            <p:spPr>
              <a:xfrm>
                <a:off x="9629985" y="2487370"/>
                <a:ext cx="34287" cy="49505"/>
              </a:xfrm>
              <a:custGeom>
                <a:avLst/>
                <a:gdLst>
                  <a:gd name="connsiteX0" fmla="*/ 31148 w 34287"/>
                  <a:gd name="connsiteY0" fmla="*/ 16589 h 49505"/>
                  <a:gd name="connsiteX1" fmla="*/ 3140 w 34287"/>
                  <a:gd name="connsiteY1" fmla="*/ 387 h 49505"/>
                  <a:gd name="connsiteX2" fmla="*/ 0 w 34287"/>
                  <a:gd name="connsiteY2" fmla="*/ 2774 h 49505"/>
                  <a:gd name="connsiteX3" fmla="*/ 0 w 34287"/>
                  <a:gd name="connsiteY3" fmla="*/ 27013 h 49505"/>
                  <a:gd name="connsiteX4" fmla="*/ 3140 w 34287"/>
                  <a:gd name="connsiteY4" fmla="*/ 32916 h 49505"/>
                  <a:gd name="connsiteX5" fmla="*/ 31148 w 34287"/>
                  <a:gd name="connsiteY5" fmla="*/ 49118 h 49505"/>
                  <a:gd name="connsiteX6" fmla="*/ 34288 w 34287"/>
                  <a:gd name="connsiteY6" fmla="*/ 46732 h 49505"/>
                  <a:gd name="connsiteX7" fmla="*/ 34288 w 34287"/>
                  <a:gd name="connsiteY7" fmla="*/ 22492 h 49505"/>
                  <a:gd name="connsiteX8" fmla="*/ 31148 w 34287"/>
                  <a:gd name="connsiteY8" fmla="*/ 16589 h 49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87" h="49505">
                    <a:moveTo>
                      <a:pt x="31148" y="16589"/>
                    </a:moveTo>
                    <a:lnTo>
                      <a:pt x="3140" y="387"/>
                    </a:lnTo>
                    <a:cubicBezTo>
                      <a:pt x="1382" y="-617"/>
                      <a:pt x="0" y="387"/>
                      <a:pt x="0" y="2774"/>
                    </a:cubicBezTo>
                    <a:lnTo>
                      <a:pt x="0" y="27013"/>
                    </a:lnTo>
                    <a:cubicBezTo>
                      <a:pt x="0" y="29274"/>
                      <a:pt x="1382" y="31912"/>
                      <a:pt x="3140" y="32916"/>
                    </a:cubicBezTo>
                    <a:lnTo>
                      <a:pt x="31148" y="49118"/>
                    </a:lnTo>
                    <a:cubicBezTo>
                      <a:pt x="32906" y="50123"/>
                      <a:pt x="34288" y="49118"/>
                      <a:pt x="34288" y="46732"/>
                    </a:cubicBezTo>
                    <a:lnTo>
                      <a:pt x="34288" y="22492"/>
                    </a:lnTo>
                    <a:cubicBezTo>
                      <a:pt x="34288" y="20231"/>
                      <a:pt x="32906" y="17594"/>
                      <a:pt x="31148" y="16589"/>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32" name="Freeform: Shape 5031">
              <a:extLst>
                <a:ext uri="{FF2B5EF4-FFF2-40B4-BE49-F238E27FC236}">
                  <a16:creationId xmlns:a16="http://schemas.microsoft.com/office/drawing/2014/main" id="{E8794615-3799-43BE-91EA-A124E75080C4}"/>
                </a:ext>
              </a:extLst>
            </p:cNvPr>
            <p:cNvSpPr/>
            <p:nvPr/>
          </p:nvSpPr>
          <p:spPr>
            <a:xfrm>
              <a:off x="9670552" y="2509952"/>
              <a:ext cx="48730" cy="80324"/>
            </a:xfrm>
            <a:custGeom>
              <a:avLst/>
              <a:gdLst>
                <a:gd name="connsiteX0" fmla="*/ 44335 w 48730"/>
                <a:gd name="connsiteY0" fmla="*/ 23647 h 80324"/>
                <a:gd name="connsiteX1" fmla="*/ 4396 w 48730"/>
                <a:gd name="connsiteY1" fmla="*/ 537 h 80324"/>
                <a:gd name="connsiteX2" fmla="*/ 0 w 48730"/>
                <a:gd name="connsiteY2" fmla="*/ 3552 h 80324"/>
                <a:gd name="connsiteX3" fmla="*/ 0 w 48730"/>
                <a:gd name="connsiteY3" fmla="*/ 48640 h 80324"/>
                <a:gd name="connsiteX4" fmla="*/ 4396 w 48730"/>
                <a:gd name="connsiteY4" fmla="*/ 56678 h 80324"/>
                <a:gd name="connsiteX5" fmla="*/ 44335 w 48730"/>
                <a:gd name="connsiteY5" fmla="*/ 79788 h 80324"/>
                <a:gd name="connsiteX6" fmla="*/ 48731 w 48730"/>
                <a:gd name="connsiteY6" fmla="*/ 76773 h 80324"/>
                <a:gd name="connsiteX7" fmla="*/ 48731 w 48730"/>
                <a:gd name="connsiteY7" fmla="*/ 31685 h 80324"/>
                <a:gd name="connsiteX8" fmla="*/ 44335 w 48730"/>
                <a:gd name="connsiteY8" fmla="*/ 23647 h 80324"/>
                <a:gd name="connsiteX9" fmla="*/ 47474 w 48730"/>
                <a:gd name="connsiteY9" fmla="*/ 76020 h 80324"/>
                <a:gd name="connsiteX10" fmla="*/ 44335 w 48730"/>
                <a:gd name="connsiteY10" fmla="*/ 78406 h 80324"/>
                <a:gd name="connsiteX11" fmla="*/ 4396 w 48730"/>
                <a:gd name="connsiteY11" fmla="*/ 55297 h 80324"/>
                <a:gd name="connsiteX12" fmla="*/ 1256 w 48730"/>
                <a:gd name="connsiteY12" fmla="*/ 49394 h 80324"/>
                <a:gd name="connsiteX13" fmla="*/ 1256 w 48730"/>
                <a:gd name="connsiteY13" fmla="*/ 4305 h 80324"/>
                <a:gd name="connsiteX14" fmla="*/ 4396 w 48730"/>
                <a:gd name="connsiteY14" fmla="*/ 1919 h 80324"/>
                <a:gd name="connsiteX15" fmla="*/ 44335 w 48730"/>
                <a:gd name="connsiteY15" fmla="*/ 25028 h 80324"/>
                <a:gd name="connsiteX16" fmla="*/ 47474 w 48730"/>
                <a:gd name="connsiteY16" fmla="*/ 30931 h 80324"/>
                <a:gd name="connsiteX17" fmla="*/ 47474 w 48730"/>
                <a:gd name="connsiteY17" fmla="*/ 76020 h 80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730" h="80324">
                  <a:moveTo>
                    <a:pt x="44335" y="23647"/>
                  </a:moveTo>
                  <a:lnTo>
                    <a:pt x="4396" y="537"/>
                  </a:lnTo>
                  <a:cubicBezTo>
                    <a:pt x="2009" y="-844"/>
                    <a:pt x="0" y="537"/>
                    <a:pt x="0" y="3552"/>
                  </a:cubicBezTo>
                  <a:lnTo>
                    <a:pt x="0" y="48640"/>
                  </a:lnTo>
                  <a:cubicBezTo>
                    <a:pt x="0" y="51654"/>
                    <a:pt x="2009" y="55297"/>
                    <a:pt x="4396" y="56678"/>
                  </a:cubicBezTo>
                  <a:lnTo>
                    <a:pt x="44335" y="79788"/>
                  </a:lnTo>
                  <a:cubicBezTo>
                    <a:pt x="46721" y="81169"/>
                    <a:pt x="48731" y="79788"/>
                    <a:pt x="48731" y="76773"/>
                  </a:cubicBezTo>
                  <a:lnTo>
                    <a:pt x="48731" y="31685"/>
                  </a:lnTo>
                  <a:cubicBezTo>
                    <a:pt x="48731" y="28545"/>
                    <a:pt x="46847" y="25028"/>
                    <a:pt x="44335" y="23647"/>
                  </a:cubicBezTo>
                  <a:close/>
                  <a:moveTo>
                    <a:pt x="47474" y="76020"/>
                  </a:moveTo>
                  <a:cubicBezTo>
                    <a:pt x="47474" y="78280"/>
                    <a:pt x="46093" y="79411"/>
                    <a:pt x="44335" y="78406"/>
                  </a:cubicBezTo>
                  <a:lnTo>
                    <a:pt x="4396" y="55297"/>
                  </a:lnTo>
                  <a:cubicBezTo>
                    <a:pt x="2637" y="54292"/>
                    <a:pt x="1256" y="51654"/>
                    <a:pt x="1256" y="49394"/>
                  </a:cubicBezTo>
                  <a:lnTo>
                    <a:pt x="1256" y="4305"/>
                  </a:lnTo>
                  <a:cubicBezTo>
                    <a:pt x="1256" y="2044"/>
                    <a:pt x="2637" y="914"/>
                    <a:pt x="4396" y="1919"/>
                  </a:cubicBezTo>
                  <a:lnTo>
                    <a:pt x="44335" y="25028"/>
                  </a:lnTo>
                  <a:cubicBezTo>
                    <a:pt x="46093" y="26033"/>
                    <a:pt x="47474" y="28670"/>
                    <a:pt x="47474" y="30931"/>
                  </a:cubicBezTo>
                  <a:lnTo>
                    <a:pt x="47474" y="76020"/>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3" name="Freeform: Shape 5032">
              <a:extLst>
                <a:ext uri="{FF2B5EF4-FFF2-40B4-BE49-F238E27FC236}">
                  <a16:creationId xmlns:a16="http://schemas.microsoft.com/office/drawing/2014/main" id="{C81BA288-39FE-441A-91AF-6C703FEE3564}"/>
                </a:ext>
              </a:extLst>
            </p:cNvPr>
            <p:cNvSpPr/>
            <p:nvPr/>
          </p:nvSpPr>
          <p:spPr>
            <a:xfrm>
              <a:off x="9671808" y="2511492"/>
              <a:ext cx="46093" cy="77173"/>
            </a:xfrm>
            <a:custGeom>
              <a:avLst/>
              <a:gdLst>
                <a:gd name="connsiteX0" fmla="*/ 46093 w 46093"/>
                <a:gd name="connsiteY0" fmla="*/ 75611 h 77173"/>
                <a:gd name="connsiteX1" fmla="*/ 45591 w 46093"/>
                <a:gd name="connsiteY1" fmla="*/ 75359 h 77173"/>
                <a:gd name="connsiteX2" fmla="*/ 5652 w 46093"/>
                <a:gd name="connsiteY2" fmla="*/ 52250 h 77173"/>
                <a:gd name="connsiteX3" fmla="*/ 2512 w 46093"/>
                <a:gd name="connsiteY3" fmla="*/ 46347 h 77173"/>
                <a:gd name="connsiteX4" fmla="*/ 2512 w 46093"/>
                <a:gd name="connsiteY4" fmla="*/ 1258 h 77173"/>
                <a:gd name="connsiteX5" fmla="*/ 2638 w 46093"/>
                <a:gd name="connsiteY5" fmla="*/ 128 h 77173"/>
                <a:gd name="connsiteX6" fmla="*/ 0 w 46093"/>
                <a:gd name="connsiteY6" fmla="*/ 2640 h 77173"/>
                <a:gd name="connsiteX7" fmla="*/ 0 w 46093"/>
                <a:gd name="connsiteY7" fmla="*/ 47728 h 77173"/>
                <a:gd name="connsiteX8" fmla="*/ 3140 w 46093"/>
                <a:gd name="connsiteY8" fmla="*/ 53631 h 77173"/>
                <a:gd name="connsiteX9" fmla="*/ 43079 w 46093"/>
                <a:gd name="connsiteY9" fmla="*/ 76741 h 77173"/>
                <a:gd name="connsiteX10" fmla="*/ 46093 w 46093"/>
                <a:gd name="connsiteY10" fmla="*/ 75611 h 7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093" h="77173">
                  <a:moveTo>
                    <a:pt x="46093" y="75611"/>
                  </a:moveTo>
                  <a:cubicBezTo>
                    <a:pt x="45967" y="75611"/>
                    <a:pt x="45717" y="75485"/>
                    <a:pt x="45591" y="75359"/>
                  </a:cubicBezTo>
                  <a:lnTo>
                    <a:pt x="5652" y="52250"/>
                  </a:lnTo>
                  <a:cubicBezTo>
                    <a:pt x="3893" y="51245"/>
                    <a:pt x="2512" y="48608"/>
                    <a:pt x="2512" y="46347"/>
                  </a:cubicBezTo>
                  <a:lnTo>
                    <a:pt x="2512" y="1258"/>
                  </a:lnTo>
                  <a:cubicBezTo>
                    <a:pt x="2512" y="882"/>
                    <a:pt x="2638" y="505"/>
                    <a:pt x="2638" y="128"/>
                  </a:cubicBezTo>
                  <a:cubicBezTo>
                    <a:pt x="1131" y="-374"/>
                    <a:pt x="0" y="630"/>
                    <a:pt x="0" y="2640"/>
                  </a:cubicBezTo>
                  <a:lnTo>
                    <a:pt x="0" y="47728"/>
                  </a:lnTo>
                  <a:cubicBezTo>
                    <a:pt x="0" y="49989"/>
                    <a:pt x="1381" y="52627"/>
                    <a:pt x="3140" y="53631"/>
                  </a:cubicBezTo>
                  <a:lnTo>
                    <a:pt x="43079" y="76741"/>
                  </a:lnTo>
                  <a:cubicBezTo>
                    <a:pt x="44586" y="77620"/>
                    <a:pt x="45717" y="77118"/>
                    <a:pt x="46093" y="75611"/>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4" name="Freeform: Shape 5033">
              <a:extLst>
                <a:ext uri="{FF2B5EF4-FFF2-40B4-BE49-F238E27FC236}">
                  <a16:creationId xmlns:a16="http://schemas.microsoft.com/office/drawing/2014/main" id="{BFC4B2E9-2B26-4B41-A9D3-6D136859D703}"/>
                </a:ext>
              </a:extLst>
            </p:cNvPr>
            <p:cNvSpPr/>
            <p:nvPr/>
          </p:nvSpPr>
          <p:spPr>
            <a:xfrm>
              <a:off x="9671808" y="2511484"/>
              <a:ext cx="46218" cy="77261"/>
            </a:xfrm>
            <a:custGeom>
              <a:avLst/>
              <a:gdLst>
                <a:gd name="connsiteX0" fmla="*/ 43079 w 46218"/>
                <a:gd name="connsiteY0" fmla="*/ 23497 h 77261"/>
                <a:gd name="connsiteX1" fmla="*/ 3140 w 46218"/>
                <a:gd name="connsiteY1" fmla="*/ 387 h 77261"/>
                <a:gd name="connsiteX2" fmla="*/ 0 w 46218"/>
                <a:gd name="connsiteY2" fmla="*/ 2773 h 77261"/>
                <a:gd name="connsiteX3" fmla="*/ 0 w 46218"/>
                <a:gd name="connsiteY3" fmla="*/ 47862 h 77261"/>
                <a:gd name="connsiteX4" fmla="*/ 3140 w 46218"/>
                <a:gd name="connsiteY4" fmla="*/ 53765 h 77261"/>
                <a:gd name="connsiteX5" fmla="*/ 43079 w 46218"/>
                <a:gd name="connsiteY5" fmla="*/ 76874 h 77261"/>
                <a:gd name="connsiteX6" fmla="*/ 46219 w 46218"/>
                <a:gd name="connsiteY6" fmla="*/ 74488 h 77261"/>
                <a:gd name="connsiteX7" fmla="*/ 46219 w 46218"/>
                <a:gd name="connsiteY7" fmla="*/ 29400 h 77261"/>
                <a:gd name="connsiteX8" fmla="*/ 43079 w 46218"/>
                <a:gd name="connsiteY8" fmla="*/ 23497 h 77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18" h="77261">
                  <a:moveTo>
                    <a:pt x="43079" y="23497"/>
                  </a:moveTo>
                  <a:lnTo>
                    <a:pt x="3140" y="387"/>
                  </a:lnTo>
                  <a:cubicBezTo>
                    <a:pt x="1381" y="-618"/>
                    <a:pt x="0" y="387"/>
                    <a:pt x="0" y="2773"/>
                  </a:cubicBezTo>
                  <a:lnTo>
                    <a:pt x="0" y="47862"/>
                  </a:lnTo>
                  <a:cubicBezTo>
                    <a:pt x="0" y="50123"/>
                    <a:pt x="1381" y="52760"/>
                    <a:pt x="3140" y="53765"/>
                  </a:cubicBezTo>
                  <a:lnTo>
                    <a:pt x="43079" y="76874"/>
                  </a:lnTo>
                  <a:cubicBezTo>
                    <a:pt x="44837" y="77879"/>
                    <a:pt x="46219" y="76874"/>
                    <a:pt x="46219" y="74488"/>
                  </a:cubicBezTo>
                  <a:lnTo>
                    <a:pt x="46219" y="29400"/>
                  </a:lnTo>
                  <a:cubicBezTo>
                    <a:pt x="46219" y="27139"/>
                    <a:pt x="44837" y="24501"/>
                    <a:pt x="43079" y="23497"/>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5" name="Freeform: Shape 5034">
              <a:extLst>
                <a:ext uri="{FF2B5EF4-FFF2-40B4-BE49-F238E27FC236}">
                  <a16:creationId xmlns:a16="http://schemas.microsoft.com/office/drawing/2014/main" id="{083ABF9B-2E06-44DF-8817-105C638EFB9B}"/>
                </a:ext>
              </a:extLst>
            </p:cNvPr>
            <p:cNvSpPr/>
            <p:nvPr/>
          </p:nvSpPr>
          <p:spPr>
            <a:xfrm>
              <a:off x="9710491" y="2603304"/>
              <a:ext cx="14494" cy="7158"/>
            </a:xfrm>
            <a:custGeom>
              <a:avLst/>
              <a:gdLst>
                <a:gd name="connsiteX0" fmla="*/ 5023 w 14494"/>
                <a:gd name="connsiteY0" fmla="*/ 7159 h 7158"/>
                <a:gd name="connsiteX1" fmla="*/ 2386 w 14494"/>
                <a:gd name="connsiteY1" fmla="*/ 6531 h 7158"/>
                <a:gd name="connsiteX2" fmla="*/ 0 w 14494"/>
                <a:gd name="connsiteY2" fmla="*/ 1382 h 7158"/>
                <a:gd name="connsiteX3" fmla="*/ 1381 w 14494"/>
                <a:gd name="connsiteY3" fmla="*/ 0 h 7158"/>
                <a:gd name="connsiteX4" fmla="*/ 2763 w 14494"/>
                <a:gd name="connsiteY4" fmla="*/ 1382 h 7158"/>
                <a:gd name="connsiteX5" fmla="*/ 3768 w 14494"/>
                <a:gd name="connsiteY5" fmla="*/ 4145 h 7158"/>
                <a:gd name="connsiteX6" fmla="*/ 12434 w 14494"/>
                <a:gd name="connsiteY6" fmla="*/ 1507 h 7158"/>
                <a:gd name="connsiteX7" fmla="*/ 14317 w 14494"/>
                <a:gd name="connsiteY7" fmla="*/ 2009 h 7158"/>
                <a:gd name="connsiteX8" fmla="*/ 13815 w 14494"/>
                <a:gd name="connsiteY8" fmla="*/ 3893 h 7158"/>
                <a:gd name="connsiteX9" fmla="*/ 5023 w 14494"/>
                <a:gd name="connsiteY9" fmla="*/ 7159 h 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94" h="7158">
                  <a:moveTo>
                    <a:pt x="5023" y="7159"/>
                  </a:moveTo>
                  <a:cubicBezTo>
                    <a:pt x="4019" y="7159"/>
                    <a:pt x="3140" y="6908"/>
                    <a:pt x="2386" y="6531"/>
                  </a:cubicBezTo>
                  <a:cubicBezTo>
                    <a:pt x="754" y="5652"/>
                    <a:pt x="0" y="3893"/>
                    <a:pt x="0" y="1382"/>
                  </a:cubicBezTo>
                  <a:cubicBezTo>
                    <a:pt x="0" y="628"/>
                    <a:pt x="628" y="0"/>
                    <a:pt x="1381" y="0"/>
                  </a:cubicBezTo>
                  <a:cubicBezTo>
                    <a:pt x="2135" y="0"/>
                    <a:pt x="2763" y="628"/>
                    <a:pt x="2763" y="1382"/>
                  </a:cubicBezTo>
                  <a:cubicBezTo>
                    <a:pt x="2763" y="2386"/>
                    <a:pt x="2888" y="3642"/>
                    <a:pt x="3768" y="4145"/>
                  </a:cubicBezTo>
                  <a:cubicBezTo>
                    <a:pt x="4396" y="4521"/>
                    <a:pt x="6530" y="5024"/>
                    <a:pt x="12434" y="1507"/>
                  </a:cubicBezTo>
                  <a:cubicBezTo>
                    <a:pt x="13062" y="1130"/>
                    <a:pt x="13941" y="1382"/>
                    <a:pt x="14317" y="2009"/>
                  </a:cubicBezTo>
                  <a:cubicBezTo>
                    <a:pt x="14694" y="2637"/>
                    <a:pt x="14443" y="3517"/>
                    <a:pt x="13815" y="3893"/>
                  </a:cubicBezTo>
                  <a:cubicBezTo>
                    <a:pt x="10173" y="6154"/>
                    <a:pt x="7284" y="7159"/>
                    <a:pt x="5023" y="715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36" name="Graphic 4">
              <a:extLst>
                <a:ext uri="{FF2B5EF4-FFF2-40B4-BE49-F238E27FC236}">
                  <a16:creationId xmlns:a16="http://schemas.microsoft.com/office/drawing/2014/main" id="{84FB7ED1-A2DF-40A1-A747-5F7CF3F14040}"/>
                </a:ext>
              </a:extLst>
            </p:cNvPr>
            <p:cNvGrpSpPr/>
            <p:nvPr/>
          </p:nvGrpSpPr>
          <p:grpSpPr>
            <a:xfrm>
              <a:off x="9705467" y="2562580"/>
              <a:ext cx="14820" cy="44290"/>
              <a:chOff x="9705467" y="2562580"/>
              <a:chExt cx="14820" cy="44290"/>
            </a:xfrm>
            <a:solidFill>
              <a:schemeClr val="accent1"/>
            </a:solidFill>
          </p:grpSpPr>
          <p:sp>
            <p:nvSpPr>
              <p:cNvPr id="5037" name="Freeform: Shape 5036">
                <a:extLst>
                  <a:ext uri="{FF2B5EF4-FFF2-40B4-BE49-F238E27FC236}">
                    <a16:creationId xmlns:a16="http://schemas.microsoft.com/office/drawing/2014/main" id="{5B7EC33E-B490-4FE3-BC2B-F152671CAD14}"/>
                  </a:ext>
                </a:extLst>
              </p:cNvPr>
              <p:cNvSpPr/>
              <p:nvPr/>
            </p:nvSpPr>
            <p:spPr>
              <a:xfrm>
                <a:off x="9707728" y="2563962"/>
                <a:ext cx="12559" cy="42908"/>
              </a:xfrm>
              <a:custGeom>
                <a:avLst/>
                <a:gdLst>
                  <a:gd name="connsiteX0" fmla="*/ 3391 w 12559"/>
                  <a:gd name="connsiteY0" fmla="*/ 42608 h 42908"/>
                  <a:gd name="connsiteX1" fmla="*/ 9922 w 12559"/>
                  <a:gd name="connsiteY1" fmla="*/ 39719 h 42908"/>
                  <a:gd name="connsiteX2" fmla="*/ 12559 w 12559"/>
                  <a:gd name="connsiteY2" fmla="*/ 35449 h 42908"/>
                  <a:gd name="connsiteX3" fmla="*/ 12559 w 12559"/>
                  <a:gd name="connsiteY3" fmla="*/ 1664 h 42908"/>
                  <a:gd name="connsiteX4" fmla="*/ 11806 w 12559"/>
                  <a:gd name="connsiteY4" fmla="*/ 157 h 42908"/>
                  <a:gd name="connsiteX5" fmla="*/ 9797 w 12559"/>
                  <a:gd name="connsiteY5" fmla="*/ 534 h 42908"/>
                  <a:gd name="connsiteX6" fmla="*/ 3266 w 12559"/>
                  <a:gd name="connsiteY6" fmla="*/ 5181 h 42908"/>
                  <a:gd name="connsiteX7" fmla="*/ 0 w 12559"/>
                  <a:gd name="connsiteY7" fmla="*/ 11209 h 42908"/>
                  <a:gd name="connsiteX8" fmla="*/ 0 w 12559"/>
                  <a:gd name="connsiteY8" fmla="*/ 40347 h 42908"/>
                  <a:gd name="connsiteX9" fmla="*/ 1131 w 12559"/>
                  <a:gd name="connsiteY9" fmla="*/ 42734 h 42908"/>
                  <a:gd name="connsiteX10" fmla="*/ 3391 w 12559"/>
                  <a:gd name="connsiteY10" fmla="*/ 42608 h 4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59" h="42908">
                    <a:moveTo>
                      <a:pt x="3391" y="42608"/>
                    </a:moveTo>
                    <a:lnTo>
                      <a:pt x="9922" y="39719"/>
                    </a:lnTo>
                    <a:cubicBezTo>
                      <a:pt x="11304" y="39091"/>
                      <a:pt x="12559" y="37082"/>
                      <a:pt x="12559" y="35449"/>
                    </a:cubicBezTo>
                    <a:lnTo>
                      <a:pt x="12559" y="1664"/>
                    </a:lnTo>
                    <a:cubicBezTo>
                      <a:pt x="12559" y="910"/>
                      <a:pt x="12309" y="408"/>
                      <a:pt x="11806" y="157"/>
                    </a:cubicBezTo>
                    <a:cubicBezTo>
                      <a:pt x="11304" y="-94"/>
                      <a:pt x="10550" y="-94"/>
                      <a:pt x="9797" y="534"/>
                    </a:cubicBezTo>
                    <a:lnTo>
                      <a:pt x="3266" y="5181"/>
                    </a:lnTo>
                    <a:cubicBezTo>
                      <a:pt x="1381" y="6437"/>
                      <a:pt x="0" y="9074"/>
                      <a:pt x="0" y="11209"/>
                    </a:cubicBezTo>
                    <a:lnTo>
                      <a:pt x="0" y="40347"/>
                    </a:lnTo>
                    <a:cubicBezTo>
                      <a:pt x="0" y="41478"/>
                      <a:pt x="377" y="42357"/>
                      <a:pt x="1131" y="42734"/>
                    </a:cubicBezTo>
                    <a:cubicBezTo>
                      <a:pt x="1759" y="42985"/>
                      <a:pt x="2512" y="42985"/>
                      <a:pt x="3391" y="42608"/>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8" name="Freeform: Shape 5037">
                <a:extLst>
                  <a:ext uri="{FF2B5EF4-FFF2-40B4-BE49-F238E27FC236}">
                    <a16:creationId xmlns:a16="http://schemas.microsoft.com/office/drawing/2014/main" id="{D81A0CB3-1A11-4ACA-ABDB-2A92DA3CC054}"/>
                  </a:ext>
                </a:extLst>
              </p:cNvPr>
              <p:cNvSpPr/>
              <p:nvPr/>
            </p:nvSpPr>
            <p:spPr>
              <a:xfrm>
                <a:off x="9705467" y="2562580"/>
                <a:ext cx="14192" cy="44115"/>
              </a:xfrm>
              <a:custGeom>
                <a:avLst/>
                <a:gdLst>
                  <a:gd name="connsiteX0" fmla="*/ 2386 w 14192"/>
                  <a:gd name="connsiteY0" fmla="*/ 41729 h 44115"/>
                  <a:gd name="connsiteX1" fmla="*/ 2386 w 14192"/>
                  <a:gd name="connsiteY1" fmla="*/ 12591 h 44115"/>
                  <a:gd name="connsiteX2" fmla="*/ 5652 w 14192"/>
                  <a:gd name="connsiteY2" fmla="*/ 6562 h 44115"/>
                  <a:gd name="connsiteX3" fmla="*/ 12183 w 14192"/>
                  <a:gd name="connsiteY3" fmla="*/ 1915 h 44115"/>
                  <a:gd name="connsiteX4" fmla="*/ 14192 w 14192"/>
                  <a:gd name="connsiteY4" fmla="*/ 1538 h 44115"/>
                  <a:gd name="connsiteX5" fmla="*/ 11806 w 14192"/>
                  <a:gd name="connsiteY5" fmla="*/ 157 h 44115"/>
                  <a:gd name="connsiteX6" fmla="*/ 9797 w 14192"/>
                  <a:gd name="connsiteY6" fmla="*/ 534 h 44115"/>
                  <a:gd name="connsiteX7" fmla="*/ 3266 w 14192"/>
                  <a:gd name="connsiteY7" fmla="*/ 5181 h 44115"/>
                  <a:gd name="connsiteX8" fmla="*/ 0 w 14192"/>
                  <a:gd name="connsiteY8" fmla="*/ 11209 h 44115"/>
                  <a:gd name="connsiteX9" fmla="*/ 0 w 14192"/>
                  <a:gd name="connsiteY9" fmla="*/ 40347 h 44115"/>
                  <a:gd name="connsiteX10" fmla="*/ 1131 w 14192"/>
                  <a:gd name="connsiteY10" fmla="*/ 42734 h 44115"/>
                  <a:gd name="connsiteX11" fmla="*/ 3642 w 14192"/>
                  <a:gd name="connsiteY11" fmla="*/ 44115 h 44115"/>
                  <a:gd name="connsiteX12" fmla="*/ 2386 w 14192"/>
                  <a:gd name="connsiteY12" fmla="*/ 41729 h 4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92" h="44115">
                    <a:moveTo>
                      <a:pt x="2386" y="41729"/>
                    </a:moveTo>
                    <a:lnTo>
                      <a:pt x="2386" y="12591"/>
                    </a:lnTo>
                    <a:cubicBezTo>
                      <a:pt x="2386" y="10456"/>
                      <a:pt x="3768" y="7818"/>
                      <a:pt x="5652" y="6562"/>
                    </a:cubicBezTo>
                    <a:lnTo>
                      <a:pt x="12183" y="1915"/>
                    </a:lnTo>
                    <a:cubicBezTo>
                      <a:pt x="12937" y="1413"/>
                      <a:pt x="13690" y="1287"/>
                      <a:pt x="14192" y="1538"/>
                    </a:cubicBezTo>
                    <a:cubicBezTo>
                      <a:pt x="14192" y="1538"/>
                      <a:pt x="12183" y="408"/>
                      <a:pt x="11806" y="157"/>
                    </a:cubicBezTo>
                    <a:cubicBezTo>
                      <a:pt x="11304" y="-94"/>
                      <a:pt x="10550" y="-94"/>
                      <a:pt x="9797" y="534"/>
                    </a:cubicBezTo>
                    <a:lnTo>
                      <a:pt x="3266" y="5181"/>
                    </a:lnTo>
                    <a:cubicBezTo>
                      <a:pt x="1381" y="6437"/>
                      <a:pt x="0" y="9074"/>
                      <a:pt x="0" y="11209"/>
                    </a:cubicBezTo>
                    <a:lnTo>
                      <a:pt x="0" y="40347"/>
                    </a:lnTo>
                    <a:cubicBezTo>
                      <a:pt x="0" y="41478"/>
                      <a:pt x="377" y="42357"/>
                      <a:pt x="1131" y="42734"/>
                    </a:cubicBezTo>
                    <a:cubicBezTo>
                      <a:pt x="1759" y="43110"/>
                      <a:pt x="3642" y="44115"/>
                      <a:pt x="3642" y="44115"/>
                    </a:cubicBezTo>
                    <a:cubicBezTo>
                      <a:pt x="2763" y="43738"/>
                      <a:pt x="2386" y="42859"/>
                      <a:pt x="2386" y="41729"/>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39" name="Freeform: Shape 5038">
              <a:extLst>
                <a:ext uri="{FF2B5EF4-FFF2-40B4-BE49-F238E27FC236}">
                  <a16:creationId xmlns:a16="http://schemas.microsoft.com/office/drawing/2014/main" id="{B2197E04-D85E-4D2E-B1C0-044D6315EA84}"/>
                </a:ext>
              </a:extLst>
            </p:cNvPr>
            <p:cNvSpPr/>
            <p:nvPr/>
          </p:nvSpPr>
          <p:spPr>
            <a:xfrm>
              <a:off x="9710617" y="2549749"/>
              <a:ext cx="14494" cy="17760"/>
            </a:xfrm>
            <a:custGeom>
              <a:avLst/>
              <a:gdLst>
                <a:gd name="connsiteX0" fmla="*/ 1381 w 14494"/>
                <a:gd name="connsiteY0" fmla="*/ 17760 h 17760"/>
                <a:gd name="connsiteX1" fmla="*/ 0 w 14494"/>
                <a:gd name="connsiteY1" fmla="*/ 16379 h 17760"/>
                <a:gd name="connsiteX2" fmla="*/ 12434 w 14494"/>
                <a:gd name="connsiteY2" fmla="*/ 177 h 17760"/>
                <a:gd name="connsiteX3" fmla="*/ 14317 w 14494"/>
                <a:gd name="connsiteY3" fmla="*/ 679 h 17760"/>
                <a:gd name="connsiteX4" fmla="*/ 13815 w 14494"/>
                <a:gd name="connsiteY4" fmla="*/ 2563 h 17760"/>
                <a:gd name="connsiteX5" fmla="*/ 2763 w 14494"/>
                <a:gd name="connsiteY5" fmla="*/ 16253 h 17760"/>
                <a:gd name="connsiteX6" fmla="*/ 1381 w 14494"/>
                <a:gd name="connsiteY6" fmla="*/ 17760 h 17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94" h="17760">
                  <a:moveTo>
                    <a:pt x="1381" y="17760"/>
                  </a:moveTo>
                  <a:cubicBezTo>
                    <a:pt x="628" y="17760"/>
                    <a:pt x="0" y="17132"/>
                    <a:pt x="0" y="16379"/>
                  </a:cubicBezTo>
                  <a:cubicBezTo>
                    <a:pt x="0" y="10476"/>
                    <a:pt x="4144" y="4950"/>
                    <a:pt x="12434" y="177"/>
                  </a:cubicBezTo>
                  <a:cubicBezTo>
                    <a:pt x="13062" y="-200"/>
                    <a:pt x="13941" y="51"/>
                    <a:pt x="14317" y="679"/>
                  </a:cubicBezTo>
                  <a:cubicBezTo>
                    <a:pt x="14694" y="1307"/>
                    <a:pt x="14443" y="2186"/>
                    <a:pt x="13815" y="2563"/>
                  </a:cubicBezTo>
                  <a:cubicBezTo>
                    <a:pt x="6656" y="6708"/>
                    <a:pt x="2763" y="11481"/>
                    <a:pt x="2763" y="16253"/>
                  </a:cubicBezTo>
                  <a:cubicBezTo>
                    <a:pt x="2763" y="17132"/>
                    <a:pt x="2135" y="17760"/>
                    <a:pt x="1381" y="1776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0" name="Freeform: Shape 5039">
              <a:extLst>
                <a:ext uri="{FF2B5EF4-FFF2-40B4-BE49-F238E27FC236}">
                  <a16:creationId xmlns:a16="http://schemas.microsoft.com/office/drawing/2014/main" id="{7D3B2923-43AF-46E7-B90A-67E571453201}"/>
                </a:ext>
              </a:extLst>
            </p:cNvPr>
            <p:cNvSpPr/>
            <p:nvPr/>
          </p:nvSpPr>
          <p:spPr>
            <a:xfrm>
              <a:off x="9730084" y="2469294"/>
              <a:ext cx="118263" cy="71432"/>
            </a:xfrm>
            <a:custGeom>
              <a:avLst/>
              <a:gdLst>
                <a:gd name="connsiteX0" fmla="*/ 117431 w 118263"/>
                <a:gd name="connsiteY0" fmla="*/ 0 h 71432"/>
                <a:gd name="connsiteX1" fmla="*/ 113537 w 118263"/>
                <a:gd name="connsiteY1" fmla="*/ 4647 h 71432"/>
                <a:gd name="connsiteX2" fmla="*/ 113537 w 118263"/>
                <a:gd name="connsiteY2" fmla="*/ 4647 h 71432"/>
                <a:gd name="connsiteX3" fmla="*/ 16327 w 118263"/>
                <a:gd name="connsiteY3" fmla="*/ 60788 h 71432"/>
                <a:gd name="connsiteX4" fmla="*/ 6028 w 118263"/>
                <a:gd name="connsiteY4" fmla="*/ 62672 h 71432"/>
                <a:gd name="connsiteX5" fmla="*/ 3893 w 118263"/>
                <a:gd name="connsiteY5" fmla="*/ 67444 h 71432"/>
                <a:gd name="connsiteX6" fmla="*/ 0 w 118263"/>
                <a:gd name="connsiteY6" fmla="*/ 69454 h 71432"/>
                <a:gd name="connsiteX7" fmla="*/ 16327 w 118263"/>
                <a:gd name="connsiteY7" fmla="*/ 69454 h 71432"/>
                <a:gd name="connsiteX8" fmla="*/ 113537 w 118263"/>
                <a:gd name="connsiteY8" fmla="*/ 13313 h 71432"/>
                <a:gd name="connsiteX9" fmla="*/ 115045 w 118263"/>
                <a:gd name="connsiteY9" fmla="*/ 12183 h 71432"/>
                <a:gd name="connsiteX10" fmla="*/ 117431 w 118263"/>
                <a:gd name="connsiteY10" fmla="*/ 0 h 7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263" h="71432">
                  <a:moveTo>
                    <a:pt x="117431" y="0"/>
                  </a:moveTo>
                  <a:cubicBezTo>
                    <a:pt x="117557" y="377"/>
                    <a:pt x="116929" y="2763"/>
                    <a:pt x="113537" y="4647"/>
                  </a:cubicBezTo>
                  <a:lnTo>
                    <a:pt x="113537" y="4647"/>
                  </a:lnTo>
                  <a:cubicBezTo>
                    <a:pt x="111403" y="5903"/>
                    <a:pt x="24240" y="56267"/>
                    <a:pt x="16327" y="60788"/>
                  </a:cubicBezTo>
                  <a:cubicBezTo>
                    <a:pt x="10550" y="64053"/>
                    <a:pt x="6028" y="62672"/>
                    <a:pt x="6028" y="62672"/>
                  </a:cubicBezTo>
                  <a:cubicBezTo>
                    <a:pt x="6028" y="63300"/>
                    <a:pt x="5777" y="65560"/>
                    <a:pt x="3893" y="67444"/>
                  </a:cubicBezTo>
                  <a:cubicBezTo>
                    <a:pt x="2386" y="68952"/>
                    <a:pt x="628" y="69328"/>
                    <a:pt x="0" y="69454"/>
                  </a:cubicBezTo>
                  <a:cubicBezTo>
                    <a:pt x="4521" y="72091"/>
                    <a:pt x="11806" y="72091"/>
                    <a:pt x="16327" y="69454"/>
                  </a:cubicBezTo>
                  <a:lnTo>
                    <a:pt x="113537" y="13313"/>
                  </a:lnTo>
                  <a:cubicBezTo>
                    <a:pt x="114040" y="13062"/>
                    <a:pt x="114542" y="12559"/>
                    <a:pt x="115045" y="12183"/>
                  </a:cubicBezTo>
                  <a:cubicBezTo>
                    <a:pt x="118310" y="9294"/>
                    <a:pt x="119064" y="5275"/>
                    <a:pt x="117431" y="0"/>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1" name="Freeform: Shape 5040">
              <a:extLst>
                <a:ext uri="{FF2B5EF4-FFF2-40B4-BE49-F238E27FC236}">
                  <a16:creationId xmlns:a16="http://schemas.microsoft.com/office/drawing/2014/main" id="{C7B819F5-A5B6-46B2-8A01-1B37283143DC}"/>
                </a:ext>
              </a:extLst>
            </p:cNvPr>
            <p:cNvSpPr/>
            <p:nvPr/>
          </p:nvSpPr>
          <p:spPr>
            <a:xfrm>
              <a:off x="9625087" y="2398616"/>
              <a:ext cx="222442" cy="133640"/>
            </a:xfrm>
            <a:custGeom>
              <a:avLst/>
              <a:gdLst>
                <a:gd name="connsiteX0" fmla="*/ 214893 w 222442"/>
                <a:gd name="connsiteY0" fmla="*/ 59626 h 133640"/>
                <a:gd name="connsiteX1" fmla="*/ 113160 w 222442"/>
                <a:gd name="connsiteY1" fmla="*/ 848 h 133640"/>
                <a:gd name="connsiteX2" fmla="*/ 106756 w 222442"/>
                <a:gd name="connsiteY2" fmla="*/ 848 h 133640"/>
                <a:gd name="connsiteX3" fmla="*/ 0 w 222442"/>
                <a:gd name="connsiteY3" fmla="*/ 62389 h 133640"/>
                <a:gd name="connsiteX4" fmla="*/ 104871 w 222442"/>
                <a:gd name="connsiteY4" fmla="*/ 122926 h 133640"/>
                <a:gd name="connsiteX5" fmla="*/ 111025 w 222442"/>
                <a:gd name="connsiteY5" fmla="*/ 133350 h 133640"/>
                <a:gd name="connsiteX6" fmla="*/ 121324 w 222442"/>
                <a:gd name="connsiteY6" fmla="*/ 131466 h 133640"/>
                <a:gd name="connsiteX7" fmla="*/ 218535 w 222442"/>
                <a:gd name="connsiteY7" fmla="*/ 75325 h 133640"/>
                <a:gd name="connsiteX8" fmla="*/ 222428 w 222442"/>
                <a:gd name="connsiteY8" fmla="*/ 70553 h 133640"/>
                <a:gd name="connsiteX9" fmla="*/ 214893 w 222442"/>
                <a:gd name="connsiteY9" fmla="*/ 59626 h 13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442" h="133640">
                  <a:moveTo>
                    <a:pt x="214893" y="59626"/>
                  </a:moveTo>
                  <a:lnTo>
                    <a:pt x="113160" y="848"/>
                  </a:lnTo>
                  <a:cubicBezTo>
                    <a:pt x="111151" y="-283"/>
                    <a:pt x="108765" y="-283"/>
                    <a:pt x="106756" y="848"/>
                  </a:cubicBezTo>
                  <a:lnTo>
                    <a:pt x="0" y="62389"/>
                  </a:lnTo>
                  <a:lnTo>
                    <a:pt x="104871" y="122926"/>
                  </a:lnTo>
                  <a:cubicBezTo>
                    <a:pt x="109393" y="125563"/>
                    <a:pt x="111025" y="130085"/>
                    <a:pt x="111025" y="133350"/>
                  </a:cubicBezTo>
                  <a:cubicBezTo>
                    <a:pt x="111025" y="133350"/>
                    <a:pt x="115547" y="134732"/>
                    <a:pt x="121324" y="131466"/>
                  </a:cubicBezTo>
                  <a:cubicBezTo>
                    <a:pt x="129363" y="126945"/>
                    <a:pt x="218535" y="75325"/>
                    <a:pt x="218535" y="75325"/>
                  </a:cubicBezTo>
                  <a:cubicBezTo>
                    <a:pt x="221926" y="73316"/>
                    <a:pt x="222554" y="70930"/>
                    <a:pt x="222428" y="70553"/>
                  </a:cubicBezTo>
                  <a:cubicBezTo>
                    <a:pt x="221549" y="67790"/>
                    <a:pt x="219414" y="62264"/>
                    <a:pt x="214893" y="59626"/>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42" name="Graphic 4">
              <a:extLst>
                <a:ext uri="{FF2B5EF4-FFF2-40B4-BE49-F238E27FC236}">
                  <a16:creationId xmlns:a16="http://schemas.microsoft.com/office/drawing/2014/main" id="{84FB7ED1-A2DF-40A1-A747-5F7CF3F14040}"/>
                </a:ext>
              </a:extLst>
            </p:cNvPr>
            <p:cNvGrpSpPr/>
            <p:nvPr/>
          </p:nvGrpSpPr>
          <p:grpSpPr>
            <a:xfrm>
              <a:off x="9794011" y="2473690"/>
              <a:ext cx="7284" cy="7535"/>
              <a:chOff x="9794011" y="2473690"/>
              <a:chExt cx="7284" cy="7535"/>
            </a:xfrm>
            <a:solidFill>
              <a:schemeClr val="accent1"/>
            </a:solidFill>
          </p:grpSpPr>
          <p:grpSp>
            <p:nvGrpSpPr>
              <p:cNvPr id="5043" name="Graphic 4">
                <a:extLst>
                  <a:ext uri="{FF2B5EF4-FFF2-40B4-BE49-F238E27FC236}">
                    <a16:creationId xmlns:a16="http://schemas.microsoft.com/office/drawing/2014/main" id="{84FB7ED1-A2DF-40A1-A747-5F7CF3F14040}"/>
                  </a:ext>
                </a:extLst>
              </p:cNvPr>
              <p:cNvGrpSpPr/>
              <p:nvPr/>
            </p:nvGrpSpPr>
            <p:grpSpPr>
              <a:xfrm>
                <a:off x="9794011" y="2476076"/>
                <a:ext cx="7284" cy="5149"/>
                <a:chOff x="9794011" y="2476076"/>
                <a:chExt cx="7284" cy="5149"/>
              </a:xfrm>
              <a:solidFill>
                <a:schemeClr val="accent1"/>
              </a:solidFill>
            </p:grpSpPr>
            <p:sp>
              <p:nvSpPr>
                <p:cNvPr id="5044" name="Freeform: Shape 5043">
                  <a:extLst>
                    <a:ext uri="{FF2B5EF4-FFF2-40B4-BE49-F238E27FC236}">
                      <a16:creationId xmlns:a16="http://schemas.microsoft.com/office/drawing/2014/main" id="{1F4B53C5-FF4C-455F-808B-7FCD64216A13}"/>
                    </a:ext>
                  </a:extLst>
                </p:cNvPr>
                <p:cNvSpPr/>
                <p:nvPr/>
              </p:nvSpPr>
              <p:spPr>
                <a:xfrm>
                  <a:off x="9794011" y="2476076"/>
                  <a:ext cx="7284" cy="4270"/>
                </a:xfrm>
                <a:custGeom>
                  <a:avLst/>
                  <a:gdLst>
                    <a:gd name="connsiteX0" fmla="*/ 3643 w 7284"/>
                    <a:gd name="connsiteY0" fmla="*/ 4270 h 4270"/>
                    <a:gd name="connsiteX1" fmla="*/ 7285 w 7284"/>
                    <a:gd name="connsiteY1" fmla="*/ 2135 h 4270"/>
                    <a:gd name="connsiteX2" fmla="*/ 3643 w 7284"/>
                    <a:gd name="connsiteY2" fmla="*/ 0 h 4270"/>
                    <a:gd name="connsiteX3" fmla="*/ 0 w 7284"/>
                    <a:gd name="connsiteY3" fmla="*/ 2135 h 4270"/>
                    <a:gd name="connsiteX4" fmla="*/ 3643 w 7284"/>
                    <a:gd name="connsiteY4" fmla="*/ 4270 h 4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4" h="4270">
                      <a:moveTo>
                        <a:pt x="3643" y="4270"/>
                      </a:moveTo>
                      <a:cubicBezTo>
                        <a:pt x="5652" y="4270"/>
                        <a:pt x="7285" y="3265"/>
                        <a:pt x="7285" y="2135"/>
                      </a:cubicBezTo>
                      <a:cubicBezTo>
                        <a:pt x="7285" y="1005"/>
                        <a:pt x="5652" y="0"/>
                        <a:pt x="3643" y="0"/>
                      </a:cubicBezTo>
                      <a:cubicBezTo>
                        <a:pt x="1633" y="0"/>
                        <a:pt x="0" y="1005"/>
                        <a:pt x="0" y="2135"/>
                      </a:cubicBezTo>
                      <a:cubicBezTo>
                        <a:pt x="0" y="3265"/>
                        <a:pt x="1633" y="4270"/>
                        <a:pt x="3643" y="4270"/>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5" name="Freeform: Shape 5044">
                  <a:extLst>
                    <a:ext uri="{FF2B5EF4-FFF2-40B4-BE49-F238E27FC236}">
                      <a16:creationId xmlns:a16="http://schemas.microsoft.com/office/drawing/2014/main" id="{B78420A7-5E75-41D3-930E-BC08B4E418B7}"/>
                    </a:ext>
                  </a:extLst>
                </p:cNvPr>
                <p:cNvSpPr/>
                <p:nvPr/>
              </p:nvSpPr>
              <p:spPr>
                <a:xfrm>
                  <a:off x="9794011" y="2478212"/>
                  <a:ext cx="7284" cy="3014"/>
                </a:xfrm>
                <a:custGeom>
                  <a:avLst/>
                  <a:gdLst>
                    <a:gd name="connsiteX0" fmla="*/ 3643 w 7284"/>
                    <a:gd name="connsiteY0" fmla="*/ 2135 h 3014"/>
                    <a:gd name="connsiteX1" fmla="*/ 7285 w 7284"/>
                    <a:gd name="connsiteY1" fmla="*/ 0 h 3014"/>
                    <a:gd name="connsiteX2" fmla="*/ 7285 w 7284"/>
                    <a:gd name="connsiteY2" fmla="*/ 879 h 3014"/>
                    <a:gd name="connsiteX3" fmla="*/ 3643 w 7284"/>
                    <a:gd name="connsiteY3" fmla="*/ 3014 h 3014"/>
                    <a:gd name="connsiteX4" fmla="*/ 0 w 7284"/>
                    <a:gd name="connsiteY4" fmla="*/ 879 h 3014"/>
                    <a:gd name="connsiteX5" fmla="*/ 0 w 7284"/>
                    <a:gd name="connsiteY5" fmla="*/ 0 h 3014"/>
                    <a:gd name="connsiteX6" fmla="*/ 3643 w 7284"/>
                    <a:gd name="connsiteY6" fmla="*/ 2135 h 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84" h="3014">
                      <a:moveTo>
                        <a:pt x="3643" y="2135"/>
                      </a:moveTo>
                      <a:cubicBezTo>
                        <a:pt x="5652" y="2135"/>
                        <a:pt x="7285" y="1130"/>
                        <a:pt x="7285" y="0"/>
                      </a:cubicBezTo>
                      <a:cubicBezTo>
                        <a:pt x="7285" y="0"/>
                        <a:pt x="7285" y="628"/>
                        <a:pt x="7285" y="879"/>
                      </a:cubicBezTo>
                      <a:cubicBezTo>
                        <a:pt x="7285" y="2009"/>
                        <a:pt x="5652" y="3014"/>
                        <a:pt x="3643" y="3014"/>
                      </a:cubicBezTo>
                      <a:cubicBezTo>
                        <a:pt x="1633" y="3014"/>
                        <a:pt x="0" y="2009"/>
                        <a:pt x="0" y="879"/>
                      </a:cubicBezTo>
                      <a:cubicBezTo>
                        <a:pt x="0" y="502"/>
                        <a:pt x="0" y="0"/>
                        <a:pt x="0" y="0"/>
                      </a:cubicBezTo>
                      <a:cubicBezTo>
                        <a:pt x="0" y="1130"/>
                        <a:pt x="1633" y="2135"/>
                        <a:pt x="3643" y="21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46" name="Graphic 4">
                <a:extLst>
                  <a:ext uri="{FF2B5EF4-FFF2-40B4-BE49-F238E27FC236}">
                    <a16:creationId xmlns:a16="http://schemas.microsoft.com/office/drawing/2014/main" id="{84FB7ED1-A2DF-40A1-A747-5F7CF3F14040}"/>
                  </a:ext>
                </a:extLst>
              </p:cNvPr>
              <p:cNvGrpSpPr/>
              <p:nvPr/>
            </p:nvGrpSpPr>
            <p:grpSpPr>
              <a:xfrm>
                <a:off x="9795016" y="2473690"/>
                <a:ext cx="5274" cy="6028"/>
                <a:chOff x="9795016" y="2473690"/>
                <a:chExt cx="5274" cy="6028"/>
              </a:xfrm>
              <a:solidFill>
                <a:schemeClr val="accent1"/>
              </a:solidFill>
            </p:grpSpPr>
            <p:sp>
              <p:nvSpPr>
                <p:cNvPr id="5047" name="Freeform: Shape 5046">
                  <a:extLst>
                    <a:ext uri="{FF2B5EF4-FFF2-40B4-BE49-F238E27FC236}">
                      <a16:creationId xmlns:a16="http://schemas.microsoft.com/office/drawing/2014/main" id="{1F9A5983-49E2-40F2-B515-09F8E19B81DC}"/>
                    </a:ext>
                  </a:extLst>
                </p:cNvPr>
                <p:cNvSpPr/>
                <p:nvPr/>
              </p:nvSpPr>
              <p:spPr>
                <a:xfrm>
                  <a:off x="9795644" y="2473690"/>
                  <a:ext cx="4019" cy="2260"/>
                </a:xfrm>
                <a:custGeom>
                  <a:avLst/>
                  <a:gdLst>
                    <a:gd name="connsiteX0" fmla="*/ 4019 w 4019"/>
                    <a:gd name="connsiteY0" fmla="*/ 1130 h 2260"/>
                    <a:gd name="connsiteX1" fmla="*/ 2010 w 4019"/>
                    <a:gd name="connsiteY1" fmla="*/ 2261 h 2260"/>
                    <a:gd name="connsiteX2" fmla="*/ 1 w 4019"/>
                    <a:gd name="connsiteY2" fmla="*/ 1130 h 2260"/>
                    <a:gd name="connsiteX3" fmla="*/ 2010 w 4019"/>
                    <a:gd name="connsiteY3" fmla="*/ 0 h 2260"/>
                    <a:gd name="connsiteX4" fmla="*/ 4019 w 4019"/>
                    <a:gd name="connsiteY4" fmla="*/ 1130 h 2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2260">
                      <a:moveTo>
                        <a:pt x="4019" y="1130"/>
                      </a:moveTo>
                      <a:cubicBezTo>
                        <a:pt x="4019" y="1755"/>
                        <a:pt x="3119" y="2261"/>
                        <a:pt x="2010" y="2261"/>
                      </a:cubicBezTo>
                      <a:cubicBezTo>
                        <a:pt x="900" y="2261"/>
                        <a:pt x="1" y="1755"/>
                        <a:pt x="1" y="1130"/>
                      </a:cubicBezTo>
                      <a:cubicBezTo>
                        <a:pt x="1" y="506"/>
                        <a:pt x="901" y="0"/>
                        <a:pt x="2010" y="0"/>
                      </a:cubicBezTo>
                      <a:cubicBezTo>
                        <a:pt x="3120" y="0"/>
                        <a:pt x="4019" y="506"/>
                        <a:pt x="4019" y="1130"/>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8" name="Freeform: Shape 5047">
                  <a:extLst>
                    <a:ext uri="{FF2B5EF4-FFF2-40B4-BE49-F238E27FC236}">
                      <a16:creationId xmlns:a16="http://schemas.microsoft.com/office/drawing/2014/main" id="{746C472D-7BD8-4404-BA17-7936BBEE7E51}"/>
                    </a:ext>
                  </a:extLst>
                </p:cNvPr>
                <p:cNvSpPr/>
                <p:nvPr/>
              </p:nvSpPr>
              <p:spPr>
                <a:xfrm>
                  <a:off x="9795016" y="2474946"/>
                  <a:ext cx="5274" cy="4772"/>
                </a:xfrm>
                <a:custGeom>
                  <a:avLst/>
                  <a:gdLst>
                    <a:gd name="connsiteX0" fmla="*/ 2638 w 5274"/>
                    <a:gd name="connsiteY0" fmla="*/ 1130 h 4772"/>
                    <a:gd name="connsiteX1" fmla="*/ 4647 w 5274"/>
                    <a:gd name="connsiteY1" fmla="*/ 0 h 4772"/>
                    <a:gd name="connsiteX2" fmla="*/ 5275 w 5274"/>
                    <a:gd name="connsiteY2" fmla="*/ 3265 h 4772"/>
                    <a:gd name="connsiteX3" fmla="*/ 2638 w 5274"/>
                    <a:gd name="connsiteY3" fmla="*/ 4773 h 4772"/>
                    <a:gd name="connsiteX4" fmla="*/ 0 w 5274"/>
                    <a:gd name="connsiteY4" fmla="*/ 3265 h 4772"/>
                    <a:gd name="connsiteX5" fmla="*/ 628 w 5274"/>
                    <a:gd name="connsiteY5" fmla="*/ 0 h 4772"/>
                    <a:gd name="connsiteX6" fmla="*/ 2638 w 5274"/>
                    <a:gd name="connsiteY6" fmla="*/ 1130 h 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4" h="4772">
                      <a:moveTo>
                        <a:pt x="2638" y="1130"/>
                      </a:moveTo>
                      <a:cubicBezTo>
                        <a:pt x="3768" y="1130"/>
                        <a:pt x="4647" y="628"/>
                        <a:pt x="4647" y="0"/>
                      </a:cubicBezTo>
                      <a:cubicBezTo>
                        <a:pt x="4647" y="0"/>
                        <a:pt x="5275" y="3014"/>
                        <a:pt x="5275" y="3265"/>
                      </a:cubicBezTo>
                      <a:cubicBezTo>
                        <a:pt x="5275" y="4145"/>
                        <a:pt x="4145" y="4773"/>
                        <a:pt x="2638" y="4773"/>
                      </a:cubicBezTo>
                      <a:cubicBezTo>
                        <a:pt x="1131" y="4773"/>
                        <a:pt x="0" y="4145"/>
                        <a:pt x="0" y="3265"/>
                      </a:cubicBezTo>
                      <a:cubicBezTo>
                        <a:pt x="0" y="3014"/>
                        <a:pt x="628" y="0"/>
                        <a:pt x="628" y="0"/>
                      </a:cubicBezTo>
                      <a:cubicBezTo>
                        <a:pt x="628" y="628"/>
                        <a:pt x="1507" y="1130"/>
                        <a:pt x="2638" y="1130"/>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049" name="Graphic 4">
              <a:extLst>
                <a:ext uri="{FF2B5EF4-FFF2-40B4-BE49-F238E27FC236}">
                  <a16:creationId xmlns:a16="http://schemas.microsoft.com/office/drawing/2014/main" id="{84FB7ED1-A2DF-40A1-A747-5F7CF3F14040}"/>
                </a:ext>
              </a:extLst>
            </p:cNvPr>
            <p:cNvGrpSpPr/>
            <p:nvPr/>
          </p:nvGrpSpPr>
          <p:grpSpPr>
            <a:xfrm>
              <a:off x="9768258" y="2488636"/>
              <a:ext cx="7291" cy="7410"/>
              <a:chOff x="9768258" y="2488636"/>
              <a:chExt cx="7291" cy="7410"/>
            </a:xfrm>
            <a:solidFill>
              <a:schemeClr val="accent1"/>
            </a:solidFill>
          </p:grpSpPr>
          <p:grpSp>
            <p:nvGrpSpPr>
              <p:cNvPr id="5050" name="Graphic 4">
                <a:extLst>
                  <a:ext uri="{FF2B5EF4-FFF2-40B4-BE49-F238E27FC236}">
                    <a16:creationId xmlns:a16="http://schemas.microsoft.com/office/drawing/2014/main" id="{84FB7ED1-A2DF-40A1-A747-5F7CF3F14040}"/>
                  </a:ext>
                </a:extLst>
              </p:cNvPr>
              <p:cNvGrpSpPr/>
              <p:nvPr/>
            </p:nvGrpSpPr>
            <p:grpSpPr>
              <a:xfrm>
                <a:off x="9768258" y="2490897"/>
                <a:ext cx="7291" cy="5149"/>
                <a:chOff x="9768258" y="2490897"/>
                <a:chExt cx="7291" cy="5149"/>
              </a:xfrm>
              <a:solidFill>
                <a:schemeClr val="accent1"/>
              </a:solidFill>
            </p:grpSpPr>
            <p:sp>
              <p:nvSpPr>
                <p:cNvPr id="5051" name="Freeform: Shape 5050">
                  <a:extLst>
                    <a:ext uri="{FF2B5EF4-FFF2-40B4-BE49-F238E27FC236}">
                      <a16:creationId xmlns:a16="http://schemas.microsoft.com/office/drawing/2014/main" id="{843C64E2-2E95-41C0-AE0C-3B19CD498BE4}"/>
                    </a:ext>
                  </a:extLst>
                </p:cNvPr>
                <p:cNvSpPr/>
                <p:nvPr/>
              </p:nvSpPr>
              <p:spPr>
                <a:xfrm>
                  <a:off x="9768265" y="2490897"/>
                  <a:ext cx="7284" cy="4270"/>
                </a:xfrm>
                <a:custGeom>
                  <a:avLst/>
                  <a:gdLst>
                    <a:gd name="connsiteX0" fmla="*/ 3642 w 7284"/>
                    <a:gd name="connsiteY0" fmla="*/ 4270 h 4270"/>
                    <a:gd name="connsiteX1" fmla="*/ 7285 w 7284"/>
                    <a:gd name="connsiteY1" fmla="*/ 2135 h 4270"/>
                    <a:gd name="connsiteX2" fmla="*/ 3642 w 7284"/>
                    <a:gd name="connsiteY2" fmla="*/ 0 h 4270"/>
                    <a:gd name="connsiteX3" fmla="*/ 0 w 7284"/>
                    <a:gd name="connsiteY3" fmla="*/ 2135 h 4270"/>
                    <a:gd name="connsiteX4" fmla="*/ 3642 w 7284"/>
                    <a:gd name="connsiteY4" fmla="*/ 4270 h 4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4" h="4270">
                      <a:moveTo>
                        <a:pt x="3642" y="4270"/>
                      </a:moveTo>
                      <a:cubicBezTo>
                        <a:pt x="5652" y="4270"/>
                        <a:pt x="7285" y="3265"/>
                        <a:pt x="7285" y="2135"/>
                      </a:cubicBezTo>
                      <a:cubicBezTo>
                        <a:pt x="7285" y="1005"/>
                        <a:pt x="5652" y="0"/>
                        <a:pt x="3642" y="0"/>
                      </a:cubicBezTo>
                      <a:cubicBezTo>
                        <a:pt x="1633" y="0"/>
                        <a:pt x="0" y="1005"/>
                        <a:pt x="0" y="2135"/>
                      </a:cubicBezTo>
                      <a:cubicBezTo>
                        <a:pt x="0" y="3265"/>
                        <a:pt x="1507" y="4270"/>
                        <a:pt x="3642" y="4270"/>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52" name="Freeform: Shape 5051">
                  <a:extLst>
                    <a:ext uri="{FF2B5EF4-FFF2-40B4-BE49-F238E27FC236}">
                      <a16:creationId xmlns:a16="http://schemas.microsoft.com/office/drawing/2014/main" id="{3DEC03C0-D1B0-40F0-9606-CAD280E2888F}"/>
                    </a:ext>
                  </a:extLst>
                </p:cNvPr>
                <p:cNvSpPr/>
                <p:nvPr/>
              </p:nvSpPr>
              <p:spPr>
                <a:xfrm>
                  <a:off x="9768258" y="2493032"/>
                  <a:ext cx="7291" cy="3014"/>
                </a:xfrm>
                <a:custGeom>
                  <a:avLst/>
                  <a:gdLst>
                    <a:gd name="connsiteX0" fmla="*/ 3649 w 7291"/>
                    <a:gd name="connsiteY0" fmla="*/ 2135 h 3014"/>
                    <a:gd name="connsiteX1" fmla="*/ 7292 w 7291"/>
                    <a:gd name="connsiteY1" fmla="*/ 0 h 3014"/>
                    <a:gd name="connsiteX2" fmla="*/ 7292 w 7291"/>
                    <a:gd name="connsiteY2" fmla="*/ 879 h 3014"/>
                    <a:gd name="connsiteX3" fmla="*/ 3649 w 7291"/>
                    <a:gd name="connsiteY3" fmla="*/ 3014 h 3014"/>
                    <a:gd name="connsiteX4" fmla="*/ 7 w 7291"/>
                    <a:gd name="connsiteY4" fmla="*/ 879 h 3014"/>
                    <a:gd name="connsiteX5" fmla="*/ 7 w 7291"/>
                    <a:gd name="connsiteY5" fmla="*/ 0 h 3014"/>
                    <a:gd name="connsiteX6" fmla="*/ 3649 w 7291"/>
                    <a:gd name="connsiteY6" fmla="*/ 2135 h 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91" h="3014">
                      <a:moveTo>
                        <a:pt x="3649" y="2135"/>
                      </a:moveTo>
                      <a:cubicBezTo>
                        <a:pt x="5659" y="2135"/>
                        <a:pt x="7292" y="1130"/>
                        <a:pt x="7292" y="0"/>
                      </a:cubicBezTo>
                      <a:cubicBezTo>
                        <a:pt x="7292" y="0"/>
                        <a:pt x="7292" y="628"/>
                        <a:pt x="7292" y="879"/>
                      </a:cubicBezTo>
                      <a:cubicBezTo>
                        <a:pt x="7292" y="2009"/>
                        <a:pt x="5659" y="3014"/>
                        <a:pt x="3649" y="3014"/>
                      </a:cubicBezTo>
                      <a:cubicBezTo>
                        <a:pt x="1640" y="3014"/>
                        <a:pt x="7" y="2009"/>
                        <a:pt x="7" y="879"/>
                      </a:cubicBezTo>
                      <a:cubicBezTo>
                        <a:pt x="7" y="502"/>
                        <a:pt x="7" y="0"/>
                        <a:pt x="7" y="0"/>
                      </a:cubicBezTo>
                      <a:cubicBezTo>
                        <a:pt x="-119" y="1256"/>
                        <a:pt x="1514" y="2135"/>
                        <a:pt x="3649" y="21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53" name="Graphic 4">
                <a:extLst>
                  <a:ext uri="{FF2B5EF4-FFF2-40B4-BE49-F238E27FC236}">
                    <a16:creationId xmlns:a16="http://schemas.microsoft.com/office/drawing/2014/main" id="{84FB7ED1-A2DF-40A1-A747-5F7CF3F14040}"/>
                  </a:ext>
                </a:extLst>
              </p:cNvPr>
              <p:cNvGrpSpPr/>
              <p:nvPr/>
            </p:nvGrpSpPr>
            <p:grpSpPr>
              <a:xfrm>
                <a:off x="9769270" y="2488636"/>
                <a:ext cx="5274" cy="6028"/>
                <a:chOff x="9769270" y="2488636"/>
                <a:chExt cx="5274" cy="6028"/>
              </a:xfrm>
              <a:solidFill>
                <a:schemeClr val="accent1"/>
              </a:solidFill>
            </p:grpSpPr>
            <p:sp>
              <p:nvSpPr>
                <p:cNvPr id="5054" name="Freeform: Shape 5053">
                  <a:extLst>
                    <a:ext uri="{FF2B5EF4-FFF2-40B4-BE49-F238E27FC236}">
                      <a16:creationId xmlns:a16="http://schemas.microsoft.com/office/drawing/2014/main" id="{01C118CA-ADBC-4919-8C01-8B4AEA008137}"/>
                    </a:ext>
                  </a:extLst>
                </p:cNvPr>
                <p:cNvSpPr/>
                <p:nvPr/>
              </p:nvSpPr>
              <p:spPr>
                <a:xfrm>
                  <a:off x="9769897" y="2488636"/>
                  <a:ext cx="4019" cy="2260"/>
                </a:xfrm>
                <a:custGeom>
                  <a:avLst/>
                  <a:gdLst>
                    <a:gd name="connsiteX0" fmla="*/ 4019 w 4019"/>
                    <a:gd name="connsiteY0" fmla="*/ 1130 h 2260"/>
                    <a:gd name="connsiteX1" fmla="*/ 2010 w 4019"/>
                    <a:gd name="connsiteY1" fmla="*/ 2261 h 2260"/>
                    <a:gd name="connsiteX2" fmla="*/ 1 w 4019"/>
                    <a:gd name="connsiteY2" fmla="*/ 1130 h 2260"/>
                    <a:gd name="connsiteX3" fmla="*/ 2010 w 4019"/>
                    <a:gd name="connsiteY3" fmla="*/ 0 h 2260"/>
                    <a:gd name="connsiteX4" fmla="*/ 4019 w 4019"/>
                    <a:gd name="connsiteY4" fmla="*/ 1130 h 2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2260">
                      <a:moveTo>
                        <a:pt x="4019" y="1130"/>
                      </a:moveTo>
                      <a:cubicBezTo>
                        <a:pt x="4019" y="1755"/>
                        <a:pt x="3119" y="2261"/>
                        <a:pt x="2010" y="2261"/>
                      </a:cubicBezTo>
                      <a:cubicBezTo>
                        <a:pt x="900" y="2261"/>
                        <a:pt x="1" y="1755"/>
                        <a:pt x="1" y="1130"/>
                      </a:cubicBezTo>
                      <a:cubicBezTo>
                        <a:pt x="1" y="506"/>
                        <a:pt x="901" y="0"/>
                        <a:pt x="2010" y="0"/>
                      </a:cubicBezTo>
                      <a:cubicBezTo>
                        <a:pt x="3120" y="0"/>
                        <a:pt x="4019" y="506"/>
                        <a:pt x="4019" y="1130"/>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55" name="Freeform: Shape 5054">
                  <a:extLst>
                    <a:ext uri="{FF2B5EF4-FFF2-40B4-BE49-F238E27FC236}">
                      <a16:creationId xmlns:a16="http://schemas.microsoft.com/office/drawing/2014/main" id="{DB3A00EE-4B82-4DE5-9032-EBE89CA15EE1}"/>
                    </a:ext>
                  </a:extLst>
                </p:cNvPr>
                <p:cNvSpPr/>
                <p:nvPr/>
              </p:nvSpPr>
              <p:spPr>
                <a:xfrm>
                  <a:off x="9769270" y="2489892"/>
                  <a:ext cx="5274" cy="4772"/>
                </a:xfrm>
                <a:custGeom>
                  <a:avLst/>
                  <a:gdLst>
                    <a:gd name="connsiteX0" fmla="*/ 2637 w 5274"/>
                    <a:gd name="connsiteY0" fmla="*/ 1130 h 4772"/>
                    <a:gd name="connsiteX1" fmla="*/ 4647 w 5274"/>
                    <a:gd name="connsiteY1" fmla="*/ 0 h 4772"/>
                    <a:gd name="connsiteX2" fmla="*/ 5275 w 5274"/>
                    <a:gd name="connsiteY2" fmla="*/ 3265 h 4772"/>
                    <a:gd name="connsiteX3" fmla="*/ 2637 w 5274"/>
                    <a:gd name="connsiteY3" fmla="*/ 4773 h 4772"/>
                    <a:gd name="connsiteX4" fmla="*/ 0 w 5274"/>
                    <a:gd name="connsiteY4" fmla="*/ 3265 h 4772"/>
                    <a:gd name="connsiteX5" fmla="*/ 628 w 5274"/>
                    <a:gd name="connsiteY5" fmla="*/ 0 h 4772"/>
                    <a:gd name="connsiteX6" fmla="*/ 2637 w 5274"/>
                    <a:gd name="connsiteY6" fmla="*/ 1130 h 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4" h="4772">
                      <a:moveTo>
                        <a:pt x="2637" y="1130"/>
                      </a:moveTo>
                      <a:cubicBezTo>
                        <a:pt x="3768" y="1130"/>
                        <a:pt x="4647" y="628"/>
                        <a:pt x="4647" y="0"/>
                      </a:cubicBezTo>
                      <a:cubicBezTo>
                        <a:pt x="4647" y="0"/>
                        <a:pt x="5275" y="3014"/>
                        <a:pt x="5275" y="3265"/>
                      </a:cubicBezTo>
                      <a:cubicBezTo>
                        <a:pt x="5275" y="4145"/>
                        <a:pt x="4145" y="4773"/>
                        <a:pt x="2637" y="4773"/>
                      </a:cubicBezTo>
                      <a:cubicBezTo>
                        <a:pt x="1130" y="4773"/>
                        <a:pt x="0" y="4145"/>
                        <a:pt x="0" y="3265"/>
                      </a:cubicBezTo>
                      <a:cubicBezTo>
                        <a:pt x="0" y="3014"/>
                        <a:pt x="628" y="0"/>
                        <a:pt x="628" y="0"/>
                      </a:cubicBezTo>
                      <a:cubicBezTo>
                        <a:pt x="502" y="502"/>
                        <a:pt x="1507" y="1130"/>
                        <a:pt x="2637" y="1130"/>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056" name="Graphic 4">
              <a:extLst>
                <a:ext uri="{FF2B5EF4-FFF2-40B4-BE49-F238E27FC236}">
                  <a16:creationId xmlns:a16="http://schemas.microsoft.com/office/drawing/2014/main" id="{84FB7ED1-A2DF-40A1-A747-5F7CF3F14040}"/>
                </a:ext>
              </a:extLst>
            </p:cNvPr>
            <p:cNvGrpSpPr/>
            <p:nvPr/>
          </p:nvGrpSpPr>
          <p:grpSpPr>
            <a:xfrm>
              <a:off x="9781076" y="2481226"/>
              <a:ext cx="7284" cy="7410"/>
              <a:chOff x="9781076" y="2481226"/>
              <a:chExt cx="7284" cy="7410"/>
            </a:xfrm>
            <a:solidFill>
              <a:schemeClr val="accent1"/>
            </a:solidFill>
          </p:grpSpPr>
          <p:grpSp>
            <p:nvGrpSpPr>
              <p:cNvPr id="5057" name="Graphic 4">
                <a:extLst>
                  <a:ext uri="{FF2B5EF4-FFF2-40B4-BE49-F238E27FC236}">
                    <a16:creationId xmlns:a16="http://schemas.microsoft.com/office/drawing/2014/main" id="{84FB7ED1-A2DF-40A1-A747-5F7CF3F14040}"/>
                  </a:ext>
                </a:extLst>
              </p:cNvPr>
              <p:cNvGrpSpPr/>
              <p:nvPr/>
            </p:nvGrpSpPr>
            <p:grpSpPr>
              <a:xfrm>
                <a:off x="9781076" y="2483487"/>
                <a:ext cx="7284" cy="5149"/>
                <a:chOff x="9781076" y="2483487"/>
                <a:chExt cx="7284" cy="5149"/>
              </a:xfrm>
              <a:solidFill>
                <a:schemeClr val="accent1"/>
              </a:solidFill>
            </p:grpSpPr>
            <p:sp>
              <p:nvSpPr>
                <p:cNvPr id="5058" name="Freeform: Shape 5057">
                  <a:extLst>
                    <a:ext uri="{FF2B5EF4-FFF2-40B4-BE49-F238E27FC236}">
                      <a16:creationId xmlns:a16="http://schemas.microsoft.com/office/drawing/2014/main" id="{7D3668AD-44DB-412A-A9E7-E757CC7023B2}"/>
                    </a:ext>
                  </a:extLst>
                </p:cNvPr>
                <p:cNvSpPr/>
                <p:nvPr/>
              </p:nvSpPr>
              <p:spPr>
                <a:xfrm>
                  <a:off x="9781076" y="2483487"/>
                  <a:ext cx="7284" cy="4270"/>
                </a:xfrm>
                <a:custGeom>
                  <a:avLst/>
                  <a:gdLst>
                    <a:gd name="connsiteX0" fmla="*/ 3642 w 7284"/>
                    <a:gd name="connsiteY0" fmla="*/ 4270 h 4270"/>
                    <a:gd name="connsiteX1" fmla="*/ 7285 w 7284"/>
                    <a:gd name="connsiteY1" fmla="*/ 2135 h 4270"/>
                    <a:gd name="connsiteX2" fmla="*/ 3642 w 7284"/>
                    <a:gd name="connsiteY2" fmla="*/ 0 h 4270"/>
                    <a:gd name="connsiteX3" fmla="*/ 0 w 7284"/>
                    <a:gd name="connsiteY3" fmla="*/ 2135 h 4270"/>
                    <a:gd name="connsiteX4" fmla="*/ 3642 w 7284"/>
                    <a:gd name="connsiteY4" fmla="*/ 4270 h 4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4" h="4270">
                      <a:moveTo>
                        <a:pt x="3642" y="4270"/>
                      </a:moveTo>
                      <a:cubicBezTo>
                        <a:pt x="5652" y="4270"/>
                        <a:pt x="7285" y="3265"/>
                        <a:pt x="7285" y="2135"/>
                      </a:cubicBezTo>
                      <a:cubicBezTo>
                        <a:pt x="7285" y="1005"/>
                        <a:pt x="5652" y="0"/>
                        <a:pt x="3642" y="0"/>
                      </a:cubicBezTo>
                      <a:cubicBezTo>
                        <a:pt x="1633" y="0"/>
                        <a:pt x="0" y="1005"/>
                        <a:pt x="0" y="2135"/>
                      </a:cubicBezTo>
                      <a:cubicBezTo>
                        <a:pt x="0" y="3265"/>
                        <a:pt x="1633" y="4270"/>
                        <a:pt x="3642" y="4270"/>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59" name="Freeform: Shape 5058">
                  <a:extLst>
                    <a:ext uri="{FF2B5EF4-FFF2-40B4-BE49-F238E27FC236}">
                      <a16:creationId xmlns:a16="http://schemas.microsoft.com/office/drawing/2014/main" id="{AB69F42E-D4F1-473B-81A0-797CCAE5F1CB}"/>
                    </a:ext>
                  </a:extLst>
                </p:cNvPr>
                <p:cNvSpPr/>
                <p:nvPr/>
              </p:nvSpPr>
              <p:spPr>
                <a:xfrm>
                  <a:off x="9781076" y="2485622"/>
                  <a:ext cx="7284" cy="3014"/>
                </a:xfrm>
                <a:custGeom>
                  <a:avLst/>
                  <a:gdLst>
                    <a:gd name="connsiteX0" fmla="*/ 3642 w 7284"/>
                    <a:gd name="connsiteY0" fmla="*/ 2135 h 3014"/>
                    <a:gd name="connsiteX1" fmla="*/ 7285 w 7284"/>
                    <a:gd name="connsiteY1" fmla="*/ 0 h 3014"/>
                    <a:gd name="connsiteX2" fmla="*/ 7285 w 7284"/>
                    <a:gd name="connsiteY2" fmla="*/ 879 h 3014"/>
                    <a:gd name="connsiteX3" fmla="*/ 3642 w 7284"/>
                    <a:gd name="connsiteY3" fmla="*/ 3014 h 3014"/>
                    <a:gd name="connsiteX4" fmla="*/ 0 w 7284"/>
                    <a:gd name="connsiteY4" fmla="*/ 879 h 3014"/>
                    <a:gd name="connsiteX5" fmla="*/ 0 w 7284"/>
                    <a:gd name="connsiteY5" fmla="*/ 0 h 3014"/>
                    <a:gd name="connsiteX6" fmla="*/ 3642 w 7284"/>
                    <a:gd name="connsiteY6" fmla="*/ 2135 h 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84" h="3014">
                      <a:moveTo>
                        <a:pt x="3642" y="2135"/>
                      </a:moveTo>
                      <a:cubicBezTo>
                        <a:pt x="5652" y="2135"/>
                        <a:pt x="7285" y="1130"/>
                        <a:pt x="7285" y="0"/>
                      </a:cubicBezTo>
                      <a:cubicBezTo>
                        <a:pt x="7285" y="0"/>
                        <a:pt x="7285" y="628"/>
                        <a:pt x="7285" y="879"/>
                      </a:cubicBezTo>
                      <a:cubicBezTo>
                        <a:pt x="7285" y="2010"/>
                        <a:pt x="5652" y="3014"/>
                        <a:pt x="3642" y="3014"/>
                      </a:cubicBezTo>
                      <a:cubicBezTo>
                        <a:pt x="1633" y="3014"/>
                        <a:pt x="0" y="2010"/>
                        <a:pt x="0" y="879"/>
                      </a:cubicBezTo>
                      <a:cubicBezTo>
                        <a:pt x="0" y="502"/>
                        <a:pt x="0" y="0"/>
                        <a:pt x="0" y="0"/>
                      </a:cubicBezTo>
                      <a:cubicBezTo>
                        <a:pt x="0" y="1130"/>
                        <a:pt x="1633" y="2135"/>
                        <a:pt x="3642" y="21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60" name="Graphic 4">
                <a:extLst>
                  <a:ext uri="{FF2B5EF4-FFF2-40B4-BE49-F238E27FC236}">
                    <a16:creationId xmlns:a16="http://schemas.microsoft.com/office/drawing/2014/main" id="{84FB7ED1-A2DF-40A1-A747-5F7CF3F14040}"/>
                  </a:ext>
                </a:extLst>
              </p:cNvPr>
              <p:cNvGrpSpPr/>
              <p:nvPr/>
            </p:nvGrpSpPr>
            <p:grpSpPr>
              <a:xfrm>
                <a:off x="9782081" y="2481226"/>
                <a:ext cx="5274" cy="5902"/>
                <a:chOff x="9782081" y="2481226"/>
                <a:chExt cx="5274" cy="5902"/>
              </a:xfrm>
              <a:solidFill>
                <a:schemeClr val="accent1"/>
              </a:solidFill>
            </p:grpSpPr>
            <p:sp>
              <p:nvSpPr>
                <p:cNvPr id="5061" name="Freeform: Shape 5060">
                  <a:extLst>
                    <a:ext uri="{FF2B5EF4-FFF2-40B4-BE49-F238E27FC236}">
                      <a16:creationId xmlns:a16="http://schemas.microsoft.com/office/drawing/2014/main" id="{0B49F822-1BFE-452B-8FD6-77C35CB7A614}"/>
                    </a:ext>
                  </a:extLst>
                </p:cNvPr>
                <p:cNvSpPr/>
                <p:nvPr/>
              </p:nvSpPr>
              <p:spPr>
                <a:xfrm>
                  <a:off x="9782708" y="2481226"/>
                  <a:ext cx="4019" cy="2260"/>
                </a:xfrm>
                <a:custGeom>
                  <a:avLst/>
                  <a:gdLst>
                    <a:gd name="connsiteX0" fmla="*/ 4019 w 4019"/>
                    <a:gd name="connsiteY0" fmla="*/ 1130 h 2260"/>
                    <a:gd name="connsiteX1" fmla="*/ 2010 w 4019"/>
                    <a:gd name="connsiteY1" fmla="*/ 2261 h 2260"/>
                    <a:gd name="connsiteX2" fmla="*/ 1 w 4019"/>
                    <a:gd name="connsiteY2" fmla="*/ 1130 h 2260"/>
                    <a:gd name="connsiteX3" fmla="*/ 2010 w 4019"/>
                    <a:gd name="connsiteY3" fmla="*/ 0 h 2260"/>
                    <a:gd name="connsiteX4" fmla="*/ 4019 w 4019"/>
                    <a:gd name="connsiteY4" fmla="*/ 1130 h 2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2260">
                      <a:moveTo>
                        <a:pt x="4019" y="1130"/>
                      </a:moveTo>
                      <a:cubicBezTo>
                        <a:pt x="4019" y="1755"/>
                        <a:pt x="3119" y="2261"/>
                        <a:pt x="2010" y="2261"/>
                      </a:cubicBezTo>
                      <a:cubicBezTo>
                        <a:pt x="900" y="2261"/>
                        <a:pt x="1" y="1755"/>
                        <a:pt x="1" y="1130"/>
                      </a:cubicBezTo>
                      <a:cubicBezTo>
                        <a:pt x="1" y="506"/>
                        <a:pt x="901" y="0"/>
                        <a:pt x="2010" y="0"/>
                      </a:cubicBezTo>
                      <a:cubicBezTo>
                        <a:pt x="3120" y="0"/>
                        <a:pt x="4019" y="506"/>
                        <a:pt x="4019" y="1130"/>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62" name="Freeform: Shape 5061">
                  <a:extLst>
                    <a:ext uri="{FF2B5EF4-FFF2-40B4-BE49-F238E27FC236}">
                      <a16:creationId xmlns:a16="http://schemas.microsoft.com/office/drawing/2014/main" id="{2214D96F-6E90-4029-8C59-4B2C35B1EC11}"/>
                    </a:ext>
                  </a:extLst>
                </p:cNvPr>
                <p:cNvSpPr/>
                <p:nvPr/>
              </p:nvSpPr>
              <p:spPr>
                <a:xfrm>
                  <a:off x="9782081" y="2482356"/>
                  <a:ext cx="5274" cy="4772"/>
                </a:xfrm>
                <a:custGeom>
                  <a:avLst/>
                  <a:gdLst>
                    <a:gd name="connsiteX0" fmla="*/ 2637 w 5274"/>
                    <a:gd name="connsiteY0" fmla="*/ 1130 h 4772"/>
                    <a:gd name="connsiteX1" fmla="*/ 4647 w 5274"/>
                    <a:gd name="connsiteY1" fmla="*/ 0 h 4772"/>
                    <a:gd name="connsiteX2" fmla="*/ 5275 w 5274"/>
                    <a:gd name="connsiteY2" fmla="*/ 3265 h 4772"/>
                    <a:gd name="connsiteX3" fmla="*/ 2637 w 5274"/>
                    <a:gd name="connsiteY3" fmla="*/ 4773 h 4772"/>
                    <a:gd name="connsiteX4" fmla="*/ 0 w 5274"/>
                    <a:gd name="connsiteY4" fmla="*/ 3265 h 4772"/>
                    <a:gd name="connsiteX5" fmla="*/ 628 w 5274"/>
                    <a:gd name="connsiteY5" fmla="*/ 0 h 4772"/>
                    <a:gd name="connsiteX6" fmla="*/ 2637 w 5274"/>
                    <a:gd name="connsiteY6" fmla="*/ 1130 h 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4" h="4772">
                      <a:moveTo>
                        <a:pt x="2637" y="1130"/>
                      </a:moveTo>
                      <a:cubicBezTo>
                        <a:pt x="3768" y="1130"/>
                        <a:pt x="4647" y="628"/>
                        <a:pt x="4647" y="0"/>
                      </a:cubicBezTo>
                      <a:cubicBezTo>
                        <a:pt x="4647" y="0"/>
                        <a:pt x="5275" y="3014"/>
                        <a:pt x="5275" y="3265"/>
                      </a:cubicBezTo>
                      <a:cubicBezTo>
                        <a:pt x="5275" y="4145"/>
                        <a:pt x="4144" y="4773"/>
                        <a:pt x="2637" y="4773"/>
                      </a:cubicBezTo>
                      <a:cubicBezTo>
                        <a:pt x="1130" y="4773"/>
                        <a:pt x="0" y="4145"/>
                        <a:pt x="0" y="3265"/>
                      </a:cubicBezTo>
                      <a:cubicBezTo>
                        <a:pt x="0" y="3014"/>
                        <a:pt x="628" y="0"/>
                        <a:pt x="628" y="0"/>
                      </a:cubicBezTo>
                      <a:cubicBezTo>
                        <a:pt x="628" y="628"/>
                        <a:pt x="1507" y="1130"/>
                        <a:pt x="2637" y="1130"/>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063" name="Freeform: Shape 5062">
              <a:extLst>
                <a:ext uri="{FF2B5EF4-FFF2-40B4-BE49-F238E27FC236}">
                  <a16:creationId xmlns:a16="http://schemas.microsoft.com/office/drawing/2014/main" id="{750E460B-6E2F-4A71-A05F-8C8E6E9DFC1F}"/>
                </a:ext>
              </a:extLst>
            </p:cNvPr>
            <p:cNvSpPr/>
            <p:nvPr/>
          </p:nvSpPr>
          <p:spPr>
            <a:xfrm>
              <a:off x="9608188" y="2380531"/>
              <a:ext cx="130059" cy="208875"/>
            </a:xfrm>
            <a:custGeom>
              <a:avLst/>
              <a:gdLst>
                <a:gd name="connsiteX0" fmla="*/ 115490 w 130059"/>
                <a:gd name="connsiteY0" fmla="*/ 219 h 208875"/>
                <a:gd name="connsiteX1" fmla="*/ 112978 w 130059"/>
                <a:gd name="connsiteY1" fmla="*/ 470 h 208875"/>
                <a:gd name="connsiteX2" fmla="*/ 60480 w 130059"/>
                <a:gd name="connsiteY2" fmla="*/ 28604 h 208875"/>
                <a:gd name="connsiteX3" fmla="*/ 4214 w 130059"/>
                <a:gd name="connsiteY3" fmla="*/ 63268 h 208875"/>
                <a:gd name="connsiteX4" fmla="*/ 445 w 130059"/>
                <a:gd name="connsiteY4" fmla="*/ 70050 h 208875"/>
                <a:gd name="connsiteX5" fmla="*/ 320 w 130059"/>
                <a:gd name="connsiteY5" fmla="*/ 190621 h 208875"/>
                <a:gd name="connsiteX6" fmla="*/ 1074 w 130059"/>
                <a:gd name="connsiteY6" fmla="*/ 204059 h 208875"/>
                <a:gd name="connsiteX7" fmla="*/ 6851 w 130059"/>
                <a:gd name="connsiteY7" fmla="*/ 208832 h 208875"/>
                <a:gd name="connsiteX8" fmla="*/ 16899 w 130059"/>
                <a:gd name="connsiteY8" fmla="*/ 207451 h 208875"/>
                <a:gd name="connsiteX9" fmla="*/ 16899 w 130059"/>
                <a:gd name="connsiteY9" fmla="*/ 94415 h 208875"/>
                <a:gd name="connsiteX10" fmla="*/ 28704 w 130059"/>
                <a:gd name="connsiteY10" fmla="*/ 73943 h 208875"/>
                <a:gd name="connsiteX11" fmla="*/ 123529 w 130059"/>
                <a:gd name="connsiteY11" fmla="*/ 19184 h 208875"/>
                <a:gd name="connsiteX12" fmla="*/ 130059 w 130059"/>
                <a:gd name="connsiteY12" fmla="*/ 19184 h 208875"/>
                <a:gd name="connsiteX13" fmla="*/ 115490 w 130059"/>
                <a:gd name="connsiteY13" fmla="*/ 219 h 208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059" h="208875">
                  <a:moveTo>
                    <a:pt x="115490" y="219"/>
                  </a:moveTo>
                  <a:cubicBezTo>
                    <a:pt x="114863" y="-158"/>
                    <a:pt x="113983" y="-32"/>
                    <a:pt x="112978" y="470"/>
                  </a:cubicBezTo>
                  <a:cubicBezTo>
                    <a:pt x="95396" y="9262"/>
                    <a:pt x="80324" y="17174"/>
                    <a:pt x="60480" y="28604"/>
                  </a:cubicBezTo>
                  <a:cubicBezTo>
                    <a:pt x="42896" y="38777"/>
                    <a:pt x="24057" y="50331"/>
                    <a:pt x="4214" y="63268"/>
                  </a:cubicBezTo>
                  <a:cubicBezTo>
                    <a:pt x="2078" y="64649"/>
                    <a:pt x="445" y="67538"/>
                    <a:pt x="445" y="70050"/>
                  </a:cubicBezTo>
                  <a:cubicBezTo>
                    <a:pt x="-57" y="90647"/>
                    <a:pt x="-183" y="171154"/>
                    <a:pt x="320" y="190621"/>
                  </a:cubicBezTo>
                  <a:cubicBezTo>
                    <a:pt x="445" y="193384"/>
                    <a:pt x="822" y="199538"/>
                    <a:pt x="1074" y="204059"/>
                  </a:cubicBezTo>
                  <a:cubicBezTo>
                    <a:pt x="1324" y="207074"/>
                    <a:pt x="3962" y="209209"/>
                    <a:pt x="6851" y="208832"/>
                  </a:cubicBezTo>
                  <a:lnTo>
                    <a:pt x="16899" y="207451"/>
                  </a:lnTo>
                  <a:lnTo>
                    <a:pt x="16899" y="94415"/>
                  </a:lnTo>
                  <a:cubicBezTo>
                    <a:pt x="16899" y="86000"/>
                    <a:pt x="21420" y="78213"/>
                    <a:pt x="28704" y="73943"/>
                  </a:cubicBezTo>
                  <a:lnTo>
                    <a:pt x="123529" y="19184"/>
                  </a:lnTo>
                  <a:cubicBezTo>
                    <a:pt x="125538" y="18054"/>
                    <a:pt x="128050" y="18054"/>
                    <a:pt x="130059" y="19184"/>
                  </a:cubicBezTo>
                  <a:cubicBezTo>
                    <a:pt x="127296" y="12904"/>
                    <a:pt x="120515" y="3233"/>
                    <a:pt x="115490" y="219"/>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64" name="Graphic 4">
              <a:extLst>
                <a:ext uri="{FF2B5EF4-FFF2-40B4-BE49-F238E27FC236}">
                  <a16:creationId xmlns:a16="http://schemas.microsoft.com/office/drawing/2014/main" id="{84FB7ED1-A2DF-40A1-A747-5F7CF3F14040}"/>
                </a:ext>
              </a:extLst>
            </p:cNvPr>
            <p:cNvGrpSpPr/>
            <p:nvPr/>
          </p:nvGrpSpPr>
          <p:grpSpPr>
            <a:xfrm>
              <a:off x="9668668" y="2419402"/>
              <a:ext cx="88842" cy="52184"/>
              <a:chOff x="9668668" y="2419402"/>
              <a:chExt cx="88842" cy="52184"/>
            </a:xfrm>
            <a:solidFill>
              <a:srgbClr val="244690"/>
            </a:solidFill>
          </p:grpSpPr>
          <p:grpSp>
            <p:nvGrpSpPr>
              <p:cNvPr id="5065" name="Graphic 4">
                <a:extLst>
                  <a:ext uri="{FF2B5EF4-FFF2-40B4-BE49-F238E27FC236}">
                    <a16:creationId xmlns:a16="http://schemas.microsoft.com/office/drawing/2014/main" id="{84FB7ED1-A2DF-40A1-A747-5F7CF3F14040}"/>
                  </a:ext>
                </a:extLst>
              </p:cNvPr>
              <p:cNvGrpSpPr/>
              <p:nvPr/>
            </p:nvGrpSpPr>
            <p:grpSpPr>
              <a:xfrm>
                <a:off x="9668668" y="2441632"/>
                <a:ext cx="50489" cy="29954"/>
                <a:chOff x="9668668" y="2441632"/>
                <a:chExt cx="50489" cy="29954"/>
              </a:xfrm>
              <a:solidFill>
                <a:srgbClr val="244690"/>
              </a:solidFill>
            </p:grpSpPr>
            <p:sp>
              <p:nvSpPr>
                <p:cNvPr id="5066" name="Freeform: Shape 5065">
                  <a:extLst>
                    <a:ext uri="{FF2B5EF4-FFF2-40B4-BE49-F238E27FC236}">
                      <a16:creationId xmlns:a16="http://schemas.microsoft.com/office/drawing/2014/main" id="{CBAA8416-877E-4BA7-AF7E-C309AE691230}"/>
                    </a:ext>
                  </a:extLst>
                </p:cNvPr>
                <p:cNvSpPr/>
                <p:nvPr/>
              </p:nvSpPr>
              <p:spPr>
                <a:xfrm>
                  <a:off x="9668668" y="2441632"/>
                  <a:ext cx="50489" cy="29326"/>
                </a:xfrm>
                <a:custGeom>
                  <a:avLst/>
                  <a:gdLst>
                    <a:gd name="connsiteX0" fmla="*/ 50112 w 50489"/>
                    <a:gd name="connsiteY0" fmla="*/ 26155 h 29326"/>
                    <a:gd name="connsiteX1" fmla="*/ 5275 w 50489"/>
                    <a:gd name="connsiteY1" fmla="*/ 283 h 29326"/>
                    <a:gd name="connsiteX2" fmla="*/ 3266 w 50489"/>
                    <a:gd name="connsiteY2" fmla="*/ 283 h 29326"/>
                    <a:gd name="connsiteX3" fmla="*/ 377 w 50489"/>
                    <a:gd name="connsiteY3" fmla="*/ 1915 h 29326"/>
                    <a:gd name="connsiteX4" fmla="*/ 0 w 50489"/>
                    <a:gd name="connsiteY4" fmla="*/ 2543 h 29326"/>
                    <a:gd name="connsiteX5" fmla="*/ 377 w 50489"/>
                    <a:gd name="connsiteY5" fmla="*/ 3171 h 29326"/>
                    <a:gd name="connsiteX6" fmla="*/ 45214 w 50489"/>
                    <a:gd name="connsiteY6" fmla="*/ 29044 h 29326"/>
                    <a:gd name="connsiteX7" fmla="*/ 47224 w 50489"/>
                    <a:gd name="connsiteY7" fmla="*/ 29044 h 29326"/>
                    <a:gd name="connsiteX8" fmla="*/ 50112 w 50489"/>
                    <a:gd name="connsiteY8" fmla="*/ 27411 h 29326"/>
                    <a:gd name="connsiteX9" fmla="*/ 50489 w 50489"/>
                    <a:gd name="connsiteY9" fmla="*/ 26783 h 29326"/>
                    <a:gd name="connsiteX10" fmla="*/ 50112 w 50489"/>
                    <a:gd name="connsiteY10" fmla="*/ 26155 h 2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89" h="29326">
                      <a:moveTo>
                        <a:pt x="50112" y="26155"/>
                      </a:moveTo>
                      <a:lnTo>
                        <a:pt x="5275" y="283"/>
                      </a:lnTo>
                      <a:cubicBezTo>
                        <a:pt x="4773" y="-94"/>
                        <a:pt x="3768" y="-94"/>
                        <a:pt x="3266" y="283"/>
                      </a:cubicBezTo>
                      <a:lnTo>
                        <a:pt x="377" y="1915"/>
                      </a:lnTo>
                      <a:cubicBezTo>
                        <a:pt x="126" y="2041"/>
                        <a:pt x="0" y="2292"/>
                        <a:pt x="0" y="2543"/>
                      </a:cubicBezTo>
                      <a:cubicBezTo>
                        <a:pt x="0" y="2795"/>
                        <a:pt x="126" y="2920"/>
                        <a:pt x="377" y="3171"/>
                      </a:cubicBezTo>
                      <a:lnTo>
                        <a:pt x="45214" y="29044"/>
                      </a:lnTo>
                      <a:cubicBezTo>
                        <a:pt x="45717" y="29421"/>
                        <a:pt x="46721" y="29421"/>
                        <a:pt x="47224" y="29044"/>
                      </a:cubicBezTo>
                      <a:lnTo>
                        <a:pt x="50112" y="27411"/>
                      </a:lnTo>
                      <a:cubicBezTo>
                        <a:pt x="50364" y="27285"/>
                        <a:pt x="50489" y="27034"/>
                        <a:pt x="50489" y="26783"/>
                      </a:cubicBezTo>
                      <a:cubicBezTo>
                        <a:pt x="50489" y="26532"/>
                        <a:pt x="50364" y="26281"/>
                        <a:pt x="50112" y="2615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67" name="Freeform: Shape 5066">
                  <a:extLst>
                    <a:ext uri="{FF2B5EF4-FFF2-40B4-BE49-F238E27FC236}">
                      <a16:creationId xmlns:a16="http://schemas.microsoft.com/office/drawing/2014/main" id="{E2ADA611-AE76-4A7C-9574-E1A148663F52}"/>
                    </a:ext>
                  </a:extLst>
                </p:cNvPr>
                <p:cNvSpPr/>
                <p:nvPr/>
              </p:nvSpPr>
              <p:spPr>
                <a:xfrm>
                  <a:off x="9668668" y="2444050"/>
                  <a:ext cx="50489" cy="27536"/>
                </a:xfrm>
                <a:custGeom>
                  <a:avLst/>
                  <a:gdLst>
                    <a:gd name="connsiteX0" fmla="*/ 50112 w 50489"/>
                    <a:gd name="connsiteY0" fmla="*/ 24868 h 27536"/>
                    <a:gd name="connsiteX1" fmla="*/ 47224 w 50489"/>
                    <a:gd name="connsiteY1" fmla="*/ 26501 h 27536"/>
                    <a:gd name="connsiteX2" fmla="*/ 45214 w 50489"/>
                    <a:gd name="connsiteY2" fmla="*/ 26501 h 27536"/>
                    <a:gd name="connsiteX3" fmla="*/ 377 w 50489"/>
                    <a:gd name="connsiteY3" fmla="*/ 628 h 27536"/>
                    <a:gd name="connsiteX4" fmla="*/ 0 w 50489"/>
                    <a:gd name="connsiteY4" fmla="*/ 0 h 27536"/>
                    <a:gd name="connsiteX5" fmla="*/ 0 w 50489"/>
                    <a:gd name="connsiteY5" fmla="*/ 754 h 27536"/>
                    <a:gd name="connsiteX6" fmla="*/ 377 w 50489"/>
                    <a:gd name="connsiteY6" fmla="*/ 1382 h 27536"/>
                    <a:gd name="connsiteX7" fmla="*/ 45214 w 50489"/>
                    <a:gd name="connsiteY7" fmla="*/ 27254 h 27536"/>
                    <a:gd name="connsiteX8" fmla="*/ 47224 w 50489"/>
                    <a:gd name="connsiteY8" fmla="*/ 27254 h 27536"/>
                    <a:gd name="connsiteX9" fmla="*/ 50112 w 50489"/>
                    <a:gd name="connsiteY9" fmla="*/ 25621 h 27536"/>
                    <a:gd name="connsiteX10" fmla="*/ 50489 w 50489"/>
                    <a:gd name="connsiteY10" fmla="*/ 24993 h 27536"/>
                    <a:gd name="connsiteX11" fmla="*/ 50489 w 50489"/>
                    <a:gd name="connsiteY11" fmla="*/ 24240 h 27536"/>
                    <a:gd name="connsiteX12" fmla="*/ 50112 w 50489"/>
                    <a:gd name="connsiteY12" fmla="*/ 24868 h 2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489" h="27536">
                      <a:moveTo>
                        <a:pt x="50112" y="24868"/>
                      </a:moveTo>
                      <a:lnTo>
                        <a:pt x="47224" y="26501"/>
                      </a:lnTo>
                      <a:cubicBezTo>
                        <a:pt x="46721" y="26877"/>
                        <a:pt x="45717" y="26877"/>
                        <a:pt x="45214" y="26501"/>
                      </a:cubicBezTo>
                      <a:lnTo>
                        <a:pt x="377" y="628"/>
                      </a:lnTo>
                      <a:cubicBezTo>
                        <a:pt x="126" y="502"/>
                        <a:pt x="0" y="251"/>
                        <a:pt x="0" y="0"/>
                      </a:cubicBezTo>
                      <a:cubicBezTo>
                        <a:pt x="0" y="0"/>
                        <a:pt x="0" y="628"/>
                        <a:pt x="0" y="754"/>
                      </a:cubicBezTo>
                      <a:cubicBezTo>
                        <a:pt x="0" y="1005"/>
                        <a:pt x="126" y="1130"/>
                        <a:pt x="377" y="1382"/>
                      </a:cubicBezTo>
                      <a:lnTo>
                        <a:pt x="45214" y="27254"/>
                      </a:lnTo>
                      <a:cubicBezTo>
                        <a:pt x="45717" y="27631"/>
                        <a:pt x="46721" y="27631"/>
                        <a:pt x="47224" y="27254"/>
                      </a:cubicBezTo>
                      <a:lnTo>
                        <a:pt x="50112" y="25621"/>
                      </a:lnTo>
                      <a:cubicBezTo>
                        <a:pt x="50364" y="25496"/>
                        <a:pt x="50489" y="25244"/>
                        <a:pt x="50489" y="24993"/>
                      </a:cubicBezTo>
                      <a:lnTo>
                        <a:pt x="50489" y="24240"/>
                      </a:lnTo>
                      <a:cubicBezTo>
                        <a:pt x="50489" y="24491"/>
                        <a:pt x="50364" y="24742"/>
                        <a:pt x="50112" y="2486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68" name="Graphic 4">
                <a:extLst>
                  <a:ext uri="{FF2B5EF4-FFF2-40B4-BE49-F238E27FC236}">
                    <a16:creationId xmlns:a16="http://schemas.microsoft.com/office/drawing/2014/main" id="{84FB7ED1-A2DF-40A1-A747-5F7CF3F14040}"/>
                  </a:ext>
                </a:extLst>
              </p:cNvPr>
              <p:cNvGrpSpPr/>
              <p:nvPr/>
            </p:nvGrpSpPr>
            <p:grpSpPr>
              <a:xfrm>
                <a:off x="9706974" y="2419402"/>
                <a:ext cx="50536" cy="30079"/>
                <a:chOff x="9706974" y="2419402"/>
                <a:chExt cx="50536" cy="30079"/>
              </a:xfrm>
              <a:solidFill>
                <a:srgbClr val="244690"/>
              </a:solidFill>
            </p:grpSpPr>
            <p:sp>
              <p:nvSpPr>
                <p:cNvPr id="5069" name="Freeform: Shape 5068">
                  <a:extLst>
                    <a:ext uri="{FF2B5EF4-FFF2-40B4-BE49-F238E27FC236}">
                      <a16:creationId xmlns:a16="http://schemas.microsoft.com/office/drawing/2014/main" id="{E2262BA3-0A40-4609-ADDC-D13782684DCE}"/>
                    </a:ext>
                  </a:extLst>
                </p:cNvPr>
                <p:cNvSpPr/>
                <p:nvPr/>
              </p:nvSpPr>
              <p:spPr>
                <a:xfrm>
                  <a:off x="9706974" y="2419402"/>
                  <a:ext cx="50536" cy="29326"/>
                </a:xfrm>
                <a:custGeom>
                  <a:avLst/>
                  <a:gdLst>
                    <a:gd name="connsiteX0" fmla="*/ 50112 w 50536"/>
                    <a:gd name="connsiteY0" fmla="*/ 26155 h 29326"/>
                    <a:gd name="connsiteX1" fmla="*/ 5275 w 50536"/>
                    <a:gd name="connsiteY1" fmla="*/ 283 h 29326"/>
                    <a:gd name="connsiteX2" fmla="*/ 3266 w 50536"/>
                    <a:gd name="connsiteY2" fmla="*/ 283 h 29326"/>
                    <a:gd name="connsiteX3" fmla="*/ 377 w 50536"/>
                    <a:gd name="connsiteY3" fmla="*/ 1915 h 29326"/>
                    <a:gd name="connsiteX4" fmla="*/ 0 w 50536"/>
                    <a:gd name="connsiteY4" fmla="*/ 2543 h 29326"/>
                    <a:gd name="connsiteX5" fmla="*/ 377 w 50536"/>
                    <a:gd name="connsiteY5" fmla="*/ 3171 h 29326"/>
                    <a:gd name="connsiteX6" fmla="*/ 45215 w 50536"/>
                    <a:gd name="connsiteY6" fmla="*/ 29044 h 29326"/>
                    <a:gd name="connsiteX7" fmla="*/ 47224 w 50536"/>
                    <a:gd name="connsiteY7" fmla="*/ 29044 h 29326"/>
                    <a:gd name="connsiteX8" fmla="*/ 50112 w 50536"/>
                    <a:gd name="connsiteY8" fmla="*/ 27411 h 29326"/>
                    <a:gd name="connsiteX9" fmla="*/ 50489 w 50536"/>
                    <a:gd name="connsiteY9" fmla="*/ 26783 h 29326"/>
                    <a:gd name="connsiteX10" fmla="*/ 50112 w 50536"/>
                    <a:gd name="connsiteY10" fmla="*/ 26155 h 2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536" h="29326">
                      <a:moveTo>
                        <a:pt x="50112" y="26155"/>
                      </a:moveTo>
                      <a:lnTo>
                        <a:pt x="5275" y="283"/>
                      </a:lnTo>
                      <a:cubicBezTo>
                        <a:pt x="4773" y="-94"/>
                        <a:pt x="3768" y="-94"/>
                        <a:pt x="3266" y="283"/>
                      </a:cubicBezTo>
                      <a:lnTo>
                        <a:pt x="377" y="1915"/>
                      </a:lnTo>
                      <a:cubicBezTo>
                        <a:pt x="126" y="2041"/>
                        <a:pt x="0" y="2292"/>
                        <a:pt x="0" y="2543"/>
                      </a:cubicBezTo>
                      <a:cubicBezTo>
                        <a:pt x="0" y="2794"/>
                        <a:pt x="126" y="2920"/>
                        <a:pt x="377" y="3171"/>
                      </a:cubicBezTo>
                      <a:lnTo>
                        <a:pt x="45215" y="29044"/>
                      </a:lnTo>
                      <a:cubicBezTo>
                        <a:pt x="45717" y="29421"/>
                        <a:pt x="46722" y="29421"/>
                        <a:pt x="47224" y="29044"/>
                      </a:cubicBezTo>
                      <a:lnTo>
                        <a:pt x="50112" y="27411"/>
                      </a:lnTo>
                      <a:cubicBezTo>
                        <a:pt x="50364" y="27285"/>
                        <a:pt x="50489" y="27034"/>
                        <a:pt x="50489" y="26783"/>
                      </a:cubicBezTo>
                      <a:cubicBezTo>
                        <a:pt x="50615" y="26532"/>
                        <a:pt x="50489" y="26406"/>
                        <a:pt x="50112" y="2615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70" name="Freeform: Shape 5069">
                  <a:extLst>
                    <a:ext uri="{FF2B5EF4-FFF2-40B4-BE49-F238E27FC236}">
                      <a16:creationId xmlns:a16="http://schemas.microsoft.com/office/drawing/2014/main" id="{46E9372C-089C-4A1D-8FD8-51FF1EF09D83}"/>
                    </a:ext>
                  </a:extLst>
                </p:cNvPr>
                <p:cNvSpPr/>
                <p:nvPr/>
              </p:nvSpPr>
              <p:spPr>
                <a:xfrm>
                  <a:off x="9706974" y="2421945"/>
                  <a:ext cx="50536" cy="27536"/>
                </a:xfrm>
                <a:custGeom>
                  <a:avLst/>
                  <a:gdLst>
                    <a:gd name="connsiteX0" fmla="*/ 50112 w 50536"/>
                    <a:gd name="connsiteY0" fmla="*/ 24868 h 27536"/>
                    <a:gd name="connsiteX1" fmla="*/ 47224 w 50536"/>
                    <a:gd name="connsiteY1" fmla="*/ 26501 h 27536"/>
                    <a:gd name="connsiteX2" fmla="*/ 45215 w 50536"/>
                    <a:gd name="connsiteY2" fmla="*/ 26501 h 27536"/>
                    <a:gd name="connsiteX3" fmla="*/ 377 w 50536"/>
                    <a:gd name="connsiteY3" fmla="*/ 628 h 27536"/>
                    <a:gd name="connsiteX4" fmla="*/ 0 w 50536"/>
                    <a:gd name="connsiteY4" fmla="*/ 0 h 27536"/>
                    <a:gd name="connsiteX5" fmla="*/ 0 w 50536"/>
                    <a:gd name="connsiteY5" fmla="*/ 754 h 27536"/>
                    <a:gd name="connsiteX6" fmla="*/ 377 w 50536"/>
                    <a:gd name="connsiteY6" fmla="*/ 1382 h 27536"/>
                    <a:gd name="connsiteX7" fmla="*/ 45215 w 50536"/>
                    <a:gd name="connsiteY7" fmla="*/ 27254 h 27536"/>
                    <a:gd name="connsiteX8" fmla="*/ 47224 w 50536"/>
                    <a:gd name="connsiteY8" fmla="*/ 27254 h 27536"/>
                    <a:gd name="connsiteX9" fmla="*/ 50112 w 50536"/>
                    <a:gd name="connsiteY9" fmla="*/ 25621 h 27536"/>
                    <a:gd name="connsiteX10" fmla="*/ 50489 w 50536"/>
                    <a:gd name="connsiteY10" fmla="*/ 24993 h 27536"/>
                    <a:gd name="connsiteX11" fmla="*/ 50489 w 50536"/>
                    <a:gd name="connsiteY11" fmla="*/ 24240 h 27536"/>
                    <a:gd name="connsiteX12" fmla="*/ 50112 w 50536"/>
                    <a:gd name="connsiteY12" fmla="*/ 24868 h 2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536" h="27536">
                      <a:moveTo>
                        <a:pt x="50112" y="24868"/>
                      </a:moveTo>
                      <a:lnTo>
                        <a:pt x="47224" y="26501"/>
                      </a:lnTo>
                      <a:cubicBezTo>
                        <a:pt x="46722" y="26877"/>
                        <a:pt x="45717" y="26877"/>
                        <a:pt x="45215" y="26501"/>
                      </a:cubicBezTo>
                      <a:lnTo>
                        <a:pt x="377" y="628"/>
                      </a:lnTo>
                      <a:cubicBezTo>
                        <a:pt x="126" y="502"/>
                        <a:pt x="0" y="251"/>
                        <a:pt x="0" y="0"/>
                      </a:cubicBezTo>
                      <a:cubicBezTo>
                        <a:pt x="0" y="0"/>
                        <a:pt x="0" y="628"/>
                        <a:pt x="0" y="754"/>
                      </a:cubicBezTo>
                      <a:cubicBezTo>
                        <a:pt x="0" y="1005"/>
                        <a:pt x="126" y="1130"/>
                        <a:pt x="377" y="1382"/>
                      </a:cubicBezTo>
                      <a:lnTo>
                        <a:pt x="45215" y="27254"/>
                      </a:lnTo>
                      <a:cubicBezTo>
                        <a:pt x="45717" y="27631"/>
                        <a:pt x="46722" y="27631"/>
                        <a:pt x="47224" y="27254"/>
                      </a:cubicBezTo>
                      <a:lnTo>
                        <a:pt x="50112" y="25621"/>
                      </a:lnTo>
                      <a:cubicBezTo>
                        <a:pt x="50364" y="25496"/>
                        <a:pt x="50489" y="25245"/>
                        <a:pt x="50489" y="24993"/>
                      </a:cubicBezTo>
                      <a:lnTo>
                        <a:pt x="50489" y="24240"/>
                      </a:lnTo>
                      <a:cubicBezTo>
                        <a:pt x="50615" y="24491"/>
                        <a:pt x="50489" y="24617"/>
                        <a:pt x="50112" y="2486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71" name="Graphic 4">
                <a:extLst>
                  <a:ext uri="{FF2B5EF4-FFF2-40B4-BE49-F238E27FC236}">
                    <a16:creationId xmlns:a16="http://schemas.microsoft.com/office/drawing/2014/main" id="{84FB7ED1-A2DF-40A1-A747-5F7CF3F14040}"/>
                  </a:ext>
                </a:extLst>
              </p:cNvPr>
              <p:cNvGrpSpPr/>
              <p:nvPr/>
            </p:nvGrpSpPr>
            <p:grpSpPr>
              <a:xfrm>
                <a:off x="9694289" y="2426812"/>
                <a:ext cx="50489" cy="29954"/>
                <a:chOff x="9694289" y="2426812"/>
                <a:chExt cx="50489" cy="29954"/>
              </a:xfrm>
              <a:solidFill>
                <a:srgbClr val="244690"/>
              </a:solidFill>
            </p:grpSpPr>
            <p:sp>
              <p:nvSpPr>
                <p:cNvPr id="5072" name="Freeform: Shape 5071">
                  <a:extLst>
                    <a:ext uri="{FF2B5EF4-FFF2-40B4-BE49-F238E27FC236}">
                      <a16:creationId xmlns:a16="http://schemas.microsoft.com/office/drawing/2014/main" id="{BF456312-3B59-43A9-B4EB-E9366D7FD1CD}"/>
                    </a:ext>
                  </a:extLst>
                </p:cNvPr>
                <p:cNvSpPr/>
                <p:nvPr/>
              </p:nvSpPr>
              <p:spPr>
                <a:xfrm>
                  <a:off x="9694289" y="2426812"/>
                  <a:ext cx="50489" cy="29326"/>
                </a:xfrm>
                <a:custGeom>
                  <a:avLst/>
                  <a:gdLst>
                    <a:gd name="connsiteX0" fmla="*/ 50113 w 50489"/>
                    <a:gd name="connsiteY0" fmla="*/ 26155 h 29326"/>
                    <a:gd name="connsiteX1" fmla="*/ 5276 w 50489"/>
                    <a:gd name="connsiteY1" fmla="*/ 283 h 29326"/>
                    <a:gd name="connsiteX2" fmla="*/ 3266 w 50489"/>
                    <a:gd name="connsiteY2" fmla="*/ 283 h 29326"/>
                    <a:gd name="connsiteX3" fmla="*/ 377 w 50489"/>
                    <a:gd name="connsiteY3" fmla="*/ 1915 h 29326"/>
                    <a:gd name="connsiteX4" fmla="*/ 0 w 50489"/>
                    <a:gd name="connsiteY4" fmla="*/ 2543 h 29326"/>
                    <a:gd name="connsiteX5" fmla="*/ 377 w 50489"/>
                    <a:gd name="connsiteY5" fmla="*/ 3171 h 29326"/>
                    <a:gd name="connsiteX6" fmla="*/ 45215 w 50489"/>
                    <a:gd name="connsiteY6" fmla="*/ 29044 h 29326"/>
                    <a:gd name="connsiteX7" fmla="*/ 47224 w 50489"/>
                    <a:gd name="connsiteY7" fmla="*/ 29044 h 29326"/>
                    <a:gd name="connsiteX8" fmla="*/ 50113 w 50489"/>
                    <a:gd name="connsiteY8" fmla="*/ 27411 h 29326"/>
                    <a:gd name="connsiteX9" fmla="*/ 50489 w 50489"/>
                    <a:gd name="connsiteY9" fmla="*/ 26783 h 29326"/>
                    <a:gd name="connsiteX10" fmla="*/ 50113 w 50489"/>
                    <a:gd name="connsiteY10" fmla="*/ 26155 h 2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89" h="29326">
                      <a:moveTo>
                        <a:pt x="50113" y="26155"/>
                      </a:moveTo>
                      <a:lnTo>
                        <a:pt x="5276" y="283"/>
                      </a:lnTo>
                      <a:cubicBezTo>
                        <a:pt x="4773" y="-94"/>
                        <a:pt x="3768" y="-94"/>
                        <a:pt x="3266" y="283"/>
                      </a:cubicBezTo>
                      <a:lnTo>
                        <a:pt x="377" y="1915"/>
                      </a:lnTo>
                      <a:cubicBezTo>
                        <a:pt x="126" y="2041"/>
                        <a:pt x="0" y="2292"/>
                        <a:pt x="0" y="2543"/>
                      </a:cubicBezTo>
                      <a:cubicBezTo>
                        <a:pt x="0" y="2795"/>
                        <a:pt x="126" y="2920"/>
                        <a:pt x="377" y="3171"/>
                      </a:cubicBezTo>
                      <a:lnTo>
                        <a:pt x="45215" y="29044"/>
                      </a:lnTo>
                      <a:cubicBezTo>
                        <a:pt x="45717" y="29421"/>
                        <a:pt x="46722" y="29421"/>
                        <a:pt x="47224" y="29044"/>
                      </a:cubicBezTo>
                      <a:lnTo>
                        <a:pt x="50113" y="27411"/>
                      </a:lnTo>
                      <a:cubicBezTo>
                        <a:pt x="50364" y="27285"/>
                        <a:pt x="50489" y="27034"/>
                        <a:pt x="50489" y="26783"/>
                      </a:cubicBezTo>
                      <a:cubicBezTo>
                        <a:pt x="50489" y="26532"/>
                        <a:pt x="50364" y="26281"/>
                        <a:pt x="50113" y="2615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73" name="Freeform: Shape 5072">
                  <a:extLst>
                    <a:ext uri="{FF2B5EF4-FFF2-40B4-BE49-F238E27FC236}">
                      <a16:creationId xmlns:a16="http://schemas.microsoft.com/office/drawing/2014/main" id="{BF465A53-FB05-41D1-9E96-10ACAA180043}"/>
                    </a:ext>
                  </a:extLst>
                </p:cNvPr>
                <p:cNvSpPr/>
                <p:nvPr/>
              </p:nvSpPr>
              <p:spPr>
                <a:xfrm>
                  <a:off x="9694289" y="2429230"/>
                  <a:ext cx="50489" cy="27536"/>
                </a:xfrm>
                <a:custGeom>
                  <a:avLst/>
                  <a:gdLst>
                    <a:gd name="connsiteX0" fmla="*/ 50113 w 50489"/>
                    <a:gd name="connsiteY0" fmla="*/ 24868 h 27536"/>
                    <a:gd name="connsiteX1" fmla="*/ 47224 w 50489"/>
                    <a:gd name="connsiteY1" fmla="*/ 26501 h 27536"/>
                    <a:gd name="connsiteX2" fmla="*/ 45215 w 50489"/>
                    <a:gd name="connsiteY2" fmla="*/ 26501 h 27536"/>
                    <a:gd name="connsiteX3" fmla="*/ 377 w 50489"/>
                    <a:gd name="connsiteY3" fmla="*/ 628 h 27536"/>
                    <a:gd name="connsiteX4" fmla="*/ 0 w 50489"/>
                    <a:gd name="connsiteY4" fmla="*/ 0 h 27536"/>
                    <a:gd name="connsiteX5" fmla="*/ 0 w 50489"/>
                    <a:gd name="connsiteY5" fmla="*/ 754 h 27536"/>
                    <a:gd name="connsiteX6" fmla="*/ 377 w 50489"/>
                    <a:gd name="connsiteY6" fmla="*/ 1382 h 27536"/>
                    <a:gd name="connsiteX7" fmla="*/ 45215 w 50489"/>
                    <a:gd name="connsiteY7" fmla="*/ 27254 h 27536"/>
                    <a:gd name="connsiteX8" fmla="*/ 47224 w 50489"/>
                    <a:gd name="connsiteY8" fmla="*/ 27254 h 27536"/>
                    <a:gd name="connsiteX9" fmla="*/ 50113 w 50489"/>
                    <a:gd name="connsiteY9" fmla="*/ 25621 h 27536"/>
                    <a:gd name="connsiteX10" fmla="*/ 50489 w 50489"/>
                    <a:gd name="connsiteY10" fmla="*/ 24993 h 27536"/>
                    <a:gd name="connsiteX11" fmla="*/ 50489 w 50489"/>
                    <a:gd name="connsiteY11" fmla="*/ 24240 h 27536"/>
                    <a:gd name="connsiteX12" fmla="*/ 50113 w 50489"/>
                    <a:gd name="connsiteY12" fmla="*/ 24868 h 2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489" h="27536">
                      <a:moveTo>
                        <a:pt x="50113" y="24868"/>
                      </a:moveTo>
                      <a:lnTo>
                        <a:pt x="47224" y="26501"/>
                      </a:lnTo>
                      <a:cubicBezTo>
                        <a:pt x="46722" y="26877"/>
                        <a:pt x="45717" y="26877"/>
                        <a:pt x="45215" y="26501"/>
                      </a:cubicBezTo>
                      <a:lnTo>
                        <a:pt x="377" y="628"/>
                      </a:lnTo>
                      <a:cubicBezTo>
                        <a:pt x="126" y="502"/>
                        <a:pt x="0" y="251"/>
                        <a:pt x="0" y="0"/>
                      </a:cubicBezTo>
                      <a:cubicBezTo>
                        <a:pt x="0" y="0"/>
                        <a:pt x="0" y="628"/>
                        <a:pt x="0" y="754"/>
                      </a:cubicBezTo>
                      <a:cubicBezTo>
                        <a:pt x="0" y="1005"/>
                        <a:pt x="126" y="1130"/>
                        <a:pt x="377" y="1382"/>
                      </a:cubicBezTo>
                      <a:lnTo>
                        <a:pt x="45215" y="27254"/>
                      </a:lnTo>
                      <a:cubicBezTo>
                        <a:pt x="45717" y="27631"/>
                        <a:pt x="46722" y="27631"/>
                        <a:pt x="47224" y="27254"/>
                      </a:cubicBezTo>
                      <a:lnTo>
                        <a:pt x="50113" y="25621"/>
                      </a:lnTo>
                      <a:cubicBezTo>
                        <a:pt x="50364" y="25496"/>
                        <a:pt x="50489" y="25245"/>
                        <a:pt x="50489" y="24993"/>
                      </a:cubicBezTo>
                      <a:lnTo>
                        <a:pt x="50489" y="24240"/>
                      </a:lnTo>
                      <a:cubicBezTo>
                        <a:pt x="50489" y="24491"/>
                        <a:pt x="50364" y="24742"/>
                        <a:pt x="50113" y="2486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74" name="Graphic 4">
                <a:extLst>
                  <a:ext uri="{FF2B5EF4-FFF2-40B4-BE49-F238E27FC236}">
                    <a16:creationId xmlns:a16="http://schemas.microsoft.com/office/drawing/2014/main" id="{84FB7ED1-A2DF-40A1-A747-5F7CF3F14040}"/>
                  </a:ext>
                </a:extLst>
              </p:cNvPr>
              <p:cNvGrpSpPr/>
              <p:nvPr/>
            </p:nvGrpSpPr>
            <p:grpSpPr>
              <a:xfrm>
                <a:off x="9681479" y="2434222"/>
                <a:ext cx="50488" cy="29954"/>
                <a:chOff x="9681479" y="2434222"/>
                <a:chExt cx="50488" cy="29954"/>
              </a:xfrm>
              <a:solidFill>
                <a:srgbClr val="244690"/>
              </a:solidFill>
            </p:grpSpPr>
            <p:sp>
              <p:nvSpPr>
                <p:cNvPr id="5075" name="Freeform: Shape 5074">
                  <a:extLst>
                    <a:ext uri="{FF2B5EF4-FFF2-40B4-BE49-F238E27FC236}">
                      <a16:creationId xmlns:a16="http://schemas.microsoft.com/office/drawing/2014/main" id="{8222D212-C73A-431C-AFD4-2FEFE4254C2B}"/>
                    </a:ext>
                  </a:extLst>
                </p:cNvPr>
                <p:cNvSpPr/>
                <p:nvPr/>
              </p:nvSpPr>
              <p:spPr>
                <a:xfrm>
                  <a:off x="9681479" y="2434222"/>
                  <a:ext cx="50488" cy="29326"/>
                </a:xfrm>
                <a:custGeom>
                  <a:avLst/>
                  <a:gdLst>
                    <a:gd name="connsiteX0" fmla="*/ 50112 w 50488"/>
                    <a:gd name="connsiteY0" fmla="*/ 26155 h 29326"/>
                    <a:gd name="connsiteX1" fmla="*/ 5275 w 50488"/>
                    <a:gd name="connsiteY1" fmla="*/ 283 h 29326"/>
                    <a:gd name="connsiteX2" fmla="*/ 3266 w 50488"/>
                    <a:gd name="connsiteY2" fmla="*/ 283 h 29326"/>
                    <a:gd name="connsiteX3" fmla="*/ 376 w 50488"/>
                    <a:gd name="connsiteY3" fmla="*/ 1915 h 29326"/>
                    <a:gd name="connsiteX4" fmla="*/ 0 w 50488"/>
                    <a:gd name="connsiteY4" fmla="*/ 2543 h 29326"/>
                    <a:gd name="connsiteX5" fmla="*/ 376 w 50488"/>
                    <a:gd name="connsiteY5" fmla="*/ 3171 h 29326"/>
                    <a:gd name="connsiteX6" fmla="*/ 45214 w 50488"/>
                    <a:gd name="connsiteY6" fmla="*/ 29044 h 29326"/>
                    <a:gd name="connsiteX7" fmla="*/ 47224 w 50488"/>
                    <a:gd name="connsiteY7" fmla="*/ 29044 h 29326"/>
                    <a:gd name="connsiteX8" fmla="*/ 50112 w 50488"/>
                    <a:gd name="connsiteY8" fmla="*/ 27411 h 29326"/>
                    <a:gd name="connsiteX9" fmla="*/ 50489 w 50488"/>
                    <a:gd name="connsiteY9" fmla="*/ 26783 h 29326"/>
                    <a:gd name="connsiteX10" fmla="*/ 50112 w 50488"/>
                    <a:gd name="connsiteY10" fmla="*/ 26155 h 2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88" h="29326">
                      <a:moveTo>
                        <a:pt x="50112" y="26155"/>
                      </a:moveTo>
                      <a:lnTo>
                        <a:pt x="5275" y="283"/>
                      </a:lnTo>
                      <a:cubicBezTo>
                        <a:pt x="4773" y="-94"/>
                        <a:pt x="3768" y="-94"/>
                        <a:pt x="3266" y="283"/>
                      </a:cubicBezTo>
                      <a:lnTo>
                        <a:pt x="376" y="1915"/>
                      </a:lnTo>
                      <a:cubicBezTo>
                        <a:pt x="126" y="2041"/>
                        <a:pt x="0" y="2292"/>
                        <a:pt x="0" y="2543"/>
                      </a:cubicBezTo>
                      <a:cubicBezTo>
                        <a:pt x="0" y="2794"/>
                        <a:pt x="126" y="2920"/>
                        <a:pt x="376" y="3171"/>
                      </a:cubicBezTo>
                      <a:lnTo>
                        <a:pt x="45214" y="29044"/>
                      </a:lnTo>
                      <a:cubicBezTo>
                        <a:pt x="45716" y="29421"/>
                        <a:pt x="46721" y="29421"/>
                        <a:pt x="47224" y="29044"/>
                      </a:cubicBezTo>
                      <a:lnTo>
                        <a:pt x="50112" y="27411"/>
                      </a:lnTo>
                      <a:cubicBezTo>
                        <a:pt x="50364" y="27285"/>
                        <a:pt x="50489" y="27034"/>
                        <a:pt x="50489" y="26783"/>
                      </a:cubicBezTo>
                      <a:cubicBezTo>
                        <a:pt x="50489" y="26532"/>
                        <a:pt x="50364" y="26281"/>
                        <a:pt x="50112" y="2615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76" name="Freeform: Shape 5075">
                  <a:extLst>
                    <a:ext uri="{FF2B5EF4-FFF2-40B4-BE49-F238E27FC236}">
                      <a16:creationId xmlns:a16="http://schemas.microsoft.com/office/drawing/2014/main" id="{FB6F52EB-313F-4386-B025-ADE1A17C8684}"/>
                    </a:ext>
                  </a:extLst>
                </p:cNvPr>
                <p:cNvSpPr/>
                <p:nvPr/>
              </p:nvSpPr>
              <p:spPr>
                <a:xfrm>
                  <a:off x="9681479" y="2436640"/>
                  <a:ext cx="50488" cy="27536"/>
                </a:xfrm>
                <a:custGeom>
                  <a:avLst/>
                  <a:gdLst>
                    <a:gd name="connsiteX0" fmla="*/ 50112 w 50488"/>
                    <a:gd name="connsiteY0" fmla="*/ 24868 h 27536"/>
                    <a:gd name="connsiteX1" fmla="*/ 47224 w 50488"/>
                    <a:gd name="connsiteY1" fmla="*/ 26501 h 27536"/>
                    <a:gd name="connsiteX2" fmla="*/ 45214 w 50488"/>
                    <a:gd name="connsiteY2" fmla="*/ 26501 h 27536"/>
                    <a:gd name="connsiteX3" fmla="*/ 376 w 50488"/>
                    <a:gd name="connsiteY3" fmla="*/ 628 h 27536"/>
                    <a:gd name="connsiteX4" fmla="*/ 0 w 50488"/>
                    <a:gd name="connsiteY4" fmla="*/ 0 h 27536"/>
                    <a:gd name="connsiteX5" fmla="*/ 0 w 50488"/>
                    <a:gd name="connsiteY5" fmla="*/ 754 h 27536"/>
                    <a:gd name="connsiteX6" fmla="*/ 376 w 50488"/>
                    <a:gd name="connsiteY6" fmla="*/ 1382 h 27536"/>
                    <a:gd name="connsiteX7" fmla="*/ 45214 w 50488"/>
                    <a:gd name="connsiteY7" fmla="*/ 27254 h 27536"/>
                    <a:gd name="connsiteX8" fmla="*/ 47224 w 50488"/>
                    <a:gd name="connsiteY8" fmla="*/ 27254 h 27536"/>
                    <a:gd name="connsiteX9" fmla="*/ 50112 w 50488"/>
                    <a:gd name="connsiteY9" fmla="*/ 25621 h 27536"/>
                    <a:gd name="connsiteX10" fmla="*/ 50489 w 50488"/>
                    <a:gd name="connsiteY10" fmla="*/ 24993 h 27536"/>
                    <a:gd name="connsiteX11" fmla="*/ 50489 w 50488"/>
                    <a:gd name="connsiteY11" fmla="*/ 24240 h 27536"/>
                    <a:gd name="connsiteX12" fmla="*/ 50112 w 50488"/>
                    <a:gd name="connsiteY12" fmla="*/ 24868 h 2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488" h="27536">
                      <a:moveTo>
                        <a:pt x="50112" y="24868"/>
                      </a:moveTo>
                      <a:lnTo>
                        <a:pt x="47224" y="26501"/>
                      </a:lnTo>
                      <a:cubicBezTo>
                        <a:pt x="46721" y="26877"/>
                        <a:pt x="45716" y="26877"/>
                        <a:pt x="45214" y="26501"/>
                      </a:cubicBezTo>
                      <a:lnTo>
                        <a:pt x="376" y="628"/>
                      </a:lnTo>
                      <a:cubicBezTo>
                        <a:pt x="126" y="502"/>
                        <a:pt x="0" y="251"/>
                        <a:pt x="0" y="0"/>
                      </a:cubicBezTo>
                      <a:cubicBezTo>
                        <a:pt x="0" y="0"/>
                        <a:pt x="0" y="628"/>
                        <a:pt x="0" y="754"/>
                      </a:cubicBezTo>
                      <a:cubicBezTo>
                        <a:pt x="0" y="1005"/>
                        <a:pt x="126" y="1130"/>
                        <a:pt x="376" y="1382"/>
                      </a:cubicBezTo>
                      <a:lnTo>
                        <a:pt x="45214" y="27254"/>
                      </a:lnTo>
                      <a:cubicBezTo>
                        <a:pt x="45716" y="27631"/>
                        <a:pt x="46721" y="27631"/>
                        <a:pt x="47224" y="27254"/>
                      </a:cubicBezTo>
                      <a:lnTo>
                        <a:pt x="50112" y="25621"/>
                      </a:lnTo>
                      <a:cubicBezTo>
                        <a:pt x="50364" y="25496"/>
                        <a:pt x="50489" y="25245"/>
                        <a:pt x="50489" y="24993"/>
                      </a:cubicBezTo>
                      <a:lnTo>
                        <a:pt x="50489" y="24240"/>
                      </a:lnTo>
                      <a:cubicBezTo>
                        <a:pt x="50489" y="24491"/>
                        <a:pt x="50364" y="24742"/>
                        <a:pt x="50112" y="2486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077" name="Graphic 4">
              <a:extLst>
                <a:ext uri="{FF2B5EF4-FFF2-40B4-BE49-F238E27FC236}">
                  <a16:creationId xmlns:a16="http://schemas.microsoft.com/office/drawing/2014/main" id="{84FB7ED1-A2DF-40A1-A747-5F7CF3F14040}"/>
                </a:ext>
              </a:extLst>
            </p:cNvPr>
            <p:cNvGrpSpPr/>
            <p:nvPr/>
          </p:nvGrpSpPr>
          <p:grpSpPr>
            <a:xfrm>
              <a:off x="9643047" y="2404707"/>
              <a:ext cx="172739" cy="100538"/>
              <a:chOff x="9643047" y="2404707"/>
              <a:chExt cx="172739" cy="100538"/>
            </a:xfrm>
            <a:solidFill>
              <a:srgbClr val="244690"/>
            </a:solidFill>
          </p:grpSpPr>
          <p:grpSp>
            <p:nvGrpSpPr>
              <p:cNvPr id="5078" name="Graphic 4">
                <a:extLst>
                  <a:ext uri="{FF2B5EF4-FFF2-40B4-BE49-F238E27FC236}">
                    <a16:creationId xmlns:a16="http://schemas.microsoft.com/office/drawing/2014/main" id="{84FB7ED1-A2DF-40A1-A747-5F7CF3F14040}"/>
                  </a:ext>
                </a:extLst>
              </p:cNvPr>
              <p:cNvGrpSpPr/>
              <p:nvPr/>
            </p:nvGrpSpPr>
            <p:grpSpPr>
              <a:xfrm>
                <a:off x="9732596" y="2404707"/>
                <a:ext cx="83190" cy="48793"/>
                <a:chOff x="9732596" y="2404707"/>
                <a:chExt cx="83190" cy="48793"/>
              </a:xfrm>
              <a:solidFill>
                <a:srgbClr val="244690"/>
              </a:solidFill>
            </p:grpSpPr>
            <p:sp>
              <p:nvSpPr>
                <p:cNvPr id="5079" name="Freeform: Shape 5078">
                  <a:extLst>
                    <a:ext uri="{FF2B5EF4-FFF2-40B4-BE49-F238E27FC236}">
                      <a16:creationId xmlns:a16="http://schemas.microsoft.com/office/drawing/2014/main" id="{EF1074DC-004A-4F53-BE32-78377B3BD785}"/>
                    </a:ext>
                  </a:extLst>
                </p:cNvPr>
                <p:cNvSpPr/>
                <p:nvPr/>
              </p:nvSpPr>
              <p:spPr>
                <a:xfrm>
                  <a:off x="9732596" y="2404707"/>
                  <a:ext cx="83190" cy="48165"/>
                </a:xfrm>
                <a:custGeom>
                  <a:avLst/>
                  <a:gdLst>
                    <a:gd name="connsiteX0" fmla="*/ 82767 w 83190"/>
                    <a:gd name="connsiteY0" fmla="*/ 44994 h 48165"/>
                    <a:gd name="connsiteX1" fmla="*/ 5275 w 83190"/>
                    <a:gd name="connsiteY1" fmla="*/ 283 h 48165"/>
                    <a:gd name="connsiteX2" fmla="*/ 3265 w 83190"/>
                    <a:gd name="connsiteY2" fmla="*/ 283 h 48165"/>
                    <a:gd name="connsiteX3" fmla="*/ 376 w 83190"/>
                    <a:gd name="connsiteY3" fmla="*/ 1915 h 48165"/>
                    <a:gd name="connsiteX4" fmla="*/ 0 w 83190"/>
                    <a:gd name="connsiteY4" fmla="*/ 2543 h 48165"/>
                    <a:gd name="connsiteX5" fmla="*/ 376 w 83190"/>
                    <a:gd name="connsiteY5" fmla="*/ 3171 h 48165"/>
                    <a:gd name="connsiteX6" fmla="*/ 77868 w 83190"/>
                    <a:gd name="connsiteY6" fmla="*/ 47883 h 48165"/>
                    <a:gd name="connsiteX7" fmla="*/ 79878 w 83190"/>
                    <a:gd name="connsiteY7" fmla="*/ 47883 h 48165"/>
                    <a:gd name="connsiteX8" fmla="*/ 82767 w 83190"/>
                    <a:gd name="connsiteY8" fmla="*/ 46250 h 48165"/>
                    <a:gd name="connsiteX9" fmla="*/ 83144 w 83190"/>
                    <a:gd name="connsiteY9" fmla="*/ 45622 h 48165"/>
                    <a:gd name="connsiteX10" fmla="*/ 82767 w 83190"/>
                    <a:gd name="connsiteY10" fmla="*/ 44994 h 4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190" h="48165">
                      <a:moveTo>
                        <a:pt x="82767" y="44994"/>
                      </a:moveTo>
                      <a:lnTo>
                        <a:pt x="5275" y="283"/>
                      </a:lnTo>
                      <a:cubicBezTo>
                        <a:pt x="4772" y="-94"/>
                        <a:pt x="3768" y="-94"/>
                        <a:pt x="3265" y="283"/>
                      </a:cubicBezTo>
                      <a:lnTo>
                        <a:pt x="376" y="1915"/>
                      </a:lnTo>
                      <a:cubicBezTo>
                        <a:pt x="125" y="2041"/>
                        <a:pt x="0" y="2292"/>
                        <a:pt x="0" y="2543"/>
                      </a:cubicBezTo>
                      <a:cubicBezTo>
                        <a:pt x="0" y="2794"/>
                        <a:pt x="125" y="2920"/>
                        <a:pt x="376" y="3171"/>
                      </a:cubicBezTo>
                      <a:lnTo>
                        <a:pt x="77868" y="47883"/>
                      </a:lnTo>
                      <a:cubicBezTo>
                        <a:pt x="78371" y="48260"/>
                        <a:pt x="79375" y="48260"/>
                        <a:pt x="79878" y="47883"/>
                      </a:cubicBezTo>
                      <a:lnTo>
                        <a:pt x="82767" y="46250"/>
                      </a:lnTo>
                      <a:cubicBezTo>
                        <a:pt x="83018" y="46125"/>
                        <a:pt x="83144" y="45873"/>
                        <a:pt x="83144" y="45622"/>
                      </a:cubicBezTo>
                      <a:cubicBezTo>
                        <a:pt x="83269" y="45371"/>
                        <a:pt x="83144" y="45120"/>
                        <a:pt x="82767" y="449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0" name="Freeform: Shape 5079">
                  <a:extLst>
                    <a:ext uri="{FF2B5EF4-FFF2-40B4-BE49-F238E27FC236}">
                      <a16:creationId xmlns:a16="http://schemas.microsoft.com/office/drawing/2014/main" id="{D5955C16-6A3B-4CE1-9F7E-C1DFE352BF1F}"/>
                    </a:ext>
                  </a:extLst>
                </p:cNvPr>
                <p:cNvSpPr/>
                <p:nvPr/>
              </p:nvSpPr>
              <p:spPr>
                <a:xfrm>
                  <a:off x="9732596" y="2407125"/>
                  <a:ext cx="83190" cy="46375"/>
                </a:xfrm>
                <a:custGeom>
                  <a:avLst/>
                  <a:gdLst>
                    <a:gd name="connsiteX0" fmla="*/ 82767 w 83190"/>
                    <a:gd name="connsiteY0" fmla="*/ 43707 h 46375"/>
                    <a:gd name="connsiteX1" fmla="*/ 79878 w 83190"/>
                    <a:gd name="connsiteY1" fmla="*/ 45340 h 46375"/>
                    <a:gd name="connsiteX2" fmla="*/ 77868 w 83190"/>
                    <a:gd name="connsiteY2" fmla="*/ 45340 h 46375"/>
                    <a:gd name="connsiteX3" fmla="*/ 376 w 83190"/>
                    <a:gd name="connsiteY3" fmla="*/ 628 h 46375"/>
                    <a:gd name="connsiteX4" fmla="*/ 0 w 83190"/>
                    <a:gd name="connsiteY4" fmla="*/ 0 h 46375"/>
                    <a:gd name="connsiteX5" fmla="*/ 0 w 83190"/>
                    <a:gd name="connsiteY5" fmla="*/ 754 h 46375"/>
                    <a:gd name="connsiteX6" fmla="*/ 376 w 83190"/>
                    <a:gd name="connsiteY6" fmla="*/ 1382 h 46375"/>
                    <a:gd name="connsiteX7" fmla="*/ 77868 w 83190"/>
                    <a:gd name="connsiteY7" fmla="*/ 46093 h 46375"/>
                    <a:gd name="connsiteX8" fmla="*/ 79878 w 83190"/>
                    <a:gd name="connsiteY8" fmla="*/ 46093 h 46375"/>
                    <a:gd name="connsiteX9" fmla="*/ 82767 w 83190"/>
                    <a:gd name="connsiteY9" fmla="*/ 44461 h 46375"/>
                    <a:gd name="connsiteX10" fmla="*/ 83144 w 83190"/>
                    <a:gd name="connsiteY10" fmla="*/ 43833 h 46375"/>
                    <a:gd name="connsiteX11" fmla="*/ 83144 w 83190"/>
                    <a:gd name="connsiteY11" fmla="*/ 43079 h 46375"/>
                    <a:gd name="connsiteX12" fmla="*/ 82767 w 83190"/>
                    <a:gd name="connsiteY12" fmla="*/ 43707 h 4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90" h="46375">
                      <a:moveTo>
                        <a:pt x="82767" y="43707"/>
                      </a:moveTo>
                      <a:lnTo>
                        <a:pt x="79878" y="45340"/>
                      </a:lnTo>
                      <a:cubicBezTo>
                        <a:pt x="79375" y="45716"/>
                        <a:pt x="78371" y="45716"/>
                        <a:pt x="77868" y="45340"/>
                      </a:cubicBezTo>
                      <a:lnTo>
                        <a:pt x="376" y="628"/>
                      </a:lnTo>
                      <a:cubicBezTo>
                        <a:pt x="125" y="502"/>
                        <a:pt x="0" y="251"/>
                        <a:pt x="0" y="0"/>
                      </a:cubicBezTo>
                      <a:cubicBezTo>
                        <a:pt x="0" y="0"/>
                        <a:pt x="0" y="628"/>
                        <a:pt x="0" y="754"/>
                      </a:cubicBezTo>
                      <a:cubicBezTo>
                        <a:pt x="0" y="1005"/>
                        <a:pt x="125" y="1130"/>
                        <a:pt x="376" y="1382"/>
                      </a:cubicBezTo>
                      <a:lnTo>
                        <a:pt x="77868" y="46093"/>
                      </a:lnTo>
                      <a:cubicBezTo>
                        <a:pt x="78371" y="46470"/>
                        <a:pt x="79375" y="46470"/>
                        <a:pt x="79878" y="46093"/>
                      </a:cubicBezTo>
                      <a:lnTo>
                        <a:pt x="82767" y="44461"/>
                      </a:lnTo>
                      <a:cubicBezTo>
                        <a:pt x="83018" y="44335"/>
                        <a:pt x="83144" y="44084"/>
                        <a:pt x="83144" y="43833"/>
                      </a:cubicBezTo>
                      <a:lnTo>
                        <a:pt x="83144" y="43079"/>
                      </a:lnTo>
                      <a:cubicBezTo>
                        <a:pt x="83269" y="43330"/>
                        <a:pt x="83144" y="43581"/>
                        <a:pt x="82767" y="43707"/>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81" name="Graphic 4">
                <a:extLst>
                  <a:ext uri="{FF2B5EF4-FFF2-40B4-BE49-F238E27FC236}">
                    <a16:creationId xmlns:a16="http://schemas.microsoft.com/office/drawing/2014/main" id="{84FB7ED1-A2DF-40A1-A747-5F7CF3F14040}"/>
                  </a:ext>
                </a:extLst>
              </p:cNvPr>
              <p:cNvGrpSpPr/>
              <p:nvPr/>
            </p:nvGrpSpPr>
            <p:grpSpPr>
              <a:xfrm>
                <a:off x="9719785" y="2412117"/>
                <a:ext cx="83190" cy="48793"/>
                <a:chOff x="9719785" y="2412117"/>
                <a:chExt cx="83190" cy="48793"/>
              </a:xfrm>
              <a:solidFill>
                <a:srgbClr val="244690"/>
              </a:solidFill>
            </p:grpSpPr>
            <p:sp>
              <p:nvSpPr>
                <p:cNvPr id="5082" name="Freeform: Shape 5081">
                  <a:extLst>
                    <a:ext uri="{FF2B5EF4-FFF2-40B4-BE49-F238E27FC236}">
                      <a16:creationId xmlns:a16="http://schemas.microsoft.com/office/drawing/2014/main" id="{D83FE8BC-904D-4237-8948-3F8D914922D9}"/>
                    </a:ext>
                  </a:extLst>
                </p:cNvPr>
                <p:cNvSpPr/>
                <p:nvPr/>
              </p:nvSpPr>
              <p:spPr>
                <a:xfrm>
                  <a:off x="9719785" y="2412117"/>
                  <a:ext cx="83190" cy="48165"/>
                </a:xfrm>
                <a:custGeom>
                  <a:avLst/>
                  <a:gdLst>
                    <a:gd name="connsiteX0" fmla="*/ 82767 w 83190"/>
                    <a:gd name="connsiteY0" fmla="*/ 44994 h 48165"/>
                    <a:gd name="connsiteX1" fmla="*/ 5275 w 83190"/>
                    <a:gd name="connsiteY1" fmla="*/ 283 h 48165"/>
                    <a:gd name="connsiteX2" fmla="*/ 3266 w 83190"/>
                    <a:gd name="connsiteY2" fmla="*/ 283 h 48165"/>
                    <a:gd name="connsiteX3" fmla="*/ 376 w 83190"/>
                    <a:gd name="connsiteY3" fmla="*/ 1915 h 48165"/>
                    <a:gd name="connsiteX4" fmla="*/ 0 w 83190"/>
                    <a:gd name="connsiteY4" fmla="*/ 2543 h 48165"/>
                    <a:gd name="connsiteX5" fmla="*/ 376 w 83190"/>
                    <a:gd name="connsiteY5" fmla="*/ 3171 h 48165"/>
                    <a:gd name="connsiteX6" fmla="*/ 77869 w 83190"/>
                    <a:gd name="connsiteY6" fmla="*/ 47883 h 48165"/>
                    <a:gd name="connsiteX7" fmla="*/ 79878 w 83190"/>
                    <a:gd name="connsiteY7" fmla="*/ 47883 h 48165"/>
                    <a:gd name="connsiteX8" fmla="*/ 82767 w 83190"/>
                    <a:gd name="connsiteY8" fmla="*/ 46250 h 48165"/>
                    <a:gd name="connsiteX9" fmla="*/ 83144 w 83190"/>
                    <a:gd name="connsiteY9" fmla="*/ 45622 h 48165"/>
                    <a:gd name="connsiteX10" fmla="*/ 82767 w 83190"/>
                    <a:gd name="connsiteY10" fmla="*/ 44994 h 4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190" h="48165">
                      <a:moveTo>
                        <a:pt x="82767" y="44994"/>
                      </a:moveTo>
                      <a:lnTo>
                        <a:pt x="5275" y="283"/>
                      </a:lnTo>
                      <a:cubicBezTo>
                        <a:pt x="4773" y="-94"/>
                        <a:pt x="3768" y="-94"/>
                        <a:pt x="3266" y="283"/>
                      </a:cubicBezTo>
                      <a:lnTo>
                        <a:pt x="376" y="1915"/>
                      </a:lnTo>
                      <a:cubicBezTo>
                        <a:pt x="126" y="2041"/>
                        <a:pt x="0" y="2292"/>
                        <a:pt x="0" y="2543"/>
                      </a:cubicBezTo>
                      <a:cubicBezTo>
                        <a:pt x="0" y="2795"/>
                        <a:pt x="126" y="2920"/>
                        <a:pt x="376" y="3171"/>
                      </a:cubicBezTo>
                      <a:lnTo>
                        <a:pt x="77869" y="47883"/>
                      </a:lnTo>
                      <a:cubicBezTo>
                        <a:pt x="78371" y="48260"/>
                        <a:pt x="79376" y="48260"/>
                        <a:pt x="79878" y="47883"/>
                      </a:cubicBezTo>
                      <a:lnTo>
                        <a:pt x="82767" y="46250"/>
                      </a:lnTo>
                      <a:cubicBezTo>
                        <a:pt x="83018" y="46125"/>
                        <a:pt x="83144" y="45874"/>
                        <a:pt x="83144" y="45622"/>
                      </a:cubicBezTo>
                      <a:cubicBezTo>
                        <a:pt x="83269" y="45371"/>
                        <a:pt x="83144" y="45120"/>
                        <a:pt x="82767" y="449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3" name="Freeform: Shape 5082">
                  <a:extLst>
                    <a:ext uri="{FF2B5EF4-FFF2-40B4-BE49-F238E27FC236}">
                      <a16:creationId xmlns:a16="http://schemas.microsoft.com/office/drawing/2014/main" id="{074DB858-9DE0-4293-8484-06F8ADF4A06A}"/>
                    </a:ext>
                  </a:extLst>
                </p:cNvPr>
                <p:cNvSpPr/>
                <p:nvPr/>
              </p:nvSpPr>
              <p:spPr>
                <a:xfrm>
                  <a:off x="9719785" y="2414535"/>
                  <a:ext cx="83190" cy="46375"/>
                </a:xfrm>
                <a:custGeom>
                  <a:avLst/>
                  <a:gdLst>
                    <a:gd name="connsiteX0" fmla="*/ 82767 w 83190"/>
                    <a:gd name="connsiteY0" fmla="*/ 43707 h 46375"/>
                    <a:gd name="connsiteX1" fmla="*/ 79878 w 83190"/>
                    <a:gd name="connsiteY1" fmla="*/ 45340 h 46375"/>
                    <a:gd name="connsiteX2" fmla="*/ 77869 w 83190"/>
                    <a:gd name="connsiteY2" fmla="*/ 45340 h 46375"/>
                    <a:gd name="connsiteX3" fmla="*/ 376 w 83190"/>
                    <a:gd name="connsiteY3" fmla="*/ 628 h 46375"/>
                    <a:gd name="connsiteX4" fmla="*/ 0 w 83190"/>
                    <a:gd name="connsiteY4" fmla="*/ 0 h 46375"/>
                    <a:gd name="connsiteX5" fmla="*/ 0 w 83190"/>
                    <a:gd name="connsiteY5" fmla="*/ 754 h 46375"/>
                    <a:gd name="connsiteX6" fmla="*/ 376 w 83190"/>
                    <a:gd name="connsiteY6" fmla="*/ 1381 h 46375"/>
                    <a:gd name="connsiteX7" fmla="*/ 77869 w 83190"/>
                    <a:gd name="connsiteY7" fmla="*/ 46093 h 46375"/>
                    <a:gd name="connsiteX8" fmla="*/ 79878 w 83190"/>
                    <a:gd name="connsiteY8" fmla="*/ 46093 h 46375"/>
                    <a:gd name="connsiteX9" fmla="*/ 82767 w 83190"/>
                    <a:gd name="connsiteY9" fmla="*/ 44460 h 46375"/>
                    <a:gd name="connsiteX10" fmla="*/ 83144 w 83190"/>
                    <a:gd name="connsiteY10" fmla="*/ 43833 h 46375"/>
                    <a:gd name="connsiteX11" fmla="*/ 83144 w 83190"/>
                    <a:gd name="connsiteY11" fmla="*/ 43079 h 46375"/>
                    <a:gd name="connsiteX12" fmla="*/ 82767 w 83190"/>
                    <a:gd name="connsiteY12" fmla="*/ 43707 h 4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90" h="46375">
                      <a:moveTo>
                        <a:pt x="82767" y="43707"/>
                      </a:moveTo>
                      <a:lnTo>
                        <a:pt x="79878" y="45340"/>
                      </a:lnTo>
                      <a:cubicBezTo>
                        <a:pt x="79376" y="45716"/>
                        <a:pt x="78371" y="45716"/>
                        <a:pt x="77869" y="45340"/>
                      </a:cubicBezTo>
                      <a:lnTo>
                        <a:pt x="376" y="628"/>
                      </a:lnTo>
                      <a:cubicBezTo>
                        <a:pt x="126" y="502"/>
                        <a:pt x="0" y="251"/>
                        <a:pt x="0" y="0"/>
                      </a:cubicBezTo>
                      <a:cubicBezTo>
                        <a:pt x="0" y="0"/>
                        <a:pt x="0" y="628"/>
                        <a:pt x="0" y="754"/>
                      </a:cubicBezTo>
                      <a:cubicBezTo>
                        <a:pt x="0" y="1005"/>
                        <a:pt x="126" y="1130"/>
                        <a:pt x="376" y="1381"/>
                      </a:cubicBezTo>
                      <a:lnTo>
                        <a:pt x="77869" y="46093"/>
                      </a:lnTo>
                      <a:cubicBezTo>
                        <a:pt x="78371" y="46470"/>
                        <a:pt x="79376" y="46470"/>
                        <a:pt x="79878" y="46093"/>
                      </a:cubicBezTo>
                      <a:lnTo>
                        <a:pt x="82767" y="44460"/>
                      </a:lnTo>
                      <a:cubicBezTo>
                        <a:pt x="83018" y="44335"/>
                        <a:pt x="83144" y="44084"/>
                        <a:pt x="83144" y="43833"/>
                      </a:cubicBezTo>
                      <a:lnTo>
                        <a:pt x="83144" y="43079"/>
                      </a:lnTo>
                      <a:cubicBezTo>
                        <a:pt x="83269" y="43330"/>
                        <a:pt x="83144" y="43581"/>
                        <a:pt x="82767" y="43707"/>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84" name="Graphic 4">
                <a:extLst>
                  <a:ext uri="{FF2B5EF4-FFF2-40B4-BE49-F238E27FC236}">
                    <a16:creationId xmlns:a16="http://schemas.microsoft.com/office/drawing/2014/main" id="{84FB7ED1-A2DF-40A1-A747-5F7CF3F14040}"/>
                  </a:ext>
                </a:extLst>
              </p:cNvPr>
              <p:cNvGrpSpPr/>
              <p:nvPr/>
            </p:nvGrpSpPr>
            <p:grpSpPr>
              <a:xfrm>
                <a:off x="9643047" y="2456452"/>
                <a:ext cx="83143" cy="48793"/>
                <a:chOff x="9643047" y="2456452"/>
                <a:chExt cx="83143" cy="48793"/>
              </a:xfrm>
              <a:solidFill>
                <a:srgbClr val="244690"/>
              </a:solidFill>
            </p:grpSpPr>
            <p:sp>
              <p:nvSpPr>
                <p:cNvPr id="5085" name="Freeform: Shape 5084">
                  <a:extLst>
                    <a:ext uri="{FF2B5EF4-FFF2-40B4-BE49-F238E27FC236}">
                      <a16:creationId xmlns:a16="http://schemas.microsoft.com/office/drawing/2014/main" id="{CCE45B44-8B20-430A-98E9-6504B8FC86CA}"/>
                    </a:ext>
                  </a:extLst>
                </p:cNvPr>
                <p:cNvSpPr/>
                <p:nvPr/>
              </p:nvSpPr>
              <p:spPr>
                <a:xfrm>
                  <a:off x="9643047" y="2456452"/>
                  <a:ext cx="83143" cy="48165"/>
                </a:xfrm>
                <a:custGeom>
                  <a:avLst/>
                  <a:gdLst>
                    <a:gd name="connsiteX0" fmla="*/ 82767 w 83143"/>
                    <a:gd name="connsiteY0" fmla="*/ 44994 h 48165"/>
                    <a:gd name="connsiteX1" fmla="*/ 5275 w 83143"/>
                    <a:gd name="connsiteY1" fmla="*/ 283 h 48165"/>
                    <a:gd name="connsiteX2" fmla="*/ 3265 w 83143"/>
                    <a:gd name="connsiteY2" fmla="*/ 283 h 48165"/>
                    <a:gd name="connsiteX3" fmla="*/ 376 w 83143"/>
                    <a:gd name="connsiteY3" fmla="*/ 1915 h 48165"/>
                    <a:gd name="connsiteX4" fmla="*/ 0 w 83143"/>
                    <a:gd name="connsiteY4" fmla="*/ 2543 h 48165"/>
                    <a:gd name="connsiteX5" fmla="*/ 376 w 83143"/>
                    <a:gd name="connsiteY5" fmla="*/ 3171 h 48165"/>
                    <a:gd name="connsiteX6" fmla="*/ 77868 w 83143"/>
                    <a:gd name="connsiteY6" fmla="*/ 47883 h 48165"/>
                    <a:gd name="connsiteX7" fmla="*/ 79878 w 83143"/>
                    <a:gd name="connsiteY7" fmla="*/ 47883 h 48165"/>
                    <a:gd name="connsiteX8" fmla="*/ 82767 w 83143"/>
                    <a:gd name="connsiteY8" fmla="*/ 46250 h 48165"/>
                    <a:gd name="connsiteX9" fmla="*/ 83144 w 83143"/>
                    <a:gd name="connsiteY9" fmla="*/ 45622 h 48165"/>
                    <a:gd name="connsiteX10" fmla="*/ 82767 w 83143"/>
                    <a:gd name="connsiteY10" fmla="*/ 44994 h 4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143" h="48165">
                      <a:moveTo>
                        <a:pt x="82767" y="44994"/>
                      </a:moveTo>
                      <a:lnTo>
                        <a:pt x="5275" y="283"/>
                      </a:lnTo>
                      <a:cubicBezTo>
                        <a:pt x="4773" y="-94"/>
                        <a:pt x="3768" y="-94"/>
                        <a:pt x="3265" y="283"/>
                      </a:cubicBezTo>
                      <a:lnTo>
                        <a:pt x="376" y="1915"/>
                      </a:lnTo>
                      <a:cubicBezTo>
                        <a:pt x="125" y="2041"/>
                        <a:pt x="0" y="2292"/>
                        <a:pt x="0" y="2543"/>
                      </a:cubicBezTo>
                      <a:cubicBezTo>
                        <a:pt x="0" y="2795"/>
                        <a:pt x="125" y="2920"/>
                        <a:pt x="376" y="3171"/>
                      </a:cubicBezTo>
                      <a:lnTo>
                        <a:pt x="77868" y="47883"/>
                      </a:lnTo>
                      <a:cubicBezTo>
                        <a:pt x="78371" y="48260"/>
                        <a:pt x="79376" y="48260"/>
                        <a:pt x="79878" y="47883"/>
                      </a:cubicBezTo>
                      <a:lnTo>
                        <a:pt x="82767" y="46250"/>
                      </a:lnTo>
                      <a:cubicBezTo>
                        <a:pt x="83018" y="46125"/>
                        <a:pt x="83144" y="45874"/>
                        <a:pt x="83144" y="45622"/>
                      </a:cubicBezTo>
                      <a:cubicBezTo>
                        <a:pt x="83144" y="45371"/>
                        <a:pt x="83018" y="45120"/>
                        <a:pt x="82767" y="449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6" name="Freeform: Shape 5085">
                  <a:extLst>
                    <a:ext uri="{FF2B5EF4-FFF2-40B4-BE49-F238E27FC236}">
                      <a16:creationId xmlns:a16="http://schemas.microsoft.com/office/drawing/2014/main" id="{13FB176B-EF7A-4645-BFB2-F8FEA1DD25A9}"/>
                    </a:ext>
                  </a:extLst>
                </p:cNvPr>
                <p:cNvSpPr/>
                <p:nvPr/>
              </p:nvSpPr>
              <p:spPr>
                <a:xfrm>
                  <a:off x="9643047" y="2458870"/>
                  <a:ext cx="83143" cy="46375"/>
                </a:xfrm>
                <a:custGeom>
                  <a:avLst/>
                  <a:gdLst>
                    <a:gd name="connsiteX0" fmla="*/ 82767 w 83143"/>
                    <a:gd name="connsiteY0" fmla="*/ 43707 h 46375"/>
                    <a:gd name="connsiteX1" fmla="*/ 79878 w 83143"/>
                    <a:gd name="connsiteY1" fmla="*/ 45340 h 46375"/>
                    <a:gd name="connsiteX2" fmla="*/ 77868 w 83143"/>
                    <a:gd name="connsiteY2" fmla="*/ 45340 h 46375"/>
                    <a:gd name="connsiteX3" fmla="*/ 376 w 83143"/>
                    <a:gd name="connsiteY3" fmla="*/ 628 h 46375"/>
                    <a:gd name="connsiteX4" fmla="*/ 0 w 83143"/>
                    <a:gd name="connsiteY4" fmla="*/ 0 h 46375"/>
                    <a:gd name="connsiteX5" fmla="*/ 0 w 83143"/>
                    <a:gd name="connsiteY5" fmla="*/ 754 h 46375"/>
                    <a:gd name="connsiteX6" fmla="*/ 376 w 83143"/>
                    <a:gd name="connsiteY6" fmla="*/ 1382 h 46375"/>
                    <a:gd name="connsiteX7" fmla="*/ 77868 w 83143"/>
                    <a:gd name="connsiteY7" fmla="*/ 46093 h 46375"/>
                    <a:gd name="connsiteX8" fmla="*/ 79878 w 83143"/>
                    <a:gd name="connsiteY8" fmla="*/ 46093 h 46375"/>
                    <a:gd name="connsiteX9" fmla="*/ 82767 w 83143"/>
                    <a:gd name="connsiteY9" fmla="*/ 44461 h 46375"/>
                    <a:gd name="connsiteX10" fmla="*/ 83144 w 83143"/>
                    <a:gd name="connsiteY10" fmla="*/ 43833 h 46375"/>
                    <a:gd name="connsiteX11" fmla="*/ 83144 w 83143"/>
                    <a:gd name="connsiteY11" fmla="*/ 43079 h 46375"/>
                    <a:gd name="connsiteX12" fmla="*/ 82767 w 83143"/>
                    <a:gd name="connsiteY12" fmla="*/ 43707 h 4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43" h="46375">
                      <a:moveTo>
                        <a:pt x="82767" y="43707"/>
                      </a:moveTo>
                      <a:lnTo>
                        <a:pt x="79878" y="45340"/>
                      </a:lnTo>
                      <a:cubicBezTo>
                        <a:pt x="79376" y="45716"/>
                        <a:pt x="78371" y="45716"/>
                        <a:pt x="77868" y="45340"/>
                      </a:cubicBezTo>
                      <a:lnTo>
                        <a:pt x="376" y="628"/>
                      </a:lnTo>
                      <a:cubicBezTo>
                        <a:pt x="125" y="502"/>
                        <a:pt x="0" y="251"/>
                        <a:pt x="0" y="0"/>
                      </a:cubicBezTo>
                      <a:cubicBezTo>
                        <a:pt x="0" y="0"/>
                        <a:pt x="0" y="628"/>
                        <a:pt x="0" y="754"/>
                      </a:cubicBezTo>
                      <a:cubicBezTo>
                        <a:pt x="0" y="1005"/>
                        <a:pt x="125" y="1130"/>
                        <a:pt x="376" y="1382"/>
                      </a:cubicBezTo>
                      <a:lnTo>
                        <a:pt x="77868" y="46093"/>
                      </a:lnTo>
                      <a:cubicBezTo>
                        <a:pt x="78371" y="46470"/>
                        <a:pt x="79376" y="46470"/>
                        <a:pt x="79878" y="46093"/>
                      </a:cubicBezTo>
                      <a:lnTo>
                        <a:pt x="82767" y="44461"/>
                      </a:lnTo>
                      <a:cubicBezTo>
                        <a:pt x="83018" y="44335"/>
                        <a:pt x="83144" y="44084"/>
                        <a:pt x="83144" y="43833"/>
                      </a:cubicBezTo>
                      <a:lnTo>
                        <a:pt x="83144" y="43079"/>
                      </a:lnTo>
                      <a:cubicBezTo>
                        <a:pt x="83144" y="43330"/>
                        <a:pt x="83018" y="43581"/>
                        <a:pt x="82767" y="43707"/>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87" name="Graphic 4">
                <a:extLst>
                  <a:ext uri="{FF2B5EF4-FFF2-40B4-BE49-F238E27FC236}">
                    <a16:creationId xmlns:a16="http://schemas.microsoft.com/office/drawing/2014/main" id="{84FB7ED1-A2DF-40A1-A747-5F7CF3F14040}"/>
                  </a:ext>
                </a:extLst>
              </p:cNvPr>
              <p:cNvGrpSpPr/>
              <p:nvPr/>
            </p:nvGrpSpPr>
            <p:grpSpPr>
              <a:xfrm>
                <a:off x="9655857" y="2449042"/>
                <a:ext cx="83143" cy="48793"/>
                <a:chOff x="9655857" y="2449042"/>
                <a:chExt cx="83143" cy="48793"/>
              </a:xfrm>
              <a:solidFill>
                <a:srgbClr val="244690"/>
              </a:solidFill>
            </p:grpSpPr>
            <p:sp>
              <p:nvSpPr>
                <p:cNvPr id="5088" name="Freeform: Shape 5087">
                  <a:extLst>
                    <a:ext uri="{FF2B5EF4-FFF2-40B4-BE49-F238E27FC236}">
                      <a16:creationId xmlns:a16="http://schemas.microsoft.com/office/drawing/2014/main" id="{98F9225F-D659-4250-A8E0-FD9633B69DE5}"/>
                    </a:ext>
                  </a:extLst>
                </p:cNvPr>
                <p:cNvSpPr/>
                <p:nvPr/>
              </p:nvSpPr>
              <p:spPr>
                <a:xfrm>
                  <a:off x="9655857" y="2449042"/>
                  <a:ext cx="83143" cy="48165"/>
                </a:xfrm>
                <a:custGeom>
                  <a:avLst/>
                  <a:gdLst>
                    <a:gd name="connsiteX0" fmla="*/ 82767 w 83143"/>
                    <a:gd name="connsiteY0" fmla="*/ 44994 h 48165"/>
                    <a:gd name="connsiteX1" fmla="*/ 5276 w 83143"/>
                    <a:gd name="connsiteY1" fmla="*/ 283 h 48165"/>
                    <a:gd name="connsiteX2" fmla="*/ 3266 w 83143"/>
                    <a:gd name="connsiteY2" fmla="*/ 283 h 48165"/>
                    <a:gd name="connsiteX3" fmla="*/ 377 w 83143"/>
                    <a:gd name="connsiteY3" fmla="*/ 1915 h 48165"/>
                    <a:gd name="connsiteX4" fmla="*/ 0 w 83143"/>
                    <a:gd name="connsiteY4" fmla="*/ 2543 h 48165"/>
                    <a:gd name="connsiteX5" fmla="*/ 377 w 83143"/>
                    <a:gd name="connsiteY5" fmla="*/ 3171 h 48165"/>
                    <a:gd name="connsiteX6" fmla="*/ 77869 w 83143"/>
                    <a:gd name="connsiteY6" fmla="*/ 47883 h 48165"/>
                    <a:gd name="connsiteX7" fmla="*/ 79879 w 83143"/>
                    <a:gd name="connsiteY7" fmla="*/ 47883 h 48165"/>
                    <a:gd name="connsiteX8" fmla="*/ 82767 w 83143"/>
                    <a:gd name="connsiteY8" fmla="*/ 46250 h 48165"/>
                    <a:gd name="connsiteX9" fmla="*/ 83144 w 83143"/>
                    <a:gd name="connsiteY9" fmla="*/ 45622 h 48165"/>
                    <a:gd name="connsiteX10" fmla="*/ 82767 w 83143"/>
                    <a:gd name="connsiteY10" fmla="*/ 44994 h 4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143" h="48165">
                      <a:moveTo>
                        <a:pt x="82767" y="44994"/>
                      </a:moveTo>
                      <a:lnTo>
                        <a:pt x="5276" y="283"/>
                      </a:lnTo>
                      <a:cubicBezTo>
                        <a:pt x="4773" y="-94"/>
                        <a:pt x="3768" y="-94"/>
                        <a:pt x="3266" y="283"/>
                      </a:cubicBezTo>
                      <a:lnTo>
                        <a:pt x="377" y="1915"/>
                      </a:lnTo>
                      <a:cubicBezTo>
                        <a:pt x="126" y="2041"/>
                        <a:pt x="0" y="2292"/>
                        <a:pt x="0" y="2543"/>
                      </a:cubicBezTo>
                      <a:cubicBezTo>
                        <a:pt x="0" y="2794"/>
                        <a:pt x="126" y="2920"/>
                        <a:pt x="377" y="3171"/>
                      </a:cubicBezTo>
                      <a:lnTo>
                        <a:pt x="77869" y="47883"/>
                      </a:lnTo>
                      <a:cubicBezTo>
                        <a:pt x="78371" y="48260"/>
                        <a:pt x="79376" y="48260"/>
                        <a:pt x="79879" y="47883"/>
                      </a:cubicBezTo>
                      <a:lnTo>
                        <a:pt x="82767" y="46250"/>
                      </a:lnTo>
                      <a:cubicBezTo>
                        <a:pt x="83019" y="46125"/>
                        <a:pt x="83144" y="45873"/>
                        <a:pt x="83144" y="45622"/>
                      </a:cubicBezTo>
                      <a:cubicBezTo>
                        <a:pt x="83144" y="45371"/>
                        <a:pt x="83019" y="45120"/>
                        <a:pt x="82767" y="449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9" name="Freeform: Shape 5088">
                  <a:extLst>
                    <a:ext uri="{FF2B5EF4-FFF2-40B4-BE49-F238E27FC236}">
                      <a16:creationId xmlns:a16="http://schemas.microsoft.com/office/drawing/2014/main" id="{C67D2567-F35A-46E6-9B38-CEFB71523F7D}"/>
                    </a:ext>
                  </a:extLst>
                </p:cNvPr>
                <p:cNvSpPr/>
                <p:nvPr/>
              </p:nvSpPr>
              <p:spPr>
                <a:xfrm>
                  <a:off x="9655857" y="2451460"/>
                  <a:ext cx="83143" cy="46375"/>
                </a:xfrm>
                <a:custGeom>
                  <a:avLst/>
                  <a:gdLst>
                    <a:gd name="connsiteX0" fmla="*/ 82767 w 83143"/>
                    <a:gd name="connsiteY0" fmla="*/ 43707 h 46375"/>
                    <a:gd name="connsiteX1" fmla="*/ 79879 w 83143"/>
                    <a:gd name="connsiteY1" fmla="*/ 45340 h 46375"/>
                    <a:gd name="connsiteX2" fmla="*/ 77869 w 83143"/>
                    <a:gd name="connsiteY2" fmla="*/ 45340 h 46375"/>
                    <a:gd name="connsiteX3" fmla="*/ 377 w 83143"/>
                    <a:gd name="connsiteY3" fmla="*/ 628 h 46375"/>
                    <a:gd name="connsiteX4" fmla="*/ 0 w 83143"/>
                    <a:gd name="connsiteY4" fmla="*/ 0 h 46375"/>
                    <a:gd name="connsiteX5" fmla="*/ 0 w 83143"/>
                    <a:gd name="connsiteY5" fmla="*/ 754 h 46375"/>
                    <a:gd name="connsiteX6" fmla="*/ 377 w 83143"/>
                    <a:gd name="connsiteY6" fmla="*/ 1382 h 46375"/>
                    <a:gd name="connsiteX7" fmla="*/ 77869 w 83143"/>
                    <a:gd name="connsiteY7" fmla="*/ 46093 h 46375"/>
                    <a:gd name="connsiteX8" fmla="*/ 79879 w 83143"/>
                    <a:gd name="connsiteY8" fmla="*/ 46093 h 46375"/>
                    <a:gd name="connsiteX9" fmla="*/ 82767 w 83143"/>
                    <a:gd name="connsiteY9" fmla="*/ 44461 h 46375"/>
                    <a:gd name="connsiteX10" fmla="*/ 83144 w 83143"/>
                    <a:gd name="connsiteY10" fmla="*/ 43833 h 46375"/>
                    <a:gd name="connsiteX11" fmla="*/ 83144 w 83143"/>
                    <a:gd name="connsiteY11" fmla="*/ 43079 h 46375"/>
                    <a:gd name="connsiteX12" fmla="*/ 82767 w 83143"/>
                    <a:gd name="connsiteY12" fmla="*/ 43707 h 4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43" h="46375">
                      <a:moveTo>
                        <a:pt x="82767" y="43707"/>
                      </a:moveTo>
                      <a:lnTo>
                        <a:pt x="79879" y="45340"/>
                      </a:lnTo>
                      <a:cubicBezTo>
                        <a:pt x="79376" y="45716"/>
                        <a:pt x="78371" y="45716"/>
                        <a:pt x="77869" y="45340"/>
                      </a:cubicBezTo>
                      <a:lnTo>
                        <a:pt x="377" y="628"/>
                      </a:lnTo>
                      <a:cubicBezTo>
                        <a:pt x="126" y="502"/>
                        <a:pt x="0" y="251"/>
                        <a:pt x="0" y="0"/>
                      </a:cubicBezTo>
                      <a:cubicBezTo>
                        <a:pt x="0" y="0"/>
                        <a:pt x="0" y="628"/>
                        <a:pt x="0" y="754"/>
                      </a:cubicBezTo>
                      <a:cubicBezTo>
                        <a:pt x="0" y="1005"/>
                        <a:pt x="126" y="1130"/>
                        <a:pt x="377" y="1382"/>
                      </a:cubicBezTo>
                      <a:lnTo>
                        <a:pt x="77869" y="46093"/>
                      </a:lnTo>
                      <a:cubicBezTo>
                        <a:pt x="78371" y="46470"/>
                        <a:pt x="79376" y="46470"/>
                        <a:pt x="79879" y="46093"/>
                      </a:cubicBezTo>
                      <a:lnTo>
                        <a:pt x="82767" y="44461"/>
                      </a:lnTo>
                      <a:cubicBezTo>
                        <a:pt x="83019" y="44335"/>
                        <a:pt x="83144" y="44084"/>
                        <a:pt x="83144" y="43833"/>
                      </a:cubicBezTo>
                      <a:lnTo>
                        <a:pt x="83144" y="43079"/>
                      </a:lnTo>
                      <a:cubicBezTo>
                        <a:pt x="83144" y="43330"/>
                        <a:pt x="83019" y="43581"/>
                        <a:pt x="82767" y="43707"/>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090" name="Graphic 4">
              <a:extLst>
                <a:ext uri="{FF2B5EF4-FFF2-40B4-BE49-F238E27FC236}">
                  <a16:creationId xmlns:a16="http://schemas.microsoft.com/office/drawing/2014/main" id="{84FB7ED1-A2DF-40A1-A747-5F7CF3F14040}"/>
                </a:ext>
              </a:extLst>
            </p:cNvPr>
            <p:cNvGrpSpPr/>
            <p:nvPr/>
          </p:nvGrpSpPr>
          <p:grpSpPr>
            <a:xfrm>
              <a:off x="9721641" y="2448536"/>
              <a:ext cx="67723" cy="41222"/>
              <a:chOff x="9721641" y="2448536"/>
              <a:chExt cx="67723" cy="41222"/>
            </a:xfrm>
            <a:solidFill>
              <a:srgbClr val="244690"/>
            </a:solidFill>
          </p:grpSpPr>
          <p:sp>
            <p:nvSpPr>
              <p:cNvPr id="5091" name="Freeform: Shape 5090">
                <a:extLst>
                  <a:ext uri="{FF2B5EF4-FFF2-40B4-BE49-F238E27FC236}">
                    <a16:creationId xmlns:a16="http://schemas.microsoft.com/office/drawing/2014/main" id="{B74AC60C-3B19-46F6-991A-A6A0B5023F9B}"/>
                  </a:ext>
                </a:extLst>
              </p:cNvPr>
              <p:cNvSpPr/>
              <p:nvPr/>
            </p:nvSpPr>
            <p:spPr>
              <a:xfrm>
                <a:off x="9721641" y="2448536"/>
                <a:ext cx="67543" cy="39003"/>
              </a:xfrm>
              <a:custGeom>
                <a:avLst/>
                <a:gdLst>
                  <a:gd name="connsiteX0" fmla="*/ 907 w 67543"/>
                  <a:gd name="connsiteY0" fmla="*/ 25531 h 39003"/>
                  <a:gd name="connsiteX1" fmla="*/ 23389 w 67543"/>
                  <a:gd name="connsiteY1" fmla="*/ 38467 h 39003"/>
                  <a:gd name="connsiteX2" fmla="*/ 28790 w 67543"/>
                  <a:gd name="connsiteY2" fmla="*/ 38216 h 39003"/>
                  <a:gd name="connsiteX3" fmla="*/ 66217 w 67543"/>
                  <a:gd name="connsiteY3" fmla="*/ 16613 h 39003"/>
                  <a:gd name="connsiteX4" fmla="*/ 66594 w 67543"/>
                  <a:gd name="connsiteY4" fmla="*/ 13473 h 39003"/>
                  <a:gd name="connsiteX5" fmla="*/ 44112 w 67543"/>
                  <a:gd name="connsiteY5" fmla="*/ 537 h 39003"/>
                  <a:gd name="connsiteX6" fmla="*/ 38712 w 67543"/>
                  <a:gd name="connsiteY6" fmla="*/ 788 h 39003"/>
                  <a:gd name="connsiteX7" fmla="*/ 1285 w 67543"/>
                  <a:gd name="connsiteY7" fmla="*/ 22391 h 39003"/>
                  <a:gd name="connsiteX8" fmla="*/ 907 w 67543"/>
                  <a:gd name="connsiteY8" fmla="*/ 25531 h 39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543" h="39003">
                    <a:moveTo>
                      <a:pt x="907" y="25531"/>
                    </a:moveTo>
                    <a:lnTo>
                      <a:pt x="23389" y="38467"/>
                    </a:lnTo>
                    <a:cubicBezTo>
                      <a:pt x="24771" y="39220"/>
                      <a:pt x="27283" y="39220"/>
                      <a:pt x="28790" y="38216"/>
                    </a:cubicBezTo>
                    <a:lnTo>
                      <a:pt x="66217" y="16613"/>
                    </a:lnTo>
                    <a:cubicBezTo>
                      <a:pt x="67850" y="15734"/>
                      <a:pt x="67975" y="14227"/>
                      <a:pt x="66594" y="13473"/>
                    </a:cubicBezTo>
                    <a:lnTo>
                      <a:pt x="44112" y="537"/>
                    </a:lnTo>
                    <a:cubicBezTo>
                      <a:pt x="42731" y="-216"/>
                      <a:pt x="40219" y="-216"/>
                      <a:pt x="38712" y="788"/>
                    </a:cubicBezTo>
                    <a:lnTo>
                      <a:pt x="1285" y="22391"/>
                    </a:lnTo>
                    <a:cubicBezTo>
                      <a:pt x="-223" y="23270"/>
                      <a:pt x="-474" y="24651"/>
                      <a:pt x="907" y="25531"/>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2" name="Freeform: Shape 5091">
                <a:extLst>
                  <a:ext uri="{FF2B5EF4-FFF2-40B4-BE49-F238E27FC236}">
                    <a16:creationId xmlns:a16="http://schemas.microsoft.com/office/drawing/2014/main" id="{0BFAC984-3073-488C-BAD8-12E8E2CDEA01}"/>
                  </a:ext>
                </a:extLst>
              </p:cNvPr>
              <p:cNvSpPr/>
              <p:nvPr/>
            </p:nvSpPr>
            <p:spPr>
              <a:xfrm>
                <a:off x="9721669" y="2463391"/>
                <a:ext cx="67695" cy="26367"/>
              </a:xfrm>
              <a:custGeom>
                <a:avLst/>
                <a:gdLst>
                  <a:gd name="connsiteX0" fmla="*/ 0 w 67695"/>
                  <a:gd name="connsiteY0" fmla="*/ 9294 h 26367"/>
                  <a:gd name="connsiteX1" fmla="*/ 0 w 67695"/>
                  <a:gd name="connsiteY1" fmla="*/ 9294 h 26367"/>
                  <a:gd name="connsiteX2" fmla="*/ 1005 w 67695"/>
                  <a:gd name="connsiteY2" fmla="*/ 10676 h 26367"/>
                  <a:gd name="connsiteX3" fmla="*/ 23487 w 67695"/>
                  <a:gd name="connsiteY3" fmla="*/ 23612 h 26367"/>
                  <a:gd name="connsiteX4" fmla="*/ 28887 w 67695"/>
                  <a:gd name="connsiteY4" fmla="*/ 23361 h 26367"/>
                  <a:gd name="connsiteX5" fmla="*/ 66314 w 67695"/>
                  <a:gd name="connsiteY5" fmla="*/ 1758 h 26367"/>
                  <a:gd name="connsiteX6" fmla="*/ 67696 w 67695"/>
                  <a:gd name="connsiteY6" fmla="*/ 0 h 26367"/>
                  <a:gd name="connsiteX7" fmla="*/ 67696 w 67695"/>
                  <a:gd name="connsiteY7" fmla="*/ 0 h 26367"/>
                  <a:gd name="connsiteX8" fmla="*/ 67696 w 67695"/>
                  <a:gd name="connsiteY8" fmla="*/ 2261 h 26367"/>
                  <a:gd name="connsiteX9" fmla="*/ 66314 w 67695"/>
                  <a:gd name="connsiteY9" fmla="*/ 4019 h 26367"/>
                  <a:gd name="connsiteX10" fmla="*/ 28887 w 67695"/>
                  <a:gd name="connsiteY10" fmla="*/ 25621 h 26367"/>
                  <a:gd name="connsiteX11" fmla="*/ 23487 w 67695"/>
                  <a:gd name="connsiteY11" fmla="*/ 25872 h 26367"/>
                  <a:gd name="connsiteX12" fmla="*/ 1005 w 67695"/>
                  <a:gd name="connsiteY12" fmla="*/ 12936 h 26367"/>
                  <a:gd name="connsiteX13" fmla="*/ 0 w 67695"/>
                  <a:gd name="connsiteY13" fmla="*/ 11555 h 26367"/>
                  <a:gd name="connsiteX14" fmla="*/ 0 w 67695"/>
                  <a:gd name="connsiteY14" fmla="*/ 9294 h 26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695" h="26367">
                    <a:moveTo>
                      <a:pt x="0" y="9294"/>
                    </a:moveTo>
                    <a:lnTo>
                      <a:pt x="0" y="9294"/>
                    </a:lnTo>
                    <a:cubicBezTo>
                      <a:pt x="0" y="9796"/>
                      <a:pt x="251" y="10299"/>
                      <a:pt x="1005" y="10676"/>
                    </a:cubicBezTo>
                    <a:lnTo>
                      <a:pt x="23487" y="23612"/>
                    </a:lnTo>
                    <a:cubicBezTo>
                      <a:pt x="24868" y="24365"/>
                      <a:pt x="27380" y="24365"/>
                      <a:pt x="28887" y="23361"/>
                    </a:cubicBezTo>
                    <a:lnTo>
                      <a:pt x="66314" y="1758"/>
                    </a:lnTo>
                    <a:cubicBezTo>
                      <a:pt x="67194" y="1256"/>
                      <a:pt x="67570" y="628"/>
                      <a:pt x="67696" y="0"/>
                    </a:cubicBezTo>
                    <a:lnTo>
                      <a:pt x="67696" y="0"/>
                    </a:lnTo>
                    <a:cubicBezTo>
                      <a:pt x="67696" y="0"/>
                      <a:pt x="67696" y="1758"/>
                      <a:pt x="67696" y="2261"/>
                    </a:cubicBezTo>
                    <a:cubicBezTo>
                      <a:pt x="67696" y="2889"/>
                      <a:pt x="67194" y="3517"/>
                      <a:pt x="66314" y="4019"/>
                    </a:cubicBezTo>
                    <a:lnTo>
                      <a:pt x="28887" y="25621"/>
                    </a:lnTo>
                    <a:cubicBezTo>
                      <a:pt x="27255" y="26501"/>
                      <a:pt x="24868" y="26626"/>
                      <a:pt x="23487" y="25872"/>
                    </a:cubicBezTo>
                    <a:lnTo>
                      <a:pt x="1005" y="12936"/>
                    </a:lnTo>
                    <a:cubicBezTo>
                      <a:pt x="377" y="12559"/>
                      <a:pt x="126" y="12057"/>
                      <a:pt x="0" y="11555"/>
                    </a:cubicBezTo>
                    <a:cubicBezTo>
                      <a:pt x="0" y="10927"/>
                      <a:pt x="0" y="9294"/>
                      <a:pt x="0" y="92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93" name="Graphic 4">
              <a:extLst>
                <a:ext uri="{FF2B5EF4-FFF2-40B4-BE49-F238E27FC236}">
                  <a16:creationId xmlns:a16="http://schemas.microsoft.com/office/drawing/2014/main" id="{84FB7ED1-A2DF-40A1-A747-5F7CF3F14040}"/>
                </a:ext>
              </a:extLst>
            </p:cNvPr>
            <p:cNvGrpSpPr/>
            <p:nvPr/>
          </p:nvGrpSpPr>
          <p:grpSpPr>
            <a:xfrm>
              <a:off x="9291758" y="2433123"/>
              <a:ext cx="63676" cy="39813"/>
              <a:chOff x="9291758" y="2433123"/>
              <a:chExt cx="63676" cy="39813"/>
            </a:xfrm>
            <a:solidFill>
              <a:schemeClr val="accent1"/>
            </a:solidFill>
          </p:grpSpPr>
          <p:sp>
            <p:nvSpPr>
              <p:cNvPr id="5094" name="Freeform: Shape 5093">
                <a:extLst>
                  <a:ext uri="{FF2B5EF4-FFF2-40B4-BE49-F238E27FC236}">
                    <a16:creationId xmlns:a16="http://schemas.microsoft.com/office/drawing/2014/main" id="{1E530EF8-BF59-461F-96CF-7774DA9E3F71}"/>
                  </a:ext>
                </a:extLst>
              </p:cNvPr>
              <p:cNvSpPr/>
              <p:nvPr/>
            </p:nvSpPr>
            <p:spPr>
              <a:xfrm>
                <a:off x="9293014" y="2435886"/>
                <a:ext cx="62420" cy="37050"/>
              </a:xfrm>
              <a:custGeom>
                <a:avLst/>
                <a:gdLst>
                  <a:gd name="connsiteX0" fmla="*/ 3642 w 62420"/>
                  <a:gd name="connsiteY0" fmla="*/ 31273 h 37050"/>
                  <a:gd name="connsiteX1" fmla="*/ 52373 w 62420"/>
                  <a:gd name="connsiteY1" fmla="*/ 3140 h 37050"/>
                  <a:gd name="connsiteX2" fmla="*/ 62420 w 62420"/>
                  <a:gd name="connsiteY2" fmla="*/ 0 h 37050"/>
                  <a:gd name="connsiteX3" fmla="*/ 62420 w 62420"/>
                  <a:gd name="connsiteY3" fmla="*/ 1005 h 37050"/>
                  <a:gd name="connsiteX4" fmla="*/ 0 w 62420"/>
                  <a:gd name="connsiteY4" fmla="*/ 37050 h 3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20" h="37050">
                    <a:moveTo>
                      <a:pt x="3642" y="31273"/>
                    </a:moveTo>
                    <a:lnTo>
                      <a:pt x="52373" y="3140"/>
                    </a:lnTo>
                    <a:lnTo>
                      <a:pt x="62420" y="0"/>
                    </a:lnTo>
                    <a:lnTo>
                      <a:pt x="62420" y="1005"/>
                    </a:lnTo>
                    <a:lnTo>
                      <a:pt x="0" y="3705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5" name="Freeform: Shape 5094">
                <a:extLst>
                  <a:ext uri="{FF2B5EF4-FFF2-40B4-BE49-F238E27FC236}">
                    <a16:creationId xmlns:a16="http://schemas.microsoft.com/office/drawing/2014/main" id="{CF2DC2E4-5FE8-4FF4-85B6-96606A1FD89C}"/>
                  </a:ext>
                </a:extLst>
              </p:cNvPr>
              <p:cNvSpPr/>
              <p:nvPr/>
            </p:nvSpPr>
            <p:spPr>
              <a:xfrm>
                <a:off x="9340614" y="2433123"/>
                <a:ext cx="14820" cy="5902"/>
              </a:xfrm>
              <a:custGeom>
                <a:avLst/>
                <a:gdLst>
                  <a:gd name="connsiteX0" fmla="*/ 10047 w 14820"/>
                  <a:gd name="connsiteY0" fmla="*/ 0 h 5902"/>
                  <a:gd name="connsiteX1" fmla="*/ 0 w 14820"/>
                  <a:gd name="connsiteY1" fmla="*/ 3140 h 5902"/>
                  <a:gd name="connsiteX2" fmla="*/ 4773 w 14820"/>
                  <a:gd name="connsiteY2" fmla="*/ 5903 h 5902"/>
                  <a:gd name="connsiteX3" fmla="*/ 14820 w 14820"/>
                  <a:gd name="connsiteY3" fmla="*/ 2763 h 5902"/>
                </a:gdLst>
                <a:ahLst/>
                <a:cxnLst>
                  <a:cxn ang="0">
                    <a:pos x="connsiteX0" y="connsiteY0"/>
                  </a:cxn>
                  <a:cxn ang="0">
                    <a:pos x="connsiteX1" y="connsiteY1"/>
                  </a:cxn>
                  <a:cxn ang="0">
                    <a:pos x="connsiteX2" y="connsiteY2"/>
                  </a:cxn>
                  <a:cxn ang="0">
                    <a:pos x="connsiteX3" y="connsiteY3"/>
                  </a:cxn>
                </a:cxnLst>
                <a:rect l="l" t="t" r="r" b="b"/>
                <a:pathLst>
                  <a:path w="14820" h="5902">
                    <a:moveTo>
                      <a:pt x="10047" y="0"/>
                    </a:moveTo>
                    <a:lnTo>
                      <a:pt x="0" y="3140"/>
                    </a:lnTo>
                    <a:lnTo>
                      <a:pt x="4773" y="5903"/>
                    </a:lnTo>
                    <a:lnTo>
                      <a:pt x="14820" y="2763"/>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6" name="Freeform: Shape 5095">
                <a:extLst>
                  <a:ext uri="{FF2B5EF4-FFF2-40B4-BE49-F238E27FC236}">
                    <a16:creationId xmlns:a16="http://schemas.microsoft.com/office/drawing/2014/main" id="{3B7CFA03-A013-481A-9CBA-500B2096D3CA}"/>
                  </a:ext>
                </a:extLst>
              </p:cNvPr>
              <p:cNvSpPr/>
              <p:nvPr/>
            </p:nvSpPr>
            <p:spPr>
              <a:xfrm>
                <a:off x="9291758" y="2436263"/>
                <a:ext cx="53629" cy="31534"/>
              </a:xfrm>
              <a:custGeom>
                <a:avLst/>
                <a:gdLst>
                  <a:gd name="connsiteX0" fmla="*/ 48857 w 53629"/>
                  <a:gd name="connsiteY0" fmla="*/ 0 h 31534"/>
                  <a:gd name="connsiteX1" fmla="*/ 126 w 53629"/>
                  <a:gd name="connsiteY1" fmla="*/ 28133 h 31534"/>
                  <a:gd name="connsiteX2" fmla="*/ 0 w 53629"/>
                  <a:gd name="connsiteY2" fmla="*/ 28133 h 31534"/>
                  <a:gd name="connsiteX3" fmla="*/ 4898 w 53629"/>
                  <a:gd name="connsiteY3" fmla="*/ 30896 h 31534"/>
                  <a:gd name="connsiteX4" fmla="*/ 53629 w 53629"/>
                  <a:gd name="connsiteY4" fmla="*/ 2763 h 31534"/>
                  <a:gd name="connsiteX5" fmla="*/ 48857 w 53629"/>
                  <a:gd name="connsiteY5" fmla="*/ 0 h 3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29" h="31534">
                    <a:moveTo>
                      <a:pt x="48857" y="0"/>
                    </a:moveTo>
                    <a:lnTo>
                      <a:pt x="126" y="28133"/>
                    </a:lnTo>
                    <a:cubicBezTo>
                      <a:pt x="126" y="28133"/>
                      <a:pt x="126" y="28133"/>
                      <a:pt x="0" y="28133"/>
                    </a:cubicBezTo>
                    <a:cubicBezTo>
                      <a:pt x="0" y="31148"/>
                      <a:pt x="2261" y="32403"/>
                      <a:pt x="4898" y="30896"/>
                    </a:cubicBezTo>
                    <a:lnTo>
                      <a:pt x="53629" y="2763"/>
                    </a:lnTo>
                    <a:lnTo>
                      <a:pt x="48857"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97" name="Graphic 4">
              <a:extLst>
                <a:ext uri="{FF2B5EF4-FFF2-40B4-BE49-F238E27FC236}">
                  <a16:creationId xmlns:a16="http://schemas.microsoft.com/office/drawing/2014/main" id="{84FB7ED1-A2DF-40A1-A747-5F7CF3F14040}"/>
                </a:ext>
              </a:extLst>
            </p:cNvPr>
            <p:cNvGrpSpPr/>
            <p:nvPr/>
          </p:nvGrpSpPr>
          <p:grpSpPr>
            <a:xfrm>
              <a:off x="9259857" y="2414661"/>
              <a:ext cx="63550" cy="39813"/>
              <a:chOff x="9259857" y="2414661"/>
              <a:chExt cx="63550" cy="39813"/>
            </a:xfrm>
            <a:solidFill>
              <a:schemeClr val="accent1"/>
            </a:solidFill>
          </p:grpSpPr>
          <p:sp>
            <p:nvSpPr>
              <p:cNvPr id="5098" name="Freeform: Shape 5097">
                <a:extLst>
                  <a:ext uri="{FF2B5EF4-FFF2-40B4-BE49-F238E27FC236}">
                    <a16:creationId xmlns:a16="http://schemas.microsoft.com/office/drawing/2014/main" id="{11D34AA3-74D0-4032-9C39-F09B6CCA88A4}"/>
                  </a:ext>
                </a:extLst>
              </p:cNvPr>
              <p:cNvSpPr/>
              <p:nvPr/>
            </p:nvSpPr>
            <p:spPr>
              <a:xfrm>
                <a:off x="9261113" y="2417424"/>
                <a:ext cx="62295" cy="37050"/>
              </a:xfrm>
              <a:custGeom>
                <a:avLst/>
                <a:gdLst>
                  <a:gd name="connsiteX0" fmla="*/ 3643 w 62295"/>
                  <a:gd name="connsiteY0" fmla="*/ 31273 h 37050"/>
                  <a:gd name="connsiteX1" fmla="*/ 52373 w 62295"/>
                  <a:gd name="connsiteY1" fmla="*/ 3140 h 37050"/>
                  <a:gd name="connsiteX2" fmla="*/ 62295 w 62295"/>
                  <a:gd name="connsiteY2" fmla="*/ 0 h 37050"/>
                  <a:gd name="connsiteX3" fmla="*/ 62295 w 62295"/>
                  <a:gd name="connsiteY3" fmla="*/ 1005 h 37050"/>
                  <a:gd name="connsiteX4" fmla="*/ 0 w 62295"/>
                  <a:gd name="connsiteY4" fmla="*/ 37051 h 3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5" h="37050">
                    <a:moveTo>
                      <a:pt x="3643" y="31273"/>
                    </a:moveTo>
                    <a:lnTo>
                      <a:pt x="52373" y="3140"/>
                    </a:lnTo>
                    <a:lnTo>
                      <a:pt x="62295" y="0"/>
                    </a:lnTo>
                    <a:lnTo>
                      <a:pt x="62295" y="1005"/>
                    </a:lnTo>
                    <a:lnTo>
                      <a:pt x="0" y="37051"/>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9" name="Freeform: Shape 5098">
                <a:extLst>
                  <a:ext uri="{FF2B5EF4-FFF2-40B4-BE49-F238E27FC236}">
                    <a16:creationId xmlns:a16="http://schemas.microsoft.com/office/drawing/2014/main" id="{7549EF41-B54E-45C3-B3F3-F236B13529B0}"/>
                  </a:ext>
                </a:extLst>
              </p:cNvPr>
              <p:cNvSpPr/>
              <p:nvPr/>
            </p:nvSpPr>
            <p:spPr>
              <a:xfrm>
                <a:off x="9308714" y="2414661"/>
                <a:ext cx="14694" cy="5902"/>
              </a:xfrm>
              <a:custGeom>
                <a:avLst/>
                <a:gdLst>
                  <a:gd name="connsiteX0" fmla="*/ 9922 w 14694"/>
                  <a:gd name="connsiteY0" fmla="*/ 0 h 5902"/>
                  <a:gd name="connsiteX1" fmla="*/ 0 w 14694"/>
                  <a:gd name="connsiteY1" fmla="*/ 3140 h 5902"/>
                  <a:gd name="connsiteX2" fmla="*/ 4772 w 14694"/>
                  <a:gd name="connsiteY2" fmla="*/ 5903 h 5902"/>
                  <a:gd name="connsiteX3" fmla="*/ 14694 w 14694"/>
                  <a:gd name="connsiteY3" fmla="*/ 2763 h 5902"/>
                </a:gdLst>
                <a:ahLst/>
                <a:cxnLst>
                  <a:cxn ang="0">
                    <a:pos x="connsiteX0" y="connsiteY0"/>
                  </a:cxn>
                  <a:cxn ang="0">
                    <a:pos x="connsiteX1" y="connsiteY1"/>
                  </a:cxn>
                  <a:cxn ang="0">
                    <a:pos x="connsiteX2" y="connsiteY2"/>
                  </a:cxn>
                  <a:cxn ang="0">
                    <a:pos x="connsiteX3" y="connsiteY3"/>
                  </a:cxn>
                </a:cxnLst>
                <a:rect l="l" t="t" r="r" b="b"/>
                <a:pathLst>
                  <a:path w="14694" h="5902">
                    <a:moveTo>
                      <a:pt x="9922" y="0"/>
                    </a:moveTo>
                    <a:lnTo>
                      <a:pt x="0" y="3140"/>
                    </a:lnTo>
                    <a:lnTo>
                      <a:pt x="4772" y="5903"/>
                    </a:lnTo>
                    <a:lnTo>
                      <a:pt x="14694" y="2763"/>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0" name="Freeform: Shape 5099">
                <a:extLst>
                  <a:ext uri="{FF2B5EF4-FFF2-40B4-BE49-F238E27FC236}">
                    <a16:creationId xmlns:a16="http://schemas.microsoft.com/office/drawing/2014/main" id="{95D6F50B-9D86-4EC4-9FE1-26A4160EB8B4}"/>
                  </a:ext>
                </a:extLst>
              </p:cNvPr>
              <p:cNvSpPr/>
              <p:nvPr/>
            </p:nvSpPr>
            <p:spPr>
              <a:xfrm>
                <a:off x="9259857" y="2417801"/>
                <a:ext cx="53628" cy="31534"/>
              </a:xfrm>
              <a:custGeom>
                <a:avLst/>
                <a:gdLst>
                  <a:gd name="connsiteX0" fmla="*/ 48857 w 53628"/>
                  <a:gd name="connsiteY0" fmla="*/ 0 h 31534"/>
                  <a:gd name="connsiteX1" fmla="*/ 126 w 53628"/>
                  <a:gd name="connsiteY1" fmla="*/ 28133 h 31534"/>
                  <a:gd name="connsiteX2" fmla="*/ 0 w 53628"/>
                  <a:gd name="connsiteY2" fmla="*/ 28133 h 31534"/>
                  <a:gd name="connsiteX3" fmla="*/ 4898 w 53628"/>
                  <a:gd name="connsiteY3" fmla="*/ 30896 h 31534"/>
                  <a:gd name="connsiteX4" fmla="*/ 53628 w 53628"/>
                  <a:gd name="connsiteY4" fmla="*/ 2763 h 31534"/>
                  <a:gd name="connsiteX5" fmla="*/ 48857 w 53628"/>
                  <a:gd name="connsiteY5" fmla="*/ 0 h 3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28" h="31534">
                    <a:moveTo>
                      <a:pt x="48857" y="0"/>
                    </a:moveTo>
                    <a:lnTo>
                      <a:pt x="126" y="28133"/>
                    </a:lnTo>
                    <a:cubicBezTo>
                      <a:pt x="126" y="28133"/>
                      <a:pt x="126" y="28133"/>
                      <a:pt x="0" y="28133"/>
                    </a:cubicBezTo>
                    <a:cubicBezTo>
                      <a:pt x="0" y="31148"/>
                      <a:pt x="2261" y="32403"/>
                      <a:pt x="4898" y="30896"/>
                    </a:cubicBezTo>
                    <a:lnTo>
                      <a:pt x="53628" y="2763"/>
                    </a:lnTo>
                    <a:lnTo>
                      <a:pt x="48857"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01" name="Graphic 4">
              <a:extLst>
                <a:ext uri="{FF2B5EF4-FFF2-40B4-BE49-F238E27FC236}">
                  <a16:creationId xmlns:a16="http://schemas.microsoft.com/office/drawing/2014/main" id="{84FB7ED1-A2DF-40A1-A747-5F7CF3F14040}"/>
                </a:ext>
              </a:extLst>
            </p:cNvPr>
            <p:cNvGrpSpPr/>
            <p:nvPr/>
          </p:nvGrpSpPr>
          <p:grpSpPr>
            <a:xfrm>
              <a:off x="9237752" y="2332145"/>
              <a:ext cx="169175" cy="151467"/>
              <a:chOff x="9237752" y="2332145"/>
              <a:chExt cx="169175" cy="151467"/>
            </a:xfrm>
            <a:solidFill>
              <a:schemeClr val="accent1"/>
            </a:solidFill>
          </p:grpSpPr>
          <p:grpSp>
            <p:nvGrpSpPr>
              <p:cNvPr id="5102" name="Graphic 4">
                <a:extLst>
                  <a:ext uri="{FF2B5EF4-FFF2-40B4-BE49-F238E27FC236}">
                    <a16:creationId xmlns:a16="http://schemas.microsoft.com/office/drawing/2014/main" id="{84FB7ED1-A2DF-40A1-A747-5F7CF3F14040}"/>
                  </a:ext>
                </a:extLst>
              </p:cNvPr>
              <p:cNvGrpSpPr/>
              <p:nvPr/>
            </p:nvGrpSpPr>
            <p:grpSpPr>
              <a:xfrm>
                <a:off x="9237752" y="2374345"/>
                <a:ext cx="169175" cy="109267"/>
                <a:chOff x="9237752" y="2374345"/>
                <a:chExt cx="169175" cy="109267"/>
              </a:xfrm>
              <a:solidFill>
                <a:schemeClr val="accent1"/>
              </a:solidFill>
            </p:grpSpPr>
            <p:grpSp>
              <p:nvGrpSpPr>
                <p:cNvPr id="5103" name="Graphic 4">
                  <a:extLst>
                    <a:ext uri="{FF2B5EF4-FFF2-40B4-BE49-F238E27FC236}">
                      <a16:creationId xmlns:a16="http://schemas.microsoft.com/office/drawing/2014/main" id="{84FB7ED1-A2DF-40A1-A747-5F7CF3F14040}"/>
                    </a:ext>
                  </a:extLst>
                </p:cNvPr>
                <p:cNvGrpSpPr/>
                <p:nvPr/>
              </p:nvGrpSpPr>
              <p:grpSpPr>
                <a:xfrm>
                  <a:off x="9237752" y="2377108"/>
                  <a:ext cx="169175" cy="97712"/>
                  <a:chOff x="9237752" y="2377108"/>
                  <a:chExt cx="169175" cy="97712"/>
                </a:xfrm>
                <a:solidFill>
                  <a:srgbClr val="CC9545"/>
                </a:solidFill>
              </p:grpSpPr>
              <p:sp>
                <p:nvSpPr>
                  <p:cNvPr id="5104" name="Freeform: Shape 5103">
                    <a:extLst>
                      <a:ext uri="{FF2B5EF4-FFF2-40B4-BE49-F238E27FC236}">
                        <a16:creationId xmlns:a16="http://schemas.microsoft.com/office/drawing/2014/main" id="{F2B65EDC-FC61-4F5C-B8A2-70FA88CC6AA4}"/>
                      </a:ext>
                    </a:extLst>
                  </p:cNvPr>
                  <p:cNvSpPr/>
                  <p:nvPr/>
                </p:nvSpPr>
                <p:spPr>
                  <a:xfrm>
                    <a:off x="9237752" y="2377108"/>
                    <a:ext cx="90804" cy="52498"/>
                  </a:xfrm>
                  <a:custGeom>
                    <a:avLst/>
                    <a:gdLst>
                      <a:gd name="connsiteX0" fmla="*/ 7033 w 90804"/>
                      <a:gd name="connsiteY0" fmla="*/ 52499 h 52498"/>
                      <a:gd name="connsiteX1" fmla="*/ 0 w 90804"/>
                      <a:gd name="connsiteY1" fmla="*/ 48354 h 52498"/>
                      <a:gd name="connsiteX2" fmla="*/ 83772 w 90804"/>
                      <a:gd name="connsiteY2" fmla="*/ 0 h 52498"/>
                      <a:gd name="connsiteX3" fmla="*/ 90805 w 90804"/>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804" h="52498">
                        <a:moveTo>
                          <a:pt x="7033" y="52499"/>
                        </a:moveTo>
                        <a:lnTo>
                          <a:pt x="0" y="48354"/>
                        </a:lnTo>
                        <a:lnTo>
                          <a:pt x="83772" y="0"/>
                        </a:lnTo>
                        <a:lnTo>
                          <a:pt x="90805"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5" name="Freeform: Shape 5104">
                    <a:extLst>
                      <a:ext uri="{FF2B5EF4-FFF2-40B4-BE49-F238E27FC236}">
                        <a16:creationId xmlns:a16="http://schemas.microsoft.com/office/drawing/2014/main" id="{81176F5A-FD99-415E-A9DB-927B8438CBF6}"/>
                      </a:ext>
                    </a:extLst>
                  </p:cNvPr>
                  <p:cNvSpPr/>
                  <p:nvPr/>
                </p:nvSpPr>
                <p:spPr>
                  <a:xfrm>
                    <a:off x="9315998" y="2422322"/>
                    <a:ext cx="90930" cy="52498"/>
                  </a:xfrm>
                  <a:custGeom>
                    <a:avLst/>
                    <a:gdLst>
                      <a:gd name="connsiteX0" fmla="*/ 7159 w 90930"/>
                      <a:gd name="connsiteY0" fmla="*/ 52499 h 52498"/>
                      <a:gd name="connsiteX1" fmla="*/ 0 w 90930"/>
                      <a:gd name="connsiteY1" fmla="*/ 48354 h 52498"/>
                      <a:gd name="connsiteX2" fmla="*/ 83772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772" y="0"/>
                        </a:lnTo>
                        <a:lnTo>
                          <a:pt x="90931"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6" name="Freeform: Shape 5105">
                    <a:extLst>
                      <a:ext uri="{FF2B5EF4-FFF2-40B4-BE49-F238E27FC236}">
                        <a16:creationId xmlns:a16="http://schemas.microsoft.com/office/drawing/2014/main" id="{5685586D-EECF-4A96-969D-4B52361D9836}"/>
                      </a:ext>
                    </a:extLst>
                  </p:cNvPr>
                  <p:cNvSpPr/>
                  <p:nvPr/>
                </p:nvSpPr>
                <p:spPr>
                  <a:xfrm>
                    <a:off x="9276812" y="2399715"/>
                    <a:ext cx="90930" cy="52498"/>
                  </a:xfrm>
                  <a:custGeom>
                    <a:avLst/>
                    <a:gdLst>
                      <a:gd name="connsiteX0" fmla="*/ 7159 w 90930"/>
                      <a:gd name="connsiteY0" fmla="*/ 52499 h 52498"/>
                      <a:gd name="connsiteX1" fmla="*/ 0 w 90930"/>
                      <a:gd name="connsiteY1" fmla="*/ 48354 h 52498"/>
                      <a:gd name="connsiteX2" fmla="*/ 83897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897" y="0"/>
                        </a:lnTo>
                        <a:lnTo>
                          <a:pt x="90931"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07" name="Freeform: Shape 5106">
                  <a:extLst>
                    <a:ext uri="{FF2B5EF4-FFF2-40B4-BE49-F238E27FC236}">
                      <a16:creationId xmlns:a16="http://schemas.microsoft.com/office/drawing/2014/main" id="{892077DC-94CA-46B9-A0E7-12CD7D64C177}"/>
                    </a:ext>
                  </a:extLst>
                </p:cNvPr>
                <p:cNvSpPr/>
                <p:nvPr/>
              </p:nvSpPr>
              <p:spPr>
                <a:xfrm>
                  <a:off x="9244786" y="2381252"/>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8" name="Freeform: Shape 5107">
                  <a:extLst>
                    <a:ext uri="{FF2B5EF4-FFF2-40B4-BE49-F238E27FC236}">
                      <a16:creationId xmlns:a16="http://schemas.microsoft.com/office/drawing/2014/main" id="{97E48F3B-D305-41FE-901B-5612630DB444}"/>
                    </a:ext>
                  </a:extLst>
                </p:cNvPr>
                <p:cNvSpPr/>
                <p:nvPr/>
              </p:nvSpPr>
              <p:spPr>
                <a:xfrm>
                  <a:off x="9315998" y="2470676"/>
                  <a:ext cx="7158" cy="12936"/>
                </a:xfrm>
                <a:custGeom>
                  <a:avLst/>
                  <a:gdLst>
                    <a:gd name="connsiteX0" fmla="*/ 7159 w 7158"/>
                    <a:gd name="connsiteY0" fmla="*/ 12936 h 12936"/>
                    <a:gd name="connsiteX1" fmla="*/ 0 w 7158"/>
                    <a:gd name="connsiteY1" fmla="*/ 8792 h 12936"/>
                    <a:gd name="connsiteX2" fmla="*/ 0 w 7158"/>
                    <a:gd name="connsiteY2" fmla="*/ 0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7159" y="12936"/>
                      </a:moveTo>
                      <a:lnTo>
                        <a:pt x="0" y="8792"/>
                      </a:lnTo>
                      <a:lnTo>
                        <a:pt x="0" y="0"/>
                      </a:lnTo>
                      <a:lnTo>
                        <a:pt x="7159" y="4145"/>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9" name="Freeform: Shape 5108">
                  <a:extLst>
                    <a:ext uri="{FF2B5EF4-FFF2-40B4-BE49-F238E27FC236}">
                      <a16:creationId xmlns:a16="http://schemas.microsoft.com/office/drawing/2014/main" id="{514138C3-2F7D-484B-9C36-18759C0EF900}"/>
                    </a:ext>
                  </a:extLst>
                </p:cNvPr>
                <p:cNvSpPr/>
                <p:nvPr/>
              </p:nvSpPr>
              <p:spPr>
                <a:xfrm>
                  <a:off x="9323157" y="2426467"/>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0" name="Freeform: Shape 5109">
                  <a:extLst>
                    <a:ext uri="{FF2B5EF4-FFF2-40B4-BE49-F238E27FC236}">
                      <a16:creationId xmlns:a16="http://schemas.microsoft.com/office/drawing/2014/main" id="{00D11977-FD8E-49F1-A9B9-5295CB245C77}"/>
                    </a:ext>
                  </a:extLst>
                </p:cNvPr>
                <p:cNvSpPr/>
                <p:nvPr/>
              </p:nvSpPr>
              <p:spPr>
                <a:xfrm>
                  <a:off x="9283971" y="2403859"/>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11" name="Graphic 4">
                  <a:extLst>
                    <a:ext uri="{FF2B5EF4-FFF2-40B4-BE49-F238E27FC236}">
                      <a16:creationId xmlns:a16="http://schemas.microsoft.com/office/drawing/2014/main" id="{84FB7ED1-A2DF-40A1-A747-5F7CF3F14040}"/>
                    </a:ext>
                  </a:extLst>
                </p:cNvPr>
                <p:cNvGrpSpPr/>
                <p:nvPr/>
              </p:nvGrpSpPr>
              <p:grpSpPr>
                <a:xfrm>
                  <a:off x="9237752" y="2415540"/>
                  <a:ext cx="97838" cy="59280"/>
                  <a:chOff x="9237752" y="2415540"/>
                  <a:chExt cx="97838" cy="59280"/>
                </a:xfrm>
                <a:solidFill>
                  <a:schemeClr val="accent1"/>
                </a:solidFill>
              </p:grpSpPr>
              <p:sp>
                <p:nvSpPr>
                  <p:cNvPr id="5112" name="Freeform: Shape 5111">
                    <a:extLst>
                      <a:ext uri="{FF2B5EF4-FFF2-40B4-BE49-F238E27FC236}">
                        <a16:creationId xmlns:a16="http://schemas.microsoft.com/office/drawing/2014/main" id="{5F089CCD-7E62-481F-9FA4-4A12EB6C9EF4}"/>
                      </a:ext>
                    </a:extLst>
                  </p:cNvPr>
                  <p:cNvSpPr/>
                  <p:nvPr/>
                </p:nvSpPr>
                <p:spPr>
                  <a:xfrm>
                    <a:off x="9237752" y="2415540"/>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308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308"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3" name="Freeform: Shape 5112">
                    <a:extLst>
                      <a:ext uri="{FF2B5EF4-FFF2-40B4-BE49-F238E27FC236}">
                        <a16:creationId xmlns:a16="http://schemas.microsoft.com/office/drawing/2014/main" id="{2F0C5F8D-2042-4A1D-8A9E-C1EBCD5D2DB9}"/>
                      </a:ext>
                    </a:extLst>
                  </p:cNvPr>
                  <p:cNvSpPr/>
                  <p:nvPr/>
                </p:nvSpPr>
                <p:spPr>
                  <a:xfrm>
                    <a:off x="9237752" y="2422699"/>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4" name="Freeform: Shape 5113">
                    <a:extLst>
                      <a:ext uri="{FF2B5EF4-FFF2-40B4-BE49-F238E27FC236}">
                        <a16:creationId xmlns:a16="http://schemas.microsoft.com/office/drawing/2014/main" id="{0C0FCAC8-E59E-4209-997B-18271130B481}"/>
                      </a:ext>
                    </a:extLst>
                  </p:cNvPr>
                  <p:cNvSpPr/>
                  <p:nvPr/>
                </p:nvSpPr>
                <p:spPr>
                  <a:xfrm>
                    <a:off x="9323157" y="2464899"/>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15" name="Graphic 4">
                  <a:extLst>
                    <a:ext uri="{FF2B5EF4-FFF2-40B4-BE49-F238E27FC236}">
                      <a16:creationId xmlns:a16="http://schemas.microsoft.com/office/drawing/2014/main" id="{84FB7ED1-A2DF-40A1-A747-5F7CF3F14040}"/>
                    </a:ext>
                  </a:extLst>
                </p:cNvPr>
                <p:cNvGrpSpPr/>
                <p:nvPr/>
              </p:nvGrpSpPr>
              <p:grpSpPr>
                <a:xfrm>
                  <a:off x="9255587" y="2405241"/>
                  <a:ext cx="97838" cy="59280"/>
                  <a:chOff x="9255587" y="2405241"/>
                  <a:chExt cx="97838" cy="59280"/>
                </a:xfrm>
                <a:solidFill>
                  <a:schemeClr val="accent1"/>
                </a:solidFill>
              </p:grpSpPr>
              <p:sp>
                <p:nvSpPr>
                  <p:cNvPr id="5116" name="Freeform: Shape 5115">
                    <a:extLst>
                      <a:ext uri="{FF2B5EF4-FFF2-40B4-BE49-F238E27FC236}">
                        <a16:creationId xmlns:a16="http://schemas.microsoft.com/office/drawing/2014/main" id="{77686736-9DA3-4D7F-BBAF-D6E51444CBA7}"/>
                      </a:ext>
                    </a:extLst>
                  </p:cNvPr>
                  <p:cNvSpPr/>
                  <p:nvPr/>
                </p:nvSpPr>
                <p:spPr>
                  <a:xfrm>
                    <a:off x="9255587" y="2405241"/>
                    <a:ext cx="97838" cy="56517"/>
                  </a:xfrm>
                  <a:custGeom>
                    <a:avLst/>
                    <a:gdLst>
                      <a:gd name="connsiteX0" fmla="*/ 97839 w 97838"/>
                      <a:gd name="connsiteY0" fmla="*/ 49359 h 56517"/>
                      <a:gd name="connsiteX1" fmla="*/ 85404 w 97838"/>
                      <a:gd name="connsiteY1" fmla="*/ 56518 h 56517"/>
                      <a:gd name="connsiteX2" fmla="*/ 0 w 97838"/>
                      <a:gd name="connsiteY2" fmla="*/ 7159 h 56517"/>
                      <a:gd name="connsiteX3" fmla="*/ 12309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4" y="56518"/>
                        </a:lnTo>
                        <a:lnTo>
                          <a:pt x="0" y="7159"/>
                        </a:lnTo>
                        <a:lnTo>
                          <a:pt x="1230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7" name="Freeform: Shape 5116">
                    <a:extLst>
                      <a:ext uri="{FF2B5EF4-FFF2-40B4-BE49-F238E27FC236}">
                        <a16:creationId xmlns:a16="http://schemas.microsoft.com/office/drawing/2014/main" id="{08BD61CB-4C6F-45DB-A4AA-F290D4EFCD53}"/>
                      </a:ext>
                    </a:extLst>
                  </p:cNvPr>
                  <p:cNvSpPr/>
                  <p:nvPr/>
                </p:nvSpPr>
                <p:spPr>
                  <a:xfrm>
                    <a:off x="9255587" y="2412400"/>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8" name="Freeform: Shape 5117">
                    <a:extLst>
                      <a:ext uri="{FF2B5EF4-FFF2-40B4-BE49-F238E27FC236}">
                        <a16:creationId xmlns:a16="http://schemas.microsoft.com/office/drawing/2014/main" id="{1652F950-BF0B-4DDF-9C77-C60D9998F48A}"/>
                      </a:ext>
                    </a:extLst>
                  </p:cNvPr>
                  <p:cNvSpPr/>
                  <p:nvPr/>
                </p:nvSpPr>
                <p:spPr>
                  <a:xfrm>
                    <a:off x="9340991" y="2454600"/>
                    <a:ext cx="12434" cy="9921"/>
                  </a:xfrm>
                  <a:custGeom>
                    <a:avLst/>
                    <a:gdLst>
                      <a:gd name="connsiteX0" fmla="*/ 0 w 12434"/>
                      <a:gd name="connsiteY0" fmla="*/ 7159 h 9921"/>
                      <a:gd name="connsiteX1" fmla="*/ 0 w 12434"/>
                      <a:gd name="connsiteY1" fmla="*/ 9922 h 9921"/>
                      <a:gd name="connsiteX2" fmla="*/ 12435 w 12434"/>
                      <a:gd name="connsiteY2" fmla="*/ 2763 h 9921"/>
                      <a:gd name="connsiteX3" fmla="*/ 12435 w 12434"/>
                      <a:gd name="connsiteY3" fmla="*/ 0 h 9921"/>
                    </a:gdLst>
                    <a:ahLst/>
                    <a:cxnLst>
                      <a:cxn ang="0">
                        <a:pos x="connsiteX0" y="connsiteY0"/>
                      </a:cxn>
                      <a:cxn ang="0">
                        <a:pos x="connsiteX1" y="connsiteY1"/>
                      </a:cxn>
                      <a:cxn ang="0">
                        <a:pos x="connsiteX2" y="connsiteY2"/>
                      </a:cxn>
                      <a:cxn ang="0">
                        <a:pos x="connsiteX3" y="connsiteY3"/>
                      </a:cxn>
                    </a:cxnLst>
                    <a:rect l="l" t="t" r="r" b="b"/>
                    <a:pathLst>
                      <a:path w="12434" h="9921">
                        <a:moveTo>
                          <a:pt x="0" y="7159"/>
                        </a:moveTo>
                        <a:lnTo>
                          <a:pt x="0" y="9922"/>
                        </a:lnTo>
                        <a:lnTo>
                          <a:pt x="12435" y="2763"/>
                        </a:lnTo>
                        <a:lnTo>
                          <a:pt x="12435"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19" name="Graphic 4">
                  <a:extLst>
                    <a:ext uri="{FF2B5EF4-FFF2-40B4-BE49-F238E27FC236}">
                      <a16:creationId xmlns:a16="http://schemas.microsoft.com/office/drawing/2014/main" id="{84FB7ED1-A2DF-40A1-A747-5F7CF3F14040}"/>
                    </a:ext>
                  </a:extLst>
                </p:cNvPr>
                <p:cNvGrpSpPr/>
                <p:nvPr/>
              </p:nvGrpSpPr>
              <p:grpSpPr>
                <a:xfrm>
                  <a:off x="9273422" y="2394942"/>
                  <a:ext cx="97838" cy="59280"/>
                  <a:chOff x="9273422" y="2394942"/>
                  <a:chExt cx="97838" cy="59280"/>
                </a:xfrm>
                <a:solidFill>
                  <a:schemeClr val="accent1"/>
                </a:solidFill>
              </p:grpSpPr>
              <p:sp>
                <p:nvSpPr>
                  <p:cNvPr id="5120" name="Freeform: Shape 5119">
                    <a:extLst>
                      <a:ext uri="{FF2B5EF4-FFF2-40B4-BE49-F238E27FC236}">
                        <a16:creationId xmlns:a16="http://schemas.microsoft.com/office/drawing/2014/main" id="{BB3D8292-8308-41EE-8D9B-6FC541BBD07B}"/>
                      </a:ext>
                    </a:extLst>
                  </p:cNvPr>
                  <p:cNvSpPr/>
                  <p:nvPr/>
                </p:nvSpPr>
                <p:spPr>
                  <a:xfrm>
                    <a:off x="9273422" y="2394942"/>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1" name="Freeform: Shape 5120">
                    <a:extLst>
                      <a:ext uri="{FF2B5EF4-FFF2-40B4-BE49-F238E27FC236}">
                        <a16:creationId xmlns:a16="http://schemas.microsoft.com/office/drawing/2014/main" id="{B35C26EC-02C0-465F-B248-F174204B1DB8}"/>
                      </a:ext>
                    </a:extLst>
                  </p:cNvPr>
                  <p:cNvSpPr/>
                  <p:nvPr/>
                </p:nvSpPr>
                <p:spPr>
                  <a:xfrm>
                    <a:off x="9273422" y="2402101"/>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2" name="Freeform: Shape 5121">
                    <a:extLst>
                      <a:ext uri="{FF2B5EF4-FFF2-40B4-BE49-F238E27FC236}">
                        <a16:creationId xmlns:a16="http://schemas.microsoft.com/office/drawing/2014/main" id="{17A8963D-8246-4591-BF49-7E357EB78748}"/>
                      </a:ext>
                    </a:extLst>
                  </p:cNvPr>
                  <p:cNvSpPr/>
                  <p:nvPr/>
                </p:nvSpPr>
                <p:spPr>
                  <a:xfrm>
                    <a:off x="9358826" y="2444301"/>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23" name="Graphic 4">
                  <a:extLst>
                    <a:ext uri="{FF2B5EF4-FFF2-40B4-BE49-F238E27FC236}">
                      <a16:creationId xmlns:a16="http://schemas.microsoft.com/office/drawing/2014/main" id="{84FB7ED1-A2DF-40A1-A747-5F7CF3F14040}"/>
                    </a:ext>
                  </a:extLst>
                </p:cNvPr>
                <p:cNvGrpSpPr/>
                <p:nvPr/>
              </p:nvGrpSpPr>
              <p:grpSpPr>
                <a:xfrm>
                  <a:off x="9291256" y="2384643"/>
                  <a:ext cx="97838" cy="59280"/>
                  <a:chOff x="9291256" y="2384643"/>
                  <a:chExt cx="97838" cy="59280"/>
                </a:xfrm>
                <a:solidFill>
                  <a:schemeClr val="accent1"/>
                </a:solidFill>
              </p:grpSpPr>
              <p:sp>
                <p:nvSpPr>
                  <p:cNvPr id="5124" name="Freeform: Shape 5123">
                    <a:extLst>
                      <a:ext uri="{FF2B5EF4-FFF2-40B4-BE49-F238E27FC236}">
                        <a16:creationId xmlns:a16="http://schemas.microsoft.com/office/drawing/2014/main" id="{BFDC2498-530A-47D4-AF56-BDC0766A8876}"/>
                      </a:ext>
                    </a:extLst>
                  </p:cNvPr>
                  <p:cNvSpPr/>
                  <p:nvPr/>
                </p:nvSpPr>
                <p:spPr>
                  <a:xfrm>
                    <a:off x="9291256" y="2384643"/>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5" name="Freeform: Shape 5124">
                    <a:extLst>
                      <a:ext uri="{FF2B5EF4-FFF2-40B4-BE49-F238E27FC236}">
                        <a16:creationId xmlns:a16="http://schemas.microsoft.com/office/drawing/2014/main" id="{F3803AF8-3634-4096-BA1D-5200D9C12AA2}"/>
                      </a:ext>
                    </a:extLst>
                  </p:cNvPr>
                  <p:cNvSpPr/>
                  <p:nvPr/>
                </p:nvSpPr>
                <p:spPr>
                  <a:xfrm>
                    <a:off x="9291256" y="2391802"/>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6" name="Freeform: Shape 5125">
                    <a:extLst>
                      <a:ext uri="{FF2B5EF4-FFF2-40B4-BE49-F238E27FC236}">
                        <a16:creationId xmlns:a16="http://schemas.microsoft.com/office/drawing/2014/main" id="{D3165F46-C92F-42C5-AB2A-7BBEF37C81AA}"/>
                      </a:ext>
                    </a:extLst>
                  </p:cNvPr>
                  <p:cNvSpPr/>
                  <p:nvPr/>
                </p:nvSpPr>
                <p:spPr>
                  <a:xfrm>
                    <a:off x="9376660" y="2434002"/>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27" name="Graphic 4">
                  <a:extLst>
                    <a:ext uri="{FF2B5EF4-FFF2-40B4-BE49-F238E27FC236}">
                      <a16:creationId xmlns:a16="http://schemas.microsoft.com/office/drawing/2014/main" id="{84FB7ED1-A2DF-40A1-A747-5F7CF3F14040}"/>
                    </a:ext>
                  </a:extLst>
                </p:cNvPr>
                <p:cNvGrpSpPr/>
                <p:nvPr/>
              </p:nvGrpSpPr>
              <p:grpSpPr>
                <a:xfrm>
                  <a:off x="9309090" y="2374345"/>
                  <a:ext cx="97838" cy="59280"/>
                  <a:chOff x="9309090" y="2374345"/>
                  <a:chExt cx="97838" cy="59280"/>
                </a:xfrm>
                <a:solidFill>
                  <a:schemeClr val="accent1"/>
                </a:solidFill>
              </p:grpSpPr>
              <p:sp>
                <p:nvSpPr>
                  <p:cNvPr id="5128" name="Freeform: Shape 5127">
                    <a:extLst>
                      <a:ext uri="{FF2B5EF4-FFF2-40B4-BE49-F238E27FC236}">
                        <a16:creationId xmlns:a16="http://schemas.microsoft.com/office/drawing/2014/main" id="{2BE699E9-1FA4-4BD8-891F-B9DD415A92CC}"/>
                      </a:ext>
                    </a:extLst>
                  </p:cNvPr>
                  <p:cNvSpPr/>
                  <p:nvPr/>
                </p:nvSpPr>
                <p:spPr>
                  <a:xfrm>
                    <a:off x="9309090" y="2374345"/>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9" name="Freeform: Shape 5128">
                    <a:extLst>
                      <a:ext uri="{FF2B5EF4-FFF2-40B4-BE49-F238E27FC236}">
                        <a16:creationId xmlns:a16="http://schemas.microsoft.com/office/drawing/2014/main" id="{A58702F5-00E5-4F49-9AC3-1FF51129F0F7}"/>
                      </a:ext>
                    </a:extLst>
                  </p:cNvPr>
                  <p:cNvSpPr/>
                  <p:nvPr/>
                </p:nvSpPr>
                <p:spPr>
                  <a:xfrm>
                    <a:off x="9309090" y="2381504"/>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30" name="Freeform: Shape 5129">
                    <a:extLst>
                      <a:ext uri="{FF2B5EF4-FFF2-40B4-BE49-F238E27FC236}">
                        <a16:creationId xmlns:a16="http://schemas.microsoft.com/office/drawing/2014/main" id="{D66AFBF9-AFA9-4F75-9765-2A2C3B9BEE58}"/>
                      </a:ext>
                    </a:extLst>
                  </p:cNvPr>
                  <p:cNvSpPr/>
                  <p:nvPr/>
                </p:nvSpPr>
                <p:spPr>
                  <a:xfrm>
                    <a:off x="9394494" y="2423703"/>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31" name="Freeform: Shape 5130">
                  <a:extLst>
                    <a:ext uri="{FF2B5EF4-FFF2-40B4-BE49-F238E27FC236}">
                      <a16:creationId xmlns:a16="http://schemas.microsoft.com/office/drawing/2014/main" id="{806CDF58-C560-4268-978B-FB246EE787A2}"/>
                    </a:ext>
                  </a:extLst>
                </p:cNvPr>
                <p:cNvSpPr/>
                <p:nvPr/>
              </p:nvSpPr>
              <p:spPr>
                <a:xfrm>
                  <a:off x="9237752" y="2425462"/>
                  <a:ext cx="7033" cy="12936"/>
                </a:xfrm>
                <a:custGeom>
                  <a:avLst/>
                  <a:gdLst>
                    <a:gd name="connsiteX0" fmla="*/ 0 w 7033"/>
                    <a:gd name="connsiteY0" fmla="*/ 0 h 12936"/>
                    <a:gd name="connsiteX1" fmla="*/ 0 w 7033"/>
                    <a:gd name="connsiteY1" fmla="*/ 8792 h 12936"/>
                    <a:gd name="connsiteX2" fmla="*/ 7033 w 7033"/>
                    <a:gd name="connsiteY2" fmla="*/ 12936 h 12936"/>
                    <a:gd name="connsiteX3" fmla="*/ 7033 w 7033"/>
                    <a:gd name="connsiteY3" fmla="*/ 4145 h 12936"/>
                  </a:gdLst>
                  <a:ahLst/>
                  <a:cxnLst>
                    <a:cxn ang="0">
                      <a:pos x="connsiteX0" y="connsiteY0"/>
                    </a:cxn>
                    <a:cxn ang="0">
                      <a:pos x="connsiteX1" y="connsiteY1"/>
                    </a:cxn>
                    <a:cxn ang="0">
                      <a:pos x="connsiteX2" y="connsiteY2"/>
                    </a:cxn>
                    <a:cxn ang="0">
                      <a:pos x="connsiteX3" y="connsiteY3"/>
                    </a:cxn>
                  </a:cxnLst>
                  <a:rect l="l" t="t" r="r" b="b"/>
                  <a:pathLst>
                    <a:path w="7033" h="12936">
                      <a:moveTo>
                        <a:pt x="0" y="0"/>
                      </a:moveTo>
                      <a:lnTo>
                        <a:pt x="0" y="8792"/>
                      </a:lnTo>
                      <a:lnTo>
                        <a:pt x="7033" y="12936"/>
                      </a:lnTo>
                      <a:lnTo>
                        <a:pt x="7033" y="4145"/>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32" name="Freeform: Shape 5131">
                  <a:extLst>
                    <a:ext uri="{FF2B5EF4-FFF2-40B4-BE49-F238E27FC236}">
                      <a16:creationId xmlns:a16="http://schemas.microsoft.com/office/drawing/2014/main" id="{20E15AF5-0D28-44F0-889D-FDE388161A94}"/>
                    </a:ext>
                  </a:extLst>
                </p:cNvPr>
                <p:cNvSpPr/>
                <p:nvPr/>
              </p:nvSpPr>
              <p:spPr>
                <a:xfrm>
                  <a:off x="9276812" y="2448069"/>
                  <a:ext cx="7158" cy="12936"/>
                </a:xfrm>
                <a:custGeom>
                  <a:avLst/>
                  <a:gdLst>
                    <a:gd name="connsiteX0" fmla="*/ 0 w 7158"/>
                    <a:gd name="connsiteY0" fmla="*/ 0 h 12936"/>
                    <a:gd name="connsiteX1" fmla="*/ 0 w 7158"/>
                    <a:gd name="connsiteY1" fmla="*/ 8792 h 12936"/>
                    <a:gd name="connsiteX2" fmla="*/ 7159 w 7158"/>
                    <a:gd name="connsiteY2" fmla="*/ 12936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0" y="0"/>
                      </a:moveTo>
                      <a:lnTo>
                        <a:pt x="0" y="8792"/>
                      </a:lnTo>
                      <a:lnTo>
                        <a:pt x="7159" y="12936"/>
                      </a:lnTo>
                      <a:lnTo>
                        <a:pt x="7159" y="4145"/>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33" name="Graphic 4">
                <a:extLst>
                  <a:ext uri="{FF2B5EF4-FFF2-40B4-BE49-F238E27FC236}">
                    <a16:creationId xmlns:a16="http://schemas.microsoft.com/office/drawing/2014/main" id="{84FB7ED1-A2DF-40A1-A747-5F7CF3F14040}"/>
                  </a:ext>
                </a:extLst>
              </p:cNvPr>
              <p:cNvGrpSpPr/>
              <p:nvPr/>
            </p:nvGrpSpPr>
            <p:grpSpPr>
              <a:xfrm>
                <a:off x="9243278" y="2332145"/>
                <a:ext cx="159128" cy="136395"/>
                <a:chOff x="9243278" y="2332145"/>
                <a:chExt cx="159128" cy="136395"/>
              </a:xfrm>
              <a:solidFill>
                <a:schemeClr val="accent1"/>
              </a:solidFill>
            </p:grpSpPr>
            <p:grpSp>
              <p:nvGrpSpPr>
                <p:cNvPr id="5134" name="Graphic 4">
                  <a:extLst>
                    <a:ext uri="{FF2B5EF4-FFF2-40B4-BE49-F238E27FC236}">
                      <a16:creationId xmlns:a16="http://schemas.microsoft.com/office/drawing/2014/main" id="{84FB7ED1-A2DF-40A1-A747-5F7CF3F14040}"/>
                    </a:ext>
                  </a:extLst>
                </p:cNvPr>
                <p:cNvGrpSpPr/>
                <p:nvPr/>
              </p:nvGrpSpPr>
              <p:grpSpPr>
                <a:xfrm>
                  <a:off x="9284348" y="2332145"/>
                  <a:ext cx="77114" cy="89046"/>
                  <a:chOff x="9284348" y="2332145"/>
                  <a:chExt cx="77114" cy="89046"/>
                </a:xfrm>
                <a:solidFill>
                  <a:schemeClr val="accent1"/>
                </a:solidFill>
              </p:grpSpPr>
              <p:grpSp>
                <p:nvGrpSpPr>
                  <p:cNvPr id="5135" name="Graphic 4">
                    <a:extLst>
                      <a:ext uri="{FF2B5EF4-FFF2-40B4-BE49-F238E27FC236}">
                        <a16:creationId xmlns:a16="http://schemas.microsoft.com/office/drawing/2014/main" id="{84FB7ED1-A2DF-40A1-A747-5F7CF3F14040}"/>
                      </a:ext>
                    </a:extLst>
                  </p:cNvPr>
                  <p:cNvGrpSpPr/>
                  <p:nvPr/>
                </p:nvGrpSpPr>
                <p:grpSpPr>
                  <a:xfrm>
                    <a:off x="9284348" y="2332145"/>
                    <a:ext cx="77114" cy="89046"/>
                    <a:chOff x="9284348" y="2332145"/>
                    <a:chExt cx="77114" cy="89046"/>
                  </a:xfrm>
                  <a:solidFill>
                    <a:schemeClr val="accent1"/>
                  </a:solidFill>
                </p:grpSpPr>
                <p:sp>
                  <p:nvSpPr>
                    <p:cNvPr id="5136" name="Freeform: Shape 5135">
                      <a:extLst>
                        <a:ext uri="{FF2B5EF4-FFF2-40B4-BE49-F238E27FC236}">
                          <a16:creationId xmlns:a16="http://schemas.microsoft.com/office/drawing/2014/main" id="{D12F7194-875A-4777-9E87-D85D2187EE9B}"/>
                        </a:ext>
                      </a:extLst>
                    </p:cNvPr>
                    <p:cNvSpPr/>
                    <p:nvPr/>
                  </p:nvSpPr>
                  <p:spPr>
                    <a:xfrm>
                      <a:off x="9284348" y="2354375"/>
                      <a:ext cx="38556" cy="66816"/>
                    </a:xfrm>
                    <a:custGeom>
                      <a:avLst/>
                      <a:gdLst>
                        <a:gd name="connsiteX0" fmla="*/ 0 w 38556"/>
                        <a:gd name="connsiteY0" fmla="*/ 44586 h 66816"/>
                        <a:gd name="connsiteX1" fmla="*/ 38557 w 38556"/>
                        <a:gd name="connsiteY1" fmla="*/ 66816 h 66816"/>
                        <a:gd name="connsiteX2" fmla="*/ 38557 w 38556"/>
                        <a:gd name="connsiteY2" fmla="*/ 22356 h 66816"/>
                        <a:gd name="connsiteX3" fmla="*/ 0 w 38556"/>
                        <a:gd name="connsiteY3" fmla="*/ 0 h 66816"/>
                      </a:gdLst>
                      <a:ahLst/>
                      <a:cxnLst>
                        <a:cxn ang="0">
                          <a:pos x="connsiteX0" y="connsiteY0"/>
                        </a:cxn>
                        <a:cxn ang="0">
                          <a:pos x="connsiteX1" y="connsiteY1"/>
                        </a:cxn>
                        <a:cxn ang="0">
                          <a:pos x="connsiteX2" y="connsiteY2"/>
                        </a:cxn>
                        <a:cxn ang="0">
                          <a:pos x="connsiteX3" y="connsiteY3"/>
                        </a:cxn>
                      </a:cxnLst>
                      <a:rect l="l" t="t" r="r" b="b"/>
                      <a:pathLst>
                        <a:path w="38556" h="66816">
                          <a:moveTo>
                            <a:pt x="0" y="44586"/>
                          </a:moveTo>
                          <a:lnTo>
                            <a:pt x="38557" y="66816"/>
                          </a:lnTo>
                          <a:lnTo>
                            <a:pt x="38557" y="22356"/>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37" name="Freeform: Shape 5136">
                      <a:extLst>
                        <a:ext uri="{FF2B5EF4-FFF2-40B4-BE49-F238E27FC236}">
                          <a16:creationId xmlns:a16="http://schemas.microsoft.com/office/drawing/2014/main" id="{CC4D8C20-CBB2-4D44-A548-A513CC2AB0A2}"/>
                        </a:ext>
                      </a:extLst>
                    </p:cNvPr>
                    <p:cNvSpPr/>
                    <p:nvPr/>
                  </p:nvSpPr>
                  <p:spPr>
                    <a:xfrm>
                      <a:off x="9284348" y="2332145"/>
                      <a:ext cx="77114" cy="44586"/>
                    </a:xfrm>
                    <a:custGeom>
                      <a:avLst/>
                      <a:gdLst>
                        <a:gd name="connsiteX0" fmla="*/ 0 w 77114"/>
                        <a:gd name="connsiteY0" fmla="*/ 22230 h 44586"/>
                        <a:gd name="connsiteX1" fmla="*/ 38557 w 77114"/>
                        <a:gd name="connsiteY1" fmla="*/ 44586 h 44586"/>
                        <a:gd name="connsiteX2" fmla="*/ 77115 w 77114"/>
                        <a:gd name="connsiteY2" fmla="*/ 22230 h 44586"/>
                        <a:gd name="connsiteX3" fmla="*/ 38557 w 77114"/>
                        <a:gd name="connsiteY3" fmla="*/ 0 h 44586"/>
                      </a:gdLst>
                      <a:ahLst/>
                      <a:cxnLst>
                        <a:cxn ang="0">
                          <a:pos x="connsiteX0" y="connsiteY0"/>
                        </a:cxn>
                        <a:cxn ang="0">
                          <a:pos x="connsiteX1" y="connsiteY1"/>
                        </a:cxn>
                        <a:cxn ang="0">
                          <a:pos x="connsiteX2" y="connsiteY2"/>
                        </a:cxn>
                        <a:cxn ang="0">
                          <a:pos x="connsiteX3" y="connsiteY3"/>
                        </a:cxn>
                      </a:cxnLst>
                      <a:rect l="l" t="t" r="r" b="b"/>
                      <a:pathLst>
                        <a:path w="77114" h="44586">
                          <a:moveTo>
                            <a:pt x="0" y="22230"/>
                          </a:moveTo>
                          <a:lnTo>
                            <a:pt x="38557" y="44586"/>
                          </a:lnTo>
                          <a:lnTo>
                            <a:pt x="77115" y="22230"/>
                          </a:lnTo>
                          <a:lnTo>
                            <a:pt x="38557"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38" name="Graphic 4">
                      <a:extLst>
                        <a:ext uri="{FF2B5EF4-FFF2-40B4-BE49-F238E27FC236}">
                          <a16:creationId xmlns:a16="http://schemas.microsoft.com/office/drawing/2014/main" id="{84FB7ED1-A2DF-40A1-A747-5F7CF3F14040}"/>
                        </a:ext>
                      </a:extLst>
                    </p:cNvPr>
                    <p:cNvGrpSpPr/>
                    <p:nvPr/>
                  </p:nvGrpSpPr>
                  <p:grpSpPr>
                    <a:xfrm>
                      <a:off x="9322905" y="2354375"/>
                      <a:ext cx="38557" cy="66816"/>
                      <a:chOff x="9322905" y="2354375"/>
                      <a:chExt cx="38557" cy="66816"/>
                    </a:xfrm>
                    <a:solidFill>
                      <a:schemeClr val="accent1"/>
                    </a:solidFill>
                  </p:grpSpPr>
                  <p:sp>
                    <p:nvSpPr>
                      <p:cNvPr id="5139" name="Freeform: Shape 5138">
                        <a:extLst>
                          <a:ext uri="{FF2B5EF4-FFF2-40B4-BE49-F238E27FC236}">
                            <a16:creationId xmlns:a16="http://schemas.microsoft.com/office/drawing/2014/main" id="{080D7CB1-8229-46F6-951A-9A2339EA63F1}"/>
                          </a:ext>
                        </a:extLst>
                      </p:cNvPr>
                      <p:cNvSpPr/>
                      <p:nvPr/>
                    </p:nvSpPr>
                    <p:spPr>
                      <a:xfrm>
                        <a:off x="9322905" y="2354375"/>
                        <a:ext cx="38557" cy="66816"/>
                      </a:xfrm>
                      <a:custGeom>
                        <a:avLst/>
                        <a:gdLst>
                          <a:gd name="connsiteX0" fmla="*/ 0 w 38557"/>
                          <a:gd name="connsiteY0" fmla="*/ 66816 h 66816"/>
                          <a:gd name="connsiteX1" fmla="*/ 38558 w 38557"/>
                          <a:gd name="connsiteY1" fmla="*/ 44586 h 66816"/>
                          <a:gd name="connsiteX2" fmla="*/ 38558 w 38557"/>
                          <a:gd name="connsiteY2" fmla="*/ 0 h 66816"/>
                          <a:gd name="connsiteX3" fmla="*/ 0 w 38557"/>
                          <a:gd name="connsiteY3" fmla="*/ 22356 h 66816"/>
                        </a:gdLst>
                        <a:ahLst/>
                        <a:cxnLst>
                          <a:cxn ang="0">
                            <a:pos x="connsiteX0" y="connsiteY0"/>
                          </a:cxn>
                          <a:cxn ang="0">
                            <a:pos x="connsiteX1" y="connsiteY1"/>
                          </a:cxn>
                          <a:cxn ang="0">
                            <a:pos x="connsiteX2" y="connsiteY2"/>
                          </a:cxn>
                          <a:cxn ang="0">
                            <a:pos x="connsiteX3" y="connsiteY3"/>
                          </a:cxn>
                        </a:cxnLst>
                        <a:rect l="l" t="t" r="r" b="b"/>
                        <a:pathLst>
                          <a:path w="38557" h="66816">
                            <a:moveTo>
                              <a:pt x="0" y="66816"/>
                            </a:moveTo>
                            <a:lnTo>
                              <a:pt x="38558" y="44586"/>
                            </a:lnTo>
                            <a:lnTo>
                              <a:pt x="38558" y="0"/>
                            </a:lnTo>
                            <a:lnTo>
                              <a:pt x="0" y="22356"/>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0" name="Freeform: Shape 5139">
                        <a:extLst>
                          <a:ext uri="{FF2B5EF4-FFF2-40B4-BE49-F238E27FC236}">
                            <a16:creationId xmlns:a16="http://schemas.microsoft.com/office/drawing/2014/main" id="{EB0EDAC8-BF14-438D-8277-C3A5DED0B4BC}"/>
                          </a:ext>
                        </a:extLst>
                      </p:cNvPr>
                      <p:cNvSpPr/>
                      <p:nvPr/>
                    </p:nvSpPr>
                    <p:spPr>
                      <a:xfrm>
                        <a:off x="9338354" y="2363292"/>
                        <a:ext cx="7786" cy="16327"/>
                      </a:xfrm>
                      <a:custGeom>
                        <a:avLst/>
                        <a:gdLst>
                          <a:gd name="connsiteX0" fmla="*/ 0 w 7786"/>
                          <a:gd name="connsiteY0" fmla="*/ 16327 h 16327"/>
                          <a:gd name="connsiteX1" fmla="*/ 7787 w 7786"/>
                          <a:gd name="connsiteY1" fmla="*/ 11806 h 16327"/>
                          <a:gd name="connsiteX2" fmla="*/ 7787 w 7786"/>
                          <a:gd name="connsiteY2" fmla="*/ 0 h 16327"/>
                          <a:gd name="connsiteX3" fmla="*/ 0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0" y="16327"/>
                            </a:moveTo>
                            <a:lnTo>
                              <a:pt x="7787" y="11806"/>
                            </a:lnTo>
                            <a:lnTo>
                              <a:pt x="7787" y="0"/>
                            </a:lnTo>
                            <a:lnTo>
                              <a:pt x="0"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41" name="Freeform: Shape 5140">
                      <a:extLst>
                        <a:ext uri="{FF2B5EF4-FFF2-40B4-BE49-F238E27FC236}">
                          <a16:creationId xmlns:a16="http://schemas.microsoft.com/office/drawing/2014/main" id="{112E2E99-1BD5-4F39-86E6-7C7536751D70}"/>
                        </a:ext>
                      </a:extLst>
                    </p:cNvPr>
                    <p:cNvSpPr/>
                    <p:nvPr/>
                  </p:nvSpPr>
                  <p:spPr>
                    <a:xfrm>
                      <a:off x="9299796" y="2341062"/>
                      <a:ext cx="46344" cy="26751"/>
                    </a:xfrm>
                    <a:custGeom>
                      <a:avLst/>
                      <a:gdLst>
                        <a:gd name="connsiteX0" fmla="*/ 46345 w 46344"/>
                        <a:gd name="connsiteY0" fmla="*/ 22230 h 26751"/>
                        <a:gd name="connsiteX1" fmla="*/ 38558 w 46344"/>
                        <a:gd name="connsiteY1" fmla="*/ 26752 h 26751"/>
                        <a:gd name="connsiteX2" fmla="*/ 0 w 46344"/>
                        <a:gd name="connsiteY2" fmla="*/ 4396 h 26751"/>
                        <a:gd name="connsiteX3" fmla="*/ 7661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46345" y="22230"/>
                          </a:moveTo>
                          <a:lnTo>
                            <a:pt x="38558" y="26752"/>
                          </a:lnTo>
                          <a:lnTo>
                            <a:pt x="0" y="4396"/>
                          </a:lnTo>
                          <a:lnTo>
                            <a:pt x="7661"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42" name="Graphic 4">
                    <a:extLst>
                      <a:ext uri="{FF2B5EF4-FFF2-40B4-BE49-F238E27FC236}">
                        <a16:creationId xmlns:a16="http://schemas.microsoft.com/office/drawing/2014/main" id="{84FB7ED1-A2DF-40A1-A747-5F7CF3F14040}"/>
                      </a:ext>
                    </a:extLst>
                  </p:cNvPr>
                  <p:cNvGrpSpPr/>
                  <p:nvPr/>
                </p:nvGrpSpPr>
                <p:grpSpPr>
                  <a:xfrm>
                    <a:off x="9333455" y="2387783"/>
                    <a:ext cx="17457" cy="23611"/>
                    <a:chOff x="9333455" y="2387783"/>
                    <a:chExt cx="17457" cy="23611"/>
                  </a:xfrm>
                  <a:solidFill>
                    <a:srgbClr val="000000"/>
                  </a:solidFill>
                </p:grpSpPr>
                <p:grpSp>
                  <p:nvGrpSpPr>
                    <p:cNvPr id="5143" name="Graphic 4">
                      <a:extLst>
                        <a:ext uri="{FF2B5EF4-FFF2-40B4-BE49-F238E27FC236}">
                          <a16:creationId xmlns:a16="http://schemas.microsoft.com/office/drawing/2014/main" id="{84FB7ED1-A2DF-40A1-A747-5F7CF3F14040}"/>
                        </a:ext>
                      </a:extLst>
                    </p:cNvPr>
                    <p:cNvGrpSpPr/>
                    <p:nvPr/>
                  </p:nvGrpSpPr>
                  <p:grpSpPr>
                    <a:xfrm>
                      <a:off x="9333455" y="2387783"/>
                      <a:ext cx="17457" cy="23611"/>
                      <a:chOff x="9333455" y="2387783"/>
                      <a:chExt cx="17457" cy="23611"/>
                    </a:xfrm>
                    <a:solidFill>
                      <a:srgbClr val="000000"/>
                    </a:solidFill>
                  </p:grpSpPr>
                  <p:sp>
                    <p:nvSpPr>
                      <p:cNvPr id="5144" name="Freeform: Shape 5143">
                        <a:extLst>
                          <a:ext uri="{FF2B5EF4-FFF2-40B4-BE49-F238E27FC236}">
                            <a16:creationId xmlns:a16="http://schemas.microsoft.com/office/drawing/2014/main" id="{2EED6609-4B28-4B07-A611-1076D175D66B}"/>
                          </a:ext>
                        </a:extLst>
                      </p:cNvPr>
                      <p:cNvSpPr/>
                      <p:nvPr/>
                    </p:nvSpPr>
                    <p:spPr>
                      <a:xfrm>
                        <a:off x="9333455" y="2397329"/>
                        <a:ext cx="879" cy="14066"/>
                      </a:xfrm>
                      <a:custGeom>
                        <a:avLst/>
                        <a:gdLst>
                          <a:gd name="connsiteX0" fmla="*/ 879 w 879"/>
                          <a:gd name="connsiteY0" fmla="*/ 0 h 14066"/>
                          <a:gd name="connsiteX1" fmla="*/ 0 w 879"/>
                          <a:gd name="connsiteY1" fmla="*/ 628 h 14066"/>
                          <a:gd name="connsiteX2" fmla="*/ 0 w 879"/>
                          <a:gd name="connsiteY2" fmla="*/ 14067 h 14066"/>
                          <a:gd name="connsiteX3" fmla="*/ 879 w 879"/>
                          <a:gd name="connsiteY3" fmla="*/ 13439 h 14066"/>
                        </a:gdLst>
                        <a:ahLst/>
                        <a:cxnLst>
                          <a:cxn ang="0">
                            <a:pos x="connsiteX0" y="connsiteY0"/>
                          </a:cxn>
                          <a:cxn ang="0">
                            <a:pos x="connsiteX1" y="connsiteY1"/>
                          </a:cxn>
                          <a:cxn ang="0">
                            <a:pos x="connsiteX2" y="connsiteY2"/>
                          </a:cxn>
                          <a:cxn ang="0">
                            <a:pos x="connsiteX3" y="connsiteY3"/>
                          </a:cxn>
                        </a:cxnLst>
                        <a:rect l="l" t="t" r="r" b="b"/>
                        <a:pathLst>
                          <a:path w="879" h="14066">
                            <a:moveTo>
                              <a:pt x="879" y="0"/>
                            </a:moveTo>
                            <a:lnTo>
                              <a:pt x="0" y="628"/>
                            </a:lnTo>
                            <a:lnTo>
                              <a:pt x="0" y="14067"/>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5" name="Freeform: Shape 5144">
                        <a:extLst>
                          <a:ext uri="{FF2B5EF4-FFF2-40B4-BE49-F238E27FC236}">
                            <a16:creationId xmlns:a16="http://schemas.microsoft.com/office/drawing/2014/main" id="{6969E754-1658-46F3-80BC-3A929B3538CA}"/>
                          </a:ext>
                        </a:extLst>
                      </p:cNvPr>
                      <p:cNvSpPr/>
                      <p:nvPr/>
                    </p:nvSpPr>
                    <p:spPr>
                      <a:xfrm>
                        <a:off x="9335340" y="2396324"/>
                        <a:ext cx="879" cy="11931"/>
                      </a:xfrm>
                      <a:custGeom>
                        <a:avLst/>
                        <a:gdLst>
                          <a:gd name="connsiteX0" fmla="*/ 879 w 879"/>
                          <a:gd name="connsiteY0" fmla="*/ 0 h 11931"/>
                          <a:gd name="connsiteX1" fmla="*/ 0 w 879"/>
                          <a:gd name="connsiteY1" fmla="*/ 502 h 11931"/>
                          <a:gd name="connsiteX2" fmla="*/ 0 w 879"/>
                          <a:gd name="connsiteY2" fmla="*/ 11932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2"/>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6" name="Freeform: Shape 5145">
                        <a:extLst>
                          <a:ext uri="{FF2B5EF4-FFF2-40B4-BE49-F238E27FC236}">
                            <a16:creationId xmlns:a16="http://schemas.microsoft.com/office/drawing/2014/main" id="{0C4D5576-3D4F-4027-A6BF-B715D784AA17}"/>
                          </a:ext>
                        </a:extLst>
                      </p:cNvPr>
                      <p:cNvSpPr/>
                      <p:nvPr/>
                    </p:nvSpPr>
                    <p:spPr>
                      <a:xfrm>
                        <a:off x="9337097" y="2395194"/>
                        <a:ext cx="1004" cy="11931"/>
                      </a:xfrm>
                      <a:custGeom>
                        <a:avLst/>
                        <a:gdLst>
                          <a:gd name="connsiteX0" fmla="*/ 1005 w 1004"/>
                          <a:gd name="connsiteY0" fmla="*/ 0 h 11931"/>
                          <a:gd name="connsiteX1" fmla="*/ 0 w 1004"/>
                          <a:gd name="connsiteY1" fmla="*/ 628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628"/>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7" name="Freeform: Shape 5146">
                        <a:extLst>
                          <a:ext uri="{FF2B5EF4-FFF2-40B4-BE49-F238E27FC236}">
                            <a16:creationId xmlns:a16="http://schemas.microsoft.com/office/drawing/2014/main" id="{2A344647-0170-49DA-A211-760D901E4F6A}"/>
                          </a:ext>
                        </a:extLst>
                      </p:cNvPr>
                      <p:cNvSpPr/>
                      <p:nvPr/>
                    </p:nvSpPr>
                    <p:spPr>
                      <a:xfrm>
                        <a:off x="9338982" y="2394189"/>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8" name="Freeform: Shape 5147">
                        <a:extLst>
                          <a:ext uri="{FF2B5EF4-FFF2-40B4-BE49-F238E27FC236}">
                            <a16:creationId xmlns:a16="http://schemas.microsoft.com/office/drawing/2014/main" id="{46641ACC-DB61-4144-80EB-1AE0449B1234}"/>
                          </a:ext>
                        </a:extLst>
                      </p:cNvPr>
                      <p:cNvSpPr/>
                      <p:nvPr/>
                    </p:nvSpPr>
                    <p:spPr>
                      <a:xfrm>
                        <a:off x="9340866" y="2393184"/>
                        <a:ext cx="878" cy="11805"/>
                      </a:xfrm>
                      <a:custGeom>
                        <a:avLst/>
                        <a:gdLst>
                          <a:gd name="connsiteX0" fmla="*/ 878 w 878"/>
                          <a:gd name="connsiteY0" fmla="*/ 0 h 11805"/>
                          <a:gd name="connsiteX1" fmla="*/ 0 w 878"/>
                          <a:gd name="connsiteY1" fmla="*/ 502 h 11805"/>
                          <a:gd name="connsiteX2" fmla="*/ 0 w 878"/>
                          <a:gd name="connsiteY2" fmla="*/ 11806 h 11805"/>
                          <a:gd name="connsiteX3" fmla="*/ 878 w 878"/>
                          <a:gd name="connsiteY3" fmla="*/ 11304 h 11805"/>
                        </a:gdLst>
                        <a:ahLst/>
                        <a:cxnLst>
                          <a:cxn ang="0">
                            <a:pos x="connsiteX0" y="connsiteY0"/>
                          </a:cxn>
                          <a:cxn ang="0">
                            <a:pos x="connsiteX1" y="connsiteY1"/>
                          </a:cxn>
                          <a:cxn ang="0">
                            <a:pos x="connsiteX2" y="connsiteY2"/>
                          </a:cxn>
                          <a:cxn ang="0">
                            <a:pos x="connsiteX3" y="connsiteY3"/>
                          </a:cxn>
                        </a:cxnLst>
                        <a:rect l="l" t="t" r="r" b="b"/>
                        <a:pathLst>
                          <a:path w="878" h="11805">
                            <a:moveTo>
                              <a:pt x="878" y="0"/>
                            </a:moveTo>
                            <a:lnTo>
                              <a:pt x="0" y="502"/>
                            </a:lnTo>
                            <a:lnTo>
                              <a:pt x="0" y="11806"/>
                            </a:lnTo>
                            <a:lnTo>
                              <a:pt x="878"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9" name="Freeform: Shape 5148">
                        <a:extLst>
                          <a:ext uri="{FF2B5EF4-FFF2-40B4-BE49-F238E27FC236}">
                            <a16:creationId xmlns:a16="http://schemas.microsoft.com/office/drawing/2014/main" id="{B6E0B29D-7E16-4DEB-9FB2-F9465DA3163C}"/>
                          </a:ext>
                        </a:extLst>
                      </p:cNvPr>
                      <p:cNvSpPr/>
                      <p:nvPr/>
                    </p:nvSpPr>
                    <p:spPr>
                      <a:xfrm>
                        <a:off x="9342624" y="2392054"/>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0" name="Freeform: Shape 5149">
                        <a:extLst>
                          <a:ext uri="{FF2B5EF4-FFF2-40B4-BE49-F238E27FC236}">
                            <a16:creationId xmlns:a16="http://schemas.microsoft.com/office/drawing/2014/main" id="{D78C45BE-4BEF-4E99-B5E5-C3115E53F677}"/>
                          </a:ext>
                        </a:extLst>
                      </p:cNvPr>
                      <p:cNvSpPr/>
                      <p:nvPr/>
                    </p:nvSpPr>
                    <p:spPr>
                      <a:xfrm>
                        <a:off x="9344508" y="2391049"/>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1" name="Freeform: Shape 5150">
                        <a:extLst>
                          <a:ext uri="{FF2B5EF4-FFF2-40B4-BE49-F238E27FC236}">
                            <a16:creationId xmlns:a16="http://schemas.microsoft.com/office/drawing/2014/main" id="{4C9A0EE9-255D-40C9-A700-39DB3AD57CC5}"/>
                          </a:ext>
                        </a:extLst>
                      </p:cNvPr>
                      <p:cNvSpPr/>
                      <p:nvPr/>
                    </p:nvSpPr>
                    <p:spPr>
                      <a:xfrm>
                        <a:off x="9346392" y="2389918"/>
                        <a:ext cx="878" cy="11931"/>
                      </a:xfrm>
                      <a:custGeom>
                        <a:avLst/>
                        <a:gdLst>
                          <a:gd name="connsiteX0" fmla="*/ 878 w 878"/>
                          <a:gd name="connsiteY0" fmla="*/ 0 h 11931"/>
                          <a:gd name="connsiteX1" fmla="*/ 0 w 878"/>
                          <a:gd name="connsiteY1" fmla="*/ 502 h 11931"/>
                          <a:gd name="connsiteX2" fmla="*/ 0 w 878"/>
                          <a:gd name="connsiteY2" fmla="*/ 11932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2"/>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2" name="Freeform: Shape 5151">
                        <a:extLst>
                          <a:ext uri="{FF2B5EF4-FFF2-40B4-BE49-F238E27FC236}">
                            <a16:creationId xmlns:a16="http://schemas.microsoft.com/office/drawing/2014/main" id="{84A2C6FC-CE1C-4347-88CE-17A721700EF3}"/>
                          </a:ext>
                        </a:extLst>
                      </p:cNvPr>
                      <p:cNvSpPr/>
                      <p:nvPr/>
                    </p:nvSpPr>
                    <p:spPr>
                      <a:xfrm>
                        <a:off x="9348150" y="2388914"/>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303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3" name="Freeform: Shape 5152">
                        <a:extLst>
                          <a:ext uri="{FF2B5EF4-FFF2-40B4-BE49-F238E27FC236}">
                            <a16:creationId xmlns:a16="http://schemas.microsoft.com/office/drawing/2014/main" id="{961C19CE-39CB-4B58-8428-6ABAA47A47C2}"/>
                          </a:ext>
                        </a:extLst>
                      </p:cNvPr>
                      <p:cNvSpPr/>
                      <p:nvPr/>
                    </p:nvSpPr>
                    <p:spPr>
                      <a:xfrm>
                        <a:off x="9350034" y="2387783"/>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54" name="Freeform: Shape 5153">
                      <a:extLst>
                        <a:ext uri="{FF2B5EF4-FFF2-40B4-BE49-F238E27FC236}">
                          <a16:creationId xmlns:a16="http://schemas.microsoft.com/office/drawing/2014/main" id="{19078BB2-0976-4239-A86C-A76C9F8D3ED6}"/>
                        </a:ext>
                      </a:extLst>
                    </p:cNvPr>
                    <p:cNvSpPr/>
                    <p:nvPr/>
                  </p:nvSpPr>
                  <p:spPr>
                    <a:xfrm>
                      <a:off x="9346768" y="2401222"/>
                      <a:ext cx="1884" cy="3265"/>
                    </a:xfrm>
                    <a:custGeom>
                      <a:avLst/>
                      <a:gdLst>
                        <a:gd name="connsiteX0" fmla="*/ 0 w 1884"/>
                        <a:gd name="connsiteY0" fmla="*/ 3265 h 3265"/>
                        <a:gd name="connsiteX1" fmla="*/ 1884 w 1884"/>
                        <a:gd name="connsiteY1" fmla="*/ 2135 h 3265"/>
                        <a:gd name="connsiteX2" fmla="*/ 1884 w 1884"/>
                        <a:gd name="connsiteY2" fmla="*/ 0 h 3265"/>
                        <a:gd name="connsiteX3" fmla="*/ 0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0" y="3265"/>
                          </a:moveTo>
                          <a:lnTo>
                            <a:pt x="1884" y="2135"/>
                          </a:lnTo>
                          <a:lnTo>
                            <a:pt x="1884"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5" name="Freeform: Shape 5154">
                      <a:extLst>
                        <a:ext uri="{FF2B5EF4-FFF2-40B4-BE49-F238E27FC236}">
                          <a16:creationId xmlns:a16="http://schemas.microsoft.com/office/drawing/2014/main" id="{DEE4922F-3D81-407B-88D1-368A7C455EEF}"/>
                        </a:ext>
                      </a:extLst>
                    </p:cNvPr>
                    <p:cNvSpPr/>
                    <p:nvPr/>
                  </p:nvSpPr>
                  <p:spPr>
                    <a:xfrm>
                      <a:off x="9343127" y="2403357"/>
                      <a:ext cx="1883" cy="3265"/>
                    </a:xfrm>
                    <a:custGeom>
                      <a:avLst/>
                      <a:gdLst>
                        <a:gd name="connsiteX0" fmla="*/ 0 w 1883"/>
                        <a:gd name="connsiteY0" fmla="*/ 3265 h 3265"/>
                        <a:gd name="connsiteX1" fmla="*/ 1883 w 1883"/>
                        <a:gd name="connsiteY1" fmla="*/ 2135 h 3265"/>
                        <a:gd name="connsiteX2" fmla="*/ 1883 w 1883"/>
                        <a:gd name="connsiteY2" fmla="*/ 0 h 3265"/>
                        <a:gd name="connsiteX3" fmla="*/ 0 w 1883"/>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3" h="3265">
                          <a:moveTo>
                            <a:pt x="0" y="3265"/>
                          </a:moveTo>
                          <a:lnTo>
                            <a:pt x="1883" y="2135"/>
                          </a:lnTo>
                          <a:lnTo>
                            <a:pt x="1883"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6" name="Freeform: Shape 5155">
                      <a:extLst>
                        <a:ext uri="{FF2B5EF4-FFF2-40B4-BE49-F238E27FC236}">
                          <a16:creationId xmlns:a16="http://schemas.microsoft.com/office/drawing/2014/main" id="{AA7CB0A9-9649-4132-82AF-A90BF657CB75}"/>
                        </a:ext>
                      </a:extLst>
                    </p:cNvPr>
                    <p:cNvSpPr/>
                    <p:nvPr/>
                  </p:nvSpPr>
                  <p:spPr>
                    <a:xfrm>
                      <a:off x="9339484" y="2405492"/>
                      <a:ext cx="1758" cy="3139"/>
                    </a:xfrm>
                    <a:custGeom>
                      <a:avLst/>
                      <a:gdLst>
                        <a:gd name="connsiteX0" fmla="*/ 0 w 1758"/>
                        <a:gd name="connsiteY0" fmla="*/ 3140 h 3139"/>
                        <a:gd name="connsiteX1" fmla="*/ 1759 w 1758"/>
                        <a:gd name="connsiteY1" fmla="*/ 2135 h 3139"/>
                        <a:gd name="connsiteX2" fmla="*/ 1759 w 1758"/>
                        <a:gd name="connsiteY2" fmla="*/ 0 h 3139"/>
                        <a:gd name="connsiteX3" fmla="*/ 0 w 1758"/>
                        <a:gd name="connsiteY3" fmla="*/ 1130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135"/>
                          </a:lnTo>
                          <a:lnTo>
                            <a:pt x="1759"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7" name="Freeform: Shape 5156">
                      <a:extLst>
                        <a:ext uri="{FF2B5EF4-FFF2-40B4-BE49-F238E27FC236}">
                          <a16:creationId xmlns:a16="http://schemas.microsoft.com/office/drawing/2014/main" id="{57ED2609-0D68-4C97-B8AE-74F9FD944FA6}"/>
                        </a:ext>
                      </a:extLst>
                    </p:cNvPr>
                    <p:cNvSpPr/>
                    <p:nvPr/>
                  </p:nvSpPr>
                  <p:spPr>
                    <a:xfrm>
                      <a:off x="9335716" y="2407627"/>
                      <a:ext cx="1884" cy="3139"/>
                    </a:xfrm>
                    <a:custGeom>
                      <a:avLst/>
                      <a:gdLst>
                        <a:gd name="connsiteX0" fmla="*/ 0 w 1884"/>
                        <a:gd name="connsiteY0" fmla="*/ 3140 h 3139"/>
                        <a:gd name="connsiteX1" fmla="*/ 1884 w 1884"/>
                        <a:gd name="connsiteY1" fmla="*/ 2135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135"/>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158" name="Graphic 4">
                  <a:extLst>
                    <a:ext uri="{FF2B5EF4-FFF2-40B4-BE49-F238E27FC236}">
                      <a16:creationId xmlns:a16="http://schemas.microsoft.com/office/drawing/2014/main" id="{84FB7ED1-A2DF-40A1-A747-5F7CF3F14040}"/>
                    </a:ext>
                  </a:extLst>
                </p:cNvPr>
                <p:cNvGrpSpPr/>
                <p:nvPr/>
              </p:nvGrpSpPr>
              <p:grpSpPr>
                <a:xfrm>
                  <a:off x="9325167" y="2355757"/>
                  <a:ext cx="77240" cy="89046"/>
                  <a:chOff x="9325167" y="2355757"/>
                  <a:chExt cx="77240" cy="89046"/>
                </a:xfrm>
                <a:solidFill>
                  <a:schemeClr val="accent1"/>
                </a:solidFill>
              </p:grpSpPr>
              <p:grpSp>
                <p:nvGrpSpPr>
                  <p:cNvPr id="5159" name="Graphic 4">
                    <a:extLst>
                      <a:ext uri="{FF2B5EF4-FFF2-40B4-BE49-F238E27FC236}">
                        <a16:creationId xmlns:a16="http://schemas.microsoft.com/office/drawing/2014/main" id="{84FB7ED1-A2DF-40A1-A747-5F7CF3F14040}"/>
                      </a:ext>
                    </a:extLst>
                  </p:cNvPr>
                  <p:cNvGrpSpPr/>
                  <p:nvPr/>
                </p:nvGrpSpPr>
                <p:grpSpPr>
                  <a:xfrm>
                    <a:off x="9325167" y="2355757"/>
                    <a:ext cx="77240" cy="89046"/>
                    <a:chOff x="9325167" y="2355757"/>
                    <a:chExt cx="77240" cy="89046"/>
                  </a:xfrm>
                  <a:solidFill>
                    <a:schemeClr val="accent1"/>
                  </a:solidFill>
                </p:grpSpPr>
                <p:sp>
                  <p:nvSpPr>
                    <p:cNvPr id="5160" name="Freeform: Shape 5159">
                      <a:extLst>
                        <a:ext uri="{FF2B5EF4-FFF2-40B4-BE49-F238E27FC236}">
                          <a16:creationId xmlns:a16="http://schemas.microsoft.com/office/drawing/2014/main" id="{5EE2845C-189E-4B85-9D10-E108B9D6779B}"/>
                        </a:ext>
                      </a:extLst>
                    </p:cNvPr>
                    <p:cNvSpPr/>
                    <p:nvPr/>
                  </p:nvSpPr>
                  <p:spPr>
                    <a:xfrm>
                      <a:off x="9325167" y="2377987"/>
                      <a:ext cx="38556" cy="66816"/>
                    </a:xfrm>
                    <a:custGeom>
                      <a:avLst/>
                      <a:gdLst>
                        <a:gd name="connsiteX0" fmla="*/ 0 w 38556"/>
                        <a:gd name="connsiteY0" fmla="*/ 44586 h 66816"/>
                        <a:gd name="connsiteX1" fmla="*/ 38557 w 38556"/>
                        <a:gd name="connsiteY1" fmla="*/ 66816 h 66816"/>
                        <a:gd name="connsiteX2" fmla="*/ 38557 w 38556"/>
                        <a:gd name="connsiteY2" fmla="*/ 22230 h 66816"/>
                        <a:gd name="connsiteX3" fmla="*/ 0 w 38556"/>
                        <a:gd name="connsiteY3" fmla="*/ 0 h 66816"/>
                      </a:gdLst>
                      <a:ahLst/>
                      <a:cxnLst>
                        <a:cxn ang="0">
                          <a:pos x="connsiteX0" y="connsiteY0"/>
                        </a:cxn>
                        <a:cxn ang="0">
                          <a:pos x="connsiteX1" y="connsiteY1"/>
                        </a:cxn>
                        <a:cxn ang="0">
                          <a:pos x="connsiteX2" y="connsiteY2"/>
                        </a:cxn>
                        <a:cxn ang="0">
                          <a:pos x="connsiteX3" y="connsiteY3"/>
                        </a:cxn>
                      </a:cxnLst>
                      <a:rect l="l" t="t" r="r" b="b"/>
                      <a:pathLst>
                        <a:path w="38556" h="66816">
                          <a:moveTo>
                            <a:pt x="0" y="44586"/>
                          </a:moveTo>
                          <a:lnTo>
                            <a:pt x="38557" y="66816"/>
                          </a:lnTo>
                          <a:lnTo>
                            <a:pt x="38557" y="22230"/>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61" name="Freeform: Shape 5160">
                      <a:extLst>
                        <a:ext uri="{FF2B5EF4-FFF2-40B4-BE49-F238E27FC236}">
                          <a16:creationId xmlns:a16="http://schemas.microsoft.com/office/drawing/2014/main" id="{7B59B942-A3AC-489E-883B-949B96B83D4C}"/>
                        </a:ext>
                      </a:extLst>
                    </p:cNvPr>
                    <p:cNvSpPr/>
                    <p:nvPr/>
                  </p:nvSpPr>
                  <p:spPr>
                    <a:xfrm>
                      <a:off x="9325167" y="2355757"/>
                      <a:ext cx="77240" cy="44460"/>
                    </a:xfrm>
                    <a:custGeom>
                      <a:avLst/>
                      <a:gdLst>
                        <a:gd name="connsiteX0" fmla="*/ 0 w 77240"/>
                        <a:gd name="connsiteY0" fmla="*/ 22230 h 44460"/>
                        <a:gd name="connsiteX1" fmla="*/ 38557 w 77240"/>
                        <a:gd name="connsiteY1" fmla="*/ 44460 h 44460"/>
                        <a:gd name="connsiteX2" fmla="*/ 77240 w 77240"/>
                        <a:gd name="connsiteY2" fmla="*/ 22230 h 44460"/>
                        <a:gd name="connsiteX3" fmla="*/ 38557 w 77240"/>
                        <a:gd name="connsiteY3" fmla="*/ 0 h 44460"/>
                      </a:gdLst>
                      <a:ahLst/>
                      <a:cxnLst>
                        <a:cxn ang="0">
                          <a:pos x="connsiteX0" y="connsiteY0"/>
                        </a:cxn>
                        <a:cxn ang="0">
                          <a:pos x="connsiteX1" y="connsiteY1"/>
                        </a:cxn>
                        <a:cxn ang="0">
                          <a:pos x="connsiteX2" y="connsiteY2"/>
                        </a:cxn>
                        <a:cxn ang="0">
                          <a:pos x="connsiteX3" y="connsiteY3"/>
                        </a:cxn>
                      </a:cxnLst>
                      <a:rect l="l" t="t" r="r" b="b"/>
                      <a:pathLst>
                        <a:path w="77240" h="44460">
                          <a:moveTo>
                            <a:pt x="0" y="22230"/>
                          </a:moveTo>
                          <a:lnTo>
                            <a:pt x="38557" y="44460"/>
                          </a:lnTo>
                          <a:lnTo>
                            <a:pt x="77240" y="22230"/>
                          </a:lnTo>
                          <a:lnTo>
                            <a:pt x="38557"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62" name="Graphic 4">
                      <a:extLst>
                        <a:ext uri="{FF2B5EF4-FFF2-40B4-BE49-F238E27FC236}">
                          <a16:creationId xmlns:a16="http://schemas.microsoft.com/office/drawing/2014/main" id="{84FB7ED1-A2DF-40A1-A747-5F7CF3F14040}"/>
                        </a:ext>
                      </a:extLst>
                    </p:cNvPr>
                    <p:cNvGrpSpPr/>
                    <p:nvPr/>
                  </p:nvGrpSpPr>
                  <p:grpSpPr>
                    <a:xfrm>
                      <a:off x="9363723" y="2377987"/>
                      <a:ext cx="38683" cy="66816"/>
                      <a:chOff x="9363723" y="2377987"/>
                      <a:chExt cx="38683" cy="66816"/>
                    </a:xfrm>
                    <a:solidFill>
                      <a:schemeClr val="accent1"/>
                    </a:solidFill>
                  </p:grpSpPr>
                  <p:sp>
                    <p:nvSpPr>
                      <p:cNvPr id="5163" name="Freeform: Shape 5162">
                        <a:extLst>
                          <a:ext uri="{FF2B5EF4-FFF2-40B4-BE49-F238E27FC236}">
                            <a16:creationId xmlns:a16="http://schemas.microsoft.com/office/drawing/2014/main" id="{14785FB4-9A17-4FE1-903B-4A361D6488A3}"/>
                          </a:ext>
                        </a:extLst>
                      </p:cNvPr>
                      <p:cNvSpPr/>
                      <p:nvPr/>
                    </p:nvSpPr>
                    <p:spPr>
                      <a:xfrm>
                        <a:off x="9363723" y="2377987"/>
                        <a:ext cx="38683" cy="66816"/>
                      </a:xfrm>
                      <a:custGeom>
                        <a:avLst/>
                        <a:gdLst>
                          <a:gd name="connsiteX0" fmla="*/ 0 w 38683"/>
                          <a:gd name="connsiteY0" fmla="*/ 66816 h 66816"/>
                          <a:gd name="connsiteX1" fmla="*/ 38683 w 38683"/>
                          <a:gd name="connsiteY1" fmla="*/ 44586 h 66816"/>
                          <a:gd name="connsiteX2" fmla="*/ 38683 w 38683"/>
                          <a:gd name="connsiteY2" fmla="*/ 0 h 66816"/>
                          <a:gd name="connsiteX3" fmla="*/ 0 w 38683"/>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683" h="66816">
                            <a:moveTo>
                              <a:pt x="0" y="66816"/>
                            </a:moveTo>
                            <a:lnTo>
                              <a:pt x="38683" y="44586"/>
                            </a:lnTo>
                            <a:lnTo>
                              <a:pt x="38683" y="0"/>
                            </a:lnTo>
                            <a:lnTo>
                              <a:pt x="0"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64" name="Freeform: Shape 5163">
                        <a:extLst>
                          <a:ext uri="{FF2B5EF4-FFF2-40B4-BE49-F238E27FC236}">
                            <a16:creationId xmlns:a16="http://schemas.microsoft.com/office/drawing/2014/main" id="{B631D75D-2AD9-4EB9-9174-AECFB4BFD5E0}"/>
                          </a:ext>
                        </a:extLst>
                      </p:cNvPr>
                      <p:cNvSpPr/>
                      <p:nvPr/>
                    </p:nvSpPr>
                    <p:spPr>
                      <a:xfrm>
                        <a:off x="9379172" y="2386904"/>
                        <a:ext cx="7786" cy="16327"/>
                      </a:xfrm>
                      <a:custGeom>
                        <a:avLst/>
                        <a:gdLst>
                          <a:gd name="connsiteX0" fmla="*/ 0 w 7786"/>
                          <a:gd name="connsiteY0" fmla="*/ 16327 h 16327"/>
                          <a:gd name="connsiteX1" fmla="*/ 7787 w 7786"/>
                          <a:gd name="connsiteY1" fmla="*/ 11806 h 16327"/>
                          <a:gd name="connsiteX2" fmla="*/ 7787 w 7786"/>
                          <a:gd name="connsiteY2" fmla="*/ 0 h 16327"/>
                          <a:gd name="connsiteX3" fmla="*/ 0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0" y="16327"/>
                            </a:moveTo>
                            <a:lnTo>
                              <a:pt x="7787" y="11806"/>
                            </a:lnTo>
                            <a:lnTo>
                              <a:pt x="7787" y="0"/>
                            </a:lnTo>
                            <a:lnTo>
                              <a:pt x="0"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65" name="Freeform: Shape 5164">
                      <a:extLst>
                        <a:ext uri="{FF2B5EF4-FFF2-40B4-BE49-F238E27FC236}">
                          <a16:creationId xmlns:a16="http://schemas.microsoft.com/office/drawing/2014/main" id="{9B1E738E-A86F-440E-8E8E-9242FBA06CE8}"/>
                        </a:ext>
                      </a:extLst>
                    </p:cNvPr>
                    <p:cNvSpPr/>
                    <p:nvPr/>
                  </p:nvSpPr>
                  <p:spPr>
                    <a:xfrm>
                      <a:off x="9340614" y="2364674"/>
                      <a:ext cx="46344" cy="26751"/>
                    </a:xfrm>
                    <a:custGeom>
                      <a:avLst/>
                      <a:gdLst>
                        <a:gd name="connsiteX0" fmla="*/ 46345 w 46344"/>
                        <a:gd name="connsiteY0" fmla="*/ 22230 h 26751"/>
                        <a:gd name="connsiteX1" fmla="*/ 38558 w 46344"/>
                        <a:gd name="connsiteY1" fmla="*/ 26752 h 26751"/>
                        <a:gd name="connsiteX2" fmla="*/ 0 w 46344"/>
                        <a:gd name="connsiteY2" fmla="*/ 4396 h 26751"/>
                        <a:gd name="connsiteX3" fmla="*/ 778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46345" y="22230"/>
                          </a:moveTo>
                          <a:lnTo>
                            <a:pt x="38558" y="26752"/>
                          </a:lnTo>
                          <a:lnTo>
                            <a:pt x="0" y="4396"/>
                          </a:lnTo>
                          <a:lnTo>
                            <a:pt x="778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66" name="Graphic 4">
                    <a:extLst>
                      <a:ext uri="{FF2B5EF4-FFF2-40B4-BE49-F238E27FC236}">
                        <a16:creationId xmlns:a16="http://schemas.microsoft.com/office/drawing/2014/main" id="{84FB7ED1-A2DF-40A1-A747-5F7CF3F14040}"/>
                      </a:ext>
                    </a:extLst>
                  </p:cNvPr>
                  <p:cNvGrpSpPr/>
                  <p:nvPr/>
                </p:nvGrpSpPr>
                <p:grpSpPr>
                  <a:xfrm>
                    <a:off x="9374274" y="2411395"/>
                    <a:ext cx="17583" cy="23486"/>
                    <a:chOff x="9374274" y="2411395"/>
                    <a:chExt cx="17583" cy="23486"/>
                  </a:xfrm>
                  <a:solidFill>
                    <a:srgbClr val="000000"/>
                  </a:solidFill>
                </p:grpSpPr>
                <p:grpSp>
                  <p:nvGrpSpPr>
                    <p:cNvPr id="5167" name="Graphic 4">
                      <a:extLst>
                        <a:ext uri="{FF2B5EF4-FFF2-40B4-BE49-F238E27FC236}">
                          <a16:creationId xmlns:a16="http://schemas.microsoft.com/office/drawing/2014/main" id="{84FB7ED1-A2DF-40A1-A747-5F7CF3F14040}"/>
                        </a:ext>
                      </a:extLst>
                    </p:cNvPr>
                    <p:cNvGrpSpPr/>
                    <p:nvPr/>
                  </p:nvGrpSpPr>
                  <p:grpSpPr>
                    <a:xfrm>
                      <a:off x="9374274" y="2411395"/>
                      <a:ext cx="17583" cy="23486"/>
                      <a:chOff x="9374274" y="2411395"/>
                      <a:chExt cx="17583" cy="23486"/>
                    </a:xfrm>
                    <a:solidFill>
                      <a:srgbClr val="000000"/>
                    </a:solidFill>
                  </p:grpSpPr>
                  <p:sp>
                    <p:nvSpPr>
                      <p:cNvPr id="5168" name="Freeform: Shape 5167">
                        <a:extLst>
                          <a:ext uri="{FF2B5EF4-FFF2-40B4-BE49-F238E27FC236}">
                            <a16:creationId xmlns:a16="http://schemas.microsoft.com/office/drawing/2014/main" id="{02D39F0C-607E-466D-AA9A-C163CD610070}"/>
                          </a:ext>
                        </a:extLst>
                      </p:cNvPr>
                      <p:cNvSpPr/>
                      <p:nvPr/>
                    </p:nvSpPr>
                    <p:spPr>
                      <a:xfrm>
                        <a:off x="9374274" y="2420940"/>
                        <a:ext cx="1004" cy="13941"/>
                      </a:xfrm>
                      <a:custGeom>
                        <a:avLst/>
                        <a:gdLst>
                          <a:gd name="connsiteX0" fmla="*/ 1005 w 1004"/>
                          <a:gd name="connsiteY0" fmla="*/ 0 h 13941"/>
                          <a:gd name="connsiteX1" fmla="*/ 0 w 1004"/>
                          <a:gd name="connsiteY1" fmla="*/ 502 h 13941"/>
                          <a:gd name="connsiteX2" fmla="*/ 0 w 1004"/>
                          <a:gd name="connsiteY2" fmla="*/ 13941 h 13941"/>
                          <a:gd name="connsiteX3" fmla="*/ 1005 w 1004"/>
                          <a:gd name="connsiteY3" fmla="*/ 13439 h 13941"/>
                        </a:gdLst>
                        <a:ahLst/>
                        <a:cxnLst>
                          <a:cxn ang="0">
                            <a:pos x="connsiteX0" y="connsiteY0"/>
                          </a:cxn>
                          <a:cxn ang="0">
                            <a:pos x="connsiteX1" y="connsiteY1"/>
                          </a:cxn>
                          <a:cxn ang="0">
                            <a:pos x="connsiteX2" y="connsiteY2"/>
                          </a:cxn>
                          <a:cxn ang="0">
                            <a:pos x="connsiteX3" y="connsiteY3"/>
                          </a:cxn>
                        </a:cxnLst>
                        <a:rect l="l" t="t" r="r" b="b"/>
                        <a:pathLst>
                          <a:path w="1004" h="13941">
                            <a:moveTo>
                              <a:pt x="1005" y="0"/>
                            </a:moveTo>
                            <a:lnTo>
                              <a:pt x="0" y="502"/>
                            </a:lnTo>
                            <a:lnTo>
                              <a:pt x="0" y="13941"/>
                            </a:lnTo>
                            <a:lnTo>
                              <a:pt x="1005"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69" name="Freeform: Shape 5168">
                        <a:extLst>
                          <a:ext uri="{FF2B5EF4-FFF2-40B4-BE49-F238E27FC236}">
                            <a16:creationId xmlns:a16="http://schemas.microsoft.com/office/drawing/2014/main" id="{CA45CCE0-7E65-457A-B0B3-AC99FB7DC31A}"/>
                          </a:ext>
                        </a:extLst>
                      </p:cNvPr>
                      <p:cNvSpPr/>
                      <p:nvPr/>
                    </p:nvSpPr>
                    <p:spPr>
                      <a:xfrm>
                        <a:off x="9376158" y="2419936"/>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303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0" name="Freeform: Shape 5169">
                        <a:extLst>
                          <a:ext uri="{FF2B5EF4-FFF2-40B4-BE49-F238E27FC236}">
                            <a16:creationId xmlns:a16="http://schemas.microsoft.com/office/drawing/2014/main" id="{09E79BD8-138E-4842-9D80-33413E26003B}"/>
                          </a:ext>
                        </a:extLst>
                      </p:cNvPr>
                      <p:cNvSpPr/>
                      <p:nvPr/>
                    </p:nvSpPr>
                    <p:spPr>
                      <a:xfrm>
                        <a:off x="9378041" y="2418805"/>
                        <a:ext cx="879" cy="11931"/>
                      </a:xfrm>
                      <a:custGeom>
                        <a:avLst/>
                        <a:gdLst>
                          <a:gd name="connsiteX0" fmla="*/ 879 w 879"/>
                          <a:gd name="connsiteY0" fmla="*/ 0 h 11931"/>
                          <a:gd name="connsiteX1" fmla="*/ 0 w 879"/>
                          <a:gd name="connsiteY1" fmla="*/ 628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628"/>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1" name="Freeform: Shape 5170">
                        <a:extLst>
                          <a:ext uri="{FF2B5EF4-FFF2-40B4-BE49-F238E27FC236}">
                            <a16:creationId xmlns:a16="http://schemas.microsoft.com/office/drawing/2014/main" id="{D3A6FBE1-41A1-4960-8EAC-A0B45F1EC41E}"/>
                          </a:ext>
                        </a:extLst>
                      </p:cNvPr>
                      <p:cNvSpPr/>
                      <p:nvPr/>
                    </p:nvSpPr>
                    <p:spPr>
                      <a:xfrm>
                        <a:off x="9379800" y="2417801"/>
                        <a:ext cx="1004" cy="11931"/>
                      </a:xfrm>
                      <a:custGeom>
                        <a:avLst/>
                        <a:gdLst>
                          <a:gd name="connsiteX0" fmla="*/ 1005 w 1004"/>
                          <a:gd name="connsiteY0" fmla="*/ 0 h 11931"/>
                          <a:gd name="connsiteX1" fmla="*/ 0 w 1004"/>
                          <a:gd name="connsiteY1" fmla="*/ 502 h 11931"/>
                          <a:gd name="connsiteX2" fmla="*/ 0 w 1004"/>
                          <a:gd name="connsiteY2" fmla="*/ 11932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2"/>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2" name="Freeform: Shape 5171">
                        <a:extLst>
                          <a:ext uri="{FF2B5EF4-FFF2-40B4-BE49-F238E27FC236}">
                            <a16:creationId xmlns:a16="http://schemas.microsoft.com/office/drawing/2014/main" id="{03F7AAF8-D30C-45CF-B8CF-A2E76434580D}"/>
                          </a:ext>
                        </a:extLst>
                      </p:cNvPr>
                      <p:cNvSpPr/>
                      <p:nvPr/>
                    </p:nvSpPr>
                    <p:spPr>
                      <a:xfrm>
                        <a:off x="9381684" y="2416670"/>
                        <a:ext cx="878" cy="11931"/>
                      </a:xfrm>
                      <a:custGeom>
                        <a:avLst/>
                        <a:gdLst>
                          <a:gd name="connsiteX0" fmla="*/ 878 w 878"/>
                          <a:gd name="connsiteY0" fmla="*/ 0 h 11931"/>
                          <a:gd name="connsiteX1" fmla="*/ 0 w 878"/>
                          <a:gd name="connsiteY1" fmla="*/ 628 h 11931"/>
                          <a:gd name="connsiteX2" fmla="*/ 0 w 878"/>
                          <a:gd name="connsiteY2" fmla="*/ 11931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628"/>
                            </a:lnTo>
                            <a:lnTo>
                              <a:pt x="0" y="11931"/>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3" name="Freeform: Shape 5172">
                        <a:extLst>
                          <a:ext uri="{FF2B5EF4-FFF2-40B4-BE49-F238E27FC236}">
                            <a16:creationId xmlns:a16="http://schemas.microsoft.com/office/drawing/2014/main" id="{70ADFDAC-BF17-4431-92D7-6B10BA389098}"/>
                          </a:ext>
                        </a:extLst>
                      </p:cNvPr>
                      <p:cNvSpPr/>
                      <p:nvPr/>
                    </p:nvSpPr>
                    <p:spPr>
                      <a:xfrm>
                        <a:off x="9383568" y="2415665"/>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4" name="Freeform: Shape 5173">
                        <a:extLst>
                          <a:ext uri="{FF2B5EF4-FFF2-40B4-BE49-F238E27FC236}">
                            <a16:creationId xmlns:a16="http://schemas.microsoft.com/office/drawing/2014/main" id="{27D1D9FC-FC2D-424B-B00E-A22BFE26A1EF}"/>
                          </a:ext>
                        </a:extLst>
                      </p:cNvPr>
                      <p:cNvSpPr/>
                      <p:nvPr/>
                    </p:nvSpPr>
                    <p:spPr>
                      <a:xfrm>
                        <a:off x="9385326" y="2414535"/>
                        <a:ext cx="1004" cy="11931"/>
                      </a:xfrm>
                      <a:custGeom>
                        <a:avLst/>
                        <a:gdLst>
                          <a:gd name="connsiteX0" fmla="*/ 1005 w 1004"/>
                          <a:gd name="connsiteY0" fmla="*/ 0 h 11931"/>
                          <a:gd name="connsiteX1" fmla="*/ 0 w 1004"/>
                          <a:gd name="connsiteY1" fmla="*/ 628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628"/>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5" name="Freeform: Shape 5174">
                        <a:extLst>
                          <a:ext uri="{FF2B5EF4-FFF2-40B4-BE49-F238E27FC236}">
                            <a16:creationId xmlns:a16="http://schemas.microsoft.com/office/drawing/2014/main" id="{02DA73F0-FB4F-47B4-ADA8-12252EB99594}"/>
                          </a:ext>
                        </a:extLst>
                      </p:cNvPr>
                      <p:cNvSpPr/>
                      <p:nvPr/>
                    </p:nvSpPr>
                    <p:spPr>
                      <a:xfrm>
                        <a:off x="9387210" y="2413530"/>
                        <a:ext cx="878" cy="11931"/>
                      </a:xfrm>
                      <a:custGeom>
                        <a:avLst/>
                        <a:gdLst>
                          <a:gd name="connsiteX0" fmla="*/ 878 w 878"/>
                          <a:gd name="connsiteY0" fmla="*/ 0 h 11931"/>
                          <a:gd name="connsiteX1" fmla="*/ 0 w 878"/>
                          <a:gd name="connsiteY1" fmla="*/ 502 h 11931"/>
                          <a:gd name="connsiteX2" fmla="*/ 0 w 878"/>
                          <a:gd name="connsiteY2" fmla="*/ 11931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1"/>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6" name="Freeform: Shape 5175">
                        <a:extLst>
                          <a:ext uri="{FF2B5EF4-FFF2-40B4-BE49-F238E27FC236}">
                            <a16:creationId xmlns:a16="http://schemas.microsoft.com/office/drawing/2014/main" id="{014D62B5-ACE6-4FDE-B4DE-98B044D2B322}"/>
                          </a:ext>
                        </a:extLst>
                      </p:cNvPr>
                      <p:cNvSpPr/>
                      <p:nvPr/>
                    </p:nvSpPr>
                    <p:spPr>
                      <a:xfrm>
                        <a:off x="9389094" y="2412400"/>
                        <a:ext cx="879" cy="11931"/>
                      </a:xfrm>
                      <a:custGeom>
                        <a:avLst/>
                        <a:gdLst>
                          <a:gd name="connsiteX0" fmla="*/ 879 w 879"/>
                          <a:gd name="connsiteY0" fmla="*/ 0 h 11931"/>
                          <a:gd name="connsiteX1" fmla="*/ 0 w 879"/>
                          <a:gd name="connsiteY1" fmla="*/ 628 h 11931"/>
                          <a:gd name="connsiteX2" fmla="*/ 0 w 879"/>
                          <a:gd name="connsiteY2" fmla="*/ 11932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628"/>
                            </a:lnTo>
                            <a:lnTo>
                              <a:pt x="0" y="11932"/>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7" name="Freeform: Shape 5176">
                        <a:extLst>
                          <a:ext uri="{FF2B5EF4-FFF2-40B4-BE49-F238E27FC236}">
                            <a16:creationId xmlns:a16="http://schemas.microsoft.com/office/drawing/2014/main" id="{BC5BA37B-7388-4FDC-8189-3E1A003D2BC6}"/>
                          </a:ext>
                        </a:extLst>
                      </p:cNvPr>
                      <p:cNvSpPr/>
                      <p:nvPr/>
                    </p:nvSpPr>
                    <p:spPr>
                      <a:xfrm>
                        <a:off x="9390852" y="2411395"/>
                        <a:ext cx="1004" cy="13940"/>
                      </a:xfrm>
                      <a:custGeom>
                        <a:avLst/>
                        <a:gdLst>
                          <a:gd name="connsiteX0" fmla="*/ 1005 w 1004"/>
                          <a:gd name="connsiteY0" fmla="*/ 0 h 13940"/>
                          <a:gd name="connsiteX1" fmla="*/ 0 w 1004"/>
                          <a:gd name="connsiteY1" fmla="*/ 502 h 13940"/>
                          <a:gd name="connsiteX2" fmla="*/ 0 w 1004"/>
                          <a:gd name="connsiteY2" fmla="*/ 13941 h 13940"/>
                          <a:gd name="connsiteX3" fmla="*/ 1005 w 1004"/>
                          <a:gd name="connsiteY3" fmla="*/ 13439 h 13940"/>
                        </a:gdLst>
                        <a:ahLst/>
                        <a:cxnLst>
                          <a:cxn ang="0">
                            <a:pos x="connsiteX0" y="connsiteY0"/>
                          </a:cxn>
                          <a:cxn ang="0">
                            <a:pos x="connsiteX1" y="connsiteY1"/>
                          </a:cxn>
                          <a:cxn ang="0">
                            <a:pos x="connsiteX2" y="connsiteY2"/>
                          </a:cxn>
                          <a:cxn ang="0">
                            <a:pos x="connsiteX3" y="connsiteY3"/>
                          </a:cxn>
                        </a:cxnLst>
                        <a:rect l="l" t="t" r="r" b="b"/>
                        <a:pathLst>
                          <a:path w="1004" h="13940">
                            <a:moveTo>
                              <a:pt x="1005" y="0"/>
                            </a:moveTo>
                            <a:lnTo>
                              <a:pt x="0" y="502"/>
                            </a:lnTo>
                            <a:lnTo>
                              <a:pt x="0" y="13941"/>
                            </a:lnTo>
                            <a:lnTo>
                              <a:pt x="1005"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78" name="Freeform: Shape 5177">
                      <a:extLst>
                        <a:ext uri="{FF2B5EF4-FFF2-40B4-BE49-F238E27FC236}">
                          <a16:creationId xmlns:a16="http://schemas.microsoft.com/office/drawing/2014/main" id="{E46D4489-9207-4D3B-B1E7-91174201D168}"/>
                        </a:ext>
                      </a:extLst>
                    </p:cNvPr>
                    <p:cNvSpPr/>
                    <p:nvPr/>
                  </p:nvSpPr>
                  <p:spPr>
                    <a:xfrm>
                      <a:off x="9387713" y="2424834"/>
                      <a:ext cx="1758" cy="3139"/>
                    </a:xfrm>
                    <a:custGeom>
                      <a:avLst/>
                      <a:gdLst>
                        <a:gd name="connsiteX0" fmla="*/ 0 w 1758"/>
                        <a:gd name="connsiteY0" fmla="*/ 3140 h 3139"/>
                        <a:gd name="connsiteX1" fmla="*/ 1759 w 1758"/>
                        <a:gd name="connsiteY1" fmla="*/ 2135 h 3139"/>
                        <a:gd name="connsiteX2" fmla="*/ 1759 w 1758"/>
                        <a:gd name="connsiteY2" fmla="*/ 0 h 3139"/>
                        <a:gd name="connsiteX3" fmla="*/ 0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135"/>
                          </a:lnTo>
                          <a:lnTo>
                            <a:pt x="1759"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9" name="Freeform: Shape 5178">
                      <a:extLst>
                        <a:ext uri="{FF2B5EF4-FFF2-40B4-BE49-F238E27FC236}">
                          <a16:creationId xmlns:a16="http://schemas.microsoft.com/office/drawing/2014/main" id="{F3887751-DF26-4C3D-9148-A03A3FD002EC}"/>
                        </a:ext>
                      </a:extLst>
                    </p:cNvPr>
                    <p:cNvSpPr/>
                    <p:nvPr/>
                  </p:nvSpPr>
                  <p:spPr>
                    <a:xfrm>
                      <a:off x="9383945" y="2426969"/>
                      <a:ext cx="1883" cy="3139"/>
                    </a:xfrm>
                    <a:custGeom>
                      <a:avLst/>
                      <a:gdLst>
                        <a:gd name="connsiteX0" fmla="*/ 0 w 1883"/>
                        <a:gd name="connsiteY0" fmla="*/ 3140 h 3139"/>
                        <a:gd name="connsiteX1" fmla="*/ 1883 w 1883"/>
                        <a:gd name="connsiteY1" fmla="*/ 2135 h 3139"/>
                        <a:gd name="connsiteX2" fmla="*/ 1883 w 1883"/>
                        <a:gd name="connsiteY2" fmla="*/ 0 h 3139"/>
                        <a:gd name="connsiteX3" fmla="*/ 0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0" y="3140"/>
                          </a:moveTo>
                          <a:lnTo>
                            <a:pt x="1883" y="2135"/>
                          </a:lnTo>
                          <a:lnTo>
                            <a:pt x="1883"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0" name="Freeform: Shape 5179">
                      <a:extLst>
                        <a:ext uri="{FF2B5EF4-FFF2-40B4-BE49-F238E27FC236}">
                          <a16:creationId xmlns:a16="http://schemas.microsoft.com/office/drawing/2014/main" id="{CC44FACB-A15F-406D-A3B6-E4370B925359}"/>
                        </a:ext>
                      </a:extLst>
                    </p:cNvPr>
                    <p:cNvSpPr/>
                    <p:nvPr/>
                  </p:nvSpPr>
                  <p:spPr>
                    <a:xfrm>
                      <a:off x="9380302" y="2429104"/>
                      <a:ext cx="1884" cy="3139"/>
                    </a:xfrm>
                    <a:custGeom>
                      <a:avLst/>
                      <a:gdLst>
                        <a:gd name="connsiteX0" fmla="*/ 0 w 1884"/>
                        <a:gd name="connsiteY0" fmla="*/ 3140 h 3139"/>
                        <a:gd name="connsiteX1" fmla="*/ 1884 w 1884"/>
                        <a:gd name="connsiteY1" fmla="*/ 2135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135"/>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1" name="Freeform: Shape 5180">
                      <a:extLst>
                        <a:ext uri="{FF2B5EF4-FFF2-40B4-BE49-F238E27FC236}">
                          <a16:creationId xmlns:a16="http://schemas.microsoft.com/office/drawing/2014/main" id="{17250F0A-2FF8-4921-9B26-DF9B6E7813D4}"/>
                        </a:ext>
                      </a:extLst>
                    </p:cNvPr>
                    <p:cNvSpPr/>
                    <p:nvPr/>
                  </p:nvSpPr>
                  <p:spPr>
                    <a:xfrm>
                      <a:off x="9376660" y="2431239"/>
                      <a:ext cx="1758" cy="3139"/>
                    </a:xfrm>
                    <a:custGeom>
                      <a:avLst/>
                      <a:gdLst>
                        <a:gd name="connsiteX0" fmla="*/ 0 w 1758"/>
                        <a:gd name="connsiteY0" fmla="*/ 3140 h 3139"/>
                        <a:gd name="connsiteX1" fmla="*/ 1759 w 1758"/>
                        <a:gd name="connsiteY1" fmla="*/ 2135 h 3139"/>
                        <a:gd name="connsiteX2" fmla="*/ 1759 w 1758"/>
                        <a:gd name="connsiteY2" fmla="*/ 0 h 3139"/>
                        <a:gd name="connsiteX3" fmla="*/ 0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135"/>
                          </a:lnTo>
                          <a:lnTo>
                            <a:pt x="1759"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182" name="Graphic 4">
                  <a:extLst>
                    <a:ext uri="{FF2B5EF4-FFF2-40B4-BE49-F238E27FC236}">
                      <a16:creationId xmlns:a16="http://schemas.microsoft.com/office/drawing/2014/main" id="{84FB7ED1-A2DF-40A1-A747-5F7CF3F14040}"/>
                    </a:ext>
                  </a:extLst>
                </p:cNvPr>
                <p:cNvGrpSpPr/>
                <p:nvPr/>
              </p:nvGrpSpPr>
              <p:grpSpPr>
                <a:xfrm>
                  <a:off x="9243278" y="2355757"/>
                  <a:ext cx="77241" cy="89172"/>
                  <a:chOff x="9243278" y="2355757"/>
                  <a:chExt cx="77241" cy="89172"/>
                </a:xfrm>
                <a:solidFill>
                  <a:schemeClr val="accent1"/>
                </a:solidFill>
              </p:grpSpPr>
              <p:grpSp>
                <p:nvGrpSpPr>
                  <p:cNvPr id="5183" name="Graphic 4">
                    <a:extLst>
                      <a:ext uri="{FF2B5EF4-FFF2-40B4-BE49-F238E27FC236}">
                        <a16:creationId xmlns:a16="http://schemas.microsoft.com/office/drawing/2014/main" id="{84FB7ED1-A2DF-40A1-A747-5F7CF3F14040}"/>
                      </a:ext>
                    </a:extLst>
                  </p:cNvPr>
                  <p:cNvGrpSpPr/>
                  <p:nvPr/>
                </p:nvGrpSpPr>
                <p:grpSpPr>
                  <a:xfrm>
                    <a:off x="9243278" y="2355757"/>
                    <a:ext cx="77241" cy="89172"/>
                    <a:chOff x="9243278" y="2355757"/>
                    <a:chExt cx="77241" cy="89172"/>
                  </a:xfrm>
                  <a:solidFill>
                    <a:schemeClr val="accent1"/>
                  </a:solidFill>
                </p:grpSpPr>
                <p:sp>
                  <p:nvSpPr>
                    <p:cNvPr id="5184" name="Freeform: Shape 5183">
                      <a:extLst>
                        <a:ext uri="{FF2B5EF4-FFF2-40B4-BE49-F238E27FC236}">
                          <a16:creationId xmlns:a16="http://schemas.microsoft.com/office/drawing/2014/main" id="{CC9BE255-3469-4827-B909-B1DC44A6D2EB}"/>
                        </a:ext>
                      </a:extLst>
                    </p:cNvPr>
                    <p:cNvSpPr/>
                    <p:nvPr/>
                  </p:nvSpPr>
                  <p:spPr>
                    <a:xfrm>
                      <a:off x="9243278" y="2378113"/>
                      <a:ext cx="38683" cy="66816"/>
                    </a:xfrm>
                    <a:custGeom>
                      <a:avLst/>
                      <a:gdLst>
                        <a:gd name="connsiteX0" fmla="*/ 0 w 38683"/>
                        <a:gd name="connsiteY0" fmla="*/ 44586 h 66816"/>
                        <a:gd name="connsiteX1" fmla="*/ 38683 w 38683"/>
                        <a:gd name="connsiteY1" fmla="*/ 66816 h 66816"/>
                        <a:gd name="connsiteX2" fmla="*/ 38683 w 38683"/>
                        <a:gd name="connsiteY2" fmla="*/ 22230 h 66816"/>
                        <a:gd name="connsiteX3" fmla="*/ 0 w 38683"/>
                        <a:gd name="connsiteY3" fmla="*/ 0 h 66816"/>
                      </a:gdLst>
                      <a:ahLst/>
                      <a:cxnLst>
                        <a:cxn ang="0">
                          <a:pos x="connsiteX0" y="connsiteY0"/>
                        </a:cxn>
                        <a:cxn ang="0">
                          <a:pos x="connsiteX1" y="connsiteY1"/>
                        </a:cxn>
                        <a:cxn ang="0">
                          <a:pos x="connsiteX2" y="connsiteY2"/>
                        </a:cxn>
                        <a:cxn ang="0">
                          <a:pos x="connsiteX3" y="connsiteY3"/>
                        </a:cxn>
                      </a:cxnLst>
                      <a:rect l="l" t="t" r="r" b="b"/>
                      <a:pathLst>
                        <a:path w="38683" h="66816">
                          <a:moveTo>
                            <a:pt x="0" y="44586"/>
                          </a:moveTo>
                          <a:lnTo>
                            <a:pt x="38683" y="66816"/>
                          </a:lnTo>
                          <a:lnTo>
                            <a:pt x="38683" y="22230"/>
                          </a:lnTo>
                          <a:lnTo>
                            <a:pt x="0"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5" name="Freeform: Shape 5184">
                      <a:extLst>
                        <a:ext uri="{FF2B5EF4-FFF2-40B4-BE49-F238E27FC236}">
                          <a16:creationId xmlns:a16="http://schemas.microsoft.com/office/drawing/2014/main" id="{CDEF9772-3AC7-4C1C-B54A-C903311CD286}"/>
                        </a:ext>
                      </a:extLst>
                    </p:cNvPr>
                    <p:cNvSpPr/>
                    <p:nvPr/>
                  </p:nvSpPr>
                  <p:spPr>
                    <a:xfrm>
                      <a:off x="9243278" y="2355757"/>
                      <a:ext cx="77241" cy="44586"/>
                    </a:xfrm>
                    <a:custGeom>
                      <a:avLst/>
                      <a:gdLst>
                        <a:gd name="connsiteX0" fmla="*/ 0 w 77241"/>
                        <a:gd name="connsiteY0" fmla="*/ 22356 h 44586"/>
                        <a:gd name="connsiteX1" fmla="*/ 38683 w 77241"/>
                        <a:gd name="connsiteY1" fmla="*/ 44586 h 44586"/>
                        <a:gd name="connsiteX2" fmla="*/ 77241 w 77241"/>
                        <a:gd name="connsiteY2" fmla="*/ 22356 h 44586"/>
                        <a:gd name="connsiteX3" fmla="*/ 38683 w 77241"/>
                        <a:gd name="connsiteY3" fmla="*/ 0 h 44586"/>
                      </a:gdLst>
                      <a:ahLst/>
                      <a:cxnLst>
                        <a:cxn ang="0">
                          <a:pos x="connsiteX0" y="connsiteY0"/>
                        </a:cxn>
                        <a:cxn ang="0">
                          <a:pos x="connsiteX1" y="connsiteY1"/>
                        </a:cxn>
                        <a:cxn ang="0">
                          <a:pos x="connsiteX2" y="connsiteY2"/>
                        </a:cxn>
                        <a:cxn ang="0">
                          <a:pos x="connsiteX3" y="connsiteY3"/>
                        </a:cxn>
                      </a:cxnLst>
                      <a:rect l="l" t="t" r="r" b="b"/>
                      <a:pathLst>
                        <a:path w="77241" h="44586">
                          <a:moveTo>
                            <a:pt x="0" y="22356"/>
                          </a:moveTo>
                          <a:lnTo>
                            <a:pt x="38683" y="44586"/>
                          </a:lnTo>
                          <a:lnTo>
                            <a:pt x="77241" y="22356"/>
                          </a:lnTo>
                          <a:lnTo>
                            <a:pt x="3868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86" name="Graphic 4">
                      <a:extLst>
                        <a:ext uri="{FF2B5EF4-FFF2-40B4-BE49-F238E27FC236}">
                          <a16:creationId xmlns:a16="http://schemas.microsoft.com/office/drawing/2014/main" id="{84FB7ED1-A2DF-40A1-A747-5F7CF3F14040}"/>
                        </a:ext>
                      </a:extLst>
                    </p:cNvPr>
                    <p:cNvGrpSpPr/>
                    <p:nvPr/>
                  </p:nvGrpSpPr>
                  <p:grpSpPr>
                    <a:xfrm>
                      <a:off x="9281962" y="2378113"/>
                      <a:ext cx="38557" cy="66816"/>
                      <a:chOff x="9281962" y="2378113"/>
                      <a:chExt cx="38557" cy="66816"/>
                    </a:xfrm>
                    <a:solidFill>
                      <a:schemeClr val="accent1"/>
                    </a:solidFill>
                  </p:grpSpPr>
                  <p:sp>
                    <p:nvSpPr>
                      <p:cNvPr id="5187" name="Freeform: Shape 5186">
                        <a:extLst>
                          <a:ext uri="{FF2B5EF4-FFF2-40B4-BE49-F238E27FC236}">
                            <a16:creationId xmlns:a16="http://schemas.microsoft.com/office/drawing/2014/main" id="{48747A9B-D753-49CD-94B5-63AF622070AA}"/>
                          </a:ext>
                        </a:extLst>
                      </p:cNvPr>
                      <p:cNvSpPr/>
                      <p:nvPr/>
                    </p:nvSpPr>
                    <p:spPr>
                      <a:xfrm>
                        <a:off x="9281962" y="2378113"/>
                        <a:ext cx="38557" cy="66816"/>
                      </a:xfrm>
                      <a:custGeom>
                        <a:avLst/>
                        <a:gdLst>
                          <a:gd name="connsiteX0" fmla="*/ 0 w 38557"/>
                          <a:gd name="connsiteY0" fmla="*/ 66816 h 66816"/>
                          <a:gd name="connsiteX1" fmla="*/ 38558 w 38557"/>
                          <a:gd name="connsiteY1" fmla="*/ 44461 h 66816"/>
                          <a:gd name="connsiteX2" fmla="*/ 38558 w 38557"/>
                          <a:gd name="connsiteY2" fmla="*/ 0 h 66816"/>
                          <a:gd name="connsiteX3" fmla="*/ 0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0" y="66816"/>
                            </a:moveTo>
                            <a:lnTo>
                              <a:pt x="38558" y="44461"/>
                            </a:lnTo>
                            <a:lnTo>
                              <a:pt x="38558" y="0"/>
                            </a:lnTo>
                            <a:lnTo>
                              <a:pt x="0" y="2223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8" name="Freeform: Shape 5187">
                        <a:extLst>
                          <a:ext uri="{FF2B5EF4-FFF2-40B4-BE49-F238E27FC236}">
                            <a16:creationId xmlns:a16="http://schemas.microsoft.com/office/drawing/2014/main" id="{49C663E4-A1DF-4105-ADDD-B1C228DFE96D}"/>
                          </a:ext>
                        </a:extLst>
                      </p:cNvPr>
                      <p:cNvSpPr/>
                      <p:nvPr/>
                    </p:nvSpPr>
                    <p:spPr>
                      <a:xfrm>
                        <a:off x="9297284" y="2387030"/>
                        <a:ext cx="7786" cy="16201"/>
                      </a:xfrm>
                      <a:custGeom>
                        <a:avLst/>
                        <a:gdLst>
                          <a:gd name="connsiteX0" fmla="*/ 0 w 7786"/>
                          <a:gd name="connsiteY0" fmla="*/ 16202 h 16201"/>
                          <a:gd name="connsiteX1" fmla="*/ 7787 w 7786"/>
                          <a:gd name="connsiteY1" fmla="*/ 11806 h 16201"/>
                          <a:gd name="connsiteX2" fmla="*/ 7787 w 7786"/>
                          <a:gd name="connsiteY2" fmla="*/ 0 h 16201"/>
                          <a:gd name="connsiteX3" fmla="*/ 0 w 7786"/>
                          <a:gd name="connsiteY3" fmla="*/ 4396 h 16201"/>
                        </a:gdLst>
                        <a:ahLst/>
                        <a:cxnLst>
                          <a:cxn ang="0">
                            <a:pos x="connsiteX0" y="connsiteY0"/>
                          </a:cxn>
                          <a:cxn ang="0">
                            <a:pos x="connsiteX1" y="connsiteY1"/>
                          </a:cxn>
                          <a:cxn ang="0">
                            <a:pos x="connsiteX2" y="connsiteY2"/>
                          </a:cxn>
                          <a:cxn ang="0">
                            <a:pos x="connsiteX3" y="connsiteY3"/>
                          </a:cxn>
                        </a:cxnLst>
                        <a:rect l="l" t="t" r="r" b="b"/>
                        <a:pathLst>
                          <a:path w="7786" h="16201">
                            <a:moveTo>
                              <a:pt x="0" y="16202"/>
                            </a:moveTo>
                            <a:lnTo>
                              <a:pt x="7787" y="11806"/>
                            </a:lnTo>
                            <a:lnTo>
                              <a:pt x="7787" y="0"/>
                            </a:lnTo>
                            <a:lnTo>
                              <a:pt x="0" y="4396"/>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89" name="Freeform: Shape 5188">
                      <a:extLst>
                        <a:ext uri="{FF2B5EF4-FFF2-40B4-BE49-F238E27FC236}">
                          <a16:creationId xmlns:a16="http://schemas.microsoft.com/office/drawing/2014/main" id="{342B43E7-A0B6-4097-B01A-324E07692A19}"/>
                        </a:ext>
                      </a:extLst>
                    </p:cNvPr>
                    <p:cNvSpPr/>
                    <p:nvPr/>
                  </p:nvSpPr>
                  <p:spPr>
                    <a:xfrm>
                      <a:off x="9258726" y="2364674"/>
                      <a:ext cx="46344" cy="26751"/>
                    </a:xfrm>
                    <a:custGeom>
                      <a:avLst/>
                      <a:gdLst>
                        <a:gd name="connsiteX0" fmla="*/ 46345 w 46344"/>
                        <a:gd name="connsiteY0" fmla="*/ 22356 h 26751"/>
                        <a:gd name="connsiteX1" fmla="*/ 38558 w 46344"/>
                        <a:gd name="connsiteY1" fmla="*/ 26752 h 26751"/>
                        <a:gd name="connsiteX2" fmla="*/ 0 w 46344"/>
                        <a:gd name="connsiteY2" fmla="*/ 4521 h 26751"/>
                        <a:gd name="connsiteX3" fmla="*/ 778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46345" y="22356"/>
                          </a:moveTo>
                          <a:lnTo>
                            <a:pt x="38558" y="26752"/>
                          </a:lnTo>
                          <a:lnTo>
                            <a:pt x="0" y="4521"/>
                          </a:lnTo>
                          <a:lnTo>
                            <a:pt x="778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90" name="Graphic 4">
                    <a:extLst>
                      <a:ext uri="{FF2B5EF4-FFF2-40B4-BE49-F238E27FC236}">
                        <a16:creationId xmlns:a16="http://schemas.microsoft.com/office/drawing/2014/main" id="{84FB7ED1-A2DF-40A1-A747-5F7CF3F14040}"/>
                      </a:ext>
                    </a:extLst>
                  </p:cNvPr>
                  <p:cNvGrpSpPr/>
                  <p:nvPr/>
                </p:nvGrpSpPr>
                <p:grpSpPr>
                  <a:xfrm>
                    <a:off x="9292511" y="2411521"/>
                    <a:ext cx="17457" cy="23486"/>
                    <a:chOff x="9292511" y="2411521"/>
                    <a:chExt cx="17457" cy="23486"/>
                  </a:xfrm>
                  <a:solidFill>
                    <a:srgbClr val="000000"/>
                  </a:solidFill>
                </p:grpSpPr>
                <p:grpSp>
                  <p:nvGrpSpPr>
                    <p:cNvPr id="5191" name="Graphic 4">
                      <a:extLst>
                        <a:ext uri="{FF2B5EF4-FFF2-40B4-BE49-F238E27FC236}">
                          <a16:creationId xmlns:a16="http://schemas.microsoft.com/office/drawing/2014/main" id="{84FB7ED1-A2DF-40A1-A747-5F7CF3F14040}"/>
                        </a:ext>
                      </a:extLst>
                    </p:cNvPr>
                    <p:cNvGrpSpPr/>
                    <p:nvPr/>
                  </p:nvGrpSpPr>
                  <p:grpSpPr>
                    <a:xfrm>
                      <a:off x="9292511" y="2411521"/>
                      <a:ext cx="17457" cy="23486"/>
                      <a:chOff x="9292511" y="2411521"/>
                      <a:chExt cx="17457" cy="23486"/>
                    </a:xfrm>
                    <a:solidFill>
                      <a:srgbClr val="000000"/>
                    </a:solidFill>
                  </p:grpSpPr>
                  <p:sp>
                    <p:nvSpPr>
                      <p:cNvPr id="5192" name="Freeform: Shape 5191">
                        <a:extLst>
                          <a:ext uri="{FF2B5EF4-FFF2-40B4-BE49-F238E27FC236}">
                            <a16:creationId xmlns:a16="http://schemas.microsoft.com/office/drawing/2014/main" id="{2F79C5F9-4469-4D06-A1B9-F8BF23B49147}"/>
                          </a:ext>
                        </a:extLst>
                      </p:cNvPr>
                      <p:cNvSpPr/>
                      <p:nvPr/>
                    </p:nvSpPr>
                    <p:spPr>
                      <a:xfrm>
                        <a:off x="9292511" y="2421066"/>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3" name="Freeform: Shape 5192">
                        <a:extLst>
                          <a:ext uri="{FF2B5EF4-FFF2-40B4-BE49-F238E27FC236}">
                            <a16:creationId xmlns:a16="http://schemas.microsoft.com/office/drawing/2014/main" id="{74B80D50-03BD-410A-804E-C02C3B0B9254}"/>
                          </a:ext>
                        </a:extLst>
                      </p:cNvPr>
                      <p:cNvSpPr/>
                      <p:nvPr/>
                    </p:nvSpPr>
                    <p:spPr>
                      <a:xfrm>
                        <a:off x="9294270" y="2419936"/>
                        <a:ext cx="1004" cy="11931"/>
                      </a:xfrm>
                      <a:custGeom>
                        <a:avLst/>
                        <a:gdLst>
                          <a:gd name="connsiteX0" fmla="*/ 1005 w 1004"/>
                          <a:gd name="connsiteY0" fmla="*/ 0 h 11931"/>
                          <a:gd name="connsiteX1" fmla="*/ 0 w 1004"/>
                          <a:gd name="connsiteY1" fmla="*/ 628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628"/>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4" name="Freeform: Shape 5193">
                        <a:extLst>
                          <a:ext uri="{FF2B5EF4-FFF2-40B4-BE49-F238E27FC236}">
                            <a16:creationId xmlns:a16="http://schemas.microsoft.com/office/drawing/2014/main" id="{30733845-014F-45BC-8DE6-CD114D598161}"/>
                          </a:ext>
                        </a:extLst>
                      </p:cNvPr>
                      <p:cNvSpPr/>
                      <p:nvPr/>
                    </p:nvSpPr>
                    <p:spPr>
                      <a:xfrm>
                        <a:off x="9296154" y="2418931"/>
                        <a:ext cx="878" cy="11931"/>
                      </a:xfrm>
                      <a:custGeom>
                        <a:avLst/>
                        <a:gdLst>
                          <a:gd name="connsiteX0" fmla="*/ 878 w 878"/>
                          <a:gd name="connsiteY0" fmla="*/ 0 h 11931"/>
                          <a:gd name="connsiteX1" fmla="*/ 0 w 878"/>
                          <a:gd name="connsiteY1" fmla="*/ 502 h 11931"/>
                          <a:gd name="connsiteX2" fmla="*/ 0 w 878"/>
                          <a:gd name="connsiteY2" fmla="*/ 11931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1"/>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5" name="Freeform: Shape 5194">
                        <a:extLst>
                          <a:ext uri="{FF2B5EF4-FFF2-40B4-BE49-F238E27FC236}">
                            <a16:creationId xmlns:a16="http://schemas.microsoft.com/office/drawing/2014/main" id="{B8AA5A6A-9680-49AD-9519-957B3A1CCFE1}"/>
                          </a:ext>
                        </a:extLst>
                      </p:cNvPr>
                      <p:cNvSpPr/>
                      <p:nvPr/>
                    </p:nvSpPr>
                    <p:spPr>
                      <a:xfrm>
                        <a:off x="9298038" y="2417926"/>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6" name="Freeform: Shape 5195">
                        <a:extLst>
                          <a:ext uri="{FF2B5EF4-FFF2-40B4-BE49-F238E27FC236}">
                            <a16:creationId xmlns:a16="http://schemas.microsoft.com/office/drawing/2014/main" id="{36284771-3F2D-4CB6-B324-6DFDBCC27E6F}"/>
                          </a:ext>
                        </a:extLst>
                      </p:cNvPr>
                      <p:cNvSpPr/>
                      <p:nvPr/>
                    </p:nvSpPr>
                    <p:spPr>
                      <a:xfrm>
                        <a:off x="9299796" y="2416796"/>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7" name="Freeform: Shape 5196">
                        <a:extLst>
                          <a:ext uri="{FF2B5EF4-FFF2-40B4-BE49-F238E27FC236}">
                            <a16:creationId xmlns:a16="http://schemas.microsoft.com/office/drawing/2014/main" id="{99F448CF-AAD8-441A-A7C4-3DDFFF5DF67B}"/>
                          </a:ext>
                        </a:extLst>
                      </p:cNvPr>
                      <p:cNvSpPr/>
                      <p:nvPr/>
                    </p:nvSpPr>
                    <p:spPr>
                      <a:xfrm>
                        <a:off x="9301680" y="2415791"/>
                        <a:ext cx="878" cy="11931"/>
                      </a:xfrm>
                      <a:custGeom>
                        <a:avLst/>
                        <a:gdLst>
                          <a:gd name="connsiteX0" fmla="*/ 878 w 878"/>
                          <a:gd name="connsiteY0" fmla="*/ 0 h 11931"/>
                          <a:gd name="connsiteX1" fmla="*/ 0 w 878"/>
                          <a:gd name="connsiteY1" fmla="*/ 502 h 11931"/>
                          <a:gd name="connsiteX2" fmla="*/ 0 w 878"/>
                          <a:gd name="connsiteY2" fmla="*/ 11931 h 11931"/>
                          <a:gd name="connsiteX3" fmla="*/ 878 w 878"/>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1"/>
                            </a:lnTo>
                            <a:lnTo>
                              <a:pt x="878"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8" name="Freeform: Shape 5197">
                        <a:extLst>
                          <a:ext uri="{FF2B5EF4-FFF2-40B4-BE49-F238E27FC236}">
                            <a16:creationId xmlns:a16="http://schemas.microsoft.com/office/drawing/2014/main" id="{7B00C880-985E-4236-B23F-4CA7F2B8B951}"/>
                          </a:ext>
                        </a:extLst>
                      </p:cNvPr>
                      <p:cNvSpPr/>
                      <p:nvPr/>
                    </p:nvSpPr>
                    <p:spPr>
                      <a:xfrm>
                        <a:off x="9303564" y="2414661"/>
                        <a:ext cx="879" cy="11931"/>
                      </a:xfrm>
                      <a:custGeom>
                        <a:avLst/>
                        <a:gdLst>
                          <a:gd name="connsiteX0" fmla="*/ 879 w 879"/>
                          <a:gd name="connsiteY0" fmla="*/ 0 h 11931"/>
                          <a:gd name="connsiteX1" fmla="*/ 0 w 879"/>
                          <a:gd name="connsiteY1" fmla="*/ 502 h 11931"/>
                          <a:gd name="connsiteX2" fmla="*/ 0 w 879"/>
                          <a:gd name="connsiteY2" fmla="*/ 11932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2"/>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9" name="Freeform: Shape 5198">
                        <a:extLst>
                          <a:ext uri="{FF2B5EF4-FFF2-40B4-BE49-F238E27FC236}">
                            <a16:creationId xmlns:a16="http://schemas.microsoft.com/office/drawing/2014/main" id="{CE9A08E6-6DC4-47BB-A216-4BA0AD12FAA0}"/>
                          </a:ext>
                        </a:extLst>
                      </p:cNvPr>
                      <p:cNvSpPr/>
                      <p:nvPr/>
                    </p:nvSpPr>
                    <p:spPr>
                      <a:xfrm>
                        <a:off x="9305322" y="2413656"/>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303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0" name="Freeform: Shape 5199">
                        <a:extLst>
                          <a:ext uri="{FF2B5EF4-FFF2-40B4-BE49-F238E27FC236}">
                            <a16:creationId xmlns:a16="http://schemas.microsoft.com/office/drawing/2014/main" id="{3B1CB372-C8D8-4FA8-9836-302B31DA53EF}"/>
                          </a:ext>
                        </a:extLst>
                      </p:cNvPr>
                      <p:cNvSpPr/>
                      <p:nvPr/>
                    </p:nvSpPr>
                    <p:spPr>
                      <a:xfrm>
                        <a:off x="9307206" y="2412526"/>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1" name="Freeform: Shape 5200">
                        <a:extLst>
                          <a:ext uri="{FF2B5EF4-FFF2-40B4-BE49-F238E27FC236}">
                            <a16:creationId xmlns:a16="http://schemas.microsoft.com/office/drawing/2014/main" id="{BD9E6E67-22A6-4F9F-BA04-47C3053DC536}"/>
                          </a:ext>
                        </a:extLst>
                      </p:cNvPr>
                      <p:cNvSpPr/>
                      <p:nvPr/>
                    </p:nvSpPr>
                    <p:spPr>
                      <a:xfrm>
                        <a:off x="9309090" y="2411521"/>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02" name="Freeform: Shape 5201">
                      <a:extLst>
                        <a:ext uri="{FF2B5EF4-FFF2-40B4-BE49-F238E27FC236}">
                          <a16:creationId xmlns:a16="http://schemas.microsoft.com/office/drawing/2014/main" id="{AC14D24A-87A9-4393-9505-9653BB381F4F}"/>
                        </a:ext>
                      </a:extLst>
                    </p:cNvPr>
                    <p:cNvSpPr/>
                    <p:nvPr/>
                  </p:nvSpPr>
                  <p:spPr>
                    <a:xfrm>
                      <a:off x="9305824" y="2424959"/>
                      <a:ext cx="1884" cy="3139"/>
                    </a:xfrm>
                    <a:custGeom>
                      <a:avLst/>
                      <a:gdLst>
                        <a:gd name="connsiteX0" fmla="*/ 0 w 1884"/>
                        <a:gd name="connsiteY0" fmla="*/ 3140 h 3139"/>
                        <a:gd name="connsiteX1" fmla="*/ 1884 w 1884"/>
                        <a:gd name="connsiteY1" fmla="*/ 2135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135"/>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3" name="Freeform: Shape 5202">
                      <a:extLst>
                        <a:ext uri="{FF2B5EF4-FFF2-40B4-BE49-F238E27FC236}">
                          <a16:creationId xmlns:a16="http://schemas.microsoft.com/office/drawing/2014/main" id="{2E4804BC-1886-4E21-88F0-91268C50BC02}"/>
                        </a:ext>
                      </a:extLst>
                    </p:cNvPr>
                    <p:cNvSpPr/>
                    <p:nvPr/>
                  </p:nvSpPr>
                  <p:spPr>
                    <a:xfrm>
                      <a:off x="9302182" y="2427095"/>
                      <a:ext cx="1758" cy="3139"/>
                    </a:xfrm>
                    <a:custGeom>
                      <a:avLst/>
                      <a:gdLst>
                        <a:gd name="connsiteX0" fmla="*/ 0 w 1758"/>
                        <a:gd name="connsiteY0" fmla="*/ 3140 h 3139"/>
                        <a:gd name="connsiteX1" fmla="*/ 1759 w 1758"/>
                        <a:gd name="connsiteY1" fmla="*/ 2135 h 3139"/>
                        <a:gd name="connsiteX2" fmla="*/ 1759 w 1758"/>
                        <a:gd name="connsiteY2" fmla="*/ 0 h 3139"/>
                        <a:gd name="connsiteX3" fmla="*/ 0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135"/>
                          </a:lnTo>
                          <a:lnTo>
                            <a:pt x="1759"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4" name="Freeform: Shape 5203">
                      <a:extLst>
                        <a:ext uri="{FF2B5EF4-FFF2-40B4-BE49-F238E27FC236}">
                          <a16:creationId xmlns:a16="http://schemas.microsoft.com/office/drawing/2014/main" id="{30EFB322-96EA-48C6-A89F-7E55ABCF0560}"/>
                        </a:ext>
                      </a:extLst>
                    </p:cNvPr>
                    <p:cNvSpPr/>
                    <p:nvPr/>
                  </p:nvSpPr>
                  <p:spPr>
                    <a:xfrm>
                      <a:off x="9298415" y="2429230"/>
                      <a:ext cx="1883" cy="3139"/>
                    </a:xfrm>
                    <a:custGeom>
                      <a:avLst/>
                      <a:gdLst>
                        <a:gd name="connsiteX0" fmla="*/ 0 w 1883"/>
                        <a:gd name="connsiteY0" fmla="*/ 3140 h 3139"/>
                        <a:gd name="connsiteX1" fmla="*/ 1883 w 1883"/>
                        <a:gd name="connsiteY1" fmla="*/ 2135 h 3139"/>
                        <a:gd name="connsiteX2" fmla="*/ 1883 w 1883"/>
                        <a:gd name="connsiteY2" fmla="*/ 0 h 3139"/>
                        <a:gd name="connsiteX3" fmla="*/ 0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0" y="3140"/>
                          </a:moveTo>
                          <a:lnTo>
                            <a:pt x="1883" y="2135"/>
                          </a:lnTo>
                          <a:lnTo>
                            <a:pt x="1883"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5" name="Freeform: Shape 5204">
                      <a:extLst>
                        <a:ext uri="{FF2B5EF4-FFF2-40B4-BE49-F238E27FC236}">
                          <a16:creationId xmlns:a16="http://schemas.microsoft.com/office/drawing/2014/main" id="{1E6A0DEF-1F77-451B-ACCB-A29605A50DA2}"/>
                        </a:ext>
                      </a:extLst>
                    </p:cNvPr>
                    <p:cNvSpPr/>
                    <p:nvPr/>
                  </p:nvSpPr>
                  <p:spPr>
                    <a:xfrm>
                      <a:off x="9294772" y="2431365"/>
                      <a:ext cx="1884" cy="3139"/>
                    </a:xfrm>
                    <a:custGeom>
                      <a:avLst/>
                      <a:gdLst>
                        <a:gd name="connsiteX0" fmla="*/ 0 w 1884"/>
                        <a:gd name="connsiteY0" fmla="*/ 3140 h 3139"/>
                        <a:gd name="connsiteX1" fmla="*/ 1884 w 1884"/>
                        <a:gd name="connsiteY1" fmla="*/ 2010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010"/>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206" name="Graphic 4">
                  <a:extLst>
                    <a:ext uri="{FF2B5EF4-FFF2-40B4-BE49-F238E27FC236}">
                      <a16:creationId xmlns:a16="http://schemas.microsoft.com/office/drawing/2014/main" id="{84FB7ED1-A2DF-40A1-A747-5F7CF3F14040}"/>
                    </a:ext>
                  </a:extLst>
                </p:cNvPr>
                <p:cNvGrpSpPr/>
                <p:nvPr/>
              </p:nvGrpSpPr>
              <p:grpSpPr>
                <a:xfrm>
                  <a:off x="9284223" y="2379369"/>
                  <a:ext cx="77115" cy="89172"/>
                  <a:chOff x="9284223" y="2379369"/>
                  <a:chExt cx="77115" cy="89172"/>
                </a:xfrm>
                <a:solidFill>
                  <a:schemeClr val="accent1"/>
                </a:solidFill>
              </p:grpSpPr>
              <p:grpSp>
                <p:nvGrpSpPr>
                  <p:cNvPr id="5207" name="Graphic 4">
                    <a:extLst>
                      <a:ext uri="{FF2B5EF4-FFF2-40B4-BE49-F238E27FC236}">
                        <a16:creationId xmlns:a16="http://schemas.microsoft.com/office/drawing/2014/main" id="{84FB7ED1-A2DF-40A1-A747-5F7CF3F14040}"/>
                      </a:ext>
                    </a:extLst>
                  </p:cNvPr>
                  <p:cNvGrpSpPr/>
                  <p:nvPr/>
                </p:nvGrpSpPr>
                <p:grpSpPr>
                  <a:xfrm>
                    <a:off x="9284223" y="2379369"/>
                    <a:ext cx="77115" cy="89172"/>
                    <a:chOff x="9284223" y="2379369"/>
                    <a:chExt cx="77115" cy="89172"/>
                  </a:xfrm>
                  <a:solidFill>
                    <a:schemeClr val="accent1"/>
                  </a:solidFill>
                </p:grpSpPr>
                <p:sp>
                  <p:nvSpPr>
                    <p:cNvPr id="5208" name="Freeform: Shape 5207">
                      <a:extLst>
                        <a:ext uri="{FF2B5EF4-FFF2-40B4-BE49-F238E27FC236}">
                          <a16:creationId xmlns:a16="http://schemas.microsoft.com/office/drawing/2014/main" id="{D1FC1F59-CEB2-4498-A822-CDEC3D02D665}"/>
                        </a:ext>
                      </a:extLst>
                    </p:cNvPr>
                    <p:cNvSpPr/>
                    <p:nvPr/>
                  </p:nvSpPr>
                  <p:spPr>
                    <a:xfrm>
                      <a:off x="9284223" y="2401724"/>
                      <a:ext cx="38557" cy="66816"/>
                    </a:xfrm>
                    <a:custGeom>
                      <a:avLst/>
                      <a:gdLst>
                        <a:gd name="connsiteX0" fmla="*/ 0 w 38557"/>
                        <a:gd name="connsiteY0" fmla="*/ 44461 h 66816"/>
                        <a:gd name="connsiteX1" fmla="*/ 38558 w 38557"/>
                        <a:gd name="connsiteY1" fmla="*/ 66816 h 66816"/>
                        <a:gd name="connsiteX2" fmla="*/ 38558 w 38557"/>
                        <a:gd name="connsiteY2" fmla="*/ 22230 h 66816"/>
                        <a:gd name="connsiteX3" fmla="*/ 0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0" y="44461"/>
                          </a:moveTo>
                          <a:lnTo>
                            <a:pt x="38558" y="66816"/>
                          </a:lnTo>
                          <a:lnTo>
                            <a:pt x="38558" y="22230"/>
                          </a:lnTo>
                          <a:lnTo>
                            <a:pt x="0"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9" name="Freeform: Shape 5208">
                      <a:extLst>
                        <a:ext uri="{FF2B5EF4-FFF2-40B4-BE49-F238E27FC236}">
                          <a16:creationId xmlns:a16="http://schemas.microsoft.com/office/drawing/2014/main" id="{DDB72348-7AB2-480E-B4AD-27B3E15E63A9}"/>
                        </a:ext>
                      </a:extLst>
                    </p:cNvPr>
                    <p:cNvSpPr/>
                    <p:nvPr/>
                  </p:nvSpPr>
                  <p:spPr>
                    <a:xfrm>
                      <a:off x="9284223" y="2379369"/>
                      <a:ext cx="77115" cy="44586"/>
                    </a:xfrm>
                    <a:custGeom>
                      <a:avLst/>
                      <a:gdLst>
                        <a:gd name="connsiteX0" fmla="*/ 0 w 77115"/>
                        <a:gd name="connsiteY0" fmla="*/ 22356 h 44586"/>
                        <a:gd name="connsiteX1" fmla="*/ 38558 w 77115"/>
                        <a:gd name="connsiteY1" fmla="*/ 44586 h 44586"/>
                        <a:gd name="connsiteX2" fmla="*/ 77115 w 77115"/>
                        <a:gd name="connsiteY2" fmla="*/ 22356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0" y="22356"/>
                          </a:moveTo>
                          <a:lnTo>
                            <a:pt x="38558" y="44586"/>
                          </a:lnTo>
                          <a:lnTo>
                            <a:pt x="77115" y="22356"/>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210" name="Graphic 4">
                      <a:extLst>
                        <a:ext uri="{FF2B5EF4-FFF2-40B4-BE49-F238E27FC236}">
                          <a16:creationId xmlns:a16="http://schemas.microsoft.com/office/drawing/2014/main" id="{84FB7ED1-A2DF-40A1-A747-5F7CF3F14040}"/>
                        </a:ext>
                      </a:extLst>
                    </p:cNvPr>
                    <p:cNvGrpSpPr/>
                    <p:nvPr/>
                  </p:nvGrpSpPr>
                  <p:grpSpPr>
                    <a:xfrm>
                      <a:off x="9322780" y="2401724"/>
                      <a:ext cx="38557" cy="66816"/>
                      <a:chOff x="9322780" y="2401724"/>
                      <a:chExt cx="38557" cy="66816"/>
                    </a:xfrm>
                    <a:solidFill>
                      <a:schemeClr val="accent1"/>
                    </a:solidFill>
                  </p:grpSpPr>
                  <p:sp>
                    <p:nvSpPr>
                      <p:cNvPr id="5211" name="Freeform: Shape 5210">
                        <a:extLst>
                          <a:ext uri="{FF2B5EF4-FFF2-40B4-BE49-F238E27FC236}">
                            <a16:creationId xmlns:a16="http://schemas.microsoft.com/office/drawing/2014/main" id="{FE14A5AC-6682-40F9-A64B-3FE487B96710}"/>
                          </a:ext>
                        </a:extLst>
                      </p:cNvPr>
                      <p:cNvSpPr/>
                      <p:nvPr/>
                    </p:nvSpPr>
                    <p:spPr>
                      <a:xfrm>
                        <a:off x="9322780" y="2401724"/>
                        <a:ext cx="38557" cy="66816"/>
                      </a:xfrm>
                      <a:custGeom>
                        <a:avLst/>
                        <a:gdLst>
                          <a:gd name="connsiteX0" fmla="*/ 0 w 38557"/>
                          <a:gd name="connsiteY0" fmla="*/ 66816 h 66816"/>
                          <a:gd name="connsiteX1" fmla="*/ 38558 w 38557"/>
                          <a:gd name="connsiteY1" fmla="*/ 44461 h 66816"/>
                          <a:gd name="connsiteX2" fmla="*/ 38558 w 38557"/>
                          <a:gd name="connsiteY2" fmla="*/ 0 h 66816"/>
                          <a:gd name="connsiteX3" fmla="*/ 0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0" y="66816"/>
                            </a:moveTo>
                            <a:lnTo>
                              <a:pt x="38558" y="44461"/>
                            </a:lnTo>
                            <a:lnTo>
                              <a:pt x="38558" y="0"/>
                            </a:lnTo>
                            <a:lnTo>
                              <a:pt x="0"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12" name="Freeform: Shape 5211">
                        <a:extLst>
                          <a:ext uri="{FF2B5EF4-FFF2-40B4-BE49-F238E27FC236}">
                            <a16:creationId xmlns:a16="http://schemas.microsoft.com/office/drawing/2014/main" id="{F1F5C78F-4A23-4CDA-8B81-C9E7D71B548D}"/>
                          </a:ext>
                        </a:extLst>
                      </p:cNvPr>
                      <p:cNvSpPr/>
                      <p:nvPr/>
                    </p:nvSpPr>
                    <p:spPr>
                      <a:xfrm>
                        <a:off x="9338228" y="2410516"/>
                        <a:ext cx="7661" cy="16327"/>
                      </a:xfrm>
                      <a:custGeom>
                        <a:avLst/>
                        <a:gdLst>
                          <a:gd name="connsiteX0" fmla="*/ 0 w 7661"/>
                          <a:gd name="connsiteY0" fmla="*/ 16327 h 16327"/>
                          <a:gd name="connsiteX1" fmla="*/ 7661 w 7661"/>
                          <a:gd name="connsiteY1" fmla="*/ 11931 h 16327"/>
                          <a:gd name="connsiteX2" fmla="*/ 7661 w 7661"/>
                          <a:gd name="connsiteY2" fmla="*/ 0 h 16327"/>
                          <a:gd name="connsiteX3" fmla="*/ 0 w 7661"/>
                          <a:gd name="connsiteY3" fmla="*/ 4521 h 16327"/>
                        </a:gdLst>
                        <a:ahLst/>
                        <a:cxnLst>
                          <a:cxn ang="0">
                            <a:pos x="connsiteX0" y="connsiteY0"/>
                          </a:cxn>
                          <a:cxn ang="0">
                            <a:pos x="connsiteX1" y="connsiteY1"/>
                          </a:cxn>
                          <a:cxn ang="0">
                            <a:pos x="connsiteX2" y="connsiteY2"/>
                          </a:cxn>
                          <a:cxn ang="0">
                            <a:pos x="connsiteX3" y="connsiteY3"/>
                          </a:cxn>
                        </a:cxnLst>
                        <a:rect l="l" t="t" r="r" b="b"/>
                        <a:pathLst>
                          <a:path w="7661" h="16327">
                            <a:moveTo>
                              <a:pt x="0" y="16327"/>
                            </a:moveTo>
                            <a:lnTo>
                              <a:pt x="7661" y="11931"/>
                            </a:lnTo>
                            <a:lnTo>
                              <a:pt x="7661" y="0"/>
                            </a:lnTo>
                            <a:lnTo>
                              <a:pt x="0"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13" name="Freeform: Shape 5212">
                      <a:extLst>
                        <a:ext uri="{FF2B5EF4-FFF2-40B4-BE49-F238E27FC236}">
                          <a16:creationId xmlns:a16="http://schemas.microsoft.com/office/drawing/2014/main" id="{90104BD9-BD7F-4747-9B60-7EAF9E31E012}"/>
                        </a:ext>
                      </a:extLst>
                    </p:cNvPr>
                    <p:cNvSpPr/>
                    <p:nvPr/>
                  </p:nvSpPr>
                  <p:spPr>
                    <a:xfrm>
                      <a:off x="9299545" y="2388286"/>
                      <a:ext cx="46344" cy="26751"/>
                    </a:xfrm>
                    <a:custGeom>
                      <a:avLst/>
                      <a:gdLst>
                        <a:gd name="connsiteX0" fmla="*/ 46345 w 46344"/>
                        <a:gd name="connsiteY0" fmla="*/ 22230 h 26751"/>
                        <a:gd name="connsiteX1" fmla="*/ 38683 w 46344"/>
                        <a:gd name="connsiteY1" fmla="*/ 26752 h 26751"/>
                        <a:gd name="connsiteX2" fmla="*/ 0 w 46344"/>
                        <a:gd name="connsiteY2" fmla="*/ 4521 h 26751"/>
                        <a:gd name="connsiteX3" fmla="*/ 778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46345" y="22230"/>
                          </a:moveTo>
                          <a:lnTo>
                            <a:pt x="38683" y="26752"/>
                          </a:lnTo>
                          <a:lnTo>
                            <a:pt x="0" y="4521"/>
                          </a:lnTo>
                          <a:lnTo>
                            <a:pt x="778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14" name="Graphic 4">
                    <a:extLst>
                      <a:ext uri="{FF2B5EF4-FFF2-40B4-BE49-F238E27FC236}">
                        <a16:creationId xmlns:a16="http://schemas.microsoft.com/office/drawing/2014/main" id="{84FB7ED1-A2DF-40A1-A747-5F7CF3F14040}"/>
                      </a:ext>
                    </a:extLst>
                  </p:cNvPr>
                  <p:cNvGrpSpPr/>
                  <p:nvPr/>
                </p:nvGrpSpPr>
                <p:grpSpPr>
                  <a:xfrm>
                    <a:off x="9333330" y="2435133"/>
                    <a:ext cx="17457" cy="23486"/>
                    <a:chOff x="9333330" y="2435133"/>
                    <a:chExt cx="17457" cy="23486"/>
                  </a:xfrm>
                  <a:solidFill>
                    <a:srgbClr val="000000"/>
                  </a:solidFill>
                </p:grpSpPr>
                <p:grpSp>
                  <p:nvGrpSpPr>
                    <p:cNvPr id="5215" name="Graphic 4">
                      <a:extLst>
                        <a:ext uri="{FF2B5EF4-FFF2-40B4-BE49-F238E27FC236}">
                          <a16:creationId xmlns:a16="http://schemas.microsoft.com/office/drawing/2014/main" id="{84FB7ED1-A2DF-40A1-A747-5F7CF3F14040}"/>
                        </a:ext>
                      </a:extLst>
                    </p:cNvPr>
                    <p:cNvGrpSpPr/>
                    <p:nvPr/>
                  </p:nvGrpSpPr>
                  <p:grpSpPr>
                    <a:xfrm>
                      <a:off x="9333330" y="2435133"/>
                      <a:ext cx="17457" cy="23486"/>
                      <a:chOff x="9333330" y="2435133"/>
                      <a:chExt cx="17457" cy="23486"/>
                    </a:xfrm>
                    <a:solidFill>
                      <a:srgbClr val="000000"/>
                    </a:solidFill>
                  </p:grpSpPr>
                  <p:sp>
                    <p:nvSpPr>
                      <p:cNvPr id="5216" name="Freeform: Shape 5215">
                        <a:extLst>
                          <a:ext uri="{FF2B5EF4-FFF2-40B4-BE49-F238E27FC236}">
                            <a16:creationId xmlns:a16="http://schemas.microsoft.com/office/drawing/2014/main" id="{0B78FE35-6137-41A6-B052-5A31017DCAE7}"/>
                          </a:ext>
                        </a:extLst>
                      </p:cNvPr>
                      <p:cNvSpPr/>
                      <p:nvPr/>
                    </p:nvSpPr>
                    <p:spPr>
                      <a:xfrm>
                        <a:off x="9333330" y="2444678"/>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17" name="Freeform: Shape 5216">
                        <a:extLst>
                          <a:ext uri="{FF2B5EF4-FFF2-40B4-BE49-F238E27FC236}">
                            <a16:creationId xmlns:a16="http://schemas.microsoft.com/office/drawing/2014/main" id="{6D7430A6-C2CE-4012-AD69-11CBDB0F17C4}"/>
                          </a:ext>
                        </a:extLst>
                      </p:cNvPr>
                      <p:cNvSpPr/>
                      <p:nvPr/>
                    </p:nvSpPr>
                    <p:spPr>
                      <a:xfrm>
                        <a:off x="9335088" y="2443547"/>
                        <a:ext cx="1004" cy="11931"/>
                      </a:xfrm>
                      <a:custGeom>
                        <a:avLst/>
                        <a:gdLst>
                          <a:gd name="connsiteX0" fmla="*/ 1005 w 1004"/>
                          <a:gd name="connsiteY0" fmla="*/ 0 h 11931"/>
                          <a:gd name="connsiteX1" fmla="*/ 0 w 1004"/>
                          <a:gd name="connsiteY1" fmla="*/ 628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628"/>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18" name="Freeform: Shape 5217">
                        <a:extLst>
                          <a:ext uri="{FF2B5EF4-FFF2-40B4-BE49-F238E27FC236}">
                            <a16:creationId xmlns:a16="http://schemas.microsoft.com/office/drawing/2014/main" id="{00498022-8B00-440C-9D73-A43F99F2EDA6}"/>
                          </a:ext>
                        </a:extLst>
                      </p:cNvPr>
                      <p:cNvSpPr/>
                      <p:nvPr/>
                    </p:nvSpPr>
                    <p:spPr>
                      <a:xfrm>
                        <a:off x="9336972" y="2442543"/>
                        <a:ext cx="878" cy="11931"/>
                      </a:xfrm>
                      <a:custGeom>
                        <a:avLst/>
                        <a:gdLst>
                          <a:gd name="connsiteX0" fmla="*/ 878 w 878"/>
                          <a:gd name="connsiteY0" fmla="*/ 0 h 11931"/>
                          <a:gd name="connsiteX1" fmla="*/ 0 w 878"/>
                          <a:gd name="connsiteY1" fmla="*/ 502 h 11931"/>
                          <a:gd name="connsiteX2" fmla="*/ 0 w 878"/>
                          <a:gd name="connsiteY2" fmla="*/ 11932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2"/>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19" name="Freeform: Shape 5218">
                        <a:extLst>
                          <a:ext uri="{FF2B5EF4-FFF2-40B4-BE49-F238E27FC236}">
                            <a16:creationId xmlns:a16="http://schemas.microsoft.com/office/drawing/2014/main" id="{A8527926-5320-47D1-BB0E-54D4FEBFC616}"/>
                          </a:ext>
                        </a:extLst>
                      </p:cNvPr>
                      <p:cNvSpPr/>
                      <p:nvPr/>
                    </p:nvSpPr>
                    <p:spPr>
                      <a:xfrm>
                        <a:off x="9338856" y="2441412"/>
                        <a:ext cx="879" cy="11931"/>
                      </a:xfrm>
                      <a:custGeom>
                        <a:avLst/>
                        <a:gdLst>
                          <a:gd name="connsiteX0" fmla="*/ 879 w 879"/>
                          <a:gd name="connsiteY0" fmla="*/ 0 h 11931"/>
                          <a:gd name="connsiteX1" fmla="*/ 0 w 879"/>
                          <a:gd name="connsiteY1" fmla="*/ 628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628"/>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0" name="Freeform: Shape 5219">
                        <a:extLst>
                          <a:ext uri="{FF2B5EF4-FFF2-40B4-BE49-F238E27FC236}">
                            <a16:creationId xmlns:a16="http://schemas.microsoft.com/office/drawing/2014/main" id="{678716F6-AD0A-440D-8E86-DF8B95F67FAE}"/>
                          </a:ext>
                        </a:extLst>
                      </p:cNvPr>
                      <p:cNvSpPr/>
                      <p:nvPr/>
                    </p:nvSpPr>
                    <p:spPr>
                      <a:xfrm>
                        <a:off x="9340614" y="2440408"/>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1" name="Freeform: Shape 5220">
                        <a:extLst>
                          <a:ext uri="{FF2B5EF4-FFF2-40B4-BE49-F238E27FC236}">
                            <a16:creationId xmlns:a16="http://schemas.microsoft.com/office/drawing/2014/main" id="{20056871-8854-4206-B1BB-2716110F04AA}"/>
                          </a:ext>
                        </a:extLst>
                      </p:cNvPr>
                      <p:cNvSpPr/>
                      <p:nvPr/>
                    </p:nvSpPr>
                    <p:spPr>
                      <a:xfrm>
                        <a:off x="9342499" y="2439277"/>
                        <a:ext cx="878" cy="11931"/>
                      </a:xfrm>
                      <a:custGeom>
                        <a:avLst/>
                        <a:gdLst>
                          <a:gd name="connsiteX0" fmla="*/ 878 w 878"/>
                          <a:gd name="connsiteY0" fmla="*/ 0 h 11931"/>
                          <a:gd name="connsiteX1" fmla="*/ 0 w 878"/>
                          <a:gd name="connsiteY1" fmla="*/ 628 h 11931"/>
                          <a:gd name="connsiteX2" fmla="*/ 0 w 878"/>
                          <a:gd name="connsiteY2" fmla="*/ 11932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628"/>
                            </a:lnTo>
                            <a:lnTo>
                              <a:pt x="0" y="11932"/>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2" name="Freeform: Shape 5221">
                        <a:extLst>
                          <a:ext uri="{FF2B5EF4-FFF2-40B4-BE49-F238E27FC236}">
                            <a16:creationId xmlns:a16="http://schemas.microsoft.com/office/drawing/2014/main" id="{066903BE-8AE6-4421-A9CE-59A5D29BDE91}"/>
                          </a:ext>
                        </a:extLst>
                      </p:cNvPr>
                      <p:cNvSpPr/>
                      <p:nvPr/>
                    </p:nvSpPr>
                    <p:spPr>
                      <a:xfrm>
                        <a:off x="9344382" y="2438273"/>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3" name="Freeform: Shape 5222">
                        <a:extLst>
                          <a:ext uri="{FF2B5EF4-FFF2-40B4-BE49-F238E27FC236}">
                            <a16:creationId xmlns:a16="http://schemas.microsoft.com/office/drawing/2014/main" id="{358234DA-DA27-435A-99CF-8BBCD995ACF4}"/>
                          </a:ext>
                        </a:extLst>
                      </p:cNvPr>
                      <p:cNvSpPr/>
                      <p:nvPr/>
                    </p:nvSpPr>
                    <p:spPr>
                      <a:xfrm>
                        <a:off x="9346141" y="2437268"/>
                        <a:ext cx="1004" cy="11805"/>
                      </a:xfrm>
                      <a:custGeom>
                        <a:avLst/>
                        <a:gdLst>
                          <a:gd name="connsiteX0" fmla="*/ 1005 w 1004"/>
                          <a:gd name="connsiteY0" fmla="*/ 0 h 11805"/>
                          <a:gd name="connsiteX1" fmla="*/ 0 w 1004"/>
                          <a:gd name="connsiteY1" fmla="*/ 502 h 11805"/>
                          <a:gd name="connsiteX2" fmla="*/ 0 w 1004"/>
                          <a:gd name="connsiteY2" fmla="*/ 11806 h 11805"/>
                          <a:gd name="connsiteX3" fmla="*/ 1005 w 1004"/>
                          <a:gd name="connsiteY3" fmla="*/ 11304 h 11805"/>
                        </a:gdLst>
                        <a:ahLst/>
                        <a:cxnLst>
                          <a:cxn ang="0">
                            <a:pos x="connsiteX0" y="connsiteY0"/>
                          </a:cxn>
                          <a:cxn ang="0">
                            <a:pos x="connsiteX1" y="connsiteY1"/>
                          </a:cxn>
                          <a:cxn ang="0">
                            <a:pos x="connsiteX2" y="connsiteY2"/>
                          </a:cxn>
                          <a:cxn ang="0">
                            <a:pos x="connsiteX3" y="connsiteY3"/>
                          </a:cxn>
                        </a:cxnLst>
                        <a:rect l="l" t="t" r="r" b="b"/>
                        <a:pathLst>
                          <a:path w="1004" h="11805">
                            <a:moveTo>
                              <a:pt x="1005" y="0"/>
                            </a:moveTo>
                            <a:lnTo>
                              <a:pt x="0" y="502"/>
                            </a:lnTo>
                            <a:lnTo>
                              <a:pt x="0" y="11806"/>
                            </a:lnTo>
                            <a:lnTo>
                              <a:pt x="1005"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4" name="Freeform: Shape 5223">
                        <a:extLst>
                          <a:ext uri="{FF2B5EF4-FFF2-40B4-BE49-F238E27FC236}">
                            <a16:creationId xmlns:a16="http://schemas.microsoft.com/office/drawing/2014/main" id="{6A8C8C4C-95E9-4E4E-BDD7-6C1F4FBA2290}"/>
                          </a:ext>
                        </a:extLst>
                      </p:cNvPr>
                      <p:cNvSpPr/>
                      <p:nvPr/>
                    </p:nvSpPr>
                    <p:spPr>
                      <a:xfrm>
                        <a:off x="9348024" y="2436137"/>
                        <a:ext cx="879" cy="11931"/>
                      </a:xfrm>
                      <a:custGeom>
                        <a:avLst/>
                        <a:gdLst>
                          <a:gd name="connsiteX0" fmla="*/ 879 w 879"/>
                          <a:gd name="connsiteY0" fmla="*/ 0 h 11931"/>
                          <a:gd name="connsiteX1" fmla="*/ 0 w 879"/>
                          <a:gd name="connsiteY1" fmla="*/ 502 h 11931"/>
                          <a:gd name="connsiteX2" fmla="*/ 0 w 879"/>
                          <a:gd name="connsiteY2" fmla="*/ 11932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2"/>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5" name="Freeform: Shape 5224">
                        <a:extLst>
                          <a:ext uri="{FF2B5EF4-FFF2-40B4-BE49-F238E27FC236}">
                            <a16:creationId xmlns:a16="http://schemas.microsoft.com/office/drawing/2014/main" id="{ADDAF93C-826B-4A29-B1F4-7EA214EDC2CF}"/>
                          </a:ext>
                        </a:extLst>
                      </p:cNvPr>
                      <p:cNvSpPr/>
                      <p:nvPr/>
                    </p:nvSpPr>
                    <p:spPr>
                      <a:xfrm>
                        <a:off x="9349908" y="2435133"/>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26" name="Freeform: Shape 5225">
                      <a:extLst>
                        <a:ext uri="{FF2B5EF4-FFF2-40B4-BE49-F238E27FC236}">
                          <a16:creationId xmlns:a16="http://schemas.microsoft.com/office/drawing/2014/main" id="{9D6FF2F3-9FE6-4EB8-A1BC-D0413072D347}"/>
                        </a:ext>
                      </a:extLst>
                    </p:cNvPr>
                    <p:cNvSpPr/>
                    <p:nvPr/>
                  </p:nvSpPr>
                  <p:spPr>
                    <a:xfrm>
                      <a:off x="9346643" y="2448571"/>
                      <a:ext cx="1884" cy="3139"/>
                    </a:xfrm>
                    <a:custGeom>
                      <a:avLst/>
                      <a:gdLst>
                        <a:gd name="connsiteX0" fmla="*/ 0 w 1884"/>
                        <a:gd name="connsiteY0" fmla="*/ 3140 h 3139"/>
                        <a:gd name="connsiteX1" fmla="*/ 1884 w 1884"/>
                        <a:gd name="connsiteY1" fmla="*/ 2135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135"/>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7" name="Freeform: Shape 5226">
                      <a:extLst>
                        <a:ext uri="{FF2B5EF4-FFF2-40B4-BE49-F238E27FC236}">
                          <a16:creationId xmlns:a16="http://schemas.microsoft.com/office/drawing/2014/main" id="{891F111A-FA52-4B6B-B4B7-117FB5ABF8B1}"/>
                        </a:ext>
                      </a:extLst>
                    </p:cNvPr>
                    <p:cNvSpPr/>
                    <p:nvPr/>
                  </p:nvSpPr>
                  <p:spPr>
                    <a:xfrm>
                      <a:off x="9343001" y="2450706"/>
                      <a:ext cx="1758" cy="3139"/>
                    </a:xfrm>
                    <a:custGeom>
                      <a:avLst/>
                      <a:gdLst>
                        <a:gd name="connsiteX0" fmla="*/ 0 w 1758"/>
                        <a:gd name="connsiteY0" fmla="*/ 3140 h 3139"/>
                        <a:gd name="connsiteX1" fmla="*/ 1759 w 1758"/>
                        <a:gd name="connsiteY1" fmla="*/ 2009 h 3139"/>
                        <a:gd name="connsiteX2" fmla="*/ 1759 w 1758"/>
                        <a:gd name="connsiteY2" fmla="*/ 0 h 3139"/>
                        <a:gd name="connsiteX3" fmla="*/ 0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009"/>
                          </a:lnTo>
                          <a:lnTo>
                            <a:pt x="1759"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8" name="Freeform: Shape 5227">
                      <a:extLst>
                        <a:ext uri="{FF2B5EF4-FFF2-40B4-BE49-F238E27FC236}">
                          <a16:creationId xmlns:a16="http://schemas.microsoft.com/office/drawing/2014/main" id="{2189E756-6EAC-4DA5-9B1F-84A386ACD1CC}"/>
                        </a:ext>
                      </a:extLst>
                    </p:cNvPr>
                    <p:cNvSpPr/>
                    <p:nvPr/>
                  </p:nvSpPr>
                  <p:spPr>
                    <a:xfrm>
                      <a:off x="9339233" y="2452716"/>
                      <a:ext cx="1883" cy="3265"/>
                    </a:xfrm>
                    <a:custGeom>
                      <a:avLst/>
                      <a:gdLst>
                        <a:gd name="connsiteX0" fmla="*/ 0 w 1883"/>
                        <a:gd name="connsiteY0" fmla="*/ 3265 h 3265"/>
                        <a:gd name="connsiteX1" fmla="*/ 1883 w 1883"/>
                        <a:gd name="connsiteY1" fmla="*/ 2135 h 3265"/>
                        <a:gd name="connsiteX2" fmla="*/ 1883 w 1883"/>
                        <a:gd name="connsiteY2" fmla="*/ 0 h 3265"/>
                        <a:gd name="connsiteX3" fmla="*/ 0 w 1883"/>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3" h="3265">
                          <a:moveTo>
                            <a:pt x="0" y="3265"/>
                          </a:moveTo>
                          <a:lnTo>
                            <a:pt x="1883" y="2135"/>
                          </a:lnTo>
                          <a:lnTo>
                            <a:pt x="1883"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9" name="Freeform: Shape 5228">
                      <a:extLst>
                        <a:ext uri="{FF2B5EF4-FFF2-40B4-BE49-F238E27FC236}">
                          <a16:creationId xmlns:a16="http://schemas.microsoft.com/office/drawing/2014/main" id="{04AFFDBB-9089-4999-9DCB-97EB53DA7FD0}"/>
                        </a:ext>
                      </a:extLst>
                    </p:cNvPr>
                    <p:cNvSpPr/>
                    <p:nvPr/>
                  </p:nvSpPr>
                  <p:spPr>
                    <a:xfrm>
                      <a:off x="9335590" y="2454851"/>
                      <a:ext cx="1884" cy="3265"/>
                    </a:xfrm>
                    <a:custGeom>
                      <a:avLst/>
                      <a:gdLst>
                        <a:gd name="connsiteX0" fmla="*/ 0 w 1884"/>
                        <a:gd name="connsiteY0" fmla="*/ 3265 h 3265"/>
                        <a:gd name="connsiteX1" fmla="*/ 1884 w 1884"/>
                        <a:gd name="connsiteY1" fmla="*/ 2135 h 3265"/>
                        <a:gd name="connsiteX2" fmla="*/ 1884 w 1884"/>
                        <a:gd name="connsiteY2" fmla="*/ 0 h 3265"/>
                        <a:gd name="connsiteX3" fmla="*/ 0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0" y="3265"/>
                          </a:moveTo>
                          <a:lnTo>
                            <a:pt x="1884" y="2135"/>
                          </a:lnTo>
                          <a:lnTo>
                            <a:pt x="1884"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5230" name="Graphic 4">
              <a:extLst>
                <a:ext uri="{FF2B5EF4-FFF2-40B4-BE49-F238E27FC236}">
                  <a16:creationId xmlns:a16="http://schemas.microsoft.com/office/drawing/2014/main" id="{84FB7ED1-A2DF-40A1-A747-5F7CF3F14040}"/>
                </a:ext>
              </a:extLst>
            </p:cNvPr>
            <p:cNvGrpSpPr/>
            <p:nvPr/>
          </p:nvGrpSpPr>
          <p:grpSpPr>
            <a:xfrm>
              <a:off x="9249935" y="2382634"/>
              <a:ext cx="14820" cy="72726"/>
              <a:chOff x="9249935" y="2382634"/>
              <a:chExt cx="14820" cy="72726"/>
            </a:xfrm>
            <a:solidFill>
              <a:schemeClr val="accent1"/>
            </a:solidFill>
          </p:grpSpPr>
          <p:sp>
            <p:nvSpPr>
              <p:cNvPr id="5231" name="Freeform: Shape 5230">
                <a:extLst>
                  <a:ext uri="{FF2B5EF4-FFF2-40B4-BE49-F238E27FC236}">
                    <a16:creationId xmlns:a16="http://schemas.microsoft.com/office/drawing/2014/main" id="{2BEDFF0E-97E8-465A-8F20-889F37DACEF1}"/>
                  </a:ext>
                </a:extLst>
              </p:cNvPr>
              <p:cNvSpPr/>
              <p:nvPr/>
            </p:nvSpPr>
            <p:spPr>
              <a:xfrm>
                <a:off x="9254707" y="2385523"/>
                <a:ext cx="10048" cy="69837"/>
              </a:xfrm>
              <a:custGeom>
                <a:avLst/>
                <a:gdLst>
                  <a:gd name="connsiteX0" fmla="*/ 5150 w 10048"/>
                  <a:gd name="connsiteY0" fmla="*/ 0 h 69837"/>
                  <a:gd name="connsiteX1" fmla="*/ 5150 w 10048"/>
                  <a:gd name="connsiteY1" fmla="*/ 60411 h 69837"/>
                  <a:gd name="connsiteX2" fmla="*/ 10048 w 10048"/>
                  <a:gd name="connsiteY2" fmla="*/ 63174 h 69837"/>
                  <a:gd name="connsiteX3" fmla="*/ 6405 w 10048"/>
                  <a:gd name="connsiteY3" fmla="*/ 68952 h 69837"/>
                  <a:gd name="connsiteX4" fmla="*/ 1884 w 10048"/>
                  <a:gd name="connsiteY4" fmla="*/ 69454 h 69837"/>
                  <a:gd name="connsiteX5" fmla="*/ 0 w 10048"/>
                  <a:gd name="connsiteY5" fmla="*/ 65309 h 69837"/>
                  <a:gd name="connsiteX6" fmla="*/ 0 w 10048"/>
                  <a:gd name="connsiteY6" fmla="*/ 2889 h 69837"/>
                  <a:gd name="connsiteX7" fmla="*/ 5150 w 10048"/>
                  <a:gd name="connsiteY7" fmla="*/ 0 h 6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8" h="69837">
                    <a:moveTo>
                      <a:pt x="5150" y="0"/>
                    </a:moveTo>
                    <a:lnTo>
                      <a:pt x="5150" y="60411"/>
                    </a:lnTo>
                    <a:cubicBezTo>
                      <a:pt x="5150" y="63551"/>
                      <a:pt x="7285" y="64807"/>
                      <a:pt x="10048" y="63174"/>
                    </a:cubicBezTo>
                    <a:lnTo>
                      <a:pt x="6405" y="68952"/>
                    </a:lnTo>
                    <a:cubicBezTo>
                      <a:pt x="4647" y="69956"/>
                      <a:pt x="3140" y="70082"/>
                      <a:pt x="1884" y="69454"/>
                    </a:cubicBezTo>
                    <a:cubicBezTo>
                      <a:pt x="754" y="68826"/>
                      <a:pt x="0" y="67319"/>
                      <a:pt x="0" y="65309"/>
                    </a:cubicBezTo>
                    <a:lnTo>
                      <a:pt x="0" y="2889"/>
                    </a:lnTo>
                    <a:lnTo>
                      <a:pt x="5150" y="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32" name="Freeform: Shape 5231">
                <a:extLst>
                  <a:ext uri="{FF2B5EF4-FFF2-40B4-BE49-F238E27FC236}">
                    <a16:creationId xmlns:a16="http://schemas.microsoft.com/office/drawing/2014/main" id="{C2E40C2D-7124-44DC-92B9-5307B789428C}"/>
                  </a:ext>
                </a:extLst>
              </p:cNvPr>
              <p:cNvSpPr/>
              <p:nvPr/>
            </p:nvSpPr>
            <p:spPr>
              <a:xfrm>
                <a:off x="9249935" y="2382634"/>
                <a:ext cx="9922" cy="72342"/>
              </a:xfrm>
              <a:custGeom>
                <a:avLst/>
                <a:gdLst>
                  <a:gd name="connsiteX0" fmla="*/ 4773 w 9922"/>
                  <a:gd name="connsiteY0" fmla="*/ 68198 h 72342"/>
                  <a:gd name="connsiteX1" fmla="*/ 4773 w 9922"/>
                  <a:gd name="connsiteY1" fmla="*/ 5777 h 72342"/>
                  <a:gd name="connsiteX2" fmla="*/ 9922 w 9922"/>
                  <a:gd name="connsiteY2" fmla="*/ 2763 h 72342"/>
                  <a:gd name="connsiteX3" fmla="*/ 5150 w 9922"/>
                  <a:gd name="connsiteY3" fmla="*/ 0 h 72342"/>
                  <a:gd name="connsiteX4" fmla="*/ 0 w 9922"/>
                  <a:gd name="connsiteY4" fmla="*/ 3014 h 72342"/>
                  <a:gd name="connsiteX5" fmla="*/ 0 w 9922"/>
                  <a:gd name="connsiteY5" fmla="*/ 65435 h 72342"/>
                  <a:gd name="connsiteX6" fmla="*/ 1884 w 9922"/>
                  <a:gd name="connsiteY6" fmla="*/ 69580 h 72342"/>
                  <a:gd name="connsiteX7" fmla="*/ 6657 w 9922"/>
                  <a:gd name="connsiteY7" fmla="*/ 72343 h 72342"/>
                  <a:gd name="connsiteX8" fmla="*/ 4773 w 9922"/>
                  <a:gd name="connsiteY8" fmla="*/ 68198 h 72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2" h="72342">
                    <a:moveTo>
                      <a:pt x="4773" y="68198"/>
                    </a:moveTo>
                    <a:lnTo>
                      <a:pt x="4773" y="5777"/>
                    </a:lnTo>
                    <a:lnTo>
                      <a:pt x="9922" y="2763"/>
                    </a:lnTo>
                    <a:lnTo>
                      <a:pt x="5150" y="0"/>
                    </a:lnTo>
                    <a:lnTo>
                      <a:pt x="0" y="3014"/>
                    </a:lnTo>
                    <a:lnTo>
                      <a:pt x="0" y="65435"/>
                    </a:lnTo>
                    <a:cubicBezTo>
                      <a:pt x="0" y="67444"/>
                      <a:pt x="754" y="68826"/>
                      <a:pt x="1884" y="69580"/>
                    </a:cubicBezTo>
                    <a:cubicBezTo>
                      <a:pt x="3015" y="70207"/>
                      <a:pt x="6657" y="72343"/>
                      <a:pt x="6657" y="72343"/>
                    </a:cubicBezTo>
                    <a:cubicBezTo>
                      <a:pt x="5526" y="71589"/>
                      <a:pt x="4773" y="70207"/>
                      <a:pt x="4773" y="68198"/>
                    </a:cubicBez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33" name="Graphic 4">
              <a:extLst>
                <a:ext uri="{FF2B5EF4-FFF2-40B4-BE49-F238E27FC236}">
                  <a16:creationId xmlns:a16="http://schemas.microsoft.com/office/drawing/2014/main" id="{84FB7ED1-A2DF-40A1-A747-5F7CF3F14040}"/>
                </a:ext>
              </a:extLst>
            </p:cNvPr>
            <p:cNvGrpSpPr/>
            <p:nvPr/>
          </p:nvGrpSpPr>
          <p:grpSpPr>
            <a:xfrm>
              <a:off x="9281962" y="2401096"/>
              <a:ext cx="14694" cy="72600"/>
              <a:chOff x="9281962" y="2401096"/>
              <a:chExt cx="14694" cy="72600"/>
            </a:xfrm>
            <a:solidFill>
              <a:schemeClr val="accent1"/>
            </a:solidFill>
          </p:grpSpPr>
          <p:sp>
            <p:nvSpPr>
              <p:cNvPr id="5234" name="Freeform: Shape 5233">
                <a:extLst>
                  <a:ext uri="{FF2B5EF4-FFF2-40B4-BE49-F238E27FC236}">
                    <a16:creationId xmlns:a16="http://schemas.microsoft.com/office/drawing/2014/main" id="{7968D6F6-FF60-43FF-9BA4-3348132D4F0D}"/>
                  </a:ext>
                </a:extLst>
              </p:cNvPr>
              <p:cNvSpPr/>
              <p:nvPr/>
            </p:nvSpPr>
            <p:spPr>
              <a:xfrm>
                <a:off x="9286609" y="2403859"/>
                <a:ext cx="10047" cy="69837"/>
              </a:xfrm>
              <a:custGeom>
                <a:avLst/>
                <a:gdLst>
                  <a:gd name="connsiteX0" fmla="*/ 5149 w 10047"/>
                  <a:gd name="connsiteY0" fmla="*/ 0 h 69837"/>
                  <a:gd name="connsiteX1" fmla="*/ 5149 w 10047"/>
                  <a:gd name="connsiteY1" fmla="*/ 60411 h 69837"/>
                  <a:gd name="connsiteX2" fmla="*/ 10047 w 10047"/>
                  <a:gd name="connsiteY2" fmla="*/ 63174 h 69837"/>
                  <a:gd name="connsiteX3" fmla="*/ 6405 w 10047"/>
                  <a:gd name="connsiteY3" fmla="*/ 68952 h 69837"/>
                  <a:gd name="connsiteX4" fmla="*/ 1883 w 10047"/>
                  <a:gd name="connsiteY4" fmla="*/ 69454 h 69837"/>
                  <a:gd name="connsiteX5" fmla="*/ 0 w 10047"/>
                  <a:gd name="connsiteY5" fmla="*/ 65309 h 69837"/>
                  <a:gd name="connsiteX6" fmla="*/ 0 w 10047"/>
                  <a:gd name="connsiteY6" fmla="*/ 2889 h 69837"/>
                  <a:gd name="connsiteX7" fmla="*/ 5149 w 10047"/>
                  <a:gd name="connsiteY7" fmla="*/ 0 h 6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7" h="69837">
                    <a:moveTo>
                      <a:pt x="5149" y="0"/>
                    </a:moveTo>
                    <a:lnTo>
                      <a:pt x="5149" y="60411"/>
                    </a:lnTo>
                    <a:cubicBezTo>
                      <a:pt x="5149" y="63551"/>
                      <a:pt x="7284" y="64807"/>
                      <a:pt x="10047" y="63174"/>
                    </a:cubicBezTo>
                    <a:lnTo>
                      <a:pt x="6405" y="68952"/>
                    </a:lnTo>
                    <a:cubicBezTo>
                      <a:pt x="4647" y="69956"/>
                      <a:pt x="3140" y="70082"/>
                      <a:pt x="1883" y="69454"/>
                    </a:cubicBezTo>
                    <a:cubicBezTo>
                      <a:pt x="754" y="68826"/>
                      <a:pt x="0" y="67319"/>
                      <a:pt x="0" y="65309"/>
                    </a:cubicBezTo>
                    <a:lnTo>
                      <a:pt x="0" y="2889"/>
                    </a:lnTo>
                    <a:lnTo>
                      <a:pt x="5149" y="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35" name="Freeform: Shape 5234">
                <a:extLst>
                  <a:ext uri="{FF2B5EF4-FFF2-40B4-BE49-F238E27FC236}">
                    <a16:creationId xmlns:a16="http://schemas.microsoft.com/office/drawing/2014/main" id="{50059C9C-36C7-456F-9E49-7A55DEE14B88}"/>
                  </a:ext>
                </a:extLst>
              </p:cNvPr>
              <p:cNvSpPr/>
              <p:nvPr/>
            </p:nvSpPr>
            <p:spPr>
              <a:xfrm>
                <a:off x="9281962" y="2401096"/>
                <a:ext cx="9921" cy="72342"/>
              </a:xfrm>
              <a:custGeom>
                <a:avLst/>
                <a:gdLst>
                  <a:gd name="connsiteX0" fmla="*/ 4773 w 9921"/>
                  <a:gd name="connsiteY0" fmla="*/ 68198 h 72342"/>
                  <a:gd name="connsiteX1" fmla="*/ 4773 w 9921"/>
                  <a:gd name="connsiteY1" fmla="*/ 5777 h 72342"/>
                  <a:gd name="connsiteX2" fmla="*/ 9922 w 9921"/>
                  <a:gd name="connsiteY2" fmla="*/ 2763 h 72342"/>
                  <a:gd name="connsiteX3" fmla="*/ 5149 w 9921"/>
                  <a:gd name="connsiteY3" fmla="*/ 0 h 72342"/>
                  <a:gd name="connsiteX4" fmla="*/ 0 w 9921"/>
                  <a:gd name="connsiteY4" fmla="*/ 3014 h 72342"/>
                  <a:gd name="connsiteX5" fmla="*/ 0 w 9921"/>
                  <a:gd name="connsiteY5" fmla="*/ 65435 h 72342"/>
                  <a:gd name="connsiteX6" fmla="*/ 1883 w 9921"/>
                  <a:gd name="connsiteY6" fmla="*/ 69579 h 72342"/>
                  <a:gd name="connsiteX7" fmla="*/ 6656 w 9921"/>
                  <a:gd name="connsiteY7" fmla="*/ 72343 h 72342"/>
                  <a:gd name="connsiteX8" fmla="*/ 4773 w 9921"/>
                  <a:gd name="connsiteY8" fmla="*/ 68198 h 72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1" h="72342">
                    <a:moveTo>
                      <a:pt x="4773" y="68198"/>
                    </a:moveTo>
                    <a:lnTo>
                      <a:pt x="4773" y="5777"/>
                    </a:lnTo>
                    <a:lnTo>
                      <a:pt x="9922" y="2763"/>
                    </a:lnTo>
                    <a:lnTo>
                      <a:pt x="5149" y="0"/>
                    </a:lnTo>
                    <a:lnTo>
                      <a:pt x="0" y="3014"/>
                    </a:lnTo>
                    <a:lnTo>
                      <a:pt x="0" y="65435"/>
                    </a:lnTo>
                    <a:cubicBezTo>
                      <a:pt x="0" y="67444"/>
                      <a:pt x="754" y="68826"/>
                      <a:pt x="1883" y="69579"/>
                    </a:cubicBezTo>
                    <a:cubicBezTo>
                      <a:pt x="3014" y="70207"/>
                      <a:pt x="6656" y="72343"/>
                      <a:pt x="6656" y="72343"/>
                    </a:cubicBezTo>
                    <a:cubicBezTo>
                      <a:pt x="5400" y="71589"/>
                      <a:pt x="4773" y="70207"/>
                      <a:pt x="4773" y="68198"/>
                    </a:cubicBez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36" name="Graphic 4">
              <a:extLst>
                <a:ext uri="{FF2B5EF4-FFF2-40B4-BE49-F238E27FC236}">
                  <a16:creationId xmlns:a16="http://schemas.microsoft.com/office/drawing/2014/main" id="{84FB7ED1-A2DF-40A1-A747-5F7CF3F14040}"/>
                </a:ext>
              </a:extLst>
            </p:cNvPr>
            <p:cNvGrpSpPr/>
            <p:nvPr/>
          </p:nvGrpSpPr>
          <p:grpSpPr>
            <a:xfrm>
              <a:off x="9220357" y="2462748"/>
              <a:ext cx="29326" cy="32091"/>
              <a:chOff x="9220357" y="2462748"/>
              <a:chExt cx="29326" cy="32091"/>
            </a:xfrm>
            <a:solidFill>
              <a:schemeClr val="accent1"/>
            </a:solidFill>
          </p:grpSpPr>
          <p:grpSp>
            <p:nvGrpSpPr>
              <p:cNvPr id="5237" name="Graphic 4">
                <a:extLst>
                  <a:ext uri="{FF2B5EF4-FFF2-40B4-BE49-F238E27FC236}">
                    <a16:creationId xmlns:a16="http://schemas.microsoft.com/office/drawing/2014/main" id="{84FB7ED1-A2DF-40A1-A747-5F7CF3F14040}"/>
                  </a:ext>
                </a:extLst>
              </p:cNvPr>
              <p:cNvGrpSpPr/>
              <p:nvPr/>
            </p:nvGrpSpPr>
            <p:grpSpPr>
              <a:xfrm>
                <a:off x="9242399" y="2462748"/>
                <a:ext cx="7284" cy="7692"/>
                <a:chOff x="9242399" y="2462748"/>
                <a:chExt cx="7284" cy="7692"/>
              </a:xfrm>
              <a:solidFill>
                <a:schemeClr val="accent1"/>
              </a:solidFill>
            </p:grpSpPr>
            <p:sp>
              <p:nvSpPr>
                <p:cNvPr id="5238" name="Freeform: Shape 5237">
                  <a:extLst>
                    <a:ext uri="{FF2B5EF4-FFF2-40B4-BE49-F238E27FC236}">
                      <a16:creationId xmlns:a16="http://schemas.microsoft.com/office/drawing/2014/main" id="{6633A324-D91F-4077-B7A2-5549F4F3EED1}"/>
                    </a:ext>
                  </a:extLst>
                </p:cNvPr>
                <p:cNvSpPr/>
                <p:nvPr/>
              </p:nvSpPr>
              <p:spPr>
                <a:xfrm>
                  <a:off x="9242399" y="2462748"/>
                  <a:ext cx="6531" cy="7425"/>
                </a:xfrm>
                <a:custGeom>
                  <a:avLst/>
                  <a:gdLst>
                    <a:gd name="connsiteX0" fmla="*/ 4271 w 6531"/>
                    <a:gd name="connsiteY0" fmla="*/ 141 h 7425"/>
                    <a:gd name="connsiteX1" fmla="*/ 754 w 6531"/>
                    <a:gd name="connsiteY1" fmla="*/ 2151 h 7425"/>
                    <a:gd name="connsiteX2" fmla="*/ 754 w 6531"/>
                    <a:gd name="connsiteY2" fmla="*/ 6170 h 7425"/>
                    <a:gd name="connsiteX3" fmla="*/ 3014 w 6531"/>
                    <a:gd name="connsiteY3" fmla="*/ 7426 h 7425"/>
                    <a:gd name="connsiteX4" fmla="*/ 6531 w 6531"/>
                    <a:gd name="connsiteY4" fmla="*/ 1397 h 7425"/>
                    <a:gd name="connsiteX5" fmla="*/ 4271 w 6531"/>
                    <a:gd name="connsiteY5" fmla="*/ 141 h 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1" h="7425">
                      <a:moveTo>
                        <a:pt x="4271" y="141"/>
                      </a:moveTo>
                      <a:cubicBezTo>
                        <a:pt x="3266" y="-361"/>
                        <a:pt x="1759" y="518"/>
                        <a:pt x="754" y="2151"/>
                      </a:cubicBezTo>
                      <a:cubicBezTo>
                        <a:pt x="-251" y="3783"/>
                        <a:pt x="-251" y="5667"/>
                        <a:pt x="754" y="6170"/>
                      </a:cubicBezTo>
                      <a:cubicBezTo>
                        <a:pt x="1759" y="6672"/>
                        <a:pt x="3014" y="7426"/>
                        <a:pt x="3014" y="7426"/>
                      </a:cubicBezTo>
                      <a:lnTo>
                        <a:pt x="6531" y="1397"/>
                      </a:lnTo>
                      <a:cubicBezTo>
                        <a:pt x="6406" y="1523"/>
                        <a:pt x="5149" y="769"/>
                        <a:pt x="4271" y="141"/>
                      </a:cubicBezTo>
                      <a:close/>
                    </a:path>
                  </a:pathLst>
                </a:custGeom>
                <a:solidFill>
                  <a:srgbClr val="52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39" name="Freeform: Shape 5238">
                  <a:extLst>
                    <a:ext uri="{FF2B5EF4-FFF2-40B4-BE49-F238E27FC236}">
                      <a16:creationId xmlns:a16="http://schemas.microsoft.com/office/drawing/2014/main" id="{B597F415-6CC5-44C2-9118-B5A89662E639}"/>
                    </a:ext>
                  </a:extLst>
                </p:cNvPr>
                <p:cNvSpPr/>
                <p:nvPr/>
              </p:nvSpPr>
              <p:spPr>
                <a:xfrm>
                  <a:off x="9244660" y="2464068"/>
                  <a:ext cx="5023" cy="6371"/>
                </a:xfrm>
                <a:custGeom>
                  <a:avLst/>
                  <a:gdLst>
                    <a:gd name="connsiteX0" fmla="*/ 754 w 5023"/>
                    <a:gd name="connsiteY0" fmla="*/ 2212 h 6371"/>
                    <a:gd name="connsiteX1" fmla="*/ 754 w 5023"/>
                    <a:gd name="connsiteY1" fmla="*/ 6231 h 6371"/>
                    <a:gd name="connsiteX2" fmla="*/ 4271 w 5023"/>
                    <a:gd name="connsiteY2" fmla="*/ 4221 h 6371"/>
                    <a:gd name="connsiteX3" fmla="*/ 4271 w 5023"/>
                    <a:gd name="connsiteY3" fmla="*/ 202 h 6371"/>
                    <a:gd name="connsiteX4" fmla="*/ 754 w 5023"/>
                    <a:gd name="connsiteY4" fmla="*/ 2212 h 6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3" h="6371">
                      <a:moveTo>
                        <a:pt x="754" y="2212"/>
                      </a:moveTo>
                      <a:cubicBezTo>
                        <a:pt x="-251" y="3845"/>
                        <a:pt x="-251" y="5728"/>
                        <a:pt x="754" y="6231"/>
                      </a:cubicBezTo>
                      <a:cubicBezTo>
                        <a:pt x="1759" y="6733"/>
                        <a:pt x="3266" y="5854"/>
                        <a:pt x="4271" y="4221"/>
                      </a:cubicBezTo>
                      <a:cubicBezTo>
                        <a:pt x="5275" y="2589"/>
                        <a:pt x="5275" y="705"/>
                        <a:pt x="4271" y="202"/>
                      </a:cubicBezTo>
                      <a:cubicBezTo>
                        <a:pt x="3266" y="-426"/>
                        <a:pt x="1633" y="453"/>
                        <a:pt x="754" y="2212"/>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40" name="Graphic 4">
                <a:extLst>
                  <a:ext uri="{FF2B5EF4-FFF2-40B4-BE49-F238E27FC236}">
                    <a16:creationId xmlns:a16="http://schemas.microsoft.com/office/drawing/2014/main" id="{84FB7ED1-A2DF-40A1-A747-5F7CF3F14040}"/>
                  </a:ext>
                </a:extLst>
              </p:cNvPr>
              <p:cNvGrpSpPr/>
              <p:nvPr/>
            </p:nvGrpSpPr>
            <p:grpSpPr>
              <a:xfrm>
                <a:off x="9220357" y="2467913"/>
                <a:ext cx="24428" cy="26926"/>
                <a:chOff x="9220357" y="2467913"/>
                <a:chExt cx="24428" cy="26926"/>
              </a:xfrm>
              <a:solidFill>
                <a:schemeClr val="accent1"/>
              </a:solidFill>
            </p:grpSpPr>
            <p:grpSp>
              <p:nvGrpSpPr>
                <p:cNvPr id="5241" name="Graphic 4">
                  <a:extLst>
                    <a:ext uri="{FF2B5EF4-FFF2-40B4-BE49-F238E27FC236}">
                      <a16:creationId xmlns:a16="http://schemas.microsoft.com/office/drawing/2014/main" id="{84FB7ED1-A2DF-40A1-A747-5F7CF3F14040}"/>
                    </a:ext>
                  </a:extLst>
                </p:cNvPr>
                <p:cNvGrpSpPr/>
                <p:nvPr/>
              </p:nvGrpSpPr>
              <p:grpSpPr>
                <a:xfrm>
                  <a:off x="9232980" y="2467913"/>
                  <a:ext cx="11805" cy="12988"/>
                  <a:chOff x="9232980" y="2467913"/>
                  <a:chExt cx="11805" cy="12988"/>
                </a:xfrm>
                <a:solidFill>
                  <a:schemeClr val="accent1"/>
                </a:solidFill>
              </p:grpSpPr>
              <p:sp>
                <p:nvSpPr>
                  <p:cNvPr id="5242" name="Freeform: Shape 5241">
                    <a:extLst>
                      <a:ext uri="{FF2B5EF4-FFF2-40B4-BE49-F238E27FC236}">
                        <a16:creationId xmlns:a16="http://schemas.microsoft.com/office/drawing/2014/main" id="{12C2731A-19B4-40E5-904B-9468447EC78A}"/>
                      </a:ext>
                    </a:extLst>
                  </p:cNvPr>
                  <p:cNvSpPr/>
                  <p:nvPr/>
                </p:nvSpPr>
                <p:spPr>
                  <a:xfrm>
                    <a:off x="9232980" y="2467913"/>
                    <a:ext cx="11805" cy="12810"/>
                  </a:xfrm>
                  <a:custGeom>
                    <a:avLst/>
                    <a:gdLst>
                      <a:gd name="connsiteX0" fmla="*/ 10299 w 11805"/>
                      <a:gd name="connsiteY0" fmla="*/ 251 h 12810"/>
                      <a:gd name="connsiteX1" fmla="*/ 10047 w 11805"/>
                      <a:gd name="connsiteY1" fmla="*/ 126 h 12810"/>
                      <a:gd name="connsiteX2" fmla="*/ 9545 w 11805"/>
                      <a:gd name="connsiteY2" fmla="*/ 0 h 12810"/>
                      <a:gd name="connsiteX3" fmla="*/ 0 w 11805"/>
                      <a:gd name="connsiteY3" fmla="*/ 10801 h 12810"/>
                      <a:gd name="connsiteX4" fmla="*/ 2261 w 11805"/>
                      <a:gd name="connsiteY4" fmla="*/ 12811 h 12810"/>
                      <a:gd name="connsiteX5" fmla="*/ 11806 w 11805"/>
                      <a:gd name="connsiteY5" fmla="*/ 2009 h 12810"/>
                      <a:gd name="connsiteX6" fmla="*/ 11806 w 11805"/>
                      <a:gd name="connsiteY6" fmla="*/ 1758 h 12810"/>
                      <a:gd name="connsiteX7" fmla="*/ 11680 w 11805"/>
                      <a:gd name="connsiteY7" fmla="*/ 1633 h 12810"/>
                      <a:gd name="connsiteX8" fmla="*/ 11052 w 11805"/>
                      <a:gd name="connsiteY8" fmla="*/ 1005 h 12810"/>
                      <a:gd name="connsiteX9" fmla="*/ 10299 w 11805"/>
                      <a:gd name="connsiteY9" fmla="*/ 251 h 12810"/>
                      <a:gd name="connsiteX10" fmla="*/ 10299 w 11805"/>
                      <a:gd name="connsiteY10" fmla="*/ 251 h 1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5" h="12810">
                        <a:moveTo>
                          <a:pt x="10299" y="251"/>
                        </a:moveTo>
                        <a:lnTo>
                          <a:pt x="10047" y="126"/>
                        </a:lnTo>
                        <a:cubicBezTo>
                          <a:pt x="9797" y="0"/>
                          <a:pt x="9671" y="0"/>
                          <a:pt x="9545" y="0"/>
                        </a:cubicBezTo>
                        <a:cubicBezTo>
                          <a:pt x="9420" y="0"/>
                          <a:pt x="0" y="10801"/>
                          <a:pt x="0" y="10801"/>
                        </a:cubicBezTo>
                        <a:lnTo>
                          <a:pt x="2261" y="12811"/>
                        </a:lnTo>
                        <a:lnTo>
                          <a:pt x="11806" y="2009"/>
                        </a:lnTo>
                        <a:cubicBezTo>
                          <a:pt x="11806" y="2009"/>
                          <a:pt x="11806" y="1884"/>
                          <a:pt x="11806" y="1758"/>
                        </a:cubicBezTo>
                        <a:lnTo>
                          <a:pt x="11680" y="1633"/>
                        </a:lnTo>
                        <a:cubicBezTo>
                          <a:pt x="11555" y="1381"/>
                          <a:pt x="11304" y="1256"/>
                          <a:pt x="11052" y="1005"/>
                        </a:cubicBezTo>
                        <a:cubicBezTo>
                          <a:pt x="10801" y="628"/>
                          <a:pt x="10425" y="377"/>
                          <a:pt x="10299" y="251"/>
                        </a:cubicBezTo>
                        <a:lnTo>
                          <a:pt x="10299" y="251"/>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43" name="Freeform: Shape 5242">
                    <a:extLst>
                      <a:ext uri="{FF2B5EF4-FFF2-40B4-BE49-F238E27FC236}">
                        <a16:creationId xmlns:a16="http://schemas.microsoft.com/office/drawing/2014/main" id="{3EE4C231-9889-4F6D-9A03-A21E767FD721}"/>
                      </a:ext>
                    </a:extLst>
                  </p:cNvPr>
                  <p:cNvSpPr/>
                  <p:nvPr/>
                </p:nvSpPr>
                <p:spPr>
                  <a:xfrm>
                    <a:off x="9233011" y="2478662"/>
                    <a:ext cx="2197" cy="2239"/>
                  </a:xfrm>
                  <a:custGeom>
                    <a:avLst/>
                    <a:gdLst>
                      <a:gd name="connsiteX0" fmla="*/ 722 w 2197"/>
                      <a:gd name="connsiteY0" fmla="*/ 303 h 2239"/>
                      <a:gd name="connsiteX1" fmla="*/ 596 w 2197"/>
                      <a:gd name="connsiteY1" fmla="*/ 178 h 2239"/>
                      <a:gd name="connsiteX2" fmla="*/ 94 w 2197"/>
                      <a:gd name="connsiteY2" fmla="*/ 52 h 2239"/>
                      <a:gd name="connsiteX3" fmla="*/ 94 w 2197"/>
                      <a:gd name="connsiteY3" fmla="*/ 429 h 2239"/>
                      <a:gd name="connsiteX4" fmla="*/ 94 w 2197"/>
                      <a:gd name="connsiteY4" fmla="*/ 554 h 2239"/>
                      <a:gd name="connsiteX5" fmla="*/ 722 w 2197"/>
                      <a:gd name="connsiteY5" fmla="*/ 1308 h 2239"/>
                      <a:gd name="connsiteX6" fmla="*/ 1476 w 2197"/>
                      <a:gd name="connsiteY6" fmla="*/ 1936 h 2239"/>
                      <a:gd name="connsiteX7" fmla="*/ 1601 w 2197"/>
                      <a:gd name="connsiteY7" fmla="*/ 2062 h 2239"/>
                      <a:gd name="connsiteX8" fmla="*/ 2103 w 2197"/>
                      <a:gd name="connsiteY8" fmla="*/ 2187 h 2239"/>
                      <a:gd name="connsiteX9" fmla="*/ 2103 w 2197"/>
                      <a:gd name="connsiteY9" fmla="*/ 1810 h 2239"/>
                      <a:gd name="connsiteX10" fmla="*/ 2103 w 2197"/>
                      <a:gd name="connsiteY10" fmla="*/ 1685 h 2239"/>
                      <a:gd name="connsiteX11" fmla="*/ 1476 w 2197"/>
                      <a:gd name="connsiteY11" fmla="*/ 931 h 2239"/>
                      <a:gd name="connsiteX12" fmla="*/ 722 w 2197"/>
                      <a:gd name="connsiteY12" fmla="*/ 303 h 2239"/>
                      <a:gd name="connsiteX13" fmla="*/ 722 w 2197"/>
                      <a:gd name="connsiteY13" fmla="*/ 303 h 2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97" h="2239">
                        <a:moveTo>
                          <a:pt x="722" y="303"/>
                        </a:moveTo>
                        <a:lnTo>
                          <a:pt x="596" y="178"/>
                        </a:lnTo>
                        <a:cubicBezTo>
                          <a:pt x="346" y="52"/>
                          <a:pt x="220" y="-74"/>
                          <a:pt x="94" y="52"/>
                        </a:cubicBezTo>
                        <a:cubicBezTo>
                          <a:pt x="-31" y="52"/>
                          <a:pt x="-31" y="178"/>
                          <a:pt x="94" y="429"/>
                        </a:cubicBezTo>
                        <a:lnTo>
                          <a:pt x="94" y="554"/>
                        </a:lnTo>
                        <a:cubicBezTo>
                          <a:pt x="220" y="806"/>
                          <a:pt x="471" y="1057"/>
                          <a:pt x="722" y="1308"/>
                        </a:cubicBezTo>
                        <a:cubicBezTo>
                          <a:pt x="974" y="1559"/>
                          <a:pt x="1224" y="1810"/>
                          <a:pt x="1476" y="1936"/>
                        </a:cubicBezTo>
                        <a:lnTo>
                          <a:pt x="1601" y="2062"/>
                        </a:lnTo>
                        <a:cubicBezTo>
                          <a:pt x="1853" y="2187"/>
                          <a:pt x="2103" y="2313"/>
                          <a:pt x="2103" y="2187"/>
                        </a:cubicBezTo>
                        <a:cubicBezTo>
                          <a:pt x="2229" y="2187"/>
                          <a:pt x="2229" y="2062"/>
                          <a:pt x="2103" y="1810"/>
                        </a:cubicBezTo>
                        <a:lnTo>
                          <a:pt x="2103" y="1685"/>
                        </a:lnTo>
                        <a:cubicBezTo>
                          <a:pt x="1978" y="1434"/>
                          <a:pt x="1727" y="1182"/>
                          <a:pt x="1476" y="931"/>
                        </a:cubicBezTo>
                        <a:cubicBezTo>
                          <a:pt x="1224" y="680"/>
                          <a:pt x="974" y="429"/>
                          <a:pt x="722" y="303"/>
                        </a:cubicBezTo>
                        <a:lnTo>
                          <a:pt x="722" y="303"/>
                        </a:lnTo>
                        <a:close/>
                      </a:path>
                    </a:pathLst>
                  </a:custGeom>
                  <a:solidFill>
                    <a:srgbClr val="42423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44" name="Graphic 4">
                  <a:extLst>
                    <a:ext uri="{FF2B5EF4-FFF2-40B4-BE49-F238E27FC236}">
                      <a16:creationId xmlns:a16="http://schemas.microsoft.com/office/drawing/2014/main" id="{84FB7ED1-A2DF-40A1-A747-5F7CF3F14040}"/>
                    </a:ext>
                  </a:extLst>
                </p:cNvPr>
                <p:cNvGrpSpPr/>
                <p:nvPr/>
              </p:nvGrpSpPr>
              <p:grpSpPr>
                <a:xfrm>
                  <a:off x="9220357" y="2477660"/>
                  <a:ext cx="15982" cy="17179"/>
                  <a:chOff x="9220357" y="2477660"/>
                  <a:chExt cx="15982" cy="17179"/>
                </a:xfrm>
                <a:solidFill>
                  <a:schemeClr val="accent1"/>
                </a:solidFill>
              </p:grpSpPr>
              <p:sp>
                <p:nvSpPr>
                  <p:cNvPr id="5245" name="Freeform: Shape 5244">
                    <a:extLst>
                      <a:ext uri="{FF2B5EF4-FFF2-40B4-BE49-F238E27FC236}">
                        <a16:creationId xmlns:a16="http://schemas.microsoft.com/office/drawing/2014/main" id="{51939C61-A81E-49EC-8AAD-3554A127156D}"/>
                      </a:ext>
                    </a:extLst>
                  </p:cNvPr>
                  <p:cNvSpPr/>
                  <p:nvPr/>
                </p:nvSpPr>
                <p:spPr>
                  <a:xfrm>
                    <a:off x="9220420" y="2477660"/>
                    <a:ext cx="15919" cy="17004"/>
                  </a:xfrm>
                  <a:custGeom>
                    <a:avLst/>
                    <a:gdLst>
                      <a:gd name="connsiteX0" fmla="*/ 12937 w 15919"/>
                      <a:gd name="connsiteY0" fmla="*/ 552 h 17004"/>
                      <a:gd name="connsiteX1" fmla="*/ 12559 w 15919"/>
                      <a:gd name="connsiteY1" fmla="*/ 300 h 17004"/>
                      <a:gd name="connsiteX2" fmla="*/ 11555 w 15919"/>
                      <a:gd name="connsiteY2" fmla="*/ 49 h 17004"/>
                      <a:gd name="connsiteX3" fmla="*/ 0 w 15919"/>
                      <a:gd name="connsiteY3" fmla="*/ 13237 h 17004"/>
                      <a:gd name="connsiteX4" fmla="*/ 4271 w 15919"/>
                      <a:gd name="connsiteY4" fmla="*/ 17005 h 17004"/>
                      <a:gd name="connsiteX5" fmla="*/ 15825 w 15919"/>
                      <a:gd name="connsiteY5" fmla="*/ 3817 h 17004"/>
                      <a:gd name="connsiteX6" fmla="*/ 15825 w 15919"/>
                      <a:gd name="connsiteY6" fmla="*/ 3315 h 17004"/>
                      <a:gd name="connsiteX7" fmla="*/ 15699 w 15919"/>
                      <a:gd name="connsiteY7" fmla="*/ 3064 h 17004"/>
                      <a:gd name="connsiteX8" fmla="*/ 14569 w 15919"/>
                      <a:gd name="connsiteY8" fmla="*/ 1808 h 17004"/>
                      <a:gd name="connsiteX9" fmla="*/ 12937 w 15919"/>
                      <a:gd name="connsiteY9" fmla="*/ 552 h 17004"/>
                      <a:gd name="connsiteX10" fmla="*/ 12937 w 15919"/>
                      <a:gd name="connsiteY10" fmla="*/ 552 h 1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919" h="17004">
                        <a:moveTo>
                          <a:pt x="12937" y="552"/>
                        </a:moveTo>
                        <a:lnTo>
                          <a:pt x="12559" y="300"/>
                        </a:lnTo>
                        <a:cubicBezTo>
                          <a:pt x="12183" y="49"/>
                          <a:pt x="11806" y="-76"/>
                          <a:pt x="11555" y="49"/>
                        </a:cubicBezTo>
                        <a:cubicBezTo>
                          <a:pt x="11304" y="175"/>
                          <a:pt x="0" y="13237"/>
                          <a:pt x="0" y="13237"/>
                        </a:cubicBezTo>
                        <a:lnTo>
                          <a:pt x="4271" y="17005"/>
                        </a:lnTo>
                        <a:cubicBezTo>
                          <a:pt x="4271" y="17005"/>
                          <a:pt x="15699" y="3943"/>
                          <a:pt x="15825" y="3817"/>
                        </a:cubicBezTo>
                        <a:cubicBezTo>
                          <a:pt x="15951" y="3692"/>
                          <a:pt x="15951" y="3566"/>
                          <a:pt x="15825" y="3315"/>
                        </a:cubicBezTo>
                        <a:lnTo>
                          <a:pt x="15699" y="3064"/>
                        </a:lnTo>
                        <a:cubicBezTo>
                          <a:pt x="15448" y="2687"/>
                          <a:pt x="15072" y="2184"/>
                          <a:pt x="14569" y="1808"/>
                        </a:cubicBezTo>
                        <a:cubicBezTo>
                          <a:pt x="13941" y="1305"/>
                          <a:pt x="13439" y="928"/>
                          <a:pt x="12937" y="552"/>
                        </a:cubicBezTo>
                        <a:lnTo>
                          <a:pt x="12937" y="552"/>
                        </a:lnTo>
                        <a:close/>
                      </a:path>
                    </a:pathLst>
                  </a:custGeom>
                  <a:solidFill>
                    <a:srgbClr val="5E5D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46" name="Freeform: Shape 5245">
                    <a:extLst>
                      <a:ext uri="{FF2B5EF4-FFF2-40B4-BE49-F238E27FC236}">
                        <a16:creationId xmlns:a16="http://schemas.microsoft.com/office/drawing/2014/main" id="{5A96AB83-007A-46F6-BF44-096198D85415}"/>
                      </a:ext>
                    </a:extLst>
                  </p:cNvPr>
                  <p:cNvSpPr/>
                  <p:nvPr/>
                </p:nvSpPr>
                <p:spPr>
                  <a:xfrm>
                    <a:off x="9220357" y="2490973"/>
                    <a:ext cx="4395" cy="3866"/>
                  </a:xfrm>
                  <a:custGeom>
                    <a:avLst/>
                    <a:gdLst>
                      <a:gd name="connsiteX0" fmla="*/ 1444 w 4395"/>
                      <a:gd name="connsiteY0" fmla="*/ 426 h 3866"/>
                      <a:gd name="connsiteX1" fmla="*/ 1194 w 4395"/>
                      <a:gd name="connsiteY1" fmla="*/ 300 h 3866"/>
                      <a:gd name="connsiteX2" fmla="*/ 189 w 4395"/>
                      <a:gd name="connsiteY2" fmla="*/ 49 h 3866"/>
                      <a:gd name="connsiteX3" fmla="*/ 189 w 4395"/>
                      <a:gd name="connsiteY3" fmla="*/ 677 h 3866"/>
                      <a:gd name="connsiteX4" fmla="*/ 314 w 4395"/>
                      <a:gd name="connsiteY4" fmla="*/ 803 h 3866"/>
                      <a:gd name="connsiteX5" fmla="*/ 1444 w 4395"/>
                      <a:gd name="connsiteY5" fmla="*/ 2184 h 3866"/>
                      <a:gd name="connsiteX6" fmla="*/ 2951 w 4395"/>
                      <a:gd name="connsiteY6" fmla="*/ 3440 h 3866"/>
                      <a:gd name="connsiteX7" fmla="*/ 3203 w 4395"/>
                      <a:gd name="connsiteY7" fmla="*/ 3566 h 3866"/>
                      <a:gd name="connsiteX8" fmla="*/ 4208 w 4395"/>
                      <a:gd name="connsiteY8" fmla="*/ 3817 h 3866"/>
                      <a:gd name="connsiteX9" fmla="*/ 4208 w 4395"/>
                      <a:gd name="connsiteY9" fmla="*/ 3189 h 3866"/>
                      <a:gd name="connsiteX10" fmla="*/ 4082 w 4395"/>
                      <a:gd name="connsiteY10" fmla="*/ 3064 h 3866"/>
                      <a:gd name="connsiteX11" fmla="*/ 2951 w 4395"/>
                      <a:gd name="connsiteY11" fmla="*/ 1682 h 3866"/>
                      <a:gd name="connsiteX12" fmla="*/ 1444 w 4395"/>
                      <a:gd name="connsiteY12" fmla="*/ 426 h 3866"/>
                      <a:gd name="connsiteX13" fmla="*/ 1444 w 4395"/>
                      <a:gd name="connsiteY13" fmla="*/ 426 h 3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5" h="3866">
                        <a:moveTo>
                          <a:pt x="1444" y="426"/>
                        </a:moveTo>
                        <a:lnTo>
                          <a:pt x="1194" y="300"/>
                        </a:lnTo>
                        <a:cubicBezTo>
                          <a:pt x="691" y="49"/>
                          <a:pt x="314" y="-76"/>
                          <a:pt x="189" y="49"/>
                        </a:cubicBezTo>
                        <a:cubicBezTo>
                          <a:pt x="-63" y="175"/>
                          <a:pt x="-63" y="426"/>
                          <a:pt x="189" y="677"/>
                        </a:cubicBezTo>
                        <a:lnTo>
                          <a:pt x="314" y="803"/>
                        </a:lnTo>
                        <a:cubicBezTo>
                          <a:pt x="565" y="1180"/>
                          <a:pt x="942" y="1682"/>
                          <a:pt x="1444" y="2184"/>
                        </a:cubicBezTo>
                        <a:cubicBezTo>
                          <a:pt x="1947" y="2687"/>
                          <a:pt x="2449" y="3064"/>
                          <a:pt x="2951" y="3440"/>
                        </a:cubicBezTo>
                        <a:lnTo>
                          <a:pt x="3203" y="3566"/>
                        </a:lnTo>
                        <a:cubicBezTo>
                          <a:pt x="3705" y="3817"/>
                          <a:pt x="4082" y="3943"/>
                          <a:pt x="4208" y="3817"/>
                        </a:cubicBezTo>
                        <a:cubicBezTo>
                          <a:pt x="4458" y="3692"/>
                          <a:pt x="4458" y="3440"/>
                          <a:pt x="4208" y="3189"/>
                        </a:cubicBezTo>
                        <a:lnTo>
                          <a:pt x="4082" y="3064"/>
                        </a:lnTo>
                        <a:cubicBezTo>
                          <a:pt x="3831" y="2687"/>
                          <a:pt x="3454" y="2184"/>
                          <a:pt x="2951" y="1682"/>
                        </a:cubicBezTo>
                        <a:cubicBezTo>
                          <a:pt x="2449" y="1054"/>
                          <a:pt x="1947" y="677"/>
                          <a:pt x="1444" y="426"/>
                        </a:cubicBezTo>
                        <a:lnTo>
                          <a:pt x="1444" y="426"/>
                        </a:lnTo>
                        <a:close/>
                      </a:path>
                    </a:pathLst>
                  </a:custGeom>
                  <a:solidFill>
                    <a:srgbClr val="42423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5247" name="Graphic 4">
              <a:extLst>
                <a:ext uri="{FF2B5EF4-FFF2-40B4-BE49-F238E27FC236}">
                  <a16:creationId xmlns:a16="http://schemas.microsoft.com/office/drawing/2014/main" id="{84FB7ED1-A2DF-40A1-A747-5F7CF3F14040}"/>
                </a:ext>
              </a:extLst>
            </p:cNvPr>
            <p:cNvGrpSpPr/>
            <p:nvPr/>
          </p:nvGrpSpPr>
          <p:grpSpPr>
            <a:xfrm>
              <a:off x="9237250" y="2372586"/>
              <a:ext cx="51870" cy="183870"/>
              <a:chOff x="9237250" y="2372586"/>
              <a:chExt cx="51870" cy="183870"/>
            </a:xfrm>
            <a:solidFill>
              <a:schemeClr val="accent1"/>
            </a:solidFill>
          </p:grpSpPr>
          <p:grpSp>
            <p:nvGrpSpPr>
              <p:cNvPr id="5248" name="Graphic 4">
                <a:extLst>
                  <a:ext uri="{FF2B5EF4-FFF2-40B4-BE49-F238E27FC236}">
                    <a16:creationId xmlns:a16="http://schemas.microsoft.com/office/drawing/2014/main" id="{84FB7ED1-A2DF-40A1-A747-5F7CF3F14040}"/>
                  </a:ext>
                </a:extLst>
              </p:cNvPr>
              <p:cNvGrpSpPr/>
              <p:nvPr/>
            </p:nvGrpSpPr>
            <p:grpSpPr>
              <a:xfrm>
                <a:off x="9240390" y="2376731"/>
                <a:ext cx="16703" cy="161389"/>
                <a:chOff x="9240390" y="2376731"/>
                <a:chExt cx="16703" cy="161389"/>
              </a:xfrm>
              <a:solidFill>
                <a:schemeClr val="accent1"/>
              </a:solidFill>
            </p:grpSpPr>
            <p:sp>
              <p:nvSpPr>
                <p:cNvPr id="5249" name="Freeform: Shape 5248">
                  <a:extLst>
                    <a:ext uri="{FF2B5EF4-FFF2-40B4-BE49-F238E27FC236}">
                      <a16:creationId xmlns:a16="http://schemas.microsoft.com/office/drawing/2014/main" id="{9BF113F1-8BD4-4A7F-8ECD-B2BB57D80AB4}"/>
                    </a:ext>
                  </a:extLst>
                </p:cNvPr>
                <p:cNvSpPr/>
                <p:nvPr/>
              </p:nvSpPr>
              <p:spPr>
                <a:xfrm>
                  <a:off x="9240390" y="2376731"/>
                  <a:ext cx="9670" cy="161389"/>
                </a:xfrm>
                <a:custGeom>
                  <a:avLst/>
                  <a:gdLst>
                    <a:gd name="connsiteX0" fmla="*/ 0 w 9670"/>
                    <a:gd name="connsiteY0" fmla="*/ 0 h 161389"/>
                    <a:gd name="connsiteX1" fmla="*/ 0 w 9670"/>
                    <a:gd name="connsiteY1" fmla="*/ 155863 h 161389"/>
                    <a:gd name="connsiteX2" fmla="*/ 9670 w 9670"/>
                    <a:gd name="connsiteY2" fmla="*/ 161389 h 161389"/>
                    <a:gd name="connsiteX3" fmla="*/ 9670 w 9670"/>
                    <a:gd name="connsiteY3" fmla="*/ 5526 h 161389"/>
                  </a:gdLst>
                  <a:ahLst/>
                  <a:cxnLst>
                    <a:cxn ang="0">
                      <a:pos x="connsiteX0" y="connsiteY0"/>
                    </a:cxn>
                    <a:cxn ang="0">
                      <a:pos x="connsiteX1" y="connsiteY1"/>
                    </a:cxn>
                    <a:cxn ang="0">
                      <a:pos x="connsiteX2" y="connsiteY2"/>
                    </a:cxn>
                    <a:cxn ang="0">
                      <a:pos x="connsiteX3" y="connsiteY3"/>
                    </a:cxn>
                  </a:cxnLst>
                  <a:rect l="l" t="t" r="r" b="b"/>
                  <a:pathLst>
                    <a:path w="9670" h="161389">
                      <a:moveTo>
                        <a:pt x="0" y="0"/>
                      </a:moveTo>
                      <a:lnTo>
                        <a:pt x="0" y="155863"/>
                      </a:lnTo>
                      <a:lnTo>
                        <a:pt x="9670" y="161389"/>
                      </a:lnTo>
                      <a:lnTo>
                        <a:pt x="9670" y="5526"/>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0" name="Freeform: Shape 5249">
                  <a:extLst>
                    <a:ext uri="{FF2B5EF4-FFF2-40B4-BE49-F238E27FC236}">
                      <a16:creationId xmlns:a16="http://schemas.microsoft.com/office/drawing/2014/main" id="{F2F0803A-B1CC-490F-AC19-659F6FE6573B}"/>
                    </a:ext>
                  </a:extLst>
                </p:cNvPr>
                <p:cNvSpPr/>
                <p:nvPr/>
              </p:nvSpPr>
              <p:spPr>
                <a:xfrm>
                  <a:off x="9250060" y="2378113"/>
                  <a:ext cx="7033" cy="160007"/>
                </a:xfrm>
                <a:custGeom>
                  <a:avLst/>
                  <a:gdLst>
                    <a:gd name="connsiteX0" fmla="*/ 0 w 7033"/>
                    <a:gd name="connsiteY0" fmla="*/ 160008 h 160007"/>
                    <a:gd name="connsiteX1" fmla="*/ 7033 w 7033"/>
                    <a:gd name="connsiteY1" fmla="*/ 155863 h 160007"/>
                    <a:gd name="connsiteX2" fmla="*/ 7033 w 7033"/>
                    <a:gd name="connsiteY2" fmla="*/ 0 h 160007"/>
                    <a:gd name="connsiteX3" fmla="*/ 0 w 7033"/>
                    <a:gd name="connsiteY3" fmla="*/ 4145 h 160007"/>
                  </a:gdLst>
                  <a:ahLst/>
                  <a:cxnLst>
                    <a:cxn ang="0">
                      <a:pos x="connsiteX0" y="connsiteY0"/>
                    </a:cxn>
                    <a:cxn ang="0">
                      <a:pos x="connsiteX1" y="connsiteY1"/>
                    </a:cxn>
                    <a:cxn ang="0">
                      <a:pos x="connsiteX2" y="connsiteY2"/>
                    </a:cxn>
                    <a:cxn ang="0">
                      <a:pos x="connsiteX3" y="connsiteY3"/>
                    </a:cxn>
                  </a:cxnLst>
                  <a:rect l="l" t="t" r="r" b="b"/>
                  <a:pathLst>
                    <a:path w="7033" h="160007">
                      <a:moveTo>
                        <a:pt x="0" y="160008"/>
                      </a:moveTo>
                      <a:lnTo>
                        <a:pt x="7033" y="155863"/>
                      </a:lnTo>
                      <a:lnTo>
                        <a:pt x="7033" y="0"/>
                      </a:lnTo>
                      <a:lnTo>
                        <a:pt x="0" y="4145"/>
                      </a:lnTo>
                      <a:close/>
                    </a:path>
                  </a:pathLst>
                </a:custGeom>
                <a:solidFill>
                  <a:srgbClr val="574E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51" name="Freeform: Shape 5250">
                <a:extLst>
                  <a:ext uri="{FF2B5EF4-FFF2-40B4-BE49-F238E27FC236}">
                    <a16:creationId xmlns:a16="http://schemas.microsoft.com/office/drawing/2014/main" id="{EFD8414B-0751-49FA-A22F-CB24C14104BD}"/>
                  </a:ext>
                </a:extLst>
              </p:cNvPr>
              <p:cNvSpPr/>
              <p:nvPr/>
            </p:nvSpPr>
            <p:spPr>
              <a:xfrm>
                <a:off x="9272417" y="2395194"/>
                <a:ext cx="9545" cy="161263"/>
              </a:xfrm>
              <a:custGeom>
                <a:avLst/>
                <a:gdLst>
                  <a:gd name="connsiteX0" fmla="*/ 0 w 9545"/>
                  <a:gd name="connsiteY0" fmla="*/ 0 h 161263"/>
                  <a:gd name="connsiteX1" fmla="*/ 0 w 9545"/>
                  <a:gd name="connsiteY1" fmla="*/ 155737 h 161263"/>
                  <a:gd name="connsiteX2" fmla="*/ 9545 w 9545"/>
                  <a:gd name="connsiteY2" fmla="*/ 161264 h 161263"/>
                  <a:gd name="connsiteX3" fmla="*/ 9545 w 9545"/>
                  <a:gd name="connsiteY3" fmla="*/ 5526 h 161263"/>
                </a:gdLst>
                <a:ahLst/>
                <a:cxnLst>
                  <a:cxn ang="0">
                    <a:pos x="connsiteX0" y="connsiteY0"/>
                  </a:cxn>
                  <a:cxn ang="0">
                    <a:pos x="connsiteX1" y="connsiteY1"/>
                  </a:cxn>
                  <a:cxn ang="0">
                    <a:pos x="connsiteX2" y="connsiteY2"/>
                  </a:cxn>
                  <a:cxn ang="0">
                    <a:pos x="connsiteX3" y="connsiteY3"/>
                  </a:cxn>
                </a:cxnLst>
                <a:rect l="l" t="t" r="r" b="b"/>
                <a:pathLst>
                  <a:path w="9545" h="161263">
                    <a:moveTo>
                      <a:pt x="0" y="0"/>
                    </a:moveTo>
                    <a:lnTo>
                      <a:pt x="0" y="155737"/>
                    </a:lnTo>
                    <a:lnTo>
                      <a:pt x="9545" y="161264"/>
                    </a:lnTo>
                    <a:lnTo>
                      <a:pt x="9545" y="5526"/>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252" name="Graphic 4">
                <a:extLst>
                  <a:ext uri="{FF2B5EF4-FFF2-40B4-BE49-F238E27FC236}">
                    <a16:creationId xmlns:a16="http://schemas.microsoft.com/office/drawing/2014/main" id="{84FB7ED1-A2DF-40A1-A747-5F7CF3F14040}"/>
                  </a:ext>
                </a:extLst>
              </p:cNvPr>
              <p:cNvGrpSpPr/>
              <p:nvPr/>
            </p:nvGrpSpPr>
            <p:grpSpPr>
              <a:xfrm>
                <a:off x="9237250" y="2372586"/>
                <a:ext cx="51870" cy="183870"/>
                <a:chOff x="9237250" y="2372586"/>
                <a:chExt cx="51870" cy="183870"/>
              </a:xfrm>
              <a:solidFill>
                <a:schemeClr val="accent1"/>
              </a:solidFill>
            </p:grpSpPr>
            <p:sp>
              <p:nvSpPr>
                <p:cNvPr id="5253" name="Freeform: Shape 5252">
                  <a:extLst>
                    <a:ext uri="{FF2B5EF4-FFF2-40B4-BE49-F238E27FC236}">
                      <a16:creationId xmlns:a16="http://schemas.microsoft.com/office/drawing/2014/main" id="{387686D5-2A92-484C-AD8D-C11AF78D5CC4}"/>
                    </a:ext>
                  </a:extLst>
                </p:cNvPr>
                <p:cNvSpPr/>
                <p:nvPr/>
              </p:nvSpPr>
              <p:spPr>
                <a:xfrm>
                  <a:off x="9237250" y="2372586"/>
                  <a:ext cx="51870" cy="30017"/>
                </a:xfrm>
                <a:custGeom>
                  <a:avLst/>
                  <a:gdLst>
                    <a:gd name="connsiteX0" fmla="*/ 42200 w 51870"/>
                    <a:gd name="connsiteY0" fmla="*/ 18462 h 30017"/>
                    <a:gd name="connsiteX1" fmla="*/ 35166 w 51870"/>
                    <a:gd name="connsiteY1" fmla="*/ 22607 h 30017"/>
                    <a:gd name="connsiteX2" fmla="*/ 12810 w 51870"/>
                    <a:gd name="connsiteY2" fmla="*/ 9671 h 30017"/>
                    <a:gd name="connsiteX3" fmla="*/ 12810 w 51870"/>
                    <a:gd name="connsiteY3" fmla="*/ 9671 h 30017"/>
                    <a:gd name="connsiteX4" fmla="*/ 19843 w 51870"/>
                    <a:gd name="connsiteY4" fmla="*/ 5526 h 30017"/>
                    <a:gd name="connsiteX5" fmla="*/ 10298 w 51870"/>
                    <a:gd name="connsiteY5" fmla="*/ 0 h 30017"/>
                    <a:gd name="connsiteX6" fmla="*/ 0 w 51870"/>
                    <a:gd name="connsiteY6" fmla="*/ 6029 h 30017"/>
                    <a:gd name="connsiteX7" fmla="*/ 41572 w 51870"/>
                    <a:gd name="connsiteY7" fmla="*/ 30017 h 30017"/>
                    <a:gd name="connsiteX8" fmla="*/ 51871 w 51870"/>
                    <a:gd name="connsiteY8" fmla="*/ 23989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870" h="30017">
                      <a:moveTo>
                        <a:pt x="42200" y="18462"/>
                      </a:moveTo>
                      <a:lnTo>
                        <a:pt x="35166" y="22607"/>
                      </a:lnTo>
                      <a:lnTo>
                        <a:pt x="12810" y="9671"/>
                      </a:lnTo>
                      <a:lnTo>
                        <a:pt x="12810" y="9671"/>
                      </a:lnTo>
                      <a:lnTo>
                        <a:pt x="19843" y="5526"/>
                      </a:lnTo>
                      <a:lnTo>
                        <a:pt x="10298" y="0"/>
                      </a:lnTo>
                      <a:lnTo>
                        <a:pt x="0" y="6029"/>
                      </a:lnTo>
                      <a:lnTo>
                        <a:pt x="41572" y="30017"/>
                      </a:lnTo>
                      <a:lnTo>
                        <a:pt x="51871" y="23989"/>
                      </a:ln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4" name="Freeform: Shape 5253">
                  <a:extLst>
                    <a:ext uri="{FF2B5EF4-FFF2-40B4-BE49-F238E27FC236}">
                      <a16:creationId xmlns:a16="http://schemas.microsoft.com/office/drawing/2014/main" id="{22FB8EA5-5E11-45C8-B021-FA8F8C15F966}"/>
                    </a:ext>
                  </a:extLst>
                </p:cNvPr>
                <p:cNvSpPr/>
                <p:nvPr/>
              </p:nvSpPr>
              <p:spPr>
                <a:xfrm>
                  <a:off x="9237250" y="2378615"/>
                  <a:ext cx="41571" cy="33910"/>
                </a:xfrm>
                <a:custGeom>
                  <a:avLst/>
                  <a:gdLst>
                    <a:gd name="connsiteX0" fmla="*/ 0 w 41571"/>
                    <a:gd name="connsiteY0" fmla="*/ 0 h 33910"/>
                    <a:gd name="connsiteX1" fmla="*/ 0 w 41571"/>
                    <a:gd name="connsiteY1" fmla="*/ 9922 h 33910"/>
                    <a:gd name="connsiteX2" fmla="*/ 41572 w 41571"/>
                    <a:gd name="connsiteY2" fmla="*/ 33911 h 33910"/>
                    <a:gd name="connsiteX3" fmla="*/ 41572 w 41571"/>
                    <a:gd name="connsiteY3" fmla="*/ 23989 h 33910"/>
                  </a:gdLst>
                  <a:ahLst/>
                  <a:cxnLst>
                    <a:cxn ang="0">
                      <a:pos x="connsiteX0" y="connsiteY0"/>
                    </a:cxn>
                    <a:cxn ang="0">
                      <a:pos x="connsiteX1" y="connsiteY1"/>
                    </a:cxn>
                    <a:cxn ang="0">
                      <a:pos x="connsiteX2" y="connsiteY2"/>
                    </a:cxn>
                    <a:cxn ang="0">
                      <a:pos x="connsiteX3" y="connsiteY3"/>
                    </a:cxn>
                  </a:cxnLst>
                  <a:rect l="l" t="t" r="r" b="b"/>
                  <a:pathLst>
                    <a:path w="41571" h="33910">
                      <a:moveTo>
                        <a:pt x="0" y="0"/>
                      </a:moveTo>
                      <a:lnTo>
                        <a:pt x="0" y="9922"/>
                      </a:lnTo>
                      <a:lnTo>
                        <a:pt x="41572" y="33911"/>
                      </a:lnTo>
                      <a:lnTo>
                        <a:pt x="41572" y="23989"/>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5" name="Freeform: Shape 5254">
                  <a:extLst>
                    <a:ext uri="{FF2B5EF4-FFF2-40B4-BE49-F238E27FC236}">
                      <a16:creationId xmlns:a16="http://schemas.microsoft.com/office/drawing/2014/main" id="{75693DFC-2D89-49AC-B1D9-9F853B16CA34}"/>
                    </a:ext>
                  </a:extLst>
                </p:cNvPr>
                <p:cNvSpPr/>
                <p:nvPr/>
              </p:nvSpPr>
              <p:spPr>
                <a:xfrm>
                  <a:off x="9278822" y="2396575"/>
                  <a:ext cx="10298" cy="159882"/>
                </a:xfrm>
                <a:custGeom>
                  <a:avLst/>
                  <a:gdLst>
                    <a:gd name="connsiteX0" fmla="*/ 0 w 10298"/>
                    <a:gd name="connsiteY0" fmla="*/ 6028 h 159882"/>
                    <a:gd name="connsiteX1" fmla="*/ 0 w 10298"/>
                    <a:gd name="connsiteY1" fmla="*/ 15950 h 159882"/>
                    <a:gd name="connsiteX2" fmla="*/ 3140 w 10298"/>
                    <a:gd name="connsiteY2" fmla="*/ 14067 h 159882"/>
                    <a:gd name="connsiteX3" fmla="*/ 3140 w 10298"/>
                    <a:gd name="connsiteY3" fmla="*/ 159882 h 159882"/>
                    <a:gd name="connsiteX4" fmla="*/ 10299 w 10298"/>
                    <a:gd name="connsiteY4" fmla="*/ 155863 h 159882"/>
                    <a:gd name="connsiteX5" fmla="*/ 10299 w 10298"/>
                    <a:gd name="connsiteY5" fmla="*/ 0 h 15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98" h="159882">
                      <a:moveTo>
                        <a:pt x="0" y="6028"/>
                      </a:moveTo>
                      <a:lnTo>
                        <a:pt x="0" y="15950"/>
                      </a:lnTo>
                      <a:lnTo>
                        <a:pt x="3140" y="14067"/>
                      </a:lnTo>
                      <a:lnTo>
                        <a:pt x="3140" y="159882"/>
                      </a:lnTo>
                      <a:lnTo>
                        <a:pt x="10299" y="155863"/>
                      </a:lnTo>
                      <a:lnTo>
                        <a:pt x="10299" y="0"/>
                      </a:lnTo>
                      <a:close/>
                    </a:path>
                  </a:pathLst>
                </a:custGeom>
                <a:solidFill>
                  <a:srgbClr val="574E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256" name="Graphic 4">
              <a:extLst>
                <a:ext uri="{FF2B5EF4-FFF2-40B4-BE49-F238E27FC236}">
                  <a16:creationId xmlns:a16="http://schemas.microsoft.com/office/drawing/2014/main" id="{84FB7ED1-A2DF-40A1-A747-5F7CF3F14040}"/>
                </a:ext>
              </a:extLst>
            </p:cNvPr>
            <p:cNvGrpSpPr/>
            <p:nvPr/>
          </p:nvGrpSpPr>
          <p:grpSpPr>
            <a:xfrm>
              <a:off x="9261427" y="2486485"/>
              <a:ext cx="29200" cy="31965"/>
              <a:chOff x="9261427" y="2486485"/>
              <a:chExt cx="29200" cy="31965"/>
            </a:xfrm>
            <a:solidFill>
              <a:schemeClr val="accent1"/>
            </a:solidFill>
          </p:grpSpPr>
          <p:grpSp>
            <p:nvGrpSpPr>
              <p:cNvPr id="5257" name="Graphic 4">
                <a:extLst>
                  <a:ext uri="{FF2B5EF4-FFF2-40B4-BE49-F238E27FC236}">
                    <a16:creationId xmlns:a16="http://schemas.microsoft.com/office/drawing/2014/main" id="{84FB7ED1-A2DF-40A1-A747-5F7CF3F14040}"/>
                  </a:ext>
                </a:extLst>
              </p:cNvPr>
              <p:cNvGrpSpPr/>
              <p:nvPr/>
            </p:nvGrpSpPr>
            <p:grpSpPr>
              <a:xfrm>
                <a:off x="9283469" y="2486485"/>
                <a:ext cx="7158" cy="7692"/>
                <a:chOff x="9283469" y="2486485"/>
                <a:chExt cx="7158" cy="7692"/>
              </a:xfrm>
              <a:solidFill>
                <a:schemeClr val="accent1"/>
              </a:solidFill>
            </p:grpSpPr>
            <p:sp>
              <p:nvSpPr>
                <p:cNvPr id="5258" name="Freeform: Shape 5257">
                  <a:extLst>
                    <a:ext uri="{FF2B5EF4-FFF2-40B4-BE49-F238E27FC236}">
                      <a16:creationId xmlns:a16="http://schemas.microsoft.com/office/drawing/2014/main" id="{B719936B-5E20-441C-8B6B-4892CA432226}"/>
                    </a:ext>
                  </a:extLst>
                </p:cNvPr>
                <p:cNvSpPr/>
                <p:nvPr/>
              </p:nvSpPr>
              <p:spPr>
                <a:xfrm>
                  <a:off x="9283469" y="2486485"/>
                  <a:ext cx="6530" cy="7425"/>
                </a:xfrm>
                <a:custGeom>
                  <a:avLst/>
                  <a:gdLst>
                    <a:gd name="connsiteX0" fmla="*/ 4270 w 6530"/>
                    <a:gd name="connsiteY0" fmla="*/ 141 h 7425"/>
                    <a:gd name="connsiteX1" fmla="*/ 754 w 6530"/>
                    <a:gd name="connsiteY1" fmla="*/ 2151 h 7425"/>
                    <a:gd name="connsiteX2" fmla="*/ 754 w 6530"/>
                    <a:gd name="connsiteY2" fmla="*/ 6170 h 7425"/>
                    <a:gd name="connsiteX3" fmla="*/ 3014 w 6530"/>
                    <a:gd name="connsiteY3" fmla="*/ 7426 h 7425"/>
                    <a:gd name="connsiteX4" fmla="*/ 6531 w 6530"/>
                    <a:gd name="connsiteY4" fmla="*/ 1397 h 7425"/>
                    <a:gd name="connsiteX5" fmla="*/ 4270 w 6530"/>
                    <a:gd name="connsiteY5" fmla="*/ 141 h 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0" h="7425">
                      <a:moveTo>
                        <a:pt x="4270" y="141"/>
                      </a:moveTo>
                      <a:cubicBezTo>
                        <a:pt x="3266" y="-361"/>
                        <a:pt x="1758" y="518"/>
                        <a:pt x="754" y="2151"/>
                      </a:cubicBezTo>
                      <a:cubicBezTo>
                        <a:pt x="-251" y="3783"/>
                        <a:pt x="-251" y="5667"/>
                        <a:pt x="754" y="6170"/>
                      </a:cubicBezTo>
                      <a:cubicBezTo>
                        <a:pt x="1758" y="6672"/>
                        <a:pt x="3014" y="7426"/>
                        <a:pt x="3014" y="7426"/>
                      </a:cubicBezTo>
                      <a:lnTo>
                        <a:pt x="6531" y="1397"/>
                      </a:lnTo>
                      <a:cubicBezTo>
                        <a:pt x="6406" y="1397"/>
                        <a:pt x="5149" y="769"/>
                        <a:pt x="4270" y="141"/>
                      </a:cubicBez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9" name="Freeform: Shape 5258">
                  <a:extLst>
                    <a:ext uri="{FF2B5EF4-FFF2-40B4-BE49-F238E27FC236}">
                      <a16:creationId xmlns:a16="http://schemas.microsoft.com/office/drawing/2014/main" id="{F9F6C4F6-979F-4E2C-89E0-483A477A1FFD}"/>
                    </a:ext>
                  </a:extLst>
                </p:cNvPr>
                <p:cNvSpPr/>
                <p:nvPr/>
              </p:nvSpPr>
              <p:spPr>
                <a:xfrm>
                  <a:off x="9285604" y="2487806"/>
                  <a:ext cx="5023" cy="6371"/>
                </a:xfrm>
                <a:custGeom>
                  <a:avLst/>
                  <a:gdLst>
                    <a:gd name="connsiteX0" fmla="*/ 754 w 5023"/>
                    <a:gd name="connsiteY0" fmla="*/ 2212 h 6371"/>
                    <a:gd name="connsiteX1" fmla="*/ 754 w 5023"/>
                    <a:gd name="connsiteY1" fmla="*/ 6231 h 6371"/>
                    <a:gd name="connsiteX2" fmla="*/ 4271 w 5023"/>
                    <a:gd name="connsiteY2" fmla="*/ 4221 h 6371"/>
                    <a:gd name="connsiteX3" fmla="*/ 4271 w 5023"/>
                    <a:gd name="connsiteY3" fmla="*/ 202 h 6371"/>
                    <a:gd name="connsiteX4" fmla="*/ 754 w 5023"/>
                    <a:gd name="connsiteY4" fmla="*/ 2212 h 6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3" h="6371">
                      <a:moveTo>
                        <a:pt x="754" y="2212"/>
                      </a:moveTo>
                      <a:cubicBezTo>
                        <a:pt x="-251" y="3845"/>
                        <a:pt x="-251" y="5728"/>
                        <a:pt x="754" y="6231"/>
                      </a:cubicBezTo>
                      <a:cubicBezTo>
                        <a:pt x="1759" y="6733"/>
                        <a:pt x="3266" y="5854"/>
                        <a:pt x="4271" y="4221"/>
                      </a:cubicBezTo>
                      <a:cubicBezTo>
                        <a:pt x="5275" y="2589"/>
                        <a:pt x="5275" y="705"/>
                        <a:pt x="4271" y="202"/>
                      </a:cubicBezTo>
                      <a:cubicBezTo>
                        <a:pt x="3391" y="-426"/>
                        <a:pt x="1759" y="453"/>
                        <a:pt x="754" y="2212"/>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60" name="Graphic 4">
                <a:extLst>
                  <a:ext uri="{FF2B5EF4-FFF2-40B4-BE49-F238E27FC236}">
                    <a16:creationId xmlns:a16="http://schemas.microsoft.com/office/drawing/2014/main" id="{84FB7ED1-A2DF-40A1-A747-5F7CF3F14040}"/>
                  </a:ext>
                </a:extLst>
              </p:cNvPr>
              <p:cNvGrpSpPr/>
              <p:nvPr/>
            </p:nvGrpSpPr>
            <p:grpSpPr>
              <a:xfrm>
                <a:off x="9261427" y="2491525"/>
                <a:ext cx="24302" cy="26926"/>
                <a:chOff x="9261427" y="2491525"/>
                <a:chExt cx="24302" cy="26926"/>
              </a:xfrm>
              <a:solidFill>
                <a:schemeClr val="accent1"/>
              </a:solidFill>
            </p:grpSpPr>
            <p:grpSp>
              <p:nvGrpSpPr>
                <p:cNvPr id="5261" name="Graphic 4">
                  <a:extLst>
                    <a:ext uri="{FF2B5EF4-FFF2-40B4-BE49-F238E27FC236}">
                      <a16:creationId xmlns:a16="http://schemas.microsoft.com/office/drawing/2014/main" id="{84FB7ED1-A2DF-40A1-A747-5F7CF3F14040}"/>
                    </a:ext>
                  </a:extLst>
                </p:cNvPr>
                <p:cNvGrpSpPr/>
                <p:nvPr/>
              </p:nvGrpSpPr>
              <p:grpSpPr>
                <a:xfrm>
                  <a:off x="9273924" y="2491525"/>
                  <a:ext cx="11805" cy="12988"/>
                  <a:chOff x="9273924" y="2491525"/>
                  <a:chExt cx="11805" cy="12988"/>
                </a:xfrm>
                <a:solidFill>
                  <a:schemeClr val="accent1"/>
                </a:solidFill>
              </p:grpSpPr>
              <p:sp>
                <p:nvSpPr>
                  <p:cNvPr id="5262" name="Freeform: Shape 5261">
                    <a:extLst>
                      <a:ext uri="{FF2B5EF4-FFF2-40B4-BE49-F238E27FC236}">
                        <a16:creationId xmlns:a16="http://schemas.microsoft.com/office/drawing/2014/main" id="{FA0495D5-4ABD-4F36-80BA-251B294AEDC2}"/>
                      </a:ext>
                    </a:extLst>
                  </p:cNvPr>
                  <p:cNvSpPr/>
                  <p:nvPr/>
                </p:nvSpPr>
                <p:spPr>
                  <a:xfrm>
                    <a:off x="9273924" y="2491525"/>
                    <a:ext cx="11805" cy="12810"/>
                  </a:xfrm>
                  <a:custGeom>
                    <a:avLst/>
                    <a:gdLst>
                      <a:gd name="connsiteX0" fmla="*/ 10299 w 11805"/>
                      <a:gd name="connsiteY0" fmla="*/ 251 h 12810"/>
                      <a:gd name="connsiteX1" fmla="*/ 10047 w 11805"/>
                      <a:gd name="connsiteY1" fmla="*/ 126 h 12810"/>
                      <a:gd name="connsiteX2" fmla="*/ 9545 w 11805"/>
                      <a:gd name="connsiteY2" fmla="*/ 0 h 12810"/>
                      <a:gd name="connsiteX3" fmla="*/ 0 w 11805"/>
                      <a:gd name="connsiteY3" fmla="*/ 10801 h 12810"/>
                      <a:gd name="connsiteX4" fmla="*/ 2261 w 11805"/>
                      <a:gd name="connsiteY4" fmla="*/ 12811 h 12810"/>
                      <a:gd name="connsiteX5" fmla="*/ 11806 w 11805"/>
                      <a:gd name="connsiteY5" fmla="*/ 2009 h 12810"/>
                      <a:gd name="connsiteX6" fmla="*/ 11806 w 11805"/>
                      <a:gd name="connsiteY6" fmla="*/ 1758 h 12810"/>
                      <a:gd name="connsiteX7" fmla="*/ 11680 w 11805"/>
                      <a:gd name="connsiteY7" fmla="*/ 1633 h 12810"/>
                      <a:gd name="connsiteX8" fmla="*/ 11052 w 11805"/>
                      <a:gd name="connsiteY8" fmla="*/ 1005 h 12810"/>
                      <a:gd name="connsiteX9" fmla="*/ 10299 w 11805"/>
                      <a:gd name="connsiteY9" fmla="*/ 251 h 12810"/>
                      <a:gd name="connsiteX10" fmla="*/ 10299 w 11805"/>
                      <a:gd name="connsiteY10" fmla="*/ 251 h 1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5" h="12810">
                        <a:moveTo>
                          <a:pt x="10299" y="251"/>
                        </a:moveTo>
                        <a:lnTo>
                          <a:pt x="10047" y="126"/>
                        </a:lnTo>
                        <a:cubicBezTo>
                          <a:pt x="9796" y="0"/>
                          <a:pt x="9671" y="0"/>
                          <a:pt x="9545" y="0"/>
                        </a:cubicBezTo>
                        <a:cubicBezTo>
                          <a:pt x="9420" y="0"/>
                          <a:pt x="0" y="10801"/>
                          <a:pt x="0" y="10801"/>
                        </a:cubicBezTo>
                        <a:lnTo>
                          <a:pt x="2261" y="12811"/>
                        </a:lnTo>
                        <a:lnTo>
                          <a:pt x="11806" y="2009"/>
                        </a:lnTo>
                        <a:cubicBezTo>
                          <a:pt x="11806" y="2009"/>
                          <a:pt x="11806" y="1884"/>
                          <a:pt x="11806" y="1758"/>
                        </a:cubicBezTo>
                        <a:lnTo>
                          <a:pt x="11680" y="1633"/>
                        </a:lnTo>
                        <a:cubicBezTo>
                          <a:pt x="11555" y="1382"/>
                          <a:pt x="11303" y="1256"/>
                          <a:pt x="11052" y="1005"/>
                        </a:cubicBezTo>
                        <a:cubicBezTo>
                          <a:pt x="10927" y="628"/>
                          <a:pt x="10550" y="502"/>
                          <a:pt x="10299" y="251"/>
                        </a:cubicBezTo>
                        <a:lnTo>
                          <a:pt x="10299" y="251"/>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63" name="Freeform: Shape 5262">
                    <a:extLst>
                      <a:ext uri="{FF2B5EF4-FFF2-40B4-BE49-F238E27FC236}">
                        <a16:creationId xmlns:a16="http://schemas.microsoft.com/office/drawing/2014/main" id="{A28F3CF2-A533-4CB0-8F61-EBB431A3E725}"/>
                      </a:ext>
                    </a:extLst>
                  </p:cNvPr>
                  <p:cNvSpPr/>
                  <p:nvPr/>
                </p:nvSpPr>
                <p:spPr>
                  <a:xfrm>
                    <a:off x="9273955" y="2502274"/>
                    <a:ext cx="2197" cy="2239"/>
                  </a:xfrm>
                  <a:custGeom>
                    <a:avLst/>
                    <a:gdLst>
                      <a:gd name="connsiteX0" fmla="*/ 722 w 2197"/>
                      <a:gd name="connsiteY0" fmla="*/ 303 h 2239"/>
                      <a:gd name="connsiteX1" fmla="*/ 596 w 2197"/>
                      <a:gd name="connsiteY1" fmla="*/ 178 h 2239"/>
                      <a:gd name="connsiteX2" fmla="*/ 94 w 2197"/>
                      <a:gd name="connsiteY2" fmla="*/ 52 h 2239"/>
                      <a:gd name="connsiteX3" fmla="*/ 94 w 2197"/>
                      <a:gd name="connsiteY3" fmla="*/ 429 h 2239"/>
                      <a:gd name="connsiteX4" fmla="*/ 94 w 2197"/>
                      <a:gd name="connsiteY4" fmla="*/ 554 h 2239"/>
                      <a:gd name="connsiteX5" fmla="*/ 722 w 2197"/>
                      <a:gd name="connsiteY5" fmla="*/ 1308 h 2239"/>
                      <a:gd name="connsiteX6" fmla="*/ 1476 w 2197"/>
                      <a:gd name="connsiteY6" fmla="*/ 1936 h 2239"/>
                      <a:gd name="connsiteX7" fmla="*/ 1601 w 2197"/>
                      <a:gd name="connsiteY7" fmla="*/ 2062 h 2239"/>
                      <a:gd name="connsiteX8" fmla="*/ 2103 w 2197"/>
                      <a:gd name="connsiteY8" fmla="*/ 2187 h 2239"/>
                      <a:gd name="connsiteX9" fmla="*/ 2103 w 2197"/>
                      <a:gd name="connsiteY9" fmla="*/ 1810 h 2239"/>
                      <a:gd name="connsiteX10" fmla="*/ 2103 w 2197"/>
                      <a:gd name="connsiteY10" fmla="*/ 1685 h 2239"/>
                      <a:gd name="connsiteX11" fmla="*/ 1476 w 2197"/>
                      <a:gd name="connsiteY11" fmla="*/ 931 h 2239"/>
                      <a:gd name="connsiteX12" fmla="*/ 722 w 2197"/>
                      <a:gd name="connsiteY12" fmla="*/ 303 h 2239"/>
                      <a:gd name="connsiteX13" fmla="*/ 722 w 2197"/>
                      <a:gd name="connsiteY13" fmla="*/ 303 h 2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97" h="2239">
                        <a:moveTo>
                          <a:pt x="722" y="303"/>
                        </a:moveTo>
                        <a:lnTo>
                          <a:pt x="596" y="178"/>
                        </a:lnTo>
                        <a:cubicBezTo>
                          <a:pt x="345" y="52"/>
                          <a:pt x="220" y="-74"/>
                          <a:pt x="94" y="52"/>
                        </a:cubicBezTo>
                        <a:cubicBezTo>
                          <a:pt x="-31" y="52"/>
                          <a:pt x="-31" y="178"/>
                          <a:pt x="94" y="429"/>
                        </a:cubicBezTo>
                        <a:lnTo>
                          <a:pt x="94" y="554"/>
                        </a:lnTo>
                        <a:cubicBezTo>
                          <a:pt x="220" y="806"/>
                          <a:pt x="471" y="1057"/>
                          <a:pt x="722" y="1308"/>
                        </a:cubicBezTo>
                        <a:cubicBezTo>
                          <a:pt x="974" y="1559"/>
                          <a:pt x="1224" y="1810"/>
                          <a:pt x="1476" y="1936"/>
                        </a:cubicBezTo>
                        <a:lnTo>
                          <a:pt x="1601" y="2062"/>
                        </a:lnTo>
                        <a:cubicBezTo>
                          <a:pt x="1852" y="2187"/>
                          <a:pt x="2103" y="2313"/>
                          <a:pt x="2103" y="2187"/>
                        </a:cubicBezTo>
                        <a:cubicBezTo>
                          <a:pt x="2229" y="2187"/>
                          <a:pt x="2229" y="2062"/>
                          <a:pt x="2103" y="1810"/>
                        </a:cubicBezTo>
                        <a:lnTo>
                          <a:pt x="2103" y="1685"/>
                        </a:lnTo>
                        <a:cubicBezTo>
                          <a:pt x="1978" y="1434"/>
                          <a:pt x="1727" y="1182"/>
                          <a:pt x="1476" y="931"/>
                        </a:cubicBezTo>
                        <a:cubicBezTo>
                          <a:pt x="1350" y="680"/>
                          <a:pt x="974" y="554"/>
                          <a:pt x="722" y="303"/>
                        </a:cubicBezTo>
                        <a:lnTo>
                          <a:pt x="722" y="303"/>
                        </a:lnTo>
                        <a:close/>
                      </a:path>
                    </a:pathLst>
                  </a:custGeom>
                  <a:solidFill>
                    <a:srgbClr val="42423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64" name="Graphic 4">
                  <a:extLst>
                    <a:ext uri="{FF2B5EF4-FFF2-40B4-BE49-F238E27FC236}">
                      <a16:creationId xmlns:a16="http://schemas.microsoft.com/office/drawing/2014/main" id="{84FB7ED1-A2DF-40A1-A747-5F7CF3F14040}"/>
                    </a:ext>
                  </a:extLst>
                </p:cNvPr>
                <p:cNvGrpSpPr/>
                <p:nvPr/>
              </p:nvGrpSpPr>
              <p:grpSpPr>
                <a:xfrm>
                  <a:off x="9261427" y="2501397"/>
                  <a:ext cx="15981" cy="17053"/>
                  <a:chOff x="9261427" y="2501397"/>
                  <a:chExt cx="15981" cy="17053"/>
                </a:xfrm>
                <a:solidFill>
                  <a:schemeClr val="accent1"/>
                </a:solidFill>
              </p:grpSpPr>
              <p:sp>
                <p:nvSpPr>
                  <p:cNvPr id="5265" name="Freeform: Shape 5264">
                    <a:extLst>
                      <a:ext uri="{FF2B5EF4-FFF2-40B4-BE49-F238E27FC236}">
                        <a16:creationId xmlns:a16="http://schemas.microsoft.com/office/drawing/2014/main" id="{8B877B68-B37D-42AA-A9DC-77A87AF2C405}"/>
                      </a:ext>
                    </a:extLst>
                  </p:cNvPr>
                  <p:cNvSpPr/>
                  <p:nvPr/>
                </p:nvSpPr>
                <p:spPr>
                  <a:xfrm>
                    <a:off x="9261490" y="2501397"/>
                    <a:ext cx="15918" cy="17004"/>
                  </a:xfrm>
                  <a:custGeom>
                    <a:avLst/>
                    <a:gdLst>
                      <a:gd name="connsiteX0" fmla="*/ 12936 w 15918"/>
                      <a:gd name="connsiteY0" fmla="*/ 552 h 17004"/>
                      <a:gd name="connsiteX1" fmla="*/ 12559 w 15918"/>
                      <a:gd name="connsiteY1" fmla="*/ 300 h 17004"/>
                      <a:gd name="connsiteX2" fmla="*/ 11555 w 15918"/>
                      <a:gd name="connsiteY2" fmla="*/ 49 h 17004"/>
                      <a:gd name="connsiteX3" fmla="*/ 0 w 15918"/>
                      <a:gd name="connsiteY3" fmla="*/ 13237 h 17004"/>
                      <a:gd name="connsiteX4" fmla="*/ 4270 w 15918"/>
                      <a:gd name="connsiteY4" fmla="*/ 17005 h 17004"/>
                      <a:gd name="connsiteX5" fmla="*/ 15825 w 15918"/>
                      <a:gd name="connsiteY5" fmla="*/ 3817 h 17004"/>
                      <a:gd name="connsiteX6" fmla="*/ 15825 w 15918"/>
                      <a:gd name="connsiteY6" fmla="*/ 3315 h 17004"/>
                      <a:gd name="connsiteX7" fmla="*/ 15699 w 15918"/>
                      <a:gd name="connsiteY7" fmla="*/ 3064 h 17004"/>
                      <a:gd name="connsiteX8" fmla="*/ 14569 w 15918"/>
                      <a:gd name="connsiteY8" fmla="*/ 1808 h 17004"/>
                      <a:gd name="connsiteX9" fmla="*/ 12936 w 15918"/>
                      <a:gd name="connsiteY9" fmla="*/ 552 h 17004"/>
                      <a:gd name="connsiteX10" fmla="*/ 12936 w 15918"/>
                      <a:gd name="connsiteY10" fmla="*/ 552 h 1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918" h="17004">
                        <a:moveTo>
                          <a:pt x="12936" y="552"/>
                        </a:moveTo>
                        <a:lnTo>
                          <a:pt x="12559" y="300"/>
                        </a:lnTo>
                        <a:cubicBezTo>
                          <a:pt x="12182" y="49"/>
                          <a:pt x="11806" y="-76"/>
                          <a:pt x="11555" y="49"/>
                        </a:cubicBezTo>
                        <a:cubicBezTo>
                          <a:pt x="11303" y="175"/>
                          <a:pt x="0" y="13237"/>
                          <a:pt x="0" y="13237"/>
                        </a:cubicBezTo>
                        <a:lnTo>
                          <a:pt x="4270" y="17005"/>
                        </a:lnTo>
                        <a:cubicBezTo>
                          <a:pt x="4270" y="17005"/>
                          <a:pt x="15699" y="3943"/>
                          <a:pt x="15825" y="3817"/>
                        </a:cubicBezTo>
                        <a:cubicBezTo>
                          <a:pt x="15950" y="3692"/>
                          <a:pt x="15950" y="3566"/>
                          <a:pt x="15825" y="3315"/>
                        </a:cubicBezTo>
                        <a:lnTo>
                          <a:pt x="15699" y="3064"/>
                        </a:lnTo>
                        <a:cubicBezTo>
                          <a:pt x="15448" y="2687"/>
                          <a:pt x="15072" y="2184"/>
                          <a:pt x="14569" y="1808"/>
                        </a:cubicBezTo>
                        <a:cubicBezTo>
                          <a:pt x="13941" y="1180"/>
                          <a:pt x="13439" y="803"/>
                          <a:pt x="12936" y="552"/>
                        </a:cubicBezTo>
                        <a:lnTo>
                          <a:pt x="12936" y="552"/>
                        </a:lnTo>
                        <a:close/>
                      </a:path>
                    </a:pathLst>
                  </a:custGeom>
                  <a:solidFill>
                    <a:srgbClr val="5E5D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66" name="Freeform: Shape 5265">
                    <a:extLst>
                      <a:ext uri="{FF2B5EF4-FFF2-40B4-BE49-F238E27FC236}">
                        <a16:creationId xmlns:a16="http://schemas.microsoft.com/office/drawing/2014/main" id="{9127E0B6-9F21-475B-BAB4-58F4049F5C1B}"/>
                      </a:ext>
                    </a:extLst>
                  </p:cNvPr>
                  <p:cNvSpPr/>
                  <p:nvPr/>
                </p:nvSpPr>
                <p:spPr>
                  <a:xfrm>
                    <a:off x="9261427" y="2514585"/>
                    <a:ext cx="4352" cy="3866"/>
                  </a:xfrm>
                  <a:custGeom>
                    <a:avLst/>
                    <a:gdLst>
                      <a:gd name="connsiteX0" fmla="*/ 1444 w 4352"/>
                      <a:gd name="connsiteY0" fmla="*/ 426 h 3866"/>
                      <a:gd name="connsiteX1" fmla="*/ 1193 w 4352"/>
                      <a:gd name="connsiteY1" fmla="*/ 300 h 3866"/>
                      <a:gd name="connsiteX2" fmla="*/ 189 w 4352"/>
                      <a:gd name="connsiteY2" fmla="*/ 49 h 3866"/>
                      <a:gd name="connsiteX3" fmla="*/ 189 w 4352"/>
                      <a:gd name="connsiteY3" fmla="*/ 677 h 3866"/>
                      <a:gd name="connsiteX4" fmla="*/ 314 w 4352"/>
                      <a:gd name="connsiteY4" fmla="*/ 803 h 3866"/>
                      <a:gd name="connsiteX5" fmla="*/ 1444 w 4352"/>
                      <a:gd name="connsiteY5" fmla="*/ 2184 h 3866"/>
                      <a:gd name="connsiteX6" fmla="*/ 2951 w 4352"/>
                      <a:gd name="connsiteY6" fmla="*/ 3440 h 3866"/>
                      <a:gd name="connsiteX7" fmla="*/ 3203 w 4352"/>
                      <a:gd name="connsiteY7" fmla="*/ 3566 h 3866"/>
                      <a:gd name="connsiteX8" fmla="*/ 4207 w 4352"/>
                      <a:gd name="connsiteY8" fmla="*/ 3817 h 3866"/>
                      <a:gd name="connsiteX9" fmla="*/ 4207 w 4352"/>
                      <a:gd name="connsiteY9" fmla="*/ 3189 h 3866"/>
                      <a:gd name="connsiteX10" fmla="*/ 4082 w 4352"/>
                      <a:gd name="connsiteY10" fmla="*/ 3064 h 3866"/>
                      <a:gd name="connsiteX11" fmla="*/ 2951 w 4352"/>
                      <a:gd name="connsiteY11" fmla="*/ 1682 h 3866"/>
                      <a:gd name="connsiteX12" fmla="*/ 1444 w 4352"/>
                      <a:gd name="connsiteY12" fmla="*/ 426 h 3866"/>
                      <a:gd name="connsiteX13" fmla="*/ 1444 w 4352"/>
                      <a:gd name="connsiteY13" fmla="*/ 426 h 3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2" h="3866">
                        <a:moveTo>
                          <a:pt x="1444" y="426"/>
                        </a:moveTo>
                        <a:lnTo>
                          <a:pt x="1193" y="300"/>
                        </a:lnTo>
                        <a:cubicBezTo>
                          <a:pt x="691" y="49"/>
                          <a:pt x="314" y="-76"/>
                          <a:pt x="189" y="49"/>
                        </a:cubicBezTo>
                        <a:cubicBezTo>
                          <a:pt x="-63" y="175"/>
                          <a:pt x="-63" y="426"/>
                          <a:pt x="189" y="677"/>
                        </a:cubicBezTo>
                        <a:lnTo>
                          <a:pt x="314" y="803"/>
                        </a:lnTo>
                        <a:cubicBezTo>
                          <a:pt x="565" y="1180"/>
                          <a:pt x="942" y="1682"/>
                          <a:pt x="1444" y="2184"/>
                        </a:cubicBezTo>
                        <a:cubicBezTo>
                          <a:pt x="1946" y="2687"/>
                          <a:pt x="2449" y="3064"/>
                          <a:pt x="2951" y="3440"/>
                        </a:cubicBezTo>
                        <a:lnTo>
                          <a:pt x="3203" y="3566"/>
                        </a:lnTo>
                        <a:cubicBezTo>
                          <a:pt x="3705" y="3817"/>
                          <a:pt x="4082" y="3943"/>
                          <a:pt x="4207" y="3817"/>
                        </a:cubicBezTo>
                        <a:cubicBezTo>
                          <a:pt x="4333" y="3692"/>
                          <a:pt x="4458" y="3440"/>
                          <a:pt x="4207" y="3189"/>
                        </a:cubicBezTo>
                        <a:lnTo>
                          <a:pt x="4082" y="3064"/>
                        </a:lnTo>
                        <a:cubicBezTo>
                          <a:pt x="3831" y="2687"/>
                          <a:pt x="3453" y="2184"/>
                          <a:pt x="2951" y="1682"/>
                        </a:cubicBezTo>
                        <a:cubicBezTo>
                          <a:pt x="2449" y="1180"/>
                          <a:pt x="1946" y="803"/>
                          <a:pt x="1444" y="426"/>
                        </a:cubicBezTo>
                        <a:lnTo>
                          <a:pt x="1444" y="426"/>
                        </a:lnTo>
                        <a:close/>
                      </a:path>
                    </a:pathLst>
                  </a:custGeom>
                  <a:solidFill>
                    <a:srgbClr val="42423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5267" name="Graphic 4">
              <a:extLst>
                <a:ext uri="{FF2B5EF4-FFF2-40B4-BE49-F238E27FC236}">
                  <a16:creationId xmlns:a16="http://schemas.microsoft.com/office/drawing/2014/main" id="{84FB7ED1-A2DF-40A1-A747-5F7CF3F14040}"/>
                </a:ext>
              </a:extLst>
            </p:cNvPr>
            <p:cNvGrpSpPr/>
            <p:nvPr/>
          </p:nvGrpSpPr>
          <p:grpSpPr>
            <a:xfrm>
              <a:off x="9254959" y="2523748"/>
              <a:ext cx="67215" cy="72647"/>
              <a:chOff x="9254959" y="2523748"/>
              <a:chExt cx="67215" cy="72647"/>
            </a:xfrm>
            <a:solidFill>
              <a:schemeClr val="accent1"/>
            </a:solidFill>
          </p:grpSpPr>
          <p:sp>
            <p:nvSpPr>
              <p:cNvPr id="5268" name="Freeform: Shape 5267">
                <a:extLst>
                  <a:ext uri="{FF2B5EF4-FFF2-40B4-BE49-F238E27FC236}">
                    <a16:creationId xmlns:a16="http://schemas.microsoft.com/office/drawing/2014/main" id="{8287258C-03A3-43F2-94A4-AD1091D1B490}"/>
                  </a:ext>
                </a:extLst>
              </p:cNvPr>
              <p:cNvSpPr/>
              <p:nvPr/>
            </p:nvSpPr>
            <p:spPr>
              <a:xfrm>
                <a:off x="9254959" y="2523748"/>
                <a:ext cx="58244" cy="65041"/>
              </a:xfrm>
              <a:custGeom>
                <a:avLst/>
                <a:gdLst>
                  <a:gd name="connsiteX0" fmla="*/ 51745 w 58244"/>
                  <a:gd name="connsiteY0" fmla="*/ 9725 h 65041"/>
                  <a:gd name="connsiteX1" fmla="*/ 51745 w 58244"/>
                  <a:gd name="connsiteY1" fmla="*/ 9725 h 65041"/>
                  <a:gd name="connsiteX2" fmla="*/ 37427 w 58244"/>
                  <a:gd name="connsiteY2" fmla="*/ 1436 h 65041"/>
                  <a:gd name="connsiteX3" fmla="*/ 6405 w 58244"/>
                  <a:gd name="connsiteY3" fmla="*/ 19396 h 65041"/>
                  <a:gd name="connsiteX4" fmla="*/ 6405 w 58244"/>
                  <a:gd name="connsiteY4" fmla="*/ 55316 h 65041"/>
                  <a:gd name="connsiteX5" fmla="*/ 20723 w 58244"/>
                  <a:gd name="connsiteY5" fmla="*/ 63605 h 65041"/>
                  <a:gd name="connsiteX6" fmla="*/ 20723 w 58244"/>
                  <a:gd name="connsiteY6" fmla="*/ 63605 h 65041"/>
                  <a:gd name="connsiteX7" fmla="*/ 51745 w 58244"/>
                  <a:gd name="connsiteY7" fmla="*/ 45645 h 65041"/>
                  <a:gd name="connsiteX8" fmla="*/ 51745 w 58244"/>
                  <a:gd name="connsiteY8" fmla="*/ 9725 h 6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44" h="65041">
                    <a:moveTo>
                      <a:pt x="51745" y="9725"/>
                    </a:moveTo>
                    <a:lnTo>
                      <a:pt x="51745" y="9725"/>
                    </a:lnTo>
                    <a:cubicBezTo>
                      <a:pt x="51745" y="9725"/>
                      <a:pt x="45967" y="6334"/>
                      <a:pt x="37427" y="1436"/>
                    </a:cubicBezTo>
                    <a:cubicBezTo>
                      <a:pt x="28886" y="-3462"/>
                      <a:pt x="14946" y="4576"/>
                      <a:pt x="6405" y="19396"/>
                    </a:cubicBezTo>
                    <a:cubicBezTo>
                      <a:pt x="-2135" y="34216"/>
                      <a:pt x="-2135" y="50292"/>
                      <a:pt x="6405" y="55316"/>
                    </a:cubicBezTo>
                    <a:cubicBezTo>
                      <a:pt x="14946" y="60214"/>
                      <a:pt x="20723" y="63605"/>
                      <a:pt x="20723" y="63605"/>
                    </a:cubicBezTo>
                    <a:lnTo>
                      <a:pt x="20723" y="63605"/>
                    </a:lnTo>
                    <a:cubicBezTo>
                      <a:pt x="29264" y="68503"/>
                      <a:pt x="43204" y="60465"/>
                      <a:pt x="51745" y="45645"/>
                    </a:cubicBezTo>
                    <a:cubicBezTo>
                      <a:pt x="60411" y="30825"/>
                      <a:pt x="60411" y="14749"/>
                      <a:pt x="51745" y="9725"/>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69" name="Freeform: Shape 5268">
                <a:extLst>
                  <a:ext uri="{FF2B5EF4-FFF2-40B4-BE49-F238E27FC236}">
                    <a16:creationId xmlns:a16="http://schemas.microsoft.com/office/drawing/2014/main" id="{04CCBAA1-BC14-4431-ADF4-0C978D58E11B}"/>
                  </a:ext>
                </a:extLst>
              </p:cNvPr>
              <p:cNvSpPr/>
              <p:nvPr/>
            </p:nvSpPr>
            <p:spPr>
              <a:xfrm>
                <a:off x="9260046" y="2524705"/>
                <a:ext cx="62128" cy="71690"/>
              </a:xfrm>
              <a:custGeom>
                <a:avLst/>
                <a:gdLst>
                  <a:gd name="connsiteX0" fmla="*/ 46575 w 62128"/>
                  <a:gd name="connsiteY0" fmla="*/ 8980 h 71690"/>
                  <a:gd name="connsiteX1" fmla="*/ 46618 w 62128"/>
                  <a:gd name="connsiteY1" fmla="*/ 44825 h 71690"/>
                  <a:gd name="connsiteX2" fmla="*/ 15554 w 62128"/>
                  <a:gd name="connsiteY2" fmla="*/ 62710 h 71690"/>
                  <a:gd name="connsiteX3" fmla="*/ 15511 w 62128"/>
                  <a:gd name="connsiteY3" fmla="*/ 26865 h 71690"/>
                  <a:gd name="connsiteX4" fmla="*/ 46575 w 62128"/>
                  <a:gd name="connsiteY4" fmla="*/ 8980 h 71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128" h="71690">
                    <a:moveTo>
                      <a:pt x="46575" y="8980"/>
                    </a:moveTo>
                    <a:cubicBezTo>
                      <a:pt x="55165" y="13940"/>
                      <a:pt x="55184" y="29988"/>
                      <a:pt x="46618" y="44825"/>
                    </a:cubicBezTo>
                    <a:cubicBezTo>
                      <a:pt x="38051" y="59662"/>
                      <a:pt x="24144" y="67669"/>
                      <a:pt x="15554" y="62710"/>
                    </a:cubicBezTo>
                    <a:cubicBezTo>
                      <a:pt x="6964" y="57750"/>
                      <a:pt x="6945" y="41702"/>
                      <a:pt x="15511" y="26865"/>
                    </a:cubicBezTo>
                    <a:cubicBezTo>
                      <a:pt x="24077" y="12028"/>
                      <a:pt x="37985" y="4021"/>
                      <a:pt x="46575" y="8980"/>
                    </a:cubicBez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0" name="Freeform: Shape 5269">
                <a:extLst>
                  <a:ext uri="{FF2B5EF4-FFF2-40B4-BE49-F238E27FC236}">
                    <a16:creationId xmlns:a16="http://schemas.microsoft.com/office/drawing/2014/main" id="{F167409C-0135-4C35-9735-7870549BB370}"/>
                  </a:ext>
                </a:extLst>
              </p:cNvPr>
              <p:cNvSpPr/>
              <p:nvPr/>
            </p:nvSpPr>
            <p:spPr>
              <a:xfrm>
                <a:off x="9277629" y="2542961"/>
                <a:ext cx="27128" cy="35030"/>
              </a:xfrm>
              <a:custGeom>
                <a:avLst/>
                <a:gdLst>
                  <a:gd name="connsiteX0" fmla="*/ 23172 w 27128"/>
                  <a:gd name="connsiteY0" fmla="*/ 23041 h 35030"/>
                  <a:gd name="connsiteX1" fmla="*/ 3956 w 27128"/>
                  <a:gd name="connsiteY1" fmla="*/ 34094 h 35030"/>
                  <a:gd name="connsiteX2" fmla="*/ 3956 w 27128"/>
                  <a:gd name="connsiteY2" fmla="*/ 11989 h 35030"/>
                  <a:gd name="connsiteX3" fmla="*/ 23172 w 27128"/>
                  <a:gd name="connsiteY3" fmla="*/ 937 h 35030"/>
                  <a:gd name="connsiteX4" fmla="*/ 23172 w 27128"/>
                  <a:gd name="connsiteY4" fmla="*/ 23041 h 35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28" h="35030">
                    <a:moveTo>
                      <a:pt x="23172" y="23041"/>
                    </a:moveTo>
                    <a:cubicBezTo>
                      <a:pt x="17897" y="32210"/>
                      <a:pt x="9231" y="37233"/>
                      <a:pt x="3956" y="34094"/>
                    </a:cubicBezTo>
                    <a:cubicBezTo>
                      <a:pt x="-1319" y="31079"/>
                      <a:pt x="-1319" y="21157"/>
                      <a:pt x="3956" y="11989"/>
                    </a:cubicBezTo>
                    <a:cubicBezTo>
                      <a:pt x="9231" y="2820"/>
                      <a:pt x="17897" y="-2203"/>
                      <a:pt x="23172" y="937"/>
                    </a:cubicBezTo>
                    <a:cubicBezTo>
                      <a:pt x="28447" y="3951"/>
                      <a:pt x="28447" y="13873"/>
                      <a:pt x="23172" y="23041"/>
                    </a:cubicBezTo>
                    <a:close/>
                  </a:path>
                </a:pathLst>
              </a:custGeom>
              <a:solidFill>
                <a:srgbClr val="E6E0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1" name="Freeform: Shape 5270">
                <a:extLst>
                  <a:ext uri="{FF2B5EF4-FFF2-40B4-BE49-F238E27FC236}">
                    <a16:creationId xmlns:a16="http://schemas.microsoft.com/office/drawing/2014/main" id="{E489BAB6-5DEE-46F1-9F63-5E1934349064}"/>
                  </a:ext>
                </a:extLst>
              </p:cNvPr>
              <p:cNvSpPr/>
              <p:nvPr/>
            </p:nvSpPr>
            <p:spPr>
              <a:xfrm>
                <a:off x="9279136" y="2544718"/>
                <a:ext cx="24145" cy="31391"/>
              </a:xfrm>
              <a:custGeom>
                <a:avLst/>
                <a:gdLst>
                  <a:gd name="connsiteX0" fmla="*/ 20660 w 24145"/>
                  <a:gd name="connsiteY0" fmla="*/ 20657 h 31391"/>
                  <a:gd name="connsiteX1" fmla="*/ 3579 w 24145"/>
                  <a:gd name="connsiteY1" fmla="*/ 30579 h 31391"/>
                  <a:gd name="connsiteX2" fmla="*/ 3579 w 24145"/>
                  <a:gd name="connsiteY2" fmla="*/ 10735 h 31391"/>
                  <a:gd name="connsiteX3" fmla="*/ 20660 w 24145"/>
                  <a:gd name="connsiteY3" fmla="*/ 813 h 31391"/>
                  <a:gd name="connsiteX4" fmla="*/ 20660 w 24145"/>
                  <a:gd name="connsiteY4" fmla="*/ 20657 h 31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45" h="31391">
                    <a:moveTo>
                      <a:pt x="20660" y="20657"/>
                    </a:moveTo>
                    <a:cubicBezTo>
                      <a:pt x="15888" y="28820"/>
                      <a:pt x="8226" y="33342"/>
                      <a:pt x="3579" y="30579"/>
                    </a:cubicBezTo>
                    <a:cubicBezTo>
                      <a:pt x="-1193" y="27816"/>
                      <a:pt x="-1193" y="19024"/>
                      <a:pt x="3579" y="10735"/>
                    </a:cubicBezTo>
                    <a:cubicBezTo>
                      <a:pt x="8352" y="2571"/>
                      <a:pt x="16013" y="-1950"/>
                      <a:pt x="20660" y="813"/>
                    </a:cubicBezTo>
                    <a:cubicBezTo>
                      <a:pt x="25307" y="3576"/>
                      <a:pt x="25307" y="12493"/>
                      <a:pt x="20660" y="2065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2" name="Freeform: Shape 5271">
                <a:extLst>
                  <a:ext uri="{FF2B5EF4-FFF2-40B4-BE49-F238E27FC236}">
                    <a16:creationId xmlns:a16="http://schemas.microsoft.com/office/drawing/2014/main" id="{4F453BE9-2166-4F7A-85C3-441CC48E3E61}"/>
                  </a:ext>
                </a:extLst>
              </p:cNvPr>
              <p:cNvSpPr/>
              <p:nvPr/>
            </p:nvSpPr>
            <p:spPr>
              <a:xfrm>
                <a:off x="9279054" y="2544859"/>
                <a:ext cx="22016" cy="29941"/>
              </a:xfrm>
              <a:custGeom>
                <a:avLst/>
                <a:gdLst>
                  <a:gd name="connsiteX0" fmla="*/ 18481 w 22016"/>
                  <a:gd name="connsiteY0" fmla="*/ 19259 h 29941"/>
                  <a:gd name="connsiteX1" fmla="*/ 19486 w 22016"/>
                  <a:gd name="connsiteY1" fmla="*/ 295 h 29941"/>
                  <a:gd name="connsiteX2" fmla="*/ 3535 w 22016"/>
                  <a:gd name="connsiteY2" fmla="*/ 10719 h 29941"/>
                  <a:gd name="connsiteX3" fmla="*/ 2530 w 22016"/>
                  <a:gd name="connsiteY3" fmla="*/ 29684 h 29941"/>
                  <a:gd name="connsiteX4" fmla="*/ 18481 w 22016"/>
                  <a:gd name="connsiteY4" fmla="*/ 19259 h 29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16" h="29941">
                    <a:moveTo>
                      <a:pt x="18481" y="19259"/>
                    </a:moveTo>
                    <a:cubicBezTo>
                      <a:pt x="22877" y="11724"/>
                      <a:pt x="23128" y="3560"/>
                      <a:pt x="19486" y="295"/>
                    </a:cubicBezTo>
                    <a:cubicBezTo>
                      <a:pt x="14713" y="-1212"/>
                      <a:pt x="7931" y="3183"/>
                      <a:pt x="3535" y="10719"/>
                    </a:cubicBezTo>
                    <a:cubicBezTo>
                      <a:pt x="-861" y="18255"/>
                      <a:pt x="-1112" y="26418"/>
                      <a:pt x="2530" y="29684"/>
                    </a:cubicBezTo>
                    <a:cubicBezTo>
                      <a:pt x="7303" y="31065"/>
                      <a:pt x="14085" y="26795"/>
                      <a:pt x="18481" y="19259"/>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273" name="Graphic 4">
                <a:extLst>
                  <a:ext uri="{FF2B5EF4-FFF2-40B4-BE49-F238E27FC236}">
                    <a16:creationId xmlns:a16="http://schemas.microsoft.com/office/drawing/2014/main" id="{84FB7ED1-A2DF-40A1-A747-5F7CF3F14040}"/>
                  </a:ext>
                </a:extLst>
              </p:cNvPr>
              <p:cNvGrpSpPr/>
              <p:nvPr/>
            </p:nvGrpSpPr>
            <p:grpSpPr>
              <a:xfrm>
                <a:off x="9287959" y="2566176"/>
                <a:ext cx="2825" cy="3115"/>
                <a:chOff x="9287959" y="2566176"/>
                <a:chExt cx="2825" cy="3115"/>
              </a:xfrm>
              <a:solidFill>
                <a:schemeClr val="accent1"/>
              </a:solidFill>
            </p:grpSpPr>
            <p:sp>
              <p:nvSpPr>
                <p:cNvPr id="5274" name="Freeform: Shape 5273">
                  <a:extLst>
                    <a:ext uri="{FF2B5EF4-FFF2-40B4-BE49-F238E27FC236}">
                      <a16:creationId xmlns:a16="http://schemas.microsoft.com/office/drawing/2014/main" id="{4F8A0234-18F9-42D4-BCE3-C54C9989AC09}"/>
                    </a:ext>
                  </a:extLst>
                </p:cNvPr>
                <p:cNvSpPr/>
                <p:nvPr/>
              </p:nvSpPr>
              <p:spPr>
                <a:xfrm>
                  <a:off x="9287959" y="2566176"/>
                  <a:ext cx="2442" cy="3091"/>
                </a:xfrm>
                <a:custGeom>
                  <a:avLst/>
                  <a:gdLst>
                    <a:gd name="connsiteX0" fmla="*/ 1664 w 2442"/>
                    <a:gd name="connsiteY0" fmla="*/ 77 h 3091"/>
                    <a:gd name="connsiteX1" fmla="*/ 283 w 2442"/>
                    <a:gd name="connsiteY1" fmla="*/ 957 h 3091"/>
                    <a:gd name="connsiteX2" fmla="*/ 283 w 2442"/>
                    <a:gd name="connsiteY2" fmla="*/ 2589 h 3091"/>
                    <a:gd name="connsiteX3" fmla="*/ 1036 w 2442"/>
                    <a:gd name="connsiteY3" fmla="*/ 3092 h 3091"/>
                    <a:gd name="connsiteX4" fmla="*/ 2418 w 2442"/>
                    <a:gd name="connsiteY4" fmla="*/ 580 h 3091"/>
                    <a:gd name="connsiteX5" fmla="*/ 1664 w 2442"/>
                    <a:gd name="connsiteY5" fmla="*/ 77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2" h="3091">
                      <a:moveTo>
                        <a:pt x="1664" y="77"/>
                      </a:moveTo>
                      <a:cubicBezTo>
                        <a:pt x="1287" y="-174"/>
                        <a:pt x="659" y="203"/>
                        <a:pt x="283" y="957"/>
                      </a:cubicBezTo>
                      <a:cubicBezTo>
                        <a:pt x="-94" y="1585"/>
                        <a:pt x="-94" y="2338"/>
                        <a:pt x="283" y="2589"/>
                      </a:cubicBezTo>
                      <a:cubicBezTo>
                        <a:pt x="659" y="2841"/>
                        <a:pt x="1036" y="3092"/>
                        <a:pt x="1036" y="3092"/>
                      </a:cubicBezTo>
                      <a:lnTo>
                        <a:pt x="2418" y="580"/>
                      </a:lnTo>
                      <a:cubicBezTo>
                        <a:pt x="2543" y="454"/>
                        <a:pt x="2166" y="329"/>
                        <a:pt x="1664" y="7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5" name="Freeform: Shape 5274">
                  <a:extLst>
                    <a:ext uri="{FF2B5EF4-FFF2-40B4-BE49-F238E27FC236}">
                      <a16:creationId xmlns:a16="http://schemas.microsoft.com/office/drawing/2014/main" id="{F6684DB6-4347-4F62-AAE6-515930566628}"/>
                    </a:ext>
                  </a:extLst>
                </p:cNvPr>
                <p:cNvSpPr/>
                <p:nvPr/>
              </p:nvSpPr>
              <p:spPr>
                <a:xfrm>
                  <a:off x="9288838" y="2566732"/>
                  <a:ext cx="1946" cy="2560"/>
                </a:xfrm>
                <a:custGeom>
                  <a:avLst/>
                  <a:gdLst>
                    <a:gd name="connsiteX0" fmla="*/ 1664 w 1946"/>
                    <a:gd name="connsiteY0" fmla="*/ 1657 h 2560"/>
                    <a:gd name="connsiteX1" fmla="*/ 283 w 1946"/>
                    <a:gd name="connsiteY1" fmla="*/ 2536 h 2560"/>
                    <a:gd name="connsiteX2" fmla="*/ 283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3" y="2536"/>
                      </a:cubicBezTo>
                      <a:cubicBezTo>
                        <a:pt x="-94" y="2285"/>
                        <a:pt x="-94" y="1531"/>
                        <a:pt x="283" y="903"/>
                      </a:cubicBezTo>
                      <a:cubicBezTo>
                        <a:pt x="659" y="275"/>
                        <a:pt x="1287" y="-102"/>
                        <a:pt x="1664" y="24"/>
                      </a:cubicBezTo>
                      <a:cubicBezTo>
                        <a:pt x="2041" y="150"/>
                        <a:pt x="2041"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76" name="Graphic 4">
                <a:extLst>
                  <a:ext uri="{FF2B5EF4-FFF2-40B4-BE49-F238E27FC236}">
                    <a16:creationId xmlns:a16="http://schemas.microsoft.com/office/drawing/2014/main" id="{84FB7ED1-A2DF-40A1-A747-5F7CF3F14040}"/>
                  </a:ext>
                </a:extLst>
              </p:cNvPr>
              <p:cNvGrpSpPr/>
              <p:nvPr/>
            </p:nvGrpSpPr>
            <p:grpSpPr>
              <a:xfrm>
                <a:off x="9293108" y="2560775"/>
                <a:ext cx="2794" cy="3115"/>
                <a:chOff x="9293108" y="2560775"/>
                <a:chExt cx="2794" cy="3115"/>
              </a:xfrm>
              <a:solidFill>
                <a:schemeClr val="accent1"/>
              </a:solidFill>
            </p:grpSpPr>
            <p:sp>
              <p:nvSpPr>
                <p:cNvPr id="5277" name="Freeform: Shape 5276">
                  <a:extLst>
                    <a:ext uri="{FF2B5EF4-FFF2-40B4-BE49-F238E27FC236}">
                      <a16:creationId xmlns:a16="http://schemas.microsoft.com/office/drawing/2014/main" id="{1A7CDCA9-6C5C-4EE3-85F9-51DB92EEF002}"/>
                    </a:ext>
                  </a:extLst>
                </p:cNvPr>
                <p:cNvSpPr/>
                <p:nvPr/>
              </p:nvSpPr>
              <p:spPr>
                <a:xfrm>
                  <a:off x="9293108" y="2560775"/>
                  <a:ext cx="2417" cy="3091"/>
                </a:xfrm>
                <a:custGeom>
                  <a:avLst/>
                  <a:gdLst>
                    <a:gd name="connsiteX0" fmla="*/ 1664 w 2417"/>
                    <a:gd name="connsiteY0" fmla="*/ 77 h 3091"/>
                    <a:gd name="connsiteX1" fmla="*/ 282 w 2417"/>
                    <a:gd name="connsiteY1" fmla="*/ 957 h 3091"/>
                    <a:gd name="connsiteX2" fmla="*/ 282 w 2417"/>
                    <a:gd name="connsiteY2" fmla="*/ 2589 h 3091"/>
                    <a:gd name="connsiteX3" fmla="*/ 1036 w 2417"/>
                    <a:gd name="connsiteY3" fmla="*/ 3092 h 3091"/>
                    <a:gd name="connsiteX4" fmla="*/ 2417 w 2417"/>
                    <a:gd name="connsiteY4" fmla="*/ 580 h 3091"/>
                    <a:gd name="connsiteX5" fmla="*/ 1664 w 2417"/>
                    <a:gd name="connsiteY5" fmla="*/ 77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7"/>
                      </a:moveTo>
                      <a:cubicBezTo>
                        <a:pt x="1287" y="-174"/>
                        <a:pt x="659" y="203"/>
                        <a:pt x="282" y="957"/>
                      </a:cubicBezTo>
                      <a:cubicBezTo>
                        <a:pt x="-94" y="1585"/>
                        <a:pt x="-94" y="2338"/>
                        <a:pt x="282" y="2589"/>
                      </a:cubicBezTo>
                      <a:cubicBezTo>
                        <a:pt x="659" y="2841"/>
                        <a:pt x="1036" y="3092"/>
                        <a:pt x="1036" y="3092"/>
                      </a:cubicBezTo>
                      <a:lnTo>
                        <a:pt x="2417" y="580"/>
                      </a:lnTo>
                      <a:cubicBezTo>
                        <a:pt x="2417" y="454"/>
                        <a:pt x="2041" y="329"/>
                        <a:pt x="1664" y="7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8" name="Freeform: Shape 5277">
                  <a:extLst>
                    <a:ext uri="{FF2B5EF4-FFF2-40B4-BE49-F238E27FC236}">
                      <a16:creationId xmlns:a16="http://schemas.microsoft.com/office/drawing/2014/main" id="{4D40CD63-3E77-4775-9BA6-7FFA9809E452}"/>
                    </a:ext>
                  </a:extLst>
                </p:cNvPr>
                <p:cNvSpPr/>
                <p:nvPr/>
              </p:nvSpPr>
              <p:spPr>
                <a:xfrm>
                  <a:off x="9293862" y="2561331"/>
                  <a:ext cx="2040" cy="2560"/>
                </a:xfrm>
                <a:custGeom>
                  <a:avLst/>
                  <a:gdLst>
                    <a:gd name="connsiteX0" fmla="*/ 1664 w 2040"/>
                    <a:gd name="connsiteY0" fmla="*/ 1657 h 2560"/>
                    <a:gd name="connsiteX1" fmla="*/ 282 w 2040"/>
                    <a:gd name="connsiteY1" fmla="*/ 2536 h 2560"/>
                    <a:gd name="connsiteX2" fmla="*/ 282 w 2040"/>
                    <a:gd name="connsiteY2" fmla="*/ 903 h 2560"/>
                    <a:gd name="connsiteX3" fmla="*/ 1664 w 2040"/>
                    <a:gd name="connsiteY3" fmla="*/ 24 h 2560"/>
                    <a:gd name="connsiteX4" fmla="*/ 1664 w 2040"/>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0" h="2560">
                      <a:moveTo>
                        <a:pt x="1664" y="1657"/>
                      </a:moveTo>
                      <a:cubicBezTo>
                        <a:pt x="1287" y="2285"/>
                        <a:pt x="659" y="2662"/>
                        <a:pt x="282" y="2536"/>
                      </a:cubicBezTo>
                      <a:cubicBezTo>
                        <a:pt x="-94" y="2285"/>
                        <a:pt x="-94" y="1531"/>
                        <a:pt x="282" y="903"/>
                      </a:cubicBezTo>
                      <a:cubicBezTo>
                        <a:pt x="659" y="275"/>
                        <a:pt x="1287" y="-101"/>
                        <a:pt x="1664" y="24"/>
                      </a:cubicBezTo>
                      <a:cubicBezTo>
                        <a:pt x="2167" y="150"/>
                        <a:pt x="2167"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79" name="Graphic 4">
                <a:extLst>
                  <a:ext uri="{FF2B5EF4-FFF2-40B4-BE49-F238E27FC236}">
                    <a16:creationId xmlns:a16="http://schemas.microsoft.com/office/drawing/2014/main" id="{84FB7ED1-A2DF-40A1-A747-5F7CF3F14040}"/>
                  </a:ext>
                </a:extLst>
              </p:cNvPr>
              <p:cNvGrpSpPr/>
              <p:nvPr/>
            </p:nvGrpSpPr>
            <p:grpSpPr>
              <a:xfrm>
                <a:off x="9295243" y="2553617"/>
                <a:ext cx="2700" cy="3115"/>
                <a:chOff x="9295243" y="2553617"/>
                <a:chExt cx="2700" cy="3115"/>
              </a:xfrm>
              <a:solidFill>
                <a:schemeClr val="accent1"/>
              </a:solidFill>
            </p:grpSpPr>
            <p:sp>
              <p:nvSpPr>
                <p:cNvPr id="5280" name="Freeform: Shape 5279">
                  <a:extLst>
                    <a:ext uri="{FF2B5EF4-FFF2-40B4-BE49-F238E27FC236}">
                      <a16:creationId xmlns:a16="http://schemas.microsoft.com/office/drawing/2014/main" id="{438EF4FE-9B0E-4EE1-B6C3-2F6AF5F270E9}"/>
                    </a:ext>
                  </a:extLst>
                </p:cNvPr>
                <p:cNvSpPr/>
                <p:nvPr/>
              </p:nvSpPr>
              <p:spPr>
                <a:xfrm>
                  <a:off x="9295243" y="2553617"/>
                  <a:ext cx="2417" cy="3091"/>
                </a:xfrm>
                <a:custGeom>
                  <a:avLst/>
                  <a:gdLst>
                    <a:gd name="connsiteX0" fmla="*/ 1664 w 2417"/>
                    <a:gd name="connsiteY0" fmla="*/ 77 h 3091"/>
                    <a:gd name="connsiteX1" fmla="*/ 282 w 2417"/>
                    <a:gd name="connsiteY1" fmla="*/ 957 h 3091"/>
                    <a:gd name="connsiteX2" fmla="*/ 282 w 2417"/>
                    <a:gd name="connsiteY2" fmla="*/ 2589 h 3091"/>
                    <a:gd name="connsiteX3" fmla="*/ 1036 w 2417"/>
                    <a:gd name="connsiteY3" fmla="*/ 3092 h 3091"/>
                    <a:gd name="connsiteX4" fmla="*/ 2418 w 2417"/>
                    <a:gd name="connsiteY4" fmla="*/ 580 h 3091"/>
                    <a:gd name="connsiteX5" fmla="*/ 1664 w 2417"/>
                    <a:gd name="connsiteY5" fmla="*/ 77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7"/>
                      </a:moveTo>
                      <a:cubicBezTo>
                        <a:pt x="1287" y="-174"/>
                        <a:pt x="659" y="203"/>
                        <a:pt x="282" y="957"/>
                      </a:cubicBezTo>
                      <a:cubicBezTo>
                        <a:pt x="-94" y="1585"/>
                        <a:pt x="-94" y="2338"/>
                        <a:pt x="282" y="2589"/>
                      </a:cubicBezTo>
                      <a:cubicBezTo>
                        <a:pt x="659" y="2841"/>
                        <a:pt x="1036" y="3092"/>
                        <a:pt x="1036" y="3092"/>
                      </a:cubicBezTo>
                      <a:lnTo>
                        <a:pt x="2418" y="580"/>
                      </a:lnTo>
                      <a:cubicBezTo>
                        <a:pt x="2418" y="580"/>
                        <a:pt x="2041" y="329"/>
                        <a:pt x="1664" y="7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1" name="Freeform: Shape 5280">
                  <a:extLst>
                    <a:ext uri="{FF2B5EF4-FFF2-40B4-BE49-F238E27FC236}">
                      <a16:creationId xmlns:a16="http://schemas.microsoft.com/office/drawing/2014/main" id="{04BC10B5-1AB7-4FB0-AD26-6CB4D751358B}"/>
                    </a:ext>
                  </a:extLst>
                </p:cNvPr>
                <p:cNvSpPr/>
                <p:nvPr/>
              </p:nvSpPr>
              <p:spPr>
                <a:xfrm>
                  <a:off x="9295997" y="2554172"/>
                  <a:ext cx="1946" cy="2560"/>
                </a:xfrm>
                <a:custGeom>
                  <a:avLst/>
                  <a:gdLst>
                    <a:gd name="connsiteX0" fmla="*/ 1664 w 1946"/>
                    <a:gd name="connsiteY0" fmla="*/ 1657 h 2560"/>
                    <a:gd name="connsiteX1" fmla="*/ 282 w 1946"/>
                    <a:gd name="connsiteY1" fmla="*/ 2536 h 2560"/>
                    <a:gd name="connsiteX2" fmla="*/ 282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2" y="2536"/>
                      </a:cubicBezTo>
                      <a:cubicBezTo>
                        <a:pt x="-94" y="2285"/>
                        <a:pt x="-94" y="1531"/>
                        <a:pt x="282" y="903"/>
                      </a:cubicBezTo>
                      <a:cubicBezTo>
                        <a:pt x="659" y="275"/>
                        <a:pt x="1287" y="-102"/>
                        <a:pt x="1664" y="24"/>
                      </a:cubicBezTo>
                      <a:cubicBezTo>
                        <a:pt x="2041" y="275"/>
                        <a:pt x="2041" y="1029"/>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82" name="Graphic 4">
                <a:extLst>
                  <a:ext uri="{FF2B5EF4-FFF2-40B4-BE49-F238E27FC236}">
                    <a16:creationId xmlns:a16="http://schemas.microsoft.com/office/drawing/2014/main" id="{84FB7ED1-A2DF-40A1-A747-5F7CF3F14040}"/>
                  </a:ext>
                </a:extLst>
              </p:cNvPr>
              <p:cNvGrpSpPr/>
              <p:nvPr/>
            </p:nvGrpSpPr>
            <p:grpSpPr>
              <a:xfrm>
                <a:off x="9293108" y="2548970"/>
                <a:ext cx="2794" cy="3115"/>
                <a:chOff x="9293108" y="2548970"/>
                <a:chExt cx="2794" cy="3115"/>
              </a:xfrm>
              <a:solidFill>
                <a:schemeClr val="accent1"/>
              </a:solidFill>
            </p:grpSpPr>
            <p:sp>
              <p:nvSpPr>
                <p:cNvPr id="5283" name="Freeform: Shape 5282">
                  <a:extLst>
                    <a:ext uri="{FF2B5EF4-FFF2-40B4-BE49-F238E27FC236}">
                      <a16:creationId xmlns:a16="http://schemas.microsoft.com/office/drawing/2014/main" id="{B766F20A-16A3-4285-B750-78A88D156E29}"/>
                    </a:ext>
                  </a:extLst>
                </p:cNvPr>
                <p:cNvSpPr/>
                <p:nvPr/>
              </p:nvSpPr>
              <p:spPr>
                <a:xfrm>
                  <a:off x="9293108" y="2548970"/>
                  <a:ext cx="2417" cy="3091"/>
                </a:xfrm>
                <a:custGeom>
                  <a:avLst/>
                  <a:gdLst>
                    <a:gd name="connsiteX0" fmla="*/ 1664 w 2417"/>
                    <a:gd name="connsiteY0" fmla="*/ 78 h 3091"/>
                    <a:gd name="connsiteX1" fmla="*/ 282 w 2417"/>
                    <a:gd name="connsiteY1" fmla="*/ 957 h 3091"/>
                    <a:gd name="connsiteX2" fmla="*/ 282 w 2417"/>
                    <a:gd name="connsiteY2" fmla="*/ 2589 h 3091"/>
                    <a:gd name="connsiteX3" fmla="*/ 1036 w 2417"/>
                    <a:gd name="connsiteY3" fmla="*/ 3092 h 3091"/>
                    <a:gd name="connsiteX4" fmla="*/ 2417 w 2417"/>
                    <a:gd name="connsiteY4" fmla="*/ 580 h 3091"/>
                    <a:gd name="connsiteX5" fmla="*/ 1664 w 2417"/>
                    <a:gd name="connsiteY5" fmla="*/ 78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8"/>
                      </a:moveTo>
                      <a:cubicBezTo>
                        <a:pt x="1287" y="-174"/>
                        <a:pt x="659" y="203"/>
                        <a:pt x="282" y="957"/>
                      </a:cubicBezTo>
                      <a:cubicBezTo>
                        <a:pt x="-94" y="1585"/>
                        <a:pt x="-94" y="2338"/>
                        <a:pt x="282" y="2589"/>
                      </a:cubicBezTo>
                      <a:cubicBezTo>
                        <a:pt x="659" y="2841"/>
                        <a:pt x="1036" y="3092"/>
                        <a:pt x="1036" y="3092"/>
                      </a:cubicBezTo>
                      <a:lnTo>
                        <a:pt x="2417" y="580"/>
                      </a:lnTo>
                      <a:cubicBezTo>
                        <a:pt x="2417" y="580"/>
                        <a:pt x="2041" y="329"/>
                        <a:pt x="1664" y="78"/>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4" name="Freeform: Shape 5283">
                  <a:extLst>
                    <a:ext uri="{FF2B5EF4-FFF2-40B4-BE49-F238E27FC236}">
                      <a16:creationId xmlns:a16="http://schemas.microsoft.com/office/drawing/2014/main" id="{27065A92-8AB6-4BC0-B714-C0678DAF90DD}"/>
                    </a:ext>
                  </a:extLst>
                </p:cNvPr>
                <p:cNvSpPr/>
                <p:nvPr/>
              </p:nvSpPr>
              <p:spPr>
                <a:xfrm>
                  <a:off x="9293862" y="2549525"/>
                  <a:ext cx="2040" cy="2560"/>
                </a:xfrm>
                <a:custGeom>
                  <a:avLst/>
                  <a:gdLst>
                    <a:gd name="connsiteX0" fmla="*/ 1664 w 2040"/>
                    <a:gd name="connsiteY0" fmla="*/ 1657 h 2560"/>
                    <a:gd name="connsiteX1" fmla="*/ 282 w 2040"/>
                    <a:gd name="connsiteY1" fmla="*/ 2536 h 2560"/>
                    <a:gd name="connsiteX2" fmla="*/ 282 w 2040"/>
                    <a:gd name="connsiteY2" fmla="*/ 903 h 2560"/>
                    <a:gd name="connsiteX3" fmla="*/ 1664 w 2040"/>
                    <a:gd name="connsiteY3" fmla="*/ 24 h 2560"/>
                    <a:gd name="connsiteX4" fmla="*/ 1664 w 2040"/>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0" h="2560">
                      <a:moveTo>
                        <a:pt x="1664" y="1657"/>
                      </a:moveTo>
                      <a:cubicBezTo>
                        <a:pt x="1287" y="2285"/>
                        <a:pt x="659" y="2662"/>
                        <a:pt x="282" y="2536"/>
                      </a:cubicBezTo>
                      <a:cubicBezTo>
                        <a:pt x="-94" y="2285"/>
                        <a:pt x="-94" y="1531"/>
                        <a:pt x="282" y="903"/>
                      </a:cubicBezTo>
                      <a:cubicBezTo>
                        <a:pt x="659" y="275"/>
                        <a:pt x="1287" y="-102"/>
                        <a:pt x="1664" y="24"/>
                      </a:cubicBezTo>
                      <a:cubicBezTo>
                        <a:pt x="2167" y="150"/>
                        <a:pt x="2167"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85" name="Freeform: Shape 5284">
                <a:extLst>
                  <a:ext uri="{FF2B5EF4-FFF2-40B4-BE49-F238E27FC236}">
                    <a16:creationId xmlns:a16="http://schemas.microsoft.com/office/drawing/2014/main" id="{8887142A-3B04-4886-9BA4-71A34F2B74C0}"/>
                  </a:ext>
                </a:extLst>
              </p:cNvPr>
              <p:cNvSpPr/>
              <p:nvPr/>
            </p:nvSpPr>
            <p:spPr>
              <a:xfrm>
                <a:off x="9285635" y="2553320"/>
                <a:ext cx="11083" cy="14186"/>
              </a:xfrm>
              <a:custGeom>
                <a:avLst/>
                <a:gdLst>
                  <a:gd name="connsiteX0" fmla="*/ 9388 w 11083"/>
                  <a:gd name="connsiteY0" fmla="*/ 9291 h 14186"/>
                  <a:gd name="connsiteX1" fmla="*/ 1601 w 11083"/>
                  <a:gd name="connsiteY1" fmla="*/ 13812 h 14186"/>
                  <a:gd name="connsiteX2" fmla="*/ 1601 w 11083"/>
                  <a:gd name="connsiteY2" fmla="*/ 4895 h 14186"/>
                  <a:gd name="connsiteX3" fmla="*/ 9388 w 11083"/>
                  <a:gd name="connsiteY3" fmla="*/ 374 h 14186"/>
                  <a:gd name="connsiteX4" fmla="*/ 9388 w 11083"/>
                  <a:gd name="connsiteY4" fmla="*/ 9291 h 14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3" h="14186">
                    <a:moveTo>
                      <a:pt x="9388" y="9291"/>
                    </a:moveTo>
                    <a:cubicBezTo>
                      <a:pt x="7253" y="13059"/>
                      <a:pt x="3736" y="15068"/>
                      <a:pt x="1601" y="13812"/>
                    </a:cubicBezTo>
                    <a:cubicBezTo>
                      <a:pt x="-534" y="12556"/>
                      <a:pt x="-534" y="8537"/>
                      <a:pt x="1601" y="4895"/>
                    </a:cubicBezTo>
                    <a:cubicBezTo>
                      <a:pt x="3736" y="1127"/>
                      <a:pt x="7253" y="-882"/>
                      <a:pt x="9388" y="374"/>
                    </a:cubicBezTo>
                    <a:cubicBezTo>
                      <a:pt x="11649" y="1630"/>
                      <a:pt x="11649" y="5649"/>
                      <a:pt x="9388" y="9291"/>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6" name="Freeform: Shape 5285">
                <a:extLst>
                  <a:ext uri="{FF2B5EF4-FFF2-40B4-BE49-F238E27FC236}">
                    <a16:creationId xmlns:a16="http://schemas.microsoft.com/office/drawing/2014/main" id="{53AFCA7E-C056-46DB-AD0C-3368A6EB6441}"/>
                  </a:ext>
                </a:extLst>
              </p:cNvPr>
              <p:cNvSpPr/>
              <p:nvPr/>
            </p:nvSpPr>
            <p:spPr>
              <a:xfrm>
                <a:off x="9283500" y="2552064"/>
                <a:ext cx="11649" cy="15068"/>
              </a:xfrm>
              <a:custGeom>
                <a:avLst/>
                <a:gdLst>
                  <a:gd name="connsiteX0" fmla="*/ 3862 w 11649"/>
                  <a:gd name="connsiteY0" fmla="*/ 6151 h 15068"/>
                  <a:gd name="connsiteX1" fmla="*/ 11649 w 11649"/>
                  <a:gd name="connsiteY1" fmla="*/ 1630 h 15068"/>
                  <a:gd name="connsiteX2" fmla="*/ 9389 w 11649"/>
                  <a:gd name="connsiteY2" fmla="*/ 374 h 15068"/>
                  <a:gd name="connsiteX3" fmla="*/ 1602 w 11649"/>
                  <a:gd name="connsiteY3" fmla="*/ 4895 h 15068"/>
                  <a:gd name="connsiteX4" fmla="*/ 1602 w 11649"/>
                  <a:gd name="connsiteY4" fmla="*/ 13812 h 15068"/>
                  <a:gd name="connsiteX5" fmla="*/ 3862 w 11649"/>
                  <a:gd name="connsiteY5" fmla="*/ 15068 h 15068"/>
                  <a:gd name="connsiteX6" fmla="*/ 3862 w 11649"/>
                  <a:gd name="connsiteY6" fmla="*/ 6151 h 15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49" h="15068">
                    <a:moveTo>
                      <a:pt x="3862" y="6151"/>
                    </a:moveTo>
                    <a:cubicBezTo>
                      <a:pt x="5997" y="2383"/>
                      <a:pt x="9514" y="374"/>
                      <a:pt x="11649" y="1630"/>
                    </a:cubicBezTo>
                    <a:cubicBezTo>
                      <a:pt x="11649" y="1630"/>
                      <a:pt x="9765" y="499"/>
                      <a:pt x="9389" y="374"/>
                    </a:cubicBezTo>
                    <a:cubicBezTo>
                      <a:pt x="7253" y="-882"/>
                      <a:pt x="3737" y="1127"/>
                      <a:pt x="1602" y="4895"/>
                    </a:cubicBezTo>
                    <a:cubicBezTo>
                      <a:pt x="-534" y="8663"/>
                      <a:pt x="-534" y="12682"/>
                      <a:pt x="1602" y="13812"/>
                    </a:cubicBezTo>
                    <a:cubicBezTo>
                      <a:pt x="2104" y="14189"/>
                      <a:pt x="3862" y="15068"/>
                      <a:pt x="3862" y="15068"/>
                    </a:cubicBezTo>
                    <a:cubicBezTo>
                      <a:pt x="1727" y="13812"/>
                      <a:pt x="1727" y="9793"/>
                      <a:pt x="3862" y="6151"/>
                    </a:cubicBezTo>
                    <a:close/>
                  </a:path>
                </a:pathLst>
              </a:custGeom>
              <a:solidFill>
                <a:srgbClr val="CF8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287" name="Graphic 4">
                <a:extLst>
                  <a:ext uri="{FF2B5EF4-FFF2-40B4-BE49-F238E27FC236}">
                    <a16:creationId xmlns:a16="http://schemas.microsoft.com/office/drawing/2014/main" id="{84FB7ED1-A2DF-40A1-A747-5F7CF3F14040}"/>
                  </a:ext>
                </a:extLst>
              </p:cNvPr>
              <p:cNvGrpSpPr/>
              <p:nvPr/>
            </p:nvGrpSpPr>
            <p:grpSpPr>
              <a:xfrm>
                <a:off x="9287959" y="2549472"/>
                <a:ext cx="2825" cy="3115"/>
                <a:chOff x="9287959" y="2549472"/>
                <a:chExt cx="2825" cy="3115"/>
              </a:xfrm>
              <a:solidFill>
                <a:schemeClr val="accent1"/>
              </a:solidFill>
            </p:grpSpPr>
            <p:sp>
              <p:nvSpPr>
                <p:cNvPr id="5288" name="Freeform: Shape 5287">
                  <a:extLst>
                    <a:ext uri="{FF2B5EF4-FFF2-40B4-BE49-F238E27FC236}">
                      <a16:creationId xmlns:a16="http://schemas.microsoft.com/office/drawing/2014/main" id="{52F402E5-A58E-4B08-B6AE-26A98D6D9BE0}"/>
                    </a:ext>
                  </a:extLst>
                </p:cNvPr>
                <p:cNvSpPr/>
                <p:nvPr/>
              </p:nvSpPr>
              <p:spPr>
                <a:xfrm>
                  <a:off x="9287959" y="2549472"/>
                  <a:ext cx="2442" cy="3091"/>
                </a:xfrm>
                <a:custGeom>
                  <a:avLst/>
                  <a:gdLst>
                    <a:gd name="connsiteX0" fmla="*/ 1664 w 2442"/>
                    <a:gd name="connsiteY0" fmla="*/ 78 h 3091"/>
                    <a:gd name="connsiteX1" fmla="*/ 283 w 2442"/>
                    <a:gd name="connsiteY1" fmla="*/ 957 h 3091"/>
                    <a:gd name="connsiteX2" fmla="*/ 283 w 2442"/>
                    <a:gd name="connsiteY2" fmla="*/ 2589 h 3091"/>
                    <a:gd name="connsiteX3" fmla="*/ 1036 w 2442"/>
                    <a:gd name="connsiteY3" fmla="*/ 3092 h 3091"/>
                    <a:gd name="connsiteX4" fmla="*/ 2418 w 2442"/>
                    <a:gd name="connsiteY4" fmla="*/ 580 h 3091"/>
                    <a:gd name="connsiteX5" fmla="*/ 1664 w 2442"/>
                    <a:gd name="connsiteY5" fmla="*/ 78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2" h="3091">
                      <a:moveTo>
                        <a:pt x="1664" y="78"/>
                      </a:moveTo>
                      <a:cubicBezTo>
                        <a:pt x="1287" y="-174"/>
                        <a:pt x="659" y="203"/>
                        <a:pt x="283" y="957"/>
                      </a:cubicBezTo>
                      <a:cubicBezTo>
                        <a:pt x="-94" y="1585"/>
                        <a:pt x="-94" y="2338"/>
                        <a:pt x="283" y="2589"/>
                      </a:cubicBezTo>
                      <a:cubicBezTo>
                        <a:pt x="659" y="2841"/>
                        <a:pt x="1036" y="3092"/>
                        <a:pt x="1036" y="3092"/>
                      </a:cubicBezTo>
                      <a:lnTo>
                        <a:pt x="2418" y="580"/>
                      </a:lnTo>
                      <a:cubicBezTo>
                        <a:pt x="2543" y="580"/>
                        <a:pt x="2166" y="329"/>
                        <a:pt x="1664" y="78"/>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9" name="Freeform: Shape 5288">
                  <a:extLst>
                    <a:ext uri="{FF2B5EF4-FFF2-40B4-BE49-F238E27FC236}">
                      <a16:creationId xmlns:a16="http://schemas.microsoft.com/office/drawing/2014/main" id="{3F62B5CB-71E4-4F04-9B18-2EEC6BF56843}"/>
                    </a:ext>
                  </a:extLst>
                </p:cNvPr>
                <p:cNvSpPr/>
                <p:nvPr/>
              </p:nvSpPr>
              <p:spPr>
                <a:xfrm>
                  <a:off x="9288838" y="2550028"/>
                  <a:ext cx="1946" cy="2560"/>
                </a:xfrm>
                <a:custGeom>
                  <a:avLst/>
                  <a:gdLst>
                    <a:gd name="connsiteX0" fmla="*/ 1664 w 1946"/>
                    <a:gd name="connsiteY0" fmla="*/ 1657 h 2560"/>
                    <a:gd name="connsiteX1" fmla="*/ 283 w 1946"/>
                    <a:gd name="connsiteY1" fmla="*/ 2536 h 2560"/>
                    <a:gd name="connsiteX2" fmla="*/ 283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3" y="2536"/>
                      </a:cubicBezTo>
                      <a:cubicBezTo>
                        <a:pt x="-94" y="2285"/>
                        <a:pt x="-94" y="1531"/>
                        <a:pt x="283" y="903"/>
                      </a:cubicBezTo>
                      <a:cubicBezTo>
                        <a:pt x="659" y="275"/>
                        <a:pt x="1287" y="-101"/>
                        <a:pt x="1664" y="24"/>
                      </a:cubicBezTo>
                      <a:cubicBezTo>
                        <a:pt x="2041" y="275"/>
                        <a:pt x="2041"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90" name="Graphic 4">
                <a:extLst>
                  <a:ext uri="{FF2B5EF4-FFF2-40B4-BE49-F238E27FC236}">
                    <a16:creationId xmlns:a16="http://schemas.microsoft.com/office/drawing/2014/main" id="{84FB7ED1-A2DF-40A1-A747-5F7CF3F14040}"/>
                  </a:ext>
                </a:extLst>
              </p:cNvPr>
              <p:cNvGrpSpPr/>
              <p:nvPr/>
            </p:nvGrpSpPr>
            <p:grpSpPr>
              <a:xfrm>
                <a:off x="9282935" y="2554873"/>
                <a:ext cx="2700" cy="3115"/>
                <a:chOff x="9282935" y="2554873"/>
                <a:chExt cx="2700" cy="3115"/>
              </a:xfrm>
              <a:solidFill>
                <a:schemeClr val="accent1"/>
              </a:solidFill>
            </p:grpSpPr>
            <p:sp>
              <p:nvSpPr>
                <p:cNvPr id="5291" name="Freeform: Shape 5290">
                  <a:extLst>
                    <a:ext uri="{FF2B5EF4-FFF2-40B4-BE49-F238E27FC236}">
                      <a16:creationId xmlns:a16="http://schemas.microsoft.com/office/drawing/2014/main" id="{0BD6F041-C6AA-478B-95BE-54239AF73FB4}"/>
                    </a:ext>
                  </a:extLst>
                </p:cNvPr>
                <p:cNvSpPr/>
                <p:nvPr/>
              </p:nvSpPr>
              <p:spPr>
                <a:xfrm>
                  <a:off x="9282935" y="2554873"/>
                  <a:ext cx="2417" cy="3091"/>
                </a:xfrm>
                <a:custGeom>
                  <a:avLst/>
                  <a:gdLst>
                    <a:gd name="connsiteX0" fmla="*/ 1664 w 2417"/>
                    <a:gd name="connsiteY0" fmla="*/ 78 h 3091"/>
                    <a:gd name="connsiteX1" fmla="*/ 282 w 2417"/>
                    <a:gd name="connsiteY1" fmla="*/ 957 h 3091"/>
                    <a:gd name="connsiteX2" fmla="*/ 282 w 2417"/>
                    <a:gd name="connsiteY2" fmla="*/ 2589 h 3091"/>
                    <a:gd name="connsiteX3" fmla="*/ 1036 w 2417"/>
                    <a:gd name="connsiteY3" fmla="*/ 3092 h 3091"/>
                    <a:gd name="connsiteX4" fmla="*/ 2417 w 2417"/>
                    <a:gd name="connsiteY4" fmla="*/ 580 h 3091"/>
                    <a:gd name="connsiteX5" fmla="*/ 1664 w 2417"/>
                    <a:gd name="connsiteY5" fmla="*/ 78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8"/>
                      </a:moveTo>
                      <a:cubicBezTo>
                        <a:pt x="1287" y="-174"/>
                        <a:pt x="659" y="203"/>
                        <a:pt x="282" y="957"/>
                      </a:cubicBezTo>
                      <a:cubicBezTo>
                        <a:pt x="-94" y="1585"/>
                        <a:pt x="-94" y="2338"/>
                        <a:pt x="282" y="2589"/>
                      </a:cubicBezTo>
                      <a:cubicBezTo>
                        <a:pt x="659" y="2841"/>
                        <a:pt x="1036" y="3092"/>
                        <a:pt x="1036" y="3092"/>
                      </a:cubicBezTo>
                      <a:lnTo>
                        <a:pt x="2417" y="580"/>
                      </a:lnTo>
                      <a:cubicBezTo>
                        <a:pt x="2417" y="580"/>
                        <a:pt x="2041" y="329"/>
                        <a:pt x="1664" y="78"/>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92" name="Freeform: Shape 5291">
                  <a:extLst>
                    <a:ext uri="{FF2B5EF4-FFF2-40B4-BE49-F238E27FC236}">
                      <a16:creationId xmlns:a16="http://schemas.microsoft.com/office/drawing/2014/main" id="{E237CA2A-9F19-460C-BAE2-4EDA5B871275}"/>
                    </a:ext>
                  </a:extLst>
                </p:cNvPr>
                <p:cNvSpPr/>
                <p:nvPr/>
              </p:nvSpPr>
              <p:spPr>
                <a:xfrm>
                  <a:off x="9283689" y="2555428"/>
                  <a:ext cx="1946" cy="2560"/>
                </a:xfrm>
                <a:custGeom>
                  <a:avLst/>
                  <a:gdLst>
                    <a:gd name="connsiteX0" fmla="*/ 1664 w 1946"/>
                    <a:gd name="connsiteY0" fmla="*/ 1657 h 2560"/>
                    <a:gd name="connsiteX1" fmla="*/ 282 w 1946"/>
                    <a:gd name="connsiteY1" fmla="*/ 2536 h 2560"/>
                    <a:gd name="connsiteX2" fmla="*/ 282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2" y="2536"/>
                      </a:cubicBezTo>
                      <a:cubicBezTo>
                        <a:pt x="-94" y="2285"/>
                        <a:pt x="-94" y="1531"/>
                        <a:pt x="282" y="903"/>
                      </a:cubicBezTo>
                      <a:cubicBezTo>
                        <a:pt x="659" y="275"/>
                        <a:pt x="1287" y="-101"/>
                        <a:pt x="1664" y="24"/>
                      </a:cubicBezTo>
                      <a:cubicBezTo>
                        <a:pt x="2041" y="150"/>
                        <a:pt x="2041"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93" name="Graphic 4">
                <a:extLst>
                  <a:ext uri="{FF2B5EF4-FFF2-40B4-BE49-F238E27FC236}">
                    <a16:creationId xmlns:a16="http://schemas.microsoft.com/office/drawing/2014/main" id="{84FB7ED1-A2DF-40A1-A747-5F7CF3F14040}"/>
                  </a:ext>
                </a:extLst>
              </p:cNvPr>
              <p:cNvGrpSpPr/>
              <p:nvPr/>
            </p:nvGrpSpPr>
            <p:grpSpPr>
              <a:xfrm>
                <a:off x="9280800" y="2562031"/>
                <a:ext cx="2700" cy="3091"/>
                <a:chOff x="9280800" y="2562031"/>
                <a:chExt cx="2700" cy="3091"/>
              </a:xfrm>
              <a:solidFill>
                <a:schemeClr val="accent1"/>
              </a:solidFill>
            </p:grpSpPr>
            <p:sp>
              <p:nvSpPr>
                <p:cNvPr id="5294" name="Freeform: Shape 5293">
                  <a:extLst>
                    <a:ext uri="{FF2B5EF4-FFF2-40B4-BE49-F238E27FC236}">
                      <a16:creationId xmlns:a16="http://schemas.microsoft.com/office/drawing/2014/main" id="{7CA97C98-7C1C-4369-B492-1DEAE43D4397}"/>
                    </a:ext>
                  </a:extLst>
                </p:cNvPr>
                <p:cNvSpPr/>
                <p:nvPr/>
              </p:nvSpPr>
              <p:spPr>
                <a:xfrm>
                  <a:off x="9280800" y="2562031"/>
                  <a:ext cx="2417" cy="3091"/>
                </a:xfrm>
                <a:custGeom>
                  <a:avLst/>
                  <a:gdLst>
                    <a:gd name="connsiteX0" fmla="*/ 1664 w 2417"/>
                    <a:gd name="connsiteY0" fmla="*/ 78 h 3091"/>
                    <a:gd name="connsiteX1" fmla="*/ 283 w 2417"/>
                    <a:gd name="connsiteY1" fmla="*/ 957 h 3091"/>
                    <a:gd name="connsiteX2" fmla="*/ 283 w 2417"/>
                    <a:gd name="connsiteY2" fmla="*/ 2589 h 3091"/>
                    <a:gd name="connsiteX3" fmla="*/ 1036 w 2417"/>
                    <a:gd name="connsiteY3" fmla="*/ 3092 h 3091"/>
                    <a:gd name="connsiteX4" fmla="*/ 2418 w 2417"/>
                    <a:gd name="connsiteY4" fmla="*/ 580 h 3091"/>
                    <a:gd name="connsiteX5" fmla="*/ 1664 w 2417"/>
                    <a:gd name="connsiteY5" fmla="*/ 78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8"/>
                      </a:moveTo>
                      <a:cubicBezTo>
                        <a:pt x="1287" y="-174"/>
                        <a:pt x="659" y="203"/>
                        <a:pt x="283" y="957"/>
                      </a:cubicBezTo>
                      <a:cubicBezTo>
                        <a:pt x="-94" y="1585"/>
                        <a:pt x="-94" y="2338"/>
                        <a:pt x="283" y="2589"/>
                      </a:cubicBezTo>
                      <a:cubicBezTo>
                        <a:pt x="659" y="2841"/>
                        <a:pt x="1036" y="3092"/>
                        <a:pt x="1036" y="3092"/>
                      </a:cubicBezTo>
                      <a:lnTo>
                        <a:pt x="2418" y="580"/>
                      </a:lnTo>
                      <a:cubicBezTo>
                        <a:pt x="2418" y="454"/>
                        <a:pt x="2041" y="203"/>
                        <a:pt x="1664" y="78"/>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95" name="Freeform: Shape 5294">
                  <a:extLst>
                    <a:ext uri="{FF2B5EF4-FFF2-40B4-BE49-F238E27FC236}">
                      <a16:creationId xmlns:a16="http://schemas.microsoft.com/office/drawing/2014/main" id="{E10F14C1-F0CB-4113-A444-F9A968CDDE9B}"/>
                    </a:ext>
                  </a:extLst>
                </p:cNvPr>
                <p:cNvSpPr/>
                <p:nvPr/>
              </p:nvSpPr>
              <p:spPr>
                <a:xfrm>
                  <a:off x="9281553" y="2562462"/>
                  <a:ext cx="1947" cy="2560"/>
                </a:xfrm>
                <a:custGeom>
                  <a:avLst/>
                  <a:gdLst>
                    <a:gd name="connsiteX0" fmla="*/ 1664 w 1947"/>
                    <a:gd name="connsiteY0" fmla="*/ 1657 h 2560"/>
                    <a:gd name="connsiteX1" fmla="*/ 283 w 1947"/>
                    <a:gd name="connsiteY1" fmla="*/ 2536 h 2560"/>
                    <a:gd name="connsiteX2" fmla="*/ 283 w 1947"/>
                    <a:gd name="connsiteY2" fmla="*/ 903 h 2560"/>
                    <a:gd name="connsiteX3" fmla="*/ 1664 w 1947"/>
                    <a:gd name="connsiteY3" fmla="*/ 24 h 2560"/>
                    <a:gd name="connsiteX4" fmla="*/ 1664 w 1947"/>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 h="2560">
                      <a:moveTo>
                        <a:pt x="1664" y="1657"/>
                      </a:moveTo>
                      <a:cubicBezTo>
                        <a:pt x="1288" y="2285"/>
                        <a:pt x="659" y="2662"/>
                        <a:pt x="283" y="2536"/>
                      </a:cubicBezTo>
                      <a:cubicBezTo>
                        <a:pt x="-94" y="2285"/>
                        <a:pt x="-94" y="1531"/>
                        <a:pt x="283" y="903"/>
                      </a:cubicBezTo>
                      <a:cubicBezTo>
                        <a:pt x="659" y="275"/>
                        <a:pt x="1288" y="-102"/>
                        <a:pt x="1664" y="24"/>
                      </a:cubicBezTo>
                      <a:cubicBezTo>
                        <a:pt x="2041" y="275"/>
                        <a:pt x="2041" y="1029"/>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96" name="Graphic 4">
                <a:extLst>
                  <a:ext uri="{FF2B5EF4-FFF2-40B4-BE49-F238E27FC236}">
                    <a16:creationId xmlns:a16="http://schemas.microsoft.com/office/drawing/2014/main" id="{84FB7ED1-A2DF-40A1-A747-5F7CF3F14040}"/>
                  </a:ext>
                </a:extLst>
              </p:cNvPr>
              <p:cNvGrpSpPr/>
              <p:nvPr/>
            </p:nvGrpSpPr>
            <p:grpSpPr>
              <a:xfrm>
                <a:off x="9282935" y="2566678"/>
                <a:ext cx="2700" cy="3115"/>
                <a:chOff x="9282935" y="2566678"/>
                <a:chExt cx="2700" cy="3115"/>
              </a:xfrm>
              <a:solidFill>
                <a:schemeClr val="accent1"/>
              </a:solidFill>
            </p:grpSpPr>
            <p:sp>
              <p:nvSpPr>
                <p:cNvPr id="5297" name="Freeform: Shape 5296">
                  <a:extLst>
                    <a:ext uri="{FF2B5EF4-FFF2-40B4-BE49-F238E27FC236}">
                      <a16:creationId xmlns:a16="http://schemas.microsoft.com/office/drawing/2014/main" id="{73D10640-ACC6-4F04-93BC-77883019823B}"/>
                    </a:ext>
                  </a:extLst>
                </p:cNvPr>
                <p:cNvSpPr/>
                <p:nvPr/>
              </p:nvSpPr>
              <p:spPr>
                <a:xfrm>
                  <a:off x="9282935" y="2566678"/>
                  <a:ext cx="2417" cy="3091"/>
                </a:xfrm>
                <a:custGeom>
                  <a:avLst/>
                  <a:gdLst>
                    <a:gd name="connsiteX0" fmla="*/ 1664 w 2417"/>
                    <a:gd name="connsiteY0" fmla="*/ 77 h 3091"/>
                    <a:gd name="connsiteX1" fmla="*/ 282 w 2417"/>
                    <a:gd name="connsiteY1" fmla="*/ 957 h 3091"/>
                    <a:gd name="connsiteX2" fmla="*/ 282 w 2417"/>
                    <a:gd name="connsiteY2" fmla="*/ 2589 h 3091"/>
                    <a:gd name="connsiteX3" fmla="*/ 1036 w 2417"/>
                    <a:gd name="connsiteY3" fmla="*/ 3092 h 3091"/>
                    <a:gd name="connsiteX4" fmla="*/ 2417 w 2417"/>
                    <a:gd name="connsiteY4" fmla="*/ 580 h 3091"/>
                    <a:gd name="connsiteX5" fmla="*/ 1664 w 2417"/>
                    <a:gd name="connsiteY5" fmla="*/ 77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7"/>
                      </a:moveTo>
                      <a:cubicBezTo>
                        <a:pt x="1287" y="-174"/>
                        <a:pt x="659" y="203"/>
                        <a:pt x="282" y="957"/>
                      </a:cubicBezTo>
                      <a:cubicBezTo>
                        <a:pt x="-94" y="1585"/>
                        <a:pt x="-94" y="2338"/>
                        <a:pt x="282" y="2589"/>
                      </a:cubicBezTo>
                      <a:cubicBezTo>
                        <a:pt x="659" y="2841"/>
                        <a:pt x="1036" y="3092"/>
                        <a:pt x="1036" y="3092"/>
                      </a:cubicBezTo>
                      <a:lnTo>
                        <a:pt x="2417" y="580"/>
                      </a:lnTo>
                      <a:cubicBezTo>
                        <a:pt x="2417" y="454"/>
                        <a:pt x="2041" y="329"/>
                        <a:pt x="1664" y="7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98" name="Freeform: Shape 5297">
                  <a:extLst>
                    <a:ext uri="{FF2B5EF4-FFF2-40B4-BE49-F238E27FC236}">
                      <a16:creationId xmlns:a16="http://schemas.microsoft.com/office/drawing/2014/main" id="{3BFDC01F-18A7-4889-BF34-39EBEDE541DC}"/>
                    </a:ext>
                  </a:extLst>
                </p:cNvPr>
                <p:cNvSpPr/>
                <p:nvPr/>
              </p:nvSpPr>
              <p:spPr>
                <a:xfrm>
                  <a:off x="9283689" y="2567234"/>
                  <a:ext cx="1946" cy="2560"/>
                </a:xfrm>
                <a:custGeom>
                  <a:avLst/>
                  <a:gdLst>
                    <a:gd name="connsiteX0" fmla="*/ 1664 w 1946"/>
                    <a:gd name="connsiteY0" fmla="*/ 1657 h 2560"/>
                    <a:gd name="connsiteX1" fmla="*/ 282 w 1946"/>
                    <a:gd name="connsiteY1" fmla="*/ 2536 h 2560"/>
                    <a:gd name="connsiteX2" fmla="*/ 282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2" y="2536"/>
                      </a:cubicBezTo>
                      <a:cubicBezTo>
                        <a:pt x="-94" y="2285"/>
                        <a:pt x="-94" y="1531"/>
                        <a:pt x="282" y="903"/>
                      </a:cubicBezTo>
                      <a:cubicBezTo>
                        <a:pt x="659" y="275"/>
                        <a:pt x="1287" y="-102"/>
                        <a:pt x="1664" y="24"/>
                      </a:cubicBezTo>
                      <a:cubicBezTo>
                        <a:pt x="2041" y="150"/>
                        <a:pt x="2041"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299" name="Graphic 4">
              <a:extLst>
                <a:ext uri="{FF2B5EF4-FFF2-40B4-BE49-F238E27FC236}">
                  <a16:creationId xmlns:a16="http://schemas.microsoft.com/office/drawing/2014/main" id="{84FB7ED1-A2DF-40A1-A747-5F7CF3F14040}"/>
                </a:ext>
              </a:extLst>
            </p:cNvPr>
            <p:cNvGrpSpPr/>
            <p:nvPr/>
          </p:nvGrpSpPr>
          <p:grpSpPr>
            <a:xfrm>
              <a:off x="9184877" y="2477709"/>
              <a:ext cx="58653" cy="83394"/>
              <a:chOff x="9184877" y="2477709"/>
              <a:chExt cx="58653" cy="83394"/>
            </a:xfrm>
            <a:solidFill>
              <a:srgbClr val="F6B000"/>
            </a:solidFill>
          </p:grpSpPr>
          <p:sp>
            <p:nvSpPr>
              <p:cNvPr id="5300" name="Freeform: Shape 5299">
                <a:extLst>
                  <a:ext uri="{FF2B5EF4-FFF2-40B4-BE49-F238E27FC236}">
                    <a16:creationId xmlns:a16="http://schemas.microsoft.com/office/drawing/2014/main" id="{A4C8FBB1-5F99-4C47-B5AD-FC99E3E9D0BE}"/>
                  </a:ext>
                </a:extLst>
              </p:cNvPr>
              <p:cNvSpPr/>
              <p:nvPr/>
            </p:nvSpPr>
            <p:spPr>
              <a:xfrm>
                <a:off x="9202460" y="2487882"/>
                <a:ext cx="41069" cy="73221"/>
              </a:xfrm>
              <a:custGeom>
                <a:avLst/>
                <a:gdLst>
                  <a:gd name="connsiteX0" fmla="*/ 28133 w 41069"/>
                  <a:gd name="connsiteY0" fmla="*/ 10299 h 73221"/>
                  <a:gd name="connsiteX1" fmla="*/ 2386 w 41069"/>
                  <a:gd name="connsiteY1" fmla="*/ 54885 h 73221"/>
                  <a:gd name="connsiteX2" fmla="*/ 2386 w 41069"/>
                  <a:gd name="connsiteY2" fmla="*/ 71840 h 73221"/>
                  <a:gd name="connsiteX3" fmla="*/ 0 w 41069"/>
                  <a:gd name="connsiteY3" fmla="*/ 73222 h 73221"/>
                  <a:gd name="connsiteX4" fmla="*/ 0 w 41069"/>
                  <a:gd name="connsiteY4" fmla="*/ 56267 h 73221"/>
                  <a:gd name="connsiteX5" fmla="*/ 28133 w 41069"/>
                  <a:gd name="connsiteY5" fmla="*/ 7536 h 73221"/>
                  <a:gd name="connsiteX6" fmla="*/ 41070 w 41069"/>
                  <a:gd name="connsiteY6" fmla="*/ 0 h 73221"/>
                  <a:gd name="connsiteX7" fmla="*/ 41070 w 41069"/>
                  <a:gd name="connsiteY7" fmla="*/ 2763 h 73221"/>
                  <a:gd name="connsiteX8" fmla="*/ 28133 w 41069"/>
                  <a:gd name="connsiteY8" fmla="*/ 10299 h 73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069" h="73221">
                    <a:moveTo>
                      <a:pt x="28133" y="10299"/>
                    </a:moveTo>
                    <a:cubicBezTo>
                      <a:pt x="13941" y="18462"/>
                      <a:pt x="2386" y="38432"/>
                      <a:pt x="2386" y="54885"/>
                    </a:cubicBezTo>
                    <a:lnTo>
                      <a:pt x="2386" y="71840"/>
                    </a:lnTo>
                    <a:lnTo>
                      <a:pt x="0" y="73222"/>
                    </a:lnTo>
                    <a:lnTo>
                      <a:pt x="0" y="56267"/>
                    </a:lnTo>
                    <a:cubicBezTo>
                      <a:pt x="0" y="38306"/>
                      <a:pt x="12559" y="16579"/>
                      <a:pt x="28133" y="7536"/>
                    </a:cubicBezTo>
                    <a:lnTo>
                      <a:pt x="41070" y="0"/>
                    </a:lnTo>
                    <a:lnTo>
                      <a:pt x="41070" y="2763"/>
                    </a:lnTo>
                    <a:lnTo>
                      <a:pt x="28133" y="10299"/>
                    </a:lnTo>
                    <a:close/>
                  </a:path>
                </a:pathLst>
              </a:custGeom>
              <a:solidFill>
                <a:srgbClr val="F6B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01" name="Freeform: Shape 5300">
                <a:extLst>
                  <a:ext uri="{FF2B5EF4-FFF2-40B4-BE49-F238E27FC236}">
                    <a16:creationId xmlns:a16="http://schemas.microsoft.com/office/drawing/2014/main" id="{CAD93258-ED92-49AE-9133-1CA3E53BFD4F}"/>
                  </a:ext>
                </a:extLst>
              </p:cNvPr>
              <p:cNvSpPr/>
              <p:nvPr/>
            </p:nvSpPr>
            <p:spPr>
              <a:xfrm>
                <a:off x="9184877" y="2477709"/>
                <a:ext cx="58653" cy="83394"/>
              </a:xfrm>
              <a:custGeom>
                <a:avLst/>
                <a:gdLst>
                  <a:gd name="connsiteX0" fmla="*/ 45717 w 58653"/>
                  <a:gd name="connsiteY0" fmla="*/ 17709 h 83394"/>
                  <a:gd name="connsiteX1" fmla="*/ 58653 w 58653"/>
                  <a:gd name="connsiteY1" fmla="*/ 10173 h 83394"/>
                  <a:gd name="connsiteX2" fmla="*/ 41070 w 58653"/>
                  <a:gd name="connsiteY2" fmla="*/ 0 h 83394"/>
                  <a:gd name="connsiteX3" fmla="*/ 28133 w 58653"/>
                  <a:gd name="connsiteY3" fmla="*/ 7536 h 83394"/>
                  <a:gd name="connsiteX4" fmla="*/ 0 w 58653"/>
                  <a:gd name="connsiteY4" fmla="*/ 56266 h 83394"/>
                  <a:gd name="connsiteX5" fmla="*/ 0 w 58653"/>
                  <a:gd name="connsiteY5" fmla="*/ 73222 h 83394"/>
                  <a:gd name="connsiteX6" fmla="*/ 17584 w 58653"/>
                  <a:gd name="connsiteY6" fmla="*/ 83395 h 83394"/>
                  <a:gd name="connsiteX7" fmla="*/ 17584 w 58653"/>
                  <a:gd name="connsiteY7" fmla="*/ 66440 h 83394"/>
                  <a:gd name="connsiteX8" fmla="*/ 45717 w 58653"/>
                  <a:gd name="connsiteY8" fmla="*/ 17709 h 83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53" h="83394">
                    <a:moveTo>
                      <a:pt x="45717" y="17709"/>
                    </a:moveTo>
                    <a:lnTo>
                      <a:pt x="58653" y="10173"/>
                    </a:lnTo>
                    <a:lnTo>
                      <a:pt x="41070" y="0"/>
                    </a:lnTo>
                    <a:lnTo>
                      <a:pt x="28133" y="7536"/>
                    </a:lnTo>
                    <a:cubicBezTo>
                      <a:pt x="12559" y="16453"/>
                      <a:pt x="0" y="38306"/>
                      <a:pt x="0" y="56266"/>
                    </a:cubicBezTo>
                    <a:lnTo>
                      <a:pt x="0" y="73222"/>
                    </a:lnTo>
                    <a:lnTo>
                      <a:pt x="17584" y="83395"/>
                    </a:lnTo>
                    <a:lnTo>
                      <a:pt x="17584" y="66440"/>
                    </a:lnTo>
                    <a:cubicBezTo>
                      <a:pt x="17584" y="48480"/>
                      <a:pt x="30269" y="26626"/>
                      <a:pt x="45717" y="17709"/>
                    </a:cubicBezTo>
                    <a:close/>
                  </a:path>
                </a:pathLst>
              </a:custGeom>
              <a:solidFill>
                <a:srgbClr val="F6B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02" name="Graphic 4">
              <a:extLst>
                <a:ext uri="{FF2B5EF4-FFF2-40B4-BE49-F238E27FC236}">
                  <a16:creationId xmlns:a16="http://schemas.microsoft.com/office/drawing/2014/main" id="{84FB7ED1-A2DF-40A1-A747-5F7CF3F14040}"/>
                </a:ext>
              </a:extLst>
            </p:cNvPr>
            <p:cNvGrpSpPr/>
            <p:nvPr/>
          </p:nvGrpSpPr>
          <p:grpSpPr>
            <a:xfrm>
              <a:off x="9136146" y="2416873"/>
              <a:ext cx="125469" cy="137198"/>
              <a:chOff x="9136146" y="2416873"/>
              <a:chExt cx="125469" cy="137198"/>
            </a:xfrm>
            <a:solidFill>
              <a:schemeClr val="accent1"/>
            </a:solidFill>
          </p:grpSpPr>
          <p:sp>
            <p:nvSpPr>
              <p:cNvPr id="5303" name="Freeform: Shape 5302">
                <a:extLst>
                  <a:ext uri="{FF2B5EF4-FFF2-40B4-BE49-F238E27FC236}">
                    <a16:creationId xmlns:a16="http://schemas.microsoft.com/office/drawing/2014/main" id="{833B8CBF-83EC-4DEE-9D74-D46C08457D72}"/>
                  </a:ext>
                </a:extLst>
              </p:cNvPr>
              <p:cNvSpPr/>
              <p:nvPr/>
            </p:nvSpPr>
            <p:spPr>
              <a:xfrm>
                <a:off x="9141044" y="2419689"/>
                <a:ext cx="81636" cy="134381"/>
              </a:xfrm>
              <a:custGeom>
                <a:avLst/>
                <a:gdLst>
                  <a:gd name="connsiteX0" fmla="*/ 11680 w 81636"/>
                  <a:gd name="connsiteY0" fmla="*/ 20718 h 134381"/>
                  <a:gd name="connsiteX1" fmla="*/ 43079 w 81636"/>
                  <a:gd name="connsiteY1" fmla="*/ 2633 h 134381"/>
                  <a:gd name="connsiteX2" fmla="*/ 56769 w 81636"/>
                  <a:gd name="connsiteY2" fmla="*/ 1251 h 134381"/>
                  <a:gd name="connsiteX3" fmla="*/ 60411 w 81636"/>
                  <a:gd name="connsiteY3" fmla="*/ 5019 h 134381"/>
                  <a:gd name="connsiteX4" fmla="*/ 72217 w 81636"/>
                  <a:gd name="connsiteY4" fmla="*/ 31771 h 134381"/>
                  <a:gd name="connsiteX5" fmla="*/ 81637 w 81636"/>
                  <a:gd name="connsiteY5" fmla="*/ 81632 h 134381"/>
                  <a:gd name="connsiteX6" fmla="*/ 62044 w 81636"/>
                  <a:gd name="connsiteY6" fmla="*/ 117301 h 134381"/>
                  <a:gd name="connsiteX7" fmla="*/ 62044 w 81636"/>
                  <a:gd name="connsiteY7" fmla="*/ 117301 h 134381"/>
                  <a:gd name="connsiteX8" fmla="*/ 60788 w 81636"/>
                  <a:gd name="connsiteY8" fmla="*/ 118054 h 134381"/>
                  <a:gd name="connsiteX9" fmla="*/ 70334 w 81636"/>
                  <a:gd name="connsiteY9" fmla="*/ 89670 h 134381"/>
                  <a:gd name="connsiteX10" fmla="*/ 74478 w 81636"/>
                  <a:gd name="connsiteY10" fmla="*/ 64928 h 134381"/>
                  <a:gd name="connsiteX11" fmla="*/ 67570 w 81636"/>
                  <a:gd name="connsiteY11" fmla="*/ 36166 h 134381"/>
                  <a:gd name="connsiteX12" fmla="*/ 56016 w 81636"/>
                  <a:gd name="connsiteY12" fmla="*/ 10168 h 134381"/>
                  <a:gd name="connsiteX13" fmla="*/ 43079 w 81636"/>
                  <a:gd name="connsiteY13" fmla="*/ 8410 h 134381"/>
                  <a:gd name="connsiteX14" fmla="*/ 11680 w 81636"/>
                  <a:gd name="connsiteY14" fmla="*/ 26496 h 134381"/>
                  <a:gd name="connsiteX15" fmla="*/ 4898 w 81636"/>
                  <a:gd name="connsiteY15" fmla="*/ 38176 h 134381"/>
                  <a:gd name="connsiteX16" fmla="*/ 4898 w 81636"/>
                  <a:gd name="connsiteY16" fmla="*/ 131493 h 134381"/>
                  <a:gd name="connsiteX17" fmla="*/ 0 w 81636"/>
                  <a:gd name="connsiteY17" fmla="*/ 134381 h 134381"/>
                  <a:gd name="connsiteX18" fmla="*/ 0 w 81636"/>
                  <a:gd name="connsiteY18" fmla="*/ 41065 h 134381"/>
                  <a:gd name="connsiteX19" fmla="*/ 11680 w 81636"/>
                  <a:gd name="connsiteY19" fmla="*/ 20718 h 13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1636" h="134381">
                    <a:moveTo>
                      <a:pt x="11680" y="20718"/>
                    </a:moveTo>
                    <a:lnTo>
                      <a:pt x="43079" y="2633"/>
                    </a:lnTo>
                    <a:cubicBezTo>
                      <a:pt x="48354" y="-382"/>
                      <a:pt x="53252" y="-758"/>
                      <a:pt x="56769" y="1251"/>
                    </a:cubicBezTo>
                    <a:cubicBezTo>
                      <a:pt x="58276" y="2130"/>
                      <a:pt x="59532" y="3386"/>
                      <a:pt x="60411" y="5019"/>
                    </a:cubicBezTo>
                    <a:cubicBezTo>
                      <a:pt x="64556" y="12303"/>
                      <a:pt x="68701" y="21095"/>
                      <a:pt x="72217" y="31771"/>
                    </a:cubicBezTo>
                    <a:cubicBezTo>
                      <a:pt x="78120" y="49354"/>
                      <a:pt x="80632" y="66937"/>
                      <a:pt x="81637" y="81632"/>
                    </a:cubicBezTo>
                    <a:cubicBezTo>
                      <a:pt x="71841" y="90675"/>
                      <a:pt x="64179" y="104364"/>
                      <a:pt x="62044" y="117301"/>
                    </a:cubicBezTo>
                    <a:lnTo>
                      <a:pt x="62044" y="117301"/>
                    </a:lnTo>
                    <a:lnTo>
                      <a:pt x="60788" y="118054"/>
                    </a:lnTo>
                    <a:cubicBezTo>
                      <a:pt x="60788" y="118054"/>
                      <a:pt x="64054" y="103988"/>
                      <a:pt x="70334" y="89670"/>
                    </a:cubicBezTo>
                    <a:cubicBezTo>
                      <a:pt x="74352" y="80501"/>
                      <a:pt x="75734" y="72714"/>
                      <a:pt x="74478" y="64928"/>
                    </a:cubicBezTo>
                    <a:cubicBezTo>
                      <a:pt x="72720" y="54880"/>
                      <a:pt x="70584" y="45209"/>
                      <a:pt x="67570" y="36166"/>
                    </a:cubicBezTo>
                    <a:cubicBezTo>
                      <a:pt x="64430" y="26747"/>
                      <a:pt x="60537" y="17955"/>
                      <a:pt x="56016" y="10168"/>
                    </a:cubicBezTo>
                    <a:cubicBezTo>
                      <a:pt x="53504" y="5898"/>
                      <a:pt x="48605" y="5270"/>
                      <a:pt x="43079" y="8410"/>
                    </a:cubicBezTo>
                    <a:lnTo>
                      <a:pt x="11680" y="26496"/>
                    </a:lnTo>
                    <a:cubicBezTo>
                      <a:pt x="7913" y="28631"/>
                      <a:pt x="4898" y="33906"/>
                      <a:pt x="4898" y="38176"/>
                    </a:cubicBezTo>
                    <a:lnTo>
                      <a:pt x="4898" y="131493"/>
                    </a:lnTo>
                    <a:lnTo>
                      <a:pt x="0" y="134381"/>
                    </a:lnTo>
                    <a:lnTo>
                      <a:pt x="0" y="41065"/>
                    </a:lnTo>
                    <a:cubicBezTo>
                      <a:pt x="0" y="33529"/>
                      <a:pt x="5275" y="24486"/>
                      <a:pt x="11680" y="20718"/>
                    </a:cubicBezTo>
                    <a:close/>
                  </a:path>
                </a:pathLst>
              </a:custGeom>
              <a:solidFill>
                <a:srgbClr val="606E7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04" name="Graphic 4">
                <a:extLst>
                  <a:ext uri="{FF2B5EF4-FFF2-40B4-BE49-F238E27FC236}">
                    <a16:creationId xmlns:a16="http://schemas.microsoft.com/office/drawing/2014/main" id="{84FB7ED1-A2DF-40A1-A747-5F7CF3F14040}"/>
                  </a:ext>
                </a:extLst>
              </p:cNvPr>
              <p:cNvGrpSpPr/>
              <p:nvPr/>
            </p:nvGrpSpPr>
            <p:grpSpPr>
              <a:xfrm>
                <a:off x="9136146" y="2416873"/>
                <a:ext cx="79894" cy="137072"/>
                <a:chOff x="9136146" y="2416873"/>
                <a:chExt cx="79894" cy="137072"/>
              </a:xfrm>
              <a:solidFill>
                <a:schemeClr val="accent1"/>
              </a:solidFill>
            </p:grpSpPr>
            <p:sp>
              <p:nvSpPr>
                <p:cNvPr id="5305" name="Freeform: Shape 5304">
                  <a:extLst>
                    <a:ext uri="{FF2B5EF4-FFF2-40B4-BE49-F238E27FC236}">
                      <a16:creationId xmlns:a16="http://schemas.microsoft.com/office/drawing/2014/main" id="{67CCDD32-95D8-47FA-9B8B-E3F1093A6704}"/>
                    </a:ext>
                  </a:extLst>
                </p:cNvPr>
                <p:cNvSpPr/>
                <p:nvPr/>
              </p:nvSpPr>
              <p:spPr>
                <a:xfrm>
                  <a:off x="9191659" y="2426090"/>
                  <a:ext cx="24380" cy="111528"/>
                </a:xfrm>
                <a:custGeom>
                  <a:avLst/>
                  <a:gdLst>
                    <a:gd name="connsiteX0" fmla="*/ 23863 w 24380"/>
                    <a:gd name="connsiteY0" fmla="*/ 58402 h 111528"/>
                    <a:gd name="connsiteX1" fmla="*/ 16955 w 24380"/>
                    <a:gd name="connsiteY1" fmla="*/ 29640 h 111528"/>
                    <a:gd name="connsiteX2" fmla="*/ 5400 w 24380"/>
                    <a:gd name="connsiteY2" fmla="*/ 3642 h 111528"/>
                    <a:gd name="connsiteX3" fmla="*/ 0 w 24380"/>
                    <a:gd name="connsiteY3" fmla="*/ 0 h 111528"/>
                    <a:gd name="connsiteX4" fmla="*/ 628 w 24380"/>
                    <a:gd name="connsiteY4" fmla="*/ 879 h 111528"/>
                    <a:gd name="connsiteX5" fmla="*/ 12182 w 24380"/>
                    <a:gd name="connsiteY5" fmla="*/ 26877 h 111528"/>
                    <a:gd name="connsiteX6" fmla="*/ 19090 w 24380"/>
                    <a:gd name="connsiteY6" fmla="*/ 55638 h 111528"/>
                    <a:gd name="connsiteX7" fmla="*/ 14946 w 24380"/>
                    <a:gd name="connsiteY7" fmla="*/ 80381 h 111528"/>
                    <a:gd name="connsiteX8" fmla="*/ 5400 w 24380"/>
                    <a:gd name="connsiteY8" fmla="*/ 108765 h 111528"/>
                    <a:gd name="connsiteX9" fmla="*/ 10173 w 24380"/>
                    <a:gd name="connsiteY9" fmla="*/ 111528 h 111528"/>
                    <a:gd name="connsiteX10" fmla="*/ 19718 w 24380"/>
                    <a:gd name="connsiteY10" fmla="*/ 83144 h 111528"/>
                    <a:gd name="connsiteX11" fmla="*/ 23863 w 24380"/>
                    <a:gd name="connsiteY11" fmla="*/ 58402 h 11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0" h="111528">
                      <a:moveTo>
                        <a:pt x="23863" y="58402"/>
                      </a:moveTo>
                      <a:cubicBezTo>
                        <a:pt x="22105" y="48354"/>
                        <a:pt x="19969" y="38683"/>
                        <a:pt x="16955" y="29640"/>
                      </a:cubicBezTo>
                      <a:cubicBezTo>
                        <a:pt x="13815" y="20221"/>
                        <a:pt x="9922" y="11429"/>
                        <a:pt x="5400" y="3642"/>
                      </a:cubicBezTo>
                      <a:cubicBezTo>
                        <a:pt x="4144" y="1507"/>
                        <a:pt x="2261" y="251"/>
                        <a:pt x="0" y="0"/>
                      </a:cubicBezTo>
                      <a:cubicBezTo>
                        <a:pt x="251" y="251"/>
                        <a:pt x="376" y="628"/>
                        <a:pt x="628" y="879"/>
                      </a:cubicBezTo>
                      <a:cubicBezTo>
                        <a:pt x="5149" y="8792"/>
                        <a:pt x="9042" y="17583"/>
                        <a:pt x="12182" y="26877"/>
                      </a:cubicBezTo>
                      <a:cubicBezTo>
                        <a:pt x="15196" y="35794"/>
                        <a:pt x="17332" y="45591"/>
                        <a:pt x="19090" y="55638"/>
                      </a:cubicBezTo>
                      <a:cubicBezTo>
                        <a:pt x="20472" y="63425"/>
                        <a:pt x="19090" y="71087"/>
                        <a:pt x="14946" y="80381"/>
                      </a:cubicBezTo>
                      <a:cubicBezTo>
                        <a:pt x="8666" y="94698"/>
                        <a:pt x="5400" y="108765"/>
                        <a:pt x="5400" y="108765"/>
                      </a:cubicBezTo>
                      <a:lnTo>
                        <a:pt x="10173" y="111528"/>
                      </a:lnTo>
                      <a:cubicBezTo>
                        <a:pt x="10173" y="111528"/>
                        <a:pt x="13439" y="97462"/>
                        <a:pt x="19718" y="83144"/>
                      </a:cubicBezTo>
                      <a:cubicBezTo>
                        <a:pt x="23863" y="73975"/>
                        <a:pt x="25245" y="66314"/>
                        <a:pt x="23863" y="58402"/>
                      </a:cubicBezTo>
                      <a:close/>
                    </a:path>
                  </a:pathLst>
                </a:custGeom>
                <a:solidFill>
                  <a:srgbClr val="3534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06" name="Freeform: Shape 5305">
                  <a:extLst>
                    <a:ext uri="{FF2B5EF4-FFF2-40B4-BE49-F238E27FC236}">
                      <a16:creationId xmlns:a16="http://schemas.microsoft.com/office/drawing/2014/main" id="{536EEC44-69EE-4134-B0FD-F655BB68A342}"/>
                    </a:ext>
                  </a:extLst>
                </p:cNvPr>
                <p:cNvSpPr/>
                <p:nvPr/>
              </p:nvSpPr>
              <p:spPr>
                <a:xfrm>
                  <a:off x="9136146" y="2416873"/>
                  <a:ext cx="61667" cy="137072"/>
                </a:xfrm>
                <a:custGeom>
                  <a:avLst/>
                  <a:gdLst>
                    <a:gd name="connsiteX0" fmla="*/ 16579 w 61667"/>
                    <a:gd name="connsiteY0" fmla="*/ 23535 h 137072"/>
                    <a:gd name="connsiteX1" fmla="*/ 47977 w 61667"/>
                    <a:gd name="connsiteY1" fmla="*/ 5449 h 137072"/>
                    <a:gd name="connsiteX2" fmla="*/ 61667 w 61667"/>
                    <a:gd name="connsiteY2" fmla="*/ 4068 h 137072"/>
                    <a:gd name="connsiteX3" fmla="*/ 56895 w 61667"/>
                    <a:gd name="connsiteY3" fmla="*/ 1305 h 137072"/>
                    <a:gd name="connsiteX4" fmla="*/ 43080 w 61667"/>
                    <a:gd name="connsiteY4" fmla="*/ 2686 h 137072"/>
                    <a:gd name="connsiteX5" fmla="*/ 11681 w 61667"/>
                    <a:gd name="connsiteY5" fmla="*/ 20772 h 137072"/>
                    <a:gd name="connsiteX6" fmla="*/ 0 w 61667"/>
                    <a:gd name="connsiteY6" fmla="*/ 40993 h 137072"/>
                    <a:gd name="connsiteX7" fmla="*/ 0 w 61667"/>
                    <a:gd name="connsiteY7" fmla="*/ 134310 h 137072"/>
                    <a:gd name="connsiteX8" fmla="*/ 4773 w 61667"/>
                    <a:gd name="connsiteY8" fmla="*/ 137073 h 137072"/>
                    <a:gd name="connsiteX9" fmla="*/ 4773 w 61667"/>
                    <a:gd name="connsiteY9" fmla="*/ 43756 h 137072"/>
                    <a:gd name="connsiteX10" fmla="*/ 16579 w 61667"/>
                    <a:gd name="connsiteY10" fmla="*/ 23535 h 13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667" h="137072">
                      <a:moveTo>
                        <a:pt x="16579" y="23535"/>
                      </a:moveTo>
                      <a:lnTo>
                        <a:pt x="47977" y="5449"/>
                      </a:lnTo>
                      <a:cubicBezTo>
                        <a:pt x="53253" y="2435"/>
                        <a:pt x="58150" y="2058"/>
                        <a:pt x="61667" y="4068"/>
                      </a:cubicBezTo>
                      <a:cubicBezTo>
                        <a:pt x="61667" y="4068"/>
                        <a:pt x="58402" y="2184"/>
                        <a:pt x="56895" y="1305"/>
                      </a:cubicBezTo>
                      <a:cubicBezTo>
                        <a:pt x="53253" y="-830"/>
                        <a:pt x="48354" y="-328"/>
                        <a:pt x="43080" y="2686"/>
                      </a:cubicBezTo>
                      <a:lnTo>
                        <a:pt x="11681" y="20772"/>
                      </a:lnTo>
                      <a:cubicBezTo>
                        <a:pt x="5276" y="24540"/>
                        <a:pt x="0" y="33583"/>
                        <a:pt x="0" y="40993"/>
                      </a:cubicBezTo>
                      <a:lnTo>
                        <a:pt x="0" y="134310"/>
                      </a:lnTo>
                      <a:lnTo>
                        <a:pt x="4773" y="137073"/>
                      </a:lnTo>
                      <a:lnTo>
                        <a:pt x="4773" y="43756"/>
                      </a:lnTo>
                      <a:cubicBezTo>
                        <a:pt x="4898" y="36346"/>
                        <a:pt x="10173" y="27303"/>
                        <a:pt x="16579" y="235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07" name="Freeform: Shape 5306">
                <a:extLst>
                  <a:ext uri="{FF2B5EF4-FFF2-40B4-BE49-F238E27FC236}">
                    <a16:creationId xmlns:a16="http://schemas.microsoft.com/office/drawing/2014/main" id="{F144FA3C-B649-450A-84DC-88D8D81CA3D5}"/>
                  </a:ext>
                </a:extLst>
              </p:cNvPr>
              <p:cNvSpPr/>
              <p:nvPr/>
            </p:nvSpPr>
            <p:spPr>
              <a:xfrm>
                <a:off x="9209996" y="2476704"/>
                <a:ext cx="51620" cy="57773"/>
              </a:xfrm>
              <a:custGeom>
                <a:avLst/>
                <a:gdLst>
                  <a:gd name="connsiteX0" fmla="*/ 5526 w 51620"/>
                  <a:gd name="connsiteY0" fmla="*/ 7787 h 57773"/>
                  <a:gd name="connsiteX1" fmla="*/ 2638 w 51620"/>
                  <a:gd name="connsiteY1" fmla="*/ 29515 h 57773"/>
                  <a:gd name="connsiteX2" fmla="*/ 2638 w 51620"/>
                  <a:gd name="connsiteY2" fmla="*/ 29515 h 57773"/>
                  <a:gd name="connsiteX3" fmla="*/ 0 w 51620"/>
                  <a:gd name="connsiteY3" fmla="*/ 35920 h 57773"/>
                  <a:gd name="connsiteX4" fmla="*/ 1382 w 51620"/>
                  <a:gd name="connsiteY4" fmla="*/ 35167 h 57773"/>
                  <a:gd name="connsiteX5" fmla="*/ 40442 w 51620"/>
                  <a:gd name="connsiteY5" fmla="*/ 57774 h 57773"/>
                  <a:gd name="connsiteX6" fmla="*/ 48103 w 51620"/>
                  <a:gd name="connsiteY6" fmla="*/ 47600 h 57773"/>
                  <a:gd name="connsiteX7" fmla="*/ 51620 w 51620"/>
                  <a:gd name="connsiteY7" fmla="*/ 27505 h 57773"/>
                  <a:gd name="connsiteX8" fmla="*/ 4019 w 51620"/>
                  <a:gd name="connsiteY8" fmla="*/ 0 h 57773"/>
                  <a:gd name="connsiteX9" fmla="*/ 5526 w 51620"/>
                  <a:gd name="connsiteY9" fmla="*/ 7787 h 57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620" h="57773">
                    <a:moveTo>
                      <a:pt x="5526" y="7787"/>
                    </a:moveTo>
                    <a:cubicBezTo>
                      <a:pt x="6657" y="14695"/>
                      <a:pt x="5778" y="21602"/>
                      <a:pt x="2638" y="29515"/>
                    </a:cubicBezTo>
                    <a:lnTo>
                      <a:pt x="2638" y="29515"/>
                    </a:lnTo>
                    <a:lnTo>
                      <a:pt x="0" y="35920"/>
                    </a:lnTo>
                    <a:lnTo>
                      <a:pt x="1382" y="35167"/>
                    </a:lnTo>
                    <a:lnTo>
                      <a:pt x="40442" y="57774"/>
                    </a:lnTo>
                    <a:lnTo>
                      <a:pt x="48103" y="47600"/>
                    </a:lnTo>
                    <a:lnTo>
                      <a:pt x="51620" y="27505"/>
                    </a:lnTo>
                    <a:lnTo>
                      <a:pt x="4019" y="0"/>
                    </a:lnTo>
                    <a:cubicBezTo>
                      <a:pt x="4647" y="2637"/>
                      <a:pt x="5150" y="5149"/>
                      <a:pt x="5526" y="7787"/>
                    </a:cubicBezTo>
                    <a:close/>
                  </a:path>
                </a:pathLst>
              </a:custGeom>
              <a:solidFill>
                <a:srgbClr val="3534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08" name="Freeform: Shape 5307">
                <a:extLst>
                  <a:ext uri="{FF2B5EF4-FFF2-40B4-BE49-F238E27FC236}">
                    <a16:creationId xmlns:a16="http://schemas.microsoft.com/office/drawing/2014/main" id="{9EE972EF-4738-4825-BCAD-7CD87552706B}"/>
                  </a:ext>
                </a:extLst>
              </p:cNvPr>
              <p:cNvSpPr/>
              <p:nvPr/>
            </p:nvSpPr>
            <p:spPr>
              <a:xfrm>
                <a:off x="9214140" y="2473690"/>
                <a:ext cx="39939" cy="26123"/>
              </a:xfrm>
              <a:custGeom>
                <a:avLst/>
                <a:gdLst>
                  <a:gd name="connsiteX0" fmla="*/ 5024 w 39939"/>
                  <a:gd name="connsiteY0" fmla="*/ 0 h 26123"/>
                  <a:gd name="connsiteX1" fmla="*/ 0 w 39939"/>
                  <a:gd name="connsiteY1" fmla="*/ 3014 h 26123"/>
                  <a:gd name="connsiteX2" fmla="*/ 39939 w 39939"/>
                  <a:gd name="connsiteY2" fmla="*/ 26124 h 26123"/>
                  <a:gd name="connsiteX3" fmla="*/ 38432 w 39939"/>
                  <a:gd name="connsiteY3" fmla="*/ 19342 h 26123"/>
                </a:gdLst>
                <a:ahLst/>
                <a:cxnLst>
                  <a:cxn ang="0">
                    <a:pos x="connsiteX0" y="connsiteY0"/>
                  </a:cxn>
                  <a:cxn ang="0">
                    <a:pos x="connsiteX1" y="connsiteY1"/>
                  </a:cxn>
                  <a:cxn ang="0">
                    <a:pos x="connsiteX2" y="connsiteY2"/>
                  </a:cxn>
                  <a:cxn ang="0">
                    <a:pos x="connsiteX3" y="connsiteY3"/>
                  </a:cxn>
                </a:cxnLst>
                <a:rect l="l" t="t" r="r" b="b"/>
                <a:pathLst>
                  <a:path w="39939" h="26123">
                    <a:moveTo>
                      <a:pt x="5024" y="0"/>
                    </a:moveTo>
                    <a:lnTo>
                      <a:pt x="0" y="3014"/>
                    </a:lnTo>
                    <a:lnTo>
                      <a:pt x="39939" y="26124"/>
                    </a:lnTo>
                    <a:lnTo>
                      <a:pt x="38432" y="19342"/>
                    </a:ln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09" name="Freeform: Shape 5308">
              <a:extLst>
                <a:ext uri="{FF2B5EF4-FFF2-40B4-BE49-F238E27FC236}">
                  <a16:creationId xmlns:a16="http://schemas.microsoft.com/office/drawing/2014/main" id="{5A972435-C201-4836-9A7C-13B4C44B491F}"/>
                </a:ext>
              </a:extLst>
            </p:cNvPr>
            <p:cNvSpPr/>
            <p:nvPr/>
          </p:nvSpPr>
          <p:spPr>
            <a:xfrm>
              <a:off x="9200325" y="2594031"/>
              <a:ext cx="14442" cy="26354"/>
            </a:xfrm>
            <a:custGeom>
              <a:avLst/>
              <a:gdLst>
                <a:gd name="connsiteX0" fmla="*/ 0 w 14442"/>
                <a:gd name="connsiteY0" fmla="*/ 1361 h 26354"/>
                <a:gd name="connsiteX1" fmla="*/ 0 w 14442"/>
                <a:gd name="connsiteY1" fmla="*/ 1361 h 26354"/>
                <a:gd name="connsiteX2" fmla="*/ 125 w 14442"/>
                <a:gd name="connsiteY2" fmla="*/ 15553 h 26354"/>
                <a:gd name="connsiteX3" fmla="*/ 14443 w 14442"/>
                <a:gd name="connsiteY3" fmla="*/ 26354 h 26354"/>
                <a:gd name="connsiteX4" fmla="*/ 14443 w 14442"/>
                <a:gd name="connsiteY4" fmla="*/ 11534 h 26354"/>
                <a:gd name="connsiteX5" fmla="*/ 0 w 14442"/>
                <a:gd name="connsiteY5" fmla="*/ 1361 h 2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42" h="26354">
                  <a:moveTo>
                    <a:pt x="0" y="1361"/>
                  </a:moveTo>
                  <a:lnTo>
                    <a:pt x="0" y="1361"/>
                  </a:lnTo>
                  <a:lnTo>
                    <a:pt x="125" y="15553"/>
                  </a:lnTo>
                  <a:lnTo>
                    <a:pt x="14443" y="26354"/>
                  </a:lnTo>
                  <a:lnTo>
                    <a:pt x="14443" y="11534"/>
                  </a:lnTo>
                  <a:cubicBezTo>
                    <a:pt x="14443" y="1863"/>
                    <a:pt x="8163" y="-2407"/>
                    <a:pt x="0" y="1361"/>
                  </a:cubicBez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0" name="Freeform: Shape 5309">
              <a:extLst>
                <a:ext uri="{FF2B5EF4-FFF2-40B4-BE49-F238E27FC236}">
                  <a16:creationId xmlns:a16="http://schemas.microsoft.com/office/drawing/2014/main" id="{D6CAC222-698E-4D14-A7E2-6E454593ECB0}"/>
                </a:ext>
              </a:extLst>
            </p:cNvPr>
            <p:cNvSpPr/>
            <p:nvPr/>
          </p:nvSpPr>
          <p:spPr>
            <a:xfrm>
              <a:off x="9171313" y="2595266"/>
              <a:ext cx="29137" cy="31147"/>
            </a:xfrm>
            <a:custGeom>
              <a:avLst/>
              <a:gdLst>
                <a:gd name="connsiteX0" fmla="*/ 27254 w 29137"/>
                <a:gd name="connsiteY0" fmla="*/ 1005 h 31147"/>
                <a:gd name="connsiteX1" fmla="*/ 27254 w 29137"/>
                <a:gd name="connsiteY1" fmla="*/ 1005 h 31147"/>
                <a:gd name="connsiteX2" fmla="*/ 15824 w 29137"/>
                <a:gd name="connsiteY2" fmla="*/ 7661 h 31147"/>
                <a:gd name="connsiteX3" fmla="*/ 0 w 29137"/>
                <a:gd name="connsiteY3" fmla="*/ 31147 h 31147"/>
                <a:gd name="connsiteX4" fmla="*/ 29137 w 29137"/>
                <a:gd name="connsiteY4" fmla="*/ 14318 h 31147"/>
                <a:gd name="connsiteX5" fmla="*/ 29137 w 29137"/>
                <a:gd name="connsiteY5" fmla="*/ 2009 h 31147"/>
                <a:gd name="connsiteX6" fmla="*/ 29012 w 29137"/>
                <a:gd name="connsiteY6" fmla="*/ 0 h 31147"/>
                <a:gd name="connsiteX7" fmla="*/ 27254 w 29137"/>
                <a:gd name="connsiteY7" fmla="*/ 1005 h 31147"/>
                <a:gd name="connsiteX8" fmla="*/ 27254 w 29137"/>
                <a:gd name="connsiteY8" fmla="*/ 100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37" h="31147">
                  <a:moveTo>
                    <a:pt x="27254" y="1005"/>
                  </a:moveTo>
                  <a:lnTo>
                    <a:pt x="27254" y="1005"/>
                  </a:lnTo>
                  <a:lnTo>
                    <a:pt x="15824" y="7661"/>
                  </a:lnTo>
                  <a:cubicBezTo>
                    <a:pt x="8163" y="12057"/>
                    <a:pt x="1758" y="21979"/>
                    <a:pt x="0" y="31147"/>
                  </a:cubicBezTo>
                  <a:lnTo>
                    <a:pt x="29137" y="14318"/>
                  </a:lnTo>
                  <a:lnTo>
                    <a:pt x="29137" y="2009"/>
                  </a:lnTo>
                  <a:cubicBezTo>
                    <a:pt x="29137" y="1382"/>
                    <a:pt x="29137" y="628"/>
                    <a:pt x="29012" y="0"/>
                  </a:cubicBezTo>
                  <a:cubicBezTo>
                    <a:pt x="28510" y="377"/>
                    <a:pt x="27882" y="628"/>
                    <a:pt x="27254" y="1005"/>
                  </a:cubicBezTo>
                  <a:lnTo>
                    <a:pt x="27254" y="1005"/>
                  </a:lnTo>
                  <a:close/>
                </a:path>
              </a:pathLst>
            </a:custGeom>
            <a:solidFill>
              <a:srgbClr val="B578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1" name="Freeform: Shape 5310">
              <a:extLst>
                <a:ext uri="{FF2B5EF4-FFF2-40B4-BE49-F238E27FC236}">
                  <a16:creationId xmlns:a16="http://schemas.microsoft.com/office/drawing/2014/main" id="{4EFEA24E-9D26-49A9-AFC2-D00271AFF102}"/>
                </a:ext>
              </a:extLst>
            </p:cNvPr>
            <p:cNvSpPr/>
            <p:nvPr/>
          </p:nvSpPr>
          <p:spPr>
            <a:xfrm>
              <a:off x="9152474" y="2511871"/>
              <a:ext cx="100098" cy="75356"/>
            </a:xfrm>
            <a:custGeom>
              <a:avLst/>
              <a:gdLst>
                <a:gd name="connsiteX0" fmla="*/ 68449 w 100098"/>
                <a:gd name="connsiteY0" fmla="*/ 42074 h 75356"/>
                <a:gd name="connsiteX1" fmla="*/ 100099 w 100098"/>
                <a:gd name="connsiteY1" fmla="*/ 23863 h 75356"/>
                <a:gd name="connsiteX2" fmla="*/ 58904 w 100098"/>
                <a:gd name="connsiteY2" fmla="*/ 0 h 75356"/>
                <a:gd name="connsiteX3" fmla="*/ 27254 w 100098"/>
                <a:gd name="connsiteY3" fmla="*/ 18211 h 75356"/>
                <a:gd name="connsiteX4" fmla="*/ 27380 w 100098"/>
                <a:gd name="connsiteY4" fmla="*/ 18211 h 75356"/>
                <a:gd name="connsiteX5" fmla="*/ 27254 w 100098"/>
                <a:gd name="connsiteY5" fmla="*/ 18337 h 75356"/>
                <a:gd name="connsiteX6" fmla="*/ 10927 w 100098"/>
                <a:gd name="connsiteY6" fmla="*/ 8917 h 75356"/>
                <a:gd name="connsiteX7" fmla="*/ 0 w 100098"/>
                <a:gd name="connsiteY7" fmla="*/ 15197 h 75356"/>
                <a:gd name="connsiteX8" fmla="*/ 46093 w 100098"/>
                <a:gd name="connsiteY8" fmla="*/ 41823 h 75356"/>
                <a:gd name="connsiteX9" fmla="*/ 46093 w 100098"/>
                <a:gd name="connsiteY9" fmla="*/ 75357 h 75356"/>
                <a:gd name="connsiteX10" fmla="*/ 86032 w 100098"/>
                <a:gd name="connsiteY10" fmla="*/ 52247 h 75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98" h="75356">
                  <a:moveTo>
                    <a:pt x="68449" y="42074"/>
                  </a:moveTo>
                  <a:lnTo>
                    <a:pt x="100099" y="23863"/>
                  </a:lnTo>
                  <a:lnTo>
                    <a:pt x="58904" y="0"/>
                  </a:lnTo>
                  <a:lnTo>
                    <a:pt x="27254" y="18211"/>
                  </a:lnTo>
                  <a:lnTo>
                    <a:pt x="27380" y="18211"/>
                  </a:lnTo>
                  <a:lnTo>
                    <a:pt x="27254" y="18337"/>
                  </a:lnTo>
                  <a:lnTo>
                    <a:pt x="10927" y="8917"/>
                  </a:lnTo>
                  <a:lnTo>
                    <a:pt x="0" y="15197"/>
                  </a:lnTo>
                  <a:lnTo>
                    <a:pt x="46093" y="41823"/>
                  </a:lnTo>
                  <a:lnTo>
                    <a:pt x="46093" y="75357"/>
                  </a:lnTo>
                  <a:lnTo>
                    <a:pt x="86032" y="52247"/>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2" name="Freeform: Shape 5311">
              <a:extLst>
                <a:ext uri="{FF2B5EF4-FFF2-40B4-BE49-F238E27FC236}">
                  <a16:creationId xmlns:a16="http://schemas.microsoft.com/office/drawing/2014/main" id="{FB4961CD-3423-4692-A891-CC225EF66C2A}"/>
                </a:ext>
              </a:extLst>
            </p:cNvPr>
            <p:cNvSpPr/>
            <p:nvPr/>
          </p:nvSpPr>
          <p:spPr>
            <a:xfrm>
              <a:off x="9153729" y="2512625"/>
              <a:ext cx="97713" cy="73096"/>
            </a:xfrm>
            <a:custGeom>
              <a:avLst/>
              <a:gdLst>
                <a:gd name="connsiteX0" fmla="*/ 44837 w 97713"/>
                <a:gd name="connsiteY0" fmla="*/ 41069 h 73096"/>
                <a:gd name="connsiteX1" fmla="*/ 0 w 97713"/>
                <a:gd name="connsiteY1" fmla="*/ 15197 h 73096"/>
                <a:gd name="connsiteX2" fmla="*/ 9671 w 97713"/>
                <a:gd name="connsiteY2" fmla="*/ 9545 h 73096"/>
                <a:gd name="connsiteX3" fmla="*/ 25998 w 97713"/>
                <a:gd name="connsiteY3" fmla="*/ 18965 h 73096"/>
                <a:gd name="connsiteX4" fmla="*/ 28636 w 97713"/>
                <a:gd name="connsiteY4" fmla="*/ 17583 h 73096"/>
                <a:gd name="connsiteX5" fmla="*/ 28636 w 97713"/>
                <a:gd name="connsiteY5" fmla="*/ 17458 h 73096"/>
                <a:gd name="connsiteX6" fmla="*/ 59030 w 97713"/>
                <a:gd name="connsiteY6" fmla="*/ 0 h 73096"/>
                <a:gd name="connsiteX7" fmla="*/ 97713 w 97713"/>
                <a:gd name="connsiteY7" fmla="*/ 22230 h 73096"/>
                <a:gd name="connsiteX8" fmla="*/ 64682 w 97713"/>
                <a:gd name="connsiteY8" fmla="*/ 41321 h 73096"/>
                <a:gd name="connsiteX9" fmla="*/ 82264 w 97713"/>
                <a:gd name="connsiteY9" fmla="*/ 51494 h 73096"/>
                <a:gd name="connsiteX10" fmla="*/ 44837 w 97713"/>
                <a:gd name="connsiteY10" fmla="*/ 73096 h 7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713" h="73096">
                  <a:moveTo>
                    <a:pt x="44837" y="41069"/>
                  </a:moveTo>
                  <a:lnTo>
                    <a:pt x="0" y="15197"/>
                  </a:lnTo>
                  <a:lnTo>
                    <a:pt x="9671" y="9545"/>
                  </a:lnTo>
                  <a:lnTo>
                    <a:pt x="25998" y="18965"/>
                  </a:lnTo>
                  <a:lnTo>
                    <a:pt x="28636" y="17583"/>
                  </a:lnTo>
                  <a:lnTo>
                    <a:pt x="28636" y="17458"/>
                  </a:lnTo>
                  <a:lnTo>
                    <a:pt x="59030" y="0"/>
                  </a:lnTo>
                  <a:lnTo>
                    <a:pt x="97713" y="22230"/>
                  </a:lnTo>
                  <a:lnTo>
                    <a:pt x="64682" y="41321"/>
                  </a:lnTo>
                  <a:lnTo>
                    <a:pt x="82264" y="51494"/>
                  </a:lnTo>
                  <a:lnTo>
                    <a:pt x="44837" y="73096"/>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3" name="Freeform: Shape 5312">
              <a:extLst>
                <a:ext uri="{FF2B5EF4-FFF2-40B4-BE49-F238E27FC236}">
                  <a16:creationId xmlns:a16="http://schemas.microsoft.com/office/drawing/2014/main" id="{2F0E3F62-E966-4E9A-8F57-F463BC4BBE0A}"/>
                </a:ext>
              </a:extLst>
            </p:cNvPr>
            <p:cNvSpPr/>
            <p:nvPr/>
          </p:nvSpPr>
          <p:spPr>
            <a:xfrm>
              <a:off x="9220922" y="2535734"/>
              <a:ext cx="31650" cy="27630"/>
            </a:xfrm>
            <a:custGeom>
              <a:avLst/>
              <a:gdLst>
                <a:gd name="connsiteX0" fmla="*/ 31650 w 31650"/>
                <a:gd name="connsiteY0" fmla="*/ 0 h 27630"/>
                <a:gd name="connsiteX1" fmla="*/ 0 w 31650"/>
                <a:gd name="connsiteY1" fmla="*/ 18211 h 27630"/>
                <a:gd name="connsiteX2" fmla="*/ 16328 w 31650"/>
                <a:gd name="connsiteY2" fmla="*/ 27631 h 27630"/>
                <a:gd name="connsiteX3" fmla="*/ 22105 w 31650"/>
                <a:gd name="connsiteY3" fmla="*/ 24240 h 27630"/>
                <a:gd name="connsiteX4" fmla="*/ 31650 w 31650"/>
                <a:gd name="connsiteY4" fmla="*/ 0 h 27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50" h="27630">
                  <a:moveTo>
                    <a:pt x="31650" y="0"/>
                  </a:moveTo>
                  <a:lnTo>
                    <a:pt x="0" y="18211"/>
                  </a:lnTo>
                  <a:lnTo>
                    <a:pt x="16328" y="27631"/>
                  </a:lnTo>
                  <a:lnTo>
                    <a:pt x="22105" y="24240"/>
                  </a:lnTo>
                  <a:cubicBezTo>
                    <a:pt x="23612" y="15574"/>
                    <a:pt x="31650" y="0"/>
                    <a:pt x="31650" y="0"/>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14" name="Graphic 4">
              <a:extLst>
                <a:ext uri="{FF2B5EF4-FFF2-40B4-BE49-F238E27FC236}">
                  <a16:creationId xmlns:a16="http://schemas.microsoft.com/office/drawing/2014/main" id="{84FB7ED1-A2DF-40A1-A747-5F7CF3F14040}"/>
                </a:ext>
              </a:extLst>
            </p:cNvPr>
            <p:cNvGrpSpPr/>
            <p:nvPr/>
          </p:nvGrpSpPr>
          <p:grpSpPr>
            <a:xfrm>
              <a:off x="9161296" y="2592229"/>
              <a:ext cx="48668" cy="52796"/>
              <a:chOff x="9161296" y="2592229"/>
              <a:chExt cx="48668" cy="52796"/>
            </a:xfrm>
            <a:solidFill>
              <a:schemeClr val="accent1"/>
            </a:solidFill>
          </p:grpSpPr>
          <p:sp>
            <p:nvSpPr>
              <p:cNvPr id="5315" name="Freeform: Shape 5314">
                <a:extLst>
                  <a:ext uri="{FF2B5EF4-FFF2-40B4-BE49-F238E27FC236}">
                    <a16:creationId xmlns:a16="http://schemas.microsoft.com/office/drawing/2014/main" id="{AD0A6E69-DF18-400D-8743-E33306100707}"/>
                  </a:ext>
                </a:extLst>
              </p:cNvPr>
              <p:cNvSpPr/>
              <p:nvPr/>
            </p:nvSpPr>
            <p:spPr>
              <a:xfrm>
                <a:off x="9161296" y="2592229"/>
                <a:ext cx="43676" cy="51642"/>
              </a:xfrm>
              <a:custGeom>
                <a:avLst/>
                <a:gdLst>
                  <a:gd name="connsiteX0" fmla="*/ 19311 w 43676"/>
                  <a:gd name="connsiteY0" fmla="*/ 23509 h 51642"/>
                  <a:gd name="connsiteX1" fmla="*/ 43676 w 43676"/>
                  <a:gd name="connsiteY1" fmla="*/ 9443 h 51642"/>
                  <a:gd name="connsiteX2" fmla="*/ 29358 w 43676"/>
                  <a:gd name="connsiteY2" fmla="*/ 1153 h 51642"/>
                  <a:gd name="connsiteX3" fmla="*/ 4993 w 43676"/>
                  <a:gd name="connsiteY3" fmla="*/ 15220 h 51642"/>
                  <a:gd name="connsiteX4" fmla="*/ 4993 w 43676"/>
                  <a:gd name="connsiteY4" fmla="*/ 43353 h 51642"/>
                  <a:gd name="connsiteX5" fmla="*/ 19311 w 43676"/>
                  <a:gd name="connsiteY5" fmla="*/ 51643 h 51642"/>
                  <a:gd name="connsiteX6" fmla="*/ 19311 w 43676"/>
                  <a:gd name="connsiteY6" fmla="*/ 23509 h 51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76" h="51642">
                    <a:moveTo>
                      <a:pt x="19311" y="23509"/>
                    </a:moveTo>
                    <a:cubicBezTo>
                      <a:pt x="25967" y="11829"/>
                      <a:pt x="36893" y="5549"/>
                      <a:pt x="43676" y="9443"/>
                    </a:cubicBezTo>
                    <a:cubicBezTo>
                      <a:pt x="43676" y="9443"/>
                      <a:pt x="36014" y="5047"/>
                      <a:pt x="29358" y="1153"/>
                    </a:cubicBezTo>
                    <a:cubicBezTo>
                      <a:pt x="22701" y="-2740"/>
                      <a:pt x="11775" y="3540"/>
                      <a:pt x="4993" y="15220"/>
                    </a:cubicBezTo>
                    <a:cubicBezTo>
                      <a:pt x="-1664" y="26900"/>
                      <a:pt x="-1664" y="39460"/>
                      <a:pt x="4993" y="43353"/>
                    </a:cubicBezTo>
                    <a:cubicBezTo>
                      <a:pt x="11650" y="47247"/>
                      <a:pt x="19311" y="51643"/>
                      <a:pt x="19311" y="51643"/>
                    </a:cubicBezTo>
                    <a:cubicBezTo>
                      <a:pt x="12654" y="47749"/>
                      <a:pt x="12654" y="35190"/>
                      <a:pt x="19311" y="23509"/>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16" name="Graphic 4">
                <a:extLst>
                  <a:ext uri="{FF2B5EF4-FFF2-40B4-BE49-F238E27FC236}">
                    <a16:creationId xmlns:a16="http://schemas.microsoft.com/office/drawing/2014/main" id="{84FB7ED1-A2DF-40A1-A747-5F7CF3F14040}"/>
                  </a:ext>
                </a:extLst>
              </p:cNvPr>
              <p:cNvGrpSpPr/>
              <p:nvPr/>
            </p:nvGrpSpPr>
            <p:grpSpPr>
              <a:xfrm>
                <a:off x="9175614" y="2600518"/>
                <a:ext cx="34350" cy="44506"/>
                <a:chOff x="9175614" y="2600518"/>
                <a:chExt cx="34350" cy="44506"/>
              </a:xfrm>
              <a:solidFill>
                <a:schemeClr val="accent1"/>
              </a:solidFill>
            </p:grpSpPr>
            <p:sp>
              <p:nvSpPr>
                <p:cNvPr id="5317" name="Freeform: Shape 5316">
                  <a:extLst>
                    <a:ext uri="{FF2B5EF4-FFF2-40B4-BE49-F238E27FC236}">
                      <a16:creationId xmlns:a16="http://schemas.microsoft.com/office/drawing/2014/main" id="{D99CD82C-8F8B-49D5-848E-52C070F205AB}"/>
                    </a:ext>
                  </a:extLst>
                </p:cNvPr>
                <p:cNvSpPr/>
                <p:nvPr/>
              </p:nvSpPr>
              <p:spPr>
                <a:xfrm>
                  <a:off x="9175614" y="2600518"/>
                  <a:ext cx="34350" cy="44506"/>
                </a:xfrm>
                <a:custGeom>
                  <a:avLst/>
                  <a:gdLst>
                    <a:gd name="connsiteX0" fmla="*/ 29358 w 34350"/>
                    <a:gd name="connsiteY0" fmla="*/ 29287 h 44506"/>
                    <a:gd name="connsiteX1" fmla="*/ 4993 w 34350"/>
                    <a:gd name="connsiteY1" fmla="*/ 43353 h 44506"/>
                    <a:gd name="connsiteX2" fmla="*/ 4993 w 34350"/>
                    <a:gd name="connsiteY2" fmla="*/ 15220 h 44506"/>
                    <a:gd name="connsiteX3" fmla="*/ 29358 w 34350"/>
                    <a:gd name="connsiteY3" fmla="*/ 1153 h 44506"/>
                    <a:gd name="connsiteX4" fmla="*/ 29358 w 34350"/>
                    <a:gd name="connsiteY4" fmla="*/ 29287 h 44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50" h="44506">
                      <a:moveTo>
                        <a:pt x="29358" y="29287"/>
                      </a:moveTo>
                      <a:cubicBezTo>
                        <a:pt x="22701" y="40967"/>
                        <a:pt x="11775" y="47247"/>
                        <a:pt x="4993" y="43353"/>
                      </a:cubicBezTo>
                      <a:cubicBezTo>
                        <a:pt x="-1664" y="39460"/>
                        <a:pt x="-1664" y="26900"/>
                        <a:pt x="4993" y="15220"/>
                      </a:cubicBezTo>
                      <a:cubicBezTo>
                        <a:pt x="11649" y="3540"/>
                        <a:pt x="22575" y="-2740"/>
                        <a:pt x="29358" y="1153"/>
                      </a:cubicBezTo>
                      <a:cubicBezTo>
                        <a:pt x="36014" y="5047"/>
                        <a:pt x="36014" y="17606"/>
                        <a:pt x="29358" y="29287"/>
                      </a:cubicBez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8" name="Freeform: Shape 5317">
                  <a:extLst>
                    <a:ext uri="{FF2B5EF4-FFF2-40B4-BE49-F238E27FC236}">
                      <a16:creationId xmlns:a16="http://schemas.microsoft.com/office/drawing/2014/main" id="{1984EE4A-960F-4282-A919-7FBCE0EAC8B9}"/>
                    </a:ext>
                  </a:extLst>
                </p:cNvPr>
                <p:cNvSpPr/>
                <p:nvPr/>
              </p:nvSpPr>
              <p:spPr>
                <a:xfrm>
                  <a:off x="9181800" y="2608632"/>
                  <a:ext cx="21853" cy="28152"/>
                </a:xfrm>
                <a:custGeom>
                  <a:avLst/>
                  <a:gdLst>
                    <a:gd name="connsiteX0" fmla="*/ 18650 w 21853"/>
                    <a:gd name="connsiteY0" fmla="*/ 18535 h 28152"/>
                    <a:gd name="connsiteX1" fmla="*/ 3202 w 21853"/>
                    <a:gd name="connsiteY1" fmla="*/ 27452 h 28152"/>
                    <a:gd name="connsiteX2" fmla="*/ 3202 w 21853"/>
                    <a:gd name="connsiteY2" fmla="*/ 9618 h 28152"/>
                    <a:gd name="connsiteX3" fmla="*/ 18650 w 21853"/>
                    <a:gd name="connsiteY3" fmla="*/ 700 h 28152"/>
                    <a:gd name="connsiteX4" fmla="*/ 18650 w 21853"/>
                    <a:gd name="connsiteY4" fmla="*/ 18535 h 28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3" h="28152">
                      <a:moveTo>
                        <a:pt x="18650" y="18535"/>
                      </a:moveTo>
                      <a:cubicBezTo>
                        <a:pt x="14380" y="25945"/>
                        <a:pt x="7473" y="29838"/>
                        <a:pt x="3202" y="27452"/>
                      </a:cubicBezTo>
                      <a:cubicBezTo>
                        <a:pt x="-1067" y="24940"/>
                        <a:pt x="-1067" y="17028"/>
                        <a:pt x="3202" y="9618"/>
                      </a:cubicBezTo>
                      <a:cubicBezTo>
                        <a:pt x="7473" y="2207"/>
                        <a:pt x="14380" y="-1686"/>
                        <a:pt x="18650" y="700"/>
                      </a:cubicBezTo>
                      <a:cubicBezTo>
                        <a:pt x="22921" y="3087"/>
                        <a:pt x="22921" y="11250"/>
                        <a:pt x="18650" y="18535"/>
                      </a:cubicBezTo>
                      <a:close/>
                    </a:path>
                  </a:pathLst>
                </a:custGeom>
                <a:solidFill>
                  <a:srgbClr val="E6E0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9" name="Freeform: Shape 5318">
                  <a:extLst>
                    <a:ext uri="{FF2B5EF4-FFF2-40B4-BE49-F238E27FC236}">
                      <a16:creationId xmlns:a16="http://schemas.microsoft.com/office/drawing/2014/main" id="{11EC9065-DA99-4289-AC82-7226F8312979}"/>
                    </a:ext>
                  </a:extLst>
                </p:cNvPr>
                <p:cNvSpPr/>
                <p:nvPr/>
              </p:nvSpPr>
              <p:spPr>
                <a:xfrm>
                  <a:off x="9183276" y="2610592"/>
                  <a:ext cx="18995" cy="24485"/>
                </a:xfrm>
                <a:custGeom>
                  <a:avLst/>
                  <a:gdLst>
                    <a:gd name="connsiteX0" fmla="*/ 16170 w 18995"/>
                    <a:gd name="connsiteY0" fmla="*/ 16073 h 24485"/>
                    <a:gd name="connsiteX1" fmla="*/ 2731 w 18995"/>
                    <a:gd name="connsiteY1" fmla="*/ 23860 h 24485"/>
                    <a:gd name="connsiteX2" fmla="*/ 2731 w 18995"/>
                    <a:gd name="connsiteY2" fmla="*/ 8412 h 24485"/>
                    <a:gd name="connsiteX3" fmla="*/ 16170 w 18995"/>
                    <a:gd name="connsiteY3" fmla="*/ 625 h 24485"/>
                    <a:gd name="connsiteX4" fmla="*/ 16170 w 18995"/>
                    <a:gd name="connsiteY4" fmla="*/ 16073 h 2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5" h="24485">
                      <a:moveTo>
                        <a:pt x="16170" y="16073"/>
                      </a:moveTo>
                      <a:cubicBezTo>
                        <a:pt x="12527" y="22478"/>
                        <a:pt x="6499" y="25995"/>
                        <a:pt x="2731" y="23860"/>
                      </a:cubicBezTo>
                      <a:cubicBezTo>
                        <a:pt x="-910" y="21725"/>
                        <a:pt x="-910" y="14817"/>
                        <a:pt x="2731" y="8412"/>
                      </a:cubicBezTo>
                      <a:cubicBezTo>
                        <a:pt x="6373" y="2007"/>
                        <a:pt x="12403" y="-1510"/>
                        <a:pt x="16170" y="625"/>
                      </a:cubicBezTo>
                      <a:cubicBezTo>
                        <a:pt x="19938" y="2760"/>
                        <a:pt x="19938" y="9668"/>
                        <a:pt x="16170" y="16073"/>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0" name="Freeform: Shape 5319">
                  <a:extLst>
                    <a:ext uri="{FF2B5EF4-FFF2-40B4-BE49-F238E27FC236}">
                      <a16:creationId xmlns:a16="http://schemas.microsoft.com/office/drawing/2014/main" id="{6F6DF01B-C3BA-401F-B3B8-5A9C33714005}"/>
                    </a:ext>
                  </a:extLst>
                </p:cNvPr>
                <p:cNvSpPr/>
                <p:nvPr/>
              </p:nvSpPr>
              <p:spPr>
                <a:xfrm>
                  <a:off x="9183261" y="2610624"/>
                  <a:ext cx="17173" cy="23415"/>
                </a:xfrm>
                <a:custGeom>
                  <a:avLst/>
                  <a:gdLst>
                    <a:gd name="connsiteX0" fmla="*/ 14427 w 17173"/>
                    <a:gd name="connsiteY0" fmla="*/ 15036 h 23415"/>
                    <a:gd name="connsiteX1" fmla="*/ 15180 w 17173"/>
                    <a:gd name="connsiteY1" fmla="*/ 216 h 23415"/>
                    <a:gd name="connsiteX2" fmla="*/ 2747 w 17173"/>
                    <a:gd name="connsiteY2" fmla="*/ 8380 h 23415"/>
                    <a:gd name="connsiteX3" fmla="*/ 1993 w 17173"/>
                    <a:gd name="connsiteY3" fmla="*/ 23200 h 23415"/>
                    <a:gd name="connsiteX4" fmla="*/ 14427 w 17173"/>
                    <a:gd name="connsiteY4" fmla="*/ 15036 h 23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73" h="23415">
                      <a:moveTo>
                        <a:pt x="14427" y="15036"/>
                      </a:moveTo>
                      <a:cubicBezTo>
                        <a:pt x="17818" y="9133"/>
                        <a:pt x="18069" y="2854"/>
                        <a:pt x="15180" y="216"/>
                      </a:cubicBezTo>
                      <a:cubicBezTo>
                        <a:pt x="11413" y="-914"/>
                        <a:pt x="6138" y="2477"/>
                        <a:pt x="2747" y="8380"/>
                      </a:cubicBezTo>
                      <a:cubicBezTo>
                        <a:pt x="-645" y="14283"/>
                        <a:pt x="-895" y="20562"/>
                        <a:pt x="1993" y="23200"/>
                      </a:cubicBezTo>
                      <a:cubicBezTo>
                        <a:pt x="5761" y="24330"/>
                        <a:pt x="11036" y="20939"/>
                        <a:pt x="14427" y="15036"/>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21" name="Graphic 4">
                  <a:extLst>
                    <a:ext uri="{FF2B5EF4-FFF2-40B4-BE49-F238E27FC236}">
                      <a16:creationId xmlns:a16="http://schemas.microsoft.com/office/drawing/2014/main" id="{84FB7ED1-A2DF-40A1-A747-5F7CF3F14040}"/>
                    </a:ext>
                  </a:extLst>
                </p:cNvPr>
                <p:cNvGrpSpPr/>
                <p:nvPr/>
              </p:nvGrpSpPr>
              <p:grpSpPr>
                <a:xfrm>
                  <a:off x="9190215" y="2627261"/>
                  <a:ext cx="2229" cy="2372"/>
                  <a:chOff x="9190215" y="2627261"/>
                  <a:chExt cx="2229" cy="2372"/>
                </a:xfrm>
                <a:solidFill>
                  <a:schemeClr val="accent1"/>
                </a:solidFill>
              </p:grpSpPr>
              <p:sp>
                <p:nvSpPr>
                  <p:cNvPr id="5322" name="Freeform: Shape 5321">
                    <a:extLst>
                      <a:ext uri="{FF2B5EF4-FFF2-40B4-BE49-F238E27FC236}">
                        <a16:creationId xmlns:a16="http://schemas.microsoft.com/office/drawing/2014/main" id="{820F8212-48D7-4475-BC7B-B0232C41E103}"/>
                      </a:ext>
                    </a:extLst>
                  </p:cNvPr>
                  <p:cNvSpPr/>
                  <p:nvPr/>
                </p:nvSpPr>
                <p:spPr>
                  <a:xfrm>
                    <a:off x="9190215" y="2627261"/>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6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2"/>
                          <a:pt x="816" y="2293"/>
                          <a:pt x="816" y="2293"/>
                        </a:cubicBezTo>
                        <a:lnTo>
                          <a:pt x="1947" y="409"/>
                        </a:lnTo>
                        <a:cubicBezTo>
                          <a:pt x="1947" y="409"/>
                          <a:pt x="1695" y="158"/>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3" name="Freeform: Shape 5322">
                    <a:extLst>
                      <a:ext uri="{FF2B5EF4-FFF2-40B4-BE49-F238E27FC236}">
                        <a16:creationId xmlns:a16="http://schemas.microsoft.com/office/drawing/2014/main" id="{26BF37EF-674B-4193-A720-30E23ECAFBAD}"/>
                      </a:ext>
                    </a:extLst>
                  </p:cNvPr>
                  <p:cNvSpPr/>
                  <p:nvPr/>
                </p:nvSpPr>
                <p:spPr>
                  <a:xfrm>
                    <a:off x="9190793" y="2627589"/>
                    <a:ext cx="1651" cy="2043"/>
                  </a:xfrm>
                  <a:custGeom>
                    <a:avLst/>
                    <a:gdLst>
                      <a:gd name="connsiteX0" fmla="*/ 1368 w 1651"/>
                      <a:gd name="connsiteY0" fmla="*/ 1336 h 2043"/>
                      <a:gd name="connsiteX1" fmla="*/ 237 w 1651"/>
                      <a:gd name="connsiteY1" fmla="*/ 1964 h 2043"/>
                      <a:gd name="connsiteX2" fmla="*/ 237 w 1651"/>
                      <a:gd name="connsiteY2" fmla="*/ 708 h 2043"/>
                      <a:gd name="connsiteX3" fmla="*/ 1368 w 1651"/>
                      <a:gd name="connsiteY3" fmla="*/ 80 h 2043"/>
                      <a:gd name="connsiteX4" fmla="*/ 1368 w 1651"/>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 h="2043">
                        <a:moveTo>
                          <a:pt x="1368" y="1336"/>
                        </a:moveTo>
                        <a:cubicBezTo>
                          <a:pt x="1117" y="1838"/>
                          <a:pt x="615" y="2215"/>
                          <a:pt x="237" y="1964"/>
                        </a:cubicBezTo>
                        <a:cubicBezTo>
                          <a:pt x="-139" y="1713"/>
                          <a:pt x="-13" y="1210"/>
                          <a:pt x="237" y="708"/>
                        </a:cubicBezTo>
                        <a:cubicBezTo>
                          <a:pt x="489" y="206"/>
                          <a:pt x="992" y="-171"/>
                          <a:pt x="1368" y="80"/>
                        </a:cubicBezTo>
                        <a:cubicBezTo>
                          <a:pt x="1745" y="206"/>
                          <a:pt x="1745" y="834"/>
                          <a:pt x="1368"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24" name="Graphic 4">
                  <a:extLst>
                    <a:ext uri="{FF2B5EF4-FFF2-40B4-BE49-F238E27FC236}">
                      <a16:creationId xmlns:a16="http://schemas.microsoft.com/office/drawing/2014/main" id="{84FB7ED1-A2DF-40A1-A747-5F7CF3F14040}"/>
                    </a:ext>
                  </a:extLst>
                </p:cNvPr>
                <p:cNvGrpSpPr/>
                <p:nvPr/>
              </p:nvGrpSpPr>
              <p:grpSpPr>
                <a:xfrm>
                  <a:off x="9194233" y="2622990"/>
                  <a:ext cx="2229" cy="2498"/>
                  <a:chOff x="9194233" y="2622990"/>
                  <a:chExt cx="2229" cy="2498"/>
                </a:xfrm>
                <a:solidFill>
                  <a:schemeClr val="accent1"/>
                </a:solidFill>
              </p:grpSpPr>
              <p:sp>
                <p:nvSpPr>
                  <p:cNvPr id="5325" name="Freeform: Shape 5324">
                    <a:extLst>
                      <a:ext uri="{FF2B5EF4-FFF2-40B4-BE49-F238E27FC236}">
                        <a16:creationId xmlns:a16="http://schemas.microsoft.com/office/drawing/2014/main" id="{2091F533-3BCD-4C81-8713-66D60518BFF2}"/>
                      </a:ext>
                    </a:extLst>
                  </p:cNvPr>
                  <p:cNvSpPr/>
                  <p:nvPr/>
                </p:nvSpPr>
                <p:spPr>
                  <a:xfrm>
                    <a:off x="9194233" y="2622990"/>
                    <a:ext cx="1947" cy="2292"/>
                  </a:xfrm>
                  <a:custGeom>
                    <a:avLst/>
                    <a:gdLst>
                      <a:gd name="connsiteX0" fmla="*/ 1319 w 1947"/>
                      <a:gd name="connsiteY0" fmla="*/ 32 h 2292"/>
                      <a:gd name="connsiteX1" fmla="*/ 189 w 1947"/>
                      <a:gd name="connsiteY1" fmla="*/ 660 h 2292"/>
                      <a:gd name="connsiteX2" fmla="*/ 189 w 1947"/>
                      <a:gd name="connsiteY2" fmla="*/ 1916 h 2292"/>
                      <a:gd name="connsiteX3" fmla="*/ 816 w 1947"/>
                      <a:gd name="connsiteY3" fmla="*/ 2293 h 2292"/>
                      <a:gd name="connsiteX4" fmla="*/ 1947 w 1947"/>
                      <a:gd name="connsiteY4" fmla="*/ 409 h 2292"/>
                      <a:gd name="connsiteX5" fmla="*/ 1319 w 1947"/>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 h="2292">
                        <a:moveTo>
                          <a:pt x="1319" y="32"/>
                        </a:moveTo>
                        <a:cubicBezTo>
                          <a:pt x="1068" y="-94"/>
                          <a:pt x="566" y="158"/>
                          <a:pt x="189" y="660"/>
                        </a:cubicBezTo>
                        <a:cubicBezTo>
                          <a:pt x="-63" y="1162"/>
                          <a:pt x="-63" y="1790"/>
                          <a:pt x="189" y="1916"/>
                        </a:cubicBezTo>
                        <a:cubicBezTo>
                          <a:pt x="440" y="2041"/>
                          <a:pt x="816" y="2293"/>
                          <a:pt x="816" y="2293"/>
                        </a:cubicBezTo>
                        <a:lnTo>
                          <a:pt x="1947" y="409"/>
                        </a:lnTo>
                        <a:cubicBezTo>
                          <a:pt x="1947" y="409"/>
                          <a:pt x="1696" y="283"/>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6" name="Freeform: Shape 5325">
                    <a:extLst>
                      <a:ext uri="{FF2B5EF4-FFF2-40B4-BE49-F238E27FC236}">
                        <a16:creationId xmlns:a16="http://schemas.microsoft.com/office/drawing/2014/main" id="{12812E78-CBAD-4BF8-A8A2-A3C5520E1FCB}"/>
                      </a:ext>
                    </a:extLst>
                  </p:cNvPr>
                  <p:cNvSpPr/>
                  <p:nvPr/>
                </p:nvSpPr>
                <p:spPr>
                  <a:xfrm>
                    <a:off x="9194862" y="2623445"/>
                    <a:ext cx="1600" cy="2043"/>
                  </a:xfrm>
                  <a:custGeom>
                    <a:avLst/>
                    <a:gdLst>
                      <a:gd name="connsiteX0" fmla="*/ 1319 w 1600"/>
                      <a:gd name="connsiteY0" fmla="*/ 1336 h 2043"/>
                      <a:gd name="connsiteX1" fmla="*/ 188 w 1600"/>
                      <a:gd name="connsiteY1" fmla="*/ 1964 h 2043"/>
                      <a:gd name="connsiteX2" fmla="*/ 188 w 1600"/>
                      <a:gd name="connsiteY2" fmla="*/ 708 h 2043"/>
                      <a:gd name="connsiteX3" fmla="*/ 1319 w 1600"/>
                      <a:gd name="connsiteY3" fmla="*/ 80 h 2043"/>
                      <a:gd name="connsiteX4" fmla="*/ 1319 w 1600"/>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 h="2043">
                        <a:moveTo>
                          <a:pt x="1319" y="1336"/>
                        </a:moveTo>
                        <a:cubicBezTo>
                          <a:pt x="1067" y="1838"/>
                          <a:pt x="565" y="2215"/>
                          <a:pt x="188" y="1964"/>
                        </a:cubicBezTo>
                        <a:cubicBezTo>
                          <a:pt x="-63" y="1838"/>
                          <a:pt x="-63" y="1210"/>
                          <a:pt x="188" y="708"/>
                        </a:cubicBezTo>
                        <a:cubicBezTo>
                          <a:pt x="439" y="206"/>
                          <a:pt x="942" y="-171"/>
                          <a:pt x="1319" y="80"/>
                        </a:cubicBezTo>
                        <a:cubicBezTo>
                          <a:pt x="1695" y="206"/>
                          <a:pt x="1695" y="708"/>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27" name="Graphic 4">
                  <a:extLst>
                    <a:ext uri="{FF2B5EF4-FFF2-40B4-BE49-F238E27FC236}">
                      <a16:creationId xmlns:a16="http://schemas.microsoft.com/office/drawing/2014/main" id="{84FB7ED1-A2DF-40A1-A747-5F7CF3F14040}"/>
                    </a:ext>
                  </a:extLst>
                </p:cNvPr>
                <p:cNvGrpSpPr/>
                <p:nvPr/>
              </p:nvGrpSpPr>
              <p:grpSpPr>
                <a:xfrm>
                  <a:off x="9195866" y="2617464"/>
                  <a:ext cx="2229" cy="2372"/>
                  <a:chOff x="9195866" y="2617464"/>
                  <a:chExt cx="2229" cy="2372"/>
                </a:xfrm>
                <a:solidFill>
                  <a:schemeClr val="accent1"/>
                </a:solidFill>
              </p:grpSpPr>
              <p:sp>
                <p:nvSpPr>
                  <p:cNvPr id="5328" name="Freeform: Shape 5327">
                    <a:extLst>
                      <a:ext uri="{FF2B5EF4-FFF2-40B4-BE49-F238E27FC236}">
                        <a16:creationId xmlns:a16="http://schemas.microsoft.com/office/drawing/2014/main" id="{CA363AAC-275A-478D-958D-A418D514FC31}"/>
                      </a:ext>
                    </a:extLst>
                  </p:cNvPr>
                  <p:cNvSpPr/>
                  <p:nvPr/>
                </p:nvSpPr>
                <p:spPr>
                  <a:xfrm>
                    <a:off x="9195866" y="2617464"/>
                    <a:ext cx="1947" cy="2292"/>
                  </a:xfrm>
                  <a:custGeom>
                    <a:avLst/>
                    <a:gdLst>
                      <a:gd name="connsiteX0" fmla="*/ 1319 w 1947"/>
                      <a:gd name="connsiteY0" fmla="*/ 32 h 2292"/>
                      <a:gd name="connsiteX1" fmla="*/ 189 w 1947"/>
                      <a:gd name="connsiteY1" fmla="*/ 660 h 2292"/>
                      <a:gd name="connsiteX2" fmla="*/ 189 w 1947"/>
                      <a:gd name="connsiteY2" fmla="*/ 1916 h 2292"/>
                      <a:gd name="connsiteX3" fmla="*/ 816 w 1947"/>
                      <a:gd name="connsiteY3" fmla="*/ 2293 h 2292"/>
                      <a:gd name="connsiteX4" fmla="*/ 1947 w 1947"/>
                      <a:gd name="connsiteY4" fmla="*/ 409 h 2292"/>
                      <a:gd name="connsiteX5" fmla="*/ 1319 w 1947"/>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 h="2292">
                        <a:moveTo>
                          <a:pt x="1319" y="32"/>
                        </a:moveTo>
                        <a:cubicBezTo>
                          <a:pt x="1068" y="-94"/>
                          <a:pt x="566" y="158"/>
                          <a:pt x="189" y="660"/>
                        </a:cubicBezTo>
                        <a:cubicBezTo>
                          <a:pt x="-63" y="1162"/>
                          <a:pt x="-63" y="1790"/>
                          <a:pt x="189" y="1916"/>
                        </a:cubicBezTo>
                        <a:cubicBezTo>
                          <a:pt x="440" y="2042"/>
                          <a:pt x="816" y="2293"/>
                          <a:pt x="816" y="2293"/>
                        </a:cubicBezTo>
                        <a:lnTo>
                          <a:pt x="1947" y="409"/>
                        </a:lnTo>
                        <a:cubicBezTo>
                          <a:pt x="1947" y="409"/>
                          <a:pt x="1696" y="283"/>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9" name="Freeform: Shape 5328">
                    <a:extLst>
                      <a:ext uri="{FF2B5EF4-FFF2-40B4-BE49-F238E27FC236}">
                        <a16:creationId xmlns:a16="http://schemas.microsoft.com/office/drawing/2014/main" id="{93888EA3-78DB-43B4-8912-1562DEE085ED}"/>
                      </a:ext>
                    </a:extLst>
                  </p:cNvPr>
                  <p:cNvSpPr/>
                  <p:nvPr/>
                </p:nvSpPr>
                <p:spPr>
                  <a:xfrm>
                    <a:off x="9196495" y="2617793"/>
                    <a:ext cx="1600" cy="2043"/>
                  </a:xfrm>
                  <a:custGeom>
                    <a:avLst/>
                    <a:gdLst>
                      <a:gd name="connsiteX0" fmla="*/ 1319 w 1600"/>
                      <a:gd name="connsiteY0" fmla="*/ 1336 h 2043"/>
                      <a:gd name="connsiteX1" fmla="*/ 188 w 1600"/>
                      <a:gd name="connsiteY1" fmla="*/ 1964 h 2043"/>
                      <a:gd name="connsiteX2" fmla="*/ 188 w 1600"/>
                      <a:gd name="connsiteY2" fmla="*/ 708 h 2043"/>
                      <a:gd name="connsiteX3" fmla="*/ 1319 w 1600"/>
                      <a:gd name="connsiteY3" fmla="*/ 80 h 2043"/>
                      <a:gd name="connsiteX4" fmla="*/ 1319 w 1600"/>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 h="2043">
                        <a:moveTo>
                          <a:pt x="1319" y="1336"/>
                        </a:moveTo>
                        <a:cubicBezTo>
                          <a:pt x="1067" y="1838"/>
                          <a:pt x="565" y="2215"/>
                          <a:pt x="188" y="1964"/>
                        </a:cubicBezTo>
                        <a:cubicBezTo>
                          <a:pt x="-63" y="1838"/>
                          <a:pt x="-63" y="1210"/>
                          <a:pt x="188" y="708"/>
                        </a:cubicBezTo>
                        <a:cubicBezTo>
                          <a:pt x="439" y="206"/>
                          <a:pt x="942" y="-171"/>
                          <a:pt x="1319" y="80"/>
                        </a:cubicBezTo>
                        <a:cubicBezTo>
                          <a:pt x="1695" y="206"/>
                          <a:pt x="1695" y="834"/>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30" name="Graphic 4">
                  <a:extLst>
                    <a:ext uri="{FF2B5EF4-FFF2-40B4-BE49-F238E27FC236}">
                      <a16:creationId xmlns:a16="http://schemas.microsoft.com/office/drawing/2014/main" id="{84FB7ED1-A2DF-40A1-A747-5F7CF3F14040}"/>
                    </a:ext>
                  </a:extLst>
                </p:cNvPr>
                <p:cNvGrpSpPr/>
                <p:nvPr/>
              </p:nvGrpSpPr>
              <p:grpSpPr>
                <a:xfrm>
                  <a:off x="9194233" y="2613822"/>
                  <a:ext cx="2229" cy="2372"/>
                  <a:chOff x="9194233" y="2613822"/>
                  <a:chExt cx="2229" cy="2372"/>
                </a:xfrm>
                <a:solidFill>
                  <a:schemeClr val="accent1"/>
                </a:solidFill>
              </p:grpSpPr>
              <p:sp>
                <p:nvSpPr>
                  <p:cNvPr id="5331" name="Freeform: Shape 5330">
                    <a:extLst>
                      <a:ext uri="{FF2B5EF4-FFF2-40B4-BE49-F238E27FC236}">
                        <a16:creationId xmlns:a16="http://schemas.microsoft.com/office/drawing/2014/main" id="{0D2DBDA5-E094-4E37-BFAE-7BC723998AE4}"/>
                      </a:ext>
                    </a:extLst>
                  </p:cNvPr>
                  <p:cNvSpPr/>
                  <p:nvPr/>
                </p:nvSpPr>
                <p:spPr>
                  <a:xfrm>
                    <a:off x="9194233" y="2613822"/>
                    <a:ext cx="1947" cy="2292"/>
                  </a:xfrm>
                  <a:custGeom>
                    <a:avLst/>
                    <a:gdLst>
                      <a:gd name="connsiteX0" fmla="*/ 1319 w 1947"/>
                      <a:gd name="connsiteY0" fmla="*/ 32 h 2292"/>
                      <a:gd name="connsiteX1" fmla="*/ 189 w 1947"/>
                      <a:gd name="connsiteY1" fmla="*/ 660 h 2292"/>
                      <a:gd name="connsiteX2" fmla="*/ 189 w 1947"/>
                      <a:gd name="connsiteY2" fmla="*/ 1916 h 2292"/>
                      <a:gd name="connsiteX3" fmla="*/ 816 w 1947"/>
                      <a:gd name="connsiteY3" fmla="*/ 2293 h 2292"/>
                      <a:gd name="connsiteX4" fmla="*/ 1947 w 1947"/>
                      <a:gd name="connsiteY4" fmla="*/ 409 h 2292"/>
                      <a:gd name="connsiteX5" fmla="*/ 1319 w 1947"/>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 h="2292">
                        <a:moveTo>
                          <a:pt x="1319" y="32"/>
                        </a:moveTo>
                        <a:cubicBezTo>
                          <a:pt x="1068" y="-94"/>
                          <a:pt x="566" y="158"/>
                          <a:pt x="189" y="660"/>
                        </a:cubicBezTo>
                        <a:cubicBezTo>
                          <a:pt x="-63" y="1162"/>
                          <a:pt x="-63" y="1790"/>
                          <a:pt x="189" y="1916"/>
                        </a:cubicBezTo>
                        <a:cubicBezTo>
                          <a:pt x="440" y="2042"/>
                          <a:pt x="816" y="2293"/>
                          <a:pt x="816" y="2293"/>
                        </a:cubicBezTo>
                        <a:lnTo>
                          <a:pt x="1947" y="409"/>
                        </a:lnTo>
                        <a:cubicBezTo>
                          <a:pt x="1947" y="409"/>
                          <a:pt x="1696" y="158"/>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32" name="Freeform: Shape 5331">
                    <a:extLst>
                      <a:ext uri="{FF2B5EF4-FFF2-40B4-BE49-F238E27FC236}">
                        <a16:creationId xmlns:a16="http://schemas.microsoft.com/office/drawing/2014/main" id="{17351191-5BC9-4669-A7DF-6D0A251CFDF7}"/>
                      </a:ext>
                    </a:extLst>
                  </p:cNvPr>
                  <p:cNvSpPr/>
                  <p:nvPr/>
                </p:nvSpPr>
                <p:spPr>
                  <a:xfrm>
                    <a:off x="9194862" y="2614151"/>
                    <a:ext cx="1600" cy="2043"/>
                  </a:xfrm>
                  <a:custGeom>
                    <a:avLst/>
                    <a:gdLst>
                      <a:gd name="connsiteX0" fmla="*/ 1319 w 1600"/>
                      <a:gd name="connsiteY0" fmla="*/ 1336 h 2043"/>
                      <a:gd name="connsiteX1" fmla="*/ 188 w 1600"/>
                      <a:gd name="connsiteY1" fmla="*/ 1964 h 2043"/>
                      <a:gd name="connsiteX2" fmla="*/ 188 w 1600"/>
                      <a:gd name="connsiteY2" fmla="*/ 708 h 2043"/>
                      <a:gd name="connsiteX3" fmla="*/ 1319 w 1600"/>
                      <a:gd name="connsiteY3" fmla="*/ 80 h 2043"/>
                      <a:gd name="connsiteX4" fmla="*/ 1319 w 1600"/>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 h="2043">
                        <a:moveTo>
                          <a:pt x="1319" y="1336"/>
                        </a:moveTo>
                        <a:cubicBezTo>
                          <a:pt x="1067" y="1838"/>
                          <a:pt x="565" y="2215"/>
                          <a:pt x="188" y="1964"/>
                        </a:cubicBezTo>
                        <a:cubicBezTo>
                          <a:pt x="-63" y="1838"/>
                          <a:pt x="-63" y="1210"/>
                          <a:pt x="188" y="708"/>
                        </a:cubicBezTo>
                        <a:cubicBezTo>
                          <a:pt x="439" y="206"/>
                          <a:pt x="942" y="-171"/>
                          <a:pt x="1319" y="80"/>
                        </a:cubicBezTo>
                        <a:cubicBezTo>
                          <a:pt x="1695" y="206"/>
                          <a:pt x="1695" y="834"/>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33" name="Freeform: Shape 5332">
                  <a:extLst>
                    <a:ext uri="{FF2B5EF4-FFF2-40B4-BE49-F238E27FC236}">
                      <a16:creationId xmlns:a16="http://schemas.microsoft.com/office/drawing/2014/main" id="{445D3AFC-5861-4800-A70C-82DFBE4AE532}"/>
                    </a:ext>
                  </a:extLst>
                </p:cNvPr>
                <p:cNvSpPr/>
                <p:nvPr/>
              </p:nvSpPr>
              <p:spPr>
                <a:xfrm>
                  <a:off x="9188550" y="2617199"/>
                  <a:ext cx="8477" cy="11144"/>
                </a:xfrm>
                <a:custGeom>
                  <a:avLst/>
                  <a:gdLst>
                    <a:gd name="connsiteX0" fmla="*/ 7253 w 8477"/>
                    <a:gd name="connsiteY0" fmla="*/ 7331 h 11144"/>
                    <a:gd name="connsiteX1" fmla="*/ 1225 w 8477"/>
                    <a:gd name="connsiteY1" fmla="*/ 10847 h 11144"/>
                    <a:gd name="connsiteX2" fmla="*/ 1225 w 8477"/>
                    <a:gd name="connsiteY2" fmla="*/ 3814 h 11144"/>
                    <a:gd name="connsiteX3" fmla="*/ 7253 w 8477"/>
                    <a:gd name="connsiteY3" fmla="*/ 297 h 11144"/>
                    <a:gd name="connsiteX4" fmla="*/ 7253 w 8477"/>
                    <a:gd name="connsiteY4" fmla="*/ 7331 h 11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7" h="11144">
                      <a:moveTo>
                        <a:pt x="7253" y="7331"/>
                      </a:moveTo>
                      <a:cubicBezTo>
                        <a:pt x="5620" y="10219"/>
                        <a:pt x="2857" y="11852"/>
                        <a:pt x="1225" y="10847"/>
                      </a:cubicBezTo>
                      <a:cubicBezTo>
                        <a:pt x="-408" y="9843"/>
                        <a:pt x="-408" y="6703"/>
                        <a:pt x="1225" y="3814"/>
                      </a:cubicBezTo>
                      <a:cubicBezTo>
                        <a:pt x="2857" y="925"/>
                        <a:pt x="5620" y="-707"/>
                        <a:pt x="7253" y="297"/>
                      </a:cubicBezTo>
                      <a:cubicBezTo>
                        <a:pt x="8886" y="1302"/>
                        <a:pt x="8886" y="4442"/>
                        <a:pt x="7253" y="7331"/>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34" name="Freeform: Shape 5333">
                  <a:extLst>
                    <a:ext uri="{FF2B5EF4-FFF2-40B4-BE49-F238E27FC236}">
                      <a16:creationId xmlns:a16="http://schemas.microsoft.com/office/drawing/2014/main" id="{9C2766B0-14F5-4079-94D7-FB7A7EB1CCF1}"/>
                    </a:ext>
                  </a:extLst>
                </p:cNvPr>
                <p:cNvSpPr/>
                <p:nvPr/>
              </p:nvSpPr>
              <p:spPr>
                <a:xfrm>
                  <a:off x="9186792" y="2616194"/>
                  <a:ext cx="9011" cy="11852"/>
                </a:xfrm>
                <a:custGeom>
                  <a:avLst/>
                  <a:gdLst>
                    <a:gd name="connsiteX0" fmla="*/ 2983 w 9011"/>
                    <a:gd name="connsiteY0" fmla="*/ 4819 h 11852"/>
                    <a:gd name="connsiteX1" fmla="*/ 9011 w 9011"/>
                    <a:gd name="connsiteY1" fmla="*/ 1302 h 11852"/>
                    <a:gd name="connsiteX2" fmla="*/ 7254 w 9011"/>
                    <a:gd name="connsiteY2" fmla="*/ 297 h 11852"/>
                    <a:gd name="connsiteX3" fmla="*/ 1225 w 9011"/>
                    <a:gd name="connsiteY3" fmla="*/ 3814 h 11852"/>
                    <a:gd name="connsiteX4" fmla="*/ 1225 w 9011"/>
                    <a:gd name="connsiteY4" fmla="*/ 10847 h 11852"/>
                    <a:gd name="connsiteX5" fmla="*/ 2983 w 9011"/>
                    <a:gd name="connsiteY5" fmla="*/ 11852 h 11852"/>
                    <a:gd name="connsiteX6" fmla="*/ 2983 w 9011"/>
                    <a:gd name="connsiteY6" fmla="*/ 4819 h 11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11" h="11852">
                      <a:moveTo>
                        <a:pt x="2983" y="4819"/>
                      </a:moveTo>
                      <a:cubicBezTo>
                        <a:pt x="4616" y="1930"/>
                        <a:pt x="7379" y="297"/>
                        <a:pt x="9011" y="1302"/>
                      </a:cubicBezTo>
                      <a:cubicBezTo>
                        <a:pt x="9011" y="1302"/>
                        <a:pt x="7504" y="423"/>
                        <a:pt x="7254" y="297"/>
                      </a:cubicBezTo>
                      <a:cubicBezTo>
                        <a:pt x="5621" y="-707"/>
                        <a:pt x="2857" y="925"/>
                        <a:pt x="1225" y="3814"/>
                      </a:cubicBezTo>
                      <a:cubicBezTo>
                        <a:pt x="-408" y="6703"/>
                        <a:pt x="-408" y="9843"/>
                        <a:pt x="1225" y="10847"/>
                      </a:cubicBezTo>
                      <a:cubicBezTo>
                        <a:pt x="1602" y="11099"/>
                        <a:pt x="2983" y="11852"/>
                        <a:pt x="2983" y="11852"/>
                      </a:cubicBezTo>
                      <a:cubicBezTo>
                        <a:pt x="1225" y="10847"/>
                        <a:pt x="1225" y="7708"/>
                        <a:pt x="2983" y="4819"/>
                      </a:cubicBezTo>
                      <a:close/>
                    </a:path>
                  </a:pathLst>
                </a:custGeom>
                <a:solidFill>
                  <a:srgbClr val="CF8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35" name="Graphic 4">
                  <a:extLst>
                    <a:ext uri="{FF2B5EF4-FFF2-40B4-BE49-F238E27FC236}">
                      <a16:creationId xmlns:a16="http://schemas.microsoft.com/office/drawing/2014/main" id="{84FB7ED1-A2DF-40A1-A747-5F7CF3F14040}"/>
                    </a:ext>
                  </a:extLst>
                </p:cNvPr>
                <p:cNvGrpSpPr/>
                <p:nvPr/>
              </p:nvGrpSpPr>
              <p:grpSpPr>
                <a:xfrm>
                  <a:off x="9190215" y="2614199"/>
                  <a:ext cx="2229" cy="2372"/>
                  <a:chOff x="9190215" y="2614199"/>
                  <a:chExt cx="2229" cy="2372"/>
                </a:xfrm>
                <a:solidFill>
                  <a:schemeClr val="accent1"/>
                </a:solidFill>
              </p:grpSpPr>
              <p:sp>
                <p:nvSpPr>
                  <p:cNvPr id="5336" name="Freeform: Shape 5335">
                    <a:extLst>
                      <a:ext uri="{FF2B5EF4-FFF2-40B4-BE49-F238E27FC236}">
                        <a16:creationId xmlns:a16="http://schemas.microsoft.com/office/drawing/2014/main" id="{BE402418-8744-4E04-900C-0DCFCFB08CF1}"/>
                      </a:ext>
                    </a:extLst>
                  </p:cNvPr>
                  <p:cNvSpPr/>
                  <p:nvPr/>
                </p:nvSpPr>
                <p:spPr>
                  <a:xfrm>
                    <a:off x="9190215" y="2614199"/>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6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2"/>
                          <a:pt x="816" y="2293"/>
                          <a:pt x="816" y="2293"/>
                        </a:cubicBezTo>
                        <a:lnTo>
                          <a:pt x="1947" y="409"/>
                        </a:lnTo>
                        <a:cubicBezTo>
                          <a:pt x="1947" y="409"/>
                          <a:pt x="1695" y="283"/>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37" name="Freeform: Shape 5336">
                    <a:extLst>
                      <a:ext uri="{FF2B5EF4-FFF2-40B4-BE49-F238E27FC236}">
                        <a16:creationId xmlns:a16="http://schemas.microsoft.com/office/drawing/2014/main" id="{6B0B968F-8FC9-441E-81F4-2A56144C3024}"/>
                      </a:ext>
                    </a:extLst>
                  </p:cNvPr>
                  <p:cNvSpPr/>
                  <p:nvPr/>
                </p:nvSpPr>
                <p:spPr>
                  <a:xfrm>
                    <a:off x="9190793" y="2614528"/>
                    <a:ext cx="1651" cy="2043"/>
                  </a:xfrm>
                  <a:custGeom>
                    <a:avLst/>
                    <a:gdLst>
                      <a:gd name="connsiteX0" fmla="*/ 1368 w 1651"/>
                      <a:gd name="connsiteY0" fmla="*/ 1336 h 2043"/>
                      <a:gd name="connsiteX1" fmla="*/ 237 w 1651"/>
                      <a:gd name="connsiteY1" fmla="*/ 1964 h 2043"/>
                      <a:gd name="connsiteX2" fmla="*/ 237 w 1651"/>
                      <a:gd name="connsiteY2" fmla="*/ 708 h 2043"/>
                      <a:gd name="connsiteX3" fmla="*/ 1368 w 1651"/>
                      <a:gd name="connsiteY3" fmla="*/ 80 h 2043"/>
                      <a:gd name="connsiteX4" fmla="*/ 1368 w 1651"/>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 h="2043">
                        <a:moveTo>
                          <a:pt x="1368" y="1336"/>
                        </a:moveTo>
                        <a:cubicBezTo>
                          <a:pt x="1117" y="1838"/>
                          <a:pt x="615" y="2215"/>
                          <a:pt x="237" y="1964"/>
                        </a:cubicBezTo>
                        <a:cubicBezTo>
                          <a:pt x="-139" y="1713"/>
                          <a:pt x="-13" y="1210"/>
                          <a:pt x="237" y="708"/>
                        </a:cubicBezTo>
                        <a:cubicBezTo>
                          <a:pt x="489" y="206"/>
                          <a:pt x="992" y="-171"/>
                          <a:pt x="1368" y="80"/>
                        </a:cubicBezTo>
                        <a:cubicBezTo>
                          <a:pt x="1745" y="206"/>
                          <a:pt x="1745" y="834"/>
                          <a:pt x="1368"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38" name="Graphic 4">
                  <a:extLst>
                    <a:ext uri="{FF2B5EF4-FFF2-40B4-BE49-F238E27FC236}">
                      <a16:creationId xmlns:a16="http://schemas.microsoft.com/office/drawing/2014/main" id="{84FB7ED1-A2DF-40A1-A747-5F7CF3F14040}"/>
                    </a:ext>
                  </a:extLst>
                </p:cNvPr>
                <p:cNvGrpSpPr/>
                <p:nvPr/>
              </p:nvGrpSpPr>
              <p:grpSpPr>
                <a:xfrm>
                  <a:off x="9186321" y="2618469"/>
                  <a:ext cx="2135" cy="2372"/>
                  <a:chOff x="9186321" y="2618469"/>
                  <a:chExt cx="2135" cy="2372"/>
                </a:xfrm>
                <a:solidFill>
                  <a:schemeClr val="accent1"/>
                </a:solidFill>
              </p:grpSpPr>
              <p:sp>
                <p:nvSpPr>
                  <p:cNvPr id="5339" name="Freeform: Shape 5338">
                    <a:extLst>
                      <a:ext uri="{FF2B5EF4-FFF2-40B4-BE49-F238E27FC236}">
                        <a16:creationId xmlns:a16="http://schemas.microsoft.com/office/drawing/2014/main" id="{5515A7BA-73C8-4C4A-BD3B-64AEA08A7B88}"/>
                      </a:ext>
                    </a:extLst>
                  </p:cNvPr>
                  <p:cNvSpPr/>
                  <p:nvPr/>
                </p:nvSpPr>
                <p:spPr>
                  <a:xfrm>
                    <a:off x="9186321" y="2618469"/>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6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1"/>
                          <a:pt x="816" y="2293"/>
                          <a:pt x="816" y="2293"/>
                        </a:cubicBezTo>
                        <a:lnTo>
                          <a:pt x="1947" y="409"/>
                        </a:lnTo>
                        <a:cubicBezTo>
                          <a:pt x="1947" y="409"/>
                          <a:pt x="1569" y="158"/>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40" name="Freeform: Shape 5339">
                    <a:extLst>
                      <a:ext uri="{FF2B5EF4-FFF2-40B4-BE49-F238E27FC236}">
                        <a16:creationId xmlns:a16="http://schemas.microsoft.com/office/drawing/2014/main" id="{72C22937-73A9-4EBE-8430-A5190E8E8920}"/>
                      </a:ext>
                    </a:extLst>
                  </p:cNvPr>
                  <p:cNvSpPr/>
                  <p:nvPr/>
                </p:nvSpPr>
                <p:spPr>
                  <a:xfrm>
                    <a:off x="9186949" y="2618798"/>
                    <a:ext cx="1507" cy="2043"/>
                  </a:xfrm>
                  <a:custGeom>
                    <a:avLst/>
                    <a:gdLst>
                      <a:gd name="connsiteX0" fmla="*/ 1319 w 1507"/>
                      <a:gd name="connsiteY0" fmla="*/ 1336 h 2043"/>
                      <a:gd name="connsiteX1" fmla="*/ 188 w 1507"/>
                      <a:gd name="connsiteY1" fmla="*/ 1964 h 2043"/>
                      <a:gd name="connsiteX2" fmla="*/ 188 w 1507"/>
                      <a:gd name="connsiteY2" fmla="*/ 708 h 2043"/>
                      <a:gd name="connsiteX3" fmla="*/ 1319 w 1507"/>
                      <a:gd name="connsiteY3" fmla="*/ 80 h 2043"/>
                      <a:gd name="connsiteX4" fmla="*/ 1319 w 1507"/>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 h="2043">
                        <a:moveTo>
                          <a:pt x="1319" y="1336"/>
                        </a:moveTo>
                        <a:cubicBezTo>
                          <a:pt x="1067" y="1838"/>
                          <a:pt x="565" y="2215"/>
                          <a:pt x="188" y="1964"/>
                        </a:cubicBezTo>
                        <a:cubicBezTo>
                          <a:pt x="-63" y="1838"/>
                          <a:pt x="-63" y="1210"/>
                          <a:pt x="188" y="708"/>
                        </a:cubicBezTo>
                        <a:cubicBezTo>
                          <a:pt x="439" y="206"/>
                          <a:pt x="942" y="-171"/>
                          <a:pt x="1319" y="80"/>
                        </a:cubicBezTo>
                        <a:cubicBezTo>
                          <a:pt x="1570" y="206"/>
                          <a:pt x="1570" y="833"/>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41" name="Graphic 4">
                  <a:extLst>
                    <a:ext uri="{FF2B5EF4-FFF2-40B4-BE49-F238E27FC236}">
                      <a16:creationId xmlns:a16="http://schemas.microsoft.com/office/drawing/2014/main" id="{84FB7ED1-A2DF-40A1-A747-5F7CF3F14040}"/>
                    </a:ext>
                  </a:extLst>
                </p:cNvPr>
                <p:cNvGrpSpPr/>
                <p:nvPr/>
              </p:nvGrpSpPr>
              <p:grpSpPr>
                <a:xfrm>
                  <a:off x="9184563" y="2623995"/>
                  <a:ext cx="2229" cy="2372"/>
                  <a:chOff x="9184563" y="2623995"/>
                  <a:chExt cx="2229" cy="2372"/>
                </a:xfrm>
                <a:solidFill>
                  <a:schemeClr val="accent1"/>
                </a:solidFill>
              </p:grpSpPr>
              <p:sp>
                <p:nvSpPr>
                  <p:cNvPr id="5342" name="Freeform: Shape 5341">
                    <a:extLst>
                      <a:ext uri="{FF2B5EF4-FFF2-40B4-BE49-F238E27FC236}">
                        <a16:creationId xmlns:a16="http://schemas.microsoft.com/office/drawing/2014/main" id="{69B10D3A-F49B-496F-8489-A273E916B51D}"/>
                      </a:ext>
                    </a:extLst>
                  </p:cNvPr>
                  <p:cNvSpPr/>
                  <p:nvPr/>
                </p:nvSpPr>
                <p:spPr>
                  <a:xfrm>
                    <a:off x="9184563" y="2623995"/>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7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1"/>
                          <a:pt x="817" y="2293"/>
                          <a:pt x="817" y="2293"/>
                        </a:cubicBezTo>
                        <a:lnTo>
                          <a:pt x="1947" y="409"/>
                        </a:lnTo>
                        <a:cubicBezTo>
                          <a:pt x="1947" y="409"/>
                          <a:pt x="1696" y="158"/>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43" name="Freeform: Shape 5342">
                    <a:extLst>
                      <a:ext uri="{FF2B5EF4-FFF2-40B4-BE49-F238E27FC236}">
                        <a16:creationId xmlns:a16="http://schemas.microsoft.com/office/drawing/2014/main" id="{F9D4FF79-5CBF-4318-9962-76D46E290DB5}"/>
                      </a:ext>
                    </a:extLst>
                  </p:cNvPr>
                  <p:cNvSpPr/>
                  <p:nvPr/>
                </p:nvSpPr>
                <p:spPr>
                  <a:xfrm>
                    <a:off x="9185191" y="2624324"/>
                    <a:ext cx="1601" cy="2043"/>
                  </a:xfrm>
                  <a:custGeom>
                    <a:avLst/>
                    <a:gdLst>
                      <a:gd name="connsiteX0" fmla="*/ 1319 w 1601"/>
                      <a:gd name="connsiteY0" fmla="*/ 1336 h 2043"/>
                      <a:gd name="connsiteX1" fmla="*/ 189 w 1601"/>
                      <a:gd name="connsiteY1" fmla="*/ 1964 h 2043"/>
                      <a:gd name="connsiteX2" fmla="*/ 189 w 1601"/>
                      <a:gd name="connsiteY2" fmla="*/ 708 h 2043"/>
                      <a:gd name="connsiteX3" fmla="*/ 1319 w 1601"/>
                      <a:gd name="connsiteY3" fmla="*/ 80 h 2043"/>
                      <a:gd name="connsiteX4" fmla="*/ 1319 w 1601"/>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 h="2043">
                        <a:moveTo>
                          <a:pt x="1319" y="1336"/>
                        </a:moveTo>
                        <a:cubicBezTo>
                          <a:pt x="1068" y="1838"/>
                          <a:pt x="565" y="2215"/>
                          <a:pt x="189" y="1964"/>
                        </a:cubicBezTo>
                        <a:cubicBezTo>
                          <a:pt x="-63" y="1838"/>
                          <a:pt x="-63" y="1210"/>
                          <a:pt x="189" y="708"/>
                        </a:cubicBezTo>
                        <a:cubicBezTo>
                          <a:pt x="439" y="206"/>
                          <a:pt x="942" y="-171"/>
                          <a:pt x="1319" y="80"/>
                        </a:cubicBezTo>
                        <a:cubicBezTo>
                          <a:pt x="1696" y="206"/>
                          <a:pt x="1696" y="834"/>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44" name="Graphic 4">
                  <a:extLst>
                    <a:ext uri="{FF2B5EF4-FFF2-40B4-BE49-F238E27FC236}">
                      <a16:creationId xmlns:a16="http://schemas.microsoft.com/office/drawing/2014/main" id="{84FB7ED1-A2DF-40A1-A747-5F7CF3F14040}"/>
                    </a:ext>
                  </a:extLst>
                </p:cNvPr>
                <p:cNvGrpSpPr/>
                <p:nvPr/>
              </p:nvGrpSpPr>
              <p:grpSpPr>
                <a:xfrm>
                  <a:off x="9186321" y="2627637"/>
                  <a:ext cx="2135" cy="2372"/>
                  <a:chOff x="9186321" y="2627637"/>
                  <a:chExt cx="2135" cy="2372"/>
                </a:xfrm>
                <a:solidFill>
                  <a:schemeClr val="accent1"/>
                </a:solidFill>
              </p:grpSpPr>
              <p:sp>
                <p:nvSpPr>
                  <p:cNvPr id="5345" name="Freeform: Shape 5344">
                    <a:extLst>
                      <a:ext uri="{FF2B5EF4-FFF2-40B4-BE49-F238E27FC236}">
                        <a16:creationId xmlns:a16="http://schemas.microsoft.com/office/drawing/2014/main" id="{98FFD047-E347-482B-9E9B-393660E22076}"/>
                      </a:ext>
                    </a:extLst>
                  </p:cNvPr>
                  <p:cNvSpPr/>
                  <p:nvPr/>
                </p:nvSpPr>
                <p:spPr>
                  <a:xfrm>
                    <a:off x="9186321" y="2627637"/>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6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2"/>
                          <a:pt x="816" y="2293"/>
                          <a:pt x="816" y="2293"/>
                        </a:cubicBezTo>
                        <a:lnTo>
                          <a:pt x="1947" y="409"/>
                        </a:lnTo>
                        <a:cubicBezTo>
                          <a:pt x="1947" y="409"/>
                          <a:pt x="1569" y="283"/>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46" name="Freeform: Shape 5345">
                    <a:extLst>
                      <a:ext uri="{FF2B5EF4-FFF2-40B4-BE49-F238E27FC236}">
                        <a16:creationId xmlns:a16="http://schemas.microsoft.com/office/drawing/2014/main" id="{88A34A56-1F91-4B2B-A01C-3A616F3DF9E5}"/>
                      </a:ext>
                    </a:extLst>
                  </p:cNvPr>
                  <p:cNvSpPr/>
                  <p:nvPr/>
                </p:nvSpPr>
                <p:spPr>
                  <a:xfrm>
                    <a:off x="9186949" y="2627966"/>
                    <a:ext cx="1507" cy="2043"/>
                  </a:xfrm>
                  <a:custGeom>
                    <a:avLst/>
                    <a:gdLst>
                      <a:gd name="connsiteX0" fmla="*/ 1319 w 1507"/>
                      <a:gd name="connsiteY0" fmla="*/ 1336 h 2043"/>
                      <a:gd name="connsiteX1" fmla="*/ 188 w 1507"/>
                      <a:gd name="connsiteY1" fmla="*/ 1964 h 2043"/>
                      <a:gd name="connsiteX2" fmla="*/ 188 w 1507"/>
                      <a:gd name="connsiteY2" fmla="*/ 708 h 2043"/>
                      <a:gd name="connsiteX3" fmla="*/ 1319 w 1507"/>
                      <a:gd name="connsiteY3" fmla="*/ 80 h 2043"/>
                      <a:gd name="connsiteX4" fmla="*/ 1319 w 1507"/>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 h="2043">
                        <a:moveTo>
                          <a:pt x="1319" y="1336"/>
                        </a:moveTo>
                        <a:cubicBezTo>
                          <a:pt x="1067" y="1838"/>
                          <a:pt x="565" y="2215"/>
                          <a:pt x="188" y="1964"/>
                        </a:cubicBezTo>
                        <a:cubicBezTo>
                          <a:pt x="-63" y="1838"/>
                          <a:pt x="-63" y="1210"/>
                          <a:pt x="188" y="708"/>
                        </a:cubicBezTo>
                        <a:cubicBezTo>
                          <a:pt x="439" y="206"/>
                          <a:pt x="942" y="-171"/>
                          <a:pt x="1319" y="80"/>
                        </a:cubicBezTo>
                        <a:cubicBezTo>
                          <a:pt x="1570" y="206"/>
                          <a:pt x="1570" y="834"/>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5347" name="Graphic 4">
              <a:extLst>
                <a:ext uri="{FF2B5EF4-FFF2-40B4-BE49-F238E27FC236}">
                  <a16:creationId xmlns:a16="http://schemas.microsoft.com/office/drawing/2014/main" id="{84FB7ED1-A2DF-40A1-A747-5F7CF3F14040}"/>
                </a:ext>
              </a:extLst>
            </p:cNvPr>
            <p:cNvGrpSpPr/>
            <p:nvPr/>
          </p:nvGrpSpPr>
          <p:grpSpPr>
            <a:xfrm>
              <a:off x="9242399" y="2510866"/>
              <a:ext cx="58652" cy="83394"/>
              <a:chOff x="9242399" y="2510866"/>
              <a:chExt cx="58652" cy="83394"/>
            </a:xfrm>
            <a:solidFill>
              <a:schemeClr val="accent1"/>
            </a:solidFill>
          </p:grpSpPr>
          <p:sp>
            <p:nvSpPr>
              <p:cNvPr id="5348" name="Freeform: Shape 5347">
                <a:extLst>
                  <a:ext uri="{FF2B5EF4-FFF2-40B4-BE49-F238E27FC236}">
                    <a16:creationId xmlns:a16="http://schemas.microsoft.com/office/drawing/2014/main" id="{549E72A9-CBB9-4F78-8C5D-A6E799A5DB74}"/>
                  </a:ext>
                </a:extLst>
              </p:cNvPr>
              <p:cNvSpPr/>
              <p:nvPr/>
            </p:nvSpPr>
            <p:spPr>
              <a:xfrm>
                <a:off x="9259983" y="2521039"/>
                <a:ext cx="41068" cy="73221"/>
              </a:xfrm>
              <a:custGeom>
                <a:avLst/>
                <a:gdLst>
                  <a:gd name="connsiteX0" fmla="*/ 28133 w 41068"/>
                  <a:gd name="connsiteY0" fmla="*/ 10299 h 73221"/>
                  <a:gd name="connsiteX1" fmla="*/ 2386 w 41068"/>
                  <a:gd name="connsiteY1" fmla="*/ 54885 h 73221"/>
                  <a:gd name="connsiteX2" fmla="*/ 2386 w 41068"/>
                  <a:gd name="connsiteY2" fmla="*/ 71840 h 73221"/>
                  <a:gd name="connsiteX3" fmla="*/ 0 w 41068"/>
                  <a:gd name="connsiteY3" fmla="*/ 73222 h 73221"/>
                  <a:gd name="connsiteX4" fmla="*/ 0 w 41068"/>
                  <a:gd name="connsiteY4" fmla="*/ 56267 h 73221"/>
                  <a:gd name="connsiteX5" fmla="*/ 28133 w 41068"/>
                  <a:gd name="connsiteY5" fmla="*/ 7536 h 73221"/>
                  <a:gd name="connsiteX6" fmla="*/ 41069 w 41068"/>
                  <a:gd name="connsiteY6" fmla="*/ 0 h 73221"/>
                  <a:gd name="connsiteX7" fmla="*/ 41069 w 41068"/>
                  <a:gd name="connsiteY7" fmla="*/ 2763 h 73221"/>
                  <a:gd name="connsiteX8" fmla="*/ 28133 w 41068"/>
                  <a:gd name="connsiteY8" fmla="*/ 10299 h 73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068" h="73221">
                    <a:moveTo>
                      <a:pt x="28133" y="10299"/>
                    </a:moveTo>
                    <a:cubicBezTo>
                      <a:pt x="13941" y="18462"/>
                      <a:pt x="2386" y="38432"/>
                      <a:pt x="2386" y="54885"/>
                    </a:cubicBezTo>
                    <a:lnTo>
                      <a:pt x="2386" y="71840"/>
                    </a:lnTo>
                    <a:lnTo>
                      <a:pt x="0" y="73222"/>
                    </a:lnTo>
                    <a:lnTo>
                      <a:pt x="0" y="56267"/>
                    </a:lnTo>
                    <a:cubicBezTo>
                      <a:pt x="0" y="38306"/>
                      <a:pt x="12559" y="16579"/>
                      <a:pt x="28133" y="7536"/>
                    </a:cubicBezTo>
                    <a:lnTo>
                      <a:pt x="41069" y="0"/>
                    </a:lnTo>
                    <a:lnTo>
                      <a:pt x="41069" y="2763"/>
                    </a:lnTo>
                    <a:lnTo>
                      <a:pt x="28133" y="10299"/>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49" name="Freeform: Shape 5348">
                <a:extLst>
                  <a:ext uri="{FF2B5EF4-FFF2-40B4-BE49-F238E27FC236}">
                    <a16:creationId xmlns:a16="http://schemas.microsoft.com/office/drawing/2014/main" id="{8C1E0D74-2161-4169-A0D5-C402693C7B30}"/>
                  </a:ext>
                </a:extLst>
              </p:cNvPr>
              <p:cNvSpPr/>
              <p:nvPr/>
            </p:nvSpPr>
            <p:spPr>
              <a:xfrm>
                <a:off x="9242399" y="2510866"/>
                <a:ext cx="58652" cy="83394"/>
              </a:xfrm>
              <a:custGeom>
                <a:avLst/>
                <a:gdLst>
                  <a:gd name="connsiteX0" fmla="*/ 45717 w 58652"/>
                  <a:gd name="connsiteY0" fmla="*/ 17709 h 83394"/>
                  <a:gd name="connsiteX1" fmla="*/ 58653 w 58652"/>
                  <a:gd name="connsiteY1" fmla="*/ 10173 h 83394"/>
                  <a:gd name="connsiteX2" fmla="*/ 41070 w 58652"/>
                  <a:gd name="connsiteY2" fmla="*/ 0 h 83394"/>
                  <a:gd name="connsiteX3" fmla="*/ 28133 w 58652"/>
                  <a:gd name="connsiteY3" fmla="*/ 7536 h 83394"/>
                  <a:gd name="connsiteX4" fmla="*/ 0 w 58652"/>
                  <a:gd name="connsiteY4" fmla="*/ 56266 h 83394"/>
                  <a:gd name="connsiteX5" fmla="*/ 0 w 58652"/>
                  <a:gd name="connsiteY5" fmla="*/ 73222 h 83394"/>
                  <a:gd name="connsiteX6" fmla="*/ 17584 w 58652"/>
                  <a:gd name="connsiteY6" fmla="*/ 83395 h 83394"/>
                  <a:gd name="connsiteX7" fmla="*/ 17584 w 58652"/>
                  <a:gd name="connsiteY7" fmla="*/ 66440 h 83394"/>
                  <a:gd name="connsiteX8" fmla="*/ 45717 w 58652"/>
                  <a:gd name="connsiteY8" fmla="*/ 17709 h 83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52" h="83394">
                    <a:moveTo>
                      <a:pt x="45717" y="17709"/>
                    </a:moveTo>
                    <a:lnTo>
                      <a:pt x="58653" y="10173"/>
                    </a:lnTo>
                    <a:lnTo>
                      <a:pt x="41070" y="0"/>
                    </a:lnTo>
                    <a:lnTo>
                      <a:pt x="28133" y="7536"/>
                    </a:lnTo>
                    <a:cubicBezTo>
                      <a:pt x="12559" y="16453"/>
                      <a:pt x="0" y="38306"/>
                      <a:pt x="0" y="56266"/>
                    </a:cubicBezTo>
                    <a:lnTo>
                      <a:pt x="0" y="73222"/>
                    </a:lnTo>
                    <a:lnTo>
                      <a:pt x="17584" y="83395"/>
                    </a:lnTo>
                    <a:lnTo>
                      <a:pt x="17584" y="66440"/>
                    </a:lnTo>
                    <a:cubicBezTo>
                      <a:pt x="17584" y="48480"/>
                      <a:pt x="30268" y="26626"/>
                      <a:pt x="45717" y="17709"/>
                    </a:cubicBezTo>
                    <a:close/>
                  </a:path>
                </a:pathLst>
              </a:custGeom>
              <a:solidFill>
                <a:srgbClr val="DB9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50" name="Freeform: Shape 5349">
              <a:extLst>
                <a:ext uri="{FF2B5EF4-FFF2-40B4-BE49-F238E27FC236}">
                  <a16:creationId xmlns:a16="http://schemas.microsoft.com/office/drawing/2014/main" id="{9169A8C6-FBDD-4F44-BB96-18BDE9A455B2}"/>
                </a:ext>
              </a:extLst>
            </p:cNvPr>
            <p:cNvSpPr/>
            <p:nvPr/>
          </p:nvSpPr>
          <p:spPr>
            <a:xfrm>
              <a:off x="9198567" y="2564118"/>
              <a:ext cx="62043" cy="56517"/>
            </a:xfrm>
            <a:custGeom>
              <a:avLst/>
              <a:gdLst>
                <a:gd name="connsiteX0" fmla="*/ 62044 w 62043"/>
                <a:gd name="connsiteY0" fmla="*/ 6029 h 56517"/>
                <a:gd name="connsiteX1" fmla="*/ 47349 w 62043"/>
                <a:gd name="connsiteY1" fmla="*/ 14443 h 56517"/>
                <a:gd name="connsiteX2" fmla="*/ 39939 w 62043"/>
                <a:gd name="connsiteY2" fmla="*/ 10173 h 56517"/>
                <a:gd name="connsiteX3" fmla="*/ 39939 w 62043"/>
                <a:gd name="connsiteY3" fmla="*/ 0 h 56517"/>
                <a:gd name="connsiteX4" fmla="*/ 0 w 62043"/>
                <a:gd name="connsiteY4" fmla="*/ 23109 h 56517"/>
                <a:gd name="connsiteX5" fmla="*/ 0 w 62043"/>
                <a:gd name="connsiteY5" fmla="*/ 32278 h 56517"/>
                <a:gd name="connsiteX6" fmla="*/ 126 w 62043"/>
                <a:gd name="connsiteY6" fmla="*/ 32278 h 56517"/>
                <a:gd name="connsiteX7" fmla="*/ 16327 w 62043"/>
                <a:gd name="connsiteY7" fmla="*/ 41697 h 56517"/>
                <a:gd name="connsiteX8" fmla="*/ 16327 w 62043"/>
                <a:gd name="connsiteY8" fmla="*/ 56518 h 56517"/>
                <a:gd name="connsiteX9" fmla="*/ 61541 w 62043"/>
                <a:gd name="connsiteY9" fmla="*/ 30394 h 56517"/>
                <a:gd name="connsiteX10" fmla="*/ 61541 w 62043"/>
                <a:gd name="connsiteY10" fmla="*/ 13439 h 56517"/>
                <a:gd name="connsiteX11" fmla="*/ 62044 w 62043"/>
                <a:gd name="connsiteY11" fmla="*/ 6029 h 56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043" h="56517">
                  <a:moveTo>
                    <a:pt x="62044" y="6029"/>
                  </a:moveTo>
                  <a:lnTo>
                    <a:pt x="47349" y="14443"/>
                  </a:lnTo>
                  <a:cubicBezTo>
                    <a:pt x="43205" y="16830"/>
                    <a:pt x="39939" y="14946"/>
                    <a:pt x="39939" y="10173"/>
                  </a:cubicBezTo>
                  <a:lnTo>
                    <a:pt x="39939" y="0"/>
                  </a:lnTo>
                  <a:lnTo>
                    <a:pt x="0" y="23109"/>
                  </a:lnTo>
                  <a:lnTo>
                    <a:pt x="0" y="32278"/>
                  </a:lnTo>
                  <a:lnTo>
                    <a:pt x="126" y="32278"/>
                  </a:lnTo>
                  <a:cubicBezTo>
                    <a:pt x="9042" y="27129"/>
                    <a:pt x="16327" y="31273"/>
                    <a:pt x="16327" y="41697"/>
                  </a:cubicBezTo>
                  <a:lnTo>
                    <a:pt x="16327" y="56518"/>
                  </a:lnTo>
                  <a:lnTo>
                    <a:pt x="61541" y="30394"/>
                  </a:lnTo>
                  <a:lnTo>
                    <a:pt x="61541" y="13439"/>
                  </a:lnTo>
                  <a:cubicBezTo>
                    <a:pt x="61416" y="10801"/>
                    <a:pt x="61667" y="8415"/>
                    <a:pt x="62044" y="6029"/>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51" name="Freeform: Shape 5350">
              <a:extLst>
                <a:ext uri="{FF2B5EF4-FFF2-40B4-BE49-F238E27FC236}">
                  <a16:creationId xmlns:a16="http://schemas.microsoft.com/office/drawing/2014/main" id="{6FE0478D-0292-450E-A020-9560EC8AF0FA}"/>
                </a:ext>
              </a:extLst>
            </p:cNvPr>
            <p:cNvSpPr/>
            <p:nvPr/>
          </p:nvSpPr>
          <p:spPr>
            <a:xfrm>
              <a:off x="9237250" y="2559974"/>
              <a:ext cx="23360" cy="19620"/>
            </a:xfrm>
            <a:custGeom>
              <a:avLst/>
              <a:gdLst>
                <a:gd name="connsiteX0" fmla="*/ 8666 w 23360"/>
                <a:gd name="connsiteY0" fmla="*/ 18588 h 19620"/>
                <a:gd name="connsiteX1" fmla="*/ 23360 w 23360"/>
                <a:gd name="connsiteY1" fmla="*/ 10173 h 19620"/>
                <a:gd name="connsiteX2" fmla="*/ 5777 w 23360"/>
                <a:gd name="connsiteY2" fmla="*/ 0 h 19620"/>
                <a:gd name="connsiteX3" fmla="*/ 0 w 23360"/>
                <a:gd name="connsiteY3" fmla="*/ 3391 h 19620"/>
                <a:gd name="connsiteX4" fmla="*/ 1256 w 23360"/>
                <a:gd name="connsiteY4" fmla="*/ 4145 h 19620"/>
                <a:gd name="connsiteX5" fmla="*/ 1256 w 23360"/>
                <a:gd name="connsiteY5" fmla="*/ 14318 h 19620"/>
                <a:gd name="connsiteX6" fmla="*/ 8666 w 23360"/>
                <a:gd name="connsiteY6" fmla="*/ 18588 h 19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60" h="19620">
                  <a:moveTo>
                    <a:pt x="8666" y="18588"/>
                  </a:moveTo>
                  <a:lnTo>
                    <a:pt x="23360" y="10173"/>
                  </a:lnTo>
                  <a:lnTo>
                    <a:pt x="5777" y="0"/>
                  </a:lnTo>
                  <a:lnTo>
                    <a:pt x="0" y="3391"/>
                  </a:lnTo>
                  <a:lnTo>
                    <a:pt x="1256" y="4145"/>
                  </a:lnTo>
                  <a:lnTo>
                    <a:pt x="1256" y="14318"/>
                  </a:lnTo>
                  <a:cubicBezTo>
                    <a:pt x="1256" y="19090"/>
                    <a:pt x="4647" y="20974"/>
                    <a:pt x="8666" y="18588"/>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52" name="Freeform: Shape 5351">
              <a:extLst>
                <a:ext uri="{FF2B5EF4-FFF2-40B4-BE49-F238E27FC236}">
                  <a16:creationId xmlns:a16="http://schemas.microsoft.com/office/drawing/2014/main" id="{307B97C2-FC9F-460C-8B3A-9BE2BCAE4D49}"/>
                </a:ext>
              </a:extLst>
            </p:cNvPr>
            <p:cNvSpPr/>
            <p:nvPr/>
          </p:nvSpPr>
          <p:spPr>
            <a:xfrm>
              <a:off x="9198567" y="2586600"/>
              <a:ext cx="879" cy="9670"/>
            </a:xfrm>
            <a:custGeom>
              <a:avLst/>
              <a:gdLst>
                <a:gd name="connsiteX0" fmla="*/ 0 w 879"/>
                <a:gd name="connsiteY0" fmla="*/ 628 h 9670"/>
                <a:gd name="connsiteX1" fmla="*/ 879 w 879"/>
                <a:gd name="connsiteY1" fmla="*/ 0 h 9670"/>
                <a:gd name="connsiteX2" fmla="*/ 879 w 879"/>
                <a:gd name="connsiteY2" fmla="*/ 9168 h 9670"/>
                <a:gd name="connsiteX3" fmla="*/ 0 w 879"/>
                <a:gd name="connsiteY3" fmla="*/ 9671 h 9670"/>
              </a:gdLst>
              <a:ahLst/>
              <a:cxnLst>
                <a:cxn ang="0">
                  <a:pos x="connsiteX0" y="connsiteY0"/>
                </a:cxn>
                <a:cxn ang="0">
                  <a:pos x="connsiteX1" y="connsiteY1"/>
                </a:cxn>
                <a:cxn ang="0">
                  <a:pos x="connsiteX2" y="connsiteY2"/>
                </a:cxn>
                <a:cxn ang="0">
                  <a:pos x="connsiteX3" y="connsiteY3"/>
                </a:cxn>
              </a:cxnLst>
              <a:rect l="l" t="t" r="r" b="b"/>
              <a:pathLst>
                <a:path w="879" h="9670">
                  <a:moveTo>
                    <a:pt x="0" y="628"/>
                  </a:moveTo>
                  <a:lnTo>
                    <a:pt x="879" y="0"/>
                  </a:lnTo>
                  <a:lnTo>
                    <a:pt x="879" y="9168"/>
                  </a:lnTo>
                  <a:lnTo>
                    <a:pt x="0" y="9671"/>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53" name="Graphic 4">
              <a:extLst>
                <a:ext uri="{FF2B5EF4-FFF2-40B4-BE49-F238E27FC236}">
                  <a16:creationId xmlns:a16="http://schemas.microsoft.com/office/drawing/2014/main" id="{84FB7ED1-A2DF-40A1-A747-5F7CF3F14040}"/>
                </a:ext>
              </a:extLst>
            </p:cNvPr>
            <p:cNvGrpSpPr/>
            <p:nvPr/>
          </p:nvGrpSpPr>
          <p:grpSpPr>
            <a:xfrm>
              <a:off x="9153007" y="2452256"/>
              <a:ext cx="94164" cy="117136"/>
              <a:chOff x="9153007" y="2452256"/>
              <a:chExt cx="94164" cy="117136"/>
            </a:xfrm>
            <a:solidFill>
              <a:schemeClr val="accent1"/>
            </a:solidFill>
          </p:grpSpPr>
          <p:grpSp>
            <p:nvGrpSpPr>
              <p:cNvPr id="5354" name="Graphic 4">
                <a:extLst>
                  <a:ext uri="{FF2B5EF4-FFF2-40B4-BE49-F238E27FC236}">
                    <a16:creationId xmlns:a16="http://schemas.microsoft.com/office/drawing/2014/main" id="{84FB7ED1-A2DF-40A1-A747-5F7CF3F14040}"/>
                  </a:ext>
                </a:extLst>
              </p:cNvPr>
              <p:cNvGrpSpPr/>
              <p:nvPr/>
            </p:nvGrpSpPr>
            <p:grpSpPr>
              <a:xfrm>
                <a:off x="9189490" y="2498363"/>
                <a:ext cx="24917" cy="39072"/>
                <a:chOff x="9189490" y="2498363"/>
                <a:chExt cx="24917" cy="39072"/>
              </a:xfrm>
              <a:solidFill>
                <a:schemeClr val="accent1"/>
              </a:solidFill>
            </p:grpSpPr>
            <p:grpSp>
              <p:nvGrpSpPr>
                <p:cNvPr id="5355" name="Graphic 4">
                  <a:extLst>
                    <a:ext uri="{FF2B5EF4-FFF2-40B4-BE49-F238E27FC236}">
                      <a16:creationId xmlns:a16="http://schemas.microsoft.com/office/drawing/2014/main" id="{84FB7ED1-A2DF-40A1-A747-5F7CF3F14040}"/>
                    </a:ext>
                  </a:extLst>
                </p:cNvPr>
                <p:cNvGrpSpPr/>
                <p:nvPr/>
              </p:nvGrpSpPr>
              <p:grpSpPr>
                <a:xfrm>
                  <a:off x="9200325" y="2525938"/>
                  <a:ext cx="14082" cy="11498"/>
                  <a:chOff x="9200325" y="2525938"/>
                  <a:chExt cx="14082" cy="11498"/>
                </a:xfrm>
                <a:solidFill>
                  <a:schemeClr val="accent1"/>
                </a:solidFill>
              </p:grpSpPr>
              <p:sp>
                <p:nvSpPr>
                  <p:cNvPr id="5356" name="Freeform: Shape 5355">
                    <a:extLst>
                      <a:ext uri="{FF2B5EF4-FFF2-40B4-BE49-F238E27FC236}">
                        <a16:creationId xmlns:a16="http://schemas.microsoft.com/office/drawing/2014/main" id="{4E54E431-1B92-4B20-A8F3-2DFA0858D0FE}"/>
                      </a:ext>
                    </a:extLst>
                  </p:cNvPr>
                  <p:cNvSpPr/>
                  <p:nvPr/>
                </p:nvSpPr>
                <p:spPr>
                  <a:xfrm>
                    <a:off x="9200419" y="2525938"/>
                    <a:ext cx="13989" cy="10522"/>
                  </a:xfrm>
                  <a:custGeom>
                    <a:avLst/>
                    <a:gdLst>
                      <a:gd name="connsiteX0" fmla="*/ 785 w 13989"/>
                      <a:gd name="connsiteY0" fmla="*/ 0 h 10522"/>
                      <a:gd name="connsiteX1" fmla="*/ 7442 w 13989"/>
                      <a:gd name="connsiteY1" fmla="*/ 2261 h 10522"/>
                      <a:gd name="connsiteX2" fmla="*/ 13973 w 13989"/>
                      <a:gd name="connsiteY2" fmla="*/ 5526 h 10522"/>
                      <a:gd name="connsiteX3" fmla="*/ 13973 w 13989"/>
                      <a:gd name="connsiteY3" fmla="*/ 5526 h 10522"/>
                      <a:gd name="connsiteX4" fmla="*/ 12842 w 13989"/>
                      <a:gd name="connsiteY4" fmla="*/ 6782 h 10522"/>
                      <a:gd name="connsiteX5" fmla="*/ 5307 w 13989"/>
                      <a:gd name="connsiteY5" fmla="*/ 10173 h 10522"/>
                      <a:gd name="connsiteX6" fmla="*/ 785 w 13989"/>
                      <a:gd name="connsiteY6" fmla="*/ 9671 h 10522"/>
                      <a:gd name="connsiteX7" fmla="*/ 31 w 13989"/>
                      <a:gd name="connsiteY7" fmla="*/ 8164 h 10522"/>
                      <a:gd name="connsiteX8" fmla="*/ 31 w 13989"/>
                      <a:gd name="connsiteY8" fmla="*/ 8164 h 10522"/>
                      <a:gd name="connsiteX9" fmla="*/ 785 w 13989"/>
                      <a:gd name="connsiteY9" fmla="*/ 0 h 10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89" h="10522">
                        <a:moveTo>
                          <a:pt x="785" y="0"/>
                        </a:moveTo>
                        <a:lnTo>
                          <a:pt x="7442" y="2261"/>
                        </a:lnTo>
                        <a:cubicBezTo>
                          <a:pt x="11586" y="1633"/>
                          <a:pt x="14223" y="3140"/>
                          <a:pt x="13973" y="5526"/>
                        </a:cubicBezTo>
                        <a:lnTo>
                          <a:pt x="13973" y="5526"/>
                        </a:lnTo>
                        <a:cubicBezTo>
                          <a:pt x="13973" y="6029"/>
                          <a:pt x="13596" y="6531"/>
                          <a:pt x="12842" y="6782"/>
                        </a:cubicBezTo>
                        <a:lnTo>
                          <a:pt x="5307" y="10173"/>
                        </a:lnTo>
                        <a:cubicBezTo>
                          <a:pt x="3925" y="10801"/>
                          <a:pt x="1915" y="10550"/>
                          <a:pt x="785" y="9671"/>
                        </a:cubicBezTo>
                        <a:cubicBezTo>
                          <a:pt x="157" y="9168"/>
                          <a:pt x="-94" y="8666"/>
                          <a:pt x="31" y="8164"/>
                        </a:cubicBezTo>
                        <a:lnTo>
                          <a:pt x="31" y="8164"/>
                        </a:lnTo>
                        <a:lnTo>
                          <a:pt x="785"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57" name="Freeform: Shape 5356">
                    <a:extLst>
                      <a:ext uri="{FF2B5EF4-FFF2-40B4-BE49-F238E27FC236}">
                        <a16:creationId xmlns:a16="http://schemas.microsoft.com/office/drawing/2014/main" id="{018995F0-E1C3-41DC-82E1-42B71C263FD8}"/>
                      </a:ext>
                    </a:extLst>
                  </p:cNvPr>
                  <p:cNvSpPr/>
                  <p:nvPr/>
                </p:nvSpPr>
                <p:spPr>
                  <a:xfrm>
                    <a:off x="9200325" y="2531213"/>
                    <a:ext cx="14066" cy="6223"/>
                  </a:xfrm>
                  <a:custGeom>
                    <a:avLst/>
                    <a:gdLst>
                      <a:gd name="connsiteX0" fmla="*/ 1883 w 14066"/>
                      <a:gd name="connsiteY0" fmla="*/ 5903 h 6223"/>
                      <a:gd name="connsiteX1" fmla="*/ 0 w 14066"/>
                      <a:gd name="connsiteY1" fmla="*/ 3517 h 6223"/>
                      <a:gd name="connsiteX2" fmla="*/ 125 w 14066"/>
                      <a:gd name="connsiteY2" fmla="*/ 2010 h 6223"/>
                      <a:gd name="connsiteX3" fmla="*/ 1633 w 14066"/>
                      <a:gd name="connsiteY3" fmla="*/ 2261 h 6223"/>
                      <a:gd name="connsiteX4" fmla="*/ 3265 w 14066"/>
                      <a:gd name="connsiteY4" fmla="*/ 3642 h 6223"/>
                      <a:gd name="connsiteX5" fmla="*/ 6028 w 14066"/>
                      <a:gd name="connsiteY5" fmla="*/ 4145 h 6223"/>
                      <a:gd name="connsiteX6" fmla="*/ 14067 w 14066"/>
                      <a:gd name="connsiteY6" fmla="*/ 0 h 6223"/>
                      <a:gd name="connsiteX7" fmla="*/ 13564 w 14066"/>
                      <a:gd name="connsiteY7" fmla="*/ 1507 h 6223"/>
                      <a:gd name="connsiteX8" fmla="*/ 1883 w 14066"/>
                      <a:gd name="connsiteY8" fmla="*/ 5903 h 6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66" h="6223">
                        <a:moveTo>
                          <a:pt x="1883" y="5903"/>
                        </a:moveTo>
                        <a:cubicBezTo>
                          <a:pt x="1004" y="5275"/>
                          <a:pt x="0" y="4647"/>
                          <a:pt x="0" y="3517"/>
                        </a:cubicBezTo>
                        <a:cubicBezTo>
                          <a:pt x="0" y="3014"/>
                          <a:pt x="0" y="2261"/>
                          <a:pt x="125" y="2010"/>
                        </a:cubicBezTo>
                        <a:cubicBezTo>
                          <a:pt x="502" y="1382"/>
                          <a:pt x="1130" y="2010"/>
                          <a:pt x="1633" y="2261"/>
                        </a:cubicBezTo>
                        <a:cubicBezTo>
                          <a:pt x="2261" y="2638"/>
                          <a:pt x="2637" y="3265"/>
                          <a:pt x="3265" y="3642"/>
                        </a:cubicBezTo>
                        <a:cubicBezTo>
                          <a:pt x="4144" y="4396"/>
                          <a:pt x="4773" y="4647"/>
                          <a:pt x="6028" y="4145"/>
                        </a:cubicBezTo>
                        <a:cubicBezTo>
                          <a:pt x="8540" y="3140"/>
                          <a:pt x="12057" y="1758"/>
                          <a:pt x="14067" y="0"/>
                        </a:cubicBezTo>
                        <a:cubicBezTo>
                          <a:pt x="14067" y="628"/>
                          <a:pt x="14067" y="1130"/>
                          <a:pt x="13564" y="1507"/>
                        </a:cubicBezTo>
                        <a:cubicBezTo>
                          <a:pt x="10675" y="3894"/>
                          <a:pt x="3768" y="7285"/>
                          <a:pt x="1883" y="5903"/>
                        </a:cubicBez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58" name="Freeform: Shape 5357">
                  <a:extLst>
                    <a:ext uri="{FF2B5EF4-FFF2-40B4-BE49-F238E27FC236}">
                      <a16:creationId xmlns:a16="http://schemas.microsoft.com/office/drawing/2014/main" id="{231F4F08-4ECF-4337-BC22-B3900D8057C4}"/>
                    </a:ext>
                  </a:extLst>
                </p:cNvPr>
                <p:cNvSpPr/>
                <p:nvPr/>
              </p:nvSpPr>
              <p:spPr>
                <a:xfrm>
                  <a:off x="9189490" y="2498363"/>
                  <a:ext cx="19625" cy="31216"/>
                </a:xfrm>
                <a:custGeom>
                  <a:avLst/>
                  <a:gdLst>
                    <a:gd name="connsiteX0" fmla="*/ 19626 w 19625"/>
                    <a:gd name="connsiteY0" fmla="*/ 30463 h 31216"/>
                    <a:gd name="connsiteX1" fmla="*/ 18872 w 19625"/>
                    <a:gd name="connsiteY1" fmla="*/ 3586 h 31216"/>
                    <a:gd name="connsiteX2" fmla="*/ 16612 w 19625"/>
                    <a:gd name="connsiteY2" fmla="*/ 446 h 31216"/>
                    <a:gd name="connsiteX3" fmla="*/ 11714 w 19625"/>
                    <a:gd name="connsiteY3" fmla="*/ 572 h 31216"/>
                    <a:gd name="connsiteX4" fmla="*/ 33 w 19625"/>
                    <a:gd name="connsiteY4" fmla="*/ 5219 h 31216"/>
                    <a:gd name="connsiteX5" fmla="*/ 410 w 19625"/>
                    <a:gd name="connsiteY5" fmla="*/ 11247 h 31216"/>
                    <a:gd name="connsiteX6" fmla="*/ 8699 w 19625"/>
                    <a:gd name="connsiteY6" fmla="*/ 13257 h 31216"/>
                    <a:gd name="connsiteX7" fmla="*/ 10960 w 19625"/>
                    <a:gd name="connsiteY7" fmla="*/ 30589 h 31216"/>
                    <a:gd name="connsiteX8" fmla="*/ 15230 w 19625"/>
                    <a:gd name="connsiteY8" fmla="*/ 31217 h 31216"/>
                    <a:gd name="connsiteX9" fmla="*/ 19626 w 19625"/>
                    <a:gd name="connsiteY9" fmla="*/ 30463 h 3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25" h="31216">
                      <a:moveTo>
                        <a:pt x="19626" y="30463"/>
                      </a:moveTo>
                      <a:cubicBezTo>
                        <a:pt x="19626" y="22425"/>
                        <a:pt x="19124" y="4591"/>
                        <a:pt x="18872" y="3586"/>
                      </a:cubicBezTo>
                      <a:cubicBezTo>
                        <a:pt x="18245" y="1828"/>
                        <a:pt x="17617" y="1074"/>
                        <a:pt x="16612" y="446"/>
                      </a:cubicBezTo>
                      <a:cubicBezTo>
                        <a:pt x="15230" y="-433"/>
                        <a:pt x="13346" y="195"/>
                        <a:pt x="11714" y="572"/>
                      </a:cubicBezTo>
                      <a:cubicBezTo>
                        <a:pt x="9704" y="948"/>
                        <a:pt x="410" y="3209"/>
                        <a:pt x="33" y="5219"/>
                      </a:cubicBezTo>
                      <a:cubicBezTo>
                        <a:pt x="-92" y="5721"/>
                        <a:pt x="159" y="8107"/>
                        <a:pt x="410" y="11247"/>
                      </a:cubicBezTo>
                      <a:cubicBezTo>
                        <a:pt x="536" y="12503"/>
                        <a:pt x="8574" y="11875"/>
                        <a:pt x="8699" y="13257"/>
                      </a:cubicBezTo>
                      <a:cubicBezTo>
                        <a:pt x="9578" y="20792"/>
                        <a:pt x="10835" y="29961"/>
                        <a:pt x="10960" y="30589"/>
                      </a:cubicBezTo>
                      <a:cubicBezTo>
                        <a:pt x="11337" y="31719"/>
                        <a:pt x="14100" y="30840"/>
                        <a:pt x="15230" y="31217"/>
                      </a:cubicBezTo>
                      <a:lnTo>
                        <a:pt x="19626" y="30463"/>
                      </a:lnTo>
                      <a:close/>
                    </a:path>
                  </a:pathLst>
                </a:custGeom>
                <a:solidFill>
                  <a:srgbClr val="144D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59" name="Freeform: Shape 5358">
                  <a:extLst>
                    <a:ext uri="{FF2B5EF4-FFF2-40B4-BE49-F238E27FC236}">
                      <a16:creationId xmlns:a16="http://schemas.microsoft.com/office/drawing/2014/main" id="{D3BAC51F-E71E-4189-81E2-BD8107BC1BA0}"/>
                    </a:ext>
                  </a:extLst>
                </p:cNvPr>
                <p:cNvSpPr/>
                <p:nvPr/>
              </p:nvSpPr>
              <p:spPr>
                <a:xfrm>
                  <a:off x="9200512" y="2526229"/>
                  <a:ext cx="8729" cy="5009"/>
                </a:xfrm>
                <a:custGeom>
                  <a:avLst/>
                  <a:gdLst>
                    <a:gd name="connsiteX0" fmla="*/ 64 w 8729"/>
                    <a:gd name="connsiteY0" fmla="*/ 2723 h 5009"/>
                    <a:gd name="connsiteX1" fmla="*/ 817 w 8729"/>
                    <a:gd name="connsiteY1" fmla="*/ 3853 h 5009"/>
                    <a:gd name="connsiteX2" fmla="*/ 1194 w 8729"/>
                    <a:gd name="connsiteY2" fmla="*/ 4105 h 5009"/>
                    <a:gd name="connsiteX3" fmla="*/ 1697 w 8729"/>
                    <a:gd name="connsiteY3" fmla="*/ 4356 h 5009"/>
                    <a:gd name="connsiteX4" fmla="*/ 2199 w 8729"/>
                    <a:gd name="connsiteY4" fmla="*/ 4607 h 5009"/>
                    <a:gd name="connsiteX5" fmla="*/ 7349 w 8729"/>
                    <a:gd name="connsiteY5" fmla="*/ 4356 h 5009"/>
                    <a:gd name="connsiteX6" fmla="*/ 8102 w 8729"/>
                    <a:gd name="connsiteY6" fmla="*/ 3853 h 5009"/>
                    <a:gd name="connsiteX7" fmla="*/ 8730 w 8729"/>
                    <a:gd name="connsiteY7" fmla="*/ 2597 h 5009"/>
                    <a:gd name="connsiteX8" fmla="*/ 8730 w 8729"/>
                    <a:gd name="connsiteY8" fmla="*/ 2597 h 5009"/>
                    <a:gd name="connsiteX9" fmla="*/ 7474 w 8729"/>
                    <a:gd name="connsiteY9" fmla="*/ 839 h 5009"/>
                    <a:gd name="connsiteX10" fmla="*/ 1320 w 8729"/>
                    <a:gd name="connsiteY10" fmla="*/ 588 h 5009"/>
                    <a:gd name="connsiteX11" fmla="*/ 64 w 8729"/>
                    <a:gd name="connsiteY11" fmla="*/ 2723 h 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29" h="5009">
                      <a:moveTo>
                        <a:pt x="64" y="2723"/>
                      </a:moveTo>
                      <a:cubicBezTo>
                        <a:pt x="190" y="3100"/>
                        <a:pt x="441" y="3602"/>
                        <a:pt x="817" y="3853"/>
                      </a:cubicBezTo>
                      <a:cubicBezTo>
                        <a:pt x="943" y="3979"/>
                        <a:pt x="1069" y="3979"/>
                        <a:pt x="1194" y="4105"/>
                      </a:cubicBezTo>
                      <a:cubicBezTo>
                        <a:pt x="1320" y="4230"/>
                        <a:pt x="1446" y="4230"/>
                        <a:pt x="1697" y="4356"/>
                      </a:cubicBezTo>
                      <a:cubicBezTo>
                        <a:pt x="1822" y="4481"/>
                        <a:pt x="2074" y="4481"/>
                        <a:pt x="2199" y="4607"/>
                      </a:cubicBezTo>
                      <a:cubicBezTo>
                        <a:pt x="3832" y="5235"/>
                        <a:pt x="5967" y="5109"/>
                        <a:pt x="7349" y="4356"/>
                      </a:cubicBezTo>
                      <a:cubicBezTo>
                        <a:pt x="7600" y="4230"/>
                        <a:pt x="7851" y="3979"/>
                        <a:pt x="8102" y="3853"/>
                      </a:cubicBezTo>
                      <a:cubicBezTo>
                        <a:pt x="8479" y="3477"/>
                        <a:pt x="8730" y="3100"/>
                        <a:pt x="8730" y="2597"/>
                      </a:cubicBezTo>
                      <a:lnTo>
                        <a:pt x="8730" y="2597"/>
                      </a:lnTo>
                      <a:cubicBezTo>
                        <a:pt x="8730" y="1969"/>
                        <a:pt x="8353" y="1342"/>
                        <a:pt x="7474" y="839"/>
                      </a:cubicBezTo>
                      <a:cubicBezTo>
                        <a:pt x="5841" y="-166"/>
                        <a:pt x="3078" y="-291"/>
                        <a:pt x="1320" y="588"/>
                      </a:cubicBezTo>
                      <a:cubicBezTo>
                        <a:pt x="315" y="1216"/>
                        <a:pt x="-187" y="1969"/>
                        <a:pt x="64" y="2723"/>
                      </a:cubicBezTo>
                      <a:close/>
                    </a:path>
                  </a:pathLst>
                </a:custGeom>
                <a:solidFill>
                  <a:srgbClr val="144D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60" name="Graphic 4">
                <a:extLst>
                  <a:ext uri="{FF2B5EF4-FFF2-40B4-BE49-F238E27FC236}">
                    <a16:creationId xmlns:a16="http://schemas.microsoft.com/office/drawing/2014/main" id="{84FB7ED1-A2DF-40A1-A747-5F7CF3F14040}"/>
                  </a:ext>
                </a:extLst>
              </p:cNvPr>
              <p:cNvGrpSpPr/>
              <p:nvPr/>
            </p:nvGrpSpPr>
            <p:grpSpPr>
              <a:xfrm>
                <a:off x="9200894" y="2477494"/>
                <a:ext cx="46278" cy="47815"/>
                <a:chOff x="9200894" y="2477494"/>
                <a:chExt cx="46278" cy="47815"/>
              </a:xfrm>
              <a:solidFill>
                <a:schemeClr val="accent1"/>
              </a:solidFill>
            </p:grpSpPr>
            <p:sp>
              <p:nvSpPr>
                <p:cNvPr id="5361" name="Freeform: Shape 5360">
                  <a:extLst>
                    <a:ext uri="{FF2B5EF4-FFF2-40B4-BE49-F238E27FC236}">
                      <a16:creationId xmlns:a16="http://schemas.microsoft.com/office/drawing/2014/main" id="{A14F168D-5E35-4ACA-A396-6575ED0E89F8}"/>
                    </a:ext>
                  </a:extLst>
                </p:cNvPr>
                <p:cNvSpPr/>
                <p:nvPr/>
              </p:nvSpPr>
              <p:spPr>
                <a:xfrm>
                  <a:off x="9227893" y="2488842"/>
                  <a:ext cx="19278" cy="36467"/>
                </a:xfrm>
                <a:custGeom>
                  <a:avLst/>
                  <a:gdLst>
                    <a:gd name="connsiteX0" fmla="*/ 19279 w 19278"/>
                    <a:gd name="connsiteY0" fmla="*/ 19261 h 36467"/>
                    <a:gd name="connsiteX1" fmla="*/ 14004 w 19278"/>
                    <a:gd name="connsiteY1" fmla="*/ 3310 h 36467"/>
                    <a:gd name="connsiteX2" fmla="*/ 11868 w 19278"/>
                    <a:gd name="connsiteY2" fmla="*/ 673 h 36467"/>
                    <a:gd name="connsiteX3" fmla="*/ 5338 w 19278"/>
                    <a:gd name="connsiteY3" fmla="*/ 2180 h 36467"/>
                    <a:gd name="connsiteX4" fmla="*/ 1570 w 19278"/>
                    <a:gd name="connsiteY4" fmla="*/ 22275 h 36467"/>
                    <a:gd name="connsiteX5" fmla="*/ 10110 w 19278"/>
                    <a:gd name="connsiteY5" fmla="*/ 36467 h 36467"/>
                    <a:gd name="connsiteX6" fmla="*/ 19279 w 19278"/>
                    <a:gd name="connsiteY6" fmla="*/ 19261 h 3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78" h="36467">
                      <a:moveTo>
                        <a:pt x="19279" y="19261"/>
                      </a:moveTo>
                      <a:lnTo>
                        <a:pt x="14004" y="3310"/>
                      </a:lnTo>
                      <a:cubicBezTo>
                        <a:pt x="13627" y="2054"/>
                        <a:pt x="12873" y="1175"/>
                        <a:pt x="11868" y="673"/>
                      </a:cubicBezTo>
                      <a:cubicBezTo>
                        <a:pt x="9733" y="-583"/>
                        <a:pt x="6845" y="-81"/>
                        <a:pt x="5338" y="2180"/>
                      </a:cubicBezTo>
                      <a:cubicBezTo>
                        <a:pt x="941" y="8962"/>
                        <a:pt x="-1947" y="16247"/>
                        <a:pt x="1570" y="22275"/>
                      </a:cubicBezTo>
                      <a:cubicBezTo>
                        <a:pt x="6593" y="30690"/>
                        <a:pt x="10110" y="36467"/>
                        <a:pt x="10110" y="36467"/>
                      </a:cubicBezTo>
                      <a:lnTo>
                        <a:pt x="19279" y="19261"/>
                      </a:ln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2" name="Freeform: Shape 5361">
                  <a:extLst>
                    <a:ext uri="{FF2B5EF4-FFF2-40B4-BE49-F238E27FC236}">
                      <a16:creationId xmlns:a16="http://schemas.microsoft.com/office/drawing/2014/main" id="{1FD15834-9C25-4932-B103-5CE3040F3827}"/>
                    </a:ext>
                  </a:extLst>
                </p:cNvPr>
                <p:cNvSpPr/>
                <p:nvPr/>
              </p:nvSpPr>
              <p:spPr>
                <a:xfrm>
                  <a:off x="9219918" y="2481307"/>
                  <a:ext cx="19718" cy="9715"/>
                </a:xfrm>
                <a:custGeom>
                  <a:avLst/>
                  <a:gdLst>
                    <a:gd name="connsiteX0" fmla="*/ 6530 w 19718"/>
                    <a:gd name="connsiteY0" fmla="*/ 673 h 9715"/>
                    <a:gd name="connsiteX1" fmla="*/ 0 w 19718"/>
                    <a:gd name="connsiteY1" fmla="*/ 2180 h 9715"/>
                    <a:gd name="connsiteX2" fmla="*/ 13187 w 19718"/>
                    <a:gd name="connsiteY2" fmla="*/ 9716 h 9715"/>
                    <a:gd name="connsiteX3" fmla="*/ 19718 w 19718"/>
                    <a:gd name="connsiteY3" fmla="*/ 8208 h 9715"/>
                    <a:gd name="connsiteX4" fmla="*/ 6530 w 19718"/>
                    <a:gd name="connsiteY4" fmla="*/ 673 h 9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8" h="9715">
                      <a:moveTo>
                        <a:pt x="6530" y="673"/>
                      </a:moveTo>
                      <a:cubicBezTo>
                        <a:pt x="4396" y="-583"/>
                        <a:pt x="1507" y="-81"/>
                        <a:pt x="0" y="2180"/>
                      </a:cubicBezTo>
                      <a:lnTo>
                        <a:pt x="13187" y="9716"/>
                      </a:lnTo>
                      <a:cubicBezTo>
                        <a:pt x="14694" y="7329"/>
                        <a:pt x="17583" y="6953"/>
                        <a:pt x="19718" y="8208"/>
                      </a:cubicBezTo>
                      <a:cubicBezTo>
                        <a:pt x="19718" y="8208"/>
                        <a:pt x="7535" y="1175"/>
                        <a:pt x="6530" y="673"/>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3" name="Freeform: Shape 5362">
                  <a:extLst>
                    <a:ext uri="{FF2B5EF4-FFF2-40B4-BE49-F238E27FC236}">
                      <a16:creationId xmlns:a16="http://schemas.microsoft.com/office/drawing/2014/main" id="{72166271-F8CA-4E81-91E5-FAF81CAD1C95}"/>
                    </a:ext>
                  </a:extLst>
                </p:cNvPr>
                <p:cNvSpPr/>
                <p:nvPr/>
              </p:nvSpPr>
              <p:spPr>
                <a:xfrm>
                  <a:off x="9214580" y="2483487"/>
                  <a:ext cx="23297" cy="41823"/>
                </a:xfrm>
                <a:custGeom>
                  <a:avLst/>
                  <a:gdLst>
                    <a:gd name="connsiteX0" fmla="*/ 14758 w 23297"/>
                    <a:gd name="connsiteY0" fmla="*/ 27631 h 41823"/>
                    <a:gd name="connsiteX1" fmla="*/ 18525 w 23297"/>
                    <a:gd name="connsiteY1" fmla="*/ 7536 h 41823"/>
                    <a:gd name="connsiteX2" fmla="*/ 5338 w 23297"/>
                    <a:gd name="connsiteY2" fmla="*/ 0 h 41823"/>
                    <a:gd name="connsiteX3" fmla="*/ 1570 w 23297"/>
                    <a:gd name="connsiteY3" fmla="*/ 20095 h 41823"/>
                    <a:gd name="connsiteX4" fmla="*/ 10111 w 23297"/>
                    <a:gd name="connsiteY4" fmla="*/ 34287 h 41823"/>
                    <a:gd name="connsiteX5" fmla="*/ 23298 w 23297"/>
                    <a:gd name="connsiteY5" fmla="*/ 41823 h 41823"/>
                    <a:gd name="connsiteX6" fmla="*/ 14758 w 23297"/>
                    <a:gd name="connsiteY6" fmla="*/ 27631 h 4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97" h="41823">
                      <a:moveTo>
                        <a:pt x="14758" y="27631"/>
                      </a:moveTo>
                      <a:cubicBezTo>
                        <a:pt x="11241" y="21602"/>
                        <a:pt x="14129" y="14318"/>
                        <a:pt x="18525" y="7536"/>
                      </a:cubicBezTo>
                      <a:lnTo>
                        <a:pt x="5338" y="0"/>
                      </a:lnTo>
                      <a:cubicBezTo>
                        <a:pt x="942" y="6782"/>
                        <a:pt x="-1947" y="14067"/>
                        <a:pt x="1570" y="20095"/>
                      </a:cubicBezTo>
                      <a:cubicBezTo>
                        <a:pt x="6594" y="28510"/>
                        <a:pt x="10111" y="34287"/>
                        <a:pt x="10111" y="34287"/>
                      </a:cubicBezTo>
                      <a:lnTo>
                        <a:pt x="23298" y="41823"/>
                      </a:lnTo>
                      <a:cubicBezTo>
                        <a:pt x="23298" y="41823"/>
                        <a:pt x="19781" y="36046"/>
                        <a:pt x="14758" y="27631"/>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64" name="Graphic 4">
                  <a:extLst>
                    <a:ext uri="{FF2B5EF4-FFF2-40B4-BE49-F238E27FC236}">
                      <a16:creationId xmlns:a16="http://schemas.microsoft.com/office/drawing/2014/main" id="{84FB7ED1-A2DF-40A1-A747-5F7CF3F14040}"/>
                    </a:ext>
                  </a:extLst>
                </p:cNvPr>
                <p:cNvGrpSpPr/>
                <p:nvPr/>
              </p:nvGrpSpPr>
              <p:grpSpPr>
                <a:xfrm>
                  <a:off x="9211252" y="2487757"/>
                  <a:ext cx="16075" cy="19467"/>
                  <a:chOff x="9211252" y="2487757"/>
                  <a:chExt cx="16075" cy="19467"/>
                </a:xfrm>
                <a:solidFill>
                  <a:schemeClr val="accent1"/>
                </a:solidFill>
              </p:grpSpPr>
              <p:sp>
                <p:nvSpPr>
                  <p:cNvPr id="5365" name="Freeform: Shape 5364">
                    <a:extLst>
                      <a:ext uri="{FF2B5EF4-FFF2-40B4-BE49-F238E27FC236}">
                        <a16:creationId xmlns:a16="http://schemas.microsoft.com/office/drawing/2014/main" id="{729916AF-C3D4-4722-A4D7-7D47B7CF090F}"/>
                      </a:ext>
                    </a:extLst>
                  </p:cNvPr>
                  <p:cNvSpPr/>
                  <p:nvPr/>
                </p:nvSpPr>
                <p:spPr>
                  <a:xfrm>
                    <a:off x="9211252" y="2498558"/>
                    <a:ext cx="13940" cy="8666"/>
                  </a:xfrm>
                  <a:custGeom>
                    <a:avLst/>
                    <a:gdLst>
                      <a:gd name="connsiteX0" fmla="*/ 6530 w 13940"/>
                      <a:gd name="connsiteY0" fmla="*/ 3768 h 8666"/>
                      <a:gd name="connsiteX1" fmla="*/ 0 w 13940"/>
                      <a:gd name="connsiteY1" fmla="*/ 0 h 8666"/>
                      <a:gd name="connsiteX2" fmla="*/ 7284 w 13940"/>
                      <a:gd name="connsiteY2" fmla="*/ 4898 h 8666"/>
                      <a:gd name="connsiteX3" fmla="*/ 13941 w 13940"/>
                      <a:gd name="connsiteY3" fmla="*/ 8666 h 8666"/>
                    </a:gdLst>
                    <a:ahLst/>
                    <a:cxnLst>
                      <a:cxn ang="0">
                        <a:pos x="connsiteX0" y="connsiteY0"/>
                      </a:cxn>
                      <a:cxn ang="0">
                        <a:pos x="connsiteX1" y="connsiteY1"/>
                      </a:cxn>
                      <a:cxn ang="0">
                        <a:pos x="connsiteX2" y="connsiteY2"/>
                      </a:cxn>
                      <a:cxn ang="0">
                        <a:pos x="connsiteX3" y="connsiteY3"/>
                      </a:cxn>
                    </a:cxnLst>
                    <a:rect l="l" t="t" r="r" b="b"/>
                    <a:pathLst>
                      <a:path w="13940" h="8666">
                        <a:moveTo>
                          <a:pt x="6530" y="3768"/>
                        </a:moveTo>
                        <a:lnTo>
                          <a:pt x="0" y="0"/>
                        </a:lnTo>
                        <a:lnTo>
                          <a:pt x="7284" y="4898"/>
                        </a:lnTo>
                        <a:lnTo>
                          <a:pt x="13941" y="866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6" name="Freeform: Shape 5365">
                    <a:extLst>
                      <a:ext uri="{FF2B5EF4-FFF2-40B4-BE49-F238E27FC236}">
                        <a16:creationId xmlns:a16="http://schemas.microsoft.com/office/drawing/2014/main" id="{0C0FC424-DC56-4253-848D-CAE1211BCFAF}"/>
                      </a:ext>
                    </a:extLst>
                  </p:cNvPr>
                  <p:cNvSpPr/>
                  <p:nvPr/>
                </p:nvSpPr>
                <p:spPr>
                  <a:xfrm>
                    <a:off x="9211252" y="2487757"/>
                    <a:ext cx="13187" cy="14569"/>
                  </a:xfrm>
                  <a:custGeom>
                    <a:avLst/>
                    <a:gdLst>
                      <a:gd name="connsiteX0" fmla="*/ 6530 w 13187"/>
                      <a:gd name="connsiteY0" fmla="*/ 0 h 14569"/>
                      <a:gd name="connsiteX1" fmla="*/ 0 w 13187"/>
                      <a:gd name="connsiteY1" fmla="*/ 10801 h 14569"/>
                      <a:gd name="connsiteX2" fmla="*/ 6530 w 13187"/>
                      <a:gd name="connsiteY2" fmla="*/ 14569 h 14569"/>
                      <a:gd name="connsiteX3" fmla="*/ 13187 w 13187"/>
                      <a:gd name="connsiteY3" fmla="*/ 3768 h 14569"/>
                    </a:gdLst>
                    <a:ahLst/>
                    <a:cxnLst>
                      <a:cxn ang="0">
                        <a:pos x="connsiteX0" y="connsiteY0"/>
                      </a:cxn>
                      <a:cxn ang="0">
                        <a:pos x="connsiteX1" y="connsiteY1"/>
                      </a:cxn>
                      <a:cxn ang="0">
                        <a:pos x="connsiteX2" y="connsiteY2"/>
                      </a:cxn>
                      <a:cxn ang="0">
                        <a:pos x="connsiteX3" y="connsiteY3"/>
                      </a:cxn>
                    </a:cxnLst>
                    <a:rect l="l" t="t" r="r" b="b"/>
                    <a:pathLst>
                      <a:path w="13187" h="14569">
                        <a:moveTo>
                          <a:pt x="6530" y="0"/>
                        </a:moveTo>
                        <a:lnTo>
                          <a:pt x="0" y="10801"/>
                        </a:lnTo>
                        <a:lnTo>
                          <a:pt x="6530" y="14569"/>
                        </a:lnTo>
                        <a:lnTo>
                          <a:pt x="13187" y="3768"/>
                        </a:lnTo>
                        <a:close/>
                      </a:path>
                    </a:pathLst>
                  </a:custGeom>
                  <a:solidFill>
                    <a:srgbClr val="3B363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7" name="Freeform: Shape 5366">
                    <a:extLst>
                      <a:ext uri="{FF2B5EF4-FFF2-40B4-BE49-F238E27FC236}">
                        <a16:creationId xmlns:a16="http://schemas.microsoft.com/office/drawing/2014/main" id="{8C899A62-A4E5-45DE-A0BC-A20CEE674526}"/>
                      </a:ext>
                    </a:extLst>
                  </p:cNvPr>
                  <p:cNvSpPr/>
                  <p:nvPr/>
                </p:nvSpPr>
                <p:spPr>
                  <a:xfrm>
                    <a:off x="9217782" y="2491525"/>
                    <a:ext cx="9545" cy="15699"/>
                  </a:xfrm>
                  <a:custGeom>
                    <a:avLst/>
                    <a:gdLst>
                      <a:gd name="connsiteX0" fmla="*/ 9545 w 9545"/>
                      <a:gd name="connsiteY0" fmla="*/ 2009 h 15699"/>
                      <a:gd name="connsiteX1" fmla="*/ 6531 w 9545"/>
                      <a:gd name="connsiteY1" fmla="*/ 0 h 15699"/>
                      <a:gd name="connsiteX2" fmla="*/ 0 w 9545"/>
                      <a:gd name="connsiteY2" fmla="*/ 10801 h 15699"/>
                      <a:gd name="connsiteX3" fmla="*/ 7285 w 9545"/>
                      <a:gd name="connsiteY3" fmla="*/ 15699 h 15699"/>
                      <a:gd name="connsiteX4" fmla="*/ 9545 w 9545"/>
                      <a:gd name="connsiteY4" fmla="*/ 2009 h 15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45" h="15699">
                        <a:moveTo>
                          <a:pt x="9545" y="2009"/>
                        </a:moveTo>
                        <a:lnTo>
                          <a:pt x="6531" y="0"/>
                        </a:lnTo>
                        <a:lnTo>
                          <a:pt x="0" y="10801"/>
                        </a:lnTo>
                        <a:lnTo>
                          <a:pt x="7285" y="15699"/>
                        </a:lnTo>
                        <a:cubicBezTo>
                          <a:pt x="5903" y="11429"/>
                          <a:pt x="7159" y="6657"/>
                          <a:pt x="9545" y="2009"/>
                        </a:cubicBez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68" name="Graphic 4">
                  <a:extLst>
                    <a:ext uri="{FF2B5EF4-FFF2-40B4-BE49-F238E27FC236}">
                      <a16:creationId xmlns:a16="http://schemas.microsoft.com/office/drawing/2014/main" id="{84FB7ED1-A2DF-40A1-A747-5F7CF3F14040}"/>
                    </a:ext>
                  </a:extLst>
                </p:cNvPr>
                <p:cNvGrpSpPr/>
                <p:nvPr/>
              </p:nvGrpSpPr>
              <p:grpSpPr>
                <a:xfrm>
                  <a:off x="9211503" y="2489892"/>
                  <a:ext cx="9043" cy="7912"/>
                  <a:chOff x="9211503" y="2489892"/>
                  <a:chExt cx="9043" cy="7912"/>
                </a:xfrm>
                <a:solidFill>
                  <a:schemeClr val="accent1"/>
                </a:solidFill>
              </p:grpSpPr>
              <p:sp>
                <p:nvSpPr>
                  <p:cNvPr id="5369" name="Freeform: Shape 5368">
                    <a:extLst>
                      <a:ext uri="{FF2B5EF4-FFF2-40B4-BE49-F238E27FC236}">
                        <a16:creationId xmlns:a16="http://schemas.microsoft.com/office/drawing/2014/main" id="{53AA7632-FB3C-43A9-9F54-CB6C8AEA73D1}"/>
                      </a:ext>
                    </a:extLst>
                  </p:cNvPr>
                  <p:cNvSpPr/>
                  <p:nvPr/>
                </p:nvSpPr>
                <p:spPr>
                  <a:xfrm>
                    <a:off x="9211503" y="2489892"/>
                    <a:ext cx="6908" cy="7912"/>
                  </a:xfrm>
                  <a:custGeom>
                    <a:avLst/>
                    <a:gdLst>
                      <a:gd name="connsiteX0" fmla="*/ 0 w 6908"/>
                      <a:gd name="connsiteY0" fmla="*/ 3642 h 7912"/>
                      <a:gd name="connsiteX1" fmla="*/ 2136 w 6908"/>
                      <a:gd name="connsiteY1" fmla="*/ 0 h 7912"/>
                      <a:gd name="connsiteX2" fmla="*/ 5526 w 6908"/>
                      <a:gd name="connsiteY2" fmla="*/ 1884 h 7912"/>
                      <a:gd name="connsiteX3" fmla="*/ 3266 w 6908"/>
                      <a:gd name="connsiteY3" fmla="*/ 5526 h 7912"/>
                      <a:gd name="connsiteX4" fmla="*/ 6908 w 6908"/>
                      <a:gd name="connsiteY4" fmla="*/ 7912 h 7912"/>
                      <a:gd name="connsiteX5" fmla="*/ 3517 w 6908"/>
                      <a:gd name="connsiteY5" fmla="*/ 6028 h 7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08" h="7912">
                        <a:moveTo>
                          <a:pt x="0" y="3642"/>
                        </a:moveTo>
                        <a:lnTo>
                          <a:pt x="2136" y="0"/>
                        </a:lnTo>
                        <a:lnTo>
                          <a:pt x="5526" y="1884"/>
                        </a:lnTo>
                        <a:lnTo>
                          <a:pt x="3266" y="5526"/>
                        </a:lnTo>
                        <a:lnTo>
                          <a:pt x="6908" y="7912"/>
                        </a:lnTo>
                        <a:lnTo>
                          <a:pt x="3517" y="602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0" name="Freeform: Shape 5369">
                    <a:extLst>
                      <a:ext uri="{FF2B5EF4-FFF2-40B4-BE49-F238E27FC236}">
                        <a16:creationId xmlns:a16="http://schemas.microsoft.com/office/drawing/2014/main" id="{7D99062C-E893-4896-A24B-8D2B058E1D3B}"/>
                      </a:ext>
                    </a:extLst>
                  </p:cNvPr>
                  <p:cNvSpPr/>
                  <p:nvPr/>
                </p:nvSpPr>
                <p:spPr>
                  <a:xfrm>
                    <a:off x="9214768" y="2491776"/>
                    <a:ext cx="5777" cy="6028"/>
                  </a:xfrm>
                  <a:custGeom>
                    <a:avLst/>
                    <a:gdLst>
                      <a:gd name="connsiteX0" fmla="*/ 0 w 5777"/>
                      <a:gd name="connsiteY0" fmla="*/ 3642 h 6028"/>
                      <a:gd name="connsiteX1" fmla="*/ 2261 w 5777"/>
                      <a:gd name="connsiteY1" fmla="*/ 0 h 6028"/>
                      <a:gd name="connsiteX2" fmla="*/ 5778 w 5777"/>
                      <a:gd name="connsiteY2" fmla="*/ 2386 h 6028"/>
                      <a:gd name="connsiteX3" fmla="*/ 3643 w 5777"/>
                      <a:gd name="connsiteY3" fmla="*/ 6029 h 6028"/>
                    </a:gdLst>
                    <a:ahLst/>
                    <a:cxnLst>
                      <a:cxn ang="0">
                        <a:pos x="connsiteX0" y="connsiteY0"/>
                      </a:cxn>
                      <a:cxn ang="0">
                        <a:pos x="connsiteX1" y="connsiteY1"/>
                      </a:cxn>
                      <a:cxn ang="0">
                        <a:pos x="connsiteX2" y="connsiteY2"/>
                      </a:cxn>
                      <a:cxn ang="0">
                        <a:pos x="connsiteX3" y="connsiteY3"/>
                      </a:cxn>
                    </a:cxnLst>
                    <a:rect l="l" t="t" r="r" b="b"/>
                    <a:pathLst>
                      <a:path w="5777" h="6028">
                        <a:moveTo>
                          <a:pt x="0" y="3642"/>
                        </a:moveTo>
                        <a:lnTo>
                          <a:pt x="2261" y="0"/>
                        </a:lnTo>
                        <a:lnTo>
                          <a:pt x="5778" y="2386"/>
                        </a:lnTo>
                        <a:lnTo>
                          <a:pt x="3643" y="6029"/>
                        </a:ln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71" name="Graphic 4">
                  <a:extLst>
                    <a:ext uri="{FF2B5EF4-FFF2-40B4-BE49-F238E27FC236}">
                      <a16:creationId xmlns:a16="http://schemas.microsoft.com/office/drawing/2014/main" id="{84FB7ED1-A2DF-40A1-A747-5F7CF3F14040}"/>
                    </a:ext>
                  </a:extLst>
                </p:cNvPr>
                <p:cNvGrpSpPr/>
                <p:nvPr/>
              </p:nvGrpSpPr>
              <p:grpSpPr>
                <a:xfrm>
                  <a:off x="9200894" y="2477494"/>
                  <a:ext cx="26761" cy="28311"/>
                  <a:chOff x="9200894" y="2477494"/>
                  <a:chExt cx="26761" cy="28311"/>
                </a:xfrm>
                <a:solidFill>
                  <a:schemeClr val="accent1"/>
                </a:solidFill>
              </p:grpSpPr>
              <p:sp>
                <p:nvSpPr>
                  <p:cNvPr id="5372" name="Freeform: Shape 5371">
                    <a:extLst>
                      <a:ext uri="{FF2B5EF4-FFF2-40B4-BE49-F238E27FC236}">
                        <a16:creationId xmlns:a16="http://schemas.microsoft.com/office/drawing/2014/main" id="{8B5CABE4-75B9-4617-A559-D65C12634531}"/>
                      </a:ext>
                    </a:extLst>
                  </p:cNvPr>
                  <p:cNvSpPr/>
                  <p:nvPr/>
                </p:nvSpPr>
                <p:spPr>
                  <a:xfrm>
                    <a:off x="9205474" y="2487129"/>
                    <a:ext cx="6531" cy="3893"/>
                  </a:xfrm>
                  <a:custGeom>
                    <a:avLst/>
                    <a:gdLst>
                      <a:gd name="connsiteX0" fmla="*/ 5150 w 6531"/>
                      <a:gd name="connsiteY0" fmla="*/ 3014 h 3893"/>
                      <a:gd name="connsiteX1" fmla="*/ 6531 w 6531"/>
                      <a:gd name="connsiteY1" fmla="*/ 3893 h 3893"/>
                      <a:gd name="connsiteX2" fmla="*/ 1256 w 6531"/>
                      <a:gd name="connsiteY2" fmla="*/ 879 h 3893"/>
                      <a:gd name="connsiteX3" fmla="*/ 0 w 6531"/>
                      <a:gd name="connsiteY3" fmla="*/ 0 h 3893"/>
                    </a:gdLst>
                    <a:ahLst/>
                    <a:cxnLst>
                      <a:cxn ang="0">
                        <a:pos x="connsiteX0" y="connsiteY0"/>
                      </a:cxn>
                      <a:cxn ang="0">
                        <a:pos x="connsiteX1" y="connsiteY1"/>
                      </a:cxn>
                      <a:cxn ang="0">
                        <a:pos x="connsiteX2" y="connsiteY2"/>
                      </a:cxn>
                      <a:cxn ang="0">
                        <a:pos x="connsiteX3" y="connsiteY3"/>
                      </a:cxn>
                    </a:cxnLst>
                    <a:rect l="l" t="t" r="r" b="b"/>
                    <a:pathLst>
                      <a:path w="6531" h="3893">
                        <a:moveTo>
                          <a:pt x="5150" y="3014"/>
                        </a:moveTo>
                        <a:lnTo>
                          <a:pt x="6531" y="3893"/>
                        </a:lnTo>
                        <a:lnTo>
                          <a:pt x="1256" y="879"/>
                        </a:lnTo>
                        <a:lnTo>
                          <a:pt x="0" y="0"/>
                        </a:ln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3" name="Freeform: Shape 5372">
                    <a:extLst>
                      <a:ext uri="{FF2B5EF4-FFF2-40B4-BE49-F238E27FC236}">
                        <a16:creationId xmlns:a16="http://schemas.microsoft.com/office/drawing/2014/main" id="{2885D32C-CE7B-4445-8207-49FF727C2741}"/>
                      </a:ext>
                    </a:extLst>
                  </p:cNvPr>
                  <p:cNvSpPr/>
                  <p:nvPr/>
                </p:nvSpPr>
                <p:spPr>
                  <a:xfrm>
                    <a:off x="9203866" y="2487254"/>
                    <a:ext cx="4999" cy="14192"/>
                  </a:xfrm>
                  <a:custGeom>
                    <a:avLst/>
                    <a:gdLst>
                      <a:gd name="connsiteX0" fmla="*/ 2864 w 4999"/>
                      <a:gd name="connsiteY0" fmla="*/ 879 h 14192"/>
                      <a:gd name="connsiteX1" fmla="*/ 2864 w 4999"/>
                      <a:gd name="connsiteY1" fmla="*/ 879 h 14192"/>
                      <a:gd name="connsiteX2" fmla="*/ 1608 w 4999"/>
                      <a:gd name="connsiteY2" fmla="*/ 0 h 14192"/>
                      <a:gd name="connsiteX3" fmla="*/ 1608 w 4999"/>
                      <a:gd name="connsiteY3" fmla="*/ 0 h 14192"/>
                      <a:gd name="connsiteX4" fmla="*/ 1608 w 4999"/>
                      <a:gd name="connsiteY4" fmla="*/ 0 h 14192"/>
                      <a:gd name="connsiteX5" fmla="*/ 3618 w 4999"/>
                      <a:gd name="connsiteY5" fmla="*/ 13313 h 14192"/>
                      <a:gd name="connsiteX6" fmla="*/ 4999 w 4999"/>
                      <a:gd name="connsiteY6" fmla="*/ 14192 h 14192"/>
                      <a:gd name="connsiteX7" fmla="*/ 2864 w 4999"/>
                      <a:gd name="connsiteY7" fmla="*/ 879 h 1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9" h="14192">
                        <a:moveTo>
                          <a:pt x="2864" y="879"/>
                        </a:moveTo>
                        <a:lnTo>
                          <a:pt x="2864" y="879"/>
                        </a:lnTo>
                        <a:lnTo>
                          <a:pt x="1608" y="0"/>
                        </a:lnTo>
                        <a:lnTo>
                          <a:pt x="1608" y="0"/>
                        </a:lnTo>
                        <a:lnTo>
                          <a:pt x="1608" y="0"/>
                        </a:lnTo>
                        <a:cubicBezTo>
                          <a:pt x="-1155" y="4898"/>
                          <a:pt x="-276" y="10676"/>
                          <a:pt x="3618" y="13313"/>
                        </a:cubicBezTo>
                        <a:lnTo>
                          <a:pt x="4999" y="14192"/>
                        </a:lnTo>
                        <a:cubicBezTo>
                          <a:pt x="980" y="11555"/>
                          <a:pt x="101" y="5777"/>
                          <a:pt x="2864" y="879"/>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4" name="Freeform: Shape 5373">
                    <a:extLst>
                      <a:ext uri="{FF2B5EF4-FFF2-40B4-BE49-F238E27FC236}">
                        <a16:creationId xmlns:a16="http://schemas.microsoft.com/office/drawing/2014/main" id="{43E88998-D219-4FAB-B8F5-B6A6B9E23DC0}"/>
                      </a:ext>
                    </a:extLst>
                  </p:cNvPr>
                  <p:cNvSpPr/>
                  <p:nvPr/>
                </p:nvSpPr>
                <p:spPr>
                  <a:xfrm>
                    <a:off x="9208112" y="2480808"/>
                    <a:ext cx="12935" cy="3808"/>
                  </a:xfrm>
                  <a:custGeom>
                    <a:avLst/>
                    <a:gdLst>
                      <a:gd name="connsiteX0" fmla="*/ 0 w 12935"/>
                      <a:gd name="connsiteY0" fmla="*/ 3055 h 3808"/>
                      <a:gd name="connsiteX1" fmla="*/ 11177 w 12935"/>
                      <a:gd name="connsiteY1" fmla="*/ 1045 h 3808"/>
                      <a:gd name="connsiteX2" fmla="*/ 11555 w 12935"/>
                      <a:gd name="connsiteY2" fmla="*/ 1297 h 3808"/>
                      <a:gd name="connsiteX3" fmla="*/ 12936 w 12935"/>
                      <a:gd name="connsiteY3" fmla="*/ 2176 h 3808"/>
                      <a:gd name="connsiteX4" fmla="*/ 12559 w 12935"/>
                      <a:gd name="connsiteY4" fmla="*/ 1925 h 3808"/>
                      <a:gd name="connsiteX5" fmla="*/ 1507 w 12935"/>
                      <a:gd name="connsiteY5" fmla="*/ 3809 h 3808"/>
                      <a:gd name="connsiteX6" fmla="*/ 0 w 12935"/>
                      <a:gd name="connsiteY6" fmla="*/ 3055 h 3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35" h="3808">
                        <a:moveTo>
                          <a:pt x="0" y="3055"/>
                        </a:moveTo>
                        <a:cubicBezTo>
                          <a:pt x="3266" y="41"/>
                          <a:pt x="7787" y="-964"/>
                          <a:pt x="11177" y="1045"/>
                        </a:cubicBezTo>
                        <a:cubicBezTo>
                          <a:pt x="11303" y="1171"/>
                          <a:pt x="11429" y="1171"/>
                          <a:pt x="11555" y="1297"/>
                        </a:cubicBezTo>
                        <a:lnTo>
                          <a:pt x="12936" y="2176"/>
                        </a:lnTo>
                        <a:cubicBezTo>
                          <a:pt x="12810" y="2050"/>
                          <a:pt x="12685" y="2050"/>
                          <a:pt x="12559" y="1925"/>
                        </a:cubicBezTo>
                        <a:cubicBezTo>
                          <a:pt x="9168" y="41"/>
                          <a:pt x="4773" y="920"/>
                          <a:pt x="1507" y="3809"/>
                        </a:cubicBezTo>
                        <a:lnTo>
                          <a:pt x="0" y="3055"/>
                        </a:ln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5" name="Freeform: Shape 5374">
                    <a:extLst>
                      <a:ext uri="{FF2B5EF4-FFF2-40B4-BE49-F238E27FC236}">
                        <a16:creationId xmlns:a16="http://schemas.microsoft.com/office/drawing/2014/main" id="{905E4365-CD75-4894-B966-3836E06FBCC5}"/>
                      </a:ext>
                    </a:extLst>
                  </p:cNvPr>
                  <p:cNvSpPr/>
                  <p:nvPr/>
                </p:nvSpPr>
                <p:spPr>
                  <a:xfrm>
                    <a:off x="9211378" y="2493283"/>
                    <a:ext cx="5776" cy="2481"/>
                  </a:xfrm>
                  <a:custGeom>
                    <a:avLst/>
                    <a:gdLst>
                      <a:gd name="connsiteX0" fmla="*/ 1381 w 5776"/>
                      <a:gd name="connsiteY0" fmla="*/ 2010 h 2481"/>
                      <a:gd name="connsiteX1" fmla="*/ 0 w 5776"/>
                      <a:gd name="connsiteY1" fmla="*/ 1130 h 2481"/>
                      <a:gd name="connsiteX2" fmla="*/ 125 w 5776"/>
                      <a:gd name="connsiteY2" fmla="*/ 1256 h 2481"/>
                      <a:gd name="connsiteX3" fmla="*/ 4396 w 5776"/>
                      <a:gd name="connsiteY3" fmla="*/ 0 h 2481"/>
                      <a:gd name="connsiteX4" fmla="*/ 5777 w 5776"/>
                      <a:gd name="connsiteY4" fmla="*/ 879 h 2481"/>
                      <a:gd name="connsiteX5" fmla="*/ 1507 w 5776"/>
                      <a:gd name="connsiteY5" fmla="*/ 2135 h 2481"/>
                      <a:gd name="connsiteX6" fmla="*/ 1381 w 5776"/>
                      <a:gd name="connsiteY6" fmla="*/ 2010 h 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6" h="2481">
                        <a:moveTo>
                          <a:pt x="1381" y="2010"/>
                        </a:moveTo>
                        <a:lnTo>
                          <a:pt x="0" y="1130"/>
                        </a:lnTo>
                        <a:cubicBezTo>
                          <a:pt x="0" y="1130"/>
                          <a:pt x="125" y="1130"/>
                          <a:pt x="125" y="1256"/>
                        </a:cubicBezTo>
                        <a:cubicBezTo>
                          <a:pt x="1507" y="2010"/>
                          <a:pt x="3265" y="1507"/>
                          <a:pt x="4396" y="0"/>
                        </a:cubicBezTo>
                        <a:lnTo>
                          <a:pt x="5777" y="879"/>
                        </a:lnTo>
                        <a:cubicBezTo>
                          <a:pt x="4647" y="2386"/>
                          <a:pt x="2888" y="2889"/>
                          <a:pt x="1507" y="2135"/>
                        </a:cubicBezTo>
                        <a:cubicBezTo>
                          <a:pt x="1507" y="2010"/>
                          <a:pt x="1507" y="2010"/>
                          <a:pt x="1381" y="2010"/>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6" name="Freeform: Shape 5375">
                    <a:extLst>
                      <a:ext uri="{FF2B5EF4-FFF2-40B4-BE49-F238E27FC236}">
                        <a16:creationId xmlns:a16="http://schemas.microsoft.com/office/drawing/2014/main" id="{53B6A277-4F4F-4079-B375-51EB08C97B34}"/>
                      </a:ext>
                    </a:extLst>
                  </p:cNvPr>
                  <p:cNvSpPr/>
                  <p:nvPr/>
                </p:nvSpPr>
                <p:spPr>
                  <a:xfrm>
                    <a:off x="9215899" y="2493157"/>
                    <a:ext cx="6530" cy="3893"/>
                  </a:xfrm>
                  <a:custGeom>
                    <a:avLst/>
                    <a:gdLst>
                      <a:gd name="connsiteX0" fmla="*/ 5149 w 6530"/>
                      <a:gd name="connsiteY0" fmla="*/ 3014 h 3893"/>
                      <a:gd name="connsiteX1" fmla="*/ 6530 w 6530"/>
                      <a:gd name="connsiteY1" fmla="*/ 3894 h 3893"/>
                      <a:gd name="connsiteX2" fmla="*/ 1256 w 6530"/>
                      <a:gd name="connsiteY2" fmla="*/ 879 h 3893"/>
                      <a:gd name="connsiteX3" fmla="*/ 0 w 6530"/>
                      <a:gd name="connsiteY3" fmla="*/ 0 h 3893"/>
                    </a:gdLst>
                    <a:ahLst/>
                    <a:cxnLst>
                      <a:cxn ang="0">
                        <a:pos x="connsiteX0" y="connsiteY0"/>
                      </a:cxn>
                      <a:cxn ang="0">
                        <a:pos x="connsiteX1" y="connsiteY1"/>
                      </a:cxn>
                      <a:cxn ang="0">
                        <a:pos x="connsiteX2" y="connsiteY2"/>
                      </a:cxn>
                      <a:cxn ang="0">
                        <a:pos x="connsiteX3" y="connsiteY3"/>
                      </a:cxn>
                    </a:cxnLst>
                    <a:rect l="l" t="t" r="r" b="b"/>
                    <a:pathLst>
                      <a:path w="6530" h="3893">
                        <a:moveTo>
                          <a:pt x="5149" y="3014"/>
                        </a:moveTo>
                        <a:lnTo>
                          <a:pt x="6530" y="3894"/>
                        </a:lnTo>
                        <a:lnTo>
                          <a:pt x="1256" y="879"/>
                        </a:lnTo>
                        <a:lnTo>
                          <a:pt x="0" y="0"/>
                        </a:ln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7" name="Freeform: Shape 5376">
                    <a:extLst>
                      <a:ext uri="{FF2B5EF4-FFF2-40B4-BE49-F238E27FC236}">
                        <a16:creationId xmlns:a16="http://schemas.microsoft.com/office/drawing/2014/main" id="{7A00379E-AB14-4714-AF99-21D59BC9EB67}"/>
                      </a:ext>
                    </a:extLst>
                  </p:cNvPr>
                  <p:cNvSpPr/>
                  <p:nvPr/>
                </p:nvSpPr>
                <p:spPr>
                  <a:xfrm>
                    <a:off x="9205349" y="2483863"/>
                    <a:ext cx="17457" cy="12433"/>
                  </a:xfrm>
                  <a:custGeom>
                    <a:avLst/>
                    <a:gdLst>
                      <a:gd name="connsiteX0" fmla="*/ 17458 w 17457"/>
                      <a:gd name="connsiteY0" fmla="*/ 8540 h 12433"/>
                      <a:gd name="connsiteX1" fmla="*/ 16077 w 17457"/>
                      <a:gd name="connsiteY1" fmla="*/ 11806 h 12433"/>
                      <a:gd name="connsiteX2" fmla="*/ 16077 w 17457"/>
                      <a:gd name="connsiteY2" fmla="*/ 11931 h 12433"/>
                      <a:gd name="connsiteX3" fmla="*/ 15951 w 17457"/>
                      <a:gd name="connsiteY3" fmla="*/ 12057 h 12433"/>
                      <a:gd name="connsiteX4" fmla="*/ 15699 w 17457"/>
                      <a:gd name="connsiteY4" fmla="*/ 12434 h 12433"/>
                      <a:gd name="connsiteX5" fmla="*/ 10425 w 17457"/>
                      <a:gd name="connsiteY5" fmla="*/ 9420 h 12433"/>
                      <a:gd name="connsiteX6" fmla="*/ 6154 w 17457"/>
                      <a:gd name="connsiteY6" fmla="*/ 10676 h 12433"/>
                      <a:gd name="connsiteX7" fmla="*/ 5276 w 17457"/>
                      <a:gd name="connsiteY7" fmla="*/ 6405 h 12433"/>
                      <a:gd name="connsiteX8" fmla="*/ 0 w 17457"/>
                      <a:gd name="connsiteY8" fmla="*/ 3391 h 12433"/>
                      <a:gd name="connsiteX9" fmla="*/ 251 w 17457"/>
                      <a:gd name="connsiteY9" fmla="*/ 3014 h 12433"/>
                      <a:gd name="connsiteX10" fmla="*/ 251 w 17457"/>
                      <a:gd name="connsiteY10" fmla="*/ 2889 h 12433"/>
                      <a:gd name="connsiteX11" fmla="*/ 377 w 17457"/>
                      <a:gd name="connsiteY11" fmla="*/ 2763 h 12433"/>
                      <a:gd name="connsiteX12" fmla="*/ 2638 w 17457"/>
                      <a:gd name="connsiteY12" fmla="*/ 0 h 12433"/>
                      <a:gd name="connsiteX13" fmla="*/ 17458 w 17457"/>
                      <a:gd name="connsiteY13" fmla="*/ 8540 h 1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57" h="12433">
                        <a:moveTo>
                          <a:pt x="17458" y="8540"/>
                        </a:moveTo>
                        <a:cubicBezTo>
                          <a:pt x="17206" y="9671"/>
                          <a:pt x="16704" y="10676"/>
                          <a:pt x="16077" y="11806"/>
                        </a:cubicBezTo>
                        <a:cubicBezTo>
                          <a:pt x="16077" y="11806"/>
                          <a:pt x="16077" y="11931"/>
                          <a:pt x="16077" y="11931"/>
                        </a:cubicBezTo>
                        <a:cubicBezTo>
                          <a:pt x="16077" y="11931"/>
                          <a:pt x="16077" y="12057"/>
                          <a:pt x="15951" y="12057"/>
                        </a:cubicBezTo>
                        <a:cubicBezTo>
                          <a:pt x="15825" y="12183"/>
                          <a:pt x="15825" y="12308"/>
                          <a:pt x="15699" y="12434"/>
                        </a:cubicBezTo>
                        <a:lnTo>
                          <a:pt x="10425" y="9420"/>
                        </a:lnTo>
                        <a:cubicBezTo>
                          <a:pt x="9294" y="10927"/>
                          <a:pt x="7536" y="11429"/>
                          <a:pt x="6154" y="10676"/>
                        </a:cubicBezTo>
                        <a:cubicBezTo>
                          <a:pt x="4773" y="9922"/>
                          <a:pt x="4396" y="8038"/>
                          <a:pt x="5276" y="6405"/>
                        </a:cubicBezTo>
                        <a:lnTo>
                          <a:pt x="0" y="3391"/>
                        </a:lnTo>
                        <a:cubicBezTo>
                          <a:pt x="126" y="3265"/>
                          <a:pt x="126" y="3140"/>
                          <a:pt x="251" y="3014"/>
                        </a:cubicBezTo>
                        <a:cubicBezTo>
                          <a:pt x="251" y="3014"/>
                          <a:pt x="251" y="2889"/>
                          <a:pt x="251" y="2889"/>
                        </a:cubicBezTo>
                        <a:cubicBezTo>
                          <a:pt x="251" y="2889"/>
                          <a:pt x="251" y="2763"/>
                          <a:pt x="377" y="2763"/>
                        </a:cubicBezTo>
                        <a:cubicBezTo>
                          <a:pt x="1005" y="1758"/>
                          <a:pt x="1759" y="879"/>
                          <a:pt x="2638" y="0"/>
                        </a:cubicBezTo>
                        <a:lnTo>
                          <a:pt x="17458" y="8540"/>
                        </a:lnTo>
                        <a:close/>
                      </a:path>
                    </a:pathLst>
                  </a:custGeom>
                  <a:solidFill>
                    <a:srgbClr val="66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8" name="Freeform: Shape 5377">
                    <a:extLst>
                      <a:ext uri="{FF2B5EF4-FFF2-40B4-BE49-F238E27FC236}">
                        <a16:creationId xmlns:a16="http://schemas.microsoft.com/office/drawing/2014/main" id="{C20D8468-BF09-4A05-A725-885D7EA5F1A7}"/>
                      </a:ext>
                    </a:extLst>
                  </p:cNvPr>
                  <p:cNvSpPr/>
                  <p:nvPr/>
                </p:nvSpPr>
                <p:spPr>
                  <a:xfrm>
                    <a:off x="9200894" y="2477494"/>
                    <a:ext cx="25363" cy="27432"/>
                  </a:xfrm>
                  <a:custGeom>
                    <a:avLst/>
                    <a:gdLst>
                      <a:gd name="connsiteX0" fmla="*/ 20154 w 25363"/>
                      <a:gd name="connsiteY0" fmla="*/ 1345 h 27432"/>
                      <a:gd name="connsiteX1" fmla="*/ 22918 w 25363"/>
                      <a:gd name="connsiteY1" fmla="*/ 19682 h 27432"/>
                      <a:gd name="connsiteX2" fmla="*/ 5209 w 25363"/>
                      <a:gd name="connsiteY2" fmla="*/ 26087 h 27432"/>
                      <a:gd name="connsiteX3" fmla="*/ 2446 w 25363"/>
                      <a:gd name="connsiteY3" fmla="*/ 7751 h 27432"/>
                      <a:gd name="connsiteX4" fmla="*/ 20154 w 25363"/>
                      <a:gd name="connsiteY4" fmla="*/ 1345 h 27432"/>
                      <a:gd name="connsiteX5" fmla="*/ 6967 w 25363"/>
                      <a:gd name="connsiteY5" fmla="*/ 23199 h 27432"/>
                      <a:gd name="connsiteX6" fmla="*/ 20532 w 25363"/>
                      <a:gd name="connsiteY6" fmla="*/ 18300 h 27432"/>
                      <a:gd name="connsiteX7" fmla="*/ 20532 w 25363"/>
                      <a:gd name="connsiteY7" fmla="*/ 18175 h 27432"/>
                      <a:gd name="connsiteX8" fmla="*/ 20657 w 25363"/>
                      <a:gd name="connsiteY8" fmla="*/ 18049 h 27432"/>
                      <a:gd name="connsiteX9" fmla="*/ 18396 w 25363"/>
                      <a:gd name="connsiteY9" fmla="*/ 4234 h 27432"/>
                      <a:gd name="connsiteX10" fmla="*/ 4958 w 25363"/>
                      <a:gd name="connsiteY10" fmla="*/ 8881 h 27432"/>
                      <a:gd name="connsiteX11" fmla="*/ 4832 w 25363"/>
                      <a:gd name="connsiteY11" fmla="*/ 9006 h 27432"/>
                      <a:gd name="connsiteX12" fmla="*/ 4706 w 25363"/>
                      <a:gd name="connsiteY12" fmla="*/ 9132 h 27432"/>
                      <a:gd name="connsiteX13" fmla="*/ 6967 w 25363"/>
                      <a:gd name="connsiteY13" fmla="*/ 23199 h 27432"/>
                      <a:gd name="connsiteX14" fmla="*/ 6967 w 25363"/>
                      <a:gd name="connsiteY14" fmla="*/ 23199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363" h="27432">
                        <a:moveTo>
                          <a:pt x="20154" y="1345"/>
                        </a:moveTo>
                        <a:cubicBezTo>
                          <a:pt x="25806" y="4611"/>
                          <a:pt x="27062" y="12774"/>
                          <a:pt x="22918" y="19682"/>
                        </a:cubicBezTo>
                        <a:cubicBezTo>
                          <a:pt x="18773" y="26464"/>
                          <a:pt x="10861" y="29353"/>
                          <a:pt x="5209" y="26087"/>
                        </a:cubicBezTo>
                        <a:cubicBezTo>
                          <a:pt x="-443" y="22822"/>
                          <a:pt x="-1699" y="14658"/>
                          <a:pt x="2446" y="7751"/>
                        </a:cubicBezTo>
                        <a:cubicBezTo>
                          <a:pt x="6465" y="968"/>
                          <a:pt x="14378" y="-1920"/>
                          <a:pt x="20154" y="1345"/>
                        </a:cubicBezTo>
                        <a:close/>
                        <a:moveTo>
                          <a:pt x="6967" y="23199"/>
                        </a:moveTo>
                        <a:cubicBezTo>
                          <a:pt x="11238" y="25711"/>
                          <a:pt x="17392" y="23450"/>
                          <a:pt x="20532" y="18300"/>
                        </a:cubicBezTo>
                        <a:cubicBezTo>
                          <a:pt x="20532" y="18300"/>
                          <a:pt x="20532" y="18175"/>
                          <a:pt x="20532" y="18175"/>
                        </a:cubicBezTo>
                        <a:cubicBezTo>
                          <a:pt x="20532" y="18175"/>
                          <a:pt x="20532" y="18049"/>
                          <a:pt x="20657" y="18049"/>
                        </a:cubicBezTo>
                        <a:cubicBezTo>
                          <a:pt x="23671" y="12900"/>
                          <a:pt x="22666" y="6746"/>
                          <a:pt x="18396" y="4234"/>
                        </a:cubicBezTo>
                        <a:cubicBezTo>
                          <a:pt x="14126" y="1722"/>
                          <a:pt x="8223" y="3857"/>
                          <a:pt x="4958" y="8881"/>
                        </a:cubicBezTo>
                        <a:cubicBezTo>
                          <a:pt x="4958" y="8881"/>
                          <a:pt x="4958" y="9006"/>
                          <a:pt x="4832" y="9006"/>
                        </a:cubicBezTo>
                        <a:cubicBezTo>
                          <a:pt x="4832" y="9006"/>
                          <a:pt x="4832" y="9132"/>
                          <a:pt x="4706" y="9132"/>
                        </a:cubicBezTo>
                        <a:cubicBezTo>
                          <a:pt x="1692" y="14533"/>
                          <a:pt x="2572" y="20687"/>
                          <a:pt x="6967" y="23199"/>
                        </a:cubicBezTo>
                        <a:lnTo>
                          <a:pt x="6967" y="23199"/>
                        </a:lnTo>
                        <a:close/>
                      </a:path>
                    </a:pathLst>
                  </a:custGeom>
                  <a:solidFill>
                    <a:srgbClr val="66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9" name="Freeform: Shape 5378">
                    <a:extLst>
                      <a:ext uri="{FF2B5EF4-FFF2-40B4-BE49-F238E27FC236}">
                        <a16:creationId xmlns:a16="http://schemas.microsoft.com/office/drawing/2014/main" id="{FFE60177-E2DB-4722-81C4-C7DC60927756}"/>
                      </a:ext>
                    </a:extLst>
                  </p:cNvPr>
                  <p:cNvSpPr/>
                  <p:nvPr/>
                </p:nvSpPr>
                <p:spPr>
                  <a:xfrm>
                    <a:off x="9205600" y="2479216"/>
                    <a:ext cx="22054" cy="26589"/>
                  </a:xfrm>
                  <a:custGeom>
                    <a:avLst/>
                    <a:gdLst>
                      <a:gd name="connsiteX0" fmla="*/ 15951 w 22054"/>
                      <a:gd name="connsiteY0" fmla="*/ 0 h 26589"/>
                      <a:gd name="connsiteX1" fmla="*/ 17332 w 22054"/>
                      <a:gd name="connsiteY1" fmla="*/ 879 h 26589"/>
                      <a:gd name="connsiteX2" fmla="*/ 19593 w 22054"/>
                      <a:gd name="connsiteY2" fmla="*/ 18839 h 26589"/>
                      <a:gd name="connsiteX3" fmla="*/ 1884 w 22054"/>
                      <a:gd name="connsiteY3" fmla="*/ 25245 h 26589"/>
                      <a:gd name="connsiteX4" fmla="*/ 1381 w 22054"/>
                      <a:gd name="connsiteY4" fmla="*/ 24868 h 26589"/>
                      <a:gd name="connsiteX5" fmla="*/ 0 w 22054"/>
                      <a:gd name="connsiteY5" fmla="*/ 23989 h 26589"/>
                      <a:gd name="connsiteX6" fmla="*/ 502 w 22054"/>
                      <a:gd name="connsiteY6" fmla="*/ 24365 h 26589"/>
                      <a:gd name="connsiteX7" fmla="*/ 18211 w 22054"/>
                      <a:gd name="connsiteY7" fmla="*/ 17960 h 26589"/>
                      <a:gd name="connsiteX8" fmla="*/ 15951 w 22054"/>
                      <a:gd name="connsiteY8" fmla="*/ 0 h 2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54" h="26589">
                        <a:moveTo>
                          <a:pt x="15951" y="0"/>
                        </a:moveTo>
                        <a:lnTo>
                          <a:pt x="17332" y="879"/>
                        </a:lnTo>
                        <a:cubicBezTo>
                          <a:pt x="22607" y="4396"/>
                          <a:pt x="23612" y="12308"/>
                          <a:pt x="19593" y="18839"/>
                        </a:cubicBezTo>
                        <a:cubicBezTo>
                          <a:pt x="15448" y="25621"/>
                          <a:pt x="7535" y="28510"/>
                          <a:pt x="1884" y="25245"/>
                        </a:cubicBezTo>
                        <a:cubicBezTo>
                          <a:pt x="1759" y="25119"/>
                          <a:pt x="1507" y="24993"/>
                          <a:pt x="1381" y="24868"/>
                        </a:cubicBezTo>
                        <a:lnTo>
                          <a:pt x="0" y="23989"/>
                        </a:lnTo>
                        <a:cubicBezTo>
                          <a:pt x="126" y="24114"/>
                          <a:pt x="376" y="24240"/>
                          <a:pt x="502" y="24365"/>
                        </a:cubicBezTo>
                        <a:cubicBezTo>
                          <a:pt x="6154" y="27631"/>
                          <a:pt x="14192" y="24742"/>
                          <a:pt x="18211" y="17960"/>
                        </a:cubicBezTo>
                        <a:cubicBezTo>
                          <a:pt x="22231" y="11429"/>
                          <a:pt x="21100" y="3391"/>
                          <a:pt x="15951" y="0"/>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380" name="Graphic 4">
                <a:extLst>
                  <a:ext uri="{FF2B5EF4-FFF2-40B4-BE49-F238E27FC236}">
                    <a16:creationId xmlns:a16="http://schemas.microsoft.com/office/drawing/2014/main" id="{84FB7ED1-A2DF-40A1-A747-5F7CF3F14040}"/>
                  </a:ext>
                </a:extLst>
              </p:cNvPr>
              <p:cNvGrpSpPr/>
              <p:nvPr/>
            </p:nvGrpSpPr>
            <p:grpSpPr>
              <a:xfrm>
                <a:off x="9153007" y="2498558"/>
                <a:ext cx="57491" cy="70835"/>
                <a:chOff x="9153007" y="2498558"/>
                <a:chExt cx="57491" cy="70835"/>
              </a:xfrm>
              <a:solidFill>
                <a:schemeClr val="accent1"/>
              </a:solidFill>
            </p:grpSpPr>
            <p:sp>
              <p:nvSpPr>
                <p:cNvPr id="5381" name="Freeform: Shape 5380">
                  <a:extLst>
                    <a:ext uri="{FF2B5EF4-FFF2-40B4-BE49-F238E27FC236}">
                      <a16:creationId xmlns:a16="http://schemas.microsoft.com/office/drawing/2014/main" id="{868B57B7-7C0D-42E0-BA0C-A476052BD1B1}"/>
                    </a:ext>
                  </a:extLst>
                </p:cNvPr>
                <p:cNvSpPr/>
                <p:nvPr/>
              </p:nvSpPr>
              <p:spPr>
                <a:xfrm>
                  <a:off x="9154106" y="2522050"/>
                  <a:ext cx="51493" cy="25112"/>
                </a:xfrm>
                <a:custGeom>
                  <a:avLst/>
                  <a:gdLst>
                    <a:gd name="connsiteX0" fmla="*/ 39688 w 51493"/>
                    <a:gd name="connsiteY0" fmla="*/ 15819 h 25112"/>
                    <a:gd name="connsiteX1" fmla="*/ 51494 w 51493"/>
                    <a:gd name="connsiteY1" fmla="*/ 14688 h 25112"/>
                    <a:gd name="connsiteX2" fmla="*/ 28007 w 51493"/>
                    <a:gd name="connsiteY2" fmla="*/ 1124 h 25112"/>
                    <a:gd name="connsiteX3" fmla="*/ 16201 w 51493"/>
                    <a:gd name="connsiteY3" fmla="*/ 2255 h 25112"/>
                    <a:gd name="connsiteX4" fmla="*/ 0 w 51493"/>
                    <a:gd name="connsiteY4" fmla="*/ 11549 h 25112"/>
                    <a:gd name="connsiteX5" fmla="*/ 23486 w 51493"/>
                    <a:gd name="connsiteY5" fmla="*/ 25113 h 25112"/>
                    <a:gd name="connsiteX6" fmla="*/ 39688 w 51493"/>
                    <a:gd name="connsiteY6" fmla="*/ 15819 h 25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93" h="25112">
                      <a:moveTo>
                        <a:pt x="39688" y="15819"/>
                      </a:moveTo>
                      <a:cubicBezTo>
                        <a:pt x="44335" y="13181"/>
                        <a:pt x="48479" y="12930"/>
                        <a:pt x="51494" y="14688"/>
                      </a:cubicBezTo>
                      <a:cubicBezTo>
                        <a:pt x="51494" y="14688"/>
                        <a:pt x="31022" y="2882"/>
                        <a:pt x="28007" y="1124"/>
                      </a:cubicBezTo>
                      <a:cubicBezTo>
                        <a:pt x="24993" y="-634"/>
                        <a:pt x="20848" y="-383"/>
                        <a:pt x="16201" y="2255"/>
                      </a:cubicBezTo>
                      <a:lnTo>
                        <a:pt x="0" y="11549"/>
                      </a:lnTo>
                      <a:lnTo>
                        <a:pt x="23486" y="25113"/>
                      </a:lnTo>
                      <a:lnTo>
                        <a:pt x="39688" y="15819"/>
                      </a:ln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82" name="Graphic 4">
                  <a:extLst>
                    <a:ext uri="{FF2B5EF4-FFF2-40B4-BE49-F238E27FC236}">
                      <a16:creationId xmlns:a16="http://schemas.microsoft.com/office/drawing/2014/main" id="{84FB7ED1-A2DF-40A1-A747-5F7CF3F14040}"/>
                    </a:ext>
                  </a:extLst>
                </p:cNvPr>
                <p:cNvGrpSpPr/>
                <p:nvPr/>
              </p:nvGrpSpPr>
              <p:grpSpPr>
                <a:xfrm>
                  <a:off x="9153007" y="2498558"/>
                  <a:ext cx="52592" cy="43832"/>
                  <a:chOff x="9153007" y="2498558"/>
                  <a:chExt cx="52592" cy="43832"/>
                </a:xfrm>
                <a:solidFill>
                  <a:schemeClr val="accent1"/>
                </a:solidFill>
              </p:grpSpPr>
              <p:sp>
                <p:nvSpPr>
                  <p:cNvPr id="5383" name="Freeform: Shape 5382">
                    <a:extLst>
                      <a:ext uri="{FF2B5EF4-FFF2-40B4-BE49-F238E27FC236}">
                        <a16:creationId xmlns:a16="http://schemas.microsoft.com/office/drawing/2014/main" id="{960116C0-63B2-4CEB-92D4-6B98AD1C056A}"/>
                      </a:ext>
                    </a:extLst>
                  </p:cNvPr>
                  <p:cNvSpPr/>
                  <p:nvPr/>
                </p:nvSpPr>
                <p:spPr>
                  <a:xfrm>
                    <a:off x="9179100" y="2520903"/>
                    <a:ext cx="26500" cy="21488"/>
                  </a:xfrm>
                  <a:custGeom>
                    <a:avLst/>
                    <a:gdLst>
                      <a:gd name="connsiteX0" fmla="*/ 2511 w 26500"/>
                      <a:gd name="connsiteY0" fmla="*/ 21488 h 21488"/>
                      <a:gd name="connsiteX1" fmla="*/ 24365 w 26500"/>
                      <a:gd name="connsiteY1" fmla="*/ 8803 h 21488"/>
                      <a:gd name="connsiteX2" fmla="*/ 26500 w 26500"/>
                      <a:gd name="connsiteY2" fmla="*/ 5035 h 21488"/>
                      <a:gd name="connsiteX3" fmla="*/ 26500 w 26500"/>
                      <a:gd name="connsiteY3" fmla="*/ 2900 h 21488"/>
                      <a:gd name="connsiteX4" fmla="*/ 25370 w 26500"/>
                      <a:gd name="connsiteY4" fmla="*/ 263 h 21488"/>
                      <a:gd name="connsiteX5" fmla="*/ 23486 w 26500"/>
                      <a:gd name="connsiteY5" fmla="*/ 137 h 21488"/>
                      <a:gd name="connsiteX6" fmla="*/ 12559 w 26500"/>
                      <a:gd name="connsiteY6" fmla="*/ 5914 h 21488"/>
                      <a:gd name="connsiteX7" fmla="*/ 0 w 26500"/>
                      <a:gd name="connsiteY7" fmla="*/ 14957 h 21488"/>
                      <a:gd name="connsiteX8" fmla="*/ 2511 w 26500"/>
                      <a:gd name="connsiteY8" fmla="*/ 21488 h 2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00" h="21488">
                        <a:moveTo>
                          <a:pt x="2511" y="21488"/>
                        </a:moveTo>
                        <a:lnTo>
                          <a:pt x="24365" y="8803"/>
                        </a:lnTo>
                        <a:cubicBezTo>
                          <a:pt x="25621" y="8049"/>
                          <a:pt x="26500" y="6417"/>
                          <a:pt x="26500" y="5035"/>
                        </a:cubicBezTo>
                        <a:lnTo>
                          <a:pt x="26500" y="2900"/>
                        </a:lnTo>
                        <a:cubicBezTo>
                          <a:pt x="26500" y="1644"/>
                          <a:pt x="25998" y="639"/>
                          <a:pt x="25370" y="263"/>
                        </a:cubicBezTo>
                        <a:cubicBezTo>
                          <a:pt x="24868" y="11"/>
                          <a:pt x="24240" y="-114"/>
                          <a:pt x="23486" y="137"/>
                        </a:cubicBezTo>
                        <a:cubicBezTo>
                          <a:pt x="19718" y="1267"/>
                          <a:pt x="16327" y="3151"/>
                          <a:pt x="12559" y="5914"/>
                        </a:cubicBezTo>
                        <a:cubicBezTo>
                          <a:pt x="8666" y="8803"/>
                          <a:pt x="3893" y="12571"/>
                          <a:pt x="0" y="14957"/>
                        </a:cubicBezTo>
                        <a:lnTo>
                          <a:pt x="2511" y="21488"/>
                        </a:ln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4" name="Freeform: Shape 5383">
                    <a:extLst>
                      <a:ext uri="{FF2B5EF4-FFF2-40B4-BE49-F238E27FC236}">
                        <a16:creationId xmlns:a16="http://schemas.microsoft.com/office/drawing/2014/main" id="{50EB1581-4D44-429E-84AD-B063C34C561D}"/>
                      </a:ext>
                    </a:extLst>
                  </p:cNvPr>
                  <p:cNvSpPr/>
                  <p:nvPr/>
                </p:nvSpPr>
                <p:spPr>
                  <a:xfrm>
                    <a:off x="9160009" y="2509850"/>
                    <a:ext cx="44460" cy="32540"/>
                  </a:xfrm>
                  <a:custGeom>
                    <a:avLst/>
                    <a:gdLst>
                      <a:gd name="connsiteX0" fmla="*/ 31650 w 44460"/>
                      <a:gd name="connsiteY0" fmla="*/ 16967 h 32540"/>
                      <a:gd name="connsiteX1" fmla="*/ 42577 w 44460"/>
                      <a:gd name="connsiteY1" fmla="*/ 11189 h 32540"/>
                      <a:gd name="connsiteX2" fmla="*/ 44460 w 44460"/>
                      <a:gd name="connsiteY2" fmla="*/ 11315 h 32540"/>
                      <a:gd name="connsiteX3" fmla="*/ 25370 w 44460"/>
                      <a:gd name="connsiteY3" fmla="*/ 262 h 32540"/>
                      <a:gd name="connsiteX4" fmla="*/ 23486 w 44460"/>
                      <a:gd name="connsiteY4" fmla="*/ 137 h 32540"/>
                      <a:gd name="connsiteX5" fmla="*/ 12559 w 44460"/>
                      <a:gd name="connsiteY5" fmla="*/ 5914 h 32540"/>
                      <a:gd name="connsiteX6" fmla="*/ 0 w 44460"/>
                      <a:gd name="connsiteY6" fmla="*/ 14957 h 32540"/>
                      <a:gd name="connsiteX7" fmla="*/ 2512 w 44460"/>
                      <a:gd name="connsiteY7" fmla="*/ 21488 h 32540"/>
                      <a:gd name="connsiteX8" fmla="*/ 21602 w 44460"/>
                      <a:gd name="connsiteY8" fmla="*/ 32540 h 32540"/>
                      <a:gd name="connsiteX9" fmla="*/ 19091 w 44460"/>
                      <a:gd name="connsiteY9" fmla="*/ 26009 h 32540"/>
                      <a:gd name="connsiteX10" fmla="*/ 31650 w 44460"/>
                      <a:gd name="connsiteY10" fmla="*/ 16967 h 3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460" h="32540">
                        <a:moveTo>
                          <a:pt x="31650" y="16967"/>
                        </a:moveTo>
                        <a:cubicBezTo>
                          <a:pt x="35418" y="14204"/>
                          <a:pt x="38809" y="12320"/>
                          <a:pt x="42577" y="11189"/>
                        </a:cubicBezTo>
                        <a:cubicBezTo>
                          <a:pt x="43330" y="10938"/>
                          <a:pt x="43958" y="11064"/>
                          <a:pt x="44460" y="11315"/>
                        </a:cubicBezTo>
                        <a:cubicBezTo>
                          <a:pt x="44460" y="11315"/>
                          <a:pt x="26124" y="639"/>
                          <a:pt x="25370" y="262"/>
                        </a:cubicBezTo>
                        <a:cubicBezTo>
                          <a:pt x="24868" y="11"/>
                          <a:pt x="24240" y="-114"/>
                          <a:pt x="23486" y="137"/>
                        </a:cubicBezTo>
                        <a:cubicBezTo>
                          <a:pt x="19718" y="1267"/>
                          <a:pt x="16327" y="3151"/>
                          <a:pt x="12559" y="5914"/>
                        </a:cubicBezTo>
                        <a:cubicBezTo>
                          <a:pt x="8666" y="8803"/>
                          <a:pt x="3893" y="12571"/>
                          <a:pt x="0" y="14957"/>
                        </a:cubicBezTo>
                        <a:lnTo>
                          <a:pt x="2512" y="21488"/>
                        </a:lnTo>
                        <a:lnTo>
                          <a:pt x="21602" y="32540"/>
                        </a:lnTo>
                        <a:lnTo>
                          <a:pt x="19091" y="26009"/>
                        </a:lnTo>
                        <a:cubicBezTo>
                          <a:pt x="22984" y="23749"/>
                          <a:pt x="27757" y="19855"/>
                          <a:pt x="31650" y="16967"/>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5" name="Freeform: Shape 5384">
                    <a:extLst>
                      <a:ext uri="{FF2B5EF4-FFF2-40B4-BE49-F238E27FC236}">
                        <a16:creationId xmlns:a16="http://schemas.microsoft.com/office/drawing/2014/main" id="{6B8CF684-DB7F-414E-A7DA-6829ADB1FF33}"/>
                      </a:ext>
                    </a:extLst>
                  </p:cNvPr>
                  <p:cNvSpPr/>
                  <p:nvPr/>
                </p:nvSpPr>
                <p:spPr>
                  <a:xfrm>
                    <a:off x="9172097" y="2509610"/>
                    <a:ext cx="13784" cy="26123"/>
                  </a:xfrm>
                  <a:custGeom>
                    <a:avLst/>
                    <a:gdLst>
                      <a:gd name="connsiteX0" fmla="*/ 2858 w 13784"/>
                      <a:gd name="connsiteY0" fmla="*/ 1005 h 26123"/>
                      <a:gd name="connsiteX1" fmla="*/ 2858 w 13784"/>
                      <a:gd name="connsiteY1" fmla="*/ 1005 h 26123"/>
                      <a:gd name="connsiteX2" fmla="*/ 6123 w 13784"/>
                      <a:gd name="connsiteY2" fmla="*/ 251 h 26123"/>
                      <a:gd name="connsiteX3" fmla="*/ 6625 w 13784"/>
                      <a:gd name="connsiteY3" fmla="*/ 628 h 26123"/>
                      <a:gd name="connsiteX4" fmla="*/ 9389 w 13784"/>
                      <a:gd name="connsiteY4" fmla="*/ 5401 h 26123"/>
                      <a:gd name="connsiteX5" fmla="*/ 11524 w 13784"/>
                      <a:gd name="connsiteY5" fmla="*/ 13564 h 26123"/>
                      <a:gd name="connsiteX6" fmla="*/ 12654 w 13784"/>
                      <a:gd name="connsiteY6" fmla="*/ 18462 h 26123"/>
                      <a:gd name="connsiteX7" fmla="*/ 13784 w 13784"/>
                      <a:gd name="connsiteY7" fmla="*/ 21602 h 26123"/>
                      <a:gd name="connsiteX8" fmla="*/ 7003 w 13784"/>
                      <a:gd name="connsiteY8" fmla="*/ 26124 h 26123"/>
                      <a:gd name="connsiteX9" fmla="*/ 220 w 13784"/>
                      <a:gd name="connsiteY9" fmla="*/ 7912 h 26123"/>
                      <a:gd name="connsiteX10" fmla="*/ 2858 w 13784"/>
                      <a:gd name="connsiteY10" fmla="*/ 1005 h 26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84" h="26123">
                        <a:moveTo>
                          <a:pt x="2858" y="1005"/>
                        </a:moveTo>
                        <a:lnTo>
                          <a:pt x="2858" y="1005"/>
                        </a:lnTo>
                        <a:cubicBezTo>
                          <a:pt x="3988" y="0"/>
                          <a:pt x="5244" y="-251"/>
                          <a:pt x="6123" y="251"/>
                        </a:cubicBezTo>
                        <a:cubicBezTo>
                          <a:pt x="6249" y="377"/>
                          <a:pt x="6500" y="502"/>
                          <a:pt x="6625" y="628"/>
                        </a:cubicBezTo>
                        <a:cubicBezTo>
                          <a:pt x="7630" y="1884"/>
                          <a:pt x="8635" y="3391"/>
                          <a:pt x="9389" y="5401"/>
                        </a:cubicBezTo>
                        <a:cubicBezTo>
                          <a:pt x="10645" y="8164"/>
                          <a:pt x="11272" y="11052"/>
                          <a:pt x="11524" y="13564"/>
                        </a:cubicBezTo>
                        <a:cubicBezTo>
                          <a:pt x="11775" y="15323"/>
                          <a:pt x="12152" y="16955"/>
                          <a:pt x="12654" y="18462"/>
                        </a:cubicBezTo>
                        <a:lnTo>
                          <a:pt x="13784" y="21602"/>
                        </a:lnTo>
                        <a:cubicBezTo>
                          <a:pt x="11524" y="23361"/>
                          <a:pt x="9138" y="24993"/>
                          <a:pt x="7003" y="26124"/>
                        </a:cubicBezTo>
                        <a:lnTo>
                          <a:pt x="220" y="7912"/>
                        </a:lnTo>
                        <a:cubicBezTo>
                          <a:pt x="-534" y="6029"/>
                          <a:pt x="723" y="2763"/>
                          <a:pt x="2858" y="1005"/>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6" name="Freeform: Shape 5385">
                    <a:extLst>
                      <a:ext uri="{FF2B5EF4-FFF2-40B4-BE49-F238E27FC236}">
                        <a16:creationId xmlns:a16="http://schemas.microsoft.com/office/drawing/2014/main" id="{3E5623DB-2D12-4343-B2CD-BABECBDB254C}"/>
                      </a:ext>
                    </a:extLst>
                  </p:cNvPr>
                  <p:cNvSpPr/>
                  <p:nvPr/>
                </p:nvSpPr>
                <p:spPr>
                  <a:xfrm>
                    <a:off x="9153007" y="2498558"/>
                    <a:ext cx="26092" cy="37301"/>
                  </a:xfrm>
                  <a:custGeom>
                    <a:avLst/>
                    <a:gdLst>
                      <a:gd name="connsiteX0" fmla="*/ 21948 w 26092"/>
                      <a:gd name="connsiteY0" fmla="*/ 12057 h 37301"/>
                      <a:gd name="connsiteX1" fmla="*/ 21948 w 26092"/>
                      <a:gd name="connsiteY1" fmla="*/ 12057 h 37301"/>
                      <a:gd name="connsiteX2" fmla="*/ 25213 w 26092"/>
                      <a:gd name="connsiteY2" fmla="*/ 11304 h 37301"/>
                      <a:gd name="connsiteX3" fmla="*/ 6123 w 26092"/>
                      <a:gd name="connsiteY3" fmla="*/ 251 h 37301"/>
                      <a:gd name="connsiteX4" fmla="*/ 2857 w 26092"/>
                      <a:gd name="connsiteY4" fmla="*/ 1005 h 37301"/>
                      <a:gd name="connsiteX5" fmla="*/ 2857 w 26092"/>
                      <a:gd name="connsiteY5" fmla="*/ 1005 h 37301"/>
                      <a:gd name="connsiteX6" fmla="*/ 220 w 26092"/>
                      <a:gd name="connsiteY6" fmla="*/ 8038 h 37301"/>
                      <a:gd name="connsiteX7" fmla="*/ 7002 w 26092"/>
                      <a:gd name="connsiteY7" fmla="*/ 26249 h 37301"/>
                      <a:gd name="connsiteX8" fmla="*/ 26093 w 26092"/>
                      <a:gd name="connsiteY8" fmla="*/ 37302 h 37301"/>
                      <a:gd name="connsiteX9" fmla="*/ 19310 w 26092"/>
                      <a:gd name="connsiteY9" fmla="*/ 19090 h 37301"/>
                      <a:gd name="connsiteX10" fmla="*/ 21948 w 26092"/>
                      <a:gd name="connsiteY10" fmla="*/ 12057 h 3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92" h="37301">
                        <a:moveTo>
                          <a:pt x="21948" y="12057"/>
                        </a:moveTo>
                        <a:lnTo>
                          <a:pt x="21948" y="12057"/>
                        </a:lnTo>
                        <a:cubicBezTo>
                          <a:pt x="23078" y="11052"/>
                          <a:pt x="24334" y="10801"/>
                          <a:pt x="25213" y="11304"/>
                        </a:cubicBezTo>
                        <a:cubicBezTo>
                          <a:pt x="25213" y="11304"/>
                          <a:pt x="6248" y="377"/>
                          <a:pt x="6123" y="251"/>
                        </a:cubicBezTo>
                        <a:cubicBezTo>
                          <a:pt x="5243" y="-251"/>
                          <a:pt x="4113" y="0"/>
                          <a:pt x="2857" y="1005"/>
                        </a:cubicBezTo>
                        <a:lnTo>
                          <a:pt x="2857" y="1005"/>
                        </a:lnTo>
                        <a:cubicBezTo>
                          <a:pt x="722" y="2763"/>
                          <a:pt x="-533" y="6029"/>
                          <a:pt x="220" y="8038"/>
                        </a:cubicBezTo>
                        <a:lnTo>
                          <a:pt x="7002" y="26249"/>
                        </a:lnTo>
                        <a:lnTo>
                          <a:pt x="26093" y="37302"/>
                        </a:lnTo>
                        <a:lnTo>
                          <a:pt x="19310" y="19090"/>
                        </a:lnTo>
                        <a:cubicBezTo>
                          <a:pt x="18556" y="17081"/>
                          <a:pt x="19813" y="13815"/>
                          <a:pt x="21948" y="12057"/>
                        </a:cubicBez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87" name="Freeform: Shape 5386">
                  <a:extLst>
                    <a:ext uri="{FF2B5EF4-FFF2-40B4-BE49-F238E27FC236}">
                      <a16:creationId xmlns:a16="http://schemas.microsoft.com/office/drawing/2014/main" id="{6B5418EB-EED6-46E2-AE1B-0AC5018471E4}"/>
                    </a:ext>
                  </a:extLst>
                </p:cNvPr>
                <p:cNvSpPr/>
                <p:nvPr/>
              </p:nvSpPr>
              <p:spPr>
                <a:xfrm>
                  <a:off x="9191659" y="2529831"/>
                  <a:ext cx="11805" cy="6907"/>
                </a:xfrm>
                <a:custGeom>
                  <a:avLst/>
                  <a:gdLst>
                    <a:gd name="connsiteX0" fmla="*/ 11806 w 11805"/>
                    <a:gd name="connsiteY0" fmla="*/ 0 h 6907"/>
                    <a:gd name="connsiteX1" fmla="*/ 10550 w 11805"/>
                    <a:gd name="connsiteY1" fmla="*/ 5149 h 6907"/>
                    <a:gd name="connsiteX2" fmla="*/ 10550 w 11805"/>
                    <a:gd name="connsiteY2" fmla="*/ 5149 h 6907"/>
                    <a:gd name="connsiteX3" fmla="*/ 0 w 11805"/>
                    <a:gd name="connsiteY3" fmla="*/ 6908 h 6907"/>
                    <a:gd name="connsiteX4" fmla="*/ 11806 w 11805"/>
                    <a:gd name="connsiteY4" fmla="*/ 0 h 6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05" h="6907">
                      <a:moveTo>
                        <a:pt x="11806" y="0"/>
                      </a:moveTo>
                      <a:cubicBezTo>
                        <a:pt x="11806" y="1758"/>
                        <a:pt x="11429" y="3642"/>
                        <a:pt x="10550" y="5149"/>
                      </a:cubicBezTo>
                      <a:lnTo>
                        <a:pt x="10550" y="5149"/>
                      </a:lnTo>
                      <a:cubicBezTo>
                        <a:pt x="7661" y="4019"/>
                        <a:pt x="4019" y="4521"/>
                        <a:pt x="0" y="6908"/>
                      </a:cubicBezTo>
                      <a:lnTo>
                        <a:pt x="11806" y="0"/>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8" name="Freeform: Shape 5387">
                  <a:extLst>
                    <a:ext uri="{FF2B5EF4-FFF2-40B4-BE49-F238E27FC236}">
                      <a16:creationId xmlns:a16="http://schemas.microsoft.com/office/drawing/2014/main" id="{49899CA1-CE21-47CF-A1F0-862C94D56D0D}"/>
                    </a:ext>
                  </a:extLst>
                </p:cNvPr>
                <p:cNvSpPr/>
                <p:nvPr/>
              </p:nvSpPr>
              <p:spPr>
                <a:xfrm>
                  <a:off x="9177593" y="2535575"/>
                  <a:ext cx="32905" cy="33817"/>
                </a:xfrm>
                <a:custGeom>
                  <a:avLst/>
                  <a:gdLst>
                    <a:gd name="connsiteX0" fmla="*/ 16201 w 32905"/>
                    <a:gd name="connsiteY0" fmla="*/ 2294 h 33817"/>
                    <a:gd name="connsiteX1" fmla="*/ 0 w 32905"/>
                    <a:gd name="connsiteY1" fmla="*/ 11588 h 33817"/>
                    <a:gd name="connsiteX2" fmla="*/ 0 w 32905"/>
                    <a:gd name="connsiteY2" fmla="*/ 33818 h 33817"/>
                    <a:gd name="connsiteX3" fmla="*/ 32906 w 32905"/>
                    <a:gd name="connsiteY3" fmla="*/ 14853 h 33817"/>
                    <a:gd name="connsiteX4" fmla="*/ 32906 w 32905"/>
                    <a:gd name="connsiteY4" fmla="*/ 11964 h 33817"/>
                    <a:gd name="connsiteX5" fmla="*/ 28007 w 32905"/>
                    <a:gd name="connsiteY5" fmla="*/ 1163 h 33817"/>
                    <a:gd name="connsiteX6" fmla="*/ 16201 w 32905"/>
                    <a:gd name="connsiteY6" fmla="*/ 2294 h 33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05" h="33817">
                      <a:moveTo>
                        <a:pt x="16201" y="2294"/>
                      </a:moveTo>
                      <a:lnTo>
                        <a:pt x="0" y="11588"/>
                      </a:lnTo>
                      <a:lnTo>
                        <a:pt x="0" y="33818"/>
                      </a:lnTo>
                      <a:lnTo>
                        <a:pt x="32906" y="14853"/>
                      </a:lnTo>
                      <a:lnTo>
                        <a:pt x="32906" y="11964"/>
                      </a:lnTo>
                      <a:cubicBezTo>
                        <a:pt x="32906" y="6690"/>
                        <a:pt x="31022" y="2922"/>
                        <a:pt x="28007" y="1163"/>
                      </a:cubicBezTo>
                      <a:cubicBezTo>
                        <a:pt x="24993" y="-595"/>
                        <a:pt x="20848" y="-469"/>
                        <a:pt x="16201" y="2294"/>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89" name="Graphic 4">
                <a:extLst>
                  <a:ext uri="{FF2B5EF4-FFF2-40B4-BE49-F238E27FC236}">
                    <a16:creationId xmlns:a16="http://schemas.microsoft.com/office/drawing/2014/main" id="{84FB7ED1-A2DF-40A1-A747-5F7CF3F14040}"/>
                  </a:ext>
                </a:extLst>
              </p:cNvPr>
              <p:cNvGrpSpPr/>
              <p:nvPr/>
            </p:nvGrpSpPr>
            <p:grpSpPr>
              <a:xfrm>
                <a:off x="9175825" y="2452256"/>
                <a:ext cx="51753" cy="93594"/>
                <a:chOff x="9175825" y="2452256"/>
                <a:chExt cx="51753" cy="93594"/>
              </a:xfrm>
              <a:solidFill>
                <a:schemeClr val="accent1"/>
              </a:solidFill>
            </p:grpSpPr>
            <p:grpSp>
              <p:nvGrpSpPr>
                <p:cNvPr id="5390" name="Graphic 4">
                  <a:extLst>
                    <a:ext uri="{FF2B5EF4-FFF2-40B4-BE49-F238E27FC236}">
                      <a16:creationId xmlns:a16="http://schemas.microsoft.com/office/drawing/2014/main" id="{84FB7ED1-A2DF-40A1-A747-5F7CF3F14040}"/>
                    </a:ext>
                  </a:extLst>
                </p:cNvPr>
                <p:cNvGrpSpPr/>
                <p:nvPr/>
              </p:nvGrpSpPr>
              <p:grpSpPr>
                <a:xfrm>
                  <a:off x="9212005" y="2534478"/>
                  <a:ext cx="14083" cy="11372"/>
                  <a:chOff x="9212005" y="2534478"/>
                  <a:chExt cx="14083" cy="11372"/>
                </a:xfrm>
                <a:solidFill>
                  <a:schemeClr val="accent1"/>
                </a:solidFill>
              </p:grpSpPr>
              <p:sp>
                <p:nvSpPr>
                  <p:cNvPr id="5391" name="Freeform: Shape 5390">
                    <a:extLst>
                      <a:ext uri="{FF2B5EF4-FFF2-40B4-BE49-F238E27FC236}">
                        <a16:creationId xmlns:a16="http://schemas.microsoft.com/office/drawing/2014/main" id="{93D158FB-FCB0-4006-857E-C085818F15BB}"/>
                      </a:ext>
                    </a:extLst>
                  </p:cNvPr>
                  <p:cNvSpPr/>
                  <p:nvPr/>
                </p:nvSpPr>
                <p:spPr>
                  <a:xfrm>
                    <a:off x="9212100" y="2534478"/>
                    <a:ext cx="13988" cy="10522"/>
                  </a:xfrm>
                  <a:custGeom>
                    <a:avLst/>
                    <a:gdLst>
                      <a:gd name="connsiteX0" fmla="*/ 785 w 13988"/>
                      <a:gd name="connsiteY0" fmla="*/ 0 h 10522"/>
                      <a:gd name="connsiteX1" fmla="*/ 7441 w 13988"/>
                      <a:gd name="connsiteY1" fmla="*/ 2261 h 10522"/>
                      <a:gd name="connsiteX2" fmla="*/ 13972 w 13988"/>
                      <a:gd name="connsiteY2" fmla="*/ 5526 h 10522"/>
                      <a:gd name="connsiteX3" fmla="*/ 13972 w 13988"/>
                      <a:gd name="connsiteY3" fmla="*/ 5526 h 10522"/>
                      <a:gd name="connsiteX4" fmla="*/ 12842 w 13988"/>
                      <a:gd name="connsiteY4" fmla="*/ 6782 h 10522"/>
                      <a:gd name="connsiteX5" fmla="*/ 5306 w 13988"/>
                      <a:gd name="connsiteY5" fmla="*/ 10173 h 10522"/>
                      <a:gd name="connsiteX6" fmla="*/ 785 w 13988"/>
                      <a:gd name="connsiteY6" fmla="*/ 9671 h 10522"/>
                      <a:gd name="connsiteX7" fmla="*/ 31 w 13988"/>
                      <a:gd name="connsiteY7" fmla="*/ 8164 h 10522"/>
                      <a:gd name="connsiteX8" fmla="*/ 31 w 13988"/>
                      <a:gd name="connsiteY8" fmla="*/ 8164 h 10522"/>
                      <a:gd name="connsiteX9" fmla="*/ 785 w 13988"/>
                      <a:gd name="connsiteY9" fmla="*/ 0 h 10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88" h="10522">
                        <a:moveTo>
                          <a:pt x="785" y="0"/>
                        </a:moveTo>
                        <a:lnTo>
                          <a:pt x="7441" y="2261"/>
                        </a:lnTo>
                        <a:cubicBezTo>
                          <a:pt x="11586" y="1633"/>
                          <a:pt x="14224" y="3140"/>
                          <a:pt x="13972" y="5526"/>
                        </a:cubicBezTo>
                        <a:lnTo>
                          <a:pt x="13972" y="5526"/>
                        </a:lnTo>
                        <a:cubicBezTo>
                          <a:pt x="13972" y="6029"/>
                          <a:pt x="13595" y="6531"/>
                          <a:pt x="12842" y="6782"/>
                        </a:cubicBezTo>
                        <a:lnTo>
                          <a:pt x="5306" y="10173"/>
                        </a:lnTo>
                        <a:cubicBezTo>
                          <a:pt x="3925" y="10801"/>
                          <a:pt x="1915" y="10550"/>
                          <a:pt x="785" y="9671"/>
                        </a:cubicBezTo>
                        <a:cubicBezTo>
                          <a:pt x="156" y="9168"/>
                          <a:pt x="-94" y="8666"/>
                          <a:pt x="31" y="8164"/>
                        </a:cubicBezTo>
                        <a:lnTo>
                          <a:pt x="31" y="8164"/>
                        </a:lnTo>
                        <a:lnTo>
                          <a:pt x="785"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2" name="Freeform: Shape 5391">
                    <a:extLst>
                      <a:ext uri="{FF2B5EF4-FFF2-40B4-BE49-F238E27FC236}">
                        <a16:creationId xmlns:a16="http://schemas.microsoft.com/office/drawing/2014/main" id="{CC439C1B-B6E0-4751-8F1F-A4C5FC7AA586}"/>
                      </a:ext>
                    </a:extLst>
                  </p:cNvPr>
                  <p:cNvSpPr/>
                  <p:nvPr/>
                </p:nvSpPr>
                <p:spPr>
                  <a:xfrm>
                    <a:off x="9212005" y="2539628"/>
                    <a:ext cx="14066" cy="6223"/>
                  </a:xfrm>
                  <a:custGeom>
                    <a:avLst/>
                    <a:gdLst>
                      <a:gd name="connsiteX0" fmla="*/ 1883 w 14066"/>
                      <a:gd name="connsiteY0" fmla="*/ 5903 h 6223"/>
                      <a:gd name="connsiteX1" fmla="*/ 0 w 14066"/>
                      <a:gd name="connsiteY1" fmla="*/ 3517 h 6223"/>
                      <a:gd name="connsiteX2" fmla="*/ 126 w 14066"/>
                      <a:gd name="connsiteY2" fmla="*/ 2009 h 6223"/>
                      <a:gd name="connsiteX3" fmla="*/ 1633 w 14066"/>
                      <a:gd name="connsiteY3" fmla="*/ 2261 h 6223"/>
                      <a:gd name="connsiteX4" fmla="*/ 3266 w 14066"/>
                      <a:gd name="connsiteY4" fmla="*/ 3642 h 6223"/>
                      <a:gd name="connsiteX5" fmla="*/ 6028 w 14066"/>
                      <a:gd name="connsiteY5" fmla="*/ 4145 h 6223"/>
                      <a:gd name="connsiteX6" fmla="*/ 14067 w 14066"/>
                      <a:gd name="connsiteY6" fmla="*/ 0 h 6223"/>
                      <a:gd name="connsiteX7" fmla="*/ 13564 w 14066"/>
                      <a:gd name="connsiteY7" fmla="*/ 1507 h 6223"/>
                      <a:gd name="connsiteX8" fmla="*/ 1883 w 14066"/>
                      <a:gd name="connsiteY8" fmla="*/ 5903 h 6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66" h="6223">
                        <a:moveTo>
                          <a:pt x="1883" y="5903"/>
                        </a:moveTo>
                        <a:cubicBezTo>
                          <a:pt x="1004" y="5275"/>
                          <a:pt x="0" y="4647"/>
                          <a:pt x="0" y="3517"/>
                        </a:cubicBezTo>
                        <a:cubicBezTo>
                          <a:pt x="0" y="3014"/>
                          <a:pt x="0" y="2261"/>
                          <a:pt x="126" y="2009"/>
                        </a:cubicBezTo>
                        <a:cubicBezTo>
                          <a:pt x="502" y="1382"/>
                          <a:pt x="1130" y="2009"/>
                          <a:pt x="1633" y="2261"/>
                        </a:cubicBezTo>
                        <a:cubicBezTo>
                          <a:pt x="2261" y="2637"/>
                          <a:pt x="2637" y="3265"/>
                          <a:pt x="3266" y="3642"/>
                        </a:cubicBezTo>
                        <a:cubicBezTo>
                          <a:pt x="4144" y="4396"/>
                          <a:pt x="4773" y="4647"/>
                          <a:pt x="6028" y="4145"/>
                        </a:cubicBezTo>
                        <a:cubicBezTo>
                          <a:pt x="8540" y="3140"/>
                          <a:pt x="12057" y="1758"/>
                          <a:pt x="14067" y="0"/>
                        </a:cubicBezTo>
                        <a:cubicBezTo>
                          <a:pt x="14067" y="628"/>
                          <a:pt x="14067" y="1130"/>
                          <a:pt x="13564" y="1507"/>
                        </a:cubicBezTo>
                        <a:cubicBezTo>
                          <a:pt x="10675" y="3893"/>
                          <a:pt x="3768" y="7284"/>
                          <a:pt x="1883" y="5903"/>
                        </a:cubicBez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93" name="Graphic 4">
                  <a:extLst>
                    <a:ext uri="{FF2B5EF4-FFF2-40B4-BE49-F238E27FC236}">
                      <a16:creationId xmlns:a16="http://schemas.microsoft.com/office/drawing/2014/main" id="{84FB7ED1-A2DF-40A1-A747-5F7CF3F14040}"/>
                    </a:ext>
                  </a:extLst>
                </p:cNvPr>
                <p:cNvGrpSpPr/>
                <p:nvPr/>
              </p:nvGrpSpPr>
              <p:grpSpPr>
                <a:xfrm>
                  <a:off x="9175825" y="2452256"/>
                  <a:ext cx="51753" cy="87396"/>
                  <a:chOff x="9175825" y="2452256"/>
                  <a:chExt cx="51753" cy="87396"/>
                </a:xfrm>
                <a:solidFill>
                  <a:schemeClr val="accent1"/>
                </a:solidFill>
              </p:grpSpPr>
              <p:sp>
                <p:nvSpPr>
                  <p:cNvPr id="5394" name="Freeform: Shape 5393">
                    <a:extLst>
                      <a:ext uri="{FF2B5EF4-FFF2-40B4-BE49-F238E27FC236}">
                        <a16:creationId xmlns:a16="http://schemas.microsoft.com/office/drawing/2014/main" id="{F0D257F4-332A-4665-BAA7-01423B806372}"/>
                      </a:ext>
                    </a:extLst>
                  </p:cNvPr>
                  <p:cNvSpPr/>
                  <p:nvPr/>
                </p:nvSpPr>
                <p:spPr>
                  <a:xfrm>
                    <a:off x="9175825" y="2504261"/>
                    <a:ext cx="44972" cy="35391"/>
                  </a:xfrm>
                  <a:custGeom>
                    <a:avLst/>
                    <a:gdLst>
                      <a:gd name="connsiteX0" fmla="*/ 44343 w 44972"/>
                      <a:gd name="connsiteY0" fmla="*/ 6982 h 35391"/>
                      <a:gd name="connsiteX1" fmla="*/ 39571 w 44972"/>
                      <a:gd name="connsiteY1" fmla="*/ 576 h 35391"/>
                      <a:gd name="connsiteX2" fmla="*/ 1139 w 44972"/>
                      <a:gd name="connsiteY2" fmla="*/ 4218 h 35391"/>
                      <a:gd name="connsiteX3" fmla="*/ 9 w 44972"/>
                      <a:gd name="connsiteY3" fmla="*/ 11252 h 35391"/>
                      <a:gd name="connsiteX4" fmla="*/ 16210 w 44972"/>
                      <a:gd name="connsiteY4" fmla="*/ 17783 h 35391"/>
                      <a:gd name="connsiteX5" fmla="*/ 33668 w 44972"/>
                      <a:gd name="connsiteY5" fmla="*/ 12382 h 35391"/>
                      <a:gd name="connsiteX6" fmla="*/ 33668 w 44972"/>
                      <a:gd name="connsiteY6" fmla="*/ 12382 h 35391"/>
                      <a:gd name="connsiteX7" fmla="*/ 36306 w 44972"/>
                      <a:gd name="connsiteY7" fmla="*/ 33105 h 35391"/>
                      <a:gd name="connsiteX8" fmla="*/ 36306 w 44972"/>
                      <a:gd name="connsiteY8" fmla="*/ 33105 h 35391"/>
                      <a:gd name="connsiteX9" fmla="*/ 36306 w 44972"/>
                      <a:gd name="connsiteY9" fmla="*/ 33105 h 35391"/>
                      <a:gd name="connsiteX10" fmla="*/ 37059 w 44972"/>
                      <a:gd name="connsiteY10" fmla="*/ 34236 h 35391"/>
                      <a:gd name="connsiteX11" fmla="*/ 37436 w 44972"/>
                      <a:gd name="connsiteY11" fmla="*/ 34487 h 35391"/>
                      <a:gd name="connsiteX12" fmla="*/ 37939 w 44972"/>
                      <a:gd name="connsiteY12" fmla="*/ 34738 h 35391"/>
                      <a:gd name="connsiteX13" fmla="*/ 38441 w 44972"/>
                      <a:gd name="connsiteY13" fmla="*/ 34989 h 35391"/>
                      <a:gd name="connsiteX14" fmla="*/ 43590 w 44972"/>
                      <a:gd name="connsiteY14" fmla="*/ 34738 h 35391"/>
                      <a:gd name="connsiteX15" fmla="*/ 44343 w 44972"/>
                      <a:gd name="connsiteY15" fmla="*/ 34236 h 35391"/>
                      <a:gd name="connsiteX16" fmla="*/ 44972 w 44972"/>
                      <a:gd name="connsiteY16" fmla="*/ 32980 h 35391"/>
                      <a:gd name="connsiteX17" fmla="*/ 44972 w 44972"/>
                      <a:gd name="connsiteY17" fmla="*/ 32980 h 35391"/>
                      <a:gd name="connsiteX18" fmla="*/ 44972 w 44972"/>
                      <a:gd name="connsiteY18" fmla="*/ 32980 h 35391"/>
                      <a:gd name="connsiteX19" fmla="*/ 44343 w 44972"/>
                      <a:gd name="connsiteY19" fmla="*/ 6982 h 3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972" h="35391">
                        <a:moveTo>
                          <a:pt x="44343" y="6982"/>
                        </a:moveTo>
                        <a:cubicBezTo>
                          <a:pt x="44218" y="4595"/>
                          <a:pt x="43339" y="2335"/>
                          <a:pt x="39571" y="576"/>
                        </a:cubicBezTo>
                        <a:cubicBezTo>
                          <a:pt x="32287" y="-2815"/>
                          <a:pt x="6791" y="10121"/>
                          <a:pt x="1139" y="4218"/>
                        </a:cubicBezTo>
                        <a:cubicBezTo>
                          <a:pt x="1139" y="4218"/>
                          <a:pt x="-117" y="6605"/>
                          <a:pt x="9" y="11252"/>
                        </a:cubicBezTo>
                        <a:cubicBezTo>
                          <a:pt x="135" y="16904"/>
                          <a:pt x="9303" y="20169"/>
                          <a:pt x="16210" y="17783"/>
                        </a:cubicBezTo>
                        <a:cubicBezTo>
                          <a:pt x="30654" y="12885"/>
                          <a:pt x="33668" y="12382"/>
                          <a:pt x="33668" y="12382"/>
                        </a:cubicBezTo>
                        <a:lnTo>
                          <a:pt x="33668" y="12382"/>
                        </a:lnTo>
                        <a:cubicBezTo>
                          <a:pt x="34547" y="20295"/>
                          <a:pt x="36054" y="32352"/>
                          <a:pt x="36306" y="33105"/>
                        </a:cubicBezTo>
                        <a:cubicBezTo>
                          <a:pt x="36306" y="33105"/>
                          <a:pt x="36306" y="33105"/>
                          <a:pt x="36306" y="33105"/>
                        </a:cubicBezTo>
                        <a:cubicBezTo>
                          <a:pt x="36306" y="33105"/>
                          <a:pt x="36306" y="33105"/>
                          <a:pt x="36306" y="33105"/>
                        </a:cubicBezTo>
                        <a:cubicBezTo>
                          <a:pt x="36431" y="33482"/>
                          <a:pt x="36682" y="33984"/>
                          <a:pt x="37059" y="34236"/>
                        </a:cubicBezTo>
                        <a:cubicBezTo>
                          <a:pt x="37184" y="34361"/>
                          <a:pt x="37310" y="34361"/>
                          <a:pt x="37436" y="34487"/>
                        </a:cubicBezTo>
                        <a:cubicBezTo>
                          <a:pt x="37562" y="34612"/>
                          <a:pt x="37687" y="34612"/>
                          <a:pt x="37939" y="34738"/>
                        </a:cubicBezTo>
                        <a:cubicBezTo>
                          <a:pt x="38064" y="34864"/>
                          <a:pt x="38315" y="34864"/>
                          <a:pt x="38441" y="34989"/>
                        </a:cubicBezTo>
                        <a:cubicBezTo>
                          <a:pt x="40074" y="35617"/>
                          <a:pt x="42209" y="35492"/>
                          <a:pt x="43590" y="34738"/>
                        </a:cubicBezTo>
                        <a:cubicBezTo>
                          <a:pt x="43841" y="34612"/>
                          <a:pt x="44093" y="34361"/>
                          <a:pt x="44343" y="34236"/>
                        </a:cubicBezTo>
                        <a:cubicBezTo>
                          <a:pt x="44721" y="33859"/>
                          <a:pt x="44972" y="33482"/>
                          <a:pt x="44972" y="32980"/>
                        </a:cubicBezTo>
                        <a:lnTo>
                          <a:pt x="44972" y="32980"/>
                        </a:lnTo>
                        <a:cubicBezTo>
                          <a:pt x="44972" y="32980"/>
                          <a:pt x="44972" y="32980"/>
                          <a:pt x="44972" y="32980"/>
                        </a:cubicBezTo>
                        <a:cubicBezTo>
                          <a:pt x="44972" y="25821"/>
                          <a:pt x="44721" y="10749"/>
                          <a:pt x="44343" y="6982"/>
                        </a:cubicBezTo>
                        <a:close/>
                      </a:path>
                    </a:pathLst>
                  </a:custGeom>
                  <a:solidFill>
                    <a:srgbClr val="155D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5" name="Freeform: Shape 5394">
                    <a:extLst>
                      <a:ext uri="{FF2B5EF4-FFF2-40B4-BE49-F238E27FC236}">
                        <a16:creationId xmlns:a16="http://schemas.microsoft.com/office/drawing/2014/main" id="{CCDFC79A-1301-4503-8CF0-B0CD7D191BFD}"/>
                      </a:ext>
                    </a:extLst>
                  </p:cNvPr>
                  <p:cNvSpPr/>
                  <p:nvPr/>
                </p:nvSpPr>
                <p:spPr>
                  <a:xfrm>
                    <a:off x="9176336" y="2470739"/>
                    <a:ext cx="25498" cy="43283"/>
                  </a:xfrm>
                  <a:custGeom>
                    <a:avLst/>
                    <a:gdLst>
                      <a:gd name="connsiteX0" fmla="*/ 20723 w 25498"/>
                      <a:gd name="connsiteY0" fmla="*/ 37993 h 43283"/>
                      <a:gd name="connsiteX1" fmla="*/ 19216 w 25498"/>
                      <a:gd name="connsiteY1" fmla="*/ 40881 h 43283"/>
                      <a:gd name="connsiteX2" fmla="*/ 0 w 25498"/>
                      <a:gd name="connsiteY2" fmla="*/ 37490 h 43283"/>
                      <a:gd name="connsiteX3" fmla="*/ 1884 w 25498"/>
                      <a:gd name="connsiteY3" fmla="*/ 10487 h 43283"/>
                      <a:gd name="connsiteX4" fmla="*/ 2135 w 25498"/>
                      <a:gd name="connsiteY4" fmla="*/ 7724 h 43283"/>
                      <a:gd name="connsiteX5" fmla="*/ 2135 w 25498"/>
                      <a:gd name="connsiteY5" fmla="*/ 7724 h 43283"/>
                      <a:gd name="connsiteX6" fmla="*/ 16327 w 25498"/>
                      <a:gd name="connsiteY6" fmla="*/ 1570 h 43283"/>
                      <a:gd name="connsiteX7" fmla="*/ 25496 w 25498"/>
                      <a:gd name="connsiteY7" fmla="*/ 10990 h 43283"/>
                      <a:gd name="connsiteX8" fmla="*/ 20723 w 25498"/>
                      <a:gd name="connsiteY8" fmla="*/ 37993 h 4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98" h="43283">
                        <a:moveTo>
                          <a:pt x="20723" y="37993"/>
                        </a:moveTo>
                        <a:cubicBezTo>
                          <a:pt x="20723" y="39123"/>
                          <a:pt x="20221" y="40253"/>
                          <a:pt x="19216" y="40881"/>
                        </a:cubicBezTo>
                        <a:cubicBezTo>
                          <a:pt x="10927" y="46533"/>
                          <a:pt x="0" y="40881"/>
                          <a:pt x="0" y="37490"/>
                        </a:cubicBezTo>
                        <a:lnTo>
                          <a:pt x="1884" y="10487"/>
                        </a:lnTo>
                        <a:cubicBezTo>
                          <a:pt x="1884" y="9483"/>
                          <a:pt x="2010" y="8603"/>
                          <a:pt x="2135" y="7724"/>
                        </a:cubicBezTo>
                        <a:lnTo>
                          <a:pt x="2135" y="7724"/>
                        </a:lnTo>
                        <a:cubicBezTo>
                          <a:pt x="3643" y="1193"/>
                          <a:pt x="10173" y="-2198"/>
                          <a:pt x="16327" y="1570"/>
                        </a:cubicBezTo>
                        <a:cubicBezTo>
                          <a:pt x="20096" y="3831"/>
                          <a:pt x="23863" y="6971"/>
                          <a:pt x="25496" y="10990"/>
                        </a:cubicBezTo>
                        <a:cubicBezTo>
                          <a:pt x="25622" y="10864"/>
                          <a:pt x="20849" y="25056"/>
                          <a:pt x="20723" y="37993"/>
                        </a:cubicBezTo>
                        <a:close/>
                      </a:path>
                    </a:pathLst>
                  </a:custGeom>
                  <a:solidFill>
                    <a:srgbClr val="F03A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6" name="Freeform: Shape 5395">
                    <a:extLst>
                      <a:ext uri="{FF2B5EF4-FFF2-40B4-BE49-F238E27FC236}">
                        <a16:creationId xmlns:a16="http://schemas.microsoft.com/office/drawing/2014/main" id="{FB5EFDFE-6046-47A7-84B7-7DC1656FB70A}"/>
                      </a:ext>
                    </a:extLst>
                  </p:cNvPr>
                  <p:cNvSpPr/>
                  <p:nvPr/>
                </p:nvSpPr>
                <p:spPr>
                  <a:xfrm>
                    <a:off x="9193668" y="2484868"/>
                    <a:ext cx="6531" cy="19270"/>
                  </a:xfrm>
                  <a:custGeom>
                    <a:avLst/>
                    <a:gdLst>
                      <a:gd name="connsiteX0" fmla="*/ 0 w 6531"/>
                      <a:gd name="connsiteY0" fmla="*/ 0 h 19270"/>
                      <a:gd name="connsiteX1" fmla="*/ 754 w 6531"/>
                      <a:gd name="connsiteY1" fmla="*/ 13564 h 19270"/>
                      <a:gd name="connsiteX2" fmla="*/ 2261 w 6531"/>
                      <a:gd name="connsiteY2" fmla="*/ 19216 h 19270"/>
                      <a:gd name="connsiteX3" fmla="*/ 3768 w 6531"/>
                      <a:gd name="connsiteY3" fmla="*/ 17583 h 19270"/>
                      <a:gd name="connsiteX4" fmla="*/ 3768 w 6531"/>
                      <a:gd name="connsiteY4" fmla="*/ 17583 h 19270"/>
                      <a:gd name="connsiteX5" fmla="*/ 6531 w 6531"/>
                      <a:gd name="connsiteY5" fmla="*/ 2637 h 19270"/>
                      <a:gd name="connsiteX6" fmla="*/ 0 w 6531"/>
                      <a:gd name="connsiteY6" fmla="*/ 0 h 1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1" h="19270">
                        <a:moveTo>
                          <a:pt x="0" y="0"/>
                        </a:moveTo>
                        <a:cubicBezTo>
                          <a:pt x="1131" y="2637"/>
                          <a:pt x="628" y="9294"/>
                          <a:pt x="754" y="13564"/>
                        </a:cubicBezTo>
                        <a:cubicBezTo>
                          <a:pt x="879" y="17834"/>
                          <a:pt x="502" y="18839"/>
                          <a:pt x="2261" y="19216"/>
                        </a:cubicBezTo>
                        <a:cubicBezTo>
                          <a:pt x="3266" y="19467"/>
                          <a:pt x="3642" y="18839"/>
                          <a:pt x="3768" y="17583"/>
                        </a:cubicBezTo>
                        <a:lnTo>
                          <a:pt x="3768" y="17583"/>
                        </a:lnTo>
                        <a:cubicBezTo>
                          <a:pt x="4396" y="11931"/>
                          <a:pt x="5526" y="6531"/>
                          <a:pt x="6531" y="2637"/>
                        </a:cubicBezTo>
                        <a:lnTo>
                          <a:pt x="0" y="0"/>
                        </a:lnTo>
                        <a:close/>
                      </a:path>
                    </a:pathLst>
                  </a:custGeom>
                  <a:solidFill>
                    <a:srgbClr val="000000">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97" name="Graphic 4">
                    <a:extLst>
                      <a:ext uri="{FF2B5EF4-FFF2-40B4-BE49-F238E27FC236}">
                        <a16:creationId xmlns:a16="http://schemas.microsoft.com/office/drawing/2014/main" id="{84FB7ED1-A2DF-40A1-A747-5F7CF3F14040}"/>
                      </a:ext>
                    </a:extLst>
                  </p:cNvPr>
                  <p:cNvGrpSpPr/>
                  <p:nvPr/>
                </p:nvGrpSpPr>
                <p:grpSpPr>
                  <a:xfrm>
                    <a:off x="9186510" y="2452256"/>
                    <a:ext cx="17025" cy="24452"/>
                    <a:chOff x="9186510" y="2452256"/>
                    <a:chExt cx="17025" cy="24452"/>
                  </a:xfrm>
                  <a:solidFill>
                    <a:schemeClr val="accent1"/>
                  </a:solidFill>
                </p:grpSpPr>
                <p:sp>
                  <p:nvSpPr>
                    <p:cNvPr id="5398" name="Freeform: Shape 5397">
                      <a:extLst>
                        <a:ext uri="{FF2B5EF4-FFF2-40B4-BE49-F238E27FC236}">
                          <a16:creationId xmlns:a16="http://schemas.microsoft.com/office/drawing/2014/main" id="{DF3677BD-2659-4EEF-9922-98B943D7FCC5}"/>
                        </a:ext>
                      </a:extLst>
                    </p:cNvPr>
                    <p:cNvSpPr/>
                    <p:nvPr/>
                  </p:nvSpPr>
                  <p:spPr>
                    <a:xfrm>
                      <a:off x="9190728" y="2454452"/>
                      <a:ext cx="12039" cy="18610"/>
                    </a:xfrm>
                    <a:custGeom>
                      <a:avLst/>
                      <a:gdLst>
                        <a:gd name="connsiteX0" fmla="*/ 178 w 12039"/>
                        <a:gd name="connsiteY0" fmla="*/ 8186 h 18610"/>
                        <a:gd name="connsiteX1" fmla="*/ 52 w 12039"/>
                        <a:gd name="connsiteY1" fmla="*/ 12205 h 18610"/>
                        <a:gd name="connsiteX2" fmla="*/ 1182 w 12039"/>
                        <a:gd name="connsiteY2" fmla="*/ 15973 h 18610"/>
                        <a:gd name="connsiteX3" fmla="*/ 4825 w 12039"/>
                        <a:gd name="connsiteY3" fmla="*/ 18485 h 18610"/>
                        <a:gd name="connsiteX4" fmla="*/ 6206 w 12039"/>
                        <a:gd name="connsiteY4" fmla="*/ 18611 h 18610"/>
                        <a:gd name="connsiteX5" fmla="*/ 7587 w 12039"/>
                        <a:gd name="connsiteY5" fmla="*/ 18360 h 18610"/>
                        <a:gd name="connsiteX6" fmla="*/ 8969 w 12039"/>
                        <a:gd name="connsiteY6" fmla="*/ 16727 h 18610"/>
                        <a:gd name="connsiteX7" fmla="*/ 8969 w 12039"/>
                        <a:gd name="connsiteY7" fmla="*/ 16727 h 18610"/>
                        <a:gd name="connsiteX8" fmla="*/ 9220 w 12039"/>
                        <a:gd name="connsiteY8" fmla="*/ 16224 h 18610"/>
                        <a:gd name="connsiteX9" fmla="*/ 11984 w 12039"/>
                        <a:gd name="connsiteY9" fmla="*/ 5298 h 18610"/>
                        <a:gd name="connsiteX10" fmla="*/ 11984 w 12039"/>
                        <a:gd name="connsiteY10" fmla="*/ 3665 h 18610"/>
                        <a:gd name="connsiteX11" fmla="*/ 8718 w 12039"/>
                        <a:gd name="connsiteY11" fmla="*/ 274 h 18610"/>
                        <a:gd name="connsiteX12" fmla="*/ 3820 w 12039"/>
                        <a:gd name="connsiteY12" fmla="*/ 525 h 18610"/>
                        <a:gd name="connsiteX13" fmla="*/ 2564 w 12039"/>
                        <a:gd name="connsiteY13" fmla="*/ 1027 h 18610"/>
                        <a:gd name="connsiteX14" fmla="*/ 1559 w 12039"/>
                        <a:gd name="connsiteY14" fmla="*/ 1907 h 18610"/>
                        <a:gd name="connsiteX15" fmla="*/ 178 w 12039"/>
                        <a:gd name="connsiteY15" fmla="*/ 8186 h 18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39" h="18610">
                          <a:moveTo>
                            <a:pt x="178" y="8186"/>
                          </a:moveTo>
                          <a:cubicBezTo>
                            <a:pt x="52" y="9568"/>
                            <a:pt x="-74" y="10824"/>
                            <a:pt x="52" y="12205"/>
                          </a:cubicBezTo>
                          <a:cubicBezTo>
                            <a:pt x="178" y="13587"/>
                            <a:pt x="428" y="14843"/>
                            <a:pt x="1182" y="15973"/>
                          </a:cubicBezTo>
                          <a:cubicBezTo>
                            <a:pt x="2061" y="17229"/>
                            <a:pt x="3318" y="18108"/>
                            <a:pt x="4825" y="18485"/>
                          </a:cubicBezTo>
                          <a:cubicBezTo>
                            <a:pt x="5327" y="18611"/>
                            <a:pt x="5704" y="18611"/>
                            <a:pt x="6206" y="18611"/>
                          </a:cubicBezTo>
                          <a:cubicBezTo>
                            <a:pt x="6708" y="18611"/>
                            <a:pt x="7211" y="18485"/>
                            <a:pt x="7587" y="18360"/>
                          </a:cubicBezTo>
                          <a:cubicBezTo>
                            <a:pt x="8215" y="17983"/>
                            <a:pt x="8718" y="17355"/>
                            <a:pt x="8969" y="16727"/>
                          </a:cubicBezTo>
                          <a:lnTo>
                            <a:pt x="8969" y="16727"/>
                          </a:lnTo>
                          <a:cubicBezTo>
                            <a:pt x="9095" y="16601"/>
                            <a:pt x="9095" y="16476"/>
                            <a:pt x="9220" y="16224"/>
                          </a:cubicBezTo>
                          <a:cubicBezTo>
                            <a:pt x="10853" y="12833"/>
                            <a:pt x="11607" y="9065"/>
                            <a:pt x="11984" y="5298"/>
                          </a:cubicBezTo>
                          <a:cubicBezTo>
                            <a:pt x="11984" y="4795"/>
                            <a:pt x="12109" y="4167"/>
                            <a:pt x="11984" y="3665"/>
                          </a:cubicBezTo>
                          <a:cubicBezTo>
                            <a:pt x="11732" y="2032"/>
                            <a:pt x="10351" y="776"/>
                            <a:pt x="8718" y="274"/>
                          </a:cubicBezTo>
                          <a:cubicBezTo>
                            <a:pt x="7085" y="-229"/>
                            <a:pt x="5453" y="23"/>
                            <a:pt x="3820" y="525"/>
                          </a:cubicBezTo>
                          <a:cubicBezTo>
                            <a:pt x="3443" y="651"/>
                            <a:pt x="2941" y="776"/>
                            <a:pt x="2564" y="1027"/>
                          </a:cubicBezTo>
                          <a:cubicBezTo>
                            <a:pt x="2187" y="1279"/>
                            <a:pt x="1936" y="1655"/>
                            <a:pt x="1559" y="1907"/>
                          </a:cubicBezTo>
                          <a:cubicBezTo>
                            <a:pt x="1182" y="2158"/>
                            <a:pt x="428" y="6177"/>
                            <a:pt x="178" y="8186"/>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9" name="Freeform: Shape 5398">
                      <a:extLst>
                        <a:ext uri="{FF2B5EF4-FFF2-40B4-BE49-F238E27FC236}">
                          <a16:creationId xmlns:a16="http://schemas.microsoft.com/office/drawing/2014/main" id="{53E74638-40D3-45ED-B4FF-D2F98D6DB26F}"/>
                        </a:ext>
                      </a:extLst>
                    </p:cNvPr>
                    <p:cNvSpPr/>
                    <p:nvPr/>
                  </p:nvSpPr>
                  <p:spPr>
                    <a:xfrm>
                      <a:off x="9195427" y="2466657"/>
                      <a:ext cx="4269" cy="6279"/>
                    </a:xfrm>
                    <a:custGeom>
                      <a:avLst/>
                      <a:gdLst>
                        <a:gd name="connsiteX0" fmla="*/ 376 w 4269"/>
                        <a:gd name="connsiteY0" fmla="*/ 3014 h 6279"/>
                        <a:gd name="connsiteX1" fmla="*/ 0 w 4269"/>
                        <a:gd name="connsiteY1" fmla="*/ 5401 h 6279"/>
                        <a:gd name="connsiteX2" fmla="*/ 0 w 4269"/>
                        <a:gd name="connsiteY2" fmla="*/ 5903 h 6279"/>
                        <a:gd name="connsiteX3" fmla="*/ 126 w 4269"/>
                        <a:gd name="connsiteY3" fmla="*/ 6154 h 6279"/>
                        <a:gd name="connsiteX4" fmla="*/ 1507 w 4269"/>
                        <a:gd name="connsiteY4" fmla="*/ 6280 h 6279"/>
                        <a:gd name="connsiteX5" fmla="*/ 2888 w 4269"/>
                        <a:gd name="connsiteY5" fmla="*/ 6029 h 6279"/>
                        <a:gd name="connsiteX6" fmla="*/ 4270 w 4269"/>
                        <a:gd name="connsiteY6" fmla="*/ 4396 h 6279"/>
                        <a:gd name="connsiteX7" fmla="*/ 4270 w 4269"/>
                        <a:gd name="connsiteY7" fmla="*/ 4396 h 6279"/>
                        <a:gd name="connsiteX8" fmla="*/ 2135 w 4269"/>
                        <a:gd name="connsiteY8" fmla="*/ 4898 h 6279"/>
                        <a:gd name="connsiteX9" fmla="*/ 2135 w 4269"/>
                        <a:gd name="connsiteY9" fmla="*/ 0 h 6279"/>
                        <a:gd name="connsiteX10" fmla="*/ 376 w 4269"/>
                        <a:gd name="connsiteY10" fmla="*/ 3014 h 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69" h="6279">
                          <a:moveTo>
                            <a:pt x="376" y="3014"/>
                          </a:moveTo>
                          <a:cubicBezTo>
                            <a:pt x="251" y="3768"/>
                            <a:pt x="126" y="4647"/>
                            <a:pt x="0" y="5401"/>
                          </a:cubicBezTo>
                          <a:cubicBezTo>
                            <a:pt x="0" y="5526"/>
                            <a:pt x="0" y="5777"/>
                            <a:pt x="0" y="5903"/>
                          </a:cubicBezTo>
                          <a:cubicBezTo>
                            <a:pt x="0" y="6029"/>
                            <a:pt x="126" y="6029"/>
                            <a:pt x="126" y="6154"/>
                          </a:cubicBezTo>
                          <a:cubicBezTo>
                            <a:pt x="628" y="6280"/>
                            <a:pt x="1005" y="6280"/>
                            <a:pt x="1507" y="6280"/>
                          </a:cubicBezTo>
                          <a:cubicBezTo>
                            <a:pt x="2009" y="6280"/>
                            <a:pt x="2512" y="6154"/>
                            <a:pt x="2888" y="6029"/>
                          </a:cubicBezTo>
                          <a:cubicBezTo>
                            <a:pt x="3516" y="5652"/>
                            <a:pt x="4019" y="5024"/>
                            <a:pt x="4270" y="4396"/>
                          </a:cubicBezTo>
                          <a:lnTo>
                            <a:pt x="4270" y="4396"/>
                          </a:lnTo>
                          <a:cubicBezTo>
                            <a:pt x="3516" y="5275"/>
                            <a:pt x="2512" y="5526"/>
                            <a:pt x="2135" y="4898"/>
                          </a:cubicBezTo>
                          <a:cubicBezTo>
                            <a:pt x="1633" y="4270"/>
                            <a:pt x="1759" y="2637"/>
                            <a:pt x="2135" y="0"/>
                          </a:cubicBezTo>
                          <a:cubicBezTo>
                            <a:pt x="1507" y="1884"/>
                            <a:pt x="628" y="1005"/>
                            <a:pt x="376" y="3014"/>
                          </a:cubicBezTo>
                          <a:close/>
                        </a:path>
                      </a:pathLst>
                    </a:custGeom>
                    <a:solidFill>
                      <a:srgbClr val="F5BC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0" name="Freeform: Shape 5399">
                      <a:extLst>
                        <a:ext uri="{FF2B5EF4-FFF2-40B4-BE49-F238E27FC236}">
                          <a16:creationId xmlns:a16="http://schemas.microsoft.com/office/drawing/2014/main" id="{EF703C3C-32BC-4BE1-AC7D-E9AE35B855BF}"/>
                        </a:ext>
                      </a:extLst>
                    </p:cNvPr>
                    <p:cNvSpPr/>
                    <p:nvPr/>
                  </p:nvSpPr>
                  <p:spPr>
                    <a:xfrm>
                      <a:off x="9187227" y="2461492"/>
                      <a:ext cx="11072" cy="13367"/>
                    </a:xfrm>
                    <a:custGeom>
                      <a:avLst/>
                      <a:gdLst>
                        <a:gd name="connsiteX0" fmla="*/ 0 w 11072"/>
                        <a:gd name="connsiteY0" fmla="*/ 11908 h 13367"/>
                        <a:gd name="connsiteX1" fmla="*/ 1894 w 11072"/>
                        <a:gd name="connsiteY1" fmla="*/ 0 h 13367"/>
                        <a:gd name="connsiteX2" fmla="*/ 11073 w 11072"/>
                        <a:gd name="connsiteY2" fmla="*/ 1460 h 13367"/>
                        <a:gd name="connsiteX3" fmla="*/ 9179 w 11072"/>
                        <a:gd name="connsiteY3" fmla="*/ 13368 h 13367"/>
                      </a:gdLst>
                      <a:ahLst/>
                      <a:cxnLst>
                        <a:cxn ang="0">
                          <a:pos x="connsiteX0" y="connsiteY0"/>
                        </a:cxn>
                        <a:cxn ang="0">
                          <a:pos x="connsiteX1" y="connsiteY1"/>
                        </a:cxn>
                        <a:cxn ang="0">
                          <a:pos x="connsiteX2" y="connsiteY2"/>
                        </a:cxn>
                        <a:cxn ang="0">
                          <a:pos x="connsiteX3" y="connsiteY3"/>
                        </a:cxn>
                      </a:cxnLst>
                      <a:rect l="l" t="t" r="r" b="b"/>
                      <a:pathLst>
                        <a:path w="11072" h="13367">
                          <a:moveTo>
                            <a:pt x="0" y="11908"/>
                          </a:moveTo>
                          <a:lnTo>
                            <a:pt x="1894" y="0"/>
                          </a:lnTo>
                          <a:lnTo>
                            <a:pt x="11073" y="1460"/>
                          </a:lnTo>
                          <a:lnTo>
                            <a:pt x="9179" y="13368"/>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1" name="Freeform: Shape 5400">
                      <a:extLst>
                        <a:ext uri="{FF2B5EF4-FFF2-40B4-BE49-F238E27FC236}">
                          <a16:creationId xmlns:a16="http://schemas.microsoft.com/office/drawing/2014/main" id="{24787394-39D4-4CFD-9530-319B8770CE05}"/>
                        </a:ext>
                      </a:extLst>
                    </p:cNvPr>
                    <p:cNvSpPr/>
                    <p:nvPr/>
                  </p:nvSpPr>
                  <p:spPr>
                    <a:xfrm>
                      <a:off x="9186945" y="2471174"/>
                      <a:ext cx="9302" cy="5535"/>
                    </a:xfrm>
                    <a:custGeom>
                      <a:avLst/>
                      <a:gdLst>
                        <a:gd name="connsiteX0" fmla="*/ 1700 w 9302"/>
                        <a:gd name="connsiteY0" fmla="*/ 382 h 5535"/>
                        <a:gd name="connsiteX1" fmla="*/ 1072 w 9302"/>
                        <a:gd name="connsiteY1" fmla="*/ 4149 h 5535"/>
                        <a:gd name="connsiteX2" fmla="*/ 7603 w 9302"/>
                        <a:gd name="connsiteY2" fmla="*/ 5154 h 5535"/>
                        <a:gd name="connsiteX3" fmla="*/ 8231 w 9302"/>
                        <a:gd name="connsiteY3" fmla="*/ 1386 h 5535"/>
                        <a:gd name="connsiteX4" fmla="*/ 1700 w 9302"/>
                        <a:gd name="connsiteY4" fmla="*/ 382 h 5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2" h="5535">
                          <a:moveTo>
                            <a:pt x="1700" y="382"/>
                          </a:moveTo>
                          <a:cubicBezTo>
                            <a:pt x="-310" y="1135"/>
                            <a:pt x="-561" y="2768"/>
                            <a:pt x="1072" y="4149"/>
                          </a:cubicBezTo>
                          <a:cubicBezTo>
                            <a:pt x="2704" y="5531"/>
                            <a:pt x="5594" y="5908"/>
                            <a:pt x="7603" y="5154"/>
                          </a:cubicBezTo>
                          <a:cubicBezTo>
                            <a:pt x="9612" y="4401"/>
                            <a:pt x="9863" y="2768"/>
                            <a:pt x="8231" y="1386"/>
                          </a:cubicBezTo>
                          <a:cubicBezTo>
                            <a:pt x="6598" y="5"/>
                            <a:pt x="3709" y="-372"/>
                            <a:pt x="1700" y="382"/>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2" name="Freeform: Shape 5401">
                      <a:extLst>
                        <a:ext uri="{FF2B5EF4-FFF2-40B4-BE49-F238E27FC236}">
                          <a16:creationId xmlns:a16="http://schemas.microsoft.com/office/drawing/2014/main" id="{A07E24A4-0242-421A-933F-EACAB1BC9884}"/>
                        </a:ext>
                      </a:extLst>
                    </p:cNvPr>
                    <p:cNvSpPr/>
                    <p:nvPr/>
                  </p:nvSpPr>
                  <p:spPr>
                    <a:xfrm>
                      <a:off x="9186510" y="2452256"/>
                      <a:ext cx="17025" cy="18419"/>
                    </a:xfrm>
                    <a:custGeom>
                      <a:avLst/>
                      <a:gdLst>
                        <a:gd name="connsiteX0" fmla="*/ 14066 w 17025"/>
                        <a:gd name="connsiteY0" fmla="*/ 8246 h 18419"/>
                        <a:gd name="connsiteX1" fmla="*/ 11303 w 17025"/>
                        <a:gd name="connsiteY1" fmla="*/ 11763 h 18419"/>
                        <a:gd name="connsiteX2" fmla="*/ 10550 w 17025"/>
                        <a:gd name="connsiteY2" fmla="*/ 16410 h 18419"/>
                        <a:gd name="connsiteX3" fmla="*/ 7786 w 17025"/>
                        <a:gd name="connsiteY3" fmla="*/ 18419 h 18419"/>
                        <a:gd name="connsiteX4" fmla="*/ 753 w 17025"/>
                        <a:gd name="connsiteY4" fmla="*/ 16159 h 18419"/>
                        <a:gd name="connsiteX5" fmla="*/ 9169 w 17025"/>
                        <a:gd name="connsiteY5" fmla="*/ 83 h 18419"/>
                        <a:gd name="connsiteX6" fmla="*/ 16202 w 17025"/>
                        <a:gd name="connsiteY6" fmla="*/ 7493 h 18419"/>
                        <a:gd name="connsiteX7" fmla="*/ 14066 w 17025"/>
                        <a:gd name="connsiteY7" fmla="*/ 8246 h 1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25" h="18419">
                          <a:moveTo>
                            <a:pt x="14066" y="8246"/>
                          </a:moveTo>
                          <a:cubicBezTo>
                            <a:pt x="12559" y="8874"/>
                            <a:pt x="11680" y="10256"/>
                            <a:pt x="11303" y="11763"/>
                          </a:cubicBezTo>
                          <a:cubicBezTo>
                            <a:pt x="10926" y="13270"/>
                            <a:pt x="10926" y="14903"/>
                            <a:pt x="10550" y="16410"/>
                          </a:cubicBezTo>
                          <a:cubicBezTo>
                            <a:pt x="10173" y="17917"/>
                            <a:pt x="9294" y="18294"/>
                            <a:pt x="7786" y="18419"/>
                          </a:cubicBezTo>
                          <a:cubicBezTo>
                            <a:pt x="6657" y="18419"/>
                            <a:pt x="1005" y="17540"/>
                            <a:pt x="753" y="16159"/>
                          </a:cubicBezTo>
                          <a:cubicBezTo>
                            <a:pt x="-2889" y="-1550"/>
                            <a:pt x="7786" y="-43"/>
                            <a:pt x="9169" y="83"/>
                          </a:cubicBezTo>
                          <a:cubicBezTo>
                            <a:pt x="13816" y="459"/>
                            <a:pt x="19090" y="4227"/>
                            <a:pt x="16202" y="7493"/>
                          </a:cubicBezTo>
                          <a:cubicBezTo>
                            <a:pt x="15825" y="7995"/>
                            <a:pt x="14695" y="8121"/>
                            <a:pt x="14066" y="8246"/>
                          </a:cubicBezTo>
                          <a:close/>
                        </a:path>
                      </a:pathLst>
                    </a:custGeom>
                    <a:solidFill>
                      <a:srgbClr val="B2693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3" name="Freeform: Shape 5402">
                      <a:extLst>
                        <a:ext uri="{FF2B5EF4-FFF2-40B4-BE49-F238E27FC236}">
                          <a16:creationId xmlns:a16="http://schemas.microsoft.com/office/drawing/2014/main" id="{41139223-602F-45DE-8451-278DB49557FB}"/>
                        </a:ext>
                      </a:extLst>
                    </p:cNvPr>
                    <p:cNvSpPr/>
                    <p:nvPr/>
                  </p:nvSpPr>
                  <p:spPr>
                    <a:xfrm>
                      <a:off x="9196180" y="2462982"/>
                      <a:ext cx="2438" cy="5466"/>
                    </a:xfrm>
                    <a:custGeom>
                      <a:avLst/>
                      <a:gdLst>
                        <a:gd name="connsiteX0" fmla="*/ 1507 w 2438"/>
                        <a:gd name="connsiteY0" fmla="*/ 33 h 5466"/>
                        <a:gd name="connsiteX1" fmla="*/ 2386 w 2438"/>
                        <a:gd name="connsiteY1" fmla="*/ 1163 h 5466"/>
                        <a:gd name="connsiteX2" fmla="*/ 2261 w 2438"/>
                        <a:gd name="connsiteY2" fmla="*/ 2921 h 5466"/>
                        <a:gd name="connsiteX3" fmla="*/ 1507 w 2438"/>
                        <a:gd name="connsiteY3" fmla="*/ 5056 h 5466"/>
                        <a:gd name="connsiteX4" fmla="*/ 1005 w 2438"/>
                        <a:gd name="connsiteY4" fmla="*/ 5433 h 5466"/>
                        <a:gd name="connsiteX5" fmla="*/ 251 w 2438"/>
                        <a:gd name="connsiteY5" fmla="*/ 5056 h 5466"/>
                        <a:gd name="connsiteX6" fmla="*/ 0 w 2438"/>
                        <a:gd name="connsiteY6" fmla="*/ 4177 h 5466"/>
                        <a:gd name="connsiteX7" fmla="*/ 126 w 2438"/>
                        <a:gd name="connsiteY7" fmla="*/ 1540 h 5466"/>
                        <a:gd name="connsiteX8" fmla="*/ 502 w 2438"/>
                        <a:gd name="connsiteY8" fmla="*/ 535 h 5466"/>
                        <a:gd name="connsiteX9" fmla="*/ 1507 w 2438"/>
                        <a:gd name="connsiteY9" fmla="*/ 33 h 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8" h="5466">
                          <a:moveTo>
                            <a:pt x="1507" y="33"/>
                          </a:moveTo>
                          <a:cubicBezTo>
                            <a:pt x="2009" y="158"/>
                            <a:pt x="2261" y="661"/>
                            <a:pt x="2386" y="1163"/>
                          </a:cubicBezTo>
                          <a:cubicBezTo>
                            <a:pt x="2512" y="1791"/>
                            <a:pt x="2386" y="2293"/>
                            <a:pt x="2261" y="2921"/>
                          </a:cubicBezTo>
                          <a:cubicBezTo>
                            <a:pt x="2135" y="3675"/>
                            <a:pt x="2009" y="4429"/>
                            <a:pt x="1507" y="5056"/>
                          </a:cubicBezTo>
                          <a:cubicBezTo>
                            <a:pt x="1381" y="5182"/>
                            <a:pt x="1256" y="5308"/>
                            <a:pt x="1005" y="5433"/>
                          </a:cubicBezTo>
                          <a:cubicBezTo>
                            <a:pt x="628" y="5559"/>
                            <a:pt x="376" y="5308"/>
                            <a:pt x="251" y="5056"/>
                          </a:cubicBezTo>
                          <a:cubicBezTo>
                            <a:pt x="126" y="4805"/>
                            <a:pt x="0" y="4429"/>
                            <a:pt x="0" y="4177"/>
                          </a:cubicBezTo>
                          <a:cubicBezTo>
                            <a:pt x="0" y="3298"/>
                            <a:pt x="0" y="2419"/>
                            <a:pt x="126" y="1540"/>
                          </a:cubicBezTo>
                          <a:cubicBezTo>
                            <a:pt x="126" y="1163"/>
                            <a:pt x="251" y="786"/>
                            <a:pt x="502" y="535"/>
                          </a:cubicBezTo>
                          <a:cubicBezTo>
                            <a:pt x="754" y="158"/>
                            <a:pt x="1130" y="-93"/>
                            <a:pt x="1507" y="33"/>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04" name="Freeform: Shape 5403">
                    <a:extLst>
                      <a:ext uri="{FF2B5EF4-FFF2-40B4-BE49-F238E27FC236}">
                        <a16:creationId xmlns:a16="http://schemas.microsoft.com/office/drawing/2014/main" id="{0A436A07-0E8C-4DA3-863D-090D292EAA08}"/>
                      </a:ext>
                    </a:extLst>
                  </p:cNvPr>
                  <p:cNvSpPr/>
                  <p:nvPr/>
                </p:nvSpPr>
                <p:spPr>
                  <a:xfrm>
                    <a:off x="9198868" y="2453846"/>
                    <a:ext cx="4922" cy="9293"/>
                  </a:xfrm>
                  <a:custGeom>
                    <a:avLst/>
                    <a:gdLst>
                      <a:gd name="connsiteX0" fmla="*/ 326 w 4922"/>
                      <a:gd name="connsiteY0" fmla="*/ 5275 h 9293"/>
                      <a:gd name="connsiteX1" fmla="*/ 75 w 4922"/>
                      <a:gd name="connsiteY1" fmla="*/ 3517 h 9293"/>
                      <a:gd name="connsiteX2" fmla="*/ 828 w 4922"/>
                      <a:gd name="connsiteY2" fmla="*/ 1884 h 9293"/>
                      <a:gd name="connsiteX3" fmla="*/ 1707 w 4922"/>
                      <a:gd name="connsiteY3" fmla="*/ 0 h 9293"/>
                      <a:gd name="connsiteX4" fmla="*/ 4722 w 4922"/>
                      <a:gd name="connsiteY4" fmla="*/ 3391 h 9293"/>
                      <a:gd name="connsiteX5" fmla="*/ 4094 w 4922"/>
                      <a:gd name="connsiteY5" fmla="*/ 9294 h 9293"/>
                      <a:gd name="connsiteX6" fmla="*/ 2336 w 4922"/>
                      <a:gd name="connsiteY6" fmla="*/ 6531 h 9293"/>
                      <a:gd name="connsiteX7" fmla="*/ 326 w 4922"/>
                      <a:gd name="connsiteY7" fmla="*/ 5275 h 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2" h="9293">
                        <a:moveTo>
                          <a:pt x="326" y="5275"/>
                        </a:moveTo>
                        <a:cubicBezTo>
                          <a:pt x="-50" y="4773"/>
                          <a:pt x="-50" y="4145"/>
                          <a:pt x="75" y="3517"/>
                        </a:cubicBezTo>
                        <a:cubicBezTo>
                          <a:pt x="200" y="2889"/>
                          <a:pt x="578" y="2386"/>
                          <a:pt x="828" y="1884"/>
                        </a:cubicBezTo>
                        <a:cubicBezTo>
                          <a:pt x="1205" y="1382"/>
                          <a:pt x="1205" y="502"/>
                          <a:pt x="1707" y="0"/>
                        </a:cubicBezTo>
                        <a:cubicBezTo>
                          <a:pt x="2712" y="502"/>
                          <a:pt x="4345" y="2009"/>
                          <a:pt x="4722" y="3391"/>
                        </a:cubicBezTo>
                        <a:cubicBezTo>
                          <a:pt x="5099" y="4773"/>
                          <a:pt x="4973" y="7536"/>
                          <a:pt x="4094" y="9294"/>
                        </a:cubicBezTo>
                        <a:cubicBezTo>
                          <a:pt x="3968" y="8540"/>
                          <a:pt x="2964" y="6782"/>
                          <a:pt x="2336" y="6531"/>
                        </a:cubicBezTo>
                        <a:cubicBezTo>
                          <a:pt x="1457" y="6280"/>
                          <a:pt x="703" y="5903"/>
                          <a:pt x="326" y="5275"/>
                        </a:cubicBezTo>
                        <a:close/>
                      </a:path>
                    </a:pathLst>
                  </a:custGeom>
                  <a:solidFill>
                    <a:srgbClr val="B2693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05" name="Graphic 4">
                    <a:extLst>
                      <a:ext uri="{FF2B5EF4-FFF2-40B4-BE49-F238E27FC236}">
                        <a16:creationId xmlns:a16="http://schemas.microsoft.com/office/drawing/2014/main" id="{84FB7ED1-A2DF-40A1-A747-5F7CF3F14040}"/>
                      </a:ext>
                    </a:extLst>
                  </p:cNvPr>
                  <p:cNvGrpSpPr/>
                  <p:nvPr/>
                </p:nvGrpSpPr>
                <p:grpSpPr>
                  <a:xfrm>
                    <a:off x="9218564" y="2488084"/>
                    <a:ext cx="9014" cy="7761"/>
                    <a:chOff x="9218564" y="2488084"/>
                    <a:chExt cx="9014" cy="7761"/>
                  </a:xfrm>
                  <a:solidFill>
                    <a:srgbClr val="FFCEA1"/>
                  </a:solidFill>
                </p:grpSpPr>
                <p:sp>
                  <p:nvSpPr>
                    <p:cNvPr id="5406" name="Freeform: Shape 5405">
                      <a:extLst>
                        <a:ext uri="{FF2B5EF4-FFF2-40B4-BE49-F238E27FC236}">
                          <a16:creationId xmlns:a16="http://schemas.microsoft.com/office/drawing/2014/main" id="{FEB46289-429D-494D-90B7-2AC2377B3021}"/>
                        </a:ext>
                      </a:extLst>
                    </p:cNvPr>
                    <p:cNvSpPr/>
                    <p:nvPr/>
                  </p:nvSpPr>
                  <p:spPr>
                    <a:xfrm>
                      <a:off x="9220044" y="2488084"/>
                      <a:ext cx="6028" cy="3440"/>
                    </a:xfrm>
                    <a:custGeom>
                      <a:avLst/>
                      <a:gdLst>
                        <a:gd name="connsiteX0" fmla="*/ 4898 w 6028"/>
                        <a:gd name="connsiteY0" fmla="*/ 300 h 3440"/>
                        <a:gd name="connsiteX1" fmla="*/ 5651 w 6028"/>
                        <a:gd name="connsiteY1" fmla="*/ 49 h 3440"/>
                        <a:gd name="connsiteX2" fmla="*/ 6028 w 6028"/>
                        <a:gd name="connsiteY2" fmla="*/ 803 h 3440"/>
                        <a:gd name="connsiteX3" fmla="*/ 4144 w 6028"/>
                        <a:gd name="connsiteY3" fmla="*/ 2687 h 3440"/>
                        <a:gd name="connsiteX4" fmla="*/ 2386 w 6028"/>
                        <a:gd name="connsiteY4" fmla="*/ 3189 h 3440"/>
                        <a:gd name="connsiteX5" fmla="*/ 0 w 6028"/>
                        <a:gd name="connsiteY5" fmla="*/ 3440 h 3440"/>
                        <a:gd name="connsiteX6" fmla="*/ 4898 w 6028"/>
                        <a:gd name="connsiteY6" fmla="*/ 300 h 3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3440">
                          <a:moveTo>
                            <a:pt x="4898" y="300"/>
                          </a:moveTo>
                          <a:cubicBezTo>
                            <a:pt x="5149" y="49"/>
                            <a:pt x="5400" y="-76"/>
                            <a:pt x="5651" y="49"/>
                          </a:cubicBezTo>
                          <a:cubicBezTo>
                            <a:pt x="5903" y="175"/>
                            <a:pt x="6028" y="552"/>
                            <a:pt x="6028" y="803"/>
                          </a:cubicBezTo>
                          <a:cubicBezTo>
                            <a:pt x="6028" y="1556"/>
                            <a:pt x="4898" y="2310"/>
                            <a:pt x="4144" y="2687"/>
                          </a:cubicBezTo>
                          <a:cubicBezTo>
                            <a:pt x="3516" y="3064"/>
                            <a:pt x="3140" y="3064"/>
                            <a:pt x="2386" y="3189"/>
                          </a:cubicBezTo>
                          <a:cubicBezTo>
                            <a:pt x="1632" y="3315"/>
                            <a:pt x="878" y="3315"/>
                            <a:pt x="0" y="3440"/>
                          </a:cubicBezTo>
                          <a:cubicBezTo>
                            <a:pt x="2135" y="2561"/>
                            <a:pt x="3642" y="1556"/>
                            <a:pt x="4898" y="300"/>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7" name="Freeform: Shape 5406">
                      <a:extLst>
                        <a:ext uri="{FF2B5EF4-FFF2-40B4-BE49-F238E27FC236}">
                          <a16:creationId xmlns:a16="http://schemas.microsoft.com/office/drawing/2014/main" id="{803EC9A2-6AD9-4E30-A8F4-0B741ACEC378}"/>
                        </a:ext>
                      </a:extLst>
                    </p:cNvPr>
                    <p:cNvSpPr/>
                    <p:nvPr/>
                  </p:nvSpPr>
                  <p:spPr>
                    <a:xfrm>
                      <a:off x="9218564" y="2489781"/>
                      <a:ext cx="9014" cy="6064"/>
                    </a:xfrm>
                    <a:custGeom>
                      <a:avLst/>
                      <a:gdLst>
                        <a:gd name="connsiteX0" fmla="*/ 725 w 9014"/>
                        <a:gd name="connsiteY0" fmla="*/ 2371 h 6064"/>
                        <a:gd name="connsiteX1" fmla="*/ 3111 w 9014"/>
                        <a:gd name="connsiteY1" fmla="*/ 990 h 6064"/>
                        <a:gd name="connsiteX2" fmla="*/ 7884 w 9014"/>
                        <a:gd name="connsiteY2" fmla="*/ 236 h 6064"/>
                        <a:gd name="connsiteX3" fmla="*/ 8763 w 9014"/>
                        <a:gd name="connsiteY3" fmla="*/ 1115 h 6064"/>
                        <a:gd name="connsiteX4" fmla="*/ 9015 w 9014"/>
                        <a:gd name="connsiteY4" fmla="*/ 2623 h 6064"/>
                        <a:gd name="connsiteX5" fmla="*/ 7759 w 9014"/>
                        <a:gd name="connsiteY5" fmla="*/ 4883 h 6064"/>
                        <a:gd name="connsiteX6" fmla="*/ 4116 w 9014"/>
                        <a:gd name="connsiteY6" fmla="*/ 6014 h 6064"/>
                        <a:gd name="connsiteX7" fmla="*/ 725 w 9014"/>
                        <a:gd name="connsiteY7" fmla="*/ 6014 h 6064"/>
                        <a:gd name="connsiteX8" fmla="*/ 725 w 9014"/>
                        <a:gd name="connsiteY8" fmla="*/ 2371 h 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14" h="6064">
                          <a:moveTo>
                            <a:pt x="725" y="2371"/>
                          </a:moveTo>
                          <a:cubicBezTo>
                            <a:pt x="1354" y="1618"/>
                            <a:pt x="2233" y="1241"/>
                            <a:pt x="3111" y="990"/>
                          </a:cubicBezTo>
                          <a:cubicBezTo>
                            <a:pt x="4996" y="362"/>
                            <a:pt x="6377" y="-392"/>
                            <a:pt x="7884" y="236"/>
                          </a:cubicBezTo>
                          <a:cubicBezTo>
                            <a:pt x="8387" y="362"/>
                            <a:pt x="8513" y="613"/>
                            <a:pt x="8763" y="1115"/>
                          </a:cubicBezTo>
                          <a:cubicBezTo>
                            <a:pt x="9015" y="1618"/>
                            <a:pt x="9015" y="2120"/>
                            <a:pt x="9015" y="2623"/>
                          </a:cubicBezTo>
                          <a:cubicBezTo>
                            <a:pt x="8889" y="3502"/>
                            <a:pt x="8261" y="4130"/>
                            <a:pt x="7759" y="4883"/>
                          </a:cubicBezTo>
                          <a:cubicBezTo>
                            <a:pt x="6880" y="6139"/>
                            <a:pt x="5623" y="6014"/>
                            <a:pt x="4116" y="6014"/>
                          </a:cubicBezTo>
                          <a:cubicBezTo>
                            <a:pt x="2609" y="6014"/>
                            <a:pt x="2107" y="5637"/>
                            <a:pt x="725" y="6014"/>
                          </a:cubicBezTo>
                          <a:cubicBezTo>
                            <a:pt x="-531" y="6516"/>
                            <a:pt x="97" y="3125"/>
                            <a:pt x="725" y="2371"/>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08" name="Freeform: Shape 5407">
                    <a:extLst>
                      <a:ext uri="{FF2B5EF4-FFF2-40B4-BE49-F238E27FC236}">
                        <a16:creationId xmlns:a16="http://schemas.microsoft.com/office/drawing/2014/main" id="{9AD879AD-4224-4287-8D47-492D9F610469}"/>
                      </a:ext>
                    </a:extLst>
                  </p:cNvPr>
                  <p:cNvSpPr/>
                  <p:nvPr/>
                </p:nvSpPr>
                <p:spPr>
                  <a:xfrm>
                    <a:off x="9196432" y="2485873"/>
                    <a:ext cx="10792" cy="14028"/>
                  </a:xfrm>
                  <a:custGeom>
                    <a:avLst/>
                    <a:gdLst>
                      <a:gd name="connsiteX0" fmla="*/ 7284 w 10792"/>
                      <a:gd name="connsiteY0" fmla="*/ 0 h 14028"/>
                      <a:gd name="connsiteX1" fmla="*/ 10550 w 10792"/>
                      <a:gd name="connsiteY1" fmla="*/ 8666 h 14028"/>
                      <a:gd name="connsiteX2" fmla="*/ 7661 w 10792"/>
                      <a:gd name="connsiteY2" fmla="*/ 13815 h 14028"/>
                      <a:gd name="connsiteX3" fmla="*/ 3391 w 10792"/>
                      <a:gd name="connsiteY3" fmla="*/ 10801 h 14028"/>
                      <a:gd name="connsiteX4" fmla="*/ 0 w 10792"/>
                      <a:gd name="connsiteY4" fmla="*/ 3517 h 14028"/>
                      <a:gd name="connsiteX5" fmla="*/ 7284 w 10792"/>
                      <a:gd name="connsiteY5" fmla="*/ 0 h 1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92" h="14028">
                        <a:moveTo>
                          <a:pt x="7284" y="0"/>
                        </a:moveTo>
                        <a:lnTo>
                          <a:pt x="10550" y="8666"/>
                        </a:lnTo>
                        <a:cubicBezTo>
                          <a:pt x="11429" y="10801"/>
                          <a:pt x="9796" y="12936"/>
                          <a:pt x="7661" y="13815"/>
                        </a:cubicBezTo>
                        <a:cubicBezTo>
                          <a:pt x="5526" y="14695"/>
                          <a:pt x="4396" y="12685"/>
                          <a:pt x="3391" y="10801"/>
                        </a:cubicBezTo>
                        <a:lnTo>
                          <a:pt x="0" y="3517"/>
                        </a:lnTo>
                        <a:lnTo>
                          <a:pt x="7284" y="0"/>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9" name="Freeform: Shape 5408">
                    <a:extLst>
                      <a:ext uri="{FF2B5EF4-FFF2-40B4-BE49-F238E27FC236}">
                        <a16:creationId xmlns:a16="http://schemas.microsoft.com/office/drawing/2014/main" id="{791699E9-CBA8-41E2-8385-0DC8F384A14D}"/>
                      </a:ext>
                    </a:extLst>
                  </p:cNvPr>
                  <p:cNvSpPr/>
                  <p:nvPr/>
                </p:nvSpPr>
                <p:spPr>
                  <a:xfrm>
                    <a:off x="9193301" y="2478541"/>
                    <a:ext cx="11740" cy="14410"/>
                  </a:xfrm>
                  <a:custGeom>
                    <a:avLst/>
                    <a:gdLst>
                      <a:gd name="connsiteX0" fmla="*/ 367 w 11740"/>
                      <a:gd name="connsiteY0" fmla="*/ 6327 h 14410"/>
                      <a:gd name="connsiteX1" fmla="*/ 3507 w 11740"/>
                      <a:gd name="connsiteY1" fmla="*/ 13737 h 14410"/>
                      <a:gd name="connsiteX2" fmla="*/ 11671 w 11740"/>
                      <a:gd name="connsiteY2" fmla="*/ 9844 h 14410"/>
                      <a:gd name="connsiteX3" fmla="*/ 8531 w 11740"/>
                      <a:gd name="connsiteY3" fmla="*/ 2810 h 14410"/>
                      <a:gd name="connsiteX4" fmla="*/ 2879 w 11740"/>
                      <a:gd name="connsiteY4" fmla="*/ 298 h 14410"/>
                      <a:gd name="connsiteX5" fmla="*/ 367 w 11740"/>
                      <a:gd name="connsiteY5" fmla="*/ 6327 h 14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0" h="14410">
                        <a:moveTo>
                          <a:pt x="367" y="6327"/>
                        </a:moveTo>
                        <a:lnTo>
                          <a:pt x="3507" y="13737"/>
                        </a:lnTo>
                        <a:cubicBezTo>
                          <a:pt x="4888" y="15872"/>
                          <a:pt x="12550" y="12481"/>
                          <a:pt x="11671" y="9844"/>
                        </a:cubicBezTo>
                        <a:lnTo>
                          <a:pt x="8531" y="2810"/>
                        </a:lnTo>
                        <a:cubicBezTo>
                          <a:pt x="7526" y="550"/>
                          <a:pt x="5140" y="-581"/>
                          <a:pt x="2879" y="298"/>
                        </a:cubicBezTo>
                        <a:cubicBezTo>
                          <a:pt x="493" y="1303"/>
                          <a:pt x="-638" y="3941"/>
                          <a:pt x="367" y="6327"/>
                        </a:cubicBezTo>
                        <a:close/>
                      </a:path>
                    </a:pathLst>
                  </a:custGeom>
                  <a:solidFill>
                    <a:srgbClr val="F03A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10" name="Freeform: Shape 5409">
                    <a:extLst>
                      <a:ext uri="{FF2B5EF4-FFF2-40B4-BE49-F238E27FC236}">
                        <a16:creationId xmlns:a16="http://schemas.microsoft.com/office/drawing/2014/main" id="{2DBF03DB-4139-4C91-8FEB-68AE4F31097E}"/>
                      </a:ext>
                    </a:extLst>
                  </p:cNvPr>
                  <p:cNvSpPr/>
                  <p:nvPr/>
                </p:nvSpPr>
                <p:spPr>
                  <a:xfrm>
                    <a:off x="9200304" y="2492155"/>
                    <a:ext cx="22550" cy="8690"/>
                  </a:xfrm>
                  <a:custGeom>
                    <a:avLst/>
                    <a:gdLst>
                      <a:gd name="connsiteX0" fmla="*/ 18861 w 22550"/>
                      <a:gd name="connsiteY0" fmla="*/ 249 h 8690"/>
                      <a:gd name="connsiteX1" fmla="*/ 20493 w 22550"/>
                      <a:gd name="connsiteY1" fmla="*/ 3263 h 8690"/>
                      <a:gd name="connsiteX2" fmla="*/ 4668 w 22550"/>
                      <a:gd name="connsiteY2" fmla="*/ 8663 h 8690"/>
                      <a:gd name="connsiteX3" fmla="*/ 21 w 22550"/>
                      <a:gd name="connsiteY3" fmla="*/ 5147 h 8690"/>
                      <a:gd name="connsiteX4" fmla="*/ 21 w 22550"/>
                      <a:gd name="connsiteY4" fmla="*/ 5147 h 8690"/>
                      <a:gd name="connsiteX5" fmla="*/ 4040 w 22550"/>
                      <a:gd name="connsiteY5" fmla="*/ 877 h 8690"/>
                      <a:gd name="connsiteX6" fmla="*/ 18861 w 22550"/>
                      <a:gd name="connsiteY6" fmla="*/ 249 h 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0" h="8690">
                        <a:moveTo>
                          <a:pt x="18861" y="249"/>
                        </a:moveTo>
                        <a:cubicBezTo>
                          <a:pt x="24261" y="-1007"/>
                          <a:pt x="22754" y="2886"/>
                          <a:pt x="20493" y="3263"/>
                        </a:cubicBezTo>
                        <a:lnTo>
                          <a:pt x="4668" y="8663"/>
                        </a:lnTo>
                        <a:cubicBezTo>
                          <a:pt x="2408" y="8915"/>
                          <a:pt x="272" y="7407"/>
                          <a:pt x="21" y="5147"/>
                        </a:cubicBezTo>
                        <a:lnTo>
                          <a:pt x="21" y="5147"/>
                        </a:lnTo>
                        <a:cubicBezTo>
                          <a:pt x="-230" y="2886"/>
                          <a:pt x="1779" y="1253"/>
                          <a:pt x="4040" y="877"/>
                        </a:cubicBezTo>
                        <a:lnTo>
                          <a:pt x="18861" y="249"/>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411" name="Freeform: Shape 5410">
                <a:extLst>
                  <a:ext uri="{FF2B5EF4-FFF2-40B4-BE49-F238E27FC236}">
                    <a16:creationId xmlns:a16="http://schemas.microsoft.com/office/drawing/2014/main" id="{92533119-977D-4A2A-9AF0-739D9CD606F6}"/>
                  </a:ext>
                </a:extLst>
              </p:cNvPr>
              <p:cNvSpPr/>
              <p:nvPr/>
            </p:nvSpPr>
            <p:spPr>
              <a:xfrm>
                <a:off x="9172097" y="2509610"/>
                <a:ext cx="13784" cy="26123"/>
              </a:xfrm>
              <a:custGeom>
                <a:avLst/>
                <a:gdLst>
                  <a:gd name="connsiteX0" fmla="*/ 2858 w 13784"/>
                  <a:gd name="connsiteY0" fmla="*/ 1005 h 26123"/>
                  <a:gd name="connsiteX1" fmla="*/ 2858 w 13784"/>
                  <a:gd name="connsiteY1" fmla="*/ 1005 h 26123"/>
                  <a:gd name="connsiteX2" fmla="*/ 6123 w 13784"/>
                  <a:gd name="connsiteY2" fmla="*/ 251 h 26123"/>
                  <a:gd name="connsiteX3" fmla="*/ 6625 w 13784"/>
                  <a:gd name="connsiteY3" fmla="*/ 628 h 26123"/>
                  <a:gd name="connsiteX4" fmla="*/ 9389 w 13784"/>
                  <a:gd name="connsiteY4" fmla="*/ 5401 h 26123"/>
                  <a:gd name="connsiteX5" fmla="*/ 11524 w 13784"/>
                  <a:gd name="connsiteY5" fmla="*/ 13564 h 26123"/>
                  <a:gd name="connsiteX6" fmla="*/ 12654 w 13784"/>
                  <a:gd name="connsiteY6" fmla="*/ 18462 h 26123"/>
                  <a:gd name="connsiteX7" fmla="*/ 13784 w 13784"/>
                  <a:gd name="connsiteY7" fmla="*/ 21602 h 26123"/>
                  <a:gd name="connsiteX8" fmla="*/ 7003 w 13784"/>
                  <a:gd name="connsiteY8" fmla="*/ 26124 h 26123"/>
                  <a:gd name="connsiteX9" fmla="*/ 220 w 13784"/>
                  <a:gd name="connsiteY9" fmla="*/ 7912 h 26123"/>
                  <a:gd name="connsiteX10" fmla="*/ 2858 w 13784"/>
                  <a:gd name="connsiteY10" fmla="*/ 1005 h 26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84" h="26123">
                    <a:moveTo>
                      <a:pt x="2858" y="1005"/>
                    </a:moveTo>
                    <a:lnTo>
                      <a:pt x="2858" y="1005"/>
                    </a:lnTo>
                    <a:cubicBezTo>
                      <a:pt x="3988" y="0"/>
                      <a:pt x="5244" y="-251"/>
                      <a:pt x="6123" y="251"/>
                    </a:cubicBezTo>
                    <a:cubicBezTo>
                      <a:pt x="6249" y="377"/>
                      <a:pt x="6500" y="502"/>
                      <a:pt x="6625" y="628"/>
                    </a:cubicBezTo>
                    <a:cubicBezTo>
                      <a:pt x="7630" y="1884"/>
                      <a:pt x="8635" y="3391"/>
                      <a:pt x="9389" y="5401"/>
                    </a:cubicBezTo>
                    <a:cubicBezTo>
                      <a:pt x="10645" y="8164"/>
                      <a:pt x="11272" y="11052"/>
                      <a:pt x="11524" y="13564"/>
                    </a:cubicBezTo>
                    <a:cubicBezTo>
                      <a:pt x="11775" y="15323"/>
                      <a:pt x="12152" y="16955"/>
                      <a:pt x="12654" y="18462"/>
                    </a:cubicBezTo>
                    <a:lnTo>
                      <a:pt x="13784" y="21602"/>
                    </a:lnTo>
                    <a:cubicBezTo>
                      <a:pt x="11524" y="23361"/>
                      <a:pt x="9138" y="24993"/>
                      <a:pt x="7003" y="26124"/>
                    </a:cubicBezTo>
                    <a:lnTo>
                      <a:pt x="220" y="7912"/>
                    </a:lnTo>
                    <a:cubicBezTo>
                      <a:pt x="-534" y="6029"/>
                      <a:pt x="723" y="2763"/>
                      <a:pt x="2858" y="1005"/>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12" name="Graphic 4">
              <a:extLst>
                <a:ext uri="{FF2B5EF4-FFF2-40B4-BE49-F238E27FC236}">
                  <a16:creationId xmlns:a16="http://schemas.microsoft.com/office/drawing/2014/main" id="{84FB7ED1-A2DF-40A1-A747-5F7CF3F14040}"/>
                </a:ext>
              </a:extLst>
            </p:cNvPr>
            <p:cNvGrpSpPr/>
            <p:nvPr/>
          </p:nvGrpSpPr>
          <p:grpSpPr>
            <a:xfrm>
              <a:off x="9180857" y="2442745"/>
              <a:ext cx="89674" cy="137198"/>
              <a:chOff x="9180857" y="2442745"/>
              <a:chExt cx="89674" cy="137198"/>
            </a:xfrm>
            <a:solidFill>
              <a:schemeClr val="accent1"/>
            </a:solidFill>
          </p:grpSpPr>
          <p:sp>
            <p:nvSpPr>
              <p:cNvPr id="5413" name="Freeform: Shape 5412">
                <a:extLst>
                  <a:ext uri="{FF2B5EF4-FFF2-40B4-BE49-F238E27FC236}">
                    <a16:creationId xmlns:a16="http://schemas.microsoft.com/office/drawing/2014/main" id="{E75ABE95-FF19-4A95-AEDE-93256045EDD8}"/>
                  </a:ext>
                </a:extLst>
              </p:cNvPr>
              <p:cNvSpPr/>
              <p:nvPr/>
            </p:nvSpPr>
            <p:spPr>
              <a:xfrm>
                <a:off x="9258350" y="2493032"/>
                <a:ext cx="12182" cy="31273"/>
              </a:xfrm>
              <a:custGeom>
                <a:avLst/>
                <a:gdLst>
                  <a:gd name="connsiteX0" fmla="*/ 12182 w 12182"/>
                  <a:gd name="connsiteY0" fmla="*/ 25370 h 31273"/>
                  <a:gd name="connsiteX1" fmla="*/ 0 w 12182"/>
                  <a:gd name="connsiteY1" fmla="*/ 0 h 31273"/>
                  <a:gd name="connsiteX2" fmla="*/ 0 w 12182"/>
                  <a:gd name="connsiteY2" fmla="*/ 0 h 31273"/>
                  <a:gd name="connsiteX3" fmla="*/ 4396 w 12182"/>
                  <a:gd name="connsiteY3" fmla="*/ 31273 h 31273"/>
                  <a:gd name="connsiteX4" fmla="*/ 4396 w 12182"/>
                  <a:gd name="connsiteY4" fmla="*/ 31273 h 31273"/>
                  <a:gd name="connsiteX5" fmla="*/ 12182 w 12182"/>
                  <a:gd name="connsiteY5" fmla="*/ 25370 h 31273"/>
                  <a:gd name="connsiteX6" fmla="*/ 12182 w 12182"/>
                  <a:gd name="connsiteY6" fmla="*/ 2537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2" h="31273">
                    <a:moveTo>
                      <a:pt x="12182" y="25370"/>
                    </a:moveTo>
                    <a:cubicBezTo>
                      <a:pt x="12182" y="19467"/>
                      <a:pt x="7033" y="6280"/>
                      <a:pt x="0" y="0"/>
                    </a:cubicBezTo>
                    <a:lnTo>
                      <a:pt x="0" y="0"/>
                    </a:lnTo>
                    <a:cubicBezTo>
                      <a:pt x="2386" y="11052"/>
                      <a:pt x="3642" y="21728"/>
                      <a:pt x="4396" y="31273"/>
                    </a:cubicBezTo>
                    <a:lnTo>
                      <a:pt x="4396" y="31273"/>
                    </a:lnTo>
                    <a:cubicBezTo>
                      <a:pt x="6782" y="29012"/>
                      <a:pt x="9545" y="27003"/>
                      <a:pt x="12182" y="25370"/>
                    </a:cubicBezTo>
                    <a:lnTo>
                      <a:pt x="12182" y="25370"/>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14" name="Freeform: Shape 5413">
                <a:extLst>
                  <a:ext uri="{FF2B5EF4-FFF2-40B4-BE49-F238E27FC236}">
                    <a16:creationId xmlns:a16="http://schemas.microsoft.com/office/drawing/2014/main" id="{CA94C4D1-56B6-4FC7-BB46-86F0E00530BA}"/>
                  </a:ext>
                </a:extLst>
              </p:cNvPr>
              <p:cNvSpPr/>
              <p:nvPr/>
            </p:nvSpPr>
            <p:spPr>
              <a:xfrm>
                <a:off x="9185756" y="2445562"/>
                <a:ext cx="81636" cy="134381"/>
              </a:xfrm>
              <a:custGeom>
                <a:avLst/>
                <a:gdLst>
                  <a:gd name="connsiteX0" fmla="*/ 11680 w 81636"/>
                  <a:gd name="connsiteY0" fmla="*/ 20718 h 134381"/>
                  <a:gd name="connsiteX1" fmla="*/ 43079 w 81636"/>
                  <a:gd name="connsiteY1" fmla="*/ 2633 h 134381"/>
                  <a:gd name="connsiteX2" fmla="*/ 56769 w 81636"/>
                  <a:gd name="connsiteY2" fmla="*/ 1251 h 134381"/>
                  <a:gd name="connsiteX3" fmla="*/ 60411 w 81636"/>
                  <a:gd name="connsiteY3" fmla="*/ 5019 h 134381"/>
                  <a:gd name="connsiteX4" fmla="*/ 72217 w 81636"/>
                  <a:gd name="connsiteY4" fmla="*/ 31771 h 134381"/>
                  <a:gd name="connsiteX5" fmla="*/ 81637 w 81636"/>
                  <a:gd name="connsiteY5" fmla="*/ 81632 h 134381"/>
                  <a:gd name="connsiteX6" fmla="*/ 62044 w 81636"/>
                  <a:gd name="connsiteY6" fmla="*/ 117301 h 134381"/>
                  <a:gd name="connsiteX7" fmla="*/ 62044 w 81636"/>
                  <a:gd name="connsiteY7" fmla="*/ 117301 h 134381"/>
                  <a:gd name="connsiteX8" fmla="*/ 60788 w 81636"/>
                  <a:gd name="connsiteY8" fmla="*/ 118054 h 134381"/>
                  <a:gd name="connsiteX9" fmla="*/ 70334 w 81636"/>
                  <a:gd name="connsiteY9" fmla="*/ 89670 h 134381"/>
                  <a:gd name="connsiteX10" fmla="*/ 74478 w 81636"/>
                  <a:gd name="connsiteY10" fmla="*/ 64928 h 134381"/>
                  <a:gd name="connsiteX11" fmla="*/ 67570 w 81636"/>
                  <a:gd name="connsiteY11" fmla="*/ 36166 h 134381"/>
                  <a:gd name="connsiteX12" fmla="*/ 56016 w 81636"/>
                  <a:gd name="connsiteY12" fmla="*/ 10168 h 134381"/>
                  <a:gd name="connsiteX13" fmla="*/ 43079 w 81636"/>
                  <a:gd name="connsiteY13" fmla="*/ 8410 h 134381"/>
                  <a:gd name="connsiteX14" fmla="*/ 11680 w 81636"/>
                  <a:gd name="connsiteY14" fmla="*/ 26496 h 134381"/>
                  <a:gd name="connsiteX15" fmla="*/ 4898 w 81636"/>
                  <a:gd name="connsiteY15" fmla="*/ 38176 h 134381"/>
                  <a:gd name="connsiteX16" fmla="*/ 4898 w 81636"/>
                  <a:gd name="connsiteY16" fmla="*/ 131493 h 134381"/>
                  <a:gd name="connsiteX17" fmla="*/ 0 w 81636"/>
                  <a:gd name="connsiteY17" fmla="*/ 134382 h 134381"/>
                  <a:gd name="connsiteX18" fmla="*/ 0 w 81636"/>
                  <a:gd name="connsiteY18" fmla="*/ 41065 h 134381"/>
                  <a:gd name="connsiteX19" fmla="*/ 11680 w 81636"/>
                  <a:gd name="connsiteY19" fmla="*/ 20718 h 13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1636" h="134381">
                    <a:moveTo>
                      <a:pt x="11680" y="20718"/>
                    </a:moveTo>
                    <a:lnTo>
                      <a:pt x="43079" y="2633"/>
                    </a:lnTo>
                    <a:cubicBezTo>
                      <a:pt x="48354" y="-382"/>
                      <a:pt x="53252" y="-759"/>
                      <a:pt x="56769" y="1251"/>
                    </a:cubicBezTo>
                    <a:cubicBezTo>
                      <a:pt x="58276" y="2130"/>
                      <a:pt x="59532" y="3386"/>
                      <a:pt x="60411" y="5019"/>
                    </a:cubicBezTo>
                    <a:cubicBezTo>
                      <a:pt x="64556" y="12303"/>
                      <a:pt x="68701" y="21095"/>
                      <a:pt x="72217" y="31771"/>
                    </a:cubicBezTo>
                    <a:cubicBezTo>
                      <a:pt x="78120" y="49354"/>
                      <a:pt x="80632" y="66937"/>
                      <a:pt x="81637" y="81632"/>
                    </a:cubicBezTo>
                    <a:cubicBezTo>
                      <a:pt x="71841" y="90674"/>
                      <a:pt x="64179" y="104364"/>
                      <a:pt x="62044" y="117301"/>
                    </a:cubicBezTo>
                    <a:lnTo>
                      <a:pt x="62044" y="117301"/>
                    </a:lnTo>
                    <a:lnTo>
                      <a:pt x="60788" y="118054"/>
                    </a:lnTo>
                    <a:cubicBezTo>
                      <a:pt x="60788" y="118054"/>
                      <a:pt x="64054" y="103988"/>
                      <a:pt x="70334" y="89670"/>
                    </a:cubicBezTo>
                    <a:cubicBezTo>
                      <a:pt x="74352" y="80501"/>
                      <a:pt x="75734" y="72714"/>
                      <a:pt x="74478" y="64928"/>
                    </a:cubicBezTo>
                    <a:cubicBezTo>
                      <a:pt x="72720" y="54880"/>
                      <a:pt x="70584" y="45209"/>
                      <a:pt x="67570" y="36166"/>
                    </a:cubicBezTo>
                    <a:cubicBezTo>
                      <a:pt x="64430" y="26747"/>
                      <a:pt x="60537" y="17955"/>
                      <a:pt x="56016" y="10168"/>
                    </a:cubicBezTo>
                    <a:cubicBezTo>
                      <a:pt x="53504" y="5898"/>
                      <a:pt x="48605" y="5270"/>
                      <a:pt x="43079" y="8410"/>
                    </a:cubicBezTo>
                    <a:lnTo>
                      <a:pt x="11680" y="26496"/>
                    </a:lnTo>
                    <a:cubicBezTo>
                      <a:pt x="7913" y="28631"/>
                      <a:pt x="4898" y="33906"/>
                      <a:pt x="4898" y="38176"/>
                    </a:cubicBezTo>
                    <a:lnTo>
                      <a:pt x="4898" y="131493"/>
                    </a:lnTo>
                    <a:lnTo>
                      <a:pt x="0" y="134382"/>
                    </a:lnTo>
                    <a:lnTo>
                      <a:pt x="0" y="41065"/>
                    </a:lnTo>
                    <a:cubicBezTo>
                      <a:pt x="0" y="32147"/>
                      <a:pt x="5275" y="24360"/>
                      <a:pt x="11680" y="20718"/>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15" name="Graphic 4">
                <a:extLst>
                  <a:ext uri="{FF2B5EF4-FFF2-40B4-BE49-F238E27FC236}">
                    <a16:creationId xmlns:a16="http://schemas.microsoft.com/office/drawing/2014/main" id="{84FB7ED1-A2DF-40A1-A747-5F7CF3F14040}"/>
                  </a:ext>
                </a:extLst>
              </p:cNvPr>
              <p:cNvGrpSpPr/>
              <p:nvPr/>
            </p:nvGrpSpPr>
            <p:grpSpPr>
              <a:xfrm>
                <a:off x="9180857" y="2442745"/>
                <a:ext cx="79894" cy="137072"/>
                <a:chOff x="9180857" y="2442745"/>
                <a:chExt cx="79894" cy="137072"/>
              </a:xfrm>
              <a:solidFill>
                <a:srgbClr val="464B51"/>
              </a:solidFill>
            </p:grpSpPr>
            <p:sp>
              <p:nvSpPr>
                <p:cNvPr id="5416" name="Freeform: Shape 5415">
                  <a:extLst>
                    <a:ext uri="{FF2B5EF4-FFF2-40B4-BE49-F238E27FC236}">
                      <a16:creationId xmlns:a16="http://schemas.microsoft.com/office/drawing/2014/main" id="{A8BB550E-C590-4775-BFF2-81EF4176FA49}"/>
                    </a:ext>
                  </a:extLst>
                </p:cNvPr>
                <p:cNvSpPr/>
                <p:nvPr/>
              </p:nvSpPr>
              <p:spPr>
                <a:xfrm>
                  <a:off x="9236371" y="2451962"/>
                  <a:ext cx="24380" cy="111528"/>
                </a:xfrm>
                <a:custGeom>
                  <a:avLst/>
                  <a:gdLst>
                    <a:gd name="connsiteX0" fmla="*/ 23863 w 24380"/>
                    <a:gd name="connsiteY0" fmla="*/ 58402 h 111528"/>
                    <a:gd name="connsiteX1" fmla="*/ 16955 w 24380"/>
                    <a:gd name="connsiteY1" fmla="*/ 29640 h 111528"/>
                    <a:gd name="connsiteX2" fmla="*/ 5400 w 24380"/>
                    <a:gd name="connsiteY2" fmla="*/ 3642 h 111528"/>
                    <a:gd name="connsiteX3" fmla="*/ 0 w 24380"/>
                    <a:gd name="connsiteY3" fmla="*/ 0 h 111528"/>
                    <a:gd name="connsiteX4" fmla="*/ 628 w 24380"/>
                    <a:gd name="connsiteY4" fmla="*/ 879 h 111528"/>
                    <a:gd name="connsiteX5" fmla="*/ 12182 w 24380"/>
                    <a:gd name="connsiteY5" fmla="*/ 26877 h 111528"/>
                    <a:gd name="connsiteX6" fmla="*/ 19090 w 24380"/>
                    <a:gd name="connsiteY6" fmla="*/ 55638 h 111528"/>
                    <a:gd name="connsiteX7" fmla="*/ 14946 w 24380"/>
                    <a:gd name="connsiteY7" fmla="*/ 80381 h 111528"/>
                    <a:gd name="connsiteX8" fmla="*/ 5400 w 24380"/>
                    <a:gd name="connsiteY8" fmla="*/ 108765 h 111528"/>
                    <a:gd name="connsiteX9" fmla="*/ 10173 w 24380"/>
                    <a:gd name="connsiteY9" fmla="*/ 111528 h 111528"/>
                    <a:gd name="connsiteX10" fmla="*/ 19718 w 24380"/>
                    <a:gd name="connsiteY10" fmla="*/ 83144 h 111528"/>
                    <a:gd name="connsiteX11" fmla="*/ 23863 w 24380"/>
                    <a:gd name="connsiteY11" fmla="*/ 58402 h 11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0" h="111528">
                      <a:moveTo>
                        <a:pt x="23863" y="58402"/>
                      </a:moveTo>
                      <a:cubicBezTo>
                        <a:pt x="22105" y="48354"/>
                        <a:pt x="19969" y="38683"/>
                        <a:pt x="16955" y="29640"/>
                      </a:cubicBezTo>
                      <a:cubicBezTo>
                        <a:pt x="13815" y="20221"/>
                        <a:pt x="9922" y="11429"/>
                        <a:pt x="5400" y="3642"/>
                      </a:cubicBezTo>
                      <a:cubicBezTo>
                        <a:pt x="4144" y="1507"/>
                        <a:pt x="2261" y="251"/>
                        <a:pt x="0" y="0"/>
                      </a:cubicBezTo>
                      <a:cubicBezTo>
                        <a:pt x="251" y="251"/>
                        <a:pt x="376" y="628"/>
                        <a:pt x="628" y="879"/>
                      </a:cubicBezTo>
                      <a:cubicBezTo>
                        <a:pt x="5149" y="8792"/>
                        <a:pt x="9042" y="17583"/>
                        <a:pt x="12182" y="26877"/>
                      </a:cubicBezTo>
                      <a:cubicBezTo>
                        <a:pt x="15196" y="35794"/>
                        <a:pt x="17332" y="45591"/>
                        <a:pt x="19090" y="55638"/>
                      </a:cubicBezTo>
                      <a:cubicBezTo>
                        <a:pt x="20472" y="63425"/>
                        <a:pt x="19090" y="71087"/>
                        <a:pt x="14946" y="80381"/>
                      </a:cubicBezTo>
                      <a:cubicBezTo>
                        <a:pt x="8666" y="94698"/>
                        <a:pt x="5400" y="108765"/>
                        <a:pt x="5400" y="108765"/>
                      </a:cubicBezTo>
                      <a:lnTo>
                        <a:pt x="10173" y="111528"/>
                      </a:lnTo>
                      <a:cubicBezTo>
                        <a:pt x="10173" y="111528"/>
                        <a:pt x="13439" y="97462"/>
                        <a:pt x="19718" y="83144"/>
                      </a:cubicBezTo>
                      <a:cubicBezTo>
                        <a:pt x="23863" y="73850"/>
                        <a:pt x="25245" y="66189"/>
                        <a:pt x="23863" y="58402"/>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17" name="Freeform: Shape 5416">
                  <a:extLst>
                    <a:ext uri="{FF2B5EF4-FFF2-40B4-BE49-F238E27FC236}">
                      <a16:creationId xmlns:a16="http://schemas.microsoft.com/office/drawing/2014/main" id="{C912944E-BE49-4041-85C7-AB91B548CF2B}"/>
                    </a:ext>
                  </a:extLst>
                </p:cNvPr>
                <p:cNvSpPr/>
                <p:nvPr/>
              </p:nvSpPr>
              <p:spPr>
                <a:xfrm>
                  <a:off x="9180857" y="2442745"/>
                  <a:ext cx="61667" cy="137072"/>
                </a:xfrm>
                <a:custGeom>
                  <a:avLst/>
                  <a:gdLst>
                    <a:gd name="connsiteX0" fmla="*/ 16579 w 61667"/>
                    <a:gd name="connsiteY0" fmla="*/ 23535 h 137072"/>
                    <a:gd name="connsiteX1" fmla="*/ 47977 w 61667"/>
                    <a:gd name="connsiteY1" fmla="*/ 5449 h 137072"/>
                    <a:gd name="connsiteX2" fmla="*/ 61667 w 61667"/>
                    <a:gd name="connsiteY2" fmla="*/ 4068 h 137072"/>
                    <a:gd name="connsiteX3" fmla="*/ 56895 w 61667"/>
                    <a:gd name="connsiteY3" fmla="*/ 1305 h 137072"/>
                    <a:gd name="connsiteX4" fmla="*/ 43080 w 61667"/>
                    <a:gd name="connsiteY4" fmla="*/ 2686 h 137072"/>
                    <a:gd name="connsiteX5" fmla="*/ 11681 w 61667"/>
                    <a:gd name="connsiteY5" fmla="*/ 20772 h 137072"/>
                    <a:gd name="connsiteX6" fmla="*/ 0 w 61667"/>
                    <a:gd name="connsiteY6" fmla="*/ 40993 h 137072"/>
                    <a:gd name="connsiteX7" fmla="*/ 0 w 61667"/>
                    <a:gd name="connsiteY7" fmla="*/ 134310 h 137072"/>
                    <a:gd name="connsiteX8" fmla="*/ 4773 w 61667"/>
                    <a:gd name="connsiteY8" fmla="*/ 137073 h 137072"/>
                    <a:gd name="connsiteX9" fmla="*/ 4773 w 61667"/>
                    <a:gd name="connsiteY9" fmla="*/ 43756 h 137072"/>
                    <a:gd name="connsiteX10" fmla="*/ 16579 w 61667"/>
                    <a:gd name="connsiteY10" fmla="*/ 23535 h 13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667" h="137072">
                      <a:moveTo>
                        <a:pt x="16579" y="23535"/>
                      </a:moveTo>
                      <a:lnTo>
                        <a:pt x="47977" y="5449"/>
                      </a:lnTo>
                      <a:cubicBezTo>
                        <a:pt x="53253" y="2435"/>
                        <a:pt x="58150" y="2058"/>
                        <a:pt x="61667" y="4068"/>
                      </a:cubicBezTo>
                      <a:cubicBezTo>
                        <a:pt x="61667" y="4068"/>
                        <a:pt x="58402" y="2184"/>
                        <a:pt x="56895" y="1305"/>
                      </a:cubicBezTo>
                      <a:cubicBezTo>
                        <a:pt x="53253" y="-830"/>
                        <a:pt x="48354" y="-328"/>
                        <a:pt x="43080" y="2686"/>
                      </a:cubicBezTo>
                      <a:lnTo>
                        <a:pt x="11681" y="20772"/>
                      </a:lnTo>
                      <a:cubicBezTo>
                        <a:pt x="5276" y="24540"/>
                        <a:pt x="0" y="33583"/>
                        <a:pt x="0" y="40993"/>
                      </a:cubicBezTo>
                      <a:lnTo>
                        <a:pt x="0" y="134310"/>
                      </a:lnTo>
                      <a:lnTo>
                        <a:pt x="4773" y="137073"/>
                      </a:lnTo>
                      <a:lnTo>
                        <a:pt x="4773" y="43756"/>
                      </a:lnTo>
                      <a:cubicBezTo>
                        <a:pt x="4898" y="35215"/>
                        <a:pt x="10173" y="27177"/>
                        <a:pt x="16579" y="235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418" name="Graphic 4">
              <a:extLst>
                <a:ext uri="{FF2B5EF4-FFF2-40B4-BE49-F238E27FC236}">
                  <a16:creationId xmlns:a16="http://schemas.microsoft.com/office/drawing/2014/main" id="{84FB7ED1-A2DF-40A1-A747-5F7CF3F14040}"/>
                </a:ext>
              </a:extLst>
            </p:cNvPr>
            <p:cNvGrpSpPr/>
            <p:nvPr/>
          </p:nvGrpSpPr>
          <p:grpSpPr>
            <a:xfrm>
              <a:off x="9134011" y="2408926"/>
              <a:ext cx="111952" cy="71106"/>
              <a:chOff x="9134011" y="2408926"/>
              <a:chExt cx="111952" cy="71106"/>
            </a:xfrm>
            <a:solidFill>
              <a:schemeClr val="accent1"/>
            </a:solidFill>
          </p:grpSpPr>
          <p:sp>
            <p:nvSpPr>
              <p:cNvPr id="5419" name="Freeform: Shape 5418">
                <a:extLst>
                  <a:ext uri="{FF2B5EF4-FFF2-40B4-BE49-F238E27FC236}">
                    <a16:creationId xmlns:a16="http://schemas.microsoft.com/office/drawing/2014/main" id="{B67CEABC-ED99-4F79-BB07-12D36A9C3F42}"/>
                  </a:ext>
                </a:extLst>
              </p:cNvPr>
              <p:cNvSpPr/>
              <p:nvPr/>
            </p:nvSpPr>
            <p:spPr>
              <a:xfrm>
                <a:off x="9186259" y="2439446"/>
                <a:ext cx="59704" cy="40021"/>
              </a:xfrm>
              <a:custGeom>
                <a:avLst/>
                <a:gdLst>
                  <a:gd name="connsiteX0" fmla="*/ 59280 w 59704"/>
                  <a:gd name="connsiteY0" fmla="*/ 83 h 40021"/>
                  <a:gd name="connsiteX1" fmla="*/ 58150 w 59704"/>
                  <a:gd name="connsiteY1" fmla="*/ 208 h 40021"/>
                  <a:gd name="connsiteX2" fmla="*/ 2135 w 59704"/>
                  <a:gd name="connsiteY2" fmla="*/ 32486 h 40021"/>
                  <a:gd name="connsiteX3" fmla="*/ 628 w 59704"/>
                  <a:gd name="connsiteY3" fmla="*/ 35123 h 40021"/>
                  <a:gd name="connsiteX4" fmla="*/ 628 w 59704"/>
                  <a:gd name="connsiteY4" fmla="*/ 38138 h 40021"/>
                  <a:gd name="connsiteX5" fmla="*/ 0 w 59704"/>
                  <a:gd name="connsiteY5" fmla="*/ 40022 h 40021"/>
                  <a:gd name="connsiteX6" fmla="*/ 7410 w 59704"/>
                  <a:gd name="connsiteY6" fmla="*/ 30476 h 40021"/>
                  <a:gd name="connsiteX7" fmla="*/ 48479 w 59704"/>
                  <a:gd name="connsiteY7" fmla="*/ 6739 h 40021"/>
                  <a:gd name="connsiteX8" fmla="*/ 56894 w 59704"/>
                  <a:gd name="connsiteY8" fmla="*/ 8749 h 40021"/>
                  <a:gd name="connsiteX9" fmla="*/ 56894 w 59704"/>
                  <a:gd name="connsiteY9" fmla="*/ 8749 h 40021"/>
                  <a:gd name="connsiteX10" fmla="*/ 59658 w 59704"/>
                  <a:gd name="connsiteY10" fmla="*/ 7241 h 40021"/>
                  <a:gd name="connsiteX11" fmla="*/ 59658 w 59704"/>
                  <a:gd name="connsiteY11" fmla="*/ 962 h 40021"/>
                  <a:gd name="connsiteX12" fmla="*/ 59280 w 59704"/>
                  <a:gd name="connsiteY12" fmla="*/ 83 h 40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704" h="40021">
                    <a:moveTo>
                      <a:pt x="59280" y="83"/>
                    </a:moveTo>
                    <a:cubicBezTo>
                      <a:pt x="59029" y="-43"/>
                      <a:pt x="58653" y="-43"/>
                      <a:pt x="58150" y="208"/>
                    </a:cubicBezTo>
                    <a:lnTo>
                      <a:pt x="2135" y="32486"/>
                    </a:lnTo>
                    <a:cubicBezTo>
                      <a:pt x="1256" y="32988"/>
                      <a:pt x="628" y="34119"/>
                      <a:pt x="628" y="35123"/>
                    </a:cubicBezTo>
                    <a:lnTo>
                      <a:pt x="628" y="38138"/>
                    </a:lnTo>
                    <a:lnTo>
                      <a:pt x="0" y="40022"/>
                    </a:lnTo>
                    <a:cubicBezTo>
                      <a:pt x="1883" y="37761"/>
                      <a:pt x="2511" y="33240"/>
                      <a:pt x="7410" y="30476"/>
                    </a:cubicBezTo>
                    <a:cubicBezTo>
                      <a:pt x="12308" y="27588"/>
                      <a:pt x="48479" y="6739"/>
                      <a:pt x="48479" y="6739"/>
                    </a:cubicBezTo>
                    <a:cubicBezTo>
                      <a:pt x="51619" y="4981"/>
                      <a:pt x="54508" y="6990"/>
                      <a:pt x="56894" y="8749"/>
                    </a:cubicBezTo>
                    <a:cubicBezTo>
                      <a:pt x="56894" y="8749"/>
                      <a:pt x="56894" y="8749"/>
                      <a:pt x="56894" y="8749"/>
                    </a:cubicBezTo>
                    <a:cubicBezTo>
                      <a:pt x="58025" y="9628"/>
                      <a:pt x="59658" y="8749"/>
                      <a:pt x="59658" y="7241"/>
                    </a:cubicBezTo>
                    <a:lnTo>
                      <a:pt x="59658" y="962"/>
                    </a:lnTo>
                    <a:cubicBezTo>
                      <a:pt x="59782" y="585"/>
                      <a:pt x="59658" y="208"/>
                      <a:pt x="59280" y="83"/>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20" name="Freeform: Shape 5419">
                <a:extLst>
                  <a:ext uri="{FF2B5EF4-FFF2-40B4-BE49-F238E27FC236}">
                    <a16:creationId xmlns:a16="http://schemas.microsoft.com/office/drawing/2014/main" id="{55EE48BA-DCDC-4AE8-905E-8769767E53B2}"/>
                  </a:ext>
                </a:extLst>
              </p:cNvPr>
              <p:cNvSpPr/>
              <p:nvPr/>
            </p:nvSpPr>
            <p:spPr>
              <a:xfrm>
                <a:off x="9134137" y="2444050"/>
                <a:ext cx="52749" cy="35983"/>
              </a:xfrm>
              <a:custGeom>
                <a:avLst/>
                <a:gdLst>
                  <a:gd name="connsiteX0" fmla="*/ 0 w 52749"/>
                  <a:gd name="connsiteY0" fmla="*/ 0 h 35983"/>
                  <a:gd name="connsiteX1" fmla="*/ 0 w 52749"/>
                  <a:gd name="connsiteY1" fmla="*/ 3014 h 35983"/>
                  <a:gd name="connsiteX2" fmla="*/ 3266 w 52749"/>
                  <a:gd name="connsiteY2" fmla="*/ 8792 h 35983"/>
                  <a:gd name="connsiteX3" fmla="*/ 49484 w 52749"/>
                  <a:gd name="connsiteY3" fmla="*/ 35543 h 35983"/>
                  <a:gd name="connsiteX4" fmla="*/ 52750 w 52749"/>
                  <a:gd name="connsiteY4" fmla="*/ 33659 h 35983"/>
                  <a:gd name="connsiteX5" fmla="*/ 52750 w 52749"/>
                  <a:gd name="connsiteY5" fmla="*/ 30645 h 35983"/>
                  <a:gd name="connsiteX6" fmla="*/ 0 w 52749"/>
                  <a:gd name="connsiteY6" fmla="*/ 0 h 3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49" h="35983">
                    <a:moveTo>
                      <a:pt x="0" y="0"/>
                    </a:moveTo>
                    <a:lnTo>
                      <a:pt x="0" y="3014"/>
                    </a:lnTo>
                    <a:cubicBezTo>
                      <a:pt x="0" y="5149"/>
                      <a:pt x="1507" y="7661"/>
                      <a:pt x="3266" y="8792"/>
                    </a:cubicBezTo>
                    <a:lnTo>
                      <a:pt x="49484" y="35543"/>
                    </a:lnTo>
                    <a:cubicBezTo>
                      <a:pt x="51369" y="36548"/>
                      <a:pt x="52750" y="35794"/>
                      <a:pt x="52750" y="33659"/>
                    </a:cubicBezTo>
                    <a:lnTo>
                      <a:pt x="52750" y="30645"/>
                    </a:lnTo>
                    <a:lnTo>
                      <a:pt x="0" y="0"/>
                    </a:ln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21" name="Freeform: Shape 5420">
                <a:extLst>
                  <a:ext uri="{FF2B5EF4-FFF2-40B4-BE49-F238E27FC236}">
                    <a16:creationId xmlns:a16="http://schemas.microsoft.com/office/drawing/2014/main" id="{AF674485-D548-4B7A-9F6E-AEF21E58E099}"/>
                  </a:ext>
                </a:extLst>
              </p:cNvPr>
              <p:cNvSpPr/>
              <p:nvPr/>
            </p:nvSpPr>
            <p:spPr>
              <a:xfrm>
                <a:off x="9134011" y="2408926"/>
                <a:ext cx="111528" cy="65643"/>
              </a:xfrm>
              <a:custGeom>
                <a:avLst/>
                <a:gdLst>
                  <a:gd name="connsiteX0" fmla="*/ 58653 w 111528"/>
                  <a:gd name="connsiteY0" fmla="*/ 83 h 65643"/>
                  <a:gd name="connsiteX1" fmla="*/ 57523 w 111528"/>
                  <a:gd name="connsiteY1" fmla="*/ 208 h 65643"/>
                  <a:gd name="connsiteX2" fmla="*/ 1507 w 111528"/>
                  <a:gd name="connsiteY2" fmla="*/ 32486 h 65643"/>
                  <a:gd name="connsiteX3" fmla="*/ 0 w 111528"/>
                  <a:gd name="connsiteY3" fmla="*/ 35123 h 65643"/>
                  <a:gd name="connsiteX4" fmla="*/ 52876 w 111528"/>
                  <a:gd name="connsiteY4" fmla="*/ 65643 h 65643"/>
                  <a:gd name="connsiteX5" fmla="*/ 54383 w 111528"/>
                  <a:gd name="connsiteY5" fmla="*/ 63006 h 65643"/>
                  <a:gd name="connsiteX6" fmla="*/ 110398 w 111528"/>
                  <a:gd name="connsiteY6" fmla="*/ 30728 h 65643"/>
                  <a:gd name="connsiteX7" fmla="*/ 111528 w 111528"/>
                  <a:gd name="connsiteY7" fmla="*/ 30602 h 65643"/>
                  <a:gd name="connsiteX8" fmla="*/ 58653 w 111528"/>
                  <a:gd name="connsiteY8" fmla="*/ 83 h 65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528" h="65643">
                    <a:moveTo>
                      <a:pt x="58653" y="83"/>
                    </a:moveTo>
                    <a:cubicBezTo>
                      <a:pt x="58402" y="-43"/>
                      <a:pt x="58025" y="-43"/>
                      <a:pt x="57523" y="208"/>
                    </a:cubicBezTo>
                    <a:lnTo>
                      <a:pt x="1507" y="32486"/>
                    </a:lnTo>
                    <a:cubicBezTo>
                      <a:pt x="628" y="32988"/>
                      <a:pt x="0" y="34119"/>
                      <a:pt x="0" y="35123"/>
                    </a:cubicBezTo>
                    <a:lnTo>
                      <a:pt x="52876" y="65643"/>
                    </a:lnTo>
                    <a:cubicBezTo>
                      <a:pt x="52876" y="64638"/>
                      <a:pt x="53504" y="63508"/>
                      <a:pt x="54383" y="63006"/>
                    </a:cubicBezTo>
                    <a:lnTo>
                      <a:pt x="110398" y="30728"/>
                    </a:lnTo>
                    <a:cubicBezTo>
                      <a:pt x="110775" y="30476"/>
                      <a:pt x="111152" y="30476"/>
                      <a:pt x="111528" y="30602"/>
                    </a:cubicBezTo>
                    <a:cubicBezTo>
                      <a:pt x="111528" y="30602"/>
                      <a:pt x="59030" y="208"/>
                      <a:pt x="58653" y="83"/>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22" name="Graphic 4">
              <a:extLst>
                <a:ext uri="{FF2B5EF4-FFF2-40B4-BE49-F238E27FC236}">
                  <a16:creationId xmlns:a16="http://schemas.microsoft.com/office/drawing/2014/main" id="{84FB7ED1-A2DF-40A1-A747-5F7CF3F14040}"/>
                </a:ext>
              </a:extLst>
            </p:cNvPr>
            <p:cNvGrpSpPr/>
            <p:nvPr/>
          </p:nvGrpSpPr>
          <p:grpSpPr>
            <a:xfrm>
              <a:off x="9088546" y="2510364"/>
              <a:ext cx="110021" cy="129990"/>
              <a:chOff x="9088546" y="2510364"/>
              <a:chExt cx="110021" cy="129990"/>
            </a:xfrm>
            <a:solidFill>
              <a:schemeClr val="accent1"/>
            </a:solidFill>
          </p:grpSpPr>
          <p:sp>
            <p:nvSpPr>
              <p:cNvPr id="5423" name="Freeform: Shape 5422">
                <a:extLst>
                  <a:ext uri="{FF2B5EF4-FFF2-40B4-BE49-F238E27FC236}">
                    <a16:creationId xmlns:a16="http://schemas.microsoft.com/office/drawing/2014/main" id="{A8B389D0-5AC6-4D84-858E-3818EED4223E}"/>
                  </a:ext>
                </a:extLst>
              </p:cNvPr>
              <p:cNvSpPr/>
              <p:nvPr/>
            </p:nvSpPr>
            <p:spPr>
              <a:xfrm>
                <a:off x="9088671" y="2510364"/>
                <a:ext cx="109895" cy="78245"/>
              </a:xfrm>
              <a:custGeom>
                <a:avLst/>
                <a:gdLst>
                  <a:gd name="connsiteX0" fmla="*/ 34790 w 109895"/>
                  <a:gd name="connsiteY0" fmla="*/ 0 h 78245"/>
                  <a:gd name="connsiteX1" fmla="*/ 11680 w 109895"/>
                  <a:gd name="connsiteY1" fmla="*/ 13313 h 78245"/>
                  <a:gd name="connsiteX2" fmla="*/ 0 w 109895"/>
                  <a:gd name="connsiteY2" fmla="*/ 33534 h 78245"/>
                  <a:gd name="connsiteX3" fmla="*/ 0 w 109895"/>
                  <a:gd name="connsiteY3" fmla="*/ 34915 h 78245"/>
                  <a:gd name="connsiteX4" fmla="*/ 4019 w 109895"/>
                  <a:gd name="connsiteY4" fmla="*/ 37176 h 78245"/>
                  <a:gd name="connsiteX5" fmla="*/ 75105 w 109895"/>
                  <a:gd name="connsiteY5" fmla="*/ 78246 h 78245"/>
                  <a:gd name="connsiteX6" fmla="*/ 75105 w 109895"/>
                  <a:gd name="connsiteY6" fmla="*/ 76864 h 78245"/>
                  <a:gd name="connsiteX7" fmla="*/ 86786 w 109895"/>
                  <a:gd name="connsiteY7" fmla="*/ 56643 h 78245"/>
                  <a:gd name="connsiteX8" fmla="*/ 109895 w 109895"/>
                  <a:gd name="connsiteY8" fmla="*/ 43330 h 78245"/>
                  <a:gd name="connsiteX9" fmla="*/ 34790 w 109895"/>
                  <a:gd name="connsiteY9" fmla="*/ 0 h 78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895" h="78245">
                    <a:moveTo>
                      <a:pt x="34790" y="0"/>
                    </a:moveTo>
                    <a:lnTo>
                      <a:pt x="11680" y="13313"/>
                    </a:lnTo>
                    <a:cubicBezTo>
                      <a:pt x="5275" y="17081"/>
                      <a:pt x="0" y="26124"/>
                      <a:pt x="0" y="33534"/>
                    </a:cubicBezTo>
                    <a:lnTo>
                      <a:pt x="0" y="34915"/>
                    </a:lnTo>
                    <a:lnTo>
                      <a:pt x="4019" y="37176"/>
                    </a:lnTo>
                    <a:lnTo>
                      <a:pt x="75105" y="78246"/>
                    </a:lnTo>
                    <a:lnTo>
                      <a:pt x="75105" y="76864"/>
                    </a:lnTo>
                    <a:cubicBezTo>
                      <a:pt x="75105" y="69454"/>
                      <a:pt x="80380" y="60286"/>
                      <a:pt x="86786" y="56643"/>
                    </a:cubicBezTo>
                    <a:lnTo>
                      <a:pt x="109895" y="43330"/>
                    </a:lnTo>
                    <a:lnTo>
                      <a:pt x="34790" y="0"/>
                    </a:lnTo>
                    <a:close/>
                  </a:path>
                </a:pathLst>
              </a:custGeom>
              <a:solidFill>
                <a:srgbClr val="DB9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24" name="Graphic 4">
                <a:extLst>
                  <a:ext uri="{FF2B5EF4-FFF2-40B4-BE49-F238E27FC236}">
                    <a16:creationId xmlns:a16="http://schemas.microsoft.com/office/drawing/2014/main" id="{84FB7ED1-A2DF-40A1-A747-5F7CF3F14040}"/>
                  </a:ext>
                </a:extLst>
              </p:cNvPr>
              <p:cNvGrpSpPr/>
              <p:nvPr/>
            </p:nvGrpSpPr>
            <p:grpSpPr>
              <a:xfrm>
                <a:off x="9088671" y="2547791"/>
                <a:ext cx="79124" cy="53377"/>
                <a:chOff x="9088671" y="2547791"/>
                <a:chExt cx="79124" cy="53377"/>
              </a:xfrm>
              <a:solidFill>
                <a:schemeClr val="accent1"/>
              </a:solidFill>
            </p:grpSpPr>
            <p:sp>
              <p:nvSpPr>
                <p:cNvPr id="5425" name="Freeform: Shape 5424">
                  <a:extLst>
                    <a:ext uri="{FF2B5EF4-FFF2-40B4-BE49-F238E27FC236}">
                      <a16:creationId xmlns:a16="http://schemas.microsoft.com/office/drawing/2014/main" id="{9FED93BD-C457-4CC3-9B51-A166FE544696}"/>
                    </a:ext>
                  </a:extLst>
                </p:cNvPr>
                <p:cNvSpPr/>
                <p:nvPr/>
              </p:nvSpPr>
              <p:spPr>
                <a:xfrm>
                  <a:off x="9088671" y="2555578"/>
                  <a:ext cx="77743" cy="45590"/>
                </a:xfrm>
                <a:custGeom>
                  <a:avLst/>
                  <a:gdLst>
                    <a:gd name="connsiteX0" fmla="*/ 2638 w 77743"/>
                    <a:gd name="connsiteY0" fmla="*/ 0 h 45590"/>
                    <a:gd name="connsiteX1" fmla="*/ 77743 w 77743"/>
                    <a:gd name="connsiteY1" fmla="*/ 43330 h 45590"/>
                    <a:gd name="connsiteX2" fmla="*/ 75608 w 77743"/>
                    <a:gd name="connsiteY2" fmla="*/ 45340 h 45590"/>
                    <a:gd name="connsiteX3" fmla="*/ 75105 w 77743"/>
                    <a:gd name="connsiteY3" fmla="*/ 45591 h 45590"/>
                    <a:gd name="connsiteX4" fmla="*/ 0 w 77743"/>
                    <a:gd name="connsiteY4" fmla="*/ 2261 h 45590"/>
                    <a:gd name="connsiteX5" fmla="*/ 502 w 77743"/>
                    <a:gd name="connsiteY5" fmla="*/ 2010 h 45590"/>
                    <a:gd name="connsiteX6" fmla="*/ 2638 w 77743"/>
                    <a:gd name="connsiteY6" fmla="*/ 0 h 45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43" h="45590">
                      <a:moveTo>
                        <a:pt x="2638" y="0"/>
                      </a:moveTo>
                      <a:lnTo>
                        <a:pt x="77743" y="43330"/>
                      </a:lnTo>
                      <a:cubicBezTo>
                        <a:pt x="77115" y="44209"/>
                        <a:pt x="76487" y="44963"/>
                        <a:pt x="75608" y="45340"/>
                      </a:cubicBezTo>
                      <a:lnTo>
                        <a:pt x="75105" y="45591"/>
                      </a:lnTo>
                      <a:lnTo>
                        <a:pt x="0" y="2261"/>
                      </a:lnTo>
                      <a:lnTo>
                        <a:pt x="502" y="2010"/>
                      </a:lnTo>
                      <a:cubicBezTo>
                        <a:pt x="1256" y="1633"/>
                        <a:pt x="2009" y="879"/>
                        <a:pt x="2638" y="0"/>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26" name="Freeform: Shape 5425">
                  <a:extLst>
                    <a:ext uri="{FF2B5EF4-FFF2-40B4-BE49-F238E27FC236}">
                      <a16:creationId xmlns:a16="http://schemas.microsoft.com/office/drawing/2014/main" id="{A7C6EBE4-298B-4312-B714-8BA80603DE0F}"/>
                    </a:ext>
                  </a:extLst>
                </p:cNvPr>
                <p:cNvSpPr/>
                <p:nvPr/>
              </p:nvSpPr>
              <p:spPr>
                <a:xfrm>
                  <a:off x="9091309" y="2547791"/>
                  <a:ext cx="76486" cy="51368"/>
                </a:xfrm>
                <a:custGeom>
                  <a:avLst/>
                  <a:gdLst>
                    <a:gd name="connsiteX0" fmla="*/ 1381 w 76486"/>
                    <a:gd name="connsiteY0" fmla="*/ 3894 h 51368"/>
                    <a:gd name="connsiteX1" fmla="*/ 1381 w 76486"/>
                    <a:gd name="connsiteY1" fmla="*/ 0 h 51368"/>
                    <a:gd name="connsiteX2" fmla="*/ 72468 w 76486"/>
                    <a:gd name="connsiteY2" fmla="*/ 41070 h 51368"/>
                    <a:gd name="connsiteX3" fmla="*/ 72971 w 76486"/>
                    <a:gd name="connsiteY3" fmla="*/ 40818 h 51368"/>
                    <a:gd name="connsiteX4" fmla="*/ 76487 w 76486"/>
                    <a:gd name="connsiteY4" fmla="*/ 42828 h 51368"/>
                    <a:gd name="connsiteX5" fmla="*/ 76487 w 76486"/>
                    <a:gd name="connsiteY5" fmla="*/ 47349 h 51368"/>
                    <a:gd name="connsiteX6" fmla="*/ 75105 w 76486"/>
                    <a:gd name="connsiteY6" fmla="*/ 51368 h 51368"/>
                    <a:gd name="connsiteX7" fmla="*/ 0 w 76486"/>
                    <a:gd name="connsiteY7" fmla="*/ 8038 h 51368"/>
                    <a:gd name="connsiteX8" fmla="*/ 1381 w 76486"/>
                    <a:gd name="connsiteY8" fmla="*/ 3894 h 51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486" h="51368">
                      <a:moveTo>
                        <a:pt x="1381" y="3894"/>
                      </a:moveTo>
                      <a:lnTo>
                        <a:pt x="1381" y="0"/>
                      </a:lnTo>
                      <a:lnTo>
                        <a:pt x="72468" y="41070"/>
                      </a:lnTo>
                      <a:lnTo>
                        <a:pt x="72971" y="40818"/>
                      </a:lnTo>
                      <a:cubicBezTo>
                        <a:pt x="74854" y="39688"/>
                        <a:pt x="76487" y="40567"/>
                        <a:pt x="76487" y="42828"/>
                      </a:cubicBezTo>
                      <a:lnTo>
                        <a:pt x="76487" y="47349"/>
                      </a:lnTo>
                      <a:cubicBezTo>
                        <a:pt x="76487" y="48605"/>
                        <a:pt x="75985" y="50112"/>
                        <a:pt x="75105" y="51368"/>
                      </a:cubicBezTo>
                      <a:lnTo>
                        <a:pt x="0" y="8038"/>
                      </a:lnTo>
                      <a:cubicBezTo>
                        <a:pt x="754" y="6531"/>
                        <a:pt x="1381" y="5149"/>
                        <a:pt x="1381" y="3894"/>
                      </a:cubicBezTo>
                      <a:close/>
                    </a:path>
                  </a:pathLst>
                </a:custGeom>
                <a:solidFill>
                  <a:srgbClr val="C77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27" name="Freeform: Shape 5426">
                <a:extLst>
                  <a:ext uri="{FF2B5EF4-FFF2-40B4-BE49-F238E27FC236}">
                    <a16:creationId xmlns:a16="http://schemas.microsoft.com/office/drawing/2014/main" id="{E14F6C48-C71C-4820-8CF6-FB7482D2128C}"/>
                  </a:ext>
                </a:extLst>
              </p:cNvPr>
              <p:cNvSpPr/>
              <p:nvPr/>
            </p:nvSpPr>
            <p:spPr>
              <a:xfrm>
                <a:off x="9088546" y="2557964"/>
                <a:ext cx="77241" cy="82390"/>
              </a:xfrm>
              <a:custGeom>
                <a:avLst/>
                <a:gdLst>
                  <a:gd name="connsiteX0" fmla="*/ 75105 w 77241"/>
                  <a:gd name="connsiteY0" fmla="*/ 77743 h 82390"/>
                  <a:gd name="connsiteX1" fmla="*/ 75105 w 77241"/>
                  <a:gd name="connsiteY1" fmla="*/ 43330 h 82390"/>
                  <a:gd name="connsiteX2" fmla="*/ 0 w 77241"/>
                  <a:gd name="connsiteY2" fmla="*/ 0 h 82390"/>
                  <a:gd name="connsiteX3" fmla="*/ 0 w 77241"/>
                  <a:gd name="connsiteY3" fmla="*/ 34413 h 82390"/>
                  <a:gd name="connsiteX4" fmla="*/ 2135 w 77241"/>
                  <a:gd name="connsiteY4" fmla="*/ 39060 h 82390"/>
                  <a:gd name="connsiteX5" fmla="*/ 77241 w 77241"/>
                  <a:gd name="connsiteY5" fmla="*/ 82390 h 82390"/>
                  <a:gd name="connsiteX6" fmla="*/ 75105 w 77241"/>
                  <a:gd name="connsiteY6" fmla="*/ 77743 h 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241" h="82390">
                    <a:moveTo>
                      <a:pt x="75105" y="77743"/>
                    </a:moveTo>
                    <a:lnTo>
                      <a:pt x="75105" y="43330"/>
                    </a:lnTo>
                    <a:lnTo>
                      <a:pt x="0" y="0"/>
                    </a:lnTo>
                    <a:lnTo>
                      <a:pt x="0" y="34413"/>
                    </a:lnTo>
                    <a:cubicBezTo>
                      <a:pt x="0" y="36674"/>
                      <a:pt x="754" y="38306"/>
                      <a:pt x="2135" y="39060"/>
                    </a:cubicBezTo>
                    <a:cubicBezTo>
                      <a:pt x="3391" y="39814"/>
                      <a:pt x="77241" y="82390"/>
                      <a:pt x="77241" y="82390"/>
                    </a:cubicBezTo>
                    <a:cubicBezTo>
                      <a:pt x="75985" y="81637"/>
                      <a:pt x="75105" y="80004"/>
                      <a:pt x="75105" y="77743"/>
                    </a:cubicBez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28" name="Graphic 4">
              <a:extLst>
                <a:ext uri="{FF2B5EF4-FFF2-40B4-BE49-F238E27FC236}">
                  <a16:creationId xmlns:a16="http://schemas.microsoft.com/office/drawing/2014/main" id="{84FB7ED1-A2DF-40A1-A747-5F7CF3F14040}"/>
                </a:ext>
              </a:extLst>
            </p:cNvPr>
            <p:cNvGrpSpPr/>
            <p:nvPr/>
          </p:nvGrpSpPr>
          <p:grpSpPr>
            <a:xfrm>
              <a:off x="9163651" y="2553820"/>
              <a:ext cx="34790" cy="87260"/>
              <a:chOff x="9163651" y="2553820"/>
              <a:chExt cx="34790" cy="87260"/>
            </a:xfrm>
            <a:solidFill>
              <a:schemeClr val="accent1"/>
            </a:solidFill>
          </p:grpSpPr>
          <p:sp>
            <p:nvSpPr>
              <p:cNvPr id="5429" name="Freeform: Shape 5428">
                <a:extLst>
                  <a:ext uri="{FF2B5EF4-FFF2-40B4-BE49-F238E27FC236}">
                    <a16:creationId xmlns:a16="http://schemas.microsoft.com/office/drawing/2014/main" id="{747E294A-3692-44BD-B10B-9802754DF938}"/>
                  </a:ext>
                </a:extLst>
              </p:cNvPr>
              <p:cNvSpPr/>
              <p:nvPr/>
            </p:nvSpPr>
            <p:spPr>
              <a:xfrm>
                <a:off x="9163651" y="2553820"/>
                <a:ext cx="34790" cy="87260"/>
              </a:xfrm>
              <a:custGeom>
                <a:avLst/>
                <a:gdLst>
                  <a:gd name="connsiteX0" fmla="*/ 4019 w 34790"/>
                  <a:gd name="connsiteY0" fmla="*/ 41195 h 87260"/>
                  <a:gd name="connsiteX1" fmla="*/ 4019 w 34790"/>
                  <a:gd name="connsiteY1" fmla="*/ 36674 h 87260"/>
                  <a:gd name="connsiteX2" fmla="*/ 503 w 34790"/>
                  <a:gd name="connsiteY2" fmla="*/ 34664 h 87260"/>
                  <a:gd name="connsiteX3" fmla="*/ 0 w 34790"/>
                  <a:gd name="connsiteY3" fmla="*/ 34915 h 87260"/>
                  <a:gd name="connsiteX4" fmla="*/ 0 w 34790"/>
                  <a:gd name="connsiteY4" fmla="*/ 33534 h 87260"/>
                  <a:gd name="connsiteX5" fmla="*/ 11680 w 34790"/>
                  <a:gd name="connsiteY5" fmla="*/ 13313 h 87260"/>
                  <a:gd name="connsiteX6" fmla="*/ 34790 w 34790"/>
                  <a:gd name="connsiteY6" fmla="*/ 0 h 87260"/>
                  <a:gd name="connsiteX7" fmla="*/ 34790 w 34790"/>
                  <a:gd name="connsiteY7" fmla="*/ 42577 h 87260"/>
                  <a:gd name="connsiteX8" fmla="*/ 23361 w 34790"/>
                  <a:gd name="connsiteY8" fmla="*/ 49233 h 87260"/>
                  <a:gd name="connsiteX9" fmla="*/ 7159 w 34790"/>
                  <a:gd name="connsiteY9" fmla="*/ 77366 h 87260"/>
                  <a:gd name="connsiteX10" fmla="*/ 7159 w 34790"/>
                  <a:gd name="connsiteY10" fmla="*/ 86284 h 87260"/>
                  <a:gd name="connsiteX11" fmla="*/ 7159 w 34790"/>
                  <a:gd name="connsiteY11" fmla="*/ 86284 h 87260"/>
                  <a:gd name="connsiteX12" fmla="*/ 2136 w 34790"/>
                  <a:gd name="connsiteY12" fmla="*/ 86786 h 87260"/>
                  <a:gd name="connsiteX13" fmla="*/ 0 w 34790"/>
                  <a:gd name="connsiteY13" fmla="*/ 82139 h 87260"/>
                  <a:gd name="connsiteX14" fmla="*/ 0 w 34790"/>
                  <a:gd name="connsiteY14" fmla="*/ 47726 h 87260"/>
                  <a:gd name="connsiteX15" fmla="*/ 503 w 34790"/>
                  <a:gd name="connsiteY15" fmla="*/ 47475 h 87260"/>
                  <a:gd name="connsiteX16" fmla="*/ 4019 w 34790"/>
                  <a:gd name="connsiteY16" fmla="*/ 41195 h 8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790" h="87260">
                    <a:moveTo>
                      <a:pt x="4019" y="41195"/>
                    </a:moveTo>
                    <a:lnTo>
                      <a:pt x="4019" y="36674"/>
                    </a:lnTo>
                    <a:cubicBezTo>
                      <a:pt x="4019" y="34413"/>
                      <a:pt x="2512" y="33534"/>
                      <a:pt x="503" y="34664"/>
                    </a:cubicBezTo>
                    <a:lnTo>
                      <a:pt x="0" y="34915"/>
                    </a:lnTo>
                    <a:lnTo>
                      <a:pt x="0" y="33534"/>
                    </a:lnTo>
                    <a:cubicBezTo>
                      <a:pt x="0" y="26124"/>
                      <a:pt x="5276" y="16955"/>
                      <a:pt x="11680" y="13313"/>
                    </a:cubicBezTo>
                    <a:lnTo>
                      <a:pt x="34790" y="0"/>
                    </a:lnTo>
                    <a:lnTo>
                      <a:pt x="34790" y="42577"/>
                    </a:lnTo>
                    <a:lnTo>
                      <a:pt x="23361" y="49233"/>
                    </a:lnTo>
                    <a:cubicBezTo>
                      <a:pt x="14444" y="54383"/>
                      <a:pt x="7159" y="66942"/>
                      <a:pt x="7159" y="77366"/>
                    </a:cubicBezTo>
                    <a:lnTo>
                      <a:pt x="7159" y="86284"/>
                    </a:lnTo>
                    <a:lnTo>
                      <a:pt x="7159" y="86284"/>
                    </a:lnTo>
                    <a:cubicBezTo>
                      <a:pt x="5150" y="87414"/>
                      <a:pt x="3391" y="87540"/>
                      <a:pt x="2136" y="86786"/>
                    </a:cubicBezTo>
                    <a:cubicBezTo>
                      <a:pt x="879" y="86032"/>
                      <a:pt x="0" y="84400"/>
                      <a:pt x="0" y="82139"/>
                    </a:cubicBezTo>
                    <a:lnTo>
                      <a:pt x="0" y="47726"/>
                    </a:lnTo>
                    <a:lnTo>
                      <a:pt x="503" y="47475"/>
                    </a:lnTo>
                    <a:cubicBezTo>
                      <a:pt x="2512" y="46093"/>
                      <a:pt x="4019" y="43330"/>
                      <a:pt x="4019" y="41195"/>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30" name="Freeform: Shape 5429">
                <a:extLst>
                  <a:ext uri="{FF2B5EF4-FFF2-40B4-BE49-F238E27FC236}">
                    <a16:creationId xmlns:a16="http://schemas.microsoft.com/office/drawing/2014/main" id="{C94160C3-8393-43C8-B5AA-78BAD901333D}"/>
                  </a:ext>
                </a:extLst>
              </p:cNvPr>
              <p:cNvSpPr/>
              <p:nvPr/>
            </p:nvSpPr>
            <p:spPr>
              <a:xfrm>
                <a:off x="9164405" y="2568514"/>
                <a:ext cx="34036" cy="21476"/>
              </a:xfrm>
              <a:custGeom>
                <a:avLst/>
                <a:gdLst>
                  <a:gd name="connsiteX0" fmla="*/ 3266 w 34036"/>
                  <a:gd name="connsiteY0" fmla="*/ 21477 h 21476"/>
                  <a:gd name="connsiteX1" fmla="*/ 0 w 34036"/>
                  <a:gd name="connsiteY1" fmla="*/ 19718 h 21476"/>
                  <a:gd name="connsiteX2" fmla="*/ 34036 w 34036"/>
                  <a:gd name="connsiteY2" fmla="*/ 0 h 21476"/>
                  <a:gd name="connsiteX3" fmla="*/ 34036 w 34036"/>
                  <a:gd name="connsiteY3" fmla="*/ 3642 h 21476"/>
                  <a:gd name="connsiteX4" fmla="*/ 3266 w 34036"/>
                  <a:gd name="connsiteY4" fmla="*/ 21477 h 21476"/>
                  <a:gd name="connsiteX5" fmla="*/ 3266 w 34036"/>
                  <a:gd name="connsiteY5" fmla="*/ 21477 h 2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36" h="21476">
                    <a:moveTo>
                      <a:pt x="3266" y="21477"/>
                    </a:moveTo>
                    <a:cubicBezTo>
                      <a:pt x="3140" y="19593"/>
                      <a:pt x="1759" y="18839"/>
                      <a:pt x="0" y="19718"/>
                    </a:cubicBezTo>
                    <a:lnTo>
                      <a:pt x="34036" y="0"/>
                    </a:lnTo>
                    <a:lnTo>
                      <a:pt x="34036" y="3642"/>
                    </a:lnTo>
                    <a:lnTo>
                      <a:pt x="3266" y="21477"/>
                    </a:lnTo>
                    <a:lnTo>
                      <a:pt x="3266" y="21477"/>
                    </a:ln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31" name="Graphic 4">
              <a:extLst>
                <a:ext uri="{FF2B5EF4-FFF2-40B4-BE49-F238E27FC236}">
                  <a16:creationId xmlns:a16="http://schemas.microsoft.com/office/drawing/2014/main" id="{84FB7ED1-A2DF-40A1-A747-5F7CF3F14040}"/>
                </a:ext>
              </a:extLst>
            </p:cNvPr>
            <p:cNvGrpSpPr/>
            <p:nvPr/>
          </p:nvGrpSpPr>
          <p:grpSpPr>
            <a:xfrm>
              <a:off x="9177718" y="2426090"/>
              <a:ext cx="18085" cy="19718"/>
              <a:chOff x="9177718" y="2426090"/>
              <a:chExt cx="18085" cy="19718"/>
            </a:xfrm>
            <a:solidFill>
              <a:schemeClr val="accent1"/>
            </a:solidFill>
          </p:grpSpPr>
          <p:grpSp>
            <p:nvGrpSpPr>
              <p:cNvPr id="5432" name="Graphic 4">
                <a:extLst>
                  <a:ext uri="{FF2B5EF4-FFF2-40B4-BE49-F238E27FC236}">
                    <a16:creationId xmlns:a16="http://schemas.microsoft.com/office/drawing/2014/main" id="{84FB7ED1-A2DF-40A1-A747-5F7CF3F14040}"/>
                  </a:ext>
                </a:extLst>
              </p:cNvPr>
              <p:cNvGrpSpPr/>
              <p:nvPr/>
            </p:nvGrpSpPr>
            <p:grpSpPr>
              <a:xfrm>
                <a:off x="9177718" y="2433249"/>
                <a:ext cx="18085" cy="12559"/>
                <a:chOff x="9177718" y="2433249"/>
                <a:chExt cx="18085" cy="12559"/>
              </a:xfrm>
              <a:solidFill>
                <a:schemeClr val="accent1"/>
              </a:solidFill>
            </p:grpSpPr>
            <p:sp>
              <p:nvSpPr>
                <p:cNvPr id="5433" name="Freeform: Shape 5432">
                  <a:extLst>
                    <a:ext uri="{FF2B5EF4-FFF2-40B4-BE49-F238E27FC236}">
                      <a16:creationId xmlns:a16="http://schemas.microsoft.com/office/drawing/2014/main" id="{7627EA22-C17D-4179-A13C-AD84547DF79A}"/>
                    </a:ext>
                  </a:extLst>
                </p:cNvPr>
                <p:cNvSpPr/>
                <p:nvPr/>
              </p:nvSpPr>
              <p:spPr>
                <a:xfrm>
                  <a:off x="9177718" y="2433249"/>
                  <a:ext cx="18085" cy="10298"/>
                </a:xfrm>
                <a:custGeom>
                  <a:avLst/>
                  <a:gdLst>
                    <a:gd name="connsiteX0" fmla="*/ 9043 w 18085"/>
                    <a:gd name="connsiteY0" fmla="*/ 10299 h 10298"/>
                    <a:gd name="connsiteX1" fmla="*/ 0 w 18085"/>
                    <a:gd name="connsiteY1" fmla="*/ 5149 h 10298"/>
                    <a:gd name="connsiteX2" fmla="*/ 9043 w 18085"/>
                    <a:gd name="connsiteY2" fmla="*/ 0 h 10298"/>
                    <a:gd name="connsiteX3" fmla="*/ 18086 w 18085"/>
                    <a:gd name="connsiteY3" fmla="*/ 5149 h 10298"/>
                    <a:gd name="connsiteX4" fmla="*/ 9043 w 18085"/>
                    <a:gd name="connsiteY4" fmla="*/ 10299 h 10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85" h="10298">
                      <a:moveTo>
                        <a:pt x="9043" y="10299"/>
                      </a:moveTo>
                      <a:cubicBezTo>
                        <a:pt x="4019" y="10299"/>
                        <a:pt x="0" y="8038"/>
                        <a:pt x="0" y="5149"/>
                      </a:cubicBezTo>
                      <a:cubicBezTo>
                        <a:pt x="0" y="2261"/>
                        <a:pt x="4019" y="0"/>
                        <a:pt x="9043" y="0"/>
                      </a:cubicBezTo>
                      <a:cubicBezTo>
                        <a:pt x="14067" y="0"/>
                        <a:pt x="18086" y="2261"/>
                        <a:pt x="18086" y="5149"/>
                      </a:cubicBezTo>
                      <a:cubicBezTo>
                        <a:pt x="18086" y="8038"/>
                        <a:pt x="14067" y="10299"/>
                        <a:pt x="9043" y="10299"/>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34" name="Freeform: Shape 5433">
                  <a:extLst>
                    <a:ext uri="{FF2B5EF4-FFF2-40B4-BE49-F238E27FC236}">
                      <a16:creationId xmlns:a16="http://schemas.microsoft.com/office/drawing/2014/main" id="{BD29C2DF-DE06-4354-A4F0-FBFC151BE533}"/>
                    </a:ext>
                  </a:extLst>
                </p:cNvPr>
                <p:cNvSpPr/>
                <p:nvPr/>
              </p:nvSpPr>
              <p:spPr>
                <a:xfrm>
                  <a:off x="9177718" y="2438398"/>
                  <a:ext cx="18085" cy="7410"/>
                </a:xfrm>
                <a:custGeom>
                  <a:avLst/>
                  <a:gdLst>
                    <a:gd name="connsiteX0" fmla="*/ 9043 w 18085"/>
                    <a:gd name="connsiteY0" fmla="*/ 5149 h 7410"/>
                    <a:gd name="connsiteX1" fmla="*/ 0 w 18085"/>
                    <a:gd name="connsiteY1" fmla="*/ 0 h 7410"/>
                    <a:gd name="connsiteX2" fmla="*/ 0 w 18085"/>
                    <a:gd name="connsiteY2" fmla="*/ 2261 h 7410"/>
                    <a:gd name="connsiteX3" fmla="*/ 9043 w 18085"/>
                    <a:gd name="connsiteY3" fmla="*/ 7410 h 7410"/>
                    <a:gd name="connsiteX4" fmla="*/ 18086 w 18085"/>
                    <a:gd name="connsiteY4" fmla="*/ 2261 h 7410"/>
                    <a:gd name="connsiteX5" fmla="*/ 18086 w 18085"/>
                    <a:gd name="connsiteY5" fmla="*/ 0 h 7410"/>
                    <a:gd name="connsiteX6" fmla="*/ 9043 w 18085"/>
                    <a:gd name="connsiteY6" fmla="*/ 5149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85" h="7410">
                      <a:moveTo>
                        <a:pt x="9043" y="5149"/>
                      </a:moveTo>
                      <a:cubicBezTo>
                        <a:pt x="4019" y="5149"/>
                        <a:pt x="0" y="2889"/>
                        <a:pt x="0" y="0"/>
                      </a:cubicBezTo>
                      <a:cubicBezTo>
                        <a:pt x="0" y="0"/>
                        <a:pt x="0" y="1382"/>
                        <a:pt x="0" y="2261"/>
                      </a:cubicBezTo>
                      <a:cubicBezTo>
                        <a:pt x="0" y="5149"/>
                        <a:pt x="4019" y="7410"/>
                        <a:pt x="9043" y="7410"/>
                      </a:cubicBezTo>
                      <a:cubicBezTo>
                        <a:pt x="14067" y="7410"/>
                        <a:pt x="18086" y="5149"/>
                        <a:pt x="18086" y="2261"/>
                      </a:cubicBezTo>
                      <a:cubicBezTo>
                        <a:pt x="18086" y="1382"/>
                        <a:pt x="18086" y="0"/>
                        <a:pt x="18086" y="0"/>
                      </a:cubicBezTo>
                      <a:cubicBezTo>
                        <a:pt x="18086" y="2889"/>
                        <a:pt x="14067" y="5149"/>
                        <a:pt x="9043" y="5149"/>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35" name="Graphic 4">
                <a:extLst>
                  <a:ext uri="{FF2B5EF4-FFF2-40B4-BE49-F238E27FC236}">
                    <a16:creationId xmlns:a16="http://schemas.microsoft.com/office/drawing/2014/main" id="{84FB7ED1-A2DF-40A1-A747-5F7CF3F14040}"/>
                  </a:ext>
                </a:extLst>
              </p:cNvPr>
              <p:cNvGrpSpPr/>
              <p:nvPr/>
            </p:nvGrpSpPr>
            <p:grpSpPr>
              <a:xfrm>
                <a:off x="9180355" y="2426090"/>
                <a:ext cx="13061" cy="16076"/>
                <a:chOff x="9180355" y="2426090"/>
                <a:chExt cx="13061" cy="16076"/>
              </a:xfrm>
              <a:solidFill>
                <a:schemeClr val="accent1"/>
              </a:solidFill>
            </p:grpSpPr>
            <p:sp>
              <p:nvSpPr>
                <p:cNvPr id="5436" name="Freeform: Shape 5435">
                  <a:extLst>
                    <a:ext uri="{FF2B5EF4-FFF2-40B4-BE49-F238E27FC236}">
                      <a16:creationId xmlns:a16="http://schemas.microsoft.com/office/drawing/2014/main" id="{7221BDEE-6188-459B-8118-28942428583A}"/>
                    </a:ext>
                  </a:extLst>
                </p:cNvPr>
                <p:cNvSpPr/>
                <p:nvPr/>
              </p:nvSpPr>
              <p:spPr>
                <a:xfrm>
                  <a:off x="9181737" y="2426090"/>
                  <a:ext cx="10048" cy="5777"/>
                </a:xfrm>
                <a:custGeom>
                  <a:avLst/>
                  <a:gdLst>
                    <a:gd name="connsiteX0" fmla="*/ 5024 w 10048"/>
                    <a:gd name="connsiteY0" fmla="*/ 5777 h 5777"/>
                    <a:gd name="connsiteX1" fmla="*/ 0 w 10048"/>
                    <a:gd name="connsiteY1" fmla="*/ 2889 h 5777"/>
                    <a:gd name="connsiteX2" fmla="*/ 5024 w 10048"/>
                    <a:gd name="connsiteY2" fmla="*/ 0 h 5777"/>
                    <a:gd name="connsiteX3" fmla="*/ 10048 w 10048"/>
                    <a:gd name="connsiteY3" fmla="*/ 2889 h 5777"/>
                    <a:gd name="connsiteX4" fmla="*/ 5024 w 10048"/>
                    <a:gd name="connsiteY4" fmla="*/ 5777 h 5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8" h="5777">
                      <a:moveTo>
                        <a:pt x="5024" y="5777"/>
                      </a:moveTo>
                      <a:cubicBezTo>
                        <a:pt x="2261" y="5777"/>
                        <a:pt x="0" y="4521"/>
                        <a:pt x="0" y="2889"/>
                      </a:cubicBezTo>
                      <a:cubicBezTo>
                        <a:pt x="0" y="1256"/>
                        <a:pt x="2261" y="0"/>
                        <a:pt x="5024" y="0"/>
                      </a:cubicBezTo>
                      <a:cubicBezTo>
                        <a:pt x="7787" y="0"/>
                        <a:pt x="10048" y="1256"/>
                        <a:pt x="10048" y="2889"/>
                      </a:cubicBezTo>
                      <a:cubicBezTo>
                        <a:pt x="10048" y="4521"/>
                        <a:pt x="7787" y="5777"/>
                        <a:pt x="5024" y="5777"/>
                      </a:cubicBezTo>
                      <a:close/>
                    </a:path>
                  </a:pathLst>
                </a:custGeom>
                <a:solidFill>
                  <a:srgbClr val="E5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37" name="Freeform: Shape 5436">
                  <a:extLst>
                    <a:ext uri="{FF2B5EF4-FFF2-40B4-BE49-F238E27FC236}">
                      <a16:creationId xmlns:a16="http://schemas.microsoft.com/office/drawing/2014/main" id="{9541DEE1-7D52-4082-A6D5-51CEE1BA3E2C}"/>
                    </a:ext>
                  </a:extLst>
                </p:cNvPr>
                <p:cNvSpPr/>
                <p:nvPr/>
              </p:nvSpPr>
              <p:spPr>
                <a:xfrm>
                  <a:off x="9180355" y="2428978"/>
                  <a:ext cx="13061" cy="13187"/>
                </a:xfrm>
                <a:custGeom>
                  <a:avLst/>
                  <a:gdLst>
                    <a:gd name="connsiteX0" fmla="*/ 6405 w 13061"/>
                    <a:gd name="connsiteY0" fmla="*/ 2889 h 13187"/>
                    <a:gd name="connsiteX1" fmla="*/ 1381 w 13061"/>
                    <a:gd name="connsiteY1" fmla="*/ 0 h 13187"/>
                    <a:gd name="connsiteX2" fmla="*/ 0 w 13061"/>
                    <a:gd name="connsiteY2" fmla="*/ 9420 h 13187"/>
                    <a:gd name="connsiteX3" fmla="*/ 6531 w 13061"/>
                    <a:gd name="connsiteY3" fmla="*/ 13187 h 13187"/>
                    <a:gd name="connsiteX4" fmla="*/ 13062 w 13061"/>
                    <a:gd name="connsiteY4" fmla="*/ 9420 h 13187"/>
                    <a:gd name="connsiteX5" fmla="*/ 11680 w 13061"/>
                    <a:gd name="connsiteY5" fmla="*/ 0 h 13187"/>
                    <a:gd name="connsiteX6" fmla="*/ 6405 w 13061"/>
                    <a:gd name="connsiteY6" fmla="*/ 288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61" h="13187">
                      <a:moveTo>
                        <a:pt x="6405" y="2889"/>
                      </a:moveTo>
                      <a:cubicBezTo>
                        <a:pt x="3642" y="2889"/>
                        <a:pt x="1381" y="1633"/>
                        <a:pt x="1381" y="0"/>
                      </a:cubicBezTo>
                      <a:cubicBezTo>
                        <a:pt x="1381" y="0"/>
                        <a:pt x="0" y="8792"/>
                        <a:pt x="0" y="9420"/>
                      </a:cubicBezTo>
                      <a:cubicBezTo>
                        <a:pt x="0" y="11429"/>
                        <a:pt x="2888" y="13187"/>
                        <a:pt x="6531" y="13187"/>
                      </a:cubicBezTo>
                      <a:cubicBezTo>
                        <a:pt x="10173" y="13187"/>
                        <a:pt x="13062" y="11555"/>
                        <a:pt x="13062" y="9420"/>
                      </a:cubicBezTo>
                      <a:cubicBezTo>
                        <a:pt x="13062" y="8792"/>
                        <a:pt x="11680" y="0"/>
                        <a:pt x="11680" y="0"/>
                      </a:cubicBezTo>
                      <a:cubicBezTo>
                        <a:pt x="11430" y="1633"/>
                        <a:pt x="9168" y="2889"/>
                        <a:pt x="6405" y="2889"/>
                      </a:cubicBezTo>
                      <a:close/>
                    </a:path>
                  </a:pathLst>
                </a:custGeom>
                <a:solidFill>
                  <a:srgbClr val="B01A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438" name="Graphic 4">
              <a:extLst>
                <a:ext uri="{FF2B5EF4-FFF2-40B4-BE49-F238E27FC236}">
                  <a16:creationId xmlns:a16="http://schemas.microsoft.com/office/drawing/2014/main" id="{84FB7ED1-A2DF-40A1-A747-5F7CF3F14040}"/>
                </a:ext>
              </a:extLst>
            </p:cNvPr>
            <p:cNvGrpSpPr/>
            <p:nvPr/>
          </p:nvGrpSpPr>
          <p:grpSpPr>
            <a:xfrm>
              <a:off x="9146947" y="2579315"/>
              <a:ext cx="20722" cy="19800"/>
              <a:chOff x="9146947" y="2579315"/>
              <a:chExt cx="20722" cy="19800"/>
            </a:xfrm>
            <a:solidFill>
              <a:schemeClr val="accent1"/>
            </a:solidFill>
          </p:grpSpPr>
          <p:grpSp>
            <p:nvGrpSpPr>
              <p:cNvPr id="5439" name="Graphic 4">
                <a:extLst>
                  <a:ext uri="{FF2B5EF4-FFF2-40B4-BE49-F238E27FC236}">
                    <a16:creationId xmlns:a16="http://schemas.microsoft.com/office/drawing/2014/main" id="{84FB7ED1-A2DF-40A1-A747-5F7CF3F14040}"/>
                  </a:ext>
                </a:extLst>
              </p:cNvPr>
              <p:cNvGrpSpPr/>
              <p:nvPr/>
            </p:nvGrpSpPr>
            <p:grpSpPr>
              <a:xfrm>
                <a:off x="9164530" y="2587954"/>
                <a:ext cx="3139" cy="11162"/>
                <a:chOff x="9164530" y="2587954"/>
                <a:chExt cx="3139" cy="11162"/>
              </a:xfrm>
              <a:solidFill>
                <a:schemeClr val="accent1"/>
              </a:solidFill>
            </p:grpSpPr>
            <p:sp>
              <p:nvSpPr>
                <p:cNvPr id="5440" name="Freeform: Shape 5439">
                  <a:extLst>
                    <a:ext uri="{FF2B5EF4-FFF2-40B4-BE49-F238E27FC236}">
                      <a16:creationId xmlns:a16="http://schemas.microsoft.com/office/drawing/2014/main" id="{6C3E3F04-3E03-46D3-AA61-D43DA601E5BD}"/>
                    </a:ext>
                  </a:extLst>
                </p:cNvPr>
                <p:cNvSpPr/>
                <p:nvPr/>
              </p:nvSpPr>
              <p:spPr>
                <a:xfrm>
                  <a:off x="9164907" y="2587954"/>
                  <a:ext cx="2762" cy="10702"/>
                </a:xfrm>
                <a:custGeom>
                  <a:avLst/>
                  <a:gdLst>
                    <a:gd name="connsiteX0" fmla="*/ 0 w 2762"/>
                    <a:gd name="connsiteY0" fmla="*/ 153 h 10702"/>
                    <a:gd name="connsiteX1" fmla="*/ 1130 w 2762"/>
                    <a:gd name="connsiteY1" fmla="*/ 781 h 10702"/>
                    <a:gd name="connsiteX2" fmla="*/ 1130 w 2762"/>
                    <a:gd name="connsiteY2" fmla="*/ 10703 h 10702"/>
                    <a:gd name="connsiteX3" fmla="*/ 1883 w 2762"/>
                    <a:gd name="connsiteY3" fmla="*/ 10200 h 10702"/>
                    <a:gd name="connsiteX4" fmla="*/ 2763 w 2762"/>
                    <a:gd name="connsiteY4" fmla="*/ 7060 h 10702"/>
                    <a:gd name="connsiteX5" fmla="*/ 2763 w 2762"/>
                    <a:gd name="connsiteY5" fmla="*/ 2539 h 10702"/>
                    <a:gd name="connsiteX6" fmla="*/ 2763 w 2762"/>
                    <a:gd name="connsiteY6" fmla="*/ 2162 h 10702"/>
                    <a:gd name="connsiteX7" fmla="*/ 2763 w 2762"/>
                    <a:gd name="connsiteY7" fmla="*/ 2162 h 10702"/>
                    <a:gd name="connsiteX8" fmla="*/ 0 w 2762"/>
                    <a:gd name="connsiteY8" fmla="*/ 153 h 1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62" h="10702">
                      <a:moveTo>
                        <a:pt x="0" y="153"/>
                      </a:moveTo>
                      <a:lnTo>
                        <a:pt x="1130" y="781"/>
                      </a:lnTo>
                      <a:lnTo>
                        <a:pt x="1130" y="10703"/>
                      </a:lnTo>
                      <a:lnTo>
                        <a:pt x="1883" y="10200"/>
                      </a:lnTo>
                      <a:cubicBezTo>
                        <a:pt x="2386" y="9196"/>
                        <a:pt x="2763" y="8065"/>
                        <a:pt x="2763" y="7060"/>
                      </a:cubicBezTo>
                      <a:lnTo>
                        <a:pt x="2763" y="2539"/>
                      </a:lnTo>
                      <a:cubicBezTo>
                        <a:pt x="2763" y="2414"/>
                        <a:pt x="2763" y="2288"/>
                        <a:pt x="2763" y="2162"/>
                      </a:cubicBezTo>
                      <a:lnTo>
                        <a:pt x="2763" y="2162"/>
                      </a:lnTo>
                      <a:cubicBezTo>
                        <a:pt x="2637" y="404"/>
                        <a:pt x="1507" y="-350"/>
                        <a:pt x="0" y="15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41" name="Freeform: Shape 5440">
                  <a:extLst>
                    <a:ext uri="{FF2B5EF4-FFF2-40B4-BE49-F238E27FC236}">
                      <a16:creationId xmlns:a16="http://schemas.microsoft.com/office/drawing/2014/main" id="{995FE58C-33F9-48AD-8E94-FBF4C8400D48}"/>
                    </a:ext>
                  </a:extLst>
                </p:cNvPr>
                <p:cNvSpPr/>
                <p:nvPr/>
              </p:nvSpPr>
              <p:spPr>
                <a:xfrm>
                  <a:off x="9164530" y="2588735"/>
                  <a:ext cx="1381" cy="10381"/>
                </a:xfrm>
                <a:custGeom>
                  <a:avLst/>
                  <a:gdLst>
                    <a:gd name="connsiteX0" fmla="*/ 879 w 1381"/>
                    <a:gd name="connsiteY0" fmla="*/ 251 h 10381"/>
                    <a:gd name="connsiteX1" fmla="*/ 0 w 1381"/>
                    <a:gd name="connsiteY1" fmla="*/ 1884 h 10381"/>
                    <a:gd name="connsiteX2" fmla="*/ 0 w 1381"/>
                    <a:gd name="connsiteY2" fmla="*/ 9671 h 10381"/>
                    <a:gd name="connsiteX3" fmla="*/ 251 w 1381"/>
                    <a:gd name="connsiteY3" fmla="*/ 10299 h 10381"/>
                    <a:gd name="connsiteX4" fmla="*/ 879 w 1381"/>
                    <a:gd name="connsiteY4" fmla="*/ 10173 h 10381"/>
                    <a:gd name="connsiteX5" fmla="*/ 1381 w 1381"/>
                    <a:gd name="connsiteY5" fmla="*/ 9922 h 10381"/>
                    <a:gd name="connsiteX6" fmla="*/ 1381 w 1381"/>
                    <a:gd name="connsiteY6" fmla="*/ 0 h 10381"/>
                    <a:gd name="connsiteX7" fmla="*/ 879 w 1381"/>
                    <a:gd name="connsiteY7" fmla="*/ 251 h 1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1" h="10381">
                      <a:moveTo>
                        <a:pt x="879" y="251"/>
                      </a:moveTo>
                      <a:cubicBezTo>
                        <a:pt x="377" y="502"/>
                        <a:pt x="0" y="1256"/>
                        <a:pt x="0" y="1884"/>
                      </a:cubicBezTo>
                      <a:lnTo>
                        <a:pt x="0" y="9671"/>
                      </a:lnTo>
                      <a:cubicBezTo>
                        <a:pt x="0" y="9922"/>
                        <a:pt x="126" y="10173"/>
                        <a:pt x="251" y="10299"/>
                      </a:cubicBezTo>
                      <a:cubicBezTo>
                        <a:pt x="377" y="10424"/>
                        <a:pt x="628" y="10424"/>
                        <a:pt x="879" y="10173"/>
                      </a:cubicBezTo>
                      <a:lnTo>
                        <a:pt x="1381" y="9922"/>
                      </a:lnTo>
                      <a:lnTo>
                        <a:pt x="1381" y="0"/>
                      </a:lnTo>
                      <a:lnTo>
                        <a:pt x="879" y="251"/>
                      </a:lnTo>
                      <a:close/>
                    </a:path>
                  </a:pathLst>
                </a:custGeom>
                <a:solidFill>
                  <a:srgbClr val="F6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42" name="Freeform: Shape 5441">
                <a:extLst>
                  <a:ext uri="{FF2B5EF4-FFF2-40B4-BE49-F238E27FC236}">
                    <a16:creationId xmlns:a16="http://schemas.microsoft.com/office/drawing/2014/main" id="{A78F8FE5-94A6-4961-8173-C4527F5A9ED0}"/>
                  </a:ext>
                </a:extLst>
              </p:cNvPr>
              <p:cNvSpPr/>
              <p:nvPr/>
            </p:nvSpPr>
            <p:spPr>
              <a:xfrm>
                <a:off x="9146947" y="2579315"/>
                <a:ext cx="18964" cy="19718"/>
              </a:xfrm>
              <a:custGeom>
                <a:avLst/>
                <a:gdLst>
                  <a:gd name="connsiteX0" fmla="*/ 17583 w 18964"/>
                  <a:gd name="connsiteY0" fmla="*/ 19090 h 19718"/>
                  <a:gd name="connsiteX1" fmla="*/ 17583 w 18964"/>
                  <a:gd name="connsiteY1" fmla="*/ 11304 h 19718"/>
                  <a:gd name="connsiteX2" fmla="*/ 18462 w 18964"/>
                  <a:gd name="connsiteY2" fmla="*/ 9671 h 19718"/>
                  <a:gd name="connsiteX3" fmla="*/ 18964 w 18964"/>
                  <a:gd name="connsiteY3" fmla="*/ 9420 h 19718"/>
                  <a:gd name="connsiteX4" fmla="*/ 17834 w 18964"/>
                  <a:gd name="connsiteY4" fmla="*/ 8792 h 19718"/>
                  <a:gd name="connsiteX5" fmla="*/ 16704 w 18964"/>
                  <a:gd name="connsiteY5" fmla="*/ 9420 h 19718"/>
                  <a:gd name="connsiteX6" fmla="*/ 1381 w 18964"/>
                  <a:gd name="connsiteY6" fmla="*/ 628 h 19718"/>
                  <a:gd name="connsiteX7" fmla="*/ 376 w 18964"/>
                  <a:gd name="connsiteY7" fmla="*/ 0 h 19718"/>
                  <a:gd name="connsiteX8" fmla="*/ 0 w 18964"/>
                  <a:gd name="connsiteY8" fmla="*/ 1130 h 19718"/>
                  <a:gd name="connsiteX9" fmla="*/ 0 w 18964"/>
                  <a:gd name="connsiteY9" fmla="*/ 8917 h 19718"/>
                  <a:gd name="connsiteX10" fmla="*/ 251 w 18964"/>
                  <a:gd name="connsiteY10" fmla="*/ 9545 h 19718"/>
                  <a:gd name="connsiteX11" fmla="*/ 17834 w 18964"/>
                  <a:gd name="connsiteY11" fmla="*/ 19718 h 19718"/>
                  <a:gd name="connsiteX12" fmla="*/ 17583 w 18964"/>
                  <a:gd name="connsiteY12" fmla="*/ 19090 h 1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64" h="19718">
                    <a:moveTo>
                      <a:pt x="17583" y="19090"/>
                    </a:moveTo>
                    <a:lnTo>
                      <a:pt x="17583" y="11304"/>
                    </a:lnTo>
                    <a:cubicBezTo>
                      <a:pt x="17583" y="10676"/>
                      <a:pt x="17960" y="10048"/>
                      <a:pt x="18462" y="9671"/>
                    </a:cubicBezTo>
                    <a:lnTo>
                      <a:pt x="18964" y="9420"/>
                    </a:lnTo>
                    <a:lnTo>
                      <a:pt x="17834" y="8792"/>
                    </a:lnTo>
                    <a:lnTo>
                      <a:pt x="16704" y="9420"/>
                    </a:lnTo>
                    <a:lnTo>
                      <a:pt x="1381" y="628"/>
                    </a:lnTo>
                    <a:lnTo>
                      <a:pt x="376" y="0"/>
                    </a:lnTo>
                    <a:cubicBezTo>
                      <a:pt x="125" y="377"/>
                      <a:pt x="0" y="754"/>
                      <a:pt x="0" y="1130"/>
                    </a:cubicBezTo>
                    <a:lnTo>
                      <a:pt x="0" y="8917"/>
                    </a:lnTo>
                    <a:cubicBezTo>
                      <a:pt x="0" y="9168"/>
                      <a:pt x="125" y="9420"/>
                      <a:pt x="251" y="9545"/>
                    </a:cubicBezTo>
                    <a:cubicBezTo>
                      <a:pt x="376" y="9671"/>
                      <a:pt x="17834" y="19718"/>
                      <a:pt x="17834" y="19718"/>
                    </a:cubicBezTo>
                    <a:cubicBezTo>
                      <a:pt x="17709" y="19593"/>
                      <a:pt x="17583" y="19342"/>
                      <a:pt x="17583" y="19090"/>
                    </a:cubicBezTo>
                    <a:close/>
                  </a:path>
                </a:pathLst>
              </a:custGeom>
              <a:solidFill>
                <a:srgbClr val="D3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43" name="Graphic 4">
              <a:extLst>
                <a:ext uri="{FF2B5EF4-FFF2-40B4-BE49-F238E27FC236}">
                  <a16:creationId xmlns:a16="http://schemas.microsoft.com/office/drawing/2014/main" id="{84FB7ED1-A2DF-40A1-A747-5F7CF3F14040}"/>
                </a:ext>
              </a:extLst>
            </p:cNvPr>
            <p:cNvGrpSpPr/>
            <p:nvPr/>
          </p:nvGrpSpPr>
          <p:grpSpPr>
            <a:xfrm>
              <a:off x="9089551" y="2546033"/>
              <a:ext cx="20597" cy="19800"/>
              <a:chOff x="9089551" y="2546033"/>
              <a:chExt cx="20597" cy="19800"/>
            </a:xfrm>
            <a:solidFill>
              <a:schemeClr val="accent1"/>
            </a:solidFill>
          </p:grpSpPr>
          <p:grpSp>
            <p:nvGrpSpPr>
              <p:cNvPr id="5444" name="Graphic 4">
                <a:extLst>
                  <a:ext uri="{FF2B5EF4-FFF2-40B4-BE49-F238E27FC236}">
                    <a16:creationId xmlns:a16="http://schemas.microsoft.com/office/drawing/2014/main" id="{84FB7ED1-A2DF-40A1-A747-5F7CF3F14040}"/>
                  </a:ext>
                </a:extLst>
              </p:cNvPr>
              <p:cNvGrpSpPr/>
              <p:nvPr/>
            </p:nvGrpSpPr>
            <p:grpSpPr>
              <a:xfrm>
                <a:off x="9107133" y="2556206"/>
                <a:ext cx="3014" cy="9627"/>
                <a:chOff x="9107133" y="2556206"/>
                <a:chExt cx="3014" cy="9627"/>
              </a:xfrm>
              <a:solidFill>
                <a:schemeClr val="accent1"/>
              </a:solidFill>
            </p:grpSpPr>
            <p:sp>
              <p:nvSpPr>
                <p:cNvPr id="5445" name="Freeform: Shape 5444">
                  <a:extLst>
                    <a:ext uri="{FF2B5EF4-FFF2-40B4-BE49-F238E27FC236}">
                      <a16:creationId xmlns:a16="http://schemas.microsoft.com/office/drawing/2014/main" id="{6D5FA781-C4FD-4756-AE4F-A91A87D2F8C3}"/>
                    </a:ext>
                  </a:extLst>
                </p:cNvPr>
                <p:cNvSpPr/>
                <p:nvPr/>
              </p:nvSpPr>
              <p:spPr>
                <a:xfrm>
                  <a:off x="9108515" y="2556834"/>
                  <a:ext cx="1632" cy="8540"/>
                </a:xfrm>
                <a:custGeom>
                  <a:avLst/>
                  <a:gdLst>
                    <a:gd name="connsiteX0" fmla="*/ 0 w 1632"/>
                    <a:gd name="connsiteY0" fmla="*/ 0 h 8540"/>
                    <a:gd name="connsiteX1" fmla="*/ 0 w 1632"/>
                    <a:gd name="connsiteY1" fmla="*/ 8540 h 8540"/>
                    <a:gd name="connsiteX2" fmla="*/ 754 w 1632"/>
                    <a:gd name="connsiteY2" fmla="*/ 8038 h 8540"/>
                    <a:gd name="connsiteX3" fmla="*/ 1633 w 1632"/>
                    <a:gd name="connsiteY3" fmla="*/ 4898 h 8540"/>
                    <a:gd name="connsiteX4" fmla="*/ 1633 w 1632"/>
                    <a:gd name="connsiteY4" fmla="*/ 1005 h 8540"/>
                    <a:gd name="connsiteX5" fmla="*/ 0 w 1632"/>
                    <a:gd name="connsiteY5" fmla="*/ 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2" h="8540">
                      <a:moveTo>
                        <a:pt x="0" y="0"/>
                      </a:moveTo>
                      <a:lnTo>
                        <a:pt x="0" y="8540"/>
                      </a:lnTo>
                      <a:lnTo>
                        <a:pt x="754" y="8038"/>
                      </a:lnTo>
                      <a:cubicBezTo>
                        <a:pt x="1256" y="7033"/>
                        <a:pt x="1633" y="5903"/>
                        <a:pt x="1633" y="4898"/>
                      </a:cubicBezTo>
                      <a:lnTo>
                        <a:pt x="1633" y="1005"/>
                      </a:lnTo>
                      <a:lnTo>
                        <a:pt x="0" y="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46" name="Freeform: Shape 5445">
                  <a:extLst>
                    <a:ext uri="{FF2B5EF4-FFF2-40B4-BE49-F238E27FC236}">
                      <a16:creationId xmlns:a16="http://schemas.microsoft.com/office/drawing/2014/main" id="{14053791-9615-4C81-B921-4E0DBAB974B0}"/>
                    </a:ext>
                  </a:extLst>
                </p:cNvPr>
                <p:cNvSpPr/>
                <p:nvPr/>
              </p:nvSpPr>
              <p:spPr>
                <a:xfrm>
                  <a:off x="9107133" y="2556206"/>
                  <a:ext cx="1382" cy="9627"/>
                </a:xfrm>
                <a:custGeom>
                  <a:avLst/>
                  <a:gdLst>
                    <a:gd name="connsiteX0" fmla="*/ 377 w 1382"/>
                    <a:gd name="connsiteY0" fmla="*/ 0 h 9627"/>
                    <a:gd name="connsiteX1" fmla="*/ 0 w 1382"/>
                    <a:gd name="connsiteY1" fmla="*/ 1130 h 9627"/>
                    <a:gd name="connsiteX2" fmla="*/ 0 w 1382"/>
                    <a:gd name="connsiteY2" fmla="*/ 8917 h 9627"/>
                    <a:gd name="connsiteX3" fmla="*/ 251 w 1382"/>
                    <a:gd name="connsiteY3" fmla="*/ 9545 h 9627"/>
                    <a:gd name="connsiteX4" fmla="*/ 879 w 1382"/>
                    <a:gd name="connsiteY4" fmla="*/ 9420 h 9627"/>
                    <a:gd name="connsiteX5" fmla="*/ 1382 w 1382"/>
                    <a:gd name="connsiteY5" fmla="*/ 9168 h 9627"/>
                    <a:gd name="connsiteX6" fmla="*/ 1382 w 1382"/>
                    <a:gd name="connsiteY6" fmla="*/ 628 h 9627"/>
                    <a:gd name="connsiteX7" fmla="*/ 377 w 1382"/>
                    <a:gd name="connsiteY7" fmla="*/ 0 h 9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2" h="9627">
                      <a:moveTo>
                        <a:pt x="377" y="0"/>
                      </a:moveTo>
                      <a:cubicBezTo>
                        <a:pt x="126" y="377"/>
                        <a:pt x="0" y="754"/>
                        <a:pt x="0" y="1130"/>
                      </a:cubicBezTo>
                      <a:lnTo>
                        <a:pt x="0" y="8917"/>
                      </a:lnTo>
                      <a:cubicBezTo>
                        <a:pt x="0" y="9168"/>
                        <a:pt x="126" y="9420"/>
                        <a:pt x="251" y="9545"/>
                      </a:cubicBezTo>
                      <a:cubicBezTo>
                        <a:pt x="377" y="9671"/>
                        <a:pt x="629" y="9671"/>
                        <a:pt x="879" y="9420"/>
                      </a:cubicBezTo>
                      <a:lnTo>
                        <a:pt x="1382" y="9168"/>
                      </a:lnTo>
                      <a:lnTo>
                        <a:pt x="1382" y="628"/>
                      </a:lnTo>
                      <a:lnTo>
                        <a:pt x="377" y="0"/>
                      </a:lnTo>
                      <a:close/>
                    </a:path>
                  </a:pathLst>
                </a:custGeom>
                <a:solidFill>
                  <a:srgbClr val="F6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47" name="Freeform: Shape 5446">
                <a:extLst>
                  <a:ext uri="{FF2B5EF4-FFF2-40B4-BE49-F238E27FC236}">
                    <a16:creationId xmlns:a16="http://schemas.microsoft.com/office/drawing/2014/main" id="{A425DD2D-F236-4C1E-98E3-E7D28B04D0FF}"/>
                  </a:ext>
                </a:extLst>
              </p:cNvPr>
              <p:cNvSpPr/>
              <p:nvPr/>
            </p:nvSpPr>
            <p:spPr>
              <a:xfrm>
                <a:off x="9089551" y="2546033"/>
                <a:ext cx="17959" cy="19718"/>
              </a:xfrm>
              <a:custGeom>
                <a:avLst/>
                <a:gdLst>
                  <a:gd name="connsiteX0" fmla="*/ 17960 w 17959"/>
                  <a:gd name="connsiteY0" fmla="*/ 10173 h 19718"/>
                  <a:gd name="connsiteX1" fmla="*/ 1381 w 17959"/>
                  <a:gd name="connsiteY1" fmla="*/ 628 h 19718"/>
                  <a:gd name="connsiteX2" fmla="*/ 376 w 17959"/>
                  <a:gd name="connsiteY2" fmla="*/ 0 h 19718"/>
                  <a:gd name="connsiteX3" fmla="*/ 0 w 17959"/>
                  <a:gd name="connsiteY3" fmla="*/ 1130 h 19718"/>
                  <a:gd name="connsiteX4" fmla="*/ 0 w 17959"/>
                  <a:gd name="connsiteY4" fmla="*/ 8917 h 19718"/>
                  <a:gd name="connsiteX5" fmla="*/ 251 w 17959"/>
                  <a:gd name="connsiteY5" fmla="*/ 9545 h 19718"/>
                  <a:gd name="connsiteX6" fmla="*/ 17834 w 17959"/>
                  <a:gd name="connsiteY6" fmla="*/ 19718 h 19718"/>
                  <a:gd name="connsiteX7" fmla="*/ 17583 w 17959"/>
                  <a:gd name="connsiteY7" fmla="*/ 19090 h 19718"/>
                  <a:gd name="connsiteX8" fmla="*/ 17583 w 17959"/>
                  <a:gd name="connsiteY8" fmla="*/ 11304 h 19718"/>
                  <a:gd name="connsiteX9" fmla="*/ 17960 w 17959"/>
                  <a:gd name="connsiteY9" fmla="*/ 10173 h 1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59" h="19718">
                    <a:moveTo>
                      <a:pt x="17960" y="10173"/>
                    </a:moveTo>
                    <a:lnTo>
                      <a:pt x="1381" y="628"/>
                    </a:lnTo>
                    <a:lnTo>
                      <a:pt x="376" y="0"/>
                    </a:lnTo>
                    <a:cubicBezTo>
                      <a:pt x="126" y="377"/>
                      <a:pt x="0" y="754"/>
                      <a:pt x="0" y="1130"/>
                    </a:cubicBezTo>
                    <a:lnTo>
                      <a:pt x="0" y="8917"/>
                    </a:lnTo>
                    <a:cubicBezTo>
                      <a:pt x="0" y="9168"/>
                      <a:pt x="126" y="9420"/>
                      <a:pt x="251" y="9545"/>
                    </a:cubicBezTo>
                    <a:cubicBezTo>
                      <a:pt x="376" y="9671"/>
                      <a:pt x="17834" y="19718"/>
                      <a:pt x="17834" y="19718"/>
                    </a:cubicBezTo>
                    <a:cubicBezTo>
                      <a:pt x="17709" y="19593"/>
                      <a:pt x="17583" y="19467"/>
                      <a:pt x="17583" y="19090"/>
                    </a:cubicBezTo>
                    <a:lnTo>
                      <a:pt x="17583" y="11304"/>
                    </a:lnTo>
                    <a:cubicBezTo>
                      <a:pt x="17458" y="11052"/>
                      <a:pt x="17709" y="10550"/>
                      <a:pt x="17960" y="10173"/>
                    </a:cubicBezTo>
                    <a:close/>
                  </a:path>
                </a:pathLst>
              </a:custGeom>
              <a:solidFill>
                <a:srgbClr val="D3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448" name="Graphic 4">
            <a:extLst>
              <a:ext uri="{FF2B5EF4-FFF2-40B4-BE49-F238E27FC236}">
                <a16:creationId xmlns:a16="http://schemas.microsoft.com/office/drawing/2014/main" id="{84FB7ED1-A2DF-40A1-A747-5F7CF3F14040}"/>
              </a:ext>
            </a:extLst>
          </p:cNvPr>
          <p:cNvGrpSpPr/>
          <p:nvPr/>
        </p:nvGrpSpPr>
        <p:grpSpPr>
          <a:xfrm>
            <a:off x="11323631" y="2476959"/>
            <a:ext cx="365480" cy="463504"/>
            <a:chOff x="11323631" y="2476959"/>
            <a:chExt cx="365480" cy="463504"/>
          </a:xfrm>
          <a:solidFill>
            <a:schemeClr val="accent1"/>
          </a:solidFill>
        </p:grpSpPr>
        <p:sp>
          <p:nvSpPr>
            <p:cNvPr id="5449" name="Freeform: Shape 5448">
              <a:extLst>
                <a:ext uri="{FF2B5EF4-FFF2-40B4-BE49-F238E27FC236}">
                  <a16:creationId xmlns:a16="http://schemas.microsoft.com/office/drawing/2014/main" id="{C1D0EB68-70AD-46B2-9F9E-FBCAA4D03F8A}"/>
                </a:ext>
              </a:extLst>
            </p:cNvPr>
            <p:cNvSpPr/>
            <p:nvPr/>
          </p:nvSpPr>
          <p:spPr>
            <a:xfrm>
              <a:off x="11408438" y="2903518"/>
              <a:ext cx="62661" cy="36946"/>
            </a:xfrm>
            <a:custGeom>
              <a:avLst/>
              <a:gdLst>
                <a:gd name="connsiteX0" fmla="*/ 723 w 62661"/>
                <a:gd name="connsiteY0" fmla="*/ 20681 h 36946"/>
                <a:gd name="connsiteX1" fmla="*/ 471 w 62661"/>
                <a:gd name="connsiteY1" fmla="*/ 21937 h 36946"/>
                <a:gd name="connsiteX2" fmla="*/ 220 w 62661"/>
                <a:gd name="connsiteY2" fmla="*/ 25705 h 36946"/>
                <a:gd name="connsiteX3" fmla="*/ 1099 w 62661"/>
                <a:gd name="connsiteY3" fmla="*/ 34120 h 36946"/>
                <a:gd name="connsiteX4" fmla="*/ 21320 w 62661"/>
                <a:gd name="connsiteY4" fmla="*/ 34999 h 36946"/>
                <a:gd name="connsiteX5" fmla="*/ 23455 w 62661"/>
                <a:gd name="connsiteY5" fmla="*/ 34120 h 36946"/>
                <a:gd name="connsiteX6" fmla="*/ 26469 w 62661"/>
                <a:gd name="connsiteY6" fmla="*/ 30854 h 36946"/>
                <a:gd name="connsiteX7" fmla="*/ 30237 w 62661"/>
                <a:gd name="connsiteY7" fmla="*/ 29347 h 36946"/>
                <a:gd name="connsiteX8" fmla="*/ 33879 w 62661"/>
                <a:gd name="connsiteY8" fmla="*/ 28217 h 36946"/>
                <a:gd name="connsiteX9" fmla="*/ 36391 w 62661"/>
                <a:gd name="connsiteY9" fmla="*/ 28217 h 36946"/>
                <a:gd name="connsiteX10" fmla="*/ 41667 w 62661"/>
                <a:gd name="connsiteY10" fmla="*/ 28217 h 36946"/>
                <a:gd name="connsiteX11" fmla="*/ 60380 w 62661"/>
                <a:gd name="connsiteY11" fmla="*/ 20681 h 36946"/>
                <a:gd name="connsiteX12" fmla="*/ 62389 w 62661"/>
                <a:gd name="connsiteY12" fmla="*/ 10257 h 36946"/>
                <a:gd name="connsiteX13" fmla="*/ 45434 w 62661"/>
                <a:gd name="connsiteY13" fmla="*/ 3726 h 36946"/>
                <a:gd name="connsiteX14" fmla="*/ 27851 w 62661"/>
                <a:gd name="connsiteY14" fmla="*/ 586 h 36946"/>
                <a:gd name="connsiteX15" fmla="*/ 14161 w 62661"/>
                <a:gd name="connsiteY15" fmla="*/ 7745 h 36946"/>
                <a:gd name="connsiteX16" fmla="*/ 6375 w 62661"/>
                <a:gd name="connsiteY16" fmla="*/ 14025 h 36946"/>
                <a:gd name="connsiteX17" fmla="*/ 723 w 62661"/>
                <a:gd name="connsiteY17" fmla="*/ 20681 h 3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661" h="36946">
                  <a:moveTo>
                    <a:pt x="723" y="20681"/>
                  </a:moveTo>
                  <a:cubicBezTo>
                    <a:pt x="597" y="21058"/>
                    <a:pt x="597" y="21560"/>
                    <a:pt x="471" y="21937"/>
                  </a:cubicBezTo>
                  <a:cubicBezTo>
                    <a:pt x="346" y="23193"/>
                    <a:pt x="220" y="24449"/>
                    <a:pt x="220" y="25705"/>
                  </a:cubicBezTo>
                  <a:cubicBezTo>
                    <a:pt x="220" y="28217"/>
                    <a:pt x="-659" y="32110"/>
                    <a:pt x="1099" y="34120"/>
                  </a:cubicBezTo>
                  <a:cubicBezTo>
                    <a:pt x="5244" y="38892"/>
                    <a:pt x="16171" y="36506"/>
                    <a:pt x="21320" y="34999"/>
                  </a:cubicBezTo>
                  <a:cubicBezTo>
                    <a:pt x="22074" y="34748"/>
                    <a:pt x="22827" y="34497"/>
                    <a:pt x="23455" y="34120"/>
                  </a:cubicBezTo>
                  <a:cubicBezTo>
                    <a:pt x="24711" y="33241"/>
                    <a:pt x="25088" y="31734"/>
                    <a:pt x="26469" y="30854"/>
                  </a:cubicBezTo>
                  <a:cubicBezTo>
                    <a:pt x="27599" y="30101"/>
                    <a:pt x="28856" y="29598"/>
                    <a:pt x="30237" y="29347"/>
                  </a:cubicBezTo>
                  <a:cubicBezTo>
                    <a:pt x="31494" y="29096"/>
                    <a:pt x="32623" y="28468"/>
                    <a:pt x="33879" y="28217"/>
                  </a:cubicBezTo>
                  <a:cubicBezTo>
                    <a:pt x="34884" y="27966"/>
                    <a:pt x="35387" y="28217"/>
                    <a:pt x="36391" y="28217"/>
                  </a:cubicBezTo>
                  <a:cubicBezTo>
                    <a:pt x="38150" y="28342"/>
                    <a:pt x="39908" y="28342"/>
                    <a:pt x="41667" y="28217"/>
                  </a:cubicBezTo>
                  <a:cubicBezTo>
                    <a:pt x="47318" y="27840"/>
                    <a:pt x="56737" y="25203"/>
                    <a:pt x="60380" y="20681"/>
                  </a:cubicBezTo>
                  <a:cubicBezTo>
                    <a:pt x="62641" y="17918"/>
                    <a:pt x="63017" y="13773"/>
                    <a:pt x="62389" y="10257"/>
                  </a:cubicBezTo>
                  <a:cubicBezTo>
                    <a:pt x="61259" y="3851"/>
                    <a:pt x="50583" y="3851"/>
                    <a:pt x="45434" y="3726"/>
                  </a:cubicBezTo>
                  <a:cubicBezTo>
                    <a:pt x="40159" y="3600"/>
                    <a:pt x="32372" y="3851"/>
                    <a:pt x="27851" y="586"/>
                  </a:cubicBezTo>
                  <a:cubicBezTo>
                    <a:pt x="24083" y="-2177"/>
                    <a:pt x="16548" y="5610"/>
                    <a:pt x="14161" y="7745"/>
                  </a:cubicBezTo>
                  <a:cubicBezTo>
                    <a:pt x="11775" y="10006"/>
                    <a:pt x="9514" y="13146"/>
                    <a:pt x="6375" y="14025"/>
                  </a:cubicBezTo>
                  <a:cubicBezTo>
                    <a:pt x="2732" y="15029"/>
                    <a:pt x="1351" y="17290"/>
                    <a:pt x="723" y="20681"/>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0" name="Freeform: Shape 5449">
              <a:extLst>
                <a:ext uri="{FF2B5EF4-FFF2-40B4-BE49-F238E27FC236}">
                  <a16:creationId xmlns:a16="http://schemas.microsoft.com/office/drawing/2014/main" id="{E92F9F44-030D-4947-89CF-D804BE54CA11}"/>
                </a:ext>
              </a:extLst>
            </p:cNvPr>
            <p:cNvSpPr/>
            <p:nvPr/>
          </p:nvSpPr>
          <p:spPr>
            <a:xfrm>
              <a:off x="11436289" y="2904355"/>
              <a:ext cx="34664" cy="17039"/>
            </a:xfrm>
            <a:custGeom>
              <a:avLst/>
              <a:gdLst>
                <a:gd name="connsiteX0" fmla="*/ 17458 w 34664"/>
                <a:gd name="connsiteY0" fmla="*/ 2889 h 17039"/>
                <a:gd name="connsiteX1" fmla="*/ 34413 w 34664"/>
                <a:gd name="connsiteY1" fmla="*/ 9420 h 17039"/>
                <a:gd name="connsiteX2" fmla="*/ 34664 w 34664"/>
                <a:gd name="connsiteY2" fmla="*/ 12936 h 17039"/>
                <a:gd name="connsiteX3" fmla="*/ 18588 w 34664"/>
                <a:gd name="connsiteY3" fmla="*/ 16955 h 17039"/>
                <a:gd name="connsiteX4" fmla="*/ 4647 w 34664"/>
                <a:gd name="connsiteY4" fmla="*/ 13816 h 17039"/>
                <a:gd name="connsiteX5" fmla="*/ 628 w 34664"/>
                <a:gd name="connsiteY5" fmla="*/ 8666 h 17039"/>
                <a:gd name="connsiteX6" fmla="*/ 0 w 34664"/>
                <a:gd name="connsiteY6" fmla="*/ 0 h 17039"/>
                <a:gd name="connsiteX7" fmla="*/ 17458 w 34664"/>
                <a:gd name="connsiteY7" fmla="*/ 2889 h 17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64" h="17039">
                  <a:moveTo>
                    <a:pt x="17458" y="2889"/>
                  </a:moveTo>
                  <a:cubicBezTo>
                    <a:pt x="22607" y="3014"/>
                    <a:pt x="33283" y="3014"/>
                    <a:pt x="34413" y="9420"/>
                  </a:cubicBezTo>
                  <a:cubicBezTo>
                    <a:pt x="34664" y="10550"/>
                    <a:pt x="34664" y="11680"/>
                    <a:pt x="34664" y="12936"/>
                  </a:cubicBezTo>
                  <a:cubicBezTo>
                    <a:pt x="34413" y="13187"/>
                    <a:pt x="30143" y="17709"/>
                    <a:pt x="18588" y="16955"/>
                  </a:cubicBezTo>
                  <a:cubicBezTo>
                    <a:pt x="6783" y="16076"/>
                    <a:pt x="4647" y="13816"/>
                    <a:pt x="4647" y="13816"/>
                  </a:cubicBezTo>
                  <a:cubicBezTo>
                    <a:pt x="4647" y="13816"/>
                    <a:pt x="126" y="13187"/>
                    <a:pt x="628" y="8666"/>
                  </a:cubicBezTo>
                  <a:cubicBezTo>
                    <a:pt x="1005" y="5526"/>
                    <a:pt x="503" y="2010"/>
                    <a:pt x="0" y="0"/>
                  </a:cubicBezTo>
                  <a:cubicBezTo>
                    <a:pt x="4773" y="3014"/>
                    <a:pt x="12308" y="2763"/>
                    <a:pt x="17458" y="2889"/>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51" name="Graphic 4">
              <a:extLst>
                <a:ext uri="{FF2B5EF4-FFF2-40B4-BE49-F238E27FC236}">
                  <a16:creationId xmlns:a16="http://schemas.microsoft.com/office/drawing/2014/main" id="{84FB7ED1-A2DF-40A1-A747-5F7CF3F14040}"/>
                </a:ext>
              </a:extLst>
            </p:cNvPr>
            <p:cNvGrpSpPr/>
            <p:nvPr/>
          </p:nvGrpSpPr>
          <p:grpSpPr>
            <a:xfrm>
              <a:off x="11323631" y="2476959"/>
              <a:ext cx="365480" cy="450683"/>
              <a:chOff x="11323631" y="2476959"/>
              <a:chExt cx="365480" cy="450683"/>
            </a:xfrm>
            <a:solidFill>
              <a:schemeClr val="accent1"/>
            </a:solidFill>
          </p:grpSpPr>
          <p:sp>
            <p:nvSpPr>
              <p:cNvPr id="5452" name="Freeform: Shape 5451">
                <a:extLst>
                  <a:ext uri="{FF2B5EF4-FFF2-40B4-BE49-F238E27FC236}">
                    <a16:creationId xmlns:a16="http://schemas.microsoft.com/office/drawing/2014/main" id="{4469DCD0-21F1-4BAA-A931-94962131EA33}"/>
                  </a:ext>
                </a:extLst>
              </p:cNvPr>
              <p:cNvSpPr/>
              <p:nvPr/>
            </p:nvSpPr>
            <p:spPr>
              <a:xfrm>
                <a:off x="11323631" y="2687076"/>
                <a:ext cx="82264" cy="47474"/>
              </a:xfrm>
              <a:custGeom>
                <a:avLst/>
                <a:gdLst>
                  <a:gd name="connsiteX0" fmla="*/ 82264 w 82264"/>
                  <a:gd name="connsiteY0" fmla="*/ 6782 h 47474"/>
                  <a:gd name="connsiteX1" fmla="*/ 11303 w 82264"/>
                  <a:gd name="connsiteY1" fmla="*/ 47475 h 47474"/>
                  <a:gd name="connsiteX2" fmla="*/ 0 w 82264"/>
                  <a:gd name="connsiteY2" fmla="*/ 40944 h 47474"/>
                  <a:gd name="connsiteX3" fmla="*/ 70710 w 82264"/>
                  <a:gd name="connsiteY3" fmla="*/ 0 h 47474"/>
                </a:gdLst>
                <a:ahLst/>
                <a:cxnLst>
                  <a:cxn ang="0">
                    <a:pos x="connsiteX0" y="connsiteY0"/>
                  </a:cxn>
                  <a:cxn ang="0">
                    <a:pos x="connsiteX1" y="connsiteY1"/>
                  </a:cxn>
                  <a:cxn ang="0">
                    <a:pos x="connsiteX2" y="connsiteY2"/>
                  </a:cxn>
                  <a:cxn ang="0">
                    <a:pos x="connsiteX3" y="connsiteY3"/>
                  </a:cxn>
                </a:cxnLst>
                <a:rect l="l" t="t" r="r" b="b"/>
                <a:pathLst>
                  <a:path w="82264" h="47474">
                    <a:moveTo>
                      <a:pt x="82264" y="6782"/>
                    </a:moveTo>
                    <a:lnTo>
                      <a:pt x="11303" y="47475"/>
                    </a:lnTo>
                    <a:lnTo>
                      <a:pt x="0" y="40944"/>
                    </a:lnTo>
                    <a:lnTo>
                      <a:pt x="70710" y="0"/>
                    </a:ln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3" name="Freeform: Shape 5452">
                <a:extLst>
                  <a:ext uri="{FF2B5EF4-FFF2-40B4-BE49-F238E27FC236}">
                    <a16:creationId xmlns:a16="http://schemas.microsoft.com/office/drawing/2014/main" id="{F81D9685-06BE-4E42-9F4A-3FEF394A80C5}"/>
                  </a:ext>
                </a:extLst>
              </p:cNvPr>
              <p:cNvSpPr/>
              <p:nvPr/>
            </p:nvSpPr>
            <p:spPr>
              <a:xfrm>
                <a:off x="11323631" y="2693858"/>
                <a:ext cx="82264" cy="104620"/>
              </a:xfrm>
              <a:custGeom>
                <a:avLst/>
                <a:gdLst>
                  <a:gd name="connsiteX0" fmla="*/ 82264 w 82264"/>
                  <a:gd name="connsiteY0" fmla="*/ 63928 h 104620"/>
                  <a:gd name="connsiteX1" fmla="*/ 11303 w 82264"/>
                  <a:gd name="connsiteY1" fmla="*/ 104620 h 104620"/>
                  <a:gd name="connsiteX2" fmla="*/ 0 w 82264"/>
                  <a:gd name="connsiteY2" fmla="*/ 97964 h 104620"/>
                  <a:gd name="connsiteX3" fmla="*/ 11303 w 82264"/>
                  <a:gd name="connsiteY3" fmla="*/ 40693 h 104620"/>
                  <a:gd name="connsiteX4" fmla="*/ 82264 w 82264"/>
                  <a:gd name="connsiteY4" fmla="*/ 0 h 104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64" h="104620">
                    <a:moveTo>
                      <a:pt x="82264" y="63928"/>
                    </a:moveTo>
                    <a:lnTo>
                      <a:pt x="11303" y="104620"/>
                    </a:lnTo>
                    <a:lnTo>
                      <a:pt x="0" y="97964"/>
                    </a:lnTo>
                    <a:lnTo>
                      <a:pt x="11303" y="40693"/>
                    </a:lnTo>
                    <a:lnTo>
                      <a:pt x="82264"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4" name="Freeform: Shape 5453">
                <a:extLst>
                  <a:ext uri="{FF2B5EF4-FFF2-40B4-BE49-F238E27FC236}">
                    <a16:creationId xmlns:a16="http://schemas.microsoft.com/office/drawing/2014/main" id="{181CE908-B48C-4F0A-85BB-9AD9349DB723}"/>
                  </a:ext>
                </a:extLst>
              </p:cNvPr>
              <p:cNvSpPr/>
              <p:nvPr/>
            </p:nvSpPr>
            <p:spPr>
              <a:xfrm>
                <a:off x="11323631" y="2728020"/>
                <a:ext cx="11303" cy="70458"/>
              </a:xfrm>
              <a:custGeom>
                <a:avLst/>
                <a:gdLst>
                  <a:gd name="connsiteX0" fmla="*/ 0 w 11303"/>
                  <a:gd name="connsiteY0" fmla="*/ 0 h 70458"/>
                  <a:gd name="connsiteX1" fmla="*/ 0 w 11303"/>
                  <a:gd name="connsiteY1" fmla="*/ 63802 h 70458"/>
                  <a:gd name="connsiteX2" fmla="*/ 11303 w 11303"/>
                  <a:gd name="connsiteY2" fmla="*/ 70459 h 70458"/>
                  <a:gd name="connsiteX3" fmla="*/ 11303 w 11303"/>
                  <a:gd name="connsiteY3" fmla="*/ 6531 h 70458"/>
                </a:gdLst>
                <a:ahLst/>
                <a:cxnLst>
                  <a:cxn ang="0">
                    <a:pos x="connsiteX0" y="connsiteY0"/>
                  </a:cxn>
                  <a:cxn ang="0">
                    <a:pos x="connsiteX1" y="connsiteY1"/>
                  </a:cxn>
                  <a:cxn ang="0">
                    <a:pos x="connsiteX2" y="connsiteY2"/>
                  </a:cxn>
                  <a:cxn ang="0">
                    <a:pos x="connsiteX3" y="connsiteY3"/>
                  </a:cxn>
                </a:cxnLst>
                <a:rect l="l" t="t" r="r" b="b"/>
                <a:pathLst>
                  <a:path w="11303" h="70458">
                    <a:moveTo>
                      <a:pt x="0" y="0"/>
                    </a:moveTo>
                    <a:lnTo>
                      <a:pt x="0" y="63802"/>
                    </a:lnTo>
                    <a:lnTo>
                      <a:pt x="11303" y="70459"/>
                    </a:lnTo>
                    <a:lnTo>
                      <a:pt x="11303" y="6531"/>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5" name="Freeform: Shape 5454">
                <a:extLst>
                  <a:ext uri="{FF2B5EF4-FFF2-40B4-BE49-F238E27FC236}">
                    <a16:creationId xmlns:a16="http://schemas.microsoft.com/office/drawing/2014/main" id="{D26327FC-27D0-4576-86CF-2ACDE5DFF59D}"/>
                  </a:ext>
                </a:extLst>
              </p:cNvPr>
              <p:cNvSpPr/>
              <p:nvPr/>
            </p:nvSpPr>
            <p:spPr>
              <a:xfrm>
                <a:off x="11353397" y="2704910"/>
                <a:ext cx="3390" cy="11931"/>
              </a:xfrm>
              <a:custGeom>
                <a:avLst/>
                <a:gdLst>
                  <a:gd name="connsiteX0" fmla="*/ 3391 w 3390"/>
                  <a:gd name="connsiteY0" fmla="*/ 2010 h 11931"/>
                  <a:gd name="connsiteX1" fmla="*/ 3391 w 3390"/>
                  <a:gd name="connsiteY1" fmla="*/ 11932 h 11931"/>
                  <a:gd name="connsiteX2" fmla="*/ 0 w 3390"/>
                  <a:gd name="connsiteY2" fmla="*/ 9922 h 11931"/>
                  <a:gd name="connsiteX3" fmla="*/ 0 w 3390"/>
                  <a:gd name="connsiteY3" fmla="*/ 0 h 11931"/>
                </a:gdLst>
                <a:ahLst/>
                <a:cxnLst>
                  <a:cxn ang="0">
                    <a:pos x="connsiteX0" y="connsiteY0"/>
                  </a:cxn>
                  <a:cxn ang="0">
                    <a:pos x="connsiteX1" y="connsiteY1"/>
                  </a:cxn>
                  <a:cxn ang="0">
                    <a:pos x="connsiteX2" y="connsiteY2"/>
                  </a:cxn>
                  <a:cxn ang="0">
                    <a:pos x="connsiteX3" y="connsiteY3"/>
                  </a:cxn>
                </a:cxnLst>
                <a:rect l="l" t="t" r="r" b="b"/>
                <a:pathLst>
                  <a:path w="3390" h="11931">
                    <a:moveTo>
                      <a:pt x="3391" y="2010"/>
                    </a:moveTo>
                    <a:lnTo>
                      <a:pt x="3391" y="11932"/>
                    </a:lnTo>
                    <a:lnTo>
                      <a:pt x="0" y="9922"/>
                    </a:lnTo>
                    <a:lnTo>
                      <a:pt x="0" y="0"/>
                    </a:lnTo>
                    <a:close/>
                  </a:path>
                </a:pathLst>
              </a:custGeom>
              <a:solidFill>
                <a:srgbClr val="BA6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6" name="Freeform: Shape 5455">
                <a:extLst>
                  <a:ext uri="{FF2B5EF4-FFF2-40B4-BE49-F238E27FC236}">
                    <a16:creationId xmlns:a16="http://schemas.microsoft.com/office/drawing/2014/main" id="{8E205A30-1F52-4B8D-A846-696E0FF803CF}"/>
                  </a:ext>
                </a:extLst>
              </p:cNvPr>
              <p:cNvSpPr/>
              <p:nvPr/>
            </p:nvSpPr>
            <p:spPr>
              <a:xfrm>
                <a:off x="11377260" y="2690969"/>
                <a:ext cx="3517" cy="12057"/>
              </a:xfrm>
              <a:custGeom>
                <a:avLst/>
                <a:gdLst>
                  <a:gd name="connsiteX0" fmla="*/ 3517 w 3517"/>
                  <a:gd name="connsiteY0" fmla="*/ 2010 h 12057"/>
                  <a:gd name="connsiteX1" fmla="*/ 3517 w 3517"/>
                  <a:gd name="connsiteY1" fmla="*/ 12057 h 12057"/>
                  <a:gd name="connsiteX2" fmla="*/ 0 w 3517"/>
                  <a:gd name="connsiteY2" fmla="*/ 10048 h 12057"/>
                  <a:gd name="connsiteX3" fmla="*/ 0 w 3517"/>
                  <a:gd name="connsiteY3" fmla="*/ 0 h 12057"/>
                </a:gdLst>
                <a:ahLst/>
                <a:cxnLst>
                  <a:cxn ang="0">
                    <a:pos x="connsiteX0" y="connsiteY0"/>
                  </a:cxn>
                  <a:cxn ang="0">
                    <a:pos x="connsiteX1" y="connsiteY1"/>
                  </a:cxn>
                  <a:cxn ang="0">
                    <a:pos x="connsiteX2" y="connsiteY2"/>
                  </a:cxn>
                  <a:cxn ang="0">
                    <a:pos x="connsiteX3" y="connsiteY3"/>
                  </a:cxn>
                </a:cxnLst>
                <a:rect l="l" t="t" r="r" b="b"/>
                <a:pathLst>
                  <a:path w="3517" h="12057">
                    <a:moveTo>
                      <a:pt x="3517" y="2010"/>
                    </a:moveTo>
                    <a:lnTo>
                      <a:pt x="3517" y="12057"/>
                    </a:lnTo>
                    <a:lnTo>
                      <a:pt x="0" y="10048"/>
                    </a:lnTo>
                    <a:lnTo>
                      <a:pt x="0" y="0"/>
                    </a:lnTo>
                    <a:close/>
                  </a:path>
                </a:pathLst>
              </a:custGeom>
              <a:solidFill>
                <a:srgbClr val="BA6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7" name="Freeform: Shape 5456">
                <a:extLst>
                  <a:ext uri="{FF2B5EF4-FFF2-40B4-BE49-F238E27FC236}">
                    <a16:creationId xmlns:a16="http://schemas.microsoft.com/office/drawing/2014/main" id="{B02F4F6E-5A51-4BB3-9F6B-545C193AE186}"/>
                  </a:ext>
                </a:extLst>
              </p:cNvPr>
              <p:cNvSpPr/>
              <p:nvPr/>
            </p:nvSpPr>
            <p:spPr>
              <a:xfrm>
                <a:off x="11356787" y="2691974"/>
                <a:ext cx="25872" cy="24867"/>
              </a:xfrm>
              <a:custGeom>
                <a:avLst/>
                <a:gdLst>
                  <a:gd name="connsiteX0" fmla="*/ 25748 w 25872"/>
                  <a:gd name="connsiteY0" fmla="*/ 9922 h 24867"/>
                  <a:gd name="connsiteX1" fmla="*/ 23989 w 25872"/>
                  <a:gd name="connsiteY1" fmla="*/ 11052 h 24867"/>
                  <a:gd name="connsiteX2" fmla="*/ 23989 w 25872"/>
                  <a:gd name="connsiteY2" fmla="*/ 3140 h 24867"/>
                  <a:gd name="connsiteX3" fmla="*/ 1884 w 25872"/>
                  <a:gd name="connsiteY3" fmla="*/ 15950 h 24867"/>
                  <a:gd name="connsiteX4" fmla="*/ 1759 w 25872"/>
                  <a:gd name="connsiteY4" fmla="*/ 23863 h 24867"/>
                  <a:gd name="connsiteX5" fmla="*/ 0 w 25872"/>
                  <a:gd name="connsiteY5" fmla="*/ 24868 h 24867"/>
                  <a:gd name="connsiteX6" fmla="*/ 0 w 25872"/>
                  <a:gd name="connsiteY6" fmla="*/ 14946 h 24867"/>
                  <a:gd name="connsiteX7" fmla="*/ 25873 w 25872"/>
                  <a:gd name="connsiteY7"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72" h="24867">
                    <a:moveTo>
                      <a:pt x="25748" y="9922"/>
                    </a:moveTo>
                    <a:lnTo>
                      <a:pt x="23989" y="11052"/>
                    </a:lnTo>
                    <a:lnTo>
                      <a:pt x="23989" y="3140"/>
                    </a:lnTo>
                    <a:lnTo>
                      <a:pt x="1884" y="15950"/>
                    </a:lnTo>
                    <a:lnTo>
                      <a:pt x="1759" y="23863"/>
                    </a:lnTo>
                    <a:lnTo>
                      <a:pt x="0" y="24868"/>
                    </a:lnTo>
                    <a:lnTo>
                      <a:pt x="0" y="14946"/>
                    </a:lnTo>
                    <a:lnTo>
                      <a:pt x="25873" y="0"/>
                    </a:lnTo>
                    <a:close/>
                  </a:path>
                </a:pathLst>
              </a:custGeom>
              <a:solidFill>
                <a:srgbClr val="DE9A2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8" name="Freeform: Shape 5457">
                <a:extLst>
                  <a:ext uri="{FF2B5EF4-FFF2-40B4-BE49-F238E27FC236}">
                    <a16:creationId xmlns:a16="http://schemas.microsoft.com/office/drawing/2014/main" id="{7B3ABB51-1C2A-45A2-BA3D-874E95A9C3D5}"/>
                  </a:ext>
                </a:extLst>
              </p:cNvPr>
              <p:cNvSpPr/>
              <p:nvPr/>
            </p:nvSpPr>
            <p:spPr>
              <a:xfrm>
                <a:off x="11353397" y="2689964"/>
                <a:ext cx="29263" cy="16955"/>
              </a:xfrm>
              <a:custGeom>
                <a:avLst/>
                <a:gdLst>
                  <a:gd name="connsiteX0" fmla="*/ 25747 w 29263"/>
                  <a:gd name="connsiteY0" fmla="*/ 0 h 16955"/>
                  <a:gd name="connsiteX1" fmla="*/ 0 w 29263"/>
                  <a:gd name="connsiteY1" fmla="*/ 14946 h 16955"/>
                  <a:gd name="connsiteX2" fmla="*/ 3391 w 29263"/>
                  <a:gd name="connsiteY2" fmla="*/ 16955 h 16955"/>
                  <a:gd name="connsiteX3" fmla="*/ 29263 w 29263"/>
                  <a:gd name="connsiteY3" fmla="*/ 2009 h 16955"/>
                </a:gdLst>
                <a:ahLst/>
                <a:cxnLst>
                  <a:cxn ang="0">
                    <a:pos x="connsiteX0" y="connsiteY0"/>
                  </a:cxn>
                  <a:cxn ang="0">
                    <a:pos x="connsiteX1" y="connsiteY1"/>
                  </a:cxn>
                  <a:cxn ang="0">
                    <a:pos x="connsiteX2" y="connsiteY2"/>
                  </a:cxn>
                  <a:cxn ang="0">
                    <a:pos x="connsiteX3" y="connsiteY3"/>
                  </a:cxn>
                </a:cxnLst>
                <a:rect l="l" t="t" r="r" b="b"/>
                <a:pathLst>
                  <a:path w="29263" h="16955">
                    <a:moveTo>
                      <a:pt x="25747" y="0"/>
                    </a:moveTo>
                    <a:lnTo>
                      <a:pt x="0" y="14946"/>
                    </a:lnTo>
                    <a:lnTo>
                      <a:pt x="3391" y="16955"/>
                    </a:lnTo>
                    <a:lnTo>
                      <a:pt x="29263" y="2009"/>
                    </a:lnTo>
                    <a:close/>
                  </a:path>
                </a:pathLst>
              </a:custGeom>
              <a:solidFill>
                <a:srgbClr val="F87F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9" name="Freeform: Shape 5458">
                <a:extLst>
                  <a:ext uri="{FF2B5EF4-FFF2-40B4-BE49-F238E27FC236}">
                    <a16:creationId xmlns:a16="http://schemas.microsoft.com/office/drawing/2014/main" id="{02809514-8372-4BD3-BDB0-B7BB716CE7E3}"/>
                  </a:ext>
                </a:extLst>
              </p:cNvPr>
              <p:cNvSpPr/>
              <p:nvPr/>
            </p:nvSpPr>
            <p:spPr>
              <a:xfrm>
                <a:off x="11529230" y="2632316"/>
                <a:ext cx="22732" cy="22073"/>
              </a:xfrm>
              <a:custGeom>
                <a:avLst/>
                <a:gdLst>
                  <a:gd name="connsiteX0" fmla="*/ 11052 w 22732"/>
                  <a:gd name="connsiteY0" fmla="*/ 21226 h 22073"/>
                  <a:gd name="connsiteX1" fmla="*/ 3266 w 22732"/>
                  <a:gd name="connsiteY1" fmla="*/ 17834 h 22073"/>
                  <a:gd name="connsiteX2" fmla="*/ 0 w 22732"/>
                  <a:gd name="connsiteY2" fmla="*/ 8666 h 22073"/>
                  <a:gd name="connsiteX3" fmla="*/ 14067 w 22732"/>
                  <a:gd name="connsiteY3" fmla="*/ 0 h 22073"/>
                  <a:gd name="connsiteX4" fmla="*/ 22733 w 22732"/>
                  <a:gd name="connsiteY4" fmla="*/ 4773 h 22073"/>
                  <a:gd name="connsiteX5" fmla="*/ 11052 w 22732"/>
                  <a:gd name="connsiteY5" fmla="*/ 21226 h 2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2" h="22073">
                    <a:moveTo>
                      <a:pt x="11052" y="21226"/>
                    </a:moveTo>
                    <a:cubicBezTo>
                      <a:pt x="11052" y="21226"/>
                      <a:pt x="6028" y="24617"/>
                      <a:pt x="3266" y="17834"/>
                    </a:cubicBezTo>
                    <a:cubicBezTo>
                      <a:pt x="502" y="11052"/>
                      <a:pt x="0" y="8666"/>
                      <a:pt x="0" y="8666"/>
                    </a:cubicBezTo>
                    <a:lnTo>
                      <a:pt x="14067" y="0"/>
                    </a:lnTo>
                    <a:lnTo>
                      <a:pt x="22733" y="4773"/>
                    </a:lnTo>
                    <a:lnTo>
                      <a:pt x="11052" y="21226"/>
                    </a:lnTo>
                    <a:close/>
                  </a:path>
                </a:pathLst>
              </a:custGeom>
              <a:solidFill>
                <a:srgbClr val="AD2C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0" name="Freeform: Shape 5459">
                <a:extLst>
                  <a:ext uri="{FF2B5EF4-FFF2-40B4-BE49-F238E27FC236}">
                    <a16:creationId xmlns:a16="http://schemas.microsoft.com/office/drawing/2014/main" id="{842228B1-6269-4D23-BBDB-B6BE2DCC7D12}"/>
                  </a:ext>
                </a:extLst>
              </p:cNvPr>
              <p:cNvSpPr/>
              <p:nvPr/>
            </p:nvSpPr>
            <p:spPr>
              <a:xfrm>
                <a:off x="11502007" y="2634075"/>
                <a:ext cx="44353" cy="40277"/>
              </a:xfrm>
              <a:custGeom>
                <a:avLst/>
                <a:gdLst>
                  <a:gd name="connsiteX0" fmla="*/ 12403 w 44353"/>
                  <a:gd name="connsiteY0" fmla="*/ 17332 h 40277"/>
                  <a:gd name="connsiteX1" fmla="*/ 20692 w 44353"/>
                  <a:gd name="connsiteY1" fmla="*/ 15574 h 40277"/>
                  <a:gd name="connsiteX2" fmla="*/ 27349 w 44353"/>
                  <a:gd name="connsiteY2" fmla="*/ 10550 h 40277"/>
                  <a:gd name="connsiteX3" fmla="*/ 30237 w 44353"/>
                  <a:gd name="connsiteY3" fmla="*/ 7787 h 40277"/>
                  <a:gd name="connsiteX4" fmla="*/ 31744 w 44353"/>
                  <a:gd name="connsiteY4" fmla="*/ 5778 h 40277"/>
                  <a:gd name="connsiteX5" fmla="*/ 35386 w 44353"/>
                  <a:gd name="connsiteY5" fmla="*/ 2261 h 40277"/>
                  <a:gd name="connsiteX6" fmla="*/ 38526 w 44353"/>
                  <a:gd name="connsiteY6" fmla="*/ 251 h 40277"/>
                  <a:gd name="connsiteX7" fmla="*/ 44304 w 44353"/>
                  <a:gd name="connsiteY7" fmla="*/ 4773 h 40277"/>
                  <a:gd name="connsiteX8" fmla="*/ 44052 w 44353"/>
                  <a:gd name="connsiteY8" fmla="*/ 8415 h 40277"/>
                  <a:gd name="connsiteX9" fmla="*/ 42797 w 44353"/>
                  <a:gd name="connsiteY9" fmla="*/ 12811 h 40277"/>
                  <a:gd name="connsiteX10" fmla="*/ 40912 w 44353"/>
                  <a:gd name="connsiteY10" fmla="*/ 16704 h 40277"/>
                  <a:gd name="connsiteX11" fmla="*/ 37773 w 44353"/>
                  <a:gd name="connsiteY11" fmla="*/ 18212 h 40277"/>
                  <a:gd name="connsiteX12" fmla="*/ 34633 w 44353"/>
                  <a:gd name="connsiteY12" fmla="*/ 20095 h 40277"/>
                  <a:gd name="connsiteX13" fmla="*/ 30739 w 44353"/>
                  <a:gd name="connsiteY13" fmla="*/ 23612 h 40277"/>
                  <a:gd name="connsiteX14" fmla="*/ 28479 w 44353"/>
                  <a:gd name="connsiteY14" fmla="*/ 26375 h 40277"/>
                  <a:gd name="connsiteX15" fmla="*/ 28102 w 44353"/>
                  <a:gd name="connsiteY15" fmla="*/ 27003 h 40277"/>
                  <a:gd name="connsiteX16" fmla="*/ 28227 w 44353"/>
                  <a:gd name="connsiteY16" fmla="*/ 27254 h 40277"/>
                  <a:gd name="connsiteX17" fmla="*/ 27474 w 44353"/>
                  <a:gd name="connsiteY17" fmla="*/ 27882 h 40277"/>
                  <a:gd name="connsiteX18" fmla="*/ 23957 w 44353"/>
                  <a:gd name="connsiteY18" fmla="*/ 32278 h 40277"/>
                  <a:gd name="connsiteX19" fmla="*/ 19310 w 44353"/>
                  <a:gd name="connsiteY19" fmla="*/ 34413 h 40277"/>
                  <a:gd name="connsiteX20" fmla="*/ 9639 w 44353"/>
                  <a:gd name="connsiteY20" fmla="*/ 39311 h 40277"/>
                  <a:gd name="connsiteX21" fmla="*/ 3108 w 44353"/>
                  <a:gd name="connsiteY21" fmla="*/ 37930 h 40277"/>
                  <a:gd name="connsiteX22" fmla="*/ 1350 w 44353"/>
                  <a:gd name="connsiteY22" fmla="*/ 33032 h 40277"/>
                  <a:gd name="connsiteX23" fmla="*/ 346 w 44353"/>
                  <a:gd name="connsiteY23" fmla="*/ 31399 h 40277"/>
                  <a:gd name="connsiteX24" fmla="*/ 848 w 44353"/>
                  <a:gd name="connsiteY24" fmla="*/ 29013 h 40277"/>
                  <a:gd name="connsiteX25" fmla="*/ 9639 w 44353"/>
                  <a:gd name="connsiteY25" fmla="*/ 22984 h 40277"/>
                  <a:gd name="connsiteX26" fmla="*/ 10267 w 44353"/>
                  <a:gd name="connsiteY26" fmla="*/ 21226 h 40277"/>
                  <a:gd name="connsiteX27" fmla="*/ 10644 w 44353"/>
                  <a:gd name="connsiteY27" fmla="*/ 20975 h 40277"/>
                  <a:gd name="connsiteX28" fmla="*/ 3737 w 44353"/>
                  <a:gd name="connsiteY28" fmla="*/ 17960 h 40277"/>
                  <a:gd name="connsiteX29" fmla="*/ 12403 w 44353"/>
                  <a:gd name="connsiteY29" fmla="*/ 17332 h 4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4353" h="40277">
                    <a:moveTo>
                      <a:pt x="12403" y="17332"/>
                    </a:moveTo>
                    <a:cubicBezTo>
                      <a:pt x="15166" y="16955"/>
                      <a:pt x="18054" y="16453"/>
                      <a:pt x="20692" y="15574"/>
                    </a:cubicBezTo>
                    <a:cubicBezTo>
                      <a:pt x="23330" y="14695"/>
                      <a:pt x="25213" y="12309"/>
                      <a:pt x="27349" y="10550"/>
                    </a:cubicBezTo>
                    <a:cubicBezTo>
                      <a:pt x="28353" y="9671"/>
                      <a:pt x="29358" y="8792"/>
                      <a:pt x="30237" y="7787"/>
                    </a:cubicBezTo>
                    <a:cubicBezTo>
                      <a:pt x="30739" y="7159"/>
                      <a:pt x="31242" y="6406"/>
                      <a:pt x="31744" y="5778"/>
                    </a:cubicBezTo>
                    <a:cubicBezTo>
                      <a:pt x="32749" y="4396"/>
                      <a:pt x="34131" y="3391"/>
                      <a:pt x="35386" y="2261"/>
                    </a:cubicBezTo>
                    <a:cubicBezTo>
                      <a:pt x="36391" y="1507"/>
                      <a:pt x="37270" y="628"/>
                      <a:pt x="38526" y="251"/>
                    </a:cubicBezTo>
                    <a:cubicBezTo>
                      <a:pt x="41541" y="-879"/>
                      <a:pt x="43927" y="2010"/>
                      <a:pt x="44304" y="4773"/>
                    </a:cubicBezTo>
                    <a:cubicBezTo>
                      <a:pt x="44429" y="6029"/>
                      <a:pt x="44304" y="7159"/>
                      <a:pt x="44052" y="8415"/>
                    </a:cubicBezTo>
                    <a:cubicBezTo>
                      <a:pt x="43802" y="9922"/>
                      <a:pt x="43299" y="11304"/>
                      <a:pt x="42797" y="12811"/>
                    </a:cubicBezTo>
                    <a:cubicBezTo>
                      <a:pt x="42295" y="14067"/>
                      <a:pt x="41792" y="15825"/>
                      <a:pt x="40912" y="16704"/>
                    </a:cubicBezTo>
                    <a:cubicBezTo>
                      <a:pt x="40159" y="17458"/>
                      <a:pt x="38778" y="17709"/>
                      <a:pt x="37773" y="18212"/>
                    </a:cubicBezTo>
                    <a:cubicBezTo>
                      <a:pt x="36643" y="18714"/>
                      <a:pt x="35512" y="19342"/>
                      <a:pt x="34633" y="20095"/>
                    </a:cubicBezTo>
                    <a:cubicBezTo>
                      <a:pt x="33251" y="21351"/>
                      <a:pt x="31996" y="22482"/>
                      <a:pt x="30739" y="23612"/>
                    </a:cubicBezTo>
                    <a:cubicBezTo>
                      <a:pt x="29860" y="24366"/>
                      <a:pt x="29106" y="25370"/>
                      <a:pt x="28479" y="26375"/>
                    </a:cubicBezTo>
                    <a:cubicBezTo>
                      <a:pt x="28353" y="26626"/>
                      <a:pt x="28227" y="26752"/>
                      <a:pt x="28102" y="27003"/>
                    </a:cubicBezTo>
                    <a:lnTo>
                      <a:pt x="28227" y="27254"/>
                    </a:lnTo>
                    <a:cubicBezTo>
                      <a:pt x="28227" y="27254"/>
                      <a:pt x="27977" y="27505"/>
                      <a:pt x="27474" y="27882"/>
                    </a:cubicBezTo>
                    <a:cubicBezTo>
                      <a:pt x="26469" y="29515"/>
                      <a:pt x="25464" y="31148"/>
                      <a:pt x="23957" y="32278"/>
                    </a:cubicBezTo>
                    <a:cubicBezTo>
                      <a:pt x="22073" y="33534"/>
                      <a:pt x="20818" y="34539"/>
                      <a:pt x="19310" y="34413"/>
                    </a:cubicBezTo>
                    <a:cubicBezTo>
                      <a:pt x="14664" y="37679"/>
                      <a:pt x="11900" y="38307"/>
                      <a:pt x="9639" y="39311"/>
                    </a:cubicBezTo>
                    <a:cubicBezTo>
                      <a:pt x="7253" y="40442"/>
                      <a:pt x="7881" y="41195"/>
                      <a:pt x="3108" y="37930"/>
                    </a:cubicBezTo>
                    <a:cubicBezTo>
                      <a:pt x="-1789" y="34664"/>
                      <a:pt x="1350" y="33032"/>
                      <a:pt x="1350" y="33032"/>
                    </a:cubicBezTo>
                    <a:cubicBezTo>
                      <a:pt x="1350" y="33032"/>
                      <a:pt x="1350" y="33032"/>
                      <a:pt x="346" y="31399"/>
                    </a:cubicBezTo>
                    <a:cubicBezTo>
                      <a:pt x="-659" y="29766"/>
                      <a:pt x="848" y="29013"/>
                      <a:pt x="848" y="29013"/>
                    </a:cubicBezTo>
                    <a:lnTo>
                      <a:pt x="9639" y="22984"/>
                    </a:lnTo>
                    <a:cubicBezTo>
                      <a:pt x="9765" y="22356"/>
                      <a:pt x="9891" y="21728"/>
                      <a:pt x="10267" y="21226"/>
                    </a:cubicBezTo>
                    <a:cubicBezTo>
                      <a:pt x="10393" y="21100"/>
                      <a:pt x="10519" y="21100"/>
                      <a:pt x="10644" y="20975"/>
                    </a:cubicBezTo>
                    <a:cubicBezTo>
                      <a:pt x="8132" y="20598"/>
                      <a:pt x="3863" y="19719"/>
                      <a:pt x="3737" y="17960"/>
                    </a:cubicBezTo>
                    <a:cubicBezTo>
                      <a:pt x="3234" y="15825"/>
                      <a:pt x="9639" y="17709"/>
                      <a:pt x="12403" y="17332"/>
                    </a:cubicBezTo>
                    <a:close/>
                  </a:path>
                </a:pathLst>
              </a:custGeom>
              <a:solidFill>
                <a:srgbClr val="F1B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1" name="Freeform: Shape 5460">
                <a:extLst>
                  <a:ext uri="{FF2B5EF4-FFF2-40B4-BE49-F238E27FC236}">
                    <a16:creationId xmlns:a16="http://schemas.microsoft.com/office/drawing/2014/main" id="{AE6B5261-185C-4B0D-B57B-142D7270B93C}"/>
                  </a:ext>
                </a:extLst>
              </p:cNvPr>
              <p:cNvSpPr/>
              <p:nvPr/>
            </p:nvSpPr>
            <p:spPr>
              <a:xfrm>
                <a:off x="11527723" y="2648518"/>
                <a:ext cx="16327" cy="14820"/>
              </a:xfrm>
              <a:custGeom>
                <a:avLst/>
                <a:gdLst>
                  <a:gd name="connsiteX0" fmla="*/ 9922 w 16327"/>
                  <a:gd name="connsiteY0" fmla="*/ 2889 h 14820"/>
                  <a:gd name="connsiteX1" fmla="*/ 13187 w 16327"/>
                  <a:gd name="connsiteY1" fmla="*/ 1256 h 14820"/>
                  <a:gd name="connsiteX2" fmla="*/ 16327 w 16327"/>
                  <a:gd name="connsiteY2" fmla="*/ 0 h 14820"/>
                  <a:gd name="connsiteX3" fmla="*/ 13313 w 16327"/>
                  <a:gd name="connsiteY3" fmla="*/ 3014 h 14820"/>
                  <a:gd name="connsiteX4" fmla="*/ 8791 w 16327"/>
                  <a:gd name="connsiteY4" fmla="*/ 5526 h 14820"/>
                  <a:gd name="connsiteX5" fmla="*/ 4898 w 16327"/>
                  <a:gd name="connsiteY5" fmla="*/ 9043 h 14820"/>
                  <a:gd name="connsiteX6" fmla="*/ 2637 w 16327"/>
                  <a:gd name="connsiteY6" fmla="*/ 11806 h 14820"/>
                  <a:gd name="connsiteX7" fmla="*/ 0 w 16327"/>
                  <a:gd name="connsiteY7" fmla="*/ 14820 h 14820"/>
                  <a:gd name="connsiteX8" fmla="*/ 2637 w 16327"/>
                  <a:gd name="connsiteY8" fmla="*/ 10048 h 14820"/>
                  <a:gd name="connsiteX9" fmla="*/ 6908 w 16327"/>
                  <a:gd name="connsiteY9" fmla="*/ 4898 h 14820"/>
                  <a:gd name="connsiteX10" fmla="*/ 9922 w 16327"/>
                  <a:gd name="connsiteY10" fmla="*/ 2889 h 14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27" h="14820">
                    <a:moveTo>
                      <a:pt x="9922" y="2889"/>
                    </a:moveTo>
                    <a:cubicBezTo>
                      <a:pt x="10927" y="2261"/>
                      <a:pt x="12057" y="1758"/>
                      <a:pt x="13187" y="1256"/>
                    </a:cubicBezTo>
                    <a:cubicBezTo>
                      <a:pt x="14317" y="754"/>
                      <a:pt x="15071" y="0"/>
                      <a:pt x="16327" y="0"/>
                    </a:cubicBezTo>
                    <a:cubicBezTo>
                      <a:pt x="15699" y="1884"/>
                      <a:pt x="15071" y="2261"/>
                      <a:pt x="13313" y="3014"/>
                    </a:cubicBezTo>
                    <a:cubicBezTo>
                      <a:pt x="11680" y="3642"/>
                      <a:pt x="10047" y="4396"/>
                      <a:pt x="8791" y="5526"/>
                    </a:cubicBezTo>
                    <a:cubicBezTo>
                      <a:pt x="7410" y="6782"/>
                      <a:pt x="6154" y="7912"/>
                      <a:pt x="4898" y="9043"/>
                    </a:cubicBezTo>
                    <a:cubicBezTo>
                      <a:pt x="4019" y="9796"/>
                      <a:pt x="3266" y="10801"/>
                      <a:pt x="2637" y="11806"/>
                    </a:cubicBezTo>
                    <a:cubicBezTo>
                      <a:pt x="1758" y="13062"/>
                      <a:pt x="1507" y="13941"/>
                      <a:pt x="0" y="14820"/>
                    </a:cubicBezTo>
                    <a:cubicBezTo>
                      <a:pt x="1256" y="14067"/>
                      <a:pt x="1758" y="11178"/>
                      <a:pt x="2637" y="10048"/>
                    </a:cubicBezTo>
                    <a:cubicBezTo>
                      <a:pt x="3893" y="8164"/>
                      <a:pt x="5023" y="6405"/>
                      <a:pt x="6908" y="4898"/>
                    </a:cubicBezTo>
                    <a:cubicBezTo>
                      <a:pt x="7913" y="4145"/>
                      <a:pt x="8917" y="3517"/>
                      <a:pt x="9922" y="2889"/>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2" name="Freeform: Shape 5461">
                <a:extLst>
                  <a:ext uri="{FF2B5EF4-FFF2-40B4-BE49-F238E27FC236}">
                    <a16:creationId xmlns:a16="http://schemas.microsoft.com/office/drawing/2014/main" id="{E3F3E925-3378-4BEC-8C7E-EAF17F0E6DA7}"/>
                  </a:ext>
                </a:extLst>
              </p:cNvPr>
              <p:cNvSpPr/>
              <p:nvPr/>
            </p:nvSpPr>
            <p:spPr>
              <a:xfrm>
                <a:off x="11360681" y="2867130"/>
                <a:ext cx="38027" cy="38988"/>
              </a:xfrm>
              <a:custGeom>
                <a:avLst/>
                <a:gdLst>
                  <a:gd name="connsiteX0" fmla="*/ 27255 w 38027"/>
                  <a:gd name="connsiteY0" fmla="*/ 300 h 38988"/>
                  <a:gd name="connsiteX1" fmla="*/ 33157 w 38027"/>
                  <a:gd name="connsiteY1" fmla="*/ 551 h 38988"/>
                  <a:gd name="connsiteX2" fmla="*/ 33283 w 38027"/>
                  <a:gd name="connsiteY2" fmla="*/ 18134 h 38988"/>
                  <a:gd name="connsiteX3" fmla="*/ 27757 w 38027"/>
                  <a:gd name="connsiteY3" fmla="*/ 25795 h 38988"/>
                  <a:gd name="connsiteX4" fmla="*/ 25496 w 38027"/>
                  <a:gd name="connsiteY4" fmla="*/ 32703 h 38988"/>
                  <a:gd name="connsiteX5" fmla="*/ 13816 w 38027"/>
                  <a:gd name="connsiteY5" fmla="*/ 38983 h 38988"/>
                  <a:gd name="connsiteX6" fmla="*/ 4522 w 38027"/>
                  <a:gd name="connsiteY6" fmla="*/ 36722 h 38988"/>
                  <a:gd name="connsiteX7" fmla="*/ 126 w 38027"/>
                  <a:gd name="connsiteY7" fmla="*/ 31698 h 38988"/>
                  <a:gd name="connsiteX8" fmla="*/ 0 w 38027"/>
                  <a:gd name="connsiteY8" fmla="*/ 29940 h 38988"/>
                  <a:gd name="connsiteX9" fmla="*/ 629 w 38027"/>
                  <a:gd name="connsiteY9" fmla="*/ 20897 h 38988"/>
                  <a:gd name="connsiteX10" fmla="*/ 9043 w 38027"/>
                  <a:gd name="connsiteY10" fmla="*/ 16376 h 38988"/>
                  <a:gd name="connsiteX11" fmla="*/ 15197 w 38027"/>
                  <a:gd name="connsiteY11" fmla="*/ 10598 h 38988"/>
                  <a:gd name="connsiteX12" fmla="*/ 19844 w 38027"/>
                  <a:gd name="connsiteY12" fmla="*/ 4444 h 38988"/>
                  <a:gd name="connsiteX13" fmla="*/ 26877 w 38027"/>
                  <a:gd name="connsiteY13" fmla="*/ 300 h 38988"/>
                  <a:gd name="connsiteX14" fmla="*/ 27255 w 38027"/>
                  <a:gd name="connsiteY14" fmla="*/ 300 h 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027" h="38988">
                    <a:moveTo>
                      <a:pt x="27255" y="300"/>
                    </a:moveTo>
                    <a:cubicBezTo>
                      <a:pt x="29138" y="-77"/>
                      <a:pt x="31274" y="-203"/>
                      <a:pt x="33157" y="551"/>
                    </a:cubicBezTo>
                    <a:cubicBezTo>
                      <a:pt x="40944" y="3565"/>
                      <a:pt x="38181" y="13864"/>
                      <a:pt x="33283" y="18134"/>
                    </a:cubicBezTo>
                    <a:cubicBezTo>
                      <a:pt x="30897" y="20269"/>
                      <a:pt x="29264" y="22907"/>
                      <a:pt x="27757" y="25795"/>
                    </a:cubicBezTo>
                    <a:cubicBezTo>
                      <a:pt x="26627" y="28056"/>
                      <a:pt x="26627" y="30442"/>
                      <a:pt x="25496" y="32703"/>
                    </a:cubicBezTo>
                    <a:cubicBezTo>
                      <a:pt x="23236" y="37099"/>
                      <a:pt x="18589" y="39109"/>
                      <a:pt x="13816" y="38983"/>
                    </a:cubicBezTo>
                    <a:cubicBezTo>
                      <a:pt x="10676" y="38983"/>
                      <a:pt x="7410" y="38104"/>
                      <a:pt x="4522" y="36722"/>
                    </a:cubicBezTo>
                    <a:cubicBezTo>
                      <a:pt x="2386" y="35592"/>
                      <a:pt x="879" y="34085"/>
                      <a:pt x="126" y="31698"/>
                    </a:cubicBezTo>
                    <a:cubicBezTo>
                      <a:pt x="0" y="31070"/>
                      <a:pt x="0" y="30442"/>
                      <a:pt x="0" y="29940"/>
                    </a:cubicBezTo>
                    <a:cubicBezTo>
                      <a:pt x="0" y="26926"/>
                      <a:pt x="251" y="23911"/>
                      <a:pt x="629" y="20897"/>
                    </a:cubicBezTo>
                    <a:cubicBezTo>
                      <a:pt x="1131" y="16878"/>
                      <a:pt x="6783" y="18888"/>
                      <a:pt x="9043" y="16376"/>
                    </a:cubicBezTo>
                    <a:cubicBezTo>
                      <a:pt x="11052" y="14366"/>
                      <a:pt x="12937" y="12231"/>
                      <a:pt x="15197" y="10598"/>
                    </a:cubicBezTo>
                    <a:cubicBezTo>
                      <a:pt x="17207" y="9217"/>
                      <a:pt x="18211" y="6328"/>
                      <a:pt x="19844" y="4444"/>
                    </a:cubicBezTo>
                    <a:cubicBezTo>
                      <a:pt x="21728" y="2309"/>
                      <a:pt x="24240" y="928"/>
                      <a:pt x="26877" y="300"/>
                    </a:cubicBezTo>
                    <a:cubicBezTo>
                      <a:pt x="27129" y="300"/>
                      <a:pt x="27129" y="300"/>
                      <a:pt x="27255" y="30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3" name="Freeform: Shape 5462">
                <a:extLst>
                  <a:ext uri="{FF2B5EF4-FFF2-40B4-BE49-F238E27FC236}">
                    <a16:creationId xmlns:a16="http://schemas.microsoft.com/office/drawing/2014/main" id="{8E55AC42-A481-4DD4-A3F4-5042F53BFD05}"/>
                  </a:ext>
                </a:extLst>
              </p:cNvPr>
              <p:cNvSpPr/>
              <p:nvPr/>
            </p:nvSpPr>
            <p:spPr>
              <a:xfrm>
                <a:off x="11358304" y="2710059"/>
                <a:ext cx="39479" cy="187255"/>
              </a:xfrm>
              <a:custGeom>
                <a:avLst/>
                <a:gdLst>
                  <a:gd name="connsiteX0" fmla="*/ 6899 w 39479"/>
                  <a:gd name="connsiteY0" fmla="*/ 14193 h 187255"/>
                  <a:gd name="connsiteX1" fmla="*/ 9787 w 39479"/>
                  <a:gd name="connsiteY1" fmla="*/ 17584 h 187255"/>
                  <a:gd name="connsiteX2" fmla="*/ 33399 w 39479"/>
                  <a:gd name="connsiteY2" fmla="*/ 44713 h 187255"/>
                  <a:gd name="connsiteX3" fmla="*/ 37920 w 39479"/>
                  <a:gd name="connsiteY3" fmla="*/ 61793 h 187255"/>
                  <a:gd name="connsiteX4" fmla="*/ 39427 w 39479"/>
                  <a:gd name="connsiteY4" fmla="*/ 82391 h 187255"/>
                  <a:gd name="connsiteX5" fmla="*/ 39302 w 39479"/>
                  <a:gd name="connsiteY5" fmla="*/ 94323 h 187255"/>
                  <a:gd name="connsiteX6" fmla="*/ 36539 w 39479"/>
                  <a:gd name="connsiteY6" fmla="*/ 140793 h 187255"/>
                  <a:gd name="connsiteX7" fmla="*/ 29882 w 39479"/>
                  <a:gd name="connsiteY7" fmla="*/ 181862 h 187255"/>
                  <a:gd name="connsiteX8" fmla="*/ 28124 w 39479"/>
                  <a:gd name="connsiteY8" fmla="*/ 185881 h 187255"/>
                  <a:gd name="connsiteX9" fmla="*/ 23602 w 39479"/>
                  <a:gd name="connsiteY9" fmla="*/ 186886 h 187255"/>
                  <a:gd name="connsiteX10" fmla="*/ 8908 w 39479"/>
                  <a:gd name="connsiteY10" fmla="*/ 184751 h 187255"/>
                  <a:gd name="connsiteX11" fmla="*/ 493 w 39479"/>
                  <a:gd name="connsiteY11" fmla="*/ 179727 h 187255"/>
                  <a:gd name="connsiteX12" fmla="*/ 745 w 39479"/>
                  <a:gd name="connsiteY12" fmla="*/ 172568 h 187255"/>
                  <a:gd name="connsiteX13" fmla="*/ 3382 w 39479"/>
                  <a:gd name="connsiteY13" fmla="*/ 153854 h 187255"/>
                  <a:gd name="connsiteX14" fmla="*/ 9034 w 39479"/>
                  <a:gd name="connsiteY14" fmla="*/ 103240 h 187255"/>
                  <a:gd name="connsiteX15" fmla="*/ 7149 w 39479"/>
                  <a:gd name="connsiteY15" fmla="*/ 93318 h 187255"/>
                  <a:gd name="connsiteX16" fmla="*/ 4512 w 39479"/>
                  <a:gd name="connsiteY16" fmla="*/ 77870 h 187255"/>
                  <a:gd name="connsiteX17" fmla="*/ 3005 w 39479"/>
                  <a:gd name="connsiteY17" fmla="*/ 67571 h 187255"/>
                  <a:gd name="connsiteX18" fmla="*/ 116 w 39479"/>
                  <a:gd name="connsiteY18" fmla="*/ 43080 h 187255"/>
                  <a:gd name="connsiteX19" fmla="*/ 4763 w 39479"/>
                  <a:gd name="connsiteY19" fmla="*/ 1 h 187255"/>
                  <a:gd name="connsiteX20" fmla="*/ 6899 w 39479"/>
                  <a:gd name="connsiteY20" fmla="*/ 14193 h 187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479" h="187255">
                    <a:moveTo>
                      <a:pt x="6899" y="14193"/>
                    </a:moveTo>
                    <a:cubicBezTo>
                      <a:pt x="7903" y="15323"/>
                      <a:pt x="8782" y="16454"/>
                      <a:pt x="9787" y="17584"/>
                    </a:cubicBezTo>
                    <a:cubicBezTo>
                      <a:pt x="17574" y="26627"/>
                      <a:pt x="26114" y="35293"/>
                      <a:pt x="33399" y="44713"/>
                    </a:cubicBezTo>
                    <a:cubicBezTo>
                      <a:pt x="37041" y="49485"/>
                      <a:pt x="37795" y="56016"/>
                      <a:pt x="37920" y="61793"/>
                    </a:cubicBezTo>
                    <a:cubicBezTo>
                      <a:pt x="38172" y="68701"/>
                      <a:pt x="39302" y="75483"/>
                      <a:pt x="39427" y="82391"/>
                    </a:cubicBezTo>
                    <a:cubicBezTo>
                      <a:pt x="39553" y="86410"/>
                      <a:pt x="39427" y="90303"/>
                      <a:pt x="39302" y="94323"/>
                    </a:cubicBezTo>
                    <a:cubicBezTo>
                      <a:pt x="39051" y="103616"/>
                      <a:pt x="37544" y="131624"/>
                      <a:pt x="36539" y="140793"/>
                    </a:cubicBezTo>
                    <a:cubicBezTo>
                      <a:pt x="35158" y="154608"/>
                      <a:pt x="32897" y="168298"/>
                      <a:pt x="29882" y="181862"/>
                    </a:cubicBezTo>
                    <a:cubicBezTo>
                      <a:pt x="29506" y="183620"/>
                      <a:pt x="29631" y="185002"/>
                      <a:pt x="28124" y="185881"/>
                    </a:cubicBezTo>
                    <a:cubicBezTo>
                      <a:pt x="26868" y="186509"/>
                      <a:pt x="24984" y="186635"/>
                      <a:pt x="23602" y="186886"/>
                    </a:cubicBezTo>
                    <a:cubicBezTo>
                      <a:pt x="18705" y="187639"/>
                      <a:pt x="13304" y="187388"/>
                      <a:pt x="8908" y="184751"/>
                    </a:cubicBezTo>
                    <a:cubicBezTo>
                      <a:pt x="6145" y="183118"/>
                      <a:pt x="3382" y="181108"/>
                      <a:pt x="493" y="179727"/>
                    </a:cubicBezTo>
                    <a:cubicBezTo>
                      <a:pt x="745" y="177341"/>
                      <a:pt x="493" y="174954"/>
                      <a:pt x="745" y="172568"/>
                    </a:cubicBezTo>
                    <a:cubicBezTo>
                      <a:pt x="1498" y="166414"/>
                      <a:pt x="2252" y="160009"/>
                      <a:pt x="3382" y="153854"/>
                    </a:cubicBezTo>
                    <a:cubicBezTo>
                      <a:pt x="5392" y="143430"/>
                      <a:pt x="10289" y="114041"/>
                      <a:pt x="9034" y="103240"/>
                    </a:cubicBezTo>
                    <a:cubicBezTo>
                      <a:pt x="8657" y="99849"/>
                      <a:pt x="7903" y="96583"/>
                      <a:pt x="7149" y="93318"/>
                    </a:cubicBezTo>
                    <a:cubicBezTo>
                      <a:pt x="6145" y="88168"/>
                      <a:pt x="5392" y="83019"/>
                      <a:pt x="4512" y="77870"/>
                    </a:cubicBezTo>
                    <a:cubicBezTo>
                      <a:pt x="4010" y="74479"/>
                      <a:pt x="3507" y="70962"/>
                      <a:pt x="3005" y="67571"/>
                    </a:cubicBezTo>
                    <a:cubicBezTo>
                      <a:pt x="2502" y="64431"/>
                      <a:pt x="-637" y="57523"/>
                      <a:pt x="116" y="43080"/>
                    </a:cubicBezTo>
                    <a:cubicBezTo>
                      <a:pt x="619" y="32279"/>
                      <a:pt x="2502" y="10425"/>
                      <a:pt x="4763" y="1"/>
                    </a:cubicBezTo>
                    <a:cubicBezTo>
                      <a:pt x="5015" y="-125"/>
                      <a:pt x="6899" y="14319"/>
                      <a:pt x="6899" y="14193"/>
                    </a:cubicBezTo>
                    <a:close/>
                  </a:path>
                </a:pathLst>
              </a:custGeom>
              <a:solidFill>
                <a:srgbClr val="141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4" name="Freeform: Shape 5463">
                <a:extLst>
                  <a:ext uri="{FF2B5EF4-FFF2-40B4-BE49-F238E27FC236}">
                    <a16:creationId xmlns:a16="http://schemas.microsoft.com/office/drawing/2014/main" id="{8D8604C6-C094-475F-9297-F5C82F37868D}"/>
                  </a:ext>
                </a:extLst>
              </p:cNvPr>
              <p:cNvSpPr/>
              <p:nvPr/>
            </p:nvSpPr>
            <p:spPr>
              <a:xfrm>
                <a:off x="11358916" y="2686197"/>
                <a:ext cx="37434" cy="211000"/>
              </a:xfrm>
              <a:custGeom>
                <a:avLst/>
                <a:gdLst>
                  <a:gd name="connsiteX0" fmla="*/ 7291 w 37434"/>
                  <a:gd name="connsiteY0" fmla="*/ 0 h 211000"/>
                  <a:gd name="connsiteX1" fmla="*/ 9553 w 37434"/>
                  <a:gd name="connsiteY1" fmla="*/ 20974 h 211000"/>
                  <a:gd name="connsiteX2" fmla="*/ 20102 w 37434"/>
                  <a:gd name="connsiteY2" fmla="*/ 48480 h 211000"/>
                  <a:gd name="connsiteX3" fmla="*/ 26256 w 37434"/>
                  <a:gd name="connsiteY3" fmla="*/ 50615 h 211000"/>
                  <a:gd name="connsiteX4" fmla="*/ 28015 w 37434"/>
                  <a:gd name="connsiteY4" fmla="*/ 53503 h 211000"/>
                  <a:gd name="connsiteX5" fmla="*/ 37434 w 37434"/>
                  <a:gd name="connsiteY5" fmla="*/ 79250 h 211000"/>
                  <a:gd name="connsiteX6" fmla="*/ 34420 w 37434"/>
                  <a:gd name="connsiteY6" fmla="*/ 90679 h 211000"/>
                  <a:gd name="connsiteX7" fmla="*/ 33541 w 37434"/>
                  <a:gd name="connsiteY7" fmla="*/ 102485 h 211000"/>
                  <a:gd name="connsiteX8" fmla="*/ 33667 w 37434"/>
                  <a:gd name="connsiteY8" fmla="*/ 108639 h 211000"/>
                  <a:gd name="connsiteX9" fmla="*/ 35048 w 37434"/>
                  <a:gd name="connsiteY9" fmla="*/ 116677 h 211000"/>
                  <a:gd name="connsiteX10" fmla="*/ 34672 w 37434"/>
                  <a:gd name="connsiteY10" fmla="*/ 128107 h 211000"/>
                  <a:gd name="connsiteX11" fmla="*/ 33290 w 37434"/>
                  <a:gd name="connsiteY11" fmla="*/ 141169 h 211000"/>
                  <a:gd name="connsiteX12" fmla="*/ 31029 w 37434"/>
                  <a:gd name="connsiteY12" fmla="*/ 170055 h 211000"/>
                  <a:gd name="connsiteX13" fmla="*/ 23870 w 37434"/>
                  <a:gd name="connsiteY13" fmla="*/ 193165 h 211000"/>
                  <a:gd name="connsiteX14" fmla="*/ 20102 w 37434"/>
                  <a:gd name="connsiteY14" fmla="*/ 203087 h 211000"/>
                  <a:gd name="connsiteX15" fmla="*/ 16837 w 37434"/>
                  <a:gd name="connsiteY15" fmla="*/ 210999 h 211000"/>
                  <a:gd name="connsiteX16" fmla="*/ 8548 w 37434"/>
                  <a:gd name="connsiteY16" fmla="*/ 208613 h 211000"/>
                  <a:gd name="connsiteX17" fmla="*/ 7 w 37434"/>
                  <a:gd name="connsiteY17" fmla="*/ 202208 h 211000"/>
                  <a:gd name="connsiteX18" fmla="*/ 1891 w 37434"/>
                  <a:gd name="connsiteY18" fmla="*/ 198942 h 211000"/>
                  <a:gd name="connsiteX19" fmla="*/ 3147 w 37434"/>
                  <a:gd name="connsiteY19" fmla="*/ 191532 h 211000"/>
                  <a:gd name="connsiteX20" fmla="*/ 5408 w 37434"/>
                  <a:gd name="connsiteY20" fmla="*/ 175581 h 211000"/>
                  <a:gd name="connsiteX21" fmla="*/ 8548 w 37434"/>
                  <a:gd name="connsiteY21" fmla="*/ 162645 h 211000"/>
                  <a:gd name="connsiteX22" fmla="*/ 12064 w 37434"/>
                  <a:gd name="connsiteY22" fmla="*/ 138029 h 211000"/>
                  <a:gd name="connsiteX23" fmla="*/ 12315 w 37434"/>
                  <a:gd name="connsiteY23" fmla="*/ 131498 h 211000"/>
                  <a:gd name="connsiteX24" fmla="*/ 8673 w 37434"/>
                  <a:gd name="connsiteY24" fmla="*/ 102360 h 211000"/>
                  <a:gd name="connsiteX25" fmla="*/ 2519 w 37434"/>
                  <a:gd name="connsiteY25" fmla="*/ 73975 h 211000"/>
                  <a:gd name="connsiteX26" fmla="*/ 7291 w 37434"/>
                  <a:gd name="connsiteY26" fmla="*/ 0 h 21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434" h="211000">
                    <a:moveTo>
                      <a:pt x="7291" y="0"/>
                    </a:moveTo>
                    <a:cubicBezTo>
                      <a:pt x="8045" y="7033"/>
                      <a:pt x="8799" y="13941"/>
                      <a:pt x="9553" y="20974"/>
                    </a:cubicBezTo>
                    <a:cubicBezTo>
                      <a:pt x="10557" y="29766"/>
                      <a:pt x="9301" y="45340"/>
                      <a:pt x="20102" y="48480"/>
                    </a:cubicBezTo>
                    <a:cubicBezTo>
                      <a:pt x="22237" y="49108"/>
                      <a:pt x="24624" y="49108"/>
                      <a:pt x="26256" y="50615"/>
                    </a:cubicBezTo>
                    <a:cubicBezTo>
                      <a:pt x="27136" y="51368"/>
                      <a:pt x="27638" y="52373"/>
                      <a:pt x="28015" y="53503"/>
                    </a:cubicBezTo>
                    <a:cubicBezTo>
                      <a:pt x="31908" y="61918"/>
                      <a:pt x="34420" y="70584"/>
                      <a:pt x="37434" y="79250"/>
                    </a:cubicBezTo>
                    <a:cubicBezTo>
                      <a:pt x="37434" y="83269"/>
                      <a:pt x="35676" y="86912"/>
                      <a:pt x="34420" y="90679"/>
                    </a:cubicBezTo>
                    <a:cubicBezTo>
                      <a:pt x="33164" y="94447"/>
                      <a:pt x="33667" y="98592"/>
                      <a:pt x="33541" y="102485"/>
                    </a:cubicBezTo>
                    <a:cubicBezTo>
                      <a:pt x="33415" y="104495"/>
                      <a:pt x="33415" y="106630"/>
                      <a:pt x="33667" y="108639"/>
                    </a:cubicBezTo>
                    <a:cubicBezTo>
                      <a:pt x="33918" y="111403"/>
                      <a:pt x="34672" y="114040"/>
                      <a:pt x="35048" y="116677"/>
                    </a:cubicBezTo>
                    <a:cubicBezTo>
                      <a:pt x="35425" y="120445"/>
                      <a:pt x="35048" y="124339"/>
                      <a:pt x="34672" y="128107"/>
                    </a:cubicBezTo>
                    <a:cubicBezTo>
                      <a:pt x="34169" y="132503"/>
                      <a:pt x="33667" y="136773"/>
                      <a:pt x="33290" y="141169"/>
                    </a:cubicBezTo>
                    <a:cubicBezTo>
                      <a:pt x="32913" y="144560"/>
                      <a:pt x="31657" y="166664"/>
                      <a:pt x="31029" y="170055"/>
                    </a:cubicBezTo>
                    <a:cubicBezTo>
                      <a:pt x="29522" y="177968"/>
                      <a:pt x="26633" y="185629"/>
                      <a:pt x="23870" y="193165"/>
                    </a:cubicBezTo>
                    <a:cubicBezTo>
                      <a:pt x="22614" y="196430"/>
                      <a:pt x="21359" y="199821"/>
                      <a:pt x="20102" y="203087"/>
                    </a:cubicBezTo>
                    <a:cubicBezTo>
                      <a:pt x="19851" y="203715"/>
                      <a:pt x="17465" y="211125"/>
                      <a:pt x="16837" y="210999"/>
                    </a:cubicBezTo>
                    <a:cubicBezTo>
                      <a:pt x="14074" y="210748"/>
                      <a:pt x="11185" y="210120"/>
                      <a:pt x="8548" y="208613"/>
                    </a:cubicBezTo>
                    <a:cubicBezTo>
                      <a:pt x="6287" y="207231"/>
                      <a:pt x="258" y="205222"/>
                      <a:pt x="7" y="202208"/>
                    </a:cubicBezTo>
                    <a:cubicBezTo>
                      <a:pt x="-118" y="200826"/>
                      <a:pt x="1389" y="200072"/>
                      <a:pt x="1891" y="198942"/>
                    </a:cubicBezTo>
                    <a:cubicBezTo>
                      <a:pt x="2770" y="196681"/>
                      <a:pt x="2896" y="193918"/>
                      <a:pt x="3147" y="191532"/>
                    </a:cubicBezTo>
                    <a:cubicBezTo>
                      <a:pt x="3901" y="186257"/>
                      <a:pt x="4654" y="180982"/>
                      <a:pt x="5408" y="175581"/>
                    </a:cubicBezTo>
                    <a:cubicBezTo>
                      <a:pt x="6036" y="171186"/>
                      <a:pt x="6664" y="166664"/>
                      <a:pt x="8548" y="162645"/>
                    </a:cubicBezTo>
                    <a:cubicBezTo>
                      <a:pt x="9427" y="160636"/>
                      <a:pt x="11562" y="140164"/>
                      <a:pt x="12064" y="138029"/>
                    </a:cubicBezTo>
                    <a:cubicBezTo>
                      <a:pt x="12567" y="135893"/>
                      <a:pt x="12441" y="133633"/>
                      <a:pt x="12315" y="131498"/>
                    </a:cubicBezTo>
                    <a:cubicBezTo>
                      <a:pt x="11562" y="121701"/>
                      <a:pt x="10306" y="112031"/>
                      <a:pt x="8673" y="102360"/>
                    </a:cubicBezTo>
                    <a:cubicBezTo>
                      <a:pt x="7041" y="92815"/>
                      <a:pt x="3775" y="83395"/>
                      <a:pt x="2519" y="73975"/>
                    </a:cubicBezTo>
                    <a:cubicBezTo>
                      <a:pt x="887" y="62797"/>
                      <a:pt x="4905" y="11052"/>
                      <a:pt x="7291" y="0"/>
                    </a:cubicBezTo>
                    <a:close/>
                  </a:path>
                </a:pathLst>
              </a:custGeom>
              <a:solidFill>
                <a:srgbClr val="2122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5" name="Freeform: Shape 5464">
                <a:extLst>
                  <a:ext uri="{FF2B5EF4-FFF2-40B4-BE49-F238E27FC236}">
                    <a16:creationId xmlns:a16="http://schemas.microsoft.com/office/drawing/2014/main" id="{990F926F-7B95-43EF-9ABB-874C338B3859}"/>
                  </a:ext>
                </a:extLst>
              </p:cNvPr>
              <p:cNvSpPr/>
              <p:nvPr/>
            </p:nvSpPr>
            <p:spPr>
              <a:xfrm>
                <a:off x="11381872" y="2728917"/>
                <a:ext cx="60771" cy="198725"/>
              </a:xfrm>
              <a:custGeom>
                <a:avLst/>
                <a:gdLst>
                  <a:gd name="connsiteX0" fmla="*/ 412 w 60771"/>
                  <a:gd name="connsiteY0" fmla="*/ 13295 h 198725"/>
                  <a:gd name="connsiteX1" fmla="*/ 6566 w 60771"/>
                  <a:gd name="connsiteY1" fmla="*/ 46201 h 198725"/>
                  <a:gd name="connsiteX2" fmla="*/ 15734 w 60771"/>
                  <a:gd name="connsiteY2" fmla="*/ 60393 h 198725"/>
                  <a:gd name="connsiteX3" fmla="*/ 26158 w 60771"/>
                  <a:gd name="connsiteY3" fmla="*/ 91540 h 198725"/>
                  <a:gd name="connsiteX4" fmla="*/ 28293 w 60771"/>
                  <a:gd name="connsiteY4" fmla="*/ 105984 h 198725"/>
                  <a:gd name="connsiteX5" fmla="*/ 27917 w 60771"/>
                  <a:gd name="connsiteY5" fmla="*/ 147053 h 198725"/>
                  <a:gd name="connsiteX6" fmla="*/ 27289 w 60771"/>
                  <a:gd name="connsiteY6" fmla="*/ 169158 h 198725"/>
                  <a:gd name="connsiteX7" fmla="*/ 27665 w 60771"/>
                  <a:gd name="connsiteY7" fmla="*/ 191388 h 198725"/>
                  <a:gd name="connsiteX8" fmla="*/ 36206 w 60771"/>
                  <a:gd name="connsiteY8" fmla="*/ 197668 h 198725"/>
                  <a:gd name="connsiteX9" fmla="*/ 56427 w 60771"/>
                  <a:gd name="connsiteY9" fmla="*/ 194026 h 198725"/>
                  <a:gd name="connsiteX10" fmla="*/ 57683 w 60771"/>
                  <a:gd name="connsiteY10" fmla="*/ 183727 h 198725"/>
                  <a:gd name="connsiteX11" fmla="*/ 58688 w 60771"/>
                  <a:gd name="connsiteY11" fmla="*/ 167525 h 198725"/>
                  <a:gd name="connsiteX12" fmla="*/ 59692 w 60771"/>
                  <a:gd name="connsiteY12" fmla="*/ 128214 h 198725"/>
                  <a:gd name="connsiteX13" fmla="*/ 59818 w 60771"/>
                  <a:gd name="connsiteY13" fmla="*/ 60644 h 198725"/>
                  <a:gd name="connsiteX14" fmla="*/ 55674 w 60771"/>
                  <a:gd name="connsiteY14" fmla="*/ 29496 h 198725"/>
                  <a:gd name="connsiteX15" fmla="*/ 54543 w 60771"/>
                  <a:gd name="connsiteY15" fmla="*/ 20202 h 198725"/>
                  <a:gd name="connsiteX16" fmla="*/ 53162 w 60771"/>
                  <a:gd name="connsiteY16" fmla="*/ 4754 h 198725"/>
                  <a:gd name="connsiteX17" fmla="*/ 48263 w 60771"/>
                  <a:gd name="connsiteY17" fmla="*/ 233 h 198725"/>
                  <a:gd name="connsiteX18" fmla="*/ 41230 w 60771"/>
                  <a:gd name="connsiteY18" fmla="*/ 3373 h 198725"/>
                  <a:gd name="connsiteX19" fmla="*/ 33443 w 60771"/>
                  <a:gd name="connsiteY19" fmla="*/ 3749 h 198725"/>
                  <a:gd name="connsiteX20" fmla="*/ 8450 w 60771"/>
                  <a:gd name="connsiteY20" fmla="*/ 107 h 198725"/>
                  <a:gd name="connsiteX21" fmla="*/ 1667 w 60771"/>
                  <a:gd name="connsiteY21" fmla="*/ 1866 h 198725"/>
                  <a:gd name="connsiteX22" fmla="*/ 1417 w 60771"/>
                  <a:gd name="connsiteY22" fmla="*/ 6638 h 198725"/>
                  <a:gd name="connsiteX23" fmla="*/ 412 w 60771"/>
                  <a:gd name="connsiteY23" fmla="*/ 13295 h 19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771" h="198725">
                    <a:moveTo>
                      <a:pt x="412" y="13295"/>
                    </a:moveTo>
                    <a:cubicBezTo>
                      <a:pt x="-1096" y="24724"/>
                      <a:pt x="1667" y="35902"/>
                      <a:pt x="6566" y="46201"/>
                    </a:cubicBezTo>
                    <a:cubicBezTo>
                      <a:pt x="8952" y="51350"/>
                      <a:pt x="14102" y="54741"/>
                      <a:pt x="15734" y="60393"/>
                    </a:cubicBezTo>
                    <a:cubicBezTo>
                      <a:pt x="18874" y="70943"/>
                      <a:pt x="22265" y="81241"/>
                      <a:pt x="26158" y="91540"/>
                    </a:cubicBezTo>
                    <a:cubicBezTo>
                      <a:pt x="27791" y="95936"/>
                      <a:pt x="27289" y="101337"/>
                      <a:pt x="28293" y="105984"/>
                    </a:cubicBezTo>
                    <a:cubicBezTo>
                      <a:pt x="31057" y="119799"/>
                      <a:pt x="28670" y="133112"/>
                      <a:pt x="27917" y="147053"/>
                    </a:cubicBezTo>
                    <a:cubicBezTo>
                      <a:pt x="27540" y="154338"/>
                      <a:pt x="26786" y="161873"/>
                      <a:pt x="27289" y="169158"/>
                    </a:cubicBezTo>
                    <a:cubicBezTo>
                      <a:pt x="27791" y="176317"/>
                      <a:pt x="25153" y="184355"/>
                      <a:pt x="27665" y="191388"/>
                    </a:cubicBezTo>
                    <a:cubicBezTo>
                      <a:pt x="28922" y="195030"/>
                      <a:pt x="32815" y="196412"/>
                      <a:pt x="36206" y="197668"/>
                    </a:cubicBezTo>
                    <a:cubicBezTo>
                      <a:pt x="43114" y="200180"/>
                      <a:pt x="50524" y="197919"/>
                      <a:pt x="56427" y="194026"/>
                    </a:cubicBezTo>
                    <a:cubicBezTo>
                      <a:pt x="59316" y="192142"/>
                      <a:pt x="57306" y="186615"/>
                      <a:pt x="57683" y="183727"/>
                    </a:cubicBezTo>
                    <a:cubicBezTo>
                      <a:pt x="58436" y="178452"/>
                      <a:pt x="58562" y="173051"/>
                      <a:pt x="58688" y="167525"/>
                    </a:cubicBezTo>
                    <a:cubicBezTo>
                      <a:pt x="59064" y="154463"/>
                      <a:pt x="59064" y="141276"/>
                      <a:pt x="59692" y="128214"/>
                    </a:cubicBezTo>
                    <a:cubicBezTo>
                      <a:pt x="60321" y="111887"/>
                      <a:pt x="61702" y="76846"/>
                      <a:pt x="59818" y="60644"/>
                    </a:cubicBezTo>
                    <a:cubicBezTo>
                      <a:pt x="58562" y="50220"/>
                      <a:pt x="57181" y="39921"/>
                      <a:pt x="55674" y="29496"/>
                    </a:cubicBezTo>
                    <a:cubicBezTo>
                      <a:pt x="55171" y="26357"/>
                      <a:pt x="54920" y="23342"/>
                      <a:pt x="54543" y="20202"/>
                    </a:cubicBezTo>
                    <a:cubicBezTo>
                      <a:pt x="54041" y="15053"/>
                      <a:pt x="53664" y="9904"/>
                      <a:pt x="53162" y="4754"/>
                    </a:cubicBezTo>
                    <a:cubicBezTo>
                      <a:pt x="52784" y="986"/>
                      <a:pt x="52408" y="-646"/>
                      <a:pt x="48263" y="233"/>
                    </a:cubicBezTo>
                    <a:cubicBezTo>
                      <a:pt x="45751" y="861"/>
                      <a:pt x="43993" y="2870"/>
                      <a:pt x="41230" y="3373"/>
                    </a:cubicBezTo>
                    <a:cubicBezTo>
                      <a:pt x="38718" y="3875"/>
                      <a:pt x="36081" y="3875"/>
                      <a:pt x="33443" y="3749"/>
                    </a:cubicBezTo>
                    <a:cubicBezTo>
                      <a:pt x="25028" y="3373"/>
                      <a:pt x="16864" y="358"/>
                      <a:pt x="8450" y="107"/>
                    </a:cubicBezTo>
                    <a:cubicBezTo>
                      <a:pt x="6189" y="-18"/>
                      <a:pt x="3049" y="-395"/>
                      <a:pt x="1667" y="1866"/>
                    </a:cubicBezTo>
                    <a:cubicBezTo>
                      <a:pt x="914" y="3247"/>
                      <a:pt x="1417" y="5257"/>
                      <a:pt x="1417" y="6638"/>
                    </a:cubicBezTo>
                    <a:cubicBezTo>
                      <a:pt x="1291" y="8899"/>
                      <a:pt x="663" y="11034"/>
                      <a:pt x="412" y="13295"/>
                    </a:cubicBezTo>
                    <a:close/>
                  </a:path>
                </a:pathLst>
              </a:custGeom>
              <a:solidFill>
                <a:srgbClr val="2A2C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6" name="Freeform: Shape 5465">
                <a:extLst>
                  <a:ext uri="{FF2B5EF4-FFF2-40B4-BE49-F238E27FC236}">
                    <a16:creationId xmlns:a16="http://schemas.microsoft.com/office/drawing/2014/main" id="{91C0C5C0-B438-43E5-B069-F783F56646EC}"/>
                  </a:ext>
                </a:extLst>
              </p:cNvPr>
              <p:cNvSpPr/>
              <p:nvPr/>
            </p:nvSpPr>
            <p:spPr>
              <a:xfrm>
                <a:off x="11424657" y="2733567"/>
                <a:ext cx="17950" cy="189878"/>
              </a:xfrm>
              <a:custGeom>
                <a:avLst/>
                <a:gdLst>
                  <a:gd name="connsiteX0" fmla="*/ 4977 w 17950"/>
                  <a:gd name="connsiteY0" fmla="*/ 607 h 189878"/>
                  <a:gd name="connsiteX1" fmla="*/ 10126 w 17950"/>
                  <a:gd name="connsiteY1" fmla="*/ 3621 h 189878"/>
                  <a:gd name="connsiteX2" fmla="*/ 11633 w 17950"/>
                  <a:gd name="connsiteY2" fmla="*/ 15302 h 189878"/>
                  <a:gd name="connsiteX3" fmla="*/ 12763 w 17950"/>
                  <a:gd name="connsiteY3" fmla="*/ 24596 h 189878"/>
                  <a:gd name="connsiteX4" fmla="*/ 16907 w 17950"/>
                  <a:gd name="connsiteY4" fmla="*/ 55743 h 189878"/>
                  <a:gd name="connsiteX5" fmla="*/ 16782 w 17950"/>
                  <a:gd name="connsiteY5" fmla="*/ 123313 h 189878"/>
                  <a:gd name="connsiteX6" fmla="*/ 15777 w 17950"/>
                  <a:gd name="connsiteY6" fmla="*/ 162625 h 189878"/>
                  <a:gd name="connsiteX7" fmla="*/ 14773 w 17950"/>
                  <a:gd name="connsiteY7" fmla="*/ 178826 h 189878"/>
                  <a:gd name="connsiteX8" fmla="*/ 13517 w 17950"/>
                  <a:gd name="connsiteY8" fmla="*/ 189125 h 189878"/>
                  <a:gd name="connsiteX9" fmla="*/ 12260 w 17950"/>
                  <a:gd name="connsiteY9" fmla="*/ 189879 h 189878"/>
                  <a:gd name="connsiteX10" fmla="*/ 9749 w 17950"/>
                  <a:gd name="connsiteY10" fmla="*/ 150065 h 189878"/>
                  <a:gd name="connsiteX11" fmla="*/ 13643 w 17950"/>
                  <a:gd name="connsiteY11" fmla="*/ 81490 h 189878"/>
                  <a:gd name="connsiteX12" fmla="*/ 13140 w 17950"/>
                  <a:gd name="connsiteY12" fmla="*/ 62274 h 189878"/>
                  <a:gd name="connsiteX13" fmla="*/ 204 w 17950"/>
                  <a:gd name="connsiteY13" fmla="*/ 2491 h 189878"/>
                  <a:gd name="connsiteX14" fmla="*/ 4977 w 17950"/>
                  <a:gd name="connsiteY14" fmla="*/ 607 h 18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50" h="189878">
                    <a:moveTo>
                      <a:pt x="4977" y="607"/>
                    </a:moveTo>
                    <a:cubicBezTo>
                      <a:pt x="7237" y="1361"/>
                      <a:pt x="9498" y="2742"/>
                      <a:pt x="10126" y="3621"/>
                    </a:cubicBezTo>
                    <a:cubicBezTo>
                      <a:pt x="12260" y="6887"/>
                      <a:pt x="11256" y="11660"/>
                      <a:pt x="11633" y="15302"/>
                    </a:cubicBezTo>
                    <a:cubicBezTo>
                      <a:pt x="11884" y="18442"/>
                      <a:pt x="12260" y="21456"/>
                      <a:pt x="12763" y="24596"/>
                    </a:cubicBezTo>
                    <a:cubicBezTo>
                      <a:pt x="14270" y="34895"/>
                      <a:pt x="15652" y="45319"/>
                      <a:pt x="16907" y="55743"/>
                    </a:cubicBezTo>
                    <a:cubicBezTo>
                      <a:pt x="18917" y="71820"/>
                      <a:pt x="17536" y="106986"/>
                      <a:pt x="16782" y="123313"/>
                    </a:cubicBezTo>
                    <a:cubicBezTo>
                      <a:pt x="16280" y="136375"/>
                      <a:pt x="16154" y="149437"/>
                      <a:pt x="15777" y="162625"/>
                    </a:cubicBezTo>
                    <a:cubicBezTo>
                      <a:pt x="15652" y="168151"/>
                      <a:pt x="15400" y="173426"/>
                      <a:pt x="14773" y="178826"/>
                    </a:cubicBezTo>
                    <a:cubicBezTo>
                      <a:pt x="14396" y="181715"/>
                      <a:pt x="16405" y="187115"/>
                      <a:pt x="13517" y="189125"/>
                    </a:cubicBezTo>
                    <a:cubicBezTo>
                      <a:pt x="13140" y="189376"/>
                      <a:pt x="12638" y="189627"/>
                      <a:pt x="12260" y="189879"/>
                    </a:cubicBezTo>
                    <a:cubicBezTo>
                      <a:pt x="10251" y="176691"/>
                      <a:pt x="9749" y="163378"/>
                      <a:pt x="9749" y="150065"/>
                    </a:cubicBezTo>
                    <a:cubicBezTo>
                      <a:pt x="9623" y="133486"/>
                      <a:pt x="13391" y="98320"/>
                      <a:pt x="13643" y="81490"/>
                    </a:cubicBezTo>
                    <a:cubicBezTo>
                      <a:pt x="13768" y="75210"/>
                      <a:pt x="14270" y="68554"/>
                      <a:pt x="13140" y="62274"/>
                    </a:cubicBezTo>
                    <a:cubicBezTo>
                      <a:pt x="9623" y="42179"/>
                      <a:pt x="6609" y="21958"/>
                      <a:pt x="204" y="2491"/>
                    </a:cubicBezTo>
                    <a:cubicBezTo>
                      <a:pt x="-801" y="-398"/>
                      <a:pt x="2087" y="-398"/>
                      <a:pt x="4977" y="607"/>
                    </a:cubicBezTo>
                    <a:close/>
                  </a:path>
                </a:pathLst>
              </a:custGeom>
              <a:solidFill>
                <a:srgbClr val="2122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7" name="Freeform: Shape 5466">
                <a:extLst>
                  <a:ext uri="{FF2B5EF4-FFF2-40B4-BE49-F238E27FC236}">
                    <a16:creationId xmlns:a16="http://schemas.microsoft.com/office/drawing/2014/main" id="{7589C665-81C1-4AA4-983D-50BD6906D138}"/>
                  </a:ext>
                </a:extLst>
              </p:cNvPr>
              <p:cNvSpPr/>
              <p:nvPr/>
            </p:nvSpPr>
            <p:spPr>
              <a:xfrm>
                <a:off x="11392457" y="2777060"/>
                <a:ext cx="20375" cy="144249"/>
              </a:xfrm>
              <a:custGeom>
                <a:avLst/>
                <a:gdLst>
                  <a:gd name="connsiteX0" fmla="*/ 13439 w 20375"/>
                  <a:gd name="connsiteY0" fmla="*/ 43523 h 144249"/>
                  <a:gd name="connsiteX1" fmla="*/ 5149 w 20375"/>
                  <a:gd name="connsiteY1" fmla="*/ 12124 h 144249"/>
                  <a:gd name="connsiteX2" fmla="*/ 0 w 20375"/>
                  <a:gd name="connsiteY2" fmla="*/ 5216 h 144249"/>
                  <a:gd name="connsiteX3" fmla="*/ 754 w 20375"/>
                  <a:gd name="connsiteY3" fmla="*/ 946 h 144249"/>
                  <a:gd name="connsiteX4" fmla="*/ 1256 w 20375"/>
                  <a:gd name="connsiteY4" fmla="*/ 67 h 144249"/>
                  <a:gd name="connsiteX5" fmla="*/ 2638 w 20375"/>
                  <a:gd name="connsiteY5" fmla="*/ 820 h 144249"/>
                  <a:gd name="connsiteX6" fmla="*/ 9671 w 20375"/>
                  <a:gd name="connsiteY6" fmla="*/ 13505 h 144249"/>
                  <a:gd name="connsiteX7" fmla="*/ 19970 w 20375"/>
                  <a:gd name="connsiteY7" fmla="*/ 82959 h 144249"/>
                  <a:gd name="connsiteX8" fmla="*/ 18462 w 20375"/>
                  <a:gd name="connsiteY8" fmla="*/ 93384 h 144249"/>
                  <a:gd name="connsiteX9" fmla="*/ 18086 w 20375"/>
                  <a:gd name="connsiteY9" fmla="*/ 101799 h 144249"/>
                  <a:gd name="connsiteX10" fmla="*/ 17584 w 20375"/>
                  <a:gd name="connsiteY10" fmla="*/ 144250 h 144249"/>
                  <a:gd name="connsiteX11" fmla="*/ 16955 w 20375"/>
                  <a:gd name="connsiteY11" fmla="*/ 142994 h 144249"/>
                  <a:gd name="connsiteX12" fmla="*/ 15574 w 20375"/>
                  <a:gd name="connsiteY12" fmla="*/ 117749 h 144249"/>
                  <a:gd name="connsiteX13" fmla="*/ 15825 w 20375"/>
                  <a:gd name="connsiteY13" fmla="*/ 70400 h 144249"/>
                  <a:gd name="connsiteX14" fmla="*/ 13439 w 20375"/>
                  <a:gd name="connsiteY14" fmla="*/ 43523 h 144249"/>
                  <a:gd name="connsiteX15" fmla="*/ 13439 w 20375"/>
                  <a:gd name="connsiteY15" fmla="*/ 43523 h 14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375" h="144249">
                    <a:moveTo>
                      <a:pt x="13439" y="43523"/>
                    </a:moveTo>
                    <a:cubicBezTo>
                      <a:pt x="12057" y="32721"/>
                      <a:pt x="8164" y="22548"/>
                      <a:pt x="5149" y="12124"/>
                    </a:cubicBezTo>
                    <a:cubicBezTo>
                      <a:pt x="4019" y="8230"/>
                      <a:pt x="3266" y="6472"/>
                      <a:pt x="0" y="5216"/>
                    </a:cubicBezTo>
                    <a:cubicBezTo>
                      <a:pt x="126" y="3835"/>
                      <a:pt x="377" y="2327"/>
                      <a:pt x="754" y="946"/>
                    </a:cubicBezTo>
                    <a:cubicBezTo>
                      <a:pt x="879" y="569"/>
                      <a:pt x="1005" y="318"/>
                      <a:pt x="1256" y="67"/>
                    </a:cubicBezTo>
                    <a:cubicBezTo>
                      <a:pt x="1759" y="-184"/>
                      <a:pt x="2386" y="318"/>
                      <a:pt x="2638" y="820"/>
                    </a:cubicBezTo>
                    <a:cubicBezTo>
                      <a:pt x="5778" y="4839"/>
                      <a:pt x="7661" y="8733"/>
                      <a:pt x="9671" y="13505"/>
                    </a:cubicBezTo>
                    <a:cubicBezTo>
                      <a:pt x="16201" y="29707"/>
                      <a:pt x="21979" y="65502"/>
                      <a:pt x="19970" y="82959"/>
                    </a:cubicBezTo>
                    <a:cubicBezTo>
                      <a:pt x="19593" y="86476"/>
                      <a:pt x="18839" y="89867"/>
                      <a:pt x="18462" y="93384"/>
                    </a:cubicBezTo>
                    <a:cubicBezTo>
                      <a:pt x="18211" y="96147"/>
                      <a:pt x="18086" y="99035"/>
                      <a:pt x="18086" y="101799"/>
                    </a:cubicBezTo>
                    <a:cubicBezTo>
                      <a:pt x="17960" y="115991"/>
                      <a:pt x="17709" y="130057"/>
                      <a:pt x="17584" y="144250"/>
                    </a:cubicBezTo>
                    <a:cubicBezTo>
                      <a:pt x="17332" y="143873"/>
                      <a:pt x="17081" y="143370"/>
                      <a:pt x="16955" y="142994"/>
                    </a:cubicBezTo>
                    <a:cubicBezTo>
                      <a:pt x="14318" y="135584"/>
                      <a:pt x="15825" y="125536"/>
                      <a:pt x="15574" y="117749"/>
                    </a:cubicBezTo>
                    <a:cubicBezTo>
                      <a:pt x="15197" y="101924"/>
                      <a:pt x="16579" y="86099"/>
                      <a:pt x="15825" y="70400"/>
                    </a:cubicBezTo>
                    <a:cubicBezTo>
                      <a:pt x="15574" y="61483"/>
                      <a:pt x="14569" y="52565"/>
                      <a:pt x="13439" y="43523"/>
                    </a:cubicBezTo>
                    <a:cubicBezTo>
                      <a:pt x="13439" y="43648"/>
                      <a:pt x="13439" y="43523"/>
                      <a:pt x="13439" y="43523"/>
                    </a:cubicBezTo>
                    <a:close/>
                  </a:path>
                </a:pathLst>
              </a:custGeom>
              <a:solidFill>
                <a:srgbClr val="141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8" name="Freeform: Shape 5467">
                <a:extLst>
                  <a:ext uri="{FF2B5EF4-FFF2-40B4-BE49-F238E27FC236}">
                    <a16:creationId xmlns:a16="http://schemas.microsoft.com/office/drawing/2014/main" id="{AF66F8DB-1E8C-45CA-9629-7BC2500EB06D}"/>
                  </a:ext>
                </a:extLst>
              </p:cNvPr>
              <p:cNvSpPr/>
              <p:nvPr/>
            </p:nvSpPr>
            <p:spPr>
              <a:xfrm>
                <a:off x="11352880" y="2574545"/>
                <a:ext cx="37745" cy="138893"/>
              </a:xfrm>
              <a:custGeom>
                <a:avLst/>
                <a:gdLst>
                  <a:gd name="connsiteX0" fmla="*/ 28273 w 37745"/>
                  <a:gd name="connsiteY0" fmla="*/ 1254 h 138893"/>
                  <a:gd name="connsiteX1" fmla="*/ 12950 w 37745"/>
                  <a:gd name="connsiteY1" fmla="*/ 3012 h 138893"/>
                  <a:gd name="connsiteX2" fmla="*/ 5666 w 37745"/>
                  <a:gd name="connsiteY2" fmla="*/ 15446 h 138893"/>
                  <a:gd name="connsiteX3" fmla="*/ 391 w 37745"/>
                  <a:gd name="connsiteY3" fmla="*/ 36169 h 138893"/>
                  <a:gd name="connsiteX4" fmla="*/ 11192 w 37745"/>
                  <a:gd name="connsiteY4" fmla="*/ 137776 h 138893"/>
                  <a:gd name="connsiteX5" fmla="*/ 37190 w 37745"/>
                  <a:gd name="connsiteY5" fmla="*/ 91306 h 138893"/>
                  <a:gd name="connsiteX6" fmla="*/ 25761 w 37745"/>
                  <a:gd name="connsiteY6" fmla="*/ 38556 h 138893"/>
                  <a:gd name="connsiteX7" fmla="*/ 28273 w 37745"/>
                  <a:gd name="connsiteY7" fmla="*/ 1254 h 138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45" h="138893">
                    <a:moveTo>
                      <a:pt x="28273" y="1254"/>
                    </a:moveTo>
                    <a:cubicBezTo>
                      <a:pt x="28273" y="1254"/>
                      <a:pt x="19482" y="-2514"/>
                      <a:pt x="12950" y="3012"/>
                    </a:cubicBezTo>
                    <a:cubicBezTo>
                      <a:pt x="8806" y="6529"/>
                      <a:pt x="7047" y="10297"/>
                      <a:pt x="5666" y="15446"/>
                    </a:cubicBezTo>
                    <a:cubicBezTo>
                      <a:pt x="3907" y="22354"/>
                      <a:pt x="1521" y="29011"/>
                      <a:pt x="391" y="36169"/>
                    </a:cubicBezTo>
                    <a:cubicBezTo>
                      <a:pt x="-2121" y="50990"/>
                      <a:pt x="8178" y="123081"/>
                      <a:pt x="11192" y="137776"/>
                    </a:cubicBezTo>
                    <a:cubicBezTo>
                      <a:pt x="13076" y="147195"/>
                      <a:pt x="35935" y="94069"/>
                      <a:pt x="37190" y="91306"/>
                    </a:cubicBezTo>
                    <a:cubicBezTo>
                      <a:pt x="41084" y="82514"/>
                      <a:pt x="23124" y="47850"/>
                      <a:pt x="25761" y="38556"/>
                    </a:cubicBezTo>
                    <a:cubicBezTo>
                      <a:pt x="27143" y="33532"/>
                      <a:pt x="37064" y="3766"/>
                      <a:pt x="28273" y="1254"/>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9" name="Freeform: Shape 5468">
                <a:extLst>
                  <a:ext uri="{FF2B5EF4-FFF2-40B4-BE49-F238E27FC236}">
                    <a16:creationId xmlns:a16="http://schemas.microsoft.com/office/drawing/2014/main" id="{F72C8CB8-A2CA-41A7-ADA8-CBB249496C67}"/>
                  </a:ext>
                </a:extLst>
              </p:cNvPr>
              <p:cNvSpPr/>
              <p:nvPr/>
            </p:nvSpPr>
            <p:spPr>
              <a:xfrm>
                <a:off x="11358923" y="2574545"/>
                <a:ext cx="25244" cy="13687"/>
              </a:xfrm>
              <a:custGeom>
                <a:avLst/>
                <a:gdLst>
                  <a:gd name="connsiteX0" fmla="*/ 0 w 25244"/>
                  <a:gd name="connsiteY0" fmla="*/ 13688 h 13687"/>
                  <a:gd name="connsiteX1" fmla="*/ 6908 w 25244"/>
                  <a:gd name="connsiteY1" fmla="*/ 3012 h 13687"/>
                  <a:gd name="connsiteX2" fmla="*/ 22230 w 25244"/>
                  <a:gd name="connsiteY2" fmla="*/ 1254 h 13687"/>
                  <a:gd name="connsiteX3" fmla="*/ 25245 w 25244"/>
                  <a:gd name="connsiteY3" fmla="*/ 8915 h 13687"/>
                  <a:gd name="connsiteX4" fmla="*/ 13187 w 25244"/>
                  <a:gd name="connsiteY4" fmla="*/ 7659 h 13687"/>
                  <a:gd name="connsiteX5" fmla="*/ 1883 w 25244"/>
                  <a:gd name="connsiteY5" fmla="*/ 12055 h 13687"/>
                  <a:gd name="connsiteX6" fmla="*/ 0 w 25244"/>
                  <a:gd name="connsiteY6" fmla="*/ 13688 h 1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44" h="13687">
                    <a:moveTo>
                      <a:pt x="0" y="13688"/>
                    </a:moveTo>
                    <a:cubicBezTo>
                      <a:pt x="1130" y="9167"/>
                      <a:pt x="2888" y="6404"/>
                      <a:pt x="6908" y="3012"/>
                    </a:cubicBezTo>
                    <a:cubicBezTo>
                      <a:pt x="13439" y="-2514"/>
                      <a:pt x="22230" y="1254"/>
                      <a:pt x="22230" y="1254"/>
                    </a:cubicBezTo>
                    <a:cubicBezTo>
                      <a:pt x="24240" y="1882"/>
                      <a:pt x="25119" y="4645"/>
                      <a:pt x="25245" y="8915"/>
                    </a:cubicBezTo>
                    <a:cubicBezTo>
                      <a:pt x="21351" y="9418"/>
                      <a:pt x="16829" y="7911"/>
                      <a:pt x="13187" y="7659"/>
                    </a:cubicBezTo>
                    <a:cubicBezTo>
                      <a:pt x="9042" y="7283"/>
                      <a:pt x="5149" y="9418"/>
                      <a:pt x="1883" y="12055"/>
                    </a:cubicBezTo>
                    <a:cubicBezTo>
                      <a:pt x="1130" y="12432"/>
                      <a:pt x="628" y="13060"/>
                      <a:pt x="0" y="13688"/>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0" name="Freeform: Shape 5469">
                <a:extLst>
                  <a:ext uri="{FF2B5EF4-FFF2-40B4-BE49-F238E27FC236}">
                    <a16:creationId xmlns:a16="http://schemas.microsoft.com/office/drawing/2014/main" id="{38E40EEE-F318-41E5-82D2-FC6F8A84675E}"/>
                  </a:ext>
                </a:extLst>
              </p:cNvPr>
              <p:cNvSpPr/>
              <p:nvPr/>
            </p:nvSpPr>
            <p:spPr>
              <a:xfrm>
                <a:off x="11355133" y="2571547"/>
                <a:ext cx="87957" cy="175057"/>
              </a:xfrm>
              <a:custGeom>
                <a:avLst/>
                <a:gdLst>
                  <a:gd name="connsiteX0" fmla="*/ 45110 w 87957"/>
                  <a:gd name="connsiteY0" fmla="*/ 735 h 175057"/>
                  <a:gd name="connsiteX1" fmla="*/ 34686 w 87957"/>
                  <a:gd name="connsiteY1" fmla="*/ 609 h 175057"/>
                  <a:gd name="connsiteX2" fmla="*/ 12330 w 87957"/>
                  <a:gd name="connsiteY2" fmla="*/ 10908 h 175057"/>
                  <a:gd name="connsiteX3" fmla="*/ 2910 w 87957"/>
                  <a:gd name="connsiteY3" fmla="*/ 72324 h 175057"/>
                  <a:gd name="connsiteX4" fmla="*/ 5297 w 87957"/>
                  <a:gd name="connsiteY4" fmla="*/ 141401 h 175057"/>
                  <a:gd name="connsiteX5" fmla="*/ 4669 w 87957"/>
                  <a:gd name="connsiteY5" fmla="*/ 158608 h 175057"/>
                  <a:gd name="connsiteX6" fmla="*/ 26397 w 87957"/>
                  <a:gd name="connsiteY6" fmla="*/ 170916 h 175057"/>
                  <a:gd name="connsiteX7" fmla="*/ 70983 w 87957"/>
                  <a:gd name="connsiteY7" fmla="*/ 173930 h 175057"/>
                  <a:gd name="connsiteX8" fmla="*/ 73369 w 87957"/>
                  <a:gd name="connsiteY8" fmla="*/ 98699 h 175057"/>
                  <a:gd name="connsiteX9" fmla="*/ 79272 w 87957"/>
                  <a:gd name="connsiteY9" fmla="*/ 76469 h 175057"/>
                  <a:gd name="connsiteX10" fmla="*/ 87059 w 87957"/>
                  <a:gd name="connsiteY10" fmla="*/ 51350 h 175057"/>
                  <a:gd name="connsiteX11" fmla="*/ 83794 w 87957"/>
                  <a:gd name="connsiteY11" fmla="*/ 33892 h 175057"/>
                  <a:gd name="connsiteX12" fmla="*/ 70355 w 87957"/>
                  <a:gd name="connsiteY12" fmla="*/ 24221 h 175057"/>
                  <a:gd name="connsiteX13" fmla="*/ 58675 w 87957"/>
                  <a:gd name="connsiteY13" fmla="*/ 11159 h 175057"/>
                  <a:gd name="connsiteX14" fmla="*/ 45110 w 87957"/>
                  <a:gd name="connsiteY14" fmla="*/ 735 h 175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957" h="175057">
                    <a:moveTo>
                      <a:pt x="45110" y="735"/>
                    </a:moveTo>
                    <a:cubicBezTo>
                      <a:pt x="41845" y="-521"/>
                      <a:pt x="37951" y="107"/>
                      <a:pt x="34686" y="609"/>
                    </a:cubicBezTo>
                    <a:cubicBezTo>
                      <a:pt x="25141" y="1991"/>
                      <a:pt x="15721" y="6512"/>
                      <a:pt x="12330" y="10908"/>
                    </a:cubicBezTo>
                    <a:cubicBezTo>
                      <a:pt x="6804" y="18067"/>
                      <a:pt x="-5630" y="34520"/>
                      <a:pt x="2910" y="72324"/>
                    </a:cubicBezTo>
                    <a:cubicBezTo>
                      <a:pt x="10446" y="106109"/>
                      <a:pt x="5297" y="141401"/>
                      <a:pt x="5297" y="141401"/>
                    </a:cubicBezTo>
                    <a:cubicBezTo>
                      <a:pt x="4669" y="144290"/>
                      <a:pt x="3538" y="155970"/>
                      <a:pt x="4669" y="158608"/>
                    </a:cubicBezTo>
                    <a:cubicBezTo>
                      <a:pt x="7809" y="165767"/>
                      <a:pt x="19238" y="169534"/>
                      <a:pt x="26397" y="170916"/>
                    </a:cubicBezTo>
                    <a:cubicBezTo>
                      <a:pt x="51641" y="176065"/>
                      <a:pt x="67466" y="175563"/>
                      <a:pt x="70983" y="173930"/>
                    </a:cubicBezTo>
                    <a:cubicBezTo>
                      <a:pt x="70983" y="173930"/>
                      <a:pt x="70731" y="112640"/>
                      <a:pt x="73369" y="98699"/>
                    </a:cubicBezTo>
                    <a:cubicBezTo>
                      <a:pt x="74750" y="91163"/>
                      <a:pt x="77011" y="83879"/>
                      <a:pt x="79272" y="76469"/>
                    </a:cubicBezTo>
                    <a:cubicBezTo>
                      <a:pt x="81784" y="68179"/>
                      <a:pt x="85175" y="59764"/>
                      <a:pt x="87059" y="51350"/>
                    </a:cubicBezTo>
                    <a:cubicBezTo>
                      <a:pt x="88441" y="45070"/>
                      <a:pt x="88817" y="38790"/>
                      <a:pt x="83794" y="33892"/>
                    </a:cubicBezTo>
                    <a:cubicBezTo>
                      <a:pt x="79774" y="29999"/>
                      <a:pt x="74625" y="27738"/>
                      <a:pt x="70355" y="24221"/>
                    </a:cubicBezTo>
                    <a:cubicBezTo>
                      <a:pt x="65834" y="20453"/>
                      <a:pt x="62694" y="15430"/>
                      <a:pt x="58675" y="11159"/>
                    </a:cubicBezTo>
                    <a:cubicBezTo>
                      <a:pt x="55409" y="7894"/>
                      <a:pt x="49631" y="2493"/>
                      <a:pt x="45110" y="735"/>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1" name="Freeform: Shape 5470">
                <a:extLst>
                  <a:ext uri="{FF2B5EF4-FFF2-40B4-BE49-F238E27FC236}">
                    <a16:creationId xmlns:a16="http://schemas.microsoft.com/office/drawing/2014/main" id="{807AA376-95B5-4AAF-8B56-E20F6CB33906}"/>
                  </a:ext>
                </a:extLst>
              </p:cNvPr>
              <p:cNvSpPr/>
              <p:nvPr/>
            </p:nvSpPr>
            <p:spPr>
              <a:xfrm>
                <a:off x="11419585" y="2608705"/>
                <a:ext cx="7033" cy="5400"/>
              </a:xfrm>
              <a:custGeom>
                <a:avLst/>
                <a:gdLst>
                  <a:gd name="connsiteX0" fmla="*/ 6531 w 7033"/>
                  <a:gd name="connsiteY0" fmla="*/ 4396 h 5400"/>
                  <a:gd name="connsiteX1" fmla="*/ 7033 w 7033"/>
                  <a:gd name="connsiteY1" fmla="*/ 5401 h 5400"/>
                  <a:gd name="connsiteX2" fmla="*/ 0 w 7033"/>
                  <a:gd name="connsiteY2" fmla="*/ 0 h 5400"/>
                  <a:gd name="connsiteX3" fmla="*/ 3768 w 7033"/>
                  <a:gd name="connsiteY3" fmla="*/ 1507 h 5400"/>
                  <a:gd name="connsiteX4" fmla="*/ 6531 w 7033"/>
                  <a:gd name="connsiteY4" fmla="*/ 4396 h 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3" h="5400">
                    <a:moveTo>
                      <a:pt x="6531" y="4396"/>
                    </a:moveTo>
                    <a:cubicBezTo>
                      <a:pt x="6657" y="4647"/>
                      <a:pt x="6908" y="5024"/>
                      <a:pt x="7033" y="5401"/>
                    </a:cubicBezTo>
                    <a:lnTo>
                      <a:pt x="0" y="0"/>
                    </a:lnTo>
                    <a:cubicBezTo>
                      <a:pt x="1382" y="126"/>
                      <a:pt x="2638" y="754"/>
                      <a:pt x="3768" y="1507"/>
                    </a:cubicBezTo>
                    <a:cubicBezTo>
                      <a:pt x="4648" y="2386"/>
                      <a:pt x="5526" y="3391"/>
                      <a:pt x="6531" y="4396"/>
                    </a:cubicBez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2" name="Freeform: Shape 5471">
                <a:extLst>
                  <a:ext uri="{FF2B5EF4-FFF2-40B4-BE49-F238E27FC236}">
                    <a16:creationId xmlns:a16="http://schemas.microsoft.com/office/drawing/2014/main" id="{E77FE4F6-4049-4496-A23C-B59A902A20D6}"/>
                  </a:ext>
                </a:extLst>
              </p:cNvPr>
              <p:cNvSpPr/>
              <p:nvPr/>
            </p:nvSpPr>
            <p:spPr>
              <a:xfrm>
                <a:off x="11368593" y="2571547"/>
                <a:ext cx="74464" cy="175249"/>
              </a:xfrm>
              <a:custGeom>
                <a:avLst/>
                <a:gdLst>
                  <a:gd name="connsiteX0" fmla="*/ 21101 w 74464"/>
                  <a:gd name="connsiteY0" fmla="*/ 609 h 175249"/>
                  <a:gd name="connsiteX1" fmla="*/ 31524 w 74464"/>
                  <a:gd name="connsiteY1" fmla="*/ 735 h 175249"/>
                  <a:gd name="connsiteX2" fmla="*/ 45215 w 74464"/>
                  <a:gd name="connsiteY2" fmla="*/ 11411 h 175249"/>
                  <a:gd name="connsiteX3" fmla="*/ 56895 w 74464"/>
                  <a:gd name="connsiteY3" fmla="*/ 24472 h 175249"/>
                  <a:gd name="connsiteX4" fmla="*/ 70334 w 74464"/>
                  <a:gd name="connsiteY4" fmla="*/ 34143 h 175249"/>
                  <a:gd name="connsiteX5" fmla="*/ 73599 w 74464"/>
                  <a:gd name="connsiteY5" fmla="*/ 51601 h 175249"/>
                  <a:gd name="connsiteX6" fmla="*/ 65812 w 74464"/>
                  <a:gd name="connsiteY6" fmla="*/ 76720 h 175249"/>
                  <a:gd name="connsiteX7" fmla="*/ 65812 w 74464"/>
                  <a:gd name="connsiteY7" fmla="*/ 104727 h 175249"/>
                  <a:gd name="connsiteX8" fmla="*/ 69580 w 74464"/>
                  <a:gd name="connsiteY8" fmla="*/ 168278 h 175249"/>
                  <a:gd name="connsiteX9" fmla="*/ 49987 w 74464"/>
                  <a:gd name="connsiteY9" fmla="*/ 175186 h 175249"/>
                  <a:gd name="connsiteX10" fmla="*/ 51745 w 74464"/>
                  <a:gd name="connsiteY10" fmla="*/ 116031 h 175249"/>
                  <a:gd name="connsiteX11" fmla="*/ 52122 w 74464"/>
                  <a:gd name="connsiteY11" fmla="*/ 77976 h 175249"/>
                  <a:gd name="connsiteX12" fmla="*/ 55136 w 74464"/>
                  <a:gd name="connsiteY12" fmla="*/ 58634 h 175249"/>
                  <a:gd name="connsiteX13" fmla="*/ 58528 w 74464"/>
                  <a:gd name="connsiteY13" fmla="*/ 44944 h 175249"/>
                  <a:gd name="connsiteX14" fmla="*/ 57774 w 74464"/>
                  <a:gd name="connsiteY14" fmla="*/ 42558 h 175249"/>
                  <a:gd name="connsiteX15" fmla="*/ 58904 w 74464"/>
                  <a:gd name="connsiteY15" fmla="*/ 43437 h 175249"/>
                  <a:gd name="connsiteX16" fmla="*/ 57271 w 74464"/>
                  <a:gd name="connsiteY16" fmla="*/ 41679 h 175249"/>
                  <a:gd name="connsiteX17" fmla="*/ 54508 w 74464"/>
                  <a:gd name="connsiteY17" fmla="*/ 38665 h 175249"/>
                  <a:gd name="connsiteX18" fmla="*/ 0 w 74464"/>
                  <a:gd name="connsiteY18" fmla="*/ 9652 h 175249"/>
                  <a:gd name="connsiteX19" fmla="*/ 21101 w 74464"/>
                  <a:gd name="connsiteY19" fmla="*/ 609 h 17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464" h="175249">
                    <a:moveTo>
                      <a:pt x="21101" y="609"/>
                    </a:moveTo>
                    <a:cubicBezTo>
                      <a:pt x="24491" y="107"/>
                      <a:pt x="28259" y="-521"/>
                      <a:pt x="31524" y="735"/>
                    </a:cubicBezTo>
                    <a:cubicBezTo>
                      <a:pt x="36046" y="2493"/>
                      <a:pt x="41823" y="7894"/>
                      <a:pt x="45215" y="11411"/>
                    </a:cubicBezTo>
                    <a:cubicBezTo>
                      <a:pt x="49234" y="15681"/>
                      <a:pt x="52374" y="20705"/>
                      <a:pt x="56895" y="24472"/>
                    </a:cubicBezTo>
                    <a:cubicBezTo>
                      <a:pt x="61165" y="28115"/>
                      <a:pt x="66314" y="30375"/>
                      <a:pt x="70334" y="34143"/>
                    </a:cubicBezTo>
                    <a:cubicBezTo>
                      <a:pt x="75232" y="38916"/>
                      <a:pt x="74981" y="45321"/>
                      <a:pt x="73599" y="51601"/>
                    </a:cubicBezTo>
                    <a:cubicBezTo>
                      <a:pt x="71715" y="60016"/>
                      <a:pt x="68449" y="68431"/>
                      <a:pt x="65812" y="76720"/>
                    </a:cubicBezTo>
                    <a:cubicBezTo>
                      <a:pt x="63551" y="84004"/>
                      <a:pt x="67319" y="97192"/>
                      <a:pt x="65812" y="104727"/>
                    </a:cubicBezTo>
                    <a:cubicBezTo>
                      <a:pt x="63175" y="118668"/>
                      <a:pt x="69706" y="167902"/>
                      <a:pt x="69580" y="168278"/>
                    </a:cubicBezTo>
                    <a:cubicBezTo>
                      <a:pt x="67947" y="171670"/>
                      <a:pt x="61040" y="175814"/>
                      <a:pt x="49987" y="175186"/>
                    </a:cubicBezTo>
                    <a:cubicBezTo>
                      <a:pt x="50238" y="171795"/>
                      <a:pt x="52624" y="122562"/>
                      <a:pt x="51745" y="116031"/>
                    </a:cubicBezTo>
                    <a:cubicBezTo>
                      <a:pt x="50238" y="103346"/>
                      <a:pt x="50615" y="90535"/>
                      <a:pt x="52122" y="77976"/>
                    </a:cubicBezTo>
                    <a:cubicBezTo>
                      <a:pt x="52876" y="71696"/>
                      <a:pt x="53253" y="64663"/>
                      <a:pt x="55136" y="58634"/>
                    </a:cubicBezTo>
                    <a:cubicBezTo>
                      <a:pt x="56518" y="54113"/>
                      <a:pt x="59155" y="49968"/>
                      <a:pt x="58528" y="44944"/>
                    </a:cubicBezTo>
                    <a:cubicBezTo>
                      <a:pt x="58402" y="44065"/>
                      <a:pt x="58150" y="43312"/>
                      <a:pt x="57774" y="42558"/>
                    </a:cubicBezTo>
                    <a:lnTo>
                      <a:pt x="58904" y="43437"/>
                    </a:lnTo>
                    <a:cubicBezTo>
                      <a:pt x="58402" y="42809"/>
                      <a:pt x="57900" y="42307"/>
                      <a:pt x="57271" y="41679"/>
                    </a:cubicBezTo>
                    <a:cubicBezTo>
                      <a:pt x="56518" y="40549"/>
                      <a:pt x="55639" y="39418"/>
                      <a:pt x="54508" y="38665"/>
                    </a:cubicBezTo>
                    <a:cubicBezTo>
                      <a:pt x="40065" y="24096"/>
                      <a:pt x="19970" y="15932"/>
                      <a:pt x="0" y="9652"/>
                    </a:cubicBezTo>
                    <a:cubicBezTo>
                      <a:pt x="4271" y="5633"/>
                      <a:pt x="12685" y="1865"/>
                      <a:pt x="21101" y="609"/>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3" name="Freeform: Shape 5472">
                <a:extLst>
                  <a:ext uri="{FF2B5EF4-FFF2-40B4-BE49-F238E27FC236}">
                    <a16:creationId xmlns:a16="http://schemas.microsoft.com/office/drawing/2014/main" id="{6ACDF1C6-A6AF-439B-BF27-190D2058D89C}"/>
                  </a:ext>
                </a:extLst>
              </p:cNvPr>
              <p:cNvSpPr/>
              <p:nvPr/>
            </p:nvSpPr>
            <p:spPr>
              <a:xfrm>
                <a:off x="11381431" y="2571561"/>
                <a:ext cx="34304" cy="24798"/>
              </a:xfrm>
              <a:custGeom>
                <a:avLst/>
                <a:gdLst>
                  <a:gd name="connsiteX0" fmla="*/ 1480 w 34304"/>
                  <a:gd name="connsiteY0" fmla="*/ 18556 h 24798"/>
                  <a:gd name="connsiteX1" fmla="*/ 2862 w 34304"/>
                  <a:gd name="connsiteY1" fmla="*/ 19686 h 24798"/>
                  <a:gd name="connsiteX2" fmla="*/ 7886 w 34304"/>
                  <a:gd name="connsiteY2" fmla="*/ 22701 h 24798"/>
                  <a:gd name="connsiteX3" fmla="*/ 12533 w 34304"/>
                  <a:gd name="connsiteY3" fmla="*/ 23580 h 24798"/>
                  <a:gd name="connsiteX4" fmla="*/ 25846 w 34304"/>
                  <a:gd name="connsiteY4" fmla="*/ 23831 h 24798"/>
                  <a:gd name="connsiteX5" fmla="*/ 34260 w 34304"/>
                  <a:gd name="connsiteY5" fmla="*/ 17049 h 24798"/>
                  <a:gd name="connsiteX6" fmla="*/ 33256 w 34304"/>
                  <a:gd name="connsiteY6" fmla="*/ 14662 h 24798"/>
                  <a:gd name="connsiteX7" fmla="*/ 24339 w 34304"/>
                  <a:gd name="connsiteY7" fmla="*/ 2103 h 24798"/>
                  <a:gd name="connsiteX8" fmla="*/ 8137 w 34304"/>
                  <a:gd name="connsiteY8" fmla="*/ 470 h 24798"/>
                  <a:gd name="connsiteX9" fmla="*/ 3741 w 34304"/>
                  <a:gd name="connsiteY9" fmla="*/ 8131 h 24798"/>
                  <a:gd name="connsiteX10" fmla="*/ 99 w 34304"/>
                  <a:gd name="connsiteY10" fmla="*/ 14914 h 24798"/>
                  <a:gd name="connsiteX11" fmla="*/ 1480 w 34304"/>
                  <a:gd name="connsiteY11" fmla="*/ 18556 h 24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304" h="24798">
                    <a:moveTo>
                      <a:pt x="1480" y="18556"/>
                    </a:moveTo>
                    <a:cubicBezTo>
                      <a:pt x="1857" y="18933"/>
                      <a:pt x="2360" y="19309"/>
                      <a:pt x="2862" y="19686"/>
                    </a:cubicBezTo>
                    <a:cubicBezTo>
                      <a:pt x="4494" y="20817"/>
                      <a:pt x="6001" y="22073"/>
                      <a:pt x="7886" y="22701"/>
                    </a:cubicBezTo>
                    <a:cubicBezTo>
                      <a:pt x="9393" y="23203"/>
                      <a:pt x="11026" y="23454"/>
                      <a:pt x="12533" y="23580"/>
                    </a:cubicBezTo>
                    <a:cubicBezTo>
                      <a:pt x="16175" y="23956"/>
                      <a:pt x="22706" y="25966"/>
                      <a:pt x="25846" y="23831"/>
                    </a:cubicBezTo>
                    <a:cubicBezTo>
                      <a:pt x="28734" y="21696"/>
                      <a:pt x="31623" y="19435"/>
                      <a:pt x="34260" y="17049"/>
                    </a:cubicBezTo>
                    <a:cubicBezTo>
                      <a:pt x="34512" y="16798"/>
                      <a:pt x="33632" y="15039"/>
                      <a:pt x="33256" y="14662"/>
                    </a:cubicBezTo>
                    <a:cubicBezTo>
                      <a:pt x="28609" y="10895"/>
                      <a:pt x="29739" y="4740"/>
                      <a:pt x="24339" y="2103"/>
                    </a:cubicBezTo>
                    <a:cubicBezTo>
                      <a:pt x="19817" y="-158"/>
                      <a:pt x="13914" y="-409"/>
                      <a:pt x="8137" y="470"/>
                    </a:cubicBezTo>
                    <a:cubicBezTo>
                      <a:pt x="6504" y="2982"/>
                      <a:pt x="5123" y="5494"/>
                      <a:pt x="3741" y="8131"/>
                    </a:cubicBezTo>
                    <a:cubicBezTo>
                      <a:pt x="2611" y="10141"/>
                      <a:pt x="727" y="12779"/>
                      <a:pt x="99" y="14914"/>
                    </a:cubicBezTo>
                    <a:cubicBezTo>
                      <a:pt x="-278" y="16421"/>
                      <a:pt x="475" y="17551"/>
                      <a:pt x="1480" y="18556"/>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4" name="Freeform: Shape 5473">
                <a:extLst>
                  <a:ext uri="{FF2B5EF4-FFF2-40B4-BE49-F238E27FC236}">
                    <a16:creationId xmlns:a16="http://schemas.microsoft.com/office/drawing/2014/main" id="{4D7DFD25-37A1-469D-9E4B-DACC52A5A0A1}"/>
                  </a:ext>
                </a:extLst>
              </p:cNvPr>
              <p:cNvSpPr/>
              <p:nvPr/>
            </p:nvSpPr>
            <p:spPr>
              <a:xfrm>
                <a:off x="11403197" y="2573036"/>
                <a:ext cx="14258" cy="21622"/>
              </a:xfrm>
              <a:custGeom>
                <a:avLst/>
                <a:gdLst>
                  <a:gd name="connsiteX0" fmla="*/ 814 w 14258"/>
                  <a:gd name="connsiteY0" fmla="*/ 11304 h 21622"/>
                  <a:gd name="connsiteX1" fmla="*/ 563 w 14258"/>
                  <a:gd name="connsiteY1" fmla="*/ 754 h 21622"/>
                  <a:gd name="connsiteX2" fmla="*/ 688 w 14258"/>
                  <a:gd name="connsiteY2" fmla="*/ 0 h 21622"/>
                  <a:gd name="connsiteX3" fmla="*/ 2824 w 14258"/>
                  <a:gd name="connsiteY3" fmla="*/ 754 h 21622"/>
                  <a:gd name="connsiteX4" fmla="*/ 12243 w 14258"/>
                  <a:gd name="connsiteY4" fmla="*/ 13815 h 21622"/>
                  <a:gd name="connsiteX5" fmla="*/ 14253 w 14258"/>
                  <a:gd name="connsiteY5" fmla="*/ 14067 h 21622"/>
                  <a:gd name="connsiteX6" fmla="*/ 8601 w 14258"/>
                  <a:gd name="connsiteY6" fmla="*/ 18965 h 21622"/>
                  <a:gd name="connsiteX7" fmla="*/ 1567 w 14258"/>
                  <a:gd name="connsiteY7" fmla="*/ 21351 h 21622"/>
                  <a:gd name="connsiteX8" fmla="*/ 814 w 14258"/>
                  <a:gd name="connsiteY8" fmla="*/ 11304 h 21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8" h="21622">
                    <a:moveTo>
                      <a:pt x="814" y="11304"/>
                    </a:moveTo>
                    <a:cubicBezTo>
                      <a:pt x="814" y="7787"/>
                      <a:pt x="312" y="4270"/>
                      <a:pt x="563" y="754"/>
                    </a:cubicBezTo>
                    <a:cubicBezTo>
                      <a:pt x="563" y="502"/>
                      <a:pt x="688" y="251"/>
                      <a:pt x="688" y="0"/>
                    </a:cubicBezTo>
                    <a:cubicBezTo>
                      <a:pt x="1442" y="251"/>
                      <a:pt x="2196" y="502"/>
                      <a:pt x="2824" y="754"/>
                    </a:cubicBezTo>
                    <a:cubicBezTo>
                      <a:pt x="8099" y="3391"/>
                      <a:pt x="7596" y="9922"/>
                      <a:pt x="12243" y="13815"/>
                    </a:cubicBezTo>
                    <a:cubicBezTo>
                      <a:pt x="12494" y="14067"/>
                      <a:pt x="14378" y="13941"/>
                      <a:pt x="14253" y="14067"/>
                    </a:cubicBezTo>
                    <a:cubicBezTo>
                      <a:pt x="12494" y="15825"/>
                      <a:pt x="10611" y="17458"/>
                      <a:pt x="8601" y="18965"/>
                    </a:cubicBezTo>
                    <a:cubicBezTo>
                      <a:pt x="6968" y="20346"/>
                      <a:pt x="3828" y="22356"/>
                      <a:pt x="1567" y="21351"/>
                    </a:cubicBezTo>
                    <a:cubicBezTo>
                      <a:pt x="-1447" y="19844"/>
                      <a:pt x="814" y="13815"/>
                      <a:pt x="814" y="11304"/>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5" name="Freeform: Shape 5474">
                <a:extLst>
                  <a:ext uri="{FF2B5EF4-FFF2-40B4-BE49-F238E27FC236}">
                    <a16:creationId xmlns:a16="http://schemas.microsoft.com/office/drawing/2014/main" id="{8B89B3CA-A589-4298-884D-0017735E41B6}"/>
                  </a:ext>
                </a:extLst>
              </p:cNvPr>
              <p:cNvSpPr/>
              <p:nvPr/>
            </p:nvSpPr>
            <p:spPr>
              <a:xfrm>
                <a:off x="11379247" y="2562825"/>
                <a:ext cx="37575" cy="32991"/>
              </a:xfrm>
              <a:custGeom>
                <a:avLst/>
                <a:gdLst>
                  <a:gd name="connsiteX0" fmla="*/ 1028 w 37575"/>
                  <a:gd name="connsiteY0" fmla="*/ 12597 h 32991"/>
                  <a:gd name="connsiteX1" fmla="*/ 525 w 37575"/>
                  <a:gd name="connsiteY1" fmla="*/ 3178 h 32991"/>
                  <a:gd name="connsiteX2" fmla="*/ 37576 w 37575"/>
                  <a:gd name="connsiteY2" fmla="*/ 6820 h 32991"/>
                  <a:gd name="connsiteX3" fmla="*/ 37450 w 37575"/>
                  <a:gd name="connsiteY3" fmla="*/ 17621 h 32991"/>
                  <a:gd name="connsiteX4" fmla="*/ 35943 w 37575"/>
                  <a:gd name="connsiteY4" fmla="*/ 19003 h 32991"/>
                  <a:gd name="connsiteX5" fmla="*/ 31547 w 37575"/>
                  <a:gd name="connsiteY5" fmla="*/ 22394 h 32991"/>
                  <a:gd name="connsiteX6" fmla="*/ 28532 w 37575"/>
                  <a:gd name="connsiteY6" fmla="*/ 24278 h 32991"/>
                  <a:gd name="connsiteX7" fmla="*/ 25393 w 37575"/>
                  <a:gd name="connsiteY7" fmla="*/ 26036 h 32991"/>
                  <a:gd name="connsiteX8" fmla="*/ 23383 w 37575"/>
                  <a:gd name="connsiteY8" fmla="*/ 31939 h 32991"/>
                  <a:gd name="connsiteX9" fmla="*/ 13712 w 37575"/>
                  <a:gd name="connsiteY9" fmla="*/ 32441 h 32991"/>
                  <a:gd name="connsiteX10" fmla="*/ 3163 w 37575"/>
                  <a:gd name="connsiteY10" fmla="*/ 28548 h 32991"/>
                  <a:gd name="connsiteX11" fmla="*/ 399 w 37575"/>
                  <a:gd name="connsiteY11" fmla="*/ 23022 h 32991"/>
                  <a:gd name="connsiteX12" fmla="*/ 1028 w 37575"/>
                  <a:gd name="connsiteY12" fmla="*/ 12597 h 3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575" h="32991">
                    <a:moveTo>
                      <a:pt x="1028" y="12597"/>
                    </a:moveTo>
                    <a:cubicBezTo>
                      <a:pt x="902" y="9457"/>
                      <a:pt x="651" y="6317"/>
                      <a:pt x="525" y="3178"/>
                    </a:cubicBezTo>
                    <a:cubicBezTo>
                      <a:pt x="525" y="3178"/>
                      <a:pt x="35064" y="-5991"/>
                      <a:pt x="37576" y="6820"/>
                    </a:cubicBezTo>
                    <a:cubicBezTo>
                      <a:pt x="37576" y="6820"/>
                      <a:pt x="37450" y="17495"/>
                      <a:pt x="37450" y="17621"/>
                    </a:cubicBezTo>
                    <a:cubicBezTo>
                      <a:pt x="37450" y="17872"/>
                      <a:pt x="36194" y="18751"/>
                      <a:pt x="35943" y="19003"/>
                    </a:cubicBezTo>
                    <a:cubicBezTo>
                      <a:pt x="34562" y="20258"/>
                      <a:pt x="33054" y="21389"/>
                      <a:pt x="31547" y="22394"/>
                    </a:cubicBezTo>
                    <a:cubicBezTo>
                      <a:pt x="30542" y="23022"/>
                      <a:pt x="29537" y="23650"/>
                      <a:pt x="28532" y="24278"/>
                    </a:cubicBezTo>
                    <a:cubicBezTo>
                      <a:pt x="27528" y="24905"/>
                      <a:pt x="26147" y="25282"/>
                      <a:pt x="25393" y="26036"/>
                    </a:cubicBezTo>
                    <a:cubicBezTo>
                      <a:pt x="23635" y="27417"/>
                      <a:pt x="25393" y="30557"/>
                      <a:pt x="23383" y="31939"/>
                    </a:cubicBezTo>
                    <a:cubicBezTo>
                      <a:pt x="20997" y="33572"/>
                      <a:pt x="16224" y="32944"/>
                      <a:pt x="13712" y="32441"/>
                    </a:cubicBezTo>
                    <a:cubicBezTo>
                      <a:pt x="10070" y="31688"/>
                      <a:pt x="6553" y="30180"/>
                      <a:pt x="3163" y="28548"/>
                    </a:cubicBezTo>
                    <a:cubicBezTo>
                      <a:pt x="274" y="27292"/>
                      <a:pt x="-605" y="26036"/>
                      <a:pt x="399" y="23022"/>
                    </a:cubicBezTo>
                    <a:cubicBezTo>
                      <a:pt x="1530" y="19756"/>
                      <a:pt x="1279" y="15988"/>
                      <a:pt x="1028" y="12597"/>
                    </a:cubicBezTo>
                    <a:close/>
                  </a:path>
                </a:pathLst>
              </a:custGeom>
              <a:solidFill>
                <a:srgbClr val="DEB0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6" name="Freeform: Shape 5475">
                <a:extLst>
                  <a:ext uri="{FF2B5EF4-FFF2-40B4-BE49-F238E27FC236}">
                    <a16:creationId xmlns:a16="http://schemas.microsoft.com/office/drawing/2014/main" id="{20451083-F87D-48C9-B128-C4B4CC6D5E84}"/>
                  </a:ext>
                </a:extLst>
              </p:cNvPr>
              <p:cNvSpPr/>
              <p:nvPr/>
            </p:nvSpPr>
            <p:spPr>
              <a:xfrm>
                <a:off x="11403564" y="2563742"/>
                <a:ext cx="13509" cy="27882"/>
              </a:xfrm>
              <a:custGeom>
                <a:avLst/>
                <a:gdLst>
                  <a:gd name="connsiteX0" fmla="*/ 13258 w 13509"/>
                  <a:gd name="connsiteY0" fmla="*/ 5903 h 27882"/>
                  <a:gd name="connsiteX1" fmla="*/ 13509 w 13509"/>
                  <a:gd name="connsiteY1" fmla="*/ 23235 h 27882"/>
                  <a:gd name="connsiteX2" fmla="*/ 321 w 13509"/>
                  <a:gd name="connsiteY2" fmla="*/ 27882 h 27882"/>
                  <a:gd name="connsiteX3" fmla="*/ 321 w 13509"/>
                  <a:gd name="connsiteY3" fmla="*/ 20472 h 27882"/>
                  <a:gd name="connsiteX4" fmla="*/ 70 w 13509"/>
                  <a:gd name="connsiteY4" fmla="*/ 9922 h 27882"/>
                  <a:gd name="connsiteX5" fmla="*/ 2959 w 13509"/>
                  <a:gd name="connsiteY5" fmla="*/ 0 h 27882"/>
                  <a:gd name="connsiteX6" fmla="*/ 13258 w 13509"/>
                  <a:gd name="connsiteY6" fmla="*/ 5903 h 2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9" h="27882">
                    <a:moveTo>
                      <a:pt x="13258" y="5903"/>
                    </a:moveTo>
                    <a:lnTo>
                      <a:pt x="13509" y="23235"/>
                    </a:lnTo>
                    <a:cubicBezTo>
                      <a:pt x="13509" y="23235"/>
                      <a:pt x="8359" y="24114"/>
                      <a:pt x="321" y="27882"/>
                    </a:cubicBezTo>
                    <a:cubicBezTo>
                      <a:pt x="573" y="26249"/>
                      <a:pt x="321" y="22230"/>
                      <a:pt x="321" y="20472"/>
                    </a:cubicBezTo>
                    <a:cubicBezTo>
                      <a:pt x="321" y="16955"/>
                      <a:pt x="-181" y="13439"/>
                      <a:pt x="70" y="9922"/>
                    </a:cubicBezTo>
                    <a:cubicBezTo>
                      <a:pt x="321" y="6405"/>
                      <a:pt x="1829" y="3265"/>
                      <a:pt x="2959" y="0"/>
                    </a:cubicBezTo>
                    <a:cubicBezTo>
                      <a:pt x="8109" y="0"/>
                      <a:pt x="12379" y="1507"/>
                      <a:pt x="13258" y="5903"/>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7" name="Freeform: Shape 5476">
                <a:extLst>
                  <a:ext uri="{FF2B5EF4-FFF2-40B4-BE49-F238E27FC236}">
                    <a16:creationId xmlns:a16="http://schemas.microsoft.com/office/drawing/2014/main" id="{72E41B28-F925-4F3F-9357-C1E798B285F5}"/>
                  </a:ext>
                </a:extLst>
              </p:cNvPr>
              <p:cNvSpPr/>
              <p:nvPr/>
            </p:nvSpPr>
            <p:spPr>
              <a:xfrm>
                <a:off x="11369659" y="2521010"/>
                <a:ext cx="47441" cy="60491"/>
              </a:xfrm>
              <a:custGeom>
                <a:avLst/>
                <a:gdLst>
                  <a:gd name="connsiteX0" fmla="*/ 9485 w 47441"/>
                  <a:gd name="connsiteY0" fmla="*/ 51900 h 60491"/>
                  <a:gd name="connsiteX1" fmla="*/ 17900 w 47441"/>
                  <a:gd name="connsiteY1" fmla="*/ 58055 h 60491"/>
                  <a:gd name="connsiteX2" fmla="*/ 30083 w 47441"/>
                  <a:gd name="connsiteY2" fmla="*/ 60441 h 60491"/>
                  <a:gd name="connsiteX3" fmla="*/ 33976 w 47441"/>
                  <a:gd name="connsiteY3" fmla="*/ 52780 h 60491"/>
                  <a:gd name="connsiteX4" fmla="*/ 46912 w 47441"/>
                  <a:gd name="connsiteY4" fmla="*/ 18743 h 60491"/>
                  <a:gd name="connsiteX5" fmla="*/ 45782 w 47441"/>
                  <a:gd name="connsiteY5" fmla="*/ 16232 h 60491"/>
                  <a:gd name="connsiteX6" fmla="*/ 44526 w 47441"/>
                  <a:gd name="connsiteY6" fmla="*/ 14348 h 60491"/>
                  <a:gd name="connsiteX7" fmla="*/ 16770 w 47441"/>
                  <a:gd name="connsiteY7" fmla="*/ 30 h 60491"/>
                  <a:gd name="connsiteX8" fmla="*/ 4336 w 47441"/>
                  <a:gd name="connsiteY8" fmla="*/ 8445 h 60491"/>
                  <a:gd name="connsiteX9" fmla="*/ 819 w 47441"/>
                  <a:gd name="connsiteY9" fmla="*/ 15478 h 60491"/>
                  <a:gd name="connsiteX10" fmla="*/ 567 w 47441"/>
                  <a:gd name="connsiteY10" fmla="*/ 16483 h 60491"/>
                  <a:gd name="connsiteX11" fmla="*/ 1070 w 47441"/>
                  <a:gd name="connsiteY11" fmla="*/ 33940 h 60491"/>
                  <a:gd name="connsiteX12" fmla="*/ 6722 w 47441"/>
                  <a:gd name="connsiteY12" fmla="*/ 49514 h 60491"/>
                  <a:gd name="connsiteX13" fmla="*/ 9234 w 47441"/>
                  <a:gd name="connsiteY13" fmla="*/ 51775 h 60491"/>
                  <a:gd name="connsiteX14" fmla="*/ 9485 w 47441"/>
                  <a:gd name="connsiteY14" fmla="*/ 51900 h 6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441" h="60491">
                    <a:moveTo>
                      <a:pt x="9485" y="51900"/>
                    </a:moveTo>
                    <a:cubicBezTo>
                      <a:pt x="11997" y="54287"/>
                      <a:pt x="14760" y="56673"/>
                      <a:pt x="17900" y="58055"/>
                    </a:cubicBezTo>
                    <a:cubicBezTo>
                      <a:pt x="20663" y="59311"/>
                      <a:pt x="27069" y="60064"/>
                      <a:pt x="30083" y="60441"/>
                    </a:cubicBezTo>
                    <a:cubicBezTo>
                      <a:pt x="34604" y="61069"/>
                      <a:pt x="30208" y="55668"/>
                      <a:pt x="33976" y="52780"/>
                    </a:cubicBezTo>
                    <a:cubicBezTo>
                      <a:pt x="34227" y="52528"/>
                      <a:pt x="50555" y="30047"/>
                      <a:pt x="46912" y="18743"/>
                    </a:cubicBezTo>
                    <a:cubicBezTo>
                      <a:pt x="46661" y="17864"/>
                      <a:pt x="46284" y="16985"/>
                      <a:pt x="45782" y="16232"/>
                    </a:cubicBezTo>
                    <a:cubicBezTo>
                      <a:pt x="45405" y="15603"/>
                      <a:pt x="45029" y="14850"/>
                      <a:pt x="44526" y="14348"/>
                    </a:cubicBezTo>
                    <a:cubicBezTo>
                      <a:pt x="38372" y="5430"/>
                      <a:pt x="24054" y="-473"/>
                      <a:pt x="16770" y="30"/>
                    </a:cubicBezTo>
                    <a:cubicBezTo>
                      <a:pt x="11243" y="407"/>
                      <a:pt x="7224" y="4049"/>
                      <a:pt x="4336" y="8445"/>
                    </a:cubicBezTo>
                    <a:cubicBezTo>
                      <a:pt x="2828" y="10705"/>
                      <a:pt x="1698" y="13092"/>
                      <a:pt x="819" y="15478"/>
                    </a:cubicBezTo>
                    <a:cubicBezTo>
                      <a:pt x="693" y="15855"/>
                      <a:pt x="567" y="16106"/>
                      <a:pt x="567" y="16483"/>
                    </a:cubicBezTo>
                    <a:cubicBezTo>
                      <a:pt x="-688" y="22009"/>
                      <a:pt x="442" y="28414"/>
                      <a:pt x="1070" y="33940"/>
                    </a:cubicBezTo>
                    <a:cubicBezTo>
                      <a:pt x="1824" y="40095"/>
                      <a:pt x="1950" y="45118"/>
                      <a:pt x="6722" y="49514"/>
                    </a:cubicBezTo>
                    <a:cubicBezTo>
                      <a:pt x="7601" y="50268"/>
                      <a:pt x="8354" y="51021"/>
                      <a:pt x="9234" y="51775"/>
                    </a:cubicBezTo>
                    <a:cubicBezTo>
                      <a:pt x="9359" y="51775"/>
                      <a:pt x="9359" y="51775"/>
                      <a:pt x="9485" y="51900"/>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8" name="Freeform: Shape 5477">
                <a:extLst>
                  <a:ext uri="{FF2B5EF4-FFF2-40B4-BE49-F238E27FC236}">
                    <a16:creationId xmlns:a16="http://schemas.microsoft.com/office/drawing/2014/main" id="{7839F81F-FF46-4C23-B186-F8B4180AB28A}"/>
                  </a:ext>
                </a:extLst>
              </p:cNvPr>
              <p:cNvSpPr/>
              <p:nvPr/>
            </p:nvSpPr>
            <p:spPr>
              <a:xfrm>
                <a:off x="11371483" y="2521142"/>
                <a:ext cx="58440" cy="57421"/>
              </a:xfrm>
              <a:custGeom>
                <a:avLst/>
                <a:gdLst>
                  <a:gd name="connsiteX0" fmla="*/ 126 w 58440"/>
                  <a:gd name="connsiteY0" fmla="*/ 11075 h 57421"/>
                  <a:gd name="connsiteX1" fmla="*/ 251 w 58440"/>
                  <a:gd name="connsiteY1" fmla="*/ 11201 h 57421"/>
                  <a:gd name="connsiteX2" fmla="*/ 4898 w 58440"/>
                  <a:gd name="connsiteY2" fmla="*/ 12708 h 57421"/>
                  <a:gd name="connsiteX3" fmla="*/ 18462 w 58440"/>
                  <a:gd name="connsiteY3" fmla="*/ 13587 h 57421"/>
                  <a:gd name="connsiteX4" fmla="*/ 24993 w 58440"/>
                  <a:gd name="connsiteY4" fmla="*/ 13712 h 57421"/>
                  <a:gd name="connsiteX5" fmla="*/ 28635 w 58440"/>
                  <a:gd name="connsiteY5" fmla="*/ 17480 h 57421"/>
                  <a:gd name="connsiteX6" fmla="*/ 29514 w 58440"/>
                  <a:gd name="connsiteY6" fmla="*/ 19867 h 57421"/>
                  <a:gd name="connsiteX7" fmla="*/ 27882 w 58440"/>
                  <a:gd name="connsiteY7" fmla="*/ 28407 h 57421"/>
                  <a:gd name="connsiteX8" fmla="*/ 31775 w 58440"/>
                  <a:gd name="connsiteY8" fmla="*/ 38203 h 57421"/>
                  <a:gd name="connsiteX9" fmla="*/ 33282 w 58440"/>
                  <a:gd name="connsiteY9" fmla="*/ 45111 h 57421"/>
                  <a:gd name="connsiteX10" fmla="*/ 32529 w 58440"/>
                  <a:gd name="connsiteY10" fmla="*/ 55661 h 57421"/>
                  <a:gd name="connsiteX11" fmla="*/ 41069 w 58440"/>
                  <a:gd name="connsiteY11" fmla="*/ 57419 h 57421"/>
                  <a:gd name="connsiteX12" fmla="*/ 50364 w 58440"/>
                  <a:gd name="connsiteY12" fmla="*/ 54028 h 57421"/>
                  <a:gd name="connsiteX13" fmla="*/ 53754 w 58440"/>
                  <a:gd name="connsiteY13" fmla="*/ 41092 h 57421"/>
                  <a:gd name="connsiteX14" fmla="*/ 58025 w 58440"/>
                  <a:gd name="connsiteY14" fmla="*/ 9945 h 57421"/>
                  <a:gd name="connsiteX15" fmla="*/ 57271 w 58440"/>
                  <a:gd name="connsiteY15" fmla="*/ 7558 h 57421"/>
                  <a:gd name="connsiteX16" fmla="*/ 54885 w 58440"/>
                  <a:gd name="connsiteY16" fmla="*/ 5926 h 57421"/>
                  <a:gd name="connsiteX17" fmla="*/ 41823 w 58440"/>
                  <a:gd name="connsiteY17" fmla="*/ 4921 h 57421"/>
                  <a:gd name="connsiteX18" fmla="*/ 30896 w 58440"/>
                  <a:gd name="connsiteY18" fmla="*/ 1279 h 57421"/>
                  <a:gd name="connsiteX19" fmla="*/ 21476 w 58440"/>
                  <a:gd name="connsiteY19" fmla="*/ 23 h 57421"/>
                  <a:gd name="connsiteX20" fmla="*/ 8917 w 58440"/>
                  <a:gd name="connsiteY20" fmla="*/ 1655 h 57421"/>
                  <a:gd name="connsiteX21" fmla="*/ 3516 w 58440"/>
                  <a:gd name="connsiteY21" fmla="*/ 3037 h 57421"/>
                  <a:gd name="connsiteX22" fmla="*/ 0 w 58440"/>
                  <a:gd name="connsiteY22" fmla="*/ 10070 h 57421"/>
                  <a:gd name="connsiteX23" fmla="*/ 126 w 58440"/>
                  <a:gd name="connsiteY23" fmla="*/ 11075 h 5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440" h="57421">
                    <a:moveTo>
                      <a:pt x="126" y="11075"/>
                    </a:moveTo>
                    <a:cubicBezTo>
                      <a:pt x="126" y="11201"/>
                      <a:pt x="251" y="11201"/>
                      <a:pt x="251" y="11201"/>
                    </a:cubicBezTo>
                    <a:cubicBezTo>
                      <a:pt x="1633" y="12080"/>
                      <a:pt x="3391" y="12331"/>
                      <a:pt x="4898" y="12708"/>
                    </a:cubicBezTo>
                    <a:cubicBezTo>
                      <a:pt x="9420" y="13336"/>
                      <a:pt x="13941" y="13964"/>
                      <a:pt x="18462" y="13587"/>
                    </a:cubicBezTo>
                    <a:cubicBezTo>
                      <a:pt x="20472" y="13461"/>
                      <a:pt x="23109" y="12582"/>
                      <a:pt x="24993" y="13712"/>
                    </a:cubicBezTo>
                    <a:cubicBezTo>
                      <a:pt x="26375" y="14592"/>
                      <a:pt x="27882" y="16099"/>
                      <a:pt x="28635" y="17480"/>
                    </a:cubicBezTo>
                    <a:cubicBezTo>
                      <a:pt x="29012" y="18234"/>
                      <a:pt x="29263" y="19113"/>
                      <a:pt x="29514" y="19867"/>
                    </a:cubicBezTo>
                    <a:cubicBezTo>
                      <a:pt x="30394" y="22755"/>
                      <a:pt x="28007" y="25267"/>
                      <a:pt x="27882" y="28407"/>
                    </a:cubicBezTo>
                    <a:cubicBezTo>
                      <a:pt x="27756" y="31547"/>
                      <a:pt x="31649" y="35064"/>
                      <a:pt x="31775" y="38203"/>
                    </a:cubicBezTo>
                    <a:cubicBezTo>
                      <a:pt x="31901" y="40715"/>
                      <a:pt x="32780" y="42725"/>
                      <a:pt x="33282" y="45111"/>
                    </a:cubicBezTo>
                    <a:cubicBezTo>
                      <a:pt x="34036" y="48502"/>
                      <a:pt x="33534" y="52019"/>
                      <a:pt x="32529" y="55661"/>
                    </a:cubicBezTo>
                    <a:cubicBezTo>
                      <a:pt x="33282" y="52647"/>
                      <a:pt x="39186" y="57545"/>
                      <a:pt x="41069" y="57419"/>
                    </a:cubicBezTo>
                    <a:cubicBezTo>
                      <a:pt x="44460" y="57294"/>
                      <a:pt x="47977" y="56540"/>
                      <a:pt x="50364" y="54028"/>
                    </a:cubicBezTo>
                    <a:cubicBezTo>
                      <a:pt x="52121" y="52270"/>
                      <a:pt x="53001" y="43353"/>
                      <a:pt x="53754" y="41092"/>
                    </a:cubicBezTo>
                    <a:cubicBezTo>
                      <a:pt x="57648" y="30165"/>
                      <a:pt x="59280" y="21499"/>
                      <a:pt x="58025" y="9945"/>
                    </a:cubicBezTo>
                    <a:cubicBezTo>
                      <a:pt x="57899" y="9065"/>
                      <a:pt x="57773" y="8186"/>
                      <a:pt x="57271" y="7558"/>
                    </a:cubicBezTo>
                    <a:cubicBezTo>
                      <a:pt x="56768" y="6805"/>
                      <a:pt x="55764" y="6302"/>
                      <a:pt x="54885" y="5926"/>
                    </a:cubicBezTo>
                    <a:cubicBezTo>
                      <a:pt x="50489" y="4167"/>
                      <a:pt x="46470" y="4544"/>
                      <a:pt x="41823" y="4921"/>
                    </a:cubicBezTo>
                    <a:cubicBezTo>
                      <a:pt x="38055" y="5172"/>
                      <a:pt x="34664" y="2283"/>
                      <a:pt x="30896" y="1279"/>
                    </a:cubicBezTo>
                    <a:cubicBezTo>
                      <a:pt x="27756" y="525"/>
                      <a:pt x="24616" y="148"/>
                      <a:pt x="21476" y="23"/>
                    </a:cubicBezTo>
                    <a:cubicBezTo>
                      <a:pt x="17332" y="-103"/>
                      <a:pt x="12936" y="274"/>
                      <a:pt x="8917" y="1655"/>
                    </a:cubicBezTo>
                    <a:cubicBezTo>
                      <a:pt x="7661" y="2158"/>
                      <a:pt x="5526" y="2535"/>
                      <a:pt x="3516" y="3037"/>
                    </a:cubicBezTo>
                    <a:cubicBezTo>
                      <a:pt x="2009" y="5298"/>
                      <a:pt x="879" y="7684"/>
                      <a:pt x="0" y="10070"/>
                    </a:cubicBezTo>
                    <a:cubicBezTo>
                      <a:pt x="251" y="10447"/>
                      <a:pt x="126" y="10698"/>
                      <a:pt x="126" y="11075"/>
                    </a:cubicBezTo>
                    <a:close/>
                  </a:path>
                </a:pathLst>
              </a:custGeom>
              <a:solidFill>
                <a:srgbClr val="DF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9" name="Freeform: Shape 5478">
                <a:extLst>
                  <a:ext uri="{FF2B5EF4-FFF2-40B4-BE49-F238E27FC236}">
                    <a16:creationId xmlns:a16="http://schemas.microsoft.com/office/drawing/2014/main" id="{383D7568-A2A2-4F7F-B21D-6B8D44BD96E5}"/>
                  </a:ext>
                </a:extLst>
              </p:cNvPr>
              <p:cNvSpPr/>
              <p:nvPr/>
            </p:nvSpPr>
            <p:spPr>
              <a:xfrm>
                <a:off x="11369024" y="2499856"/>
                <a:ext cx="62418" cy="79161"/>
              </a:xfrm>
              <a:custGeom>
                <a:avLst/>
                <a:gdLst>
                  <a:gd name="connsiteX0" fmla="*/ 14766 w 62418"/>
                  <a:gd name="connsiteY0" fmla="*/ 76194 h 79161"/>
                  <a:gd name="connsiteX1" fmla="*/ 35238 w 62418"/>
                  <a:gd name="connsiteY1" fmla="*/ 78203 h 79161"/>
                  <a:gd name="connsiteX2" fmla="*/ 36494 w 62418"/>
                  <a:gd name="connsiteY2" fmla="*/ 66021 h 79161"/>
                  <a:gd name="connsiteX3" fmla="*/ 33229 w 62418"/>
                  <a:gd name="connsiteY3" fmla="*/ 50949 h 79161"/>
                  <a:gd name="connsiteX4" fmla="*/ 38252 w 62418"/>
                  <a:gd name="connsiteY4" fmla="*/ 44670 h 79161"/>
                  <a:gd name="connsiteX5" fmla="*/ 45537 w 62418"/>
                  <a:gd name="connsiteY5" fmla="*/ 50824 h 79161"/>
                  <a:gd name="connsiteX6" fmla="*/ 44406 w 62418"/>
                  <a:gd name="connsiteY6" fmla="*/ 65393 h 79161"/>
                  <a:gd name="connsiteX7" fmla="*/ 51314 w 62418"/>
                  <a:gd name="connsiteY7" fmla="*/ 63132 h 79161"/>
                  <a:gd name="connsiteX8" fmla="*/ 51691 w 62418"/>
                  <a:gd name="connsiteY8" fmla="*/ 62881 h 79161"/>
                  <a:gd name="connsiteX9" fmla="*/ 51943 w 62418"/>
                  <a:gd name="connsiteY9" fmla="*/ 62253 h 79161"/>
                  <a:gd name="connsiteX10" fmla="*/ 52696 w 62418"/>
                  <a:gd name="connsiteY10" fmla="*/ 52456 h 79161"/>
                  <a:gd name="connsiteX11" fmla="*/ 54705 w 62418"/>
                  <a:gd name="connsiteY11" fmla="*/ 46679 h 79161"/>
                  <a:gd name="connsiteX12" fmla="*/ 61362 w 62418"/>
                  <a:gd name="connsiteY12" fmla="*/ 31482 h 79161"/>
                  <a:gd name="connsiteX13" fmla="*/ 59855 w 62418"/>
                  <a:gd name="connsiteY13" fmla="*/ 11638 h 79161"/>
                  <a:gd name="connsiteX14" fmla="*/ 34736 w 62418"/>
                  <a:gd name="connsiteY14" fmla="*/ 83 h 79161"/>
                  <a:gd name="connsiteX15" fmla="*/ 7859 w 62418"/>
                  <a:gd name="connsiteY15" fmla="*/ 12015 h 79161"/>
                  <a:gd name="connsiteX16" fmla="*/ 72 w 62418"/>
                  <a:gd name="connsiteY16" fmla="*/ 34873 h 79161"/>
                  <a:gd name="connsiteX17" fmla="*/ 1705 w 62418"/>
                  <a:gd name="connsiteY17" fmla="*/ 56852 h 79161"/>
                  <a:gd name="connsiteX18" fmla="*/ 3965 w 62418"/>
                  <a:gd name="connsiteY18" fmla="*/ 64890 h 79161"/>
                  <a:gd name="connsiteX19" fmla="*/ 14766 w 62418"/>
                  <a:gd name="connsiteY19" fmla="*/ 76194 h 79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2418" h="79161">
                    <a:moveTo>
                      <a:pt x="14766" y="76194"/>
                    </a:moveTo>
                    <a:cubicBezTo>
                      <a:pt x="21297" y="78831"/>
                      <a:pt x="28581" y="80213"/>
                      <a:pt x="35238" y="78203"/>
                    </a:cubicBezTo>
                    <a:cubicBezTo>
                      <a:pt x="37247" y="73933"/>
                      <a:pt x="37373" y="70668"/>
                      <a:pt x="36494" y="66021"/>
                    </a:cubicBezTo>
                    <a:cubicBezTo>
                      <a:pt x="35615" y="60871"/>
                      <a:pt x="32600" y="56224"/>
                      <a:pt x="33229" y="50949"/>
                    </a:cubicBezTo>
                    <a:cubicBezTo>
                      <a:pt x="33605" y="48186"/>
                      <a:pt x="35113" y="44921"/>
                      <a:pt x="38252" y="44670"/>
                    </a:cubicBezTo>
                    <a:cubicBezTo>
                      <a:pt x="43025" y="44167"/>
                      <a:pt x="45286" y="45800"/>
                      <a:pt x="45537" y="50824"/>
                    </a:cubicBezTo>
                    <a:cubicBezTo>
                      <a:pt x="45663" y="52708"/>
                      <a:pt x="45034" y="65141"/>
                      <a:pt x="44406" y="65393"/>
                    </a:cubicBezTo>
                    <a:cubicBezTo>
                      <a:pt x="46793" y="64639"/>
                      <a:pt x="49053" y="64137"/>
                      <a:pt x="51314" y="63132"/>
                    </a:cubicBezTo>
                    <a:cubicBezTo>
                      <a:pt x="51440" y="63006"/>
                      <a:pt x="51691" y="63006"/>
                      <a:pt x="51691" y="62881"/>
                    </a:cubicBezTo>
                    <a:cubicBezTo>
                      <a:pt x="51817" y="62755"/>
                      <a:pt x="51817" y="62504"/>
                      <a:pt x="51943" y="62253"/>
                    </a:cubicBezTo>
                    <a:cubicBezTo>
                      <a:pt x="52193" y="58987"/>
                      <a:pt x="52193" y="55722"/>
                      <a:pt x="52696" y="52456"/>
                    </a:cubicBezTo>
                    <a:cubicBezTo>
                      <a:pt x="52947" y="50447"/>
                      <a:pt x="54077" y="48689"/>
                      <a:pt x="54705" y="46679"/>
                    </a:cubicBezTo>
                    <a:cubicBezTo>
                      <a:pt x="56464" y="41404"/>
                      <a:pt x="60231" y="36883"/>
                      <a:pt x="61362" y="31482"/>
                    </a:cubicBezTo>
                    <a:cubicBezTo>
                      <a:pt x="62744" y="25328"/>
                      <a:pt x="63246" y="16787"/>
                      <a:pt x="59855" y="11638"/>
                    </a:cubicBezTo>
                    <a:cubicBezTo>
                      <a:pt x="54705" y="3726"/>
                      <a:pt x="44156" y="-670"/>
                      <a:pt x="34736" y="83"/>
                    </a:cubicBezTo>
                    <a:cubicBezTo>
                      <a:pt x="25944" y="837"/>
                      <a:pt x="17153" y="2595"/>
                      <a:pt x="7859" y="12015"/>
                    </a:cubicBezTo>
                    <a:cubicBezTo>
                      <a:pt x="2081" y="17918"/>
                      <a:pt x="700" y="26961"/>
                      <a:pt x="72" y="34873"/>
                    </a:cubicBezTo>
                    <a:cubicBezTo>
                      <a:pt x="-180" y="41278"/>
                      <a:pt x="198" y="50573"/>
                      <a:pt x="1705" y="56852"/>
                    </a:cubicBezTo>
                    <a:cubicBezTo>
                      <a:pt x="2332" y="59741"/>
                      <a:pt x="3086" y="62504"/>
                      <a:pt x="3965" y="64890"/>
                    </a:cubicBezTo>
                    <a:cubicBezTo>
                      <a:pt x="6100" y="69789"/>
                      <a:pt x="8864" y="73682"/>
                      <a:pt x="14766" y="76194"/>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0" name="Freeform: Shape 5479">
                <a:extLst>
                  <a:ext uri="{FF2B5EF4-FFF2-40B4-BE49-F238E27FC236}">
                    <a16:creationId xmlns:a16="http://schemas.microsoft.com/office/drawing/2014/main" id="{698F7DF0-3456-4E77-9683-B7F6730710A3}"/>
                  </a:ext>
                </a:extLst>
              </p:cNvPr>
              <p:cNvSpPr/>
              <p:nvPr/>
            </p:nvSpPr>
            <p:spPr>
              <a:xfrm>
                <a:off x="11497718" y="2650856"/>
                <a:ext cx="34275" cy="23581"/>
              </a:xfrm>
              <a:custGeom>
                <a:avLst/>
                <a:gdLst>
                  <a:gd name="connsiteX0" fmla="*/ 5136 w 34275"/>
                  <a:gd name="connsiteY0" fmla="*/ 21776 h 23581"/>
                  <a:gd name="connsiteX1" fmla="*/ 11039 w 34275"/>
                  <a:gd name="connsiteY1" fmla="*/ 23158 h 23581"/>
                  <a:gd name="connsiteX2" fmla="*/ 23347 w 34275"/>
                  <a:gd name="connsiteY2" fmla="*/ 18887 h 23581"/>
                  <a:gd name="connsiteX3" fmla="*/ 33898 w 34275"/>
                  <a:gd name="connsiteY3" fmla="*/ 12105 h 23581"/>
                  <a:gd name="connsiteX4" fmla="*/ 30130 w 34275"/>
                  <a:gd name="connsiteY4" fmla="*/ 5449 h 23581"/>
                  <a:gd name="connsiteX5" fmla="*/ 25985 w 34275"/>
                  <a:gd name="connsiteY5" fmla="*/ 3062 h 23581"/>
                  <a:gd name="connsiteX6" fmla="*/ 22845 w 34275"/>
                  <a:gd name="connsiteY6" fmla="*/ 3565 h 23581"/>
                  <a:gd name="connsiteX7" fmla="*/ 15812 w 34275"/>
                  <a:gd name="connsiteY7" fmla="*/ 5323 h 23581"/>
                  <a:gd name="connsiteX8" fmla="*/ 16566 w 34275"/>
                  <a:gd name="connsiteY8" fmla="*/ 3690 h 23581"/>
                  <a:gd name="connsiteX9" fmla="*/ 16942 w 34275"/>
                  <a:gd name="connsiteY9" fmla="*/ 1806 h 23581"/>
                  <a:gd name="connsiteX10" fmla="*/ 14431 w 34275"/>
                  <a:gd name="connsiteY10" fmla="*/ 48 h 23581"/>
                  <a:gd name="connsiteX11" fmla="*/ 11541 w 34275"/>
                  <a:gd name="connsiteY11" fmla="*/ 2811 h 23581"/>
                  <a:gd name="connsiteX12" fmla="*/ 9658 w 34275"/>
                  <a:gd name="connsiteY12" fmla="*/ 5700 h 23581"/>
                  <a:gd name="connsiteX13" fmla="*/ 1745 w 34275"/>
                  <a:gd name="connsiteY13" fmla="*/ 11477 h 23581"/>
                  <a:gd name="connsiteX14" fmla="*/ 5136 w 34275"/>
                  <a:gd name="connsiteY14" fmla="*/ 21776 h 2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275" h="23581">
                    <a:moveTo>
                      <a:pt x="5136" y="21776"/>
                    </a:moveTo>
                    <a:cubicBezTo>
                      <a:pt x="6643" y="23534"/>
                      <a:pt x="8904" y="24037"/>
                      <a:pt x="11039" y="23158"/>
                    </a:cubicBezTo>
                    <a:cubicBezTo>
                      <a:pt x="14053" y="21902"/>
                      <a:pt x="18826" y="20143"/>
                      <a:pt x="23347" y="18887"/>
                    </a:cubicBezTo>
                    <a:cubicBezTo>
                      <a:pt x="31134" y="16752"/>
                      <a:pt x="35655" y="16124"/>
                      <a:pt x="33898" y="12105"/>
                    </a:cubicBezTo>
                    <a:cubicBezTo>
                      <a:pt x="32767" y="9468"/>
                      <a:pt x="31134" y="6956"/>
                      <a:pt x="30130" y="5449"/>
                    </a:cubicBezTo>
                    <a:cubicBezTo>
                      <a:pt x="29125" y="4067"/>
                      <a:pt x="27618" y="3062"/>
                      <a:pt x="25985" y="3062"/>
                    </a:cubicBezTo>
                    <a:cubicBezTo>
                      <a:pt x="25106" y="3062"/>
                      <a:pt x="24101" y="3188"/>
                      <a:pt x="22845" y="3565"/>
                    </a:cubicBezTo>
                    <a:cubicBezTo>
                      <a:pt x="18198" y="4946"/>
                      <a:pt x="15812" y="5323"/>
                      <a:pt x="15812" y="5323"/>
                    </a:cubicBezTo>
                    <a:cubicBezTo>
                      <a:pt x="15938" y="5323"/>
                      <a:pt x="16440" y="3816"/>
                      <a:pt x="16566" y="3690"/>
                    </a:cubicBezTo>
                    <a:cubicBezTo>
                      <a:pt x="16816" y="3062"/>
                      <a:pt x="17068" y="2560"/>
                      <a:pt x="16942" y="1806"/>
                    </a:cubicBezTo>
                    <a:cubicBezTo>
                      <a:pt x="16816" y="550"/>
                      <a:pt x="15561" y="-203"/>
                      <a:pt x="14431" y="48"/>
                    </a:cubicBezTo>
                    <a:cubicBezTo>
                      <a:pt x="13048" y="425"/>
                      <a:pt x="12295" y="1681"/>
                      <a:pt x="11541" y="2811"/>
                    </a:cubicBezTo>
                    <a:lnTo>
                      <a:pt x="9658" y="5700"/>
                    </a:lnTo>
                    <a:cubicBezTo>
                      <a:pt x="9658" y="5700"/>
                      <a:pt x="7648" y="10598"/>
                      <a:pt x="1745" y="11477"/>
                    </a:cubicBezTo>
                    <a:cubicBezTo>
                      <a:pt x="-2525" y="11980"/>
                      <a:pt x="1996" y="18008"/>
                      <a:pt x="5136" y="21776"/>
                    </a:cubicBezTo>
                    <a:close/>
                  </a:path>
                </a:pathLst>
              </a:custGeom>
              <a:solidFill>
                <a:srgbClr val="F8CF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1" name="Freeform: Shape 5480">
                <a:extLst>
                  <a:ext uri="{FF2B5EF4-FFF2-40B4-BE49-F238E27FC236}">
                    <a16:creationId xmlns:a16="http://schemas.microsoft.com/office/drawing/2014/main" id="{53E68B07-9926-41B6-8327-B6E110D9BED7}"/>
                  </a:ext>
                </a:extLst>
              </p:cNvPr>
              <p:cNvSpPr/>
              <p:nvPr/>
            </p:nvSpPr>
            <p:spPr>
              <a:xfrm>
                <a:off x="11420134" y="2609211"/>
                <a:ext cx="91446" cy="78386"/>
              </a:xfrm>
              <a:custGeom>
                <a:avLst/>
                <a:gdLst>
                  <a:gd name="connsiteX0" fmla="*/ 79706 w 91446"/>
                  <a:gd name="connsiteY0" fmla="*/ 49104 h 78386"/>
                  <a:gd name="connsiteX1" fmla="*/ 56471 w 91446"/>
                  <a:gd name="connsiteY1" fmla="*/ 52495 h 78386"/>
                  <a:gd name="connsiteX2" fmla="*/ 47931 w 91446"/>
                  <a:gd name="connsiteY2" fmla="*/ 50611 h 78386"/>
                  <a:gd name="connsiteX3" fmla="*/ 46046 w 91446"/>
                  <a:gd name="connsiteY3" fmla="*/ 49857 h 78386"/>
                  <a:gd name="connsiteX4" fmla="*/ 44162 w 91446"/>
                  <a:gd name="connsiteY4" fmla="*/ 47346 h 78386"/>
                  <a:gd name="connsiteX5" fmla="*/ 41777 w 91446"/>
                  <a:gd name="connsiteY5" fmla="*/ 42071 h 78386"/>
                  <a:gd name="connsiteX6" fmla="*/ 39641 w 91446"/>
                  <a:gd name="connsiteY6" fmla="*/ 35540 h 78386"/>
                  <a:gd name="connsiteX7" fmla="*/ 33111 w 91446"/>
                  <a:gd name="connsiteY7" fmla="*/ 20845 h 78386"/>
                  <a:gd name="connsiteX8" fmla="*/ 26077 w 91446"/>
                  <a:gd name="connsiteY8" fmla="*/ 8537 h 78386"/>
                  <a:gd name="connsiteX9" fmla="*/ 17034 w 91446"/>
                  <a:gd name="connsiteY9" fmla="*/ 247 h 78386"/>
                  <a:gd name="connsiteX10" fmla="*/ 9624 w 91446"/>
                  <a:gd name="connsiteY10" fmla="*/ 624 h 78386"/>
                  <a:gd name="connsiteX11" fmla="*/ 3595 w 91446"/>
                  <a:gd name="connsiteY11" fmla="*/ 4643 h 78386"/>
                  <a:gd name="connsiteX12" fmla="*/ 79 w 91446"/>
                  <a:gd name="connsiteY12" fmla="*/ 17705 h 78386"/>
                  <a:gd name="connsiteX13" fmla="*/ 2842 w 91446"/>
                  <a:gd name="connsiteY13" fmla="*/ 33279 h 78386"/>
                  <a:gd name="connsiteX14" fmla="*/ 5480 w 91446"/>
                  <a:gd name="connsiteY14" fmla="*/ 41191 h 78386"/>
                  <a:gd name="connsiteX15" fmla="*/ 8996 w 91446"/>
                  <a:gd name="connsiteY15" fmla="*/ 46843 h 78386"/>
                  <a:gd name="connsiteX16" fmla="*/ 26579 w 91446"/>
                  <a:gd name="connsiteY16" fmla="*/ 69827 h 78386"/>
                  <a:gd name="connsiteX17" fmla="*/ 39139 w 91446"/>
                  <a:gd name="connsiteY17" fmla="*/ 78367 h 78386"/>
                  <a:gd name="connsiteX18" fmla="*/ 85232 w 91446"/>
                  <a:gd name="connsiteY18" fmla="*/ 71836 h 78386"/>
                  <a:gd name="connsiteX19" fmla="*/ 91010 w 91446"/>
                  <a:gd name="connsiteY19" fmla="*/ 57393 h 78386"/>
                  <a:gd name="connsiteX20" fmla="*/ 79706 w 91446"/>
                  <a:gd name="connsiteY20" fmla="*/ 49104 h 7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446" h="78386">
                    <a:moveTo>
                      <a:pt x="79706" y="49104"/>
                    </a:moveTo>
                    <a:lnTo>
                      <a:pt x="56471" y="52495"/>
                    </a:lnTo>
                    <a:cubicBezTo>
                      <a:pt x="54085" y="52997"/>
                      <a:pt x="50317" y="51239"/>
                      <a:pt x="47931" y="50611"/>
                    </a:cubicBezTo>
                    <a:cubicBezTo>
                      <a:pt x="47302" y="50485"/>
                      <a:pt x="46674" y="50234"/>
                      <a:pt x="46046" y="49857"/>
                    </a:cubicBezTo>
                    <a:cubicBezTo>
                      <a:pt x="45167" y="49229"/>
                      <a:pt x="44665" y="48225"/>
                      <a:pt x="44162" y="47346"/>
                    </a:cubicBezTo>
                    <a:cubicBezTo>
                      <a:pt x="43284" y="45587"/>
                      <a:pt x="42530" y="43955"/>
                      <a:pt x="41777" y="42071"/>
                    </a:cubicBezTo>
                    <a:cubicBezTo>
                      <a:pt x="40897" y="39935"/>
                      <a:pt x="40395" y="37675"/>
                      <a:pt x="39641" y="35540"/>
                    </a:cubicBezTo>
                    <a:cubicBezTo>
                      <a:pt x="38008" y="30390"/>
                      <a:pt x="35622" y="25618"/>
                      <a:pt x="33111" y="20845"/>
                    </a:cubicBezTo>
                    <a:cubicBezTo>
                      <a:pt x="30975" y="16700"/>
                      <a:pt x="28714" y="12556"/>
                      <a:pt x="26077" y="8537"/>
                    </a:cubicBezTo>
                    <a:cubicBezTo>
                      <a:pt x="23691" y="4769"/>
                      <a:pt x="21932" y="875"/>
                      <a:pt x="17034" y="247"/>
                    </a:cubicBezTo>
                    <a:cubicBezTo>
                      <a:pt x="14522" y="-129"/>
                      <a:pt x="12010" y="-129"/>
                      <a:pt x="9624" y="624"/>
                    </a:cubicBezTo>
                    <a:cubicBezTo>
                      <a:pt x="7238" y="1252"/>
                      <a:pt x="4977" y="2634"/>
                      <a:pt x="3595" y="4643"/>
                    </a:cubicBezTo>
                    <a:cubicBezTo>
                      <a:pt x="1083" y="8160"/>
                      <a:pt x="456" y="13560"/>
                      <a:pt x="79" y="17705"/>
                    </a:cubicBezTo>
                    <a:cubicBezTo>
                      <a:pt x="-424" y="22980"/>
                      <a:pt x="1586" y="28255"/>
                      <a:pt x="2842" y="33279"/>
                    </a:cubicBezTo>
                    <a:cubicBezTo>
                      <a:pt x="3595" y="35916"/>
                      <a:pt x="4349" y="38679"/>
                      <a:pt x="5480" y="41191"/>
                    </a:cubicBezTo>
                    <a:cubicBezTo>
                      <a:pt x="6484" y="43201"/>
                      <a:pt x="7740" y="45085"/>
                      <a:pt x="8996" y="46843"/>
                    </a:cubicBezTo>
                    <a:cubicBezTo>
                      <a:pt x="14522" y="55007"/>
                      <a:pt x="19798" y="62794"/>
                      <a:pt x="26579" y="69827"/>
                    </a:cubicBezTo>
                    <a:cubicBezTo>
                      <a:pt x="29971" y="73344"/>
                      <a:pt x="33864" y="78744"/>
                      <a:pt x="39139" y="78367"/>
                    </a:cubicBezTo>
                    <a:cubicBezTo>
                      <a:pt x="47051" y="77739"/>
                      <a:pt x="85232" y="71836"/>
                      <a:pt x="85232" y="71836"/>
                    </a:cubicBezTo>
                    <a:cubicBezTo>
                      <a:pt x="85232" y="71836"/>
                      <a:pt x="93396" y="65682"/>
                      <a:pt x="91010" y="57393"/>
                    </a:cubicBezTo>
                    <a:cubicBezTo>
                      <a:pt x="88875" y="49481"/>
                      <a:pt x="79706" y="49104"/>
                      <a:pt x="79706" y="49104"/>
                    </a:cubicBezTo>
                    <a:close/>
                  </a:path>
                </a:pathLst>
              </a:custGeom>
              <a:solidFill>
                <a:srgbClr val="57677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2" name="Freeform: Shape 5481">
                <a:extLst>
                  <a:ext uri="{FF2B5EF4-FFF2-40B4-BE49-F238E27FC236}">
                    <a16:creationId xmlns:a16="http://schemas.microsoft.com/office/drawing/2014/main" id="{101EA0AD-7DA1-4E5A-9FC6-C27F1FF3996F}"/>
                  </a:ext>
                </a:extLst>
              </p:cNvPr>
              <p:cNvSpPr/>
              <p:nvPr/>
            </p:nvSpPr>
            <p:spPr>
              <a:xfrm>
                <a:off x="11420195" y="2617119"/>
                <a:ext cx="91324" cy="70477"/>
              </a:xfrm>
              <a:custGeom>
                <a:avLst/>
                <a:gdLst>
                  <a:gd name="connsiteX0" fmla="*/ 26644 w 91324"/>
                  <a:gd name="connsiteY0" fmla="*/ 61918 h 70477"/>
                  <a:gd name="connsiteX1" fmla="*/ 9060 w 91324"/>
                  <a:gd name="connsiteY1" fmla="*/ 38934 h 70477"/>
                  <a:gd name="connsiteX2" fmla="*/ 5544 w 91324"/>
                  <a:gd name="connsiteY2" fmla="*/ 33283 h 70477"/>
                  <a:gd name="connsiteX3" fmla="*/ 2906 w 91324"/>
                  <a:gd name="connsiteY3" fmla="*/ 25370 h 70477"/>
                  <a:gd name="connsiteX4" fmla="*/ 1901 w 91324"/>
                  <a:gd name="connsiteY4" fmla="*/ 0 h 70477"/>
                  <a:gd name="connsiteX5" fmla="*/ 18480 w 91324"/>
                  <a:gd name="connsiteY5" fmla="*/ 19342 h 70477"/>
                  <a:gd name="connsiteX6" fmla="*/ 32798 w 91324"/>
                  <a:gd name="connsiteY6" fmla="*/ 49108 h 70477"/>
                  <a:gd name="connsiteX7" fmla="*/ 47492 w 91324"/>
                  <a:gd name="connsiteY7" fmla="*/ 60913 h 70477"/>
                  <a:gd name="connsiteX8" fmla="*/ 91325 w 91324"/>
                  <a:gd name="connsiteY8" fmla="*/ 54885 h 70477"/>
                  <a:gd name="connsiteX9" fmla="*/ 91325 w 91324"/>
                  <a:gd name="connsiteY9" fmla="*/ 54885 h 70477"/>
                  <a:gd name="connsiteX10" fmla="*/ 85548 w 91324"/>
                  <a:gd name="connsiteY10" fmla="*/ 63802 h 70477"/>
                  <a:gd name="connsiteX11" fmla="*/ 85548 w 91324"/>
                  <a:gd name="connsiteY11" fmla="*/ 63802 h 70477"/>
                  <a:gd name="connsiteX12" fmla="*/ 85422 w 91324"/>
                  <a:gd name="connsiteY12" fmla="*/ 63928 h 70477"/>
                  <a:gd name="connsiteX13" fmla="*/ 57415 w 91324"/>
                  <a:gd name="connsiteY13" fmla="*/ 68072 h 70477"/>
                  <a:gd name="connsiteX14" fmla="*/ 39329 w 91324"/>
                  <a:gd name="connsiteY14" fmla="*/ 70459 h 70477"/>
                  <a:gd name="connsiteX15" fmla="*/ 26644 w 91324"/>
                  <a:gd name="connsiteY15" fmla="*/ 61918 h 70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324" h="70477">
                    <a:moveTo>
                      <a:pt x="26644" y="61918"/>
                    </a:moveTo>
                    <a:cubicBezTo>
                      <a:pt x="19861" y="54885"/>
                      <a:pt x="14587" y="46972"/>
                      <a:pt x="9060" y="38934"/>
                    </a:cubicBezTo>
                    <a:cubicBezTo>
                      <a:pt x="7805" y="37050"/>
                      <a:pt x="6548" y="35292"/>
                      <a:pt x="5544" y="33283"/>
                    </a:cubicBezTo>
                    <a:cubicBezTo>
                      <a:pt x="4288" y="30771"/>
                      <a:pt x="3660" y="28133"/>
                      <a:pt x="2906" y="25370"/>
                    </a:cubicBezTo>
                    <a:cubicBezTo>
                      <a:pt x="772" y="17709"/>
                      <a:pt x="-1866" y="12685"/>
                      <a:pt x="1901" y="0"/>
                    </a:cubicBezTo>
                    <a:cubicBezTo>
                      <a:pt x="3032" y="502"/>
                      <a:pt x="10568" y="3014"/>
                      <a:pt x="18480" y="19342"/>
                    </a:cubicBezTo>
                    <a:cubicBezTo>
                      <a:pt x="21871" y="26375"/>
                      <a:pt x="29910" y="41823"/>
                      <a:pt x="32798" y="49108"/>
                    </a:cubicBezTo>
                    <a:cubicBezTo>
                      <a:pt x="35059" y="54634"/>
                      <a:pt x="40836" y="61541"/>
                      <a:pt x="47492" y="60913"/>
                    </a:cubicBezTo>
                    <a:cubicBezTo>
                      <a:pt x="54024" y="60411"/>
                      <a:pt x="84795" y="56015"/>
                      <a:pt x="91325" y="54885"/>
                    </a:cubicBezTo>
                    <a:lnTo>
                      <a:pt x="91325" y="54885"/>
                    </a:lnTo>
                    <a:cubicBezTo>
                      <a:pt x="90321" y="59658"/>
                      <a:pt x="86552" y="63049"/>
                      <a:pt x="85548" y="63802"/>
                    </a:cubicBezTo>
                    <a:cubicBezTo>
                      <a:pt x="85548" y="63802"/>
                      <a:pt x="85548" y="63802"/>
                      <a:pt x="85548" y="63802"/>
                    </a:cubicBezTo>
                    <a:cubicBezTo>
                      <a:pt x="85422" y="63928"/>
                      <a:pt x="85422" y="63928"/>
                      <a:pt x="85422" y="63928"/>
                    </a:cubicBezTo>
                    <a:cubicBezTo>
                      <a:pt x="85422" y="63928"/>
                      <a:pt x="70477" y="66188"/>
                      <a:pt x="57415" y="68072"/>
                    </a:cubicBezTo>
                    <a:cubicBezTo>
                      <a:pt x="49502" y="69203"/>
                      <a:pt x="42343" y="70207"/>
                      <a:pt x="39329" y="70459"/>
                    </a:cubicBezTo>
                    <a:cubicBezTo>
                      <a:pt x="33928" y="70835"/>
                      <a:pt x="30035" y="65435"/>
                      <a:pt x="26644" y="61918"/>
                    </a:cubicBezTo>
                    <a:close/>
                  </a:path>
                </a:pathLst>
              </a:custGeom>
              <a:solidFill>
                <a:srgbClr val="57677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3" name="Freeform: Shape 5482">
                <a:extLst>
                  <a:ext uri="{FF2B5EF4-FFF2-40B4-BE49-F238E27FC236}">
                    <a16:creationId xmlns:a16="http://schemas.microsoft.com/office/drawing/2014/main" id="{3CC45761-EFE9-436F-9603-A398A62AF6D0}"/>
                  </a:ext>
                </a:extLst>
              </p:cNvPr>
              <p:cNvSpPr/>
              <p:nvPr/>
            </p:nvSpPr>
            <p:spPr>
              <a:xfrm>
                <a:off x="11653275" y="2659141"/>
                <a:ext cx="32085" cy="84528"/>
              </a:xfrm>
              <a:custGeom>
                <a:avLst/>
                <a:gdLst>
                  <a:gd name="connsiteX0" fmla="*/ 5820 w 32085"/>
                  <a:gd name="connsiteY0" fmla="*/ 64231 h 84528"/>
                  <a:gd name="connsiteX1" fmla="*/ 8332 w 32085"/>
                  <a:gd name="connsiteY1" fmla="*/ 60589 h 84528"/>
                  <a:gd name="connsiteX2" fmla="*/ 8834 w 32085"/>
                  <a:gd name="connsiteY2" fmla="*/ 59710 h 84528"/>
                  <a:gd name="connsiteX3" fmla="*/ 13104 w 32085"/>
                  <a:gd name="connsiteY3" fmla="*/ 53556 h 84528"/>
                  <a:gd name="connsiteX4" fmla="*/ 14486 w 32085"/>
                  <a:gd name="connsiteY4" fmla="*/ 46397 h 84528"/>
                  <a:gd name="connsiteX5" fmla="*/ 11723 w 32085"/>
                  <a:gd name="connsiteY5" fmla="*/ 6332 h 84528"/>
                  <a:gd name="connsiteX6" fmla="*/ 31818 w 32085"/>
                  <a:gd name="connsiteY6" fmla="*/ 1936 h 84528"/>
                  <a:gd name="connsiteX7" fmla="*/ 29181 w 32085"/>
                  <a:gd name="connsiteY7" fmla="*/ 32079 h 84528"/>
                  <a:gd name="connsiteX8" fmla="*/ 24785 w 32085"/>
                  <a:gd name="connsiteY8" fmla="*/ 59961 h 84528"/>
                  <a:gd name="connsiteX9" fmla="*/ 24659 w 32085"/>
                  <a:gd name="connsiteY9" fmla="*/ 66492 h 84528"/>
                  <a:gd name="connsiteX10" fmla="*/ 23026 w 32085"/>
                  <a:gd name="connsiteY10" fmla="*/ 71013 h 84528"/>
                  <a:gd name="connsiteX11" fmla="*/ 20515 w 32085"/>
                  <a:gd name="connsiteY11" fmla="*/ 78800 h 84528"/>
                  <a:gd name="connsiteX12" fmla="*/ 14989 w 32085"/>
                  <a:gd name="connsiteY12" fmla="*/ 83699 h 84528"/>
                  <a:gd name="connsiteX13" fmla="*/ 10090 w 32085"/>
                  <a:gd name="connsiteY13" fmla="*/ 82568 h 84528"/>
                  <a:gd name="connsiteX14" fmla="*/ 8206 w 32085"/>
                  <a:gd name="connsiteY14" fmla="*/ 82568 h 84528"/>
                  <a:gd name="connsiteX15" fmla="*/ 6825 w 32085"/>
                  <a:gd name="connsiteY15" fmla="*/ 80810 h 84528"/>
                  <a:gd name="connsiteX16" fmla="*/ 8458 w 32085"/>
                  <a:gd name="connsiteY16" fmla="*/ 69381 h 84528"/>
                  <a:gd name="connsiteX17" fmla="*/ 7830 w 32085"/>
                  <a:gd name="connsiteY17" fmla="*/ 67874 h 84528"/>
                  <a:gd name="connsiteX18" fmla="*/ 419 w 32085"/>
                  <a:gd name="connsiteY18" fmla="*/ 72521 h 84528"/>
                  <a:gd name="connsiteX19" fmla="*/ 5820 w 32085"/>
                  <a:gd name="connsiteY19" fmla="*/ 64231 h 8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085" h="84528">
                    <a:moveTo>
                      <a:pt x="5820" y="64231"/>
                    </a:moveTo>
                    <a:cubicBezTo>
                      <a:pt x="6448" y="63352"/>
                      <a:pt x="7327" y="61971"/>
                      <a:pt x="8332" y="60589"/>
                    </a:cubicBezTo>
                    <a:cubicBezTo>
                      <a:pt x="8458" y="60212"/>
                      <a:pt x="8583" y="59961"/>
                      <a:pt x="8834" y="59710"/>
                    </a:cubicBezTo>
                    <a:cubicBezTo>
                      <a:pt x="10216" y="57575"/>
                      <a:pt x="12099" y="56068"/>
                      <a:pt x="13104" y="53556"/>
                    </a:cubicBezTo>
                    <a:cubicBezTo>
                      <a:pt x="13984" y="51295"/>
                      <a:pt x="14486" y="48909"/>
                      <a:pt x="14486" y="46397"/>
                    </a:cubicBezTo>
                    <a:cubicBezTo>
                      <a:pt x="14486" y="36098"/>
                      <a:pt x="10467" y="17384"/>
                      <a:pt x="11723" y="6332"/>
                    </a:cubicBezTo>
                    <a:cubicBezTo>
                      <a:pt x="13104" y="-4595"/>
                      <a:pt x="31818" y="1936"/>
                      <a:pt x="31818" y="1936"/>
                    </a:cubicBezTo>
                    <a:cubicBezTo>
                      <a:pt x="31818" y="1936"/>
                      <a:pt x="33325" y="13491"/>
                      <a:pt x="29181" y="32079"/>
                    </a:cubicBezTo>
                    <a:cubicBezTo>
                      <a:pt x="25162" y="50542"/>
                      <a:pt x="24157" y="52551"/>
                      <a:pt x="24785" y="59961"/>
                    </a:cubicBezTo>
                    <a:cubicBezTo>
                      <a:pt x="25036" y="62473"/>
                      <a:pt x="25538" y="64106"/>
                      <a:pt x="24659" y="66492"/>
                    </a:cubicBezTo>
                    <a:cubicBezTo>
                      <a:pt x="24283" y="67622"/>
                      <a:pt x="23780" y="69632"/>
                      <a:pt x="23026" y="71013"/>
                    </a:cubicBezTo>
                    <a:cubicBezTo>
                      <a:pt x="22273" y="74656"/>
                      <a:pt x="21143" y="76791"/>
                      <a:pt x="20515" y="78800"/>
                    </a:cubicBezTo>
                    <a:cubicBezTo>
                      <a:pt x="19636" y="81438"/>
                      <a:pt x="20766" y="81312"/>
                      <a:pt x="14989" y="83699"/>
                    </a:cubicBezTo>
                    <a:cubicBezTo>
                      <a:pt x="9211" y="86085"/>
                      <a:pt x="10090" y="82568"/>
                      <a:pt x="10090" y="82568"/>
                    </a:cubicBezTo>
                    <a:cubicBezTo>
                      <a:pt x="10090" y="82568"/>
                      <a:pt x="10090" y="82568"/>
                      <a:pt x="8206" y="82568"/>
                    </a:cubicBezTo>
                    <a:cubicBezTo>
                      <a:pt x="6323" y="82568"/>
                      <a:pt x="6825" y="80810"/>
                      <a:pt x="6825" y="80810"/>
                    </a:cubicBezTo>
                    <a:lnTo>
                      <a:pt x="8458" y="69381"/>
                    </a:lnTo>
                    <a:cubicBezTo>
                      <a:pt x="8206" y="68878"/>
                      <a:pt x="7955" y="68376"/>
                      <a:pt x="7830" y="67874"/>
                    </a:cubicBezTo>
                    <a:cubicBezTo>
                      <a:pt x="5945" y="69632"/>
                      <a:pt x="1926" y="73400"/>
                      <a:pt x="419" y="72521"/>
                    </a:cubicBezTo>
                    <a:cubicBezTo>
                      <a:pt x="-1590" y="71265"/>
                      <a:pt x="4187" y="66869"/>
                      <a:pt x="5820" y="64231"/>
                    </a:cubicBezTo>
                    <a:close/>
                  </a:path>
                </a:pathLst>
              </a:custGeom>
              <a:solidFill>
                <a:srgbClr val="F1B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4" name="Freeform: Shape 5483">
                <a:extLst>
                  <a:ext uri="{FF2B5EF4-FFF2-40B4-BE49-F238E27FC236}">
                    <a16:creationId xmlns:a16="http://schemas.microsoft.com/office/drawing/2014/main" id="{58D25D4C-1A60-45B7-A082-DF276DE9E9E6}"/>
                  </a:ext>
                </a:extLst>
              </p:cNvPr>
              <p:cNvSpPr/>
              <p:nvPr/>
            </p:nvSpPr>
            <p:spPr>
              <a:xfrm>
                <a:off x="11675292" y="2659445"/>
                <a:ext cx="10067" cy="64932"/>
              </a:xfrm>
              <a:custGeom>
                <a:avLst/>
                <a:gdLst>
                  <a:gd name="connsiteX0" fmla="*/ 9801 w 10067"/>
                  <a:gd name="connsiteY0" fmla="*/ 1758 h 64932"/>
                  <a:gd name="connsiteX1" fmla="*/ 7164 w 10067"/>
                  <a:gd name="connsiteY1" fmla="*/ 31901 h 64932"/>
                  <a:gd name="connsiteX2" fmla="*/ 2767 w 10067"/>
                  <a:gd name="connsiteY2" fmla="*/ 59783 h 64932"/>
                  <a:gd name="connsiteX3" fmla="*/ 3019 w 10067"/>
                  <a:gd name="connsiteY3" fmla="*/ 64932 h 64932"/>
                  <a:gd name="connsiteX4" fmla="*/ 5 w 10067"/>
                  <a:gd name="connsiteY4" fmla="*/ 54508 h 64932"/>
                  <a:gd name="connsiteX5" fmla="*/ 3521 w 10067"/>
                  <a:gd name="connsiteY5" fmla="*/ 28887 h 64932"/>
                  <a:gd name="connsiteX6" fmla="*/ 2391 w 10067"/>
                  <a:gd name="connsiteY6" fmla="*/ 0 h 64932"/>
                  <a:gd name="connsiteX7" fmla="*/ 9801 w 10067"/>
                  <a:gd name="connsiteY7" fmla="*/ 1758 h 6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67" h="64932">
                    <a:moveTo>
                      <a:pt x="9801" y="1758"/>
                    </a:moveTo>
                    <a:cubicBezTo>
                      <a:pt x="9801" y="1758"/>
                      <a:pt x="11308" y="13313"/>
                      <a:pt x="7164" y="31901"/>
                    </a:cubicBezTo>
                    <a:cubicBezTo>
                      <a:pt x="3145" y="50363"/>
                      <a:pt x="2140" y="52373"/>
                      <a:pt x="2767" y="59783"/>
                    </a:cubicBezTo>
                    <a:cubicBezTo>
                      <a:pt x="2893" y="61793"/>
                      <a:pt x="3270" y="63174"/>
                      <a:pt x="3019" y="64932"/>
                    </a:cubicBezTo>
                    <a:cubicBezTo>
                      <a:pt x="1386" y="61416"/>
                      <a:pt x="130" y="57774"/>
                      <a:pt x="5" y="54508"/>
                    </a:cubicBezTo>
                    <a:cubicBezTo>
                      <a:pt x="-121" y="45842"/>
                      <a:pt x="2265" y="37427"/>
                      <a:pt x="3521" y="28887"/>
                    </a:cubicBezTo>
                    <a:cubicBezTo>
                      <a:pt x="4902" y="19342"/>
                      <a:pt x="4652" y="9545"/>
                      <a:pt x="2391" y="0"/>
                    </a:cubicBezTo>
                    <a:cubicBezTo>
                      <a:pt x="6410" y="502"/>
                      <a:pt x="9801" y="1758"/>
                      <a:pt x="9801" y="1758"/>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5" name="Freeform: Shape 5484">
                <a:extLst>
                  <a:ext uri="{FF2B5EF4-FFF2-40B4-BE49-F238E27FC236}">
                    <a16:creationId xmlns:a16="http://schemas.microsoft.com/office/drawing/2014/main" id="{7A9FE55A-8BEF-4DAF-B1C4-B213067AEC86}"/>
                  </a:ext>
                </a:extLst>
              </p:cNvPr>
              <p:cNvSpPr/>
              <p:nvPr/>
            </p:nvSpPr>
            <p:spPr>
              <a:xfrm>
                <a:off x="11561507" y="2812168"/>
                <a:ext cx="54826" cy="35040"/>
              </a:xfrm>
              <a:custGeom>
                <a:avLst/>
                <a:gdLst>
                  <a:gd name="connsiteX0" fmla="*/ 52876 w 54826"/>
                  <a:gd name="connsiteY0" fmla="*/ 6908 h 35040"/>
                  <a:gd name="connsiteX1" fmla="*/ 53881 w 54826"/>
                  <a:gd name="connsiteY1" fmla="*/ 9545 h 35040"/>
                  <a:gd name="connsiteX2" fmla="*/ 54760 w 54826"/>
                  <a:gd name="connsiteY2" fmla="*/ 14569 h 35040"/>
                  <a:gd name="connsiteX3" fmla="*/ 54132 w 54826"/>
                  <a:gd name="connsiteY3" fmla="*/ 21477 h 35040"/>
                  <a:gd name="connsiteX4" fmla="*/ 41823 w 54826"/>
                  <a:gd name="connsiteY4" fmla="*/ 26501 h 35040"/>
                  <a:gd name="connsiteX5" fmla="*/ 36549 w 54826"/>
                  <a:gd name="connsiteY5" fmla="*/ 25998 h 35040"/>
                  <a:gd name="connsiteX6" fmla="*/ 34664 w 54826"/>
                  <a:gd name="connsiteY6" fmla="*/ 27757 h 35040"/>
                  <a:gd name="connsiteX7" fmla="*/ 29139 w 54826"/>
                  <a:gd name="connsiteY7" fmla="*/ 31524 h 35040"/>
                  <a:gd name="connsiteX8" fmla="*/ 20849 w 54826"/>
                  <a:gd name="connsiteY8" fmla="*/ 34413 h 35040"/>
                  <a:gd name="connsiteX9" fmla="*/ 9545 w 54826"/>
                  <a:gd name="connsiteY9" fmla="*/ 34915 h 35040"/>
                  <a:gd name="connsiteX10" fmla="*/ 7285 w 54826"/>
                  <a:gd name="connsiteY10" fmla="*/ 34664 h 35040"/>
                  <a:gd name="connsiteX11" fmla="*/ 754 w 54826"/>
                  <a:gd name="connsiteY11" fmla="*/ 29892 h 35040"/>
                  <a:gd name="connsiteX12" fmla="*/ 2261 w 54826"/>
                  <a:gd name="connsiteY12" fmla="*/ 21854 h 35040"/>
                  <a:gd name="connsiteX13" fmla="*/ 21351 w 54826"/>
                  <a:gd name="connsiteY13" fmla="*/ 11178 h 35040"/>
                  <a:gd name="connsiteX14" fmla="*/ 25999 w 54826"/>
                  <a:gd name="connsiteY14" fmla="*/ 0 h 35040"/>
                  <a:gd name="connsiteX15" fmla="*/ 35167 w 54826"/>
                  <a:gd name="connsiteY15" fmla="*/ 2512 h 35040"/>
                  <a:gd name="connsiteX16" fmla="*/ 42703 w 54826"/>
                  <a:gd name="connsiteY16" fmla="*/ 3893 h 35040"/>
                  <a:gd name="connsiteX17" fmla="*/ 50992 w 54826"/>
                  <a:gd name="connsiteY17" fmla="*/ 3768 h 35040"/>
                  <a:gd name="connsiteX18" fmla="*/ 51494 w 54826"/>
                  <a:gd name="connsiteY18" fmla="*/ 3893 h 35040"/>
                  <a:gd name="connsiteX19" fmla="*/ 51871 w 54826"/>
                  <a:gd name="connsiteY19" fmla="*/ 4396 h 35040"/>
                  <a:gd name="connsiteX20" fmla="*/ 52876 w 54826"/>
                  <a:gd name="connsiteY20" fmla="*/ 6908 h 3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826" h="35040">
                    <a:moveTo>
                      <a:pt x="52876" y="6908"/>
                    </a:moveTo>
                    <a:cubicBezTo>
                      <a:pt x="53253" y="7787"/>
                      <a:pt x="53503" y="8666"/>
                      <a:pt x="53881" y="9545"/>
                    </a:cubicBezTo>
                    <a:cubicBezTo>
                      <a:pt x="54508" y="11178"/>
                      <a:pt x="55011" y="12811"/>
                      <a:pt x="54760" y="14569"/>
                    </a:cubicBezTo>
                    <a:cubicBezTo>
                      <a:pt x="54132" y="18588"/>
                      <a:pt x="54132" y="21477"/>
                      <a:pt x="54132" y="21477"/>
                    </a:cubicBezTo>
                    <a:lnTo>
                      <a:pt x="41823" y="26501"/>
                    </a:lnTo>
                    <a:lnTo>
                      <a:pt x="36549" y="25998"/>
                    </a:lnTo>
                    <a:cubicBezTo>
                      <a:pt x="36297" y="25998"/>
                      <a:pt x="34790" y="27631"/>
                      <a:pt x="34664" y="27757"/>
                    </a:cubicBezTo>
                    <a:cubicBezTo>
                      <a:pt x="32907" y="29138"/>
                      <a:pt x="31148" y="30520"/>
                      <a:pt x="29139" y="31524"/>
                    </a:cubicBezTo>
                    <a:cubicBezTo>
                      <a:pt x="26501" y="32906"/>
                      <a:pt x="23738" y="33785"/>
                      <a:pt x="20849" y="34413"/>
                    </a:cubicBezTo>
                    <a:cubicBezTo>
                      <a:pt x="16956" y="35418"/>
                      <a:pt x="13564" y="34915"/>
                      <a:pt x="9545" y="34915"/>
                    </a:cubicBezTo>
                    <a:cubicBezTo>
                      <a:pt x="8792" y="34915"/>
                      <a:pt x="8038" y="34915"/>
                      <a:pt x="7285" y="34664"/>
                    </a:cubicBezTo>
                    <a:cubicBezTo>
                      <a:pt x="5150" y="34036"/>
                      <a:pt x="2010" y="31650"/>
                      <a:pt x="754" y="29892"/>
                    </a:cubicBezTo>
                    <a:cubicBezTo>
                      <a:pt x="-879" y="27254"/>
                      <a:pt x="377" y="23989"/>
                      <a:pt x="2261" y="21854"/>
                    </a:cubicBezTo>
                    <a:cubicBezTo>
                      <a:pt x="8667" y="14695"/>
                      <a:pt x="21351" y="11178"/>
                      <a:pt x="21351" y="11178"/>
                    </a:cubicBezTo>
                    <a:lnTo>
                      <a:pt x="25999" y="0"/>
                    </a:lnTo>
                    <a:cubicBezTo>
                      <a:pt x="25999" y="251"/>
                      <a:pt x="34664" y="2261"/>
                      <a:pt x="35167" y="2512"/>
                    </a:cubicBezTo>
                    <a:cubicBezTo>
                      <a:pt x="37553" y="3140"/>
                      <a:pt x="40316" y="4396"/>
                      <a:pt x="42703" y="3893"/>
                    </a:cubicBezTo>
                    <a:cubicBezTo>
                      <a:pt x="45466" y="3265"/>
                      <a:pt x="48354" y="3265"/>
                      <a:pt x="50992" y="3768"/>
                    </a:cubicBezTo>
                    <a:cubicBezTo>
                      <a:pt x="51118" y="3768"/>
                      <a:pt x="51369" y="3893"/>
                      <a:pt x="51494" y="3893"/>
                    </a:cubicBezTo>
                    <a:cubicBezTo>
                      <a:pt x="51620" y="4019"/>
                      <a:pt x="51746" y="4145"/>
                      <a:pt x="51871" y="4396"/>
                    </a:cubicBezTo>
                    <a:cubicBezTo>
                      <a:pt x="52248" y="5275"/>
                      <a:pt x="52499" y="6028"/>
                      <a:pt x="52876" y="6908"/>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6" name="Freeform: Shape 5485">
                <a:extLst>
                  <a:ext uri="{FF2B5EF4-FFF2-40B4-BE49-F238E27FC236}">
                    <a16:creationId xmlns:a16="http://schemas.microsoft.com/office/drawing/2014/main" id="{9F35FA63-B341-47D4-A685-705D911A4BBA}"/>
                  </a:ext>
                </a:extLst>
              </p:cNvPr>
              <p:cNvSpPr/>
              <p:nvPr/>
            </p:nvSpPr>
            <p:spPr>
              <a:xfrm>
                <a:off x="11563634" y="2813047"/>
                <a:ext cx="33272" cy="26249"/>
              </a:xfrm>
              <a:custGeom>
                <a:avLst/>
                <a:gdLst>
                  <a:gd name="connsiteX0" fmla="*/ 887 w 33272"/>
                  <a:gd name="connsiteY0" fmla="*/ 20221 h 26249"/>
                  <a:gd name="connsiteX1" fmla="*/ 2897 w 33272"/>
                  <a:gd name="connsiteY1" fmla="*/ 25747 h 26249"/>
                  <a:gd name="connsiteX2" fmla="*/ 6414 w 33272"/>
                  <a:gd name="connsiteY2" fmla="*/ 26249 h 26249"/>
                  <a:gd name="connsiteX3" fmla="*/ 14577 w 33272"/>
                  <a:gd name="connsiteY3" fmla="*/ 25244 h 26249"/>
                  <a:gd name="connsiteX4" fmla="*/ 20982 w 33272"/>
                  <a:gd name="connsiteY4" fmla="*/ 23486 h 26249"/>
                  <a:gd name="connsiteX5" fmla="*/ 26257 w 33272"/>
                  <a:gd name="connsiteY5" fmla="*/ 21225 h 26249"/>
                  <a:gd name="connsiteX6" fmla="*/ 29397 w 33272"/>
                  <a:gd name="connsiteY6" fmla="*/ 16076 h 26249"/>
                  <a:gd name="connsiteX7" fmla="*/ 32663 w 33272"/>
                  <a:gd name="connsiteY7" fmla="*/ 12057 h 26249"/>
                  <a:gd name="connsiteX8" fmla="*/ 32537 w 33272"/>
                  <a:gd name="connsiteY8" fmla="*/ 8289 h 26249"/>
                  <a:gd name="connsiteX9" fmla="*/ 23243 w 33272"/>
                  <a:gd name="connsiteY9" fmla="*/ 0 h 26249"/>
                  <a:gd name="connsiteX10" fmla="*/ 19099 w 33272"/>
                  <a:gd name="connsiteY10" fmla="*/ 10173 h 26249"/>
                  <a:gd name="connsiteX11" fmla="*/ 16587 w 33272"/>
                  <a:gd name="connsiteY11" fmla="*/ 10927 h 26249"/>
                  <a:gd name="connsiteX12" fmla="*/ 10809 w 33272"/>
                  <a:gd name="connsiteY12" fmla="*/ 13313 h 26249"/>
                  <a:gd name="connsiteX13" fmla="*/ 3902 w 33272"/>
                  <a:gd name="connsiteY13" fmla="*/ 17332 h 26249"/>
                  <a:gd name="connsiteX14" fmla="*/ 887 w 33272"/>
                  <a:gd name="connsiteY14" fmla="*/ 20221 h 2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272" h="26249">
                    <a:moveTo>
                      <a:pt x="887" y="20221"/>
                    </a:moveTo>
                    <a:cubicBezTo>
                      <a:pt x="-1247" y="22230"/>
                      <a:pt x="887" y="24742"/>
                      <a:pt x="2897" y="25747"/>
                    </a:cubicBezTo>
                    <a:cubicBezTo>
                      <a:pt x="4027" y="26249"/>
                      <a:pt x="5283" y="26249"/>
                      <a:pt x="6414" y="26249"/>
                    </a:cubicBezTo>
                    <a:cubicBezTo>
                      <a:pt x="9176" y="26249"/>
                      <a:pt x="11940" y="25872"/>
                      <a:pt x="14577" y="25244"/>
                    </a:cubicBezTo>
                    <a:cubicBezTo>
                      <a:pt x="16713" y="24742"/>
                      <a:pt x="18973" y="24365"/>
                      <a:pt x="20982" y="23486"/>
                    </a:cubicBezTo>
                    <a:cubicBezTo>
                      <a:pt x="22741" y="22733"/>
                      <a:pt x="24625" y="22356"/>
                      <a:pt x="26257" y="21225"/>
                    </a:cubicBezTo>
                    <a:cubicBezTo>
                      <a:pt x="28016" y="20095"/>
                      <a:pt x="28393" y="17834"/>
                      <a:pt x="29397" y="16076"/>
                    </a:cubicBezTo>
                    <a:cubicBezTo>
                      <a:pt x="30276" y="14569"/>
                      <a:pt x="31783" y="13564"/>
                      <a:pt x="32663" y="12057"/>
                    </a:cubicBezTo>
                    <a:cubicBezTo>
                      <a:pt x="33165" y="11178"/>
                      <a:pt x="33793" y="8792"/>
                      <a:pt x="32537" y="8289"/>
                    </a:cubicBezTo>
                    <a:cubicBezTo>
                      <a:pt x="28643" y="6782"/>
                      <a:pt x="26006" y="3014"/>
                      <a:pt x="23243" y="0"/>
                    </a:cubicBezTo>
                    <a:lnTo>
                      <a:pt x="19099" y="10173"/>
                    </a:lnTo>
                    <a:cubicBezTo>
                      <a:pt x="18973" y="10424"/>
                      <a:pt x="16963" y="10927"/>
                      <a:pt x="16587" y="10927"/>
                    </a:cubicBezTo>
                    <a:cubicBezTo>
                      <a:pt x="14577" y="11680"/>
                      <a:pt x="12693" y="12434"/>
                      <a:pt x="10809" y="13313"/>
                    </a:cubicBezTo>
                    <a:cubicBezTo>
                      <a:pt x="8423" y="14443"/>
                      <a:pt x="6037" y="15825"/>
                      <a:pt x="3902" y="17332"/>
                    </a:cubicBezTo>
                    <a:cubicBezTo>
                      <a:pt x="2897" y="18337"/>
                      <a:pt x="1892" y="19216"/>
                      <a:pt x="887" y="20221"/>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7" name="Freeform: Shape 5486">
                <a:extLst>
                  <a:ext uri="{FF2B5EF4-FFF2-40B4-BE49-F238E27FC236}">
                    <a16:creationId xmlns:a16="http://schemas.microsoft.com/office/drawing/2014/main" id="{ECC26079-FFC4-4B9D-BB30-E15B0FD85530}"/>
                  </a:ext>
                </a:extLst>
              </p:cNvPr>
              <p:cNvSpPr/>
              <p:nvPr/>
            </p:nvSpPr>
            <p:spPr>
              <a:xfrm>
                <a:off x="11637869" y="2850565"/>
                <a:ext cx="37121" cy="53085"/>
              </a:xfrm>
              <a:custGeom>
                <a:avLst/>
                <a:gdLst>
                  <a:gd name="connsiteX0" fmla="*/ 1005 w 37121"/>
                  <a:gd name="connsiteY0" fmla="*/ 33820 h 53085"/>
                  <a:gd name="connsiteX1" fmla="*/ 3391 w 37121"/>
                  <a:gd name="connsiteY1" fmla="*/ 27666 h 53085"/>
                  <a:gd name="connsiteX2" fmla="*/ 8415 w 37121"/>
                  <a:gd name="connsiteY2" fmla="*/ 16613 h 53085"/>
                  <a:gd name="connsiteX3" fmla="*/ 10550 w 37121"/>
                  <a:gd name="connsiteY3" fmla="*/ 2798 h 53085"/>
                  <a:gd name="connsiteX4" fmla="*/ 10802 w 37121"/>
                  <a:gd name="connsiteY4" fmla="*/ 1919 h 53085"/>
                  <a:gd name="connsiteX5" fmla="*/ 18337 w 37121"/>
                  <a:gd name="connsiteY5" fmla="*/ 35 h 53085"/>
                  <a:gd name="connsiteX6" fmla="*/ 25370 w 37121"/>
                  <a:gd name="connsiteY6" fmla="*/ 412 h 53085"/>
                  <a:gd name="connsiteX7" fmla="*/ 33911 w 37121"/>
                  <a:gd name="connsiteY7" fmla="*/ 2923 h 53085"/>
                  <a:gd name="connsiteX8" fmla="*/ 36925 w 37121"/>
                  <a:gd name="connsiteY8" fmla="*/ 11841 h 53085"/>
                  <a:gd name="connsiteX9" fmla="*/ 36171 w 37121"/>
                  <a:gd name="connsiteY9" fmla="*/ 17618 h 53085"/>
                  <a:gd name="connsiteX10" fmla="*/ 32781 w 37121"/>
                  <a:gd name="connsiteY10" fmla="*/ 25154 h 53085"/>
                  <a:gd name="connsiteX11" fmla="*/ 31776 w 37121"/>
                  <a:gd name="connsiteY11" fmla="*/ 25154 h 53085"/>
                  <a:gd name="connsiteX12" fmla="*/ 31022 w 37121"/>
                  <a:gd name="connsiteY12" fmla="*/ 30554 h 53085"/>
                  <a:gd name="connsiteX13" fmla="*/ 28636 w 37121"/>
                  <a:gd name="connsiteY13" fmla="*/ 38341 h 53085"/>
                  <a:gd name="connsiteX14" fmla="*/ 25119 w 37121"/>
                  <a:gd name="connsiteY14" fmla="*/ 43742 h 53085"/>
                  <a:gd name="connsiteX15" fmla="*/ 15072 w 37121"/>
                  <a:gd name="connsiteY15" fmla="*/ 52408 h 53085"/>
                  <a:gd name="connsiteX16" fmla="*/ 12435 w 37121"/>
                  <a:gd name="connsiteY16" fmla="*/ 53036 h 53085"/>
                  <a:gd name="connsiteX17" fmla="*/ 7913 w 37121"/>
                  <a:gd name="connsiteY17" fmla="*/ 52785 h 53085"/>
                  <a:gd name="connsiteX18" fmla="*/ 1507 w 37121"/>
                  <a:gd name="connsiteY18" fmla="*/ 49896 h 53085"/>
                  <a:gd name="connsiteX19" fmla="*/ 0 w 37121"/>
                  <a:gd name="connsiteY19" fmla="*/ 42486 h 53085"/>
                  <a:gd name="connsiteX20" fmla="*/ 1005 w 37121"/>
                  <a:gd name="connsiteY20" fmla="*/ 33820 h 5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121" h="53085">
                    <a:moveTo>
                      <a:pt x="1005" y="33820"/>
                    </a:moveTo>
                    <a:cubicBezTo>
                      <a:pt x="1633" y="31685"/>
                      <a:pt x="2512" y="29675"/>
                      <a:pt x="3391" y="27666"/>
                    </a:cubicBezTo>
                    <a:cubicBezTo>
                      <a:pt x="5024" y="24024"/>
                      <a:pt x="6783" y="20256"/>
                      <a:pt x="8415" y="16613"/>
                    </a:cubicBezTo>
                    <a:cubicBezTo>
                      <a:pt x="10299" y="12343"/>
                      <a:pt x="9922" y="7319"/>
                      <a:pt x="10550" y="2798"/>
                    </a:cubicBezTo>
                    <a:cubicBezTo>
                      <a:pt x="10550" y="2547"/>
                      <a:pt x="10676" y="2170"/>
                      <a:pt x="10802" y="1919"/>
                    </a:cubicBezTo>
                    <a:cubicBezTo>
                      <a:pt x="11806" y="35"/>
                      <a:pt x="16579" y="-91"/>
                      <a:pt x="18337" y="35"/>
                    </a:cubicBezTo>
                    <a:cubicBezTo>
                      <a:pt x="20723" y="35"/>
                      <a:pt x="22984" y="161"/>
                      <a:pt x="25370" y="412"/>
                    </a:cubicBezTo>
                    <a:cubicBezTo>
                      <a:pt x="28259" y="788"/>
                      <a:pt x="31274" y="1542"/>
                      <a:pt x="33911" y="2923"/>
                    </a:cubicBezTo>
                    <a:cubicBezTo>
                      <a:pt x="37804" y="4933"/>
                      <a:pt x="37176" y="8073"/>
                      <a:pt x="36925" y="11841"/>
                    </a:cubicBezTo>
                    <a:cubicBezTo>
                      <a:pt x="36799" y="13850"/>
                      <a:pt x="36674" y="15734"/>
                      <a:pt x="36171" y="17618"/>
                    </a:cubicBezTo>
                    <a:cubicBezTo>
                      <a:pt x="35418" y="20256"/>
                      <a:pt x="34288" y="22642"/>
                      <a:pt x="32781" y="25154"/>
                    </a:cubicBezTo>
                    <a:cubicBezTo>
                      <a:pt x="32404" y="25154"/>
                      <a:pt x="32152" y="25154"/>
                      <a:pt x="31776" y="25154"/>
                    </a:cubicBezTo>
                    <a:cubicBezTo>
                      <a:pt x="31902" y="25154"/>
                      <a:pt x="31148" y="30178"/>
                      <a:pt x="31022" y="30554"/>
                    </a:cubicBezTo>
                    <a:cubicBezTo>
                      <a:pt x="30645" y="33443"/>
                      <a:pt x="29892" y="35704"/>
                      <a:pt x="28636" y="38341"/>
                    </a:cubicBezTo>
                    <a:cubicBezTo>
                      <a:pt x="27631" y="40351"/>
                      <a:pt x="26501" y="41983"/>
                      <a:pt x="25119" y="43742"/>
                    </a:cubicBezTo>
                    <a:cubicBezTo>
                      <a:pt x="22482" y="47259"/>
                      <a:pt x="19342" y="50775"/>
                      <a:pt x="15072" y="52408"/>
                    </a:cubicBezTo>
                    <a:cubicBezTo>
                      <a:pt x="14192" y="52659"/>
                      <a:pt x="13313" y="52910"/>
                      <a:pt x="12435" y="53036"/>
                    </a:cubicBezTo>
                    <a:cubicBezTo>
                      <a:pt x="10927" y="53161"/>
                      <a:pt x="9420" y="53036"/>
                      <a:pt x="7913" y="52785"/>
                    </a:cubicBezTo>
                    <a:cubicBezTo>
                      <a:pt x="5778" y="52408"/>
                      <a:pt x="3015" y="51654"/>
                      <a:pt x="1507" y="49896"/>
                    </a:cubicBezTo>
                    <a:cubicBezTo>
                      <a:pt x="-125" y="47886"/>
                      <a:pt x="251" y="44998"/>
                      <a:pt x="0" y="42486"/>
                    </a:cubicBezTo>
                    <a:cubicBezTo>
                      <a:pt x="0" y="39723"/>
                      <a:pt x="251" y="36709"/>
                      <a:pt x="1005" y="3382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8" name="Freeform: Shape 5487">
                <a:extLst>
                  <a:ext uri="{FF2B5EF4-FFF2-40B4-BE49-F238E27FC236}">
                    <a16:creationId xmlns:a16="http://schemas.microsoft.com/office/drawing/2014/main" id="{C10CCF99-95C5-4268-B169-47E3CA5D9B21}"/>
                  </a:ext>
                </a:extLst>
              </p:cNvPr>
              <p:cNvSpPr/>
              <p:nvPr/>
            </p:nvSpPr>
            <p:spPr>
              <a:xfrm>
                <a:off x="11641198" y="2854996"/>
                <a:ext cx="25912" cy="41591"/>
              </a:xfrm>
              <a:custGeom>
                <a:avLst/>
                <a:gdLst>
                  <a:gd name="connsiteX0" fmla="*/ 16767 w 25912"/>
                  <a:gd name="connsiteY0" fmla="*/ 1382 h 41591"/>
                  <a:gd name="connsiteX1" fmla="*/ 11994 w 25912"/>
                  <a:gd name="connsiteY1" fmla="*/ 0 h 41591"/>
                  <a:gd name="connsiteX2" fmla="*/ 9356 w 25912"/>
                  <a:gd name="connsiteY2" fmla="*/ 2135 h 41591"/>
                  <a:gd name="connsiteX3" fmla="*/ 7598 w 25912"/>
                  <a:gd name="connsiteY3" fmla="*/ 10424 h 41591"/>
                  <a:gd name="connsiteX4" fmla="*/ 5966 w 25912"/>
                  <a:gd name="connsiteY4" fmla="*/ 17206 h 41591"/>
                  <a:gd name="connsiteX5" fmla="*/ 2071 w 25912"/>
                  <a:gd name="connsiteY5" fmla="*/ 26375 h 41591"/>
                  <a:gd name="connsiteX6" fmla="*/ 314 w 25912"/>
                  <a:gd name="connsiteY6" fmla="*/ 38181 h 41591"/>
                  <a:gd name="connsiteX7" fmla="*/ 690 w 25912"/>
                  <a:gd name="connsiteY7" fmla="*/ 39186 h 41591"/>
                  <a:gd name="connsiteX8" fmla="*/ 5588 w 25912"/>
                  <a:gd name="connsiteY8" fmla="*/ 41321 h 41591"/>
                  <a:gd name="connsiteX9" fmla="*/ 8603 w 25912"/>
                  <a:gd name="connsiteY9" fmla="*/ 41572 h 41591"/>
                  <a:gd name="connsiteX10" fmla="*/ 11617 w 25912"/>
                  <a:gd name="connsiteY10" fmla="*/ 41321 h 41591"/>
                  <a:gd name="connsiteX11" fmla="*/ 18525 w 25912"/>
                  <a:gd name="connsiteY11" fmla="*/ 33283 h 41591"/>
                  <a:gd name="connsiteX12" fmla="*/ 23172 w 25912"/>
                  <a:gd name="connsiteY12" fmla="*/ 23989 h 41591"/>
                  <a:gd name="connsiteX13" fmla="*/ 25307 w 25912"/>
                  <a:gd name="connsiteY13" fmla="*/ 14569 h 41591"/>
                  <a:gd name="connsiteX14" fmla="*/ 25433 w 25912"/>
                  <a:gd name="connsiteY14" fmla="*/ 6531 h 41591"/>
                  <a:gd name="connsiteX15" fmla="*/ 22293 w 25912"/>
                  <a:gd name="connsiteY15" fmla="*/ 3265 h 41591"/>
                  <a:gd name="connsiteX16" fmla="*/ 20157 w 25912"/>
                  <a:gd name="connsiteY16" fmla="*/ 2889 h 41591"/>
                  <a:gd name="connsiteX17" fmla="*/ 16767 w 25912"/>
                  <a:gd name="connsiteY17" fmla="*/ 1382 h 4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12" h="41591">
                    <a:moveTo>
                      <a:pt x="16767" y="1382"/>
                    </a:moveTo>
                    <a:cubicBezTo>
                      <a:pt x="15260" y="754"/>
                      <a:pt x="13627" y="0"/>
                      <a:pt x="11994" y="0"/>
                    </a:cubicBezTo>
                    <a:cubicBezTo>
                      <a:pt x="10487" y="126"/>
                      <a:pt x="9984" y="879"/>
                      <a:pt x="9356" y="2135"/>
                    </a:cubicBezTo>
                    <a:cubicBezTo>
                      <a:pt x="7975" y="4647"/>
                      <a:pt x="7849" y="7661"/>
                      <a:pt x="7598" y="10424"/>
                    </a:cubicBezTo>
                    <a:cubicBezTo>
                      <a:pt x="7347" y="12685"/>
                      <a:pt x="6593" y="14946"/>
                      <a:pt x="5966" y="17206"/>
                    </a:cubicBezTo>
                    <a:cubicBezTo>
                      <a:pt x="5086" y="20346"/>
                      <a:pt x="3076" y="23361"/>
                      <a:pt x="2071" y="26375"/>
                    </a:cubicBezTo>
                    <a:cubicBezTo>
                      <a:pt x="942" y="29891"/>
                      <a:pt x="-691" y="34539"/>
                      <a:pt x="314" y="38181"/>
                    </a:cubicBezTo>
                    <a:cubicBezTo>
                      <a:pt x="439" y="38558"/>
                      <a:pt x="564" y="38934"/>
                      <a:pt x="690" y="39186"/>
                    </a:cubicBezTo>
                    <a:cubicBezTo>
                      <a:pt x="1444" y="40316"/>
                      <a:pt x="4207" y="40944"/>
                      <a:pt x="5588" y="41321"/>
                    </a:cubicBezTo>
                    <a:cubicBezTo>
                      <a:pt x="6593" y="41572"/>
                      <a:pt x="7598" y="41572"/>
                      <a:pt x="8603" y="41572"/>
                    </a:cubicBezTo>
                    <a:cubicBezTo>
                      <a:pt x="9106" y="41572"/>
                      <a:pt x="11240" y="41697"/>
                      <a:pt x="11617" y="41321"/>
                    </a:cubicBezTo>
                    <a:cubicBezTo>
                      <a:pt x="14003" y="38809"/>
                      <a:pt x="16515" y="36171"/>
                      <a:pt x="18525" y="33283"/>
                    </a:cubicBezTo>
                    <a:cubicBezTo>
                      <a:pt x="20534" y="30394"/>
                      <a:pt x="21539" y="27129"/>
                      <a:pt x="23172" y="23989"/>
                    </a:cubicBezTo>
                    <a:cubicBezTo>
                      <a:pt x="24679" y="20974"/>
                      <a:pt x="24679" y="17834"/>
                      <a:pt x="25307" y="14569"/>
                    </a:cubicBezTo>
                    <a:cubicBezTo>
                      <a:pt x="25809" y="11931"/>
                      <a:pt x="26312" y="9294"/>
                      <a:pt x="25433" y="6531"/>
                    </a:cubicBezTo>
                    <a:cubicBezTo>
                      <a:pt x="24930" y="4898"/>
                      <a:pt x="23926" y="3768"/>
                      <a:pt x="22293" y="3265"/>
                    </a:cubicBezTo>
                    <a:cubicBezTo>
                      <a:pt x="21539" y="3014"/>
                      <a:pt x="20911" y="3140"/>
                      <a:pt x="20157" y="2889"/>
                    </a:cubicBezTo>
                    <a:cubicBezTo>
                      <a:pt x="18776" y="2512"/>
                      <a:pt x="17771" y="1758"/>
                      <a:pt x="16767" y="1382"/>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9" name="Freeform: Shape 5488">
                <a:extLst>
                  <a:ext uri="{FF2B5EF4-FFF2-40B4-BE49-F238E27FC236}">
                    <a16:creationId xmlns:a16="http://schemas.microsoft.com/office/drawing/2014/main" id="{EB0A5E39-91AD-4309-9D48-1CDE2BB1D831}"/>
                  </a:ext>
                </a:extLst>
              </p:cNvPr>
              <p:cNvSpPr/>
              <p:nvPr/>
            </p:nvSpPr>
            <p:spPr>
              <a:xfrm>
                <a:off x="11573546" y="2669869"/>
                <a:ext cx="44202" cy="150211"/>
              </a:xfrm>
              <a:custGeom>
                <a:avLst/>
                <a:gdLst>
                  <a:gd name="connsiteX0" fmla="*/ 31041 w 44202"/>
                  <a:gd name="connsiteY0" fmla="*/ 29766 h 150211"/>
                  <a:gd name="connsiteX1" fmla="*/ 41214 w 44202"/>
                  <a:gd name="connsiteY1" fmla="*/ 70082 h 150211"/>
                  <a:gd name="connsiteX2" fmla="*/ 43349 w 44202"/>
                  <a:gd name="connsiteY2" fmla="*/ 96582 h 150211"/>
                  <a:gd name="connsiteX3" fmla="*/ 39957 w 44202"/>
                  <a:gd name="connsiteY3" fmla="*/ 148202 h 150211"/>
                  <a:gd name="connsiteX4" fmla="*/ 20867 w 44202"/>
                  <a:gd name="connsiteY4" fmla="*/ 148202 h 150211"/>
                  <a:gd name="connsiteX5" fmla="*/ 12452 w 44202"/>
                  <a:gd name="connsiteY5" fmla="*/ 143680 h 150211"/>
                  <a:gd name="connsiteX6" fmla="*/ 13081 w 44202"/>
                  <a:gd name="connsiteY6" fmla="*/ 120571 h 150211"/>
                  <a:gd name="connsiteX7" fmla="*/ 13960 w 44202"/>
                  <a:gd name="connsiteY7" fmla="*/ 96834 h 150211"/>
                  <a:gd name="connsiteX8" fmla="*/ 10820 w 44202"/>
                  <a:gd name="connsiteY8" fmla="*/ 81511 h 150211"/>
                  <a:gd name="connsiteX9" fmla="*/ 1023 w 44202"/>
                  <a:gd name="connsiteY9" fmla="*/ 46973 h 150211"/>
                  <a:gd name="connsiteX10" fmla="*/ 2279 w 44202"/>
                  <a:gd name="connsiteY10" fmla="*/ 0 h 150211"/>
                  <a:gd name="connsiteX11" fmla="*/ 31041 w 44202"/>
                  <a:gd name="connsiteY11" fmla="*/ 29766 h 15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202" h="150211">
                    <a:moveTo>
                      <a:pt x="31041" y="29766"/>
                    </a:moveTo>
                    <a:cubicBezTo>
                      <a:pt x="31041" y="29766"/>
                      <a:pt x="42721" y="52624"/>
                      <a:pt x="41214" y="70082"/>
                    </a:cubicBezTo>
                    <a:cubicBezTo>
                      <a:pt x="39707" y="87414"/>
                      <a:pt x="40083" y="89172"/>
                      <a:pt x="43349" y="96582"/>
                    </a:cubicBezTo>
                    <a:cubicBezTo>
                      <a:pt x="46489" y="103992"/>
                      <a:pt x="39957" y="148202"/>
                      <a:pt x="39957" y="148202"/>
                    </a:cubicBezTo>
                    <a:cubicBezTo>
                      <a:pt x="39957" y="148202"/>
                      <a:pt x="29156" y="152723"/>
                      <a:pt x="20867" y="148202"/>
                    </a:cubicBezTo>
                    <a:cubicBezTo>
                      <a:pt x="12452" y="143680"/>
                      <a:pt x="12452" y="143680"/>
                      <a:pt x="12452" y="143680"/>
                    </a:cubicBezTo>
                    <a:cubicBezTo>
                      <a:pt x="12703" y="136019"/>
                      <a:pt x="12829" y="128358"/>
                      <a:pt x="13081" y="120571"/>
                    </a:cubicBezTo>
                    <a:cubicBezTo>
                      <a:pt x="13331" y="112659"/>
                      <a:pt x="13960" y="104746"/>
                      <a:pt x="13960" y="96834"/>
                    </a:cubicBezTo>
                    <a:cubicBezTo>
                      <a:pt x="13960" y="90931"/>
                      <a:pt x="13331" y="86660"/>
                      <a:pt x="10820" y="81511"/>
                    </a:cubicBezTo>
                    <a:cubicBezTo>
                      <a:pt x="5670" y="70710"/>
                      <a:pt x="2405" y="58904"/>
                      <a:pt x="1023" y="46973"/>
                    </a:cubicBezTo>
                    <a:cubicBezTo>
                      <a:pt x="-1865" y="22607"/>
                      <a:pt x="2279" y="0"/>
                      <a:pt x="2279" y="0"/>
                    </a:cubicBezTo>
                    <a:lnTo>
                      <a:pt x="31041" y="29766"/>
                    </a:ln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0" name="Freeform: Shape 5489">
                <a:extLst>
                  <a:ext uri="{FF2B5EF4-FFF2-40B4-BE49-F238E27FC236}">
                    <a16:creationId xmlns:a16="http://schemas.microsoft.com/office/drawing/2014/main" id="{3214D2B5-BAD1-47C9-834B-5296F580495F}"/>
                  </a:ext>
                </a:extLst>
              </p:cNvPr>
              <p:cNvSpPr/>
              <p:nvPr/>
            </p:nvSpPr>
            <p:spPr>
              <a:xfrm>
                <a:off x="11573672" y="2669869"/>
                <a:ext cx="36672" cy="150462"/>
              </a:xfrm>
              <a:custGeom>
                <a:avLst/>
                <a:gdLst>
                  <a:gd name="connsiteX0" fmla="*/ 2279 w 36672"/>
                  <a:gd name="connsiteY0" fmla="*/ 0 h 150462"/>
                  <a:gd name="connsiteX1" fmla="*/ 8433 w 36672"/>
                  <a:gd name="connsiteY1" fmla="*/ 6405 h 150462"/>
                  <a:gd name="connsiteX2" fmla="*/ 20992 w 36672"/>
                  <a:gd name="connsiteY2" fmla="*/ 22858 h 150462"/>
                  <a:gd name="connsiteX3" fmla="*/ 31166 w 36672"/>
                  <a:gd name="connsiteY3" fmla="*/ 30645 h 150462"/>
                  <a:gd name="connsiteX4" fmla="*/ 31794 w 36672"/>
                  <a:gd name="connsiteY4" fmla="*/ 31524 h 150462"/>
                  <a:gd name="connsiteX5" fmla="*/ 34808 w 36672"/>
                  <a:gd name="connsiteY5" fmla="*/ 38432 h 150462"/>
                  <a:gd name="connsiteX6" fmla="*/ 31794 w 36672"/>
                  <a:gd name="connsiteY6" fmla="*/ 53629 h 150462"/>
                  <a:gd name="connsiteX7" fmla="*/ 31919 w 36672"/>
                  <a:gd name="connsiteY7" fmla="*/ 61918 h 150462"/>
                  <a:gd name="connsiteX8" fmla="*/ 32548 w 36672"/>
                  <a:gd name="connsiteY8" fmla="*/ 72971 h 150462"/>
                  <a:gd name="connsiteX9" fmla="*/ 33427 w 36672"/>
                  <a:gd name="connsiteY9" fmla="*/ 83395 h 150462"/>
                  <a:gd name="connsiteX10" fmla="*/ 34305 w 36672"/>
                  <a:gd name="connsiteY10" fmla="*/ 88670 h 150462"/>
                  <a:gd name="connsiteX11" fmla="*/ 32673 w 36672"/>
                  <a:gd name="connsiteY11" fmla="*/ 91684 h 150462"/>
                  <a:gd name="connsiteX12" fmla="*/ 22499 w 36672"/>
                  <a:gd name="connsiteY12" fmla="*/ 91559 h 150462"/>
                  <a:gd name="connsiteX13" fmla="*/ 24007 w 36672"/>
                  <a:gd name="connsiteY13" fmla="*/ 92061 h 150462"/>
                  <a:gd name="connsiteX14" fmla="*/ 34683 w 36672"/>
                  <a:gd name="connsiteY14" fmla="*/ 97838 h 150462"/>
                  <a:gd name="connsiteX15" fmla="*/ 36441 w 36672"/>
                  <a:gd name="connsiteY15" fmla="*/ 108388 h 150462"/>
                  <a:gd name="connsiteX16" fmla="*/ 35436 w 36672"/>
                  <a:gd name="connsiteY16" fmla="*/ 121450 h 150462"/>
                  <a:gd name="connsiteX17" fmla="*/ 30036 w 36672"/>
                  <a:gd name="connsiteY17" fmla="*/ 147323 h 150462"/>
                  <a:gd name="connsiteX18" fmla="*/ 29031 w 36672"/>
                  <a:gd name="connsiteY18" fmla="*/ 150463 h 150462"/>
                  <a:gd name="connsiteX19" fmla="*/ 20867 w 36672"/>
                  <a:gd name="connsiteY19" fmla="*/ 148453 h 150462"/>
                  <a:gd name="connsiteX20" fmla="*/ 12452 w 36672"/>
                  <a:gd name="connsiteY20" fmla="*/ 143932 h 150462"/>
                  <a:gd name="connsiteX21" fmla="*/ 13080 w 36672"/>
                  <a:gd name="connsiteY21" fmla="*/ 120822 h 150462"/>
                  <a:gd name="connsiteX22" fmla="*/ 13959 w 36672"/>
                  <a:gd name="connsiteY22" fmla="*/ 97085 h 150462"/>
                  <a:gd name="connsiteX23" fmla="*/ 10819 w 36672"/>
                  <a:gd name="connsiteY23" fmla="*/ 81762 h 150462"/>
                  <a:gd name="connsiteX24" fmla="*/ 1023 w 36672"/>
                  <a:gd name="connsiteY24" fmla="*/ 47224 h 150462"/>
                  <a:gd name="connsiteX25" fmla="*/ 2279 w 36672"/>
                  <a:gd name="connsiteY25" fmla="*/ 0 h 15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672" h="150462">
                    <a:moveTo>
                      <a:pt x="2279" y="0"/>
                    </a:moveTo>
                    <a:lnTo>
                      <a:pt x="8433" y="6405"/>
                    </a:lnTo>
                    <a:cubicBezTo>
                      <a:pt x="12452" y="11932"/>
                      <a:pt x="15843" y="18337"/>
                      <a:pt x="20992" y="22858"/>
                    </a:cubicBezTo>
                    <a:cubicBezTo>
                      <a:pt x="24258" y="25621"/>
                      <a:pt x="28026" y="27631"/>
                      <a:pt x="31166" y="30645"/>
                    </a:cubicBezTo>
                    <a:cubicBezTo>
                      <a:pt x="31417" y="30896"/>
                      <a:pt x="31543" y="31148"/>
                      <a:pt x="31794" y="31524"/>
                    </a:cubicBezTo>
                    <a:cubicBezTo>
                      <a:pt x="32422" y="33031"/>
                      <a:pt x="33552" y="35418"/>
                      <a:pt x="34808" y="38432"/>
                    </a:cubicBezTo>
                    <a:cubicBezTo>
                      <a:pt x="35185" y="43707"/>
                      <a:pt x="32171" y="48354"/>
                      <a:pt x="31794" y="53629"/>
                    </a:cubicBezTo>
                    <a:cubicBezTo>
                      <a:pt x="31543" y="56392"/>
                      <a:pt x="31668" y="59155"/>
                      <a:pt x="31919" y="61918"/>
                    </a:cubicBezTo>
                    <a:cubicBezTo>
                      <a:pt x="32171" y="65560"/>
                      <a:pt x="32296" y="69328"/>
                      <a:pt x="32548" y="72971"/>
                    </a:cubicBezTo>
                    <a:cubicBezTo>
                      <a:pt x="32798" y="76487"/>
                      <a:pt x="32924" y="79878"/>
                      <a:pt x="33427" y="83395"/>
                    </a:cubicBezTo>
                    <a:cubicBezTo>
                      <a:pt x="33678" y="85153"/>
                      <a:pt x="33929" y="86912"/>
                      <a:pt x="34305" y="88670"/>
                    </a:cubicBezTo>
                    <a:cubicBezTo>
                      <a:pt x="34683" y="90679"/>
                      <a:pt x="34808" y="91182"/>
                      <a:pt x="32673" y="91684"/>
                    </a:cubicBezTo>
                    <a:cubicBezTo>
                      <a:pt x="29282" y="92563"/>
                      <a:pt x="25765" y="92563"/>
                      <a:pt x="22499" y="91559"/>
                    </a:cubicBezTo>
                    <a:cubicBezTo>
                      <a:pt x="23002" y="91559"/>
                      <a:pt x="23504" y="91810"/>
                      <a:pt x="24007" y="92061"/>
                    </a:cubicBezTo>
                    <a:cubicBezTo>
                      <a:pt x="27649" y="93945"/>
                      <a:pt x="31166" y="95829"/>
                      <a:pt x="34683" y="97838"/>
                    </a:cubicBezTo>
                    <a:cubicBezTo>
                      <a:pt x="37445" y="99346"/>
                      <a:pt x="36567" y="105625"/>
                      <a:pt x="36441" y="108388"/>
                    </a:cubicBezTo>
                    <a:cubicBezTo>
                      <a:pt x="36441" y="112784"/>
                      <a:pt x="36064" y="117054"/>
                      <a:pt x="35436" y="121450"/>
                    </a:cubicBezTo>
                    <a:cubicBezTo>
                      <a:pt x="34180" y="130116"/>
                      <a:pt x="32171" y="138782"/>
                      <a:pt x="30036" y="147323"/>
                    </a:cubicBezTo>
                    <a:cubicBezTo>
                      <a:pt x="29784" y="148327"/>
                      <a:pt x="29534" y="149458"/>
                      <a:pt x="29031" y="150463"/>
                    </a:cubicBezTo>
                    <a:cubicBezTo>
                      <a:pt x="26394" y="150463"/>
                      <a:pt x="23504" y="149960"/>
                      <a:pt x="20867" y="148453"/>
                    </a:cubicBezTo>
                    <a:cubicBezTo>
                      <a:pt x="12452" y="143932"/>
                      <a:pt x="12452" y="143932"/>
                      <a:pt x="12452" y="143932"/>
                    </a:cubicBezTo>
                    <a:cubicBezTo>
                      <a:pt x="12703" y="136270"/>
                      <a:pt x="12829" y="128609"/>
                      <a:pt x="13080" y="120822"/>
                    </a:cubicBezTo>
                    <a:cubicBezTo>
                      <a:pt x="13331" y="112910"/>
                      <a:pt x="13959" y="104997"/>
                      <a:pt x="13959" y="97085"/>
                    </a:cubicBezTo>
                    <a:cubicBezTo>
                      <a:pt x="13959" y="91182"/>
                      <a:pt x="13331" y="86912"/>
                      <a:pt x="10819" y="81762"/>
                    </a:cubicBezTo>
                    <a:cubicBezTo>
                      <a:pt x="5670" y="70961"/>
                      <a:pt x="2405" y="59155"/>
                      <a:pt x="1023" y="47224"/>
                    </a:cubicBezTo>
                    <a:cubicBezTo>
                      <a:pt x="-1865" y="22607"/>
                      <a:pt x="2279" y="0"/>
                      <a:pt x="2279" y="0"/>
                    </a:cubicBezTo>
                    <a:close/>
                  </a:path>
                </a:pathLst>
              </a:custGeom>
              <a:solidFill>
                <a:srgbClr val="47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1" name="Freeform: Shape 5490">
                <a:extLst>
                  <a:ext uri="{FF2B5EF4-FFF2-40B4-BE49-F238E27FC236}">
                    <a16:creationId xmlns:a16="http://schemas.microsoft.com/office/drawing/2014/main" id="{3F507969-DE8E-43BD-B7D8-D20C0A88A71F}"/>
                  </a:ext>
                </a:extLst>
              </p:cNvPr>
              <p:cNvSpPr/>
              <p:nvPr/>
            </p:nvSpPr>
            <p:spPr>
              <a:xfrm>
                <a:off x="11574655" y="2656305"/>
                <a:ext cx="101653" cy="206340"/>
              </a:xfrm>
              <a:custGeom>
                <a:avLst/>
                <a:gdLst>
                  <a:gd name="connsiteX0" fmla="*/ 100641 w 101653"/>
                  <a:gd name="connsiteY0" fmla="*/ 200952 h 206340"/>
                  <a:gd name="connsiteX1" fmla="*/ 97752 w 101653"/>
                  <a:gd name="connsiteY1" fmla="*/ 138908 h 206340"/>
                  <a:gd name="connsiteX2" fmla="*/ 88082 w 101653"/>
                  <a:gd name="connsiteY2" fmla="*/ 111277 h 206340"/>
                  <a:gd name="connsiteX3" fmla="*/ 75522 w 101653"/>
                  <a:gd name="connsiteY3" fmla="*/ 65937 h 206340"/>
                  <a:gd name="connsiteX4" fmla="*/ 74392 w 101653"/>
                  <a:gd name="connsiteY4" fmla="*/ 34162 h 206340"/>
                  <a:gd name="connsiteX5" fmla="*/ 63842 w 101653"/>
                  <a:gd name="connsiteY5" fmla="*/ 16327 h 206340"/>
                  <a:gd name="connsiteX6" fmla="*/ 26289 w 101653"/>
                  <a:gd name="connsiteY6" fmla="*/ 14192 h 206340"/>
                  <a:gd name="connsiteX7" fmla="*/ 1295 w 101653"/>
                  <a:gd name="connsiteY7" fmla="*/ 0 h 206340"/>
                  <a:gd name="connsiteX8" fmla="*/ 7952 w 101653"/>
                  <a:gd name="connsiteY8" fmla="*/ 43833 h 206340"/>
                  <a:gd name="connsiteX9" fmla="*/ 31438 w 101653"/>
                  <a:gd name="connsiteY9" fmla="*/ 63928 h 206340"/>
                  <a:gd name="connsiteX10" fmla="*/ 53920 w 101653"/>
                  <a:gd name="connsiteY10" fmla="*/ 120068 h 206340"/>
                  <a:gd name="connsiteX11" fmla="*/ 67358 w 101653"/>
                  <a:gd name="connsiteY11" fmla="*/ 142048 h 206340"/>
                  <a:gd name="connsiteX12" fmla="*/ 70247 w 101653"/>
                  <a:gd name="connsiteY12" fmla="*/ 168423 h 206340"/>
                  <a:gd name="connsiteX13" fmla="*/ 72257 w 101653"/>
                  <a:gd name="connsiteY13" fmla="*/ 199821 h 206340"/>
                  <a:gd name="connsiteX14" fmla="*/ 100641 w 101653"/>
                  <a:gd name="connsiteY14" fmla="*/ 200952 h 20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653" h="206340">
                    <a:moveTo>
                      <a:pt x="100641" y="200952"/>
                    </a:moveTo>
                    <a:cubicBezTo>
                      <a:pt x="100641" y="200952"/>
                      <a:pt x="104283" y="152598"/>
                      <a:pt x="97752" y="138908"/>
                    </a:cubicBezTo>
                    <a:cubicBezTo>
                      <a:pt x="91222" y="125218"/>
                      <a:pt x="87830" y="120571"/>
                      <a:pt x="88082" y="111277"/>
                    </a:cubicBezTo>
                    <a:cubicBezTo>
                      <a:pt x="88332" y="101983"/>
                      <a:pt x="75522" y="65937"/>
                      <a:pt x="75522" y="65937"/>
                    </a:cubicBezTo>
                    <a:cubicBezTo>
                      <a:pt x="75522" y="65937"/>
                      <a:pt x="80797" y="48856"/>
                      <a:pt x="74392" y="34162"/>
                    </a:cubicBezTo>
                    <a:cubicBezTo>
                      <a:pt x="67986" y="19342"/>
                      <a:pt x="63842" y="16327"/>
                      <a:pt x="63842" y="16327"/>
                    </a:cubicBezTo>
                    <a:cubicBezTo>
                      <a:pt x="63842" y="16327"/>
                      <a:pt x="52161" y="24617"/>
                      <a:pt x="26289" y="14192"/>
                    </a:cubicBezTo>
                    <a:cubicBezTo>
                      <a:pt x="416" y="3768"/>
                      <a:pt x="1295" y="0"/>
                      <a:pt x="1295" y="0"/>
                    </a:cubicBezTo>
                    <a:cubicBezTo>
                      <a:pt x="1295" y="0"/>
                      <a:pt x="-4357" y="26877"/>
                      <a:pt x="7952" y="43833"/>
                    </a:cubicBezTo>
                    <a:cubicBezTo>
                      <a:pt x="20134" y="60788"/>
                      <a:pt x="31438" y="63928"/>
                      <a:pt x="31438" y="63928"/>
                    </a:cubicBezTo>
                    <a:cubicBezTo>
                      <a:pt x="31438" y="63928"/>
                      <a:pt x="43244" y="104369"/>
                      <a:pt x="53920" y="120068"/>
                    </a:cubicBezTo>
                    <a:cubicBezTo>
                      <a:pt x="58692" y="126976"/>
                      <a:pt x="64720" y="134010"/>
                      <a:pt x="67358" y="142048"/>
                    </a:cubicBezTo>
                    <a:cubicBezTo>
                      <a:pt x="70122" y="150588"/>
                      <a:pt x="69745" y="159631"/>
                      <a:pt x="70247" y="168423"/>
                    </a:cubicBezTo>
                    <a:cubicBezTo>
                      <a:pt x="70875" y="178847"/>
                      <a:pt x="71503" y="189397"/>
                      <a:pt x="72257" y="199821"/>
                    </a:cubicBezTo>
                    <a:cubicBezTo>
                      <a:pt x="72257" y="199696"/>
                      <a:pt x="83058" y="213762"/>
                      <a:pt x="100641" y="200952"/>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2" name="Freeform: Shape 5491">
                <a:extLst>
                  <a:ext uri="{FF2B5EF4-FFF2-40B4-BE49-F238E27FC236}">
                    <a16:creationId xmlns:a16="http://schemas.microsoft.com/office/drawing/2014/main" id="{5FECBA6D-97A0-4A6F-A1CE-874562326AF2}"/>
                  </a:ext>
                </a:extLst>
              </p:cNvPr>
              <p:cNvSpPr/>
              <p:nvPr/>
            </p:nvSpPr>
            <p:spPr>
              <a:xfrm>
                <a:off x="11630208" y="2672507"/>
                <a:ext cx="46352" cy="188517"/>
              </a:xfrm>
              <a:custGeom>
                <a:avLst/>
                <a:gdLst>
                  <a:gd name="connsiteX0" fmla="*/ 6028 w 46352"/>
                  <a:gd name="connsiteY0" fmla="*/ 12559 h 188517"/>
                  <a:gd name="connsiteX1" fmla="*/ 0 w 46352"/>
                  <a:gd name="connsiteY1" fmla="*/ 2763 h 188517"/>
                  <a:gd name="connsiteX2" fmla="*/ 8540 w 46352"/>
                  <a:gd name="connsiteY2" fmla="*/ 0 h 188517"/>
                  <a:gd name="connsiteX3" fmla="*/ 19091 w 46352"/>
                  <a:gd name="connsiteY3" fmla="*/ 17835 h 188517"/>
                  <a:gd name="connsiteX4" fmla="*/ 20221 w 46352"/>
                  <a:gd name="connsiteY4" fmla="*/ 49610 h 188517"/>
                  <a:gd name="connsiteX5" fmla="*/ 32780 w 46352"/>
                  <a:gd name="connsiteY5" fmla="*/ 94950 h 188517"/>
                  <a:gd name="connsiteX6" fmla="*/ 42451 w 46352"/>
                  <a:gd name="connsiteY6" fmla="*/ 122581 h 188517"/>
                  <a:gd name="connsiteX7" fmla="*/ 45340 w 46352"/>
                  <a:gd name="connsiteY7" fmla="*/ 184624 h 188517"/>
                  <a:gd name="connsiteX8" fmla="*/ 38306 w 46352"/>
                  <a:gd name="connsiteY8" fmla="*/ 188518 h 188517"/>
                  <a:gd name="connsiteX9" fmla="*/ 39939 w 46352"/>
                  <a:gd name="connsiteY9" fmla="*/ 176084 h 188517"/>
                  <a:gd name="connsiteX10" fmla="*/ 41070 w 46352"/>
                  <a:gd name="connsiteY10" fmla="*/ 157119 h 188517"/>
                  <a:gd name="connsiteX11" fmla="*/ 33534 w 46352"/>
                  <a:gd name="connsiteY11" fmla="*/ 121073 h 188517"/>
                  <a:gd name="connsiteX12" fmla="*/ 27003 w 46352"/>
                  <a:gd name="connsiteY12" fmla="*/ 104621 h 188517"/>
                  <a:gd name="connsiteX13" fmla="*/ 23236 w 46352"/>
                  <a:gd name="connsiteY13" fmla="*/ 94573 h 188517"/>
                  <a:gd name="connsiteX14" fmla="*/ 15072 w 46352"/>
                  <a:gd name="connsiteY14" fmla="*/ 57899 h 188517"/>
                  <a:gd name="connsiteX15" fmla="*/ 11304 w 46352"/>
                  <a:gd name="connsiteY15" fmla="*/ 45717 h 188517"/>
                  <a:gd name="connsiteX16" fmla="*/ 6028 w 46352"/>
                  <a:gd name="connsiteY16" fmla="*/ 12559 h 18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352" h="188517">
                    <a:moveTo>
                      <a:pt x="6028" y="12559"/>
                    </a:moveTo>
                    <a:cubicBezTo>
                      <a:pt x="5526" y="11304"/>
                      <a:pt x="628" y="2763"/>
                      <a:pt x="0" y="2763"/>
                    </a:cubicBezTo>
                    <a:cubicBezTo>
                      <a:pt x="5778" y="1884"/>
                      <a:pt x="8540" y="0"/>
                      <a:pt x="8540" y="0"/>
                    </a:cubicBezTo>
                    <a:cubicBezTo>
                      <a:pt x="8540" y="0"/>
                      <a:pt x="12685" y="3140"/>
                      <a:pt x="19091" y="17835"/>
                    </a:cubicBezTo>
                    <a:cubicBezTo>
                      <a:pt x="25496" y="32655"/>
                      <a:pt x="20221" y="49610"/>
                      <a:pt x="20221" y="49610"/>
                    </a:cubicBezTo>
                    <a:cubicBezTo>
                      <a:pt x="20221" y="49610"/>
                      <a:pt x="33031" y="85656"/>
                      <a:pt x="32780" y="94950"/>
                    </a:cubicBezTo>
                    <a:cubicBezTo>
                      <a:pt x="32529" y="104244"/>
                      <a:pt x="35920" y="108891"/>
                      <a:pt x="42451" y="122581"/>
                    </a:cubicBezTo>
                    <a:cubicBezTo>
                      <a:pt x="48982" y="136270"/>
                      <a:pt x="45340" y="184624"/>
                      <a:pt x="45340" y="184624"/>
                    </a:cubicBezTo>
                    <a:cubicBezTo>
                      <a:pt x="42828" y="186383"/>
                      <a:pt x="40567" y="187639"/>
                      <a:pt x="38306" y="188518"/>
                    </a:cubicBezTo>
                    <a:cubicBezTo>
                      <a:pt x="37930" y="184499"/>
                      <a:pt x="39688" y="178973"/>
                      <a:pt x="39939" y="176084"/>
                    </a:cubicBezTo>
                    <a:cubicBezTo>
                      <a:pt x="40567" y="169804"/>
                      <a:pt x="41070" y="163399"/>
                      <a:pt x="41070" y="157119"/>
                    </a:cubicBezTo>
                    <a:cubicBezTo>
                      <a:pt x="41070" y="144685"/>
                      <a:pt x="39186" y="132126"/>
                      <a:pt x="33534" y="121073"/>
                    </a:cubicBezTo>
                    <a:cubicBezTo>
                      <a:pt x="30897" y="115924"/>
                      <a:pt x="29264" y="110147"/>
                      <a:pt x="27003" y="104621"/>
                    </a:cubicBezTo>
                    <a:cubicBezTo>
                      <a:pt x="25621" y="101355"/>
                      <a:pt x="24365" y="97964"/>
                      <a:pt x="23236" y="94573"/>
                    </a:cubicBezTo>
                    <a:cubicBezTo>
                      <a:pt x="19593" y="82516"/>
                      <a:pt x="19593" y="69705"/>
                      <a:pt x="15072" y="57899"/>
                    </a:cubicBezTo>
                    <a:cubicBezTo>
                      <a:pt x="13564" y="53880"/>
                      <a:pt x="12057" y="49861"/>
                      <a:pt x="11304" y="45717"/>
                    </a:cubicBezTo>
                    <a:cubicBezTo>
                      <a:pt x="9294" y="34664"/>
                      <a:pt x="10801" y="23109"/>
                      <a:pt x="6028" y="12559"/>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3" name="Freeform: Shape 5492">
                <a:extLst>
                  <a:ext uri="{FF2B5EF4-FFF2-40B4-BE49-F238E27FC236}">
                    <a16:creationId xmlns:a16="http://schemas.microsoft.com/office/drawing/2014/main" id="{9EFAE965-8521-4309-A5E7-E1316C2BF710}"/>
                  </a:ext>
                </a:extLst>
              </p:cNvPr>
              <p:cNvSpPr/>
              <p:nvPr/>
            </p:nvSpPr>
            <p:spPr>
              <a:xfrm>
                <a:off x="11529230" y="2543713"/>
                <a:ext cx="62555" cy="109703"/>
              </a:xfrm>
              <a:custGeom>
                <a:avLst/>
                <a:gdLst>
                  <a:gd name="connsiteX0" fmla="*/ 59280 w 62555"/>
                  <a:gd name="connsiteY0" fmla="*/ 938 h 109703"/>
                  <a:gd name="connsiteX1" fmla="*/ 44460 w 62555"/>
                  <a:gd name="connsiteY1" fmla="*/ 3325 h 109703"/>
                  <a:gd name="connsiteX2" fmla="*/ 37301 w 62555"/>
                  <a:gd name="connsiteY2" fmla="*/ 24927 h 109703"/>
                  <a:gd name="connsiteX3" fmla="*/ 33785 w 62555"/>
                  <a:gd name="connsiteY3" fmla="*/ 58838 h 109703"/>
                  <a:gd name="connsiteX4" fmla="*/ 29012 w 62555"/>
                  <a:gd name="connsiteY4" fmla="*/ 66248 h 109703"/>
                  <a:gd name="connsiteX5" fmla="*/ 24868 w 62555"/>
                  <a:gd name="connsiteY5" fmla="*/ 71648 h 109703"/>
                  <a:gd name="connsiteX6" fmla="*/ 13564 w 62555"/>
                  <a:gd name="connsiteY6" fmla="*/ 84836 h 109703"/>
                  <a:gd name="connsiteX7" fmla="*/ 0 w 62555"/>
                  <a:gd name="connsiteY7" fmla="*/ 97144 h 109703"/>
                  <a:gd name="connsiteX8" fmla="*/ 4647 w 62555"/>
                  <a:gd name="connsiteY8" fmla="*/ 98149 h 109703"/>
                  <a:gd name="connsiteX9" fmla="*/ 8289 w 62555"/>
                  <a:gd name="connsiteY9" fmla="*/ 100410 h 109703"/>
                  <a:gd name="connsiteX10" fmla="*/ 11178 w 62555"/>
                  <a:gd name="connsiteY10" fmla="*/ 106061 h 109703"/>
                  <a:gd name="connsiteX11" fmla="*/ 11303 w 62555"/>
                  <a:gd name="connsiteY11" fmla="*/ 108322 h 109703"/>
                  <a:gd name="connsiteX12" fmla="*/ 11052 w 62555"/>
                  <a:gd name="connsiteY12" fmla="*/ 109704 h 109703"/>
                  <a:gd name="connsiteX13" fmla="*/ 23486 w 62555"/>
                  <a:gd name="connsiteY13" fmla="*/ 100661 h 109703"/>
                  <a:gd name="connsiteX14" fmla="*/ 35292 w 62555"/>
                  <a:gd name="connsiteY14" fmla="*/ 90864 h 109703"/>
                  <a:gd name="connsiteX15" fmla="*/ 39813 w 62555"/>
                  <a:gd name="connsiteY15" fmla="*/ 86469 h 109703"/>
                  <a:gd name="connsiteX16" fmla="*/ 41823 w 62555"/>
                  <a:gd name="connsiteY16" fmla="*/ 80566 h 109703"/>
                  <a:gd name="connsiteX17" fmla="*/ 46470 w 62555"/>
                  <a:gd name="connsiteY17" fmla="*/ 72904 h 109703"/>
                  <a:gd name="connsiteX18" fmla="*/ 54257 w 62555"/>
                  <a:gd name="connsiteY18" fmla="*/ 52432 h 109703"/>
                  <a:gd name="connsiteX19" fmla="*/ 62420 w 62555"/>
                  <a:gd name="connsiteY19" fmla="*/ 8223 h 109703"/>
                  <a:gd name="connsiteX20" fmla="*/ 59280 w 62555"/>
                  <a:gd name="connsiteY20" fmla="*/ 938 h 109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555" h="109703">
                    <a:moveTo>
                      <a:pt x="59280" y="938"/>
                    </a:moveTo>
                    <a:cubicBezTo>
                      <a:pt x="59280" y="938"/>
                      <a:pt x="50489" y="-2327"/>
                      <a:pt x="44460" y="3325"/>
                    </a:cubicBezTo>
                    <a:cubicBezTo>
                      <a:pt x="38432" y="8977"/>
                      <a:pt x="37929" y="12996"/>
                      <a:pt x="37301" y="24927"/>
                    </a:cubicBezTo>
                    <a:cubicBezTo>
                      <a:pt x="36799" y="35728"/>
                      <a:pt x="38306" y="48790"/>
                      <a:pt x="33785" y="58838"/>
                    </a:cubicBezTo>
                    <a:cubicBezTo>
                      <a:pt x="32529" y="61475"/>
                      <a:pt x="30771" y="63861"/>
                      <a:pt x="29012" y="66248"/>
                    </a:cubicBezTo>
                    <a:cubicBezTo>
                      <a:pt x="27631" y="68132"/>
                      <a:pt x="26249" y="69890"/>
                      <a:pt x="24868" y="71648"/>
                    </a:cubicBezTo>
                    <a:cubicBezTo>
                      <a:pt x="21351" y="75919"/>
                      <a:pt x="17583" y="80691"/>
                      <a:pt x="13564" y="84836"/>
                    </a:cubicBezTo>
                    <a:cubicBezTo>
                      <a:pt x="9545" y="88855"/>
                      <a:pt x="3893" y="93753"/>
                      <a:pt x="0" y="97144"/>
                    </a:cubicBezTo>
                    <a:cubicBezTo>
                      <a:pt x="376" y="96516"/>
                      <a:pt x="4270" y="98023"/>
                      <a:pt x="4647" y="98149"/>
                    </a:cubicBezTo>
                    <a:cubicBezTo>
                      <a:pt x="6028" y="98651"/>
                      <a:pt x="7284" y="99405"/>
                      <a:pt x="8289" y="100410"/>
                    </a:cubicBezTo>
                    <a:cubicBezTo>
                      <a:pt x="9796" y="101917"/>
                      <a:pt x="10927" y="103926"/>
                      <a:pt x="11178" y="106061"/>
                    </a:cubicBezTo>
                    <a:cubicBezTo>
                      <a:pt x="11303" y="106815"/>
                      <a:pt x="11303" y="107568"/>
                      <a:pt x="11303" y="108322"/>
                    </a:cubicBezTo>
                    <a:cubicBezTo>
                      <a:pt x="11303" y="108950"/>
                      <a:pt x="11178" y="109201"/>
                      <a:pt x="11052" y="109704"/>
                    </a:cubicBezTo>
                    <a:cubicBezTo>
                      <a:pt x="15448" y="106940"/>
                      <a:pt x="19341" y="103675"/>
                      <a:pt x="23486" y="100661"/>
                    </a:cubicBezTo>
                    <a:cubicBezTo>
                      <a:pt x="27631" y="97646"/>
                      <a:pt x="31399" y="94130"/>
                      <a:pt x="35292" y="90864"/>
                    </a:cubicBezTo>
                    <a:cubicBezTo>
                      <a:pt x="36925" y="89608"/>
                      <a:pt x="38808" y="88352"/>
                      <a:pt x="39813" y="86469"/>
                    </a:cubicBezTo>
                    <a:cubicBezTo>
                      <a:pt x="40818" y="84710"/>
                      <a:pt x="40818" y="82450"/>
                      <a:pt x="41823" y="80566"/>
                    </a:cubicBezTo>
                    <a:cubicBezTo>
                      <a:pt x="43205" y="77928"/>
                      <a:pt x="45088" y="75667"/>
                      <a:pt x="46470" y="72904"/>
                    </a:cubicBezTo>
                    <a:cubicBezTo>
                      <a:pt x="49610" y="66373"/>
                      <a:pt x="52121" y="59340"/>
                      <a:pt x="54257" y="52432"/>
                    </a:cubicBezTo>
                    <a:cubicBezTo>
                      <a:pt x="58653" y="38617"/>
                      <a:pt x="63425" y="22792"/>
                      <a:pt x="62420" y="8223"/>
                    </a:cubicBezTo>
                    <a:cubicBezTo>
                      <a:pt x="62420" y="5711"/>
                      <a:pt x="62170" y="1943"/>
                      <a:pt x="59280" y="938"/>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4" name="Freeform: Shape 5493">
                <a:extLst>
                  <a:ext uri="{FF2B5EF4-FFF2-40B4-BE49-F238E27FC236}">
                    <a16:creationId xmlns:a16="http://schemas.microsoft.com/office/drawing/2014/main" id="{279EDB08-0D75-4CDA-8D79-B7FFFEA58323}"/>
                  </a:ext>
                </a:extLst>
              </p:cNvPr>
              <p:cNvSpPr/>
              <p:nvPr/>
            </p:nvSpPr>
            <p:spPr>
              <a:xfrm>
                <a:off x="11568792" y="2540976"/>
                <a:ext cx="30268" cy="13471"/>
              </a:xfrm>
              <a:custGeom>
                <a:avLst/>
                <a:gdLst>
                  <a:gd name="connsiteX0" fmla="*/ 0 w 30268"/>
                  <a:gd name="connsiteY0" fmla="*/ 13471 h 13471"/>
                  <a:gd name="connsiteX1" fmla="*/ 7913 w 30268"/>
                  <a:gd name="connsiteY1" fmla="*/ 4177 h 13471"/>
                  <a:gd name="connsiteX2" fmla="*/ 27003 w 30268"/>
                  <a:gd name="connsiteY2" fmla="*/ 158 h 13471"/>
                  <a:gd name="connsiteX3" fmla="*/ 30269 w 30268"/>
                  <a:gd name="connsiteY3" fmla="*/ 7443 h 13471"/>
                  <a:gd name="connsiteX4" fmla="*/ 18589 w 30268"/>
                  <a:gd name="connsiteY4" fmla="*/ 6689 h 13471"/>
                  <a:gd name="connsiteX5" fmla="*/ 1633 w 30268"/>
                  <a:gd name="connsiteY5" fmla="*/ 11713 h 13471"/>
                  <a:gd name="connsiteX6" fmla="*/ 0 w 30268"/>
                  <a:gd name="connsiteY6" fmla="*/ 13471 h 1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8" h="13471">
                    <a:moveTo>
                      <a:pt x="0" y="13471"/>
                    </a:moveTo>
                    <a:cubicBezTo>
                      <a:pt x="879" y="9075"/>
                      <a:pt x="3893" y="7192"/>
                      <a:pt x="7913" y="4177"/>
                    </a:cubicBezTo>
                    <a:cubicBezTo>
                      <a:pt x="15072" y="-1223"/>
                      <a:pt x="27003" y="158"/>
                      <a:pt x="27003" y="158"/>
                    </a:cubicBezTo>
                    <a:cubicBezTo>
                      <a:pt x="29012" y="661"/>
                      <a:pt x="30017" y="3298"/>
                      <a:pt x="30269" y="7443"/>
                    </a:cubicBezTo>
                    <a:cubicBezTo>
                      <a:pt x="26501" y="8071"/>
                      <a:pt x="21979" y="6815"/>
                      <a:pt x="18589" y="6689"/>
                    </a:cubicBezTo>
                    <a:cubicBezTo>
                      <a:pt x="14444" y="6564"/>
                      <a:pt x="4773" y="9075"/>
                      <a:pt x="1633" y="11713"/>
                    </a:cubicBezTo>
                    <a:cubicBezTo>
                      <a:pt x="1131" y="12215"/>
                      <a:pt x="629" y="12843"/>
                      <a:pt x="0" y="13471"/>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5" name="Freeform: Shape 5494">
                <a:extLst>
                  <a:ext uri="{FF2B5EF4-FFF2-40B4-BE49-F238E27FC236}">
                    <a16:creationId xmlns:a16="http://schemas.microsoft.com/office/drawing/2014/main" id="{F4FA01CC-C08E-41C1-BAB7-FA11F193306B}"/>
                  </a:ext>
                </a:extLst>
              </p:cNvPr>
              <p:cNvSpPr/>
              <p:nvPr/>
            </p:nvSpPr>
            <p:spPr>
              <a:xfrm>
                <a:off x="11573676" y="2537936"/>
                <a:ext cx="91718" cy="140045"/>
              </a:xfrm>
              <a:custGeom>
                <a:avLst/>
                <a:gdLst>
                  <a:gd name="connsiteX0" fmla="*/ 14 w 91718"/>
                  <a:gd name="connsiteY0" fmla="*/ 69513 h 140045"/>
                  <a:gd name="connsiteX1" fmla="*/ 1145 w 91718"/>
                  <a:gd name="connsiteY1" fmla="*/ 124900 h 140045"/>
                  <a:gd name="connsiteX2" fmla="*/ 69217 w 91718"/>
                  <a:gd name="connsiteY2" fmla="*/ 135450 h 140045"/>
                  <a:gd name="connsiteX3" fmla="*/ 67333 w 91718"/>
                  <a:gd name="connsiteY3" fmla="*/ 100912 h 140045"/>
                  <a:gd name="connsiteX4" fmla="*/ 90443 w 91718"/>
                  <a:gd name="connsiteY4" fmla="*/ 61349 h 140045"/>
                  <a:gd name="connsiteX5" fmla="*/ 82404 w 91718"/>
                  <a:gd name="connsiteY5" fmla="*/ 26308 h 140045"/>
                  <a:gd name="connsiteX6" fmla="*/ 63439 w 91718"/>
                  <a:gd name="connsiteY6" fmla="*/ 10232 h 140045"/>
                  <a:gd name="connsiteX7" fmla="*/ 48745 w 91718"/>
                  <a:gd name="connsiteY7" fmla="*/ 1566 h 140045"/>
                  <a:gd name="connsiteX8" fmla="*/ 32920 w 91718"/>
                  <a:gd name="connsiteY8" fmla="*/ 813 h 140045"/>
                  <a:gd name="connsiteX9" fmla="*/ 11694 w 91718"/>
                  <a:gd name="connsiteY9" fmla="*/ 11865 h 140045"/>
                  <a:gd name="connsiteX10" fmla="*/ 14 w 91718"/>
                  <a:gd name="connsiteY10" fmla="*/ 69513 h 14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718" h="140045">
                    <a:moveTo>
                      <a:pt x="14" y="69513"/>
                    </a:moveTo>
                    <a:cubicBezTo>
                      <a:pt x="391" y="103172"/>
                      <a:pt x="1145" y="124900"/>
                      <a:pt x="1145" y="124900"/>
                    </a:cubicBezTo>
                    <a:cubicBezTo>
                      <a:pt x="1145" y="124900"/>
                      <a:pt x="15965" y="150145"/>
                      <a:pt x="69217" y="135450"/>
                    </a:cubicBezTo>
                    <a:cubicBezTo>
                      <a:pt x="69217" y="135450"/>
                      <a:pt x="64444" y="106438"/>
                      <a:pt x="67333" y="100912"/>
                    </a:cubicBezTo>
                    <a:cubicBezTo>
                      <a:pt x="70348" y="95386"/>
                      <a:pt x="89312" y="74411"/>
                      <a:pt x="90443" y="61349"/>
                    </a:cubicBezTo>
                    <a:cubicBezTo>
                      <a:pt x="91573" y="48287"/>
                      <a:pt x="94964" y="37612"/>
                      <a:pt x="82404" y="26308"/>
                    </a:cubicBezTo>
                    <a:cubicBezTo>
                      <a:pt x="75371" y="19903"/>
                      <a:pt x="69469" y="14628"/>
                      <a:pt x="63439" y="10232"/>
                    </a:cubicBezTo>
                    <a:cubicBezTo>
                      <a:pt x="58793" y="6716"/>
                      <a:pt x="54020" y="3953"/>
                      <a:pt x="48745" y="1566"/>
                    </a:cubicBezTo>
                    <a:cubicBezTo>
                      <a:pt x="44224" y="-443"/>
                      <a:pt x="38572" y="-318"/>
                      <a:pt x="32920" y="813"/>
                    </a:cubicBezTo>
                    <a:cubicBezTo>
                      <a:pt x="23752" y="2696"/>
                      <a:pt x="14834" y="7469"/>
                      <a:pt x="11694" y="11865"/>
                    </a:cubicBezTo>
                    <a:cubicBezTo>
                      <a:pt x="6796" y="19275"/>
                      <a:pt x="-362" y="35854"/>
                      <a:pt x="14" y="69513"/>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6" name="Freeform: Shape 5495">
                <a:extLst>
                  <a:ext uri="{FF2B5EF4-FFF2-40B4-BE49-F238E27FC236}">
                    <a16:creationId xmlns:a16="http://schemas.microsoft.com/office/drawing/2014/main" id="{D22E81B1-C353-452B-A645-C81C4AD96B00}"/>
                  </a:ext>
                </a:extLst>
              </p:cNvPr>
              <p:cNvSpPr/>
              <p:nvPr/>
            </p:nvSpPr>
            <p:spPr>
              <a:xfrm>
                <a:off x="11587631" y="2538102"/>
                <a:ext cx="77889" cy="138800"/>
              </a:xfrm>
              <a:custGeom>
                <a:avLst/>
                <a:gdLst>
                  <a:gd name="connsiteX0" fmla="*/ 19091 w 77889"/>
                  <a:gd name="connsiteY0" fmla="*/ 771 h 138800"/>
                  <a:gd name="connsiteX1" fmla="*/ 34916 w 77889"/>
                  <a:gd name="connsiteY1" fmla="*/ 1525 h 138800"/>
                  <a:gd name="connsiteX2" fmla="*/ 49610 w 77889"/>
                  <a:gd name="connsiteY2" fmla="*/ 10191 h 138800"/>
                  <a:gd name="connsiteX3" fmla="*/ 68575 w 77889"/>
                  <a:gd name="connsiteY3" fmla="*/ 26267 h 138800"/>
                  <a:gd name="connsiteX4" fmla="*/ 76613 w 77889"/>
                  <a:gd name="connsiteY4" fmla="*/ 61308 h 138800"/>
                  <a:gd name="connsiteX5" fmla="*/ 53504 w 77889"/>
                  <a:gd name="connsiteY5" fmla="*/ 100870 h 138800"/>
                  <a:gd name="connsiteX6" fmla="*/ 55388 w 77889"/>
                  <a:gd name="connsiteY6" fmla="*/ 135409 h 138800"/>
                  <a:gd name="connsiteX7" fmla="*/ 39437 w 77889"/>
                  <a:gd name="connsiteY7" fmla="*/ 138800 h 138800"/>
                  <a:gd name="connsiteX8" fmla="*/ 40316 w 77889"/>
                  <a:gd name="connsiteY8" fmla="*/ 122850 h 138800"/>
                  <a:gd name="connsiteX9" fmla="*/ 48103 w 77889"/>
                  <a:gd name="connsiteY9" fmla="*/ 79017 h 138800"/>
                  <a:gd name="connsiteX10" fmla="*/ 60160 w 77889"/>
                  <a:gd name="connsiteY10" fmla="*/ 63066 h 138800"/>
                  <a:gd name="connsiteX11" fmla="*/ 64682 w 77889"/>
                  <a:gd name="connsiteY11" fmla="*/ 53898 h 138800"/>
                  <a:gd name="connsiteX12" fmla="*/ 67319 w 77889"/>
                  <a:gd name="connsiteY12" fmla="*/ 43097 h 138800"/>
                  <a:gd name="connsiteX13" fmla="*/ 67068 w 77889"/>
                  <a:gd name="connsiteY13" fmla="*/ 38324 h 138800"/>
                  <a:gd name="connsiteX14" fmla="*/ 64556 w 77889"/>
                  <a:gd name="connsiteY14" fmla="*/ 34431 h 138800"/>
                  <a:gd name="connsiteX15" fmla="*/ 46596 w 77889"/>
                  <a:gd name="connsiteY15" fmla="*/ 17978 h 138800"/>
                  <a:gd name="connsiteX16" fmla="*/ 23738 w 77889"/>
                  <a:gd name="connsiteY16" fmla="*/ 11698 h 138800"/>
                  <a:gd name="connsiteX17" fmla="*/ 0 w 77889"/>
                  <a:gd name="connsiteY17" fmla="*/ 9689 h 138800"/>
                  <a:gd name="connsiteX18" fmla="*/ 19091 w 77889"/>
                  <a:gd name="connsiteY18" fmla="*/ 771 h 13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889" h="138800">
                    <a:moveTo>
                      <a:pt x="19091" y="771"/>
                    </a:moveTo>
                    <a:cubicBezTo>
                      <a:pt x="24743" y="-359"/>
                      <a:pt x="30394" y="-359"/>
                      <a:pt x="34916" y="1525"/>
                    </a:cubicBezTo>
                    <a:cubicBezTo>
                      <a:pt x="40190" y="3786"/>
                      <a:pt x="44963" y="6674"/>
                      <a:pt x="49610" y="10191"/>
                    </a:cubicBezTo>
                    <a:cubicBezTo>
                      <a:pt x="55638" y="14587"/>
                      <a:pt x="61542" y="19862"/>
                      <a:pt x="68575" y="26267"/>
                    </a:cubicBezTo>
                    <a:cubicBezTo>
                      <a:pt x="81135" y="37571"/>
                      <a:pt x="77743" y="48372"/>
                      <a:pt x="76613" y="61308"/>
                    </a:cubicBezTo>
                    <a:cubicBezTo>
                      <a:pt x="75483" y="74370"/>
                      <a:pt x="56518" y="95344"/>
                      <a:pt x="53504" y="100870"/>
                    </a:cubicBezTo>
                    <a:cubicBezTo>
                      <a:pt x="50615" y="106271"/>
                      <a:pt x="55388" y="135409"/>
                      <a:pt x="55388" y="135409"/>
                    </a:cubicBezTo>
                    <a:cubicBezTo>
                      <a:pt x="49610" y="137042"/>
                      <a:pt x="44335" y="138046"/>
                      <a:pt x="39437" y="138800"/>
                    </a:cubicBezTo>
                    <a:cubicBezTo>
                      <a:pt x="38935" y="138926"/>
                      <a:pt x="40190" y="123854"/>
                      <a:pt x="40316" y="122850"/>
                    </a:cubicBezTo>
                    <a:cubicBezTo>
                      <a:pt x="41572" y="108657"/>
                      <a:pt x="41823" y="92079"/>
                      <a:pt x="48103" y="79017"/>
                    </a:cubicBezTo>
                    <a:cubicBezTo>
                      <a:pt x="50991" y="72988"/>
                      <a:pt x="55513" y="67839"/>
                      <a:pt x="60160" y="63066"/>
                    </a:cubicBezTo>
                    <a:cubicBezTo>
                      <a:pt x="62797" y="60429"/>
                      <a:pt x="63551" y="57289"/>
                      <a:pt x="64682" y="53898"/>
                    </a:cubicBezTo>
                    <a:cubicBezTo>
                      <a:pt x="65812" y="50381"/>
                      <a:pt x="66817" y="46739"/>
                      <a:pt x="67319" y="43097"/>
                    </a:cubicBezTo>
                    <a:cubicBezTo>
                      <a:pt x="67570" y="41464"/>
                      <a:pt x="67570" y="39831"/>
                      <a:pt x="67068" y="38324"/>
                    </a:cubicBezTo>
                    <a:cubicBezTo>
                      <a:pt x="66566" y="36817"/>
                      <a:pt x="65561" y="35561"/>
                      <a:pt x="64556" y="34431"/>
                    </a:cubicBezTo>
                    <a:cubicBezTo>
                      <a:pt x="59658" y="28779"/>
                      <a:pt x="53504" y="21243"/>
                      <a:pt x="46596" y="17978"/>
                    </a:cubicBezTo>
                    <a:cubicBezTo>
                      <a:pt x="39563" y="14587"/>
                      <a:pt x="31399" y="12828"/>
                      <a:pt x="23738" y="11698"/>
                    </a:cubicBezTo>
                    <a:cubicBezTo>
                      <a:pt x="15951" y="10442"/>
                      <a:pt x="7913" y="9437"/>
                      <a:pt x="0" y="9689"/>
                    </a:cubicBezTo>
                    <a:cubicBezTo>
                      <a:pt x="4145" y="5795"/>
                      <a:pt x="11555" y="2279"/>
                      <a:pt x="19091" y="771"/>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7" name="Freeform: Shape 5496">
                <a:extLst>
                  <a:ext uri="{FF2B5EF4-FFF2-40B4-BE49-F238E27FC236}">
                    <a16:creationId xmlns:a16="http://schemas.microsoft.com/office/drawing/2014/main" id="{21CDA82F-0E66-450B-87EB-A35EE427E3EF}"/>
                  </a:ext>
                </a:extLst>
              </p:cNvPr>
              <p:cNvSpPr/>
              <p:nvPr/>
            </p:nvSpPr>
            <p:spPr>
              <a:xfrm>
                <a:off x="11641258" y="2567728"/>
                <a:ext cx="46095" cy="103783"/>
              </a:xfrm>
              <a:custGeom>
                <a:avLst/>
                <a:gdLst>
                  <a:gd name="connsiteX0" fmla="*/ 4775 w 46095"/>
                  <a:gd name="connsiteY0" fmla="*/ 3047 h 103783"/>
                  <a:gd name="connsiteX1" fmla="*/ 1007 w 46095"/>
                  <a:gd name="connsiteY1" fmla="*/ 37962 h 103783"/>
                  <a:gd name="connsiteX2" fmla="*/ 21730 w 46095"/>
                  <a:gd name="connsiteY2" fmla="*/ 82799 h 103783"/>
                  <a:gd name="connsiteX3" fmla="*/ 22107 w 46095"/>
                  <a:gd name="connsiteY3" fmla="*/ 102141 h 103783"/>
                  <a:gd name="connsiteX4" fmla="*/ 38058 w 46095"/>
                  <a:gd name="connsiteY4" fmla="*/ 103146 h 103783"/>
                  <a:gd name="connsiteX5" fmla="*/ 46095 w 46095"/>
                  <a:gd name="connsiteY5" fmla="*/ 100508 h 103783"/>
                  <a:gd name="connsiteX6" fmla="*/ 41951 w 46095"/>
                  <a:gd name="connsiteY6" fmla="*/ 73129 h 103783"/>
                  <a:gd name="connsiteX7" fmla="*/ 33034 w 46095"/>
                  <a:gd name="connsiteY7" fmla="*/ 29673 h 103783"/>
                  <a:gd name="connsiteX8" fmla="*/ 4775 w 46095"/>
                  <a:gd name="connsiteY8" fmla="*/ 3047 h 10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5" h="103783">
                    <a:moveTo>
                      <a:pt x="4775" y="3047"/>
                    </a:moveTo>
                    <a:cubicBezTo>
                      <a:pt x="4775" y="3047"/>
                      <a:pt x="-2636" y="27035"/>
                      <a:pt x="1007" y="37962"/>
                    </a:cubicBezTo>
                    <a:cubicBezTo>
                      <a:pt x="4523" y="48889"/>
                      <a:pt x="19595" y="79785"/>
                      <a:pt x="21730" y="82799"/>
                    </a:cubicBezTo>
                    <a:cubicBezTo>
                      <a:pt x="23990" y="85814"/>
                      <a:pt x="22107" y="102141"/>
                      <a:pt x="22107" y="102141"/>
                    </a:cubicBezTo>
                    <a:cubicBezTo>
                      <a:pt x="22107" y="102141"/>
                      <a:pt x="31652" y="105030"/>
                      <a:pt x="38058" y="103146"/>
                    </a:cubicBezTo>
                    <a:cubicBezTo>
                      <a:pt x="44337" y="101262"/>
                      <a:pt x="46095" y="100508"/>
                      <a:pt x="46095" y="100508"/>
                    </a:cubicBezTo>
                    <a:cubicBezTo>
                      <a:pt x="46095" y="100508"/>
                      <a:pt x="45845" y="88577"/>
                      <a:pt x="41951" y="73129"/>
                    </a:cubicBezTo>
                    <a:cubicBezTo>
                      <a:pt x="37932" y="57555"/>
                      <a:pt x="33661" y="40474"/>
                      <a:pt x="33034" y="29673"/>
                    </a:cubicBezTo>
                    <a:cubicBezTo>
                      <a:pt x="32154" y="18997"/>
                      <a:pt x="28010" y="-9262"/>
                      <a:pt x="4775" y="3047"/>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8" name="Freeform: Shape 5497">
                <a:extLst>
                  <a:ext uri="{FF2B5EF4-FFF2-40B4-BE49-F238E27FC236}">
                    <a16:creationId xmlns:a16="http://schemas.microsoft.com/office/drawing/2014/main" id="{753A55BB-3C34-4FFA-A053-D6C04E4925C5}"/>
                  </a:ext>
                </a:extLst>
              </p:cNvPr>
              <p:cNvSpPr/>
              <p:nvPr/>
            </p:nvSpPr>
            <p:spPr>
              <a:xfrm>
                <a:off x="11648545" y="2567920"/>
                <a:ext cx="38808" cy="103205"/>
              </a:xfrm>
              <a:custGeom>
                <a:avLst/>
                <a:gdLst>
                  <a:gd name="connsiteX0" fmla="*/ 3266 w 38808"/>
                  <a:gd name="connsiteY0" fmla="*/ 3357 h 103205"/>
                  <a:gd name="connsiteX1" fmla="*/ 0 w 38808"/>
                  <a:gd name="connsiteY1" fmla="*/ 1850 h 103205"/>
                  <a:gd name="connsiteX2" fmla="*/ 25621 w 38808"/>
                  <a:gd name="connsiteY2" fmla="*/ 29607 h 103205"/>
                  <a:gd name="connsiteX3" fmla="*/ 34664 w 38808"/>
                  <a:gd name="connsiteY3" fmla="*/ 73063 h 103205"/>
                  <a:gd name="connsiteX4" fmla="*/ 38808 w 38808"/>
                  <a:gd name="connsiteY4" fmla="*/ 100442 h 103205"/>
                  <a:gd name="connsiteX5" fmla="*/ 30771 w 38808"/>
                  <a:gd name="connsiteY5" fmla="*/ 103080 h 103205"/>
                  <a:gd name="connsiteX6" fmla="*/ 30017 w 38808"/>
                  <a:gd name="connsiteY6" fmla="*/ 103205 h 103205"/>
                  <a:gd name="connsiteX7" fmla="*/ 29892 w 38808"/>
                  <a:gd name="connsiteY7" fmla="*/ 101321 h 103205"/>
                  <a:gd name="connsiteX8" fmla="*/ 22105 w 38808"/>
                  <a:gd name="connsiteY8" fmla="*/ 62638 h 103205"/>
                  <a:gd name="connsiteX9" fmla="*/ 16579 w 38808"/>
                  <a:gd name="connsiteY9" fmla="*/ 36891 h 103205"/>
                  <a:gd name="connsiteX10" fmla="*/ 3266 w 38808"/>
                  <a:gd name="connsiteY10" fmla="*/ 3357 h 10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808" h="103205">
                    <a:moveTo>
                      <a:pt x="3266" y="3357"/>
                    </a:moveTo>
                    <a:cubicBezTo>
                      <a:pt x="2637" y="2981"/>
                      <a:pt x="1256" y="2478"/>
                      <a:pt x="0" y="1850"/>
                    </a:cubicBezTo>
                    <a:cubicBezTo>
                      <a:pt x="20974" y="-7192"/>
                      <a:pt x="24868" y="19308"/>
                      <a:pt x="25621" y="29607"/>
                    </a:cubicBezTo>
                    <a:cubicBezTo>
                      <a:pt x="26375" y="40282"/>
                      <a:pt x="30645" y="57489"/>
                      <a:pt x="34664" y="73063"/>
                    </a:cubicBezTo>
                    <a:cubicBezTo>
                      <a:pt x="38683" y="88636"/>
                      <a:pt x="38808" y="100442"/>
                      <a:pt x="38808" y="100442"/>
                    </a:cubicBezTo>
                    <a:cubicBezTo>
                      <a:pt x="38808" y="100442"/>
                      <a:pt x="37051" y="101070"/>
                      <a:pt x="30771" y="103080"/>
                    </a:cubicBezTo>
                    <a:cubicBezTo>
                      <a:pt x="30519" y="103205"/>
                      <a:pt x="30268" y="103205"/>
                      <a:pt x="30017" y="103205"/>
                    </a:cubicBezTo>
                    <a:cubicBezTo>
                      <a:pt x="30017" y="102577"/>
                      <a:pt x="30017" y="101949"/>
                      <a:pt x="29892" y="101321"/>
                    </a:cubicBezTo>
                    <a:cubicBezTo>
                      <a:pt x="28635" y="88260"/>
                      <a:pt x="26626" y="75072"/>
                      <a:pt x="22105" y="62638"/>
                    </a:cubicBezTo>
                    <a:cubicBezTo>
                      <a:pt x="19090" y="54349"/>
                      <a:pt x="17206" y="45683"/>
                      <a:pt x="16579" y="36891"/>
                    </a:cubicBezTo>
                    <a:cubicBezTo>
                      <a:pt x="15574" y="24457"/>
                      <a:pt x="15072" y="10391"/>
                      <a:pt x="3266" y="3357"/>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9" name="Freeform: Shape 5498">
                <a:extLst>
                  <a:ext uri="{FF2B5EF4-FFF2-40B4-BE49-F238E27FC236}">
                    <a16:creationId xmlns:a16="http://schemas.microsoft.com/office/drawing/2014/main" id="{8075F577-F5FF-4594-9BFB-5A6EEB448113}"/>
                  </a:ext>
                </a:extLst>
              </p:cNvPr>
              <p:cNvSpPr/>
              <p:nvPr/>
            </p:nvSpPr>
            <p:spPr>
              <a:xfrm>
                <a:off x="11596759" y="2537936"/>
                <a:ext cx="40481" cy="34181"/>
              </a:xfrm>
              <a:custGeom>
                <a:avLst/>
                <a:gdLst>
                  <a:gd name="connsiteX0" fmla="*/ 291 w 40481"/>
                  <a:gd name="connsiteY0" fmla="*/ 23168 h 34181"/>
                  <a:gd name="connsiteX1" fmla="*/ 13982 w 40481"/>
                  <a:gd name="connsiteY1" fmla="*/ 32714 h 34181"/>
                  <a:gd name="connsiteX2" fmla="*/ 24783 w 40481"/>
                  <a:gd name="connsiteY2" fmla="*/ 25178 h 34181"/>
                  <a:gd name="connsiteX3" fmla="*/ 40482 w 40481"/>
                  <a:gd name="connsiteY3" fmla="*/ 10232 h 34181"/>
                  <a:gd name="connsiteX4" fmla="*/ 25788 w 40481"/>
                  <a:gd name="connsiteY4" fmla="*/ 1566 h 34181"/>
                  <a:gd name="connsiteX5" fmla="*/ 9963 w 40481"/>
                  <a:gd name="connsiteY5" fmla="*/ 813 h 34181"/>
                  <a:gd name="connsiteX6" fmla="*/ 417 w 40481"/>
                  <a:gd name="connsiteY6" fmla="*/ 22792 h 34181"/>
                  <a:gd name="connsiteX7" fmla="*/ 291 w 40481"/>
                  <a:gd name="connsiteY7" fmla="*/ 23168 h 34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81" h="34181">
                    <a:moveTo>
                      <a:pt x="291" y="23168"/>
                    </a:moveTo>
                    <a:cubicBezTo>
                      <a:pt x="-1718" y="30955"/>
                      <a:pt x="7074" y="37110"/>
                      <a:pt x="13982" y="32714"/>
                    </a:cubicBezTo>
                    <a:cubicBezTo>
                      <a:pt x="17373" y="30579"/>
                      <a:pt x="21015" y="28067"/>
                      <a:pt x="24783" y="25178"/>
                    </a:cubicBezTo>
                    <a:cubicBezTo>
                      <a:pt x="38347" y="14879"/>
                      <a:pt x="40482" y="10232"/>
                      <a:pt x="40482" y="10232"/>
                    </a:cubicBezTo>
                    <a:cubicBezTo>
                      <a:pt x="35835" y="6716"/>
                      <a:pt x="31062" y="3953"/>
                      <a:pt x="25788" y="1566"/>
                    </a:cubicBezTo>
                    <a:cubicBezTo>
                      <a:pt x="21266" y="-443"/>
                      <a:pt x="15614" y="-318"/>
                      <a:pt x="9963" y="813"/>
                    </a:cubicBezTo>
                    <a:cubicBezTo>
                      <a:pt x="9963" y="813"/>
                      <a:pt x="2804" y="13372"/>
                      <a:pt x="417" y="22792"/>
                    </a:cubicBezTo>
                    <a:cubicBezTo>
                      <a:pt x="291" y="23043"/>
                      <a:pt x="291" y="23043"/>
                      <a:pt x="291" y="23168"/>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0" name="Freeform: Shape 5499">
                <a:extLst>
                  <a:ext uri="{FF2B5EF4-FFF2-40B4-BE49-F238E27FC236}">
                    <a16:creationId xmlns:a16="http://schemas.microsoft.com/office/drawing/2014/main" id="{3C072095-6B5D-4DF5-B20F-D0B5716396AF}"/>
                  </a:ext>
                </a:extLst>
              </p:cNvPr>
              <p:cNvSpPr/>
              <p:nvPr/>
            </p:nvSpPr>
            <p:spPr>
              <a:xfrm>
                <a:off x="11618402" y="2538874"/>
                <a:ext cx="18839" cy="26500"/>
              </a:xfrm>
              <a:custGeom>
                <a:avLst/>
                <a:gdLst>
                  <a:gd name="connsiteX0" fmla="*/ 1633 w 18839"/>
                  <a:gd name="connsiteY0" fmla="*/ 22230 h 26500"/>
                  <a:gd name="connsiteX1" fmla="*/ 2638 w 18839"/>
                  <a:gd name="connsiteY1" fmla="*/ 11052 h 26500"/>
                  <a:gd name="connsiteX2" fmla="*/ 1884 w 18839"/>
                  <a:gd name="connsiteY2" fmla="*/ 754 h 26500"/>
                  <a:gd name="connsiteX3" fmla="*/ 2010 w 18839"/>
                  <a:gd name="connsiteY3" fmla="*/ 0 h 26500"/>
                  <a:gd name="connsiteX4" fmla="*/ 4145 w 18839"/>
                  <a:gd name="connsiteY4" fmla="*/ 628 h 26500"/>
                  <a:gd name="connsiteX5" fmla="*/ 18839 w 18839"/>
                  <a:gd name="connsiteY5" fmla="*/ 9294 h 26500"/>
                  <a:gd name="connsiteX6" fmla="*/ 3140 w 18839"/>
                  <a:gd name="connsiteY6" fmla="*/ 24240 h 26500"/>
                  <a:gd name="connsiteX7" fmla="*/ 0 w 18839"/>
                  <a:gd name="connsiteY7" fmla="*/ 26501 h 26500"/>
                  <a:gd name="connsiteX8" fmla="*/ 1633 w 18839"/>
                  <a:gd name="connsiteY8" fmla="*/ 22230 h 2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39" h="26500">
                    <a:moveTo>
                      <a:pt x="1633" y="22230"/>
                    </a:moveTo>
                    <a:cubicBezTo>
                      <a:pt x="2512" y="18588"/>
                      <a:pt x="2763" y="14820"/>
                      <a:pt x="2638" y="11052"/>
                    </a:cubicBezTo>
                    <a:cubicBezTo>
                      <a:pt x="2386" y="7661"/>
                      <a:pt x="1759" y="4270"/>
                      <a:pt x="1884" y="754"/>
                    </a:cubicBezTo>
                    <a:cubicBezTo>
                      <a:pt x="1884" y="502"/>
                      <a:pt x="1884" y="251"/>
                      <a:pt x="2010" y="0"/>
                    </a:cubicBezTo>
                    <a:cubicBezTo>
                      <a:pt x="2763" y="251"/>
                      <a:pt x="3517" y="377"/>
                      <a:pt x="4145" y="628"/>
                    </a:cubicBezTo>
                    <a:cubicBezTo>
                      <a:pt x="9420" y="2889"/>
                      <a:pt x="14192" y="5777"/>
                      <a:pt x="18839" y="9294"/>
                    </a:cubicBezTo>
                    <a:cubicBezTo>
                      <a:pt x="18839" y="9294"/>
                      <a:pt x="16704" y="13941"/>
                      <a:pt x="3140" y="24240"/>
                    </a:cubicBezTo>
                    <a:cubicBezTo>
                      <a:pt x="2010" y="24993"/>
                      <a:pt x="1005" y="25747"/>
                      <a:pt x="0" y="26501"/>
                    </a:cubicBezTo>
                    <a:cubicBezTo>
                      <a:pt x="628" y="24868"/>
                      <a:pt x="1507" y="23235"/>
                      <a:pt x="1633" y="22230"/>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1" name="Freeform: Shape 5500">
                <a:extLst>
                  <a:ext uri="{FF2B5EF4-FFF2-40B4-BE49-F238E27FC236}">
                    <a16:creationId xmlns:a16="http://schemas.microsoft.com/office/drawing/2014/main" id="{A8032344-8A70-44C9-A51B-A5DF3032E17D}"/>
                  </a:ext>
                </a:extLst>
              </p:cNvPr>
              <p:cNvSpPr/>
              <p:nvPr/>
            </p:nvSpPr>
            <p:spPr>
              <a:xfrm>
                <a:off x="11608571" y="2546273"/>
                <a:ext cx="34558" cy="29108"/>
              </a:xfrm>
              <a:custGeom>
                <a:avLst/>
                <a:gdLst>
                  <a:gd name="connsiteX0" fmla="*/ 26535 w 34558"/>
                  <a:gd name="connsiteY0" fmla="*/ 136 h 29108"/>
                  <a:gd name="connsiteX1" fmla="*/ 27162 w 34558"/>
                  <a:gd name="connsiteY1" fmla="*/ 11 h 29108"/>
                  <a:gd name="connsiteX2" fmla="*/ 29549 w 34558"/>
                  <a:gd name="connsiteY2" fmla="*/ 1392 h 29108"/>
                  <a:gd name="connsiteX3" fmla="*/ 33944 w 34558"/>
                  <a:gd name="connsiteY3" fmla="*/ 4658 h 29108"/>
                  <a:gd name="connsiteX4" fmla="*/ 32563 w 34558"/>
                  <a:gd name="connsiteY4" fmla="*/ 10184 h 29108"/>
                  <a:gd name="connsiteX5" fmla="*/ 28167 w 34558"/>
                  <a:gd name="connsiteY5" fmla="*/ 15961 h 29108"/>
                  <a:gd name="connsiteX6" fmla="*/ 17366 w 34558"/>
                  <a:gd name="connsiteY6" fmla="*/ 23120 h 29108"/>
                  <a:gd name="connsiteX7" fmla="*/ 8700 w 34558"/>
                  <a:gd name="connsiteY7" fmla="*/ 26637 h 29108"/>
                  <a:gd name="connsiteX8" fmla="*/ 285 w 34558"/>
                  <a:gd name="connsiteY8" fmla="*/ 28898 h 29108"/>
                  <a:gd name="connsiteX9" fmla="*/ 411 w 34558"/>
                  <a:gd name="connsiteY9" fmla="*/ 27139 h 29108"/>
                  <a:gd name="connsiteX10" fmla="*/ 285 w 34558"/>
                  <a:gd name="connsiteY10" fmla="*/ 24627 h 29108"/>
                  <a:gd name="connsiteX11" fmla="*/ 34 w 34558"/>
                  <a:gd name="connsiteY11" fmla="*/ 20106 h 29108"/>
                  <a:gd name="connsiteX12" fmla="*/ 2044 w 34558"/>
                  <a:gd name="connsiteY12" fmla="*/ 18976 h 29108"/>
                  <a:gd name="connsiteX13" fmla="*/ 10333 w 34558"/>
                  <a:gd name="connsiteY13" fmla="*/ 16087 h 29108"/>
                  <a:gd name="connsiteX14" fmla="*/ 19501 w 34558"/>
                  <a:gd name="connsiteY14" fmla="*/ 9933 h 29108"/>
                  <a:gd name="connsiteX15" fmla="*/ 25404 w 34558"/>
                  <a:gd name="connsiteY15" fmla="*/ 2020 h 29108"/>
                  <a:gd name="connsiteX16" fmla="*/ 26535 w 34558"/>
                  <a:gd name="connsiteY16" fmla="*/ 136 h 2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558" h="29108">
                    <a:moveTo>
                      <a:pt x="26535" y="136"/>
                    </a:moveTo>
                    <a:cubicBezTo>
                      <a:pt x="26660" y="11"/>
                      <a:pt x="26911" y="11"/>
                      <a:pt x="27162" y="11"/>
                    </a:cubicBezTo>
                    <a:cubicBezTo>
                      <a:pt x="28167" y="-115"/>
                      <a:pt x="28795" y="890"/>
                      <a:pt x="29549" y="1392"/>
                    </a:cubicBezTo>
                    <a:cubicBezTo>
                      <a:pt x="31056" y="2523"/>
                      <a:pt x="32437" y="3527"/>
                      <a:pt x="33944" y="4658"/>
                    </a:cubicBezTo>
                    <a:cubicBezTo>
                      <a:pt x="35703" y="5914"/>
                      <a:pt x="33191" y="8928"/>
                      <a:pt x="32563" y="10184"/>
                    </a:cubicBezTo>
                    <a:cubicBezTo>
                      <a:pt x="31307" y="12319"/>
                      <a:pt x="29800" y="14203"/>
                      <a:pt x="28167" y="15961"/>
                    </a:cubicBezTo>
                    <a:cubicBezTo>
                      <a:pt x="25153" y="18976"/>
                      <a:pt x="21134" y="21236"/>
                      <a:pt x="17366" y="23120"/>
                    </a:cubicBezTo>
                    <a:cubicBezTo>
                      <a:pt x="14603" y="24502"/>
                      <a:pt x="11715" y="25632"/>
                      <a:pt x="8700" y="26637"/>
                    </a:cubicBezTo>
                    <a:cubicBezTo>
                      <a:pt x="7570" y="27014"/>
                      <a:pt x="914" y="29902"/>
                      <a:pt x="285" y="28898"/>
                    </a:cubicBezTo>
                    <a:cubicBezTo>
                      <a:pt x="159" y="28772"/>
                      <a:pt x="411" y="27390"/>
                      <a:pt x="411" y="27139"/>
                    </a:cubicBezTo>
                    <a:cubicBezTo>
                      <a:pt x="411" y="26260"/>
                      <a:pt x="285" y="25506"/>
                      <a:pt x="285" y="24627"/>
                    </a:cubicBezTo>
                    <a:cubicBezTo>
                      <a:pt x="159" y="23120"/>
                      <a:pt x="-91" y="21613"/>
                      <a:pt x="34" y="20106"/>
                    </a:cubicBezTo>
                    <a:cubicBezTo>
                      <a:pt x="159" y="18599"/>
                      <a:pt x="914" y="19101"/>
                      <a:pt x="2044" y="18976"/>
                    </a:cubicBezTo>
                    <a:cubicBezTo>
                      <a:pt x="4807" y="18724"/>
                      <a:pt x="7821" y="17343"/>
                      <a:pt x="10333" y="16087"/>
                    </a:cubicBezTo>
                    <a:cubicBezTo>
                      <a:pt x="13598" y="14454"/>
                      <a:pt x="16613" y="12193"/>
                      <a:pt x="19501" y="9933"/>
                    </a:cubicBezTo>
                    <a:cubicBezTo>
                      <a:pt x="22013" y="7923"/>
                      <a:pt x="23771" y="4783"/>
                      <a:pt x="25404" y="2020"/>
                    </a:cubicBezTo>
                    <a:cubicBezTo>
                      <a:pt x="25404" y="1016"/>
                      <a:pt x="25781" y="388"/>
                      <a:pt x="26535" y="136"/>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2" name="Freeform: Shape 5501">
                <a:extLst>
                  <a:ext uri="{FF2B5EF4-FFF2-40B4-BE49-F238E27FC236}">
                    <a16:creationId xmlns:a16="http://schemas.microsoft.com/office/drawing/2014/main" id="{F69D06AC-802E-4BA5-81B9-A97FA9977A7C}"/>
                  </a:ext>
                </a:extLst>
              </p:cNvPr>
              <p:cNvSpPr/>
              <p:nvPr/>
            </p:nvSpPr>
            <p:spPr>
              <a:xfrm>
                <a:off x="11590464" y="2541914"/>
                <a:ext cx="10673" cy="28232"/>
              </a:xfrm>
              <a:custGeom>
                <a:avLst/>
                <a:gdLst>
                  <a:gd name="connsiteX0" fmla="*/ 1814 w 10673"/>
                  <a:gd name="connsiteY0" fmla="*/ 4998 h 28232"/>
                  <a:gd name="connsiteX1" fmla="*/ 4200 w 10673"/>
                  <a:gd name="connsiteY1" fmla="*/ 99 h 28232"/>
                  <a:gd name="connsiteX2" fmla="*/ 8219 w 10673"/>
                  <a:gd name="connsiteY2" fmla="*/ 1355 h 28232"/>
                  <a:gd name="connsiteX3" fmla="*/ 9224 w 10673"/>
                  <a:gd name="connsiteY3" fmla="*/ 4746 h 28232"/>
                  <a:gd name="connsiteX4" fmla="*/ 9978 w 10673"/>
                  <a:gd name="connsiteY4" fmla="*/ 15296 h 28232"/>
                  <a:gd name="connsiteX5" fmla="*/ 10605 w 10673"/>
                  <a:gd name="connsiteY5" fmla="*/ 17808 h 28232"/>
                  <a:gd name="connsiteX6" fmla="*/ 9852 w 10673"/>
                  <a:gd name="connsiteY6" fmla="*/ 19064 h 28232"/>
                  <a:gd name="connsiteX7" fmla="*/ 5331 w 10673"/>
                  <a:gd name="connsiteY7" fmla="*/ 28233 h 28232"/>
                  <a:gd name="connsiteX8" fmla="*/ 3196 w 10673"/>
                  <a:gd name="connsiteY8" fmla="*/ 24967 h 28232"/>
                  <a:gd name="connsiteX9" fmla="*/ 684 w 10673"/>
                  <a:gd name="connsiteY9" fmla="*/ 18562 h 28232"/>
                  <a:gd name="connsiteX10" fmla="*/ 56 w 10673"/>
                  <a:gd name="connsiteY10" fmla="*/ 16427 h 28232"/>
                  <a:gd name="connsiteX11" fmla="*/ 56 w 10673"/>
                  <a:gd name="connsiteY11" fmla="*/ 14040 h 28232"/>
                  <a:gd name="connsiteX12" fmla="*/ 935 w 10673"/>
                  <a:gd name="connsiteY12" fmla="*/ 9770 h 28232"/>
                  <a:gd name="connsiteX13" fmla="*/ 1814 w 10673"/>
                  <a:gd name="connsiteY13" fmla="*/ 4998 h 2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73" h="28232">
                    <a:moveTo>
                      <a:pt x="1814" y="4998"/>
                    </a:moveTo>
                    <a:cubicBezTo>
                      <a:pt x="1814" y="3114"/>
                      <a:pt x="2065" y="727"/>
                      <a:pt x="4200" y="99"/>
                    </a:cubicBezTo>
                    <a:cubicBezTo>
                      <a:pt x="5582" y="-277"/>
                      <a:pt x="7215" y="476"/>
                      <a:pt x="8219" y="1355"/>
                    </a:cubicBezTo>
                    <a:cubicBezTo>
                      <a:pt x="9601" y="2486"/>
                      <a:pt x="9726" y="3114"/>
                      <a:pt x="9224" y="4746"/>
                    </a:cubicBezTo>
                    <a:cubicBezTo>
                      <a:pt x="8345" y="8263"/>
                      <a:pt x="8471" y="12031"/>
                      <a:pt x="9978" y="15296"/>
                    </a:cubicBezTo>
                    <a:cubicBezTo>
                      <a:pt x="10355" y="16050"/>
                      <a:pt x="10857" y="16929"/>
                      <a:pt x="10605" y="17808"/>
                    </a:cubicBezTo>
                    <a:cubicBezTo>
                      <a:pt x="10480" y="18311"/>
                      <a:pt x="10103" y="18688"/>
                      <a:pt x="9852" y="19064"/>
                    </a:cubicBezTo>
                    <a:cubicBezTo>
                      <a:pt x="7717" y="21702"/>
                      <a:pt x="6336" y="24967"/>
                      <a:pt x="5331" y="28233"/>
                    </a:cubicBezTo>
                    <a:cubicBezTo>
                      <a:pt x="4200" y="27605"/>
                      <a:pt x="3698" y="26223"/>
                      <a:pt x="3196" y="24967"/>
                    </a:cubicBezTo>
                    <a:cubicBezTo>
                      <a:pt x="2316" y="22832"/>
                      <a:pt x="1563" y="20697"/>
                      <a:pt x="684" y="18562"/>
                    </a:cubicBezTo>
                    <a:cubicBezTo>
                      <a:pt x="432" y="17808"/>
                      <a:pt x="182" y="17180"/>
                      <a:pt x="56" y="16427"/>
                    </a:cubicBezTo>
                    <a:cubicBezTo>
                      <a:pt x="-70" y="15673"/>
                      <a:pt x="56" y="14794"/>
                      <a:pt x="56" y="14040"/>
                    </a:cubicBezTo>
                    <a:cubicBezTo>
                      <a:pt x="182" y="12533"/>
                      <a:pt x="432" y="11152"/>
                      <a:pt x="935" y="9770"/>
                    </a:cubicBezTo>
                    <a:cubicBezTo>
                      <a:pt x="1437" y="8263"/>
                      <a:pt x="1814" y="6630"/>
                      <a:pt x="1814" y="4998"/>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3" name="Freeform: Shape 5502">
                <a:extLst>
                  <a:ext uri="{FF2B5EF4-FFF2-40B4-BE49-F238E27FC236}">
                    <a16:creationId xmlns:a16="http://schemas.microsoft.com/office/drawing/2014/main" id="{5F002E67-ED78-4A03-ADD5-DA2462FCA4E7}"/>
                  </a:ext>
                </a:extLst>
              </p:cNvPr>
              <p:cNvSpPr/>
              <p:nvPr/>
            </p:nvSpPr>
            <p:spPr>
              <a:xfrm>
                <a:off x="11600944" y="2529850"/>
                <a:ext cx="32277" cy="29311"/>
              </a:xfrm>
              <a:custGeom>
                <a:avLst/>
                <a:gdLst>
                  <a:gd name="connsiteX0" fmla="*/ 31902 w 32277"/>
                  <a:gd name="connsiteY0" fmla="*/ 5256 h 29311"/>
                  <a:gd name="connsiteX1" fmla="*/ 32278 w 32277"/>
                  <a:gd name="connsiteY1" fmla="*/ 15681 h 29311"/>
                  <a:gd name="connsiteX2" fmla="*/ 14569 w 32277"/>
                  <a:gd name="connsiteY2" fmla="*/ 27235 h 29311"/>
                  <a:gd name="connsiteX3" fmla="*/ 754 w 32277"/>
                  <a:gd name="connsiteY3" fmla="*/ 28491 h 29311"/>
                  <a:gd name="connsiteX4" fmla="*/ 0 w 32277"/>
                  <a:gd name="connsiteY4" fmla="*/ 5884 h 29311"/>
                  <a:gd name="connsiteX5" fmla="*/ 31902 w 32277"/>
                  <a:gd name="connsiteY5" fmla="*/ 5256 h 2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77" h="29311">
                    <a:moveTo>
                      <a:pt x="31902" y="5256"/>
                    </a:moveTo>
                    <a:lnTo>
                      <a:pt x="32278" y="15681"/>
                    </a:lnTo>
                    <a:cubicBezTo>
                      <a:pt x="32278" y="15681"/>
                      <a:pt x="25370" y="23468"/>
                      <a:pt x="14569" y="27235"/>
                    </a:cubicBezTo>
                    <a:cubicBezTo>
                      <a:pt x="3768" y="31003"/>
                      <a:pt x="754" y="28491"/>
                      <a:pt x="754" y="28491"/>
                    </a:cubicBezTo>
                    <a:lnTo>
                      <a:pt x="0" y="5884"/>
                    </a:lnTo>
                    <a:cubicBezTo>
                      <a:pt x="126" y="5884"/>
                      <a:pt x="28887" y="-6926"/>
                      <a:pt x="31902" y="5256"/>
                    </a:cubicBezTo>
                    <a:close/>
                  </a:path>
                </a:pathLst>
              </a:custGeom>
              <a:solidFill>
                <a:srgbClr val="DEB0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4" name="Freeform: Shape 5503">
                <a:extLst>
                  <a:ext uri="{FF2B5EF4-FFF2-40B4-BE49-F238E27FC236}">
                    <a16:creationId xmlns:a16="http://schemas.microsoft.com/office/drawing/2014/main" id="{5B38A35B-BEE5-441F-9E70-EF1E47BA9A5A}"/>
                  </a:ext>
                </a:extLst>
              </p:cNvPr>
              <p:cNvSpPr/>
              <p:nvPr/>
            </p:nvSpPr>
            <p:spPr>
              <a:xfrm>
                <a:off x="11620269" y="2529822"/>
                <a:ext cx="12952" cy="24876"/>
              </a:xfrm>
              <a:custGeom>
                <a:avLst/>
                <a:gdLst>
                  <a:gd name="connsiteX0" fmla="*/ 12576 w 12952"/>
                  <a:gd name="connsiteY0" fmla="*/ 5284 h 24876"/>
                  <a:gd name="connsiteX1" fmla="*/ 12952 w 12952"/>
                  <a:gd name="connsiteY1" fmla="*/ 15709 h 24876"/>
                  <a:gd name="connsiteX2" fmla="*/ 644 w 12952"/>
                  <a:gd name="connsiteY2" fmla="*/ 24877 h 24876"/>
                  <a:gd name="connsiteX3" fmla="*/ 770 w 12952"/>
                  <a:gd name="connsiteY3" fmla="*/ 20104 h 24876"/>
                  <a:gd name="connsiteX4" fmla="*/ 16 w 12952"/>
                  <a:gd name="connsiteY4" fmla="*/ 9806 h 24876"/>
                  <a:gd name="connsiteX5" fmla="*/ 2277 w 12952"/>
                  <a:gd name="connsiteY5" fmla="*/ 9 h 24876"/>
                  <a:gd name="connsiteX6" fmla="*/ 12576 w 12952"/>
                  <a:gd name="connsiteY6" fmla="*/ 5284 h 24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2" h="24876">
                    <a:moveTo>
                      <a:pt x="12576" y="5284"/>
                    </a:moveTo>
                    <a:lnTo>
                      <a:pt x="12952" y="15709"/>
                    </a:lnTo>
                    <a:cubicBezTo>
                      <a:pt x="12952" y="15709"/>
                      <a:pt x="8305" y="20984"/>
                      <a:pt x="644" y="24877"/>
                    </a:cubicBezTo>
                    <a:cubicBezTo>
                      <a:pt x="770" y="23244"/>
                      <a:pt x="770" y="21611"/>
                      <a:pt x="770" y="20104"/>
                    </a:cubicBezTo>
                    <a:cubicBezTo>
                      <a:pt x="519" y="16713"/>
                      <a:pt x="-109" y="13322"/>
                      <a:pt x="16" y="9806"/>
                    </a:cubicBezTo>
                    <a:cubicBezTo>
                      <a:pt x="16" y="6414"/>
                      <a:pt x="1398" y="3275"/>
                      <a:pt x="2277" y="9"/>
                    </a:cubicBezTo>
                    <a:cubicBezTo>
                      <a:pt x="7300" y="-116"/>
                      <a:pt x="11571" y="1014"/>
                      <a:pt x="12576" y="5284"/>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5" name="Freeform: Shape 5504">
                <a:extLst>
                  <a:ext uri="{FF2B5EF4-FFF2-40B4-BE49-F238E27FC236}">
                    <a16:creationId xmlns:a16="http://schemas.microsoft.com/office/drawing/2014/main" id="{D482CE6A-9615-44AA-A450-5D2813D6042D}"/>
                  </a:ext>
                </a:extLst>
              </p:cNvPr>
              <p:cNvSpPr/>
              <p:nvPr/>
            </p:nvSpPr>
            <p:spPr>
              <a:xfrm>
                <a:off x="11585797" y="2489039"/>
                <a:ext cx="53214" cy="64724"/>
              </a:xfrm>
              <a:custGeom>
                <a:avLst/>
                <a:gdLst>
                  <a:gd name="connsiteX0" fmla="*/ 5853 w 53214"/>
                  <a:gd name="connsiteY0" fmla="*/ 56743 h 64724"/>
                  <a:gd name="connsiteX1" fmla="*/ 21804 w 53214"/>
                  <a:gd name="connsiteY1" fmla="*/ 64278 h 64724"/>
                  <a:gd name="connsiteX2" fmla="*/ 34112 w 53214"/>
                  <a:gd name="connsiteY2" fmla="*/ 58626 h 64724"/>
                  <a:gd name="connsiteX3" fmla="*/ 37629 w 53214"/>
                  <a:gd name="connsiteY3" fmla="*/ 55989 h 64724"/>
                  <a:gd name="connsiteX4" fmla="*/ 38508 w 53214"/>
                  <a:gd name="connsiteY4" fmla="*/ 55235 h 64724"/>
                  <a:gd name="connsiteX5" fmla="*/ 39262 w 53214"/>
                  <a:gd name="connsiteY5" fmla="*/ 54607 h 64724"/>
                  <a:gd name="connsiteX6" fmla="*/ 40141 w 53214"/>
                  <a:gd name="connsiteY6" fmla="*/ 53728 h 64724"/>
                  <a:gd name="connsiteX7" fmla="*/ 45290 w 53214"/>
                  <a:gd name="connsiteY7" fmla="*/ 16803 h 64724"/>
                  <a:gd name="connsiteX8" fmla="*/ 44034 w 53214"/>
                  <a:gd name="connsiteY8" fmla="*/ 14417 h 64724"/>
                  <a:gd name="connsiteX9" fmla="*/ 42778 w 53214"/>
                  <a:gd name="connsiteY9" fmla="*/ 12659 h 64724"/>
                  <a:gd name="connsiteX10" fmla="*/ 15147 w 53214"/>
                  <a:gd name="connsiteY10" fmla="*/ 99 h 64724"/>
                  <a:gd name="connsiteX11" fmla="*/ 3467 w 53214"/>
                  <a:gd name="connsiteY11" fmla="*/ 8891 h 64724"/>
                  <a:gd name="connsiteX12" fmla="*/ 453 w 53214"/>
                  <a:gd name="connsiteY12" fmla="*/ 15924 h 64724"/>
                  <a:gd name="connsiteX13" fmla="*/ 201 w 53214"/>
                  <a:gd name="connsiteY13" fmla="*/ 16929 h 64724"/>
                  <a:gd name="connsiteX14" fmla="*/ 5853 w 53214"/>
                  <a:gd name="connsiteY14" fmla="*/ 56743 h 6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214" h="64724">
                    <a:moveTo>
                      <a:pt x="5853" y="56743"/>
                    </a:moveTo>
                    <a:cubicBezTo>
                      <a:pt x="6732" y="63525"/>
                      <a:pt x="13138" y="65785"/>
                      <a:pt x="21804" y="64278"/>
                    </a:cubicBezTo>
                    <a:cubicBezTo>
                      <a:pt x="26074" y="63525"/>
                      <a:pt x="30596" y="61013"/>
                      <a:pt x="34112" y="58626"/>
                    </a:cubicBezTo>
                    <a:cubicBezTo>
                      <a:pt x="35493" y="57622"/>
                      <a:pt x="36750" y="56743"/>
                      <a:pt x="37629" y="55989"/>
                    </a:cubicBezTo>
                    <a:cubicBezTo>
                      <a:pt x="37880" y="55738"/>
                      <a:pt x="38257" y="55487"/>
                      <a:pt x="38508" y="55235"/>
                    </a:cubicBezTo>
                    <a:cubicBezTo>
                      <a:pt x="38759" y="54984"/>
                      <a:pt x="39010" y="54859"/>
                      <a:pt x="39262" y="54607"/>
                    </a:cubicBezTo>
                    <a:cubicBezTo>
                      <a:pt x="39890" y="54105"/>
                      <a:pt x="40141" y="53728"/>
                      <a:pt x="40141" y="53728"/>
                    </a:cubicBezTo>
                    <a:cubicBezTo>
                      <a:pt x="63250" y="30619"/>
                      <a:pt x="49561" y="27605"/>
                      <a:pt x="45290" y="16803"/>
                    </a:cubicBezTo>
                    <a:cubicBezTo>
                      <a:pt x="44913" y="15924"/>
                      <a:pt x="44536" y="15171"/>
                      <a:pt x="44034" y="14417"/>
                    </a:cubicBezTo>
                    <a:cubicBezTo>
                      <a:pt x="43657" y="13789"/>
                      <a:pt x="43281" y="13161"/>
                      <a:pt x="42778" y="12659"/>
                    </a:cubicBezTo>
                    <a:cubicBezTo>
                      <a:pt x="36373" y="4244"/>
                      <a:pt x="22180" y="-780"/>
                      <a:pt x="15147" y="99"/>
                    </a:cubicBezTo>
                    <a:cubicBezTo>
                      <a:pt x="9746" y="727"/>
                      <a:pt x="6105" y="4495"/>
                      <a:pt x="3467" y="8891"/>
                    </a:cubicBezTo>
                    <a:cubicBezTo>
                      <a:pt x="2211" y="11152"/>
                      <a:pt x="1206" y="13538"/>
                      <a:pt x="453" y="15924"/>
                    </a:cubicBezTo>
                    <a:cubicBezTo>
                      <a:pt x="327" y="16301"/>
                      <a:pt x="327" y="16552"/>
                      <a:pt x="201" y="16929"/>
                    </a:cubicBezTo>
                    <a:cubicBezTo>
                      <a:pt x="-1180" y="25218"/>
                      <a:pt x="4974" y="50337"/>
                      <a:pt x="5853" y="56743"/>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6" name="Freeform: Shape 5505">
                <a:extLst>
                  <a:ext uri="{FF2B5EF4-FFF2-40B4-BE49-F238E27FC236}">
                    <a16:creationId xmlns:a16="http://schemas.microsoft.com/office/drawing/2014/main" id="{1E1ED60C-D221-4A8A-AB65-1E2C0A0C918B}"/>
                  </a:ext>
                </a:extLst>
              </p:cNvPr>
              <p:cNvSpPr/>
              <p:nvPr/>
            </p:nvSpPr>
            <p:spPr>
              <a:xfrm>
                <a:off x="11586124" y="2493880"/>
                <a:ext cx="52761" cy="53534"/>
              </a:xfrm>
              <a:custGeom>
                <a:avLst/>
                <a:gdLst>
                  <a:gd name="connsiteX0" fmla="*/ 0 w 52761"/>
                  <a:gd name="connsiteY0" fmla="*/ 12089 h 53534"/>
                  <a:gd name="connsiteX1" fmla="*/ 126 w 52761"/>
                  <a:gd name="connsiteY1" fmla="*/ 12214 h 53534"/>
                  <a:gd name="connsiteX2" fmla="*/ 4773 w 52761"/>
                  <a:gd name="connsiteY2" fmla="*/ 13344 h 53534"/>
                  <a:gd name="connsiteX3" fmla="*/ 17960 w 52761"/>
                  <a:gd name="connsiteY3" fmla="*/ 13596 h 53534"/>
                  <a:gd name="connsiteX4" fmla="*/ 24240 w 52761"/>
                  <a:gd name="connsiteY4" fmla="*/ 13344 h 53534"/>
                  <a:gd name="connsiteX5" fmla="*/ 28008 w 52761"/>
                  <a:gd name="connsiteY5" fmla="*/ 16861 h 53534"/>
                  <a:gd name="connsiteX6" fmla="*/ 29012 w 52761"/>
                  <a:gd name="connsiteY6" fmla="*/ 19122 h 53534"/>
                  <a:gd name="connsiteX7" fmla="*/ 31524 w 52761"/>
                  <a:gd name="connsiteY7" fmla="*/ 27788 h 53534"/>
                  <a:gd name="connsiteX8" fmla="*/ 32152 w 52761"/>
                  <a:gd name="connsiteY8" fmla="*/ 36831 h 53534"/>
                  <a:gd name="connsiteX9" fmla="*/ 33911 w 52761"/>
                  <a:gd name="connsiteY9" fmla="*/ 43362 h 53534"/>
                  <a:gd name="connsiteX10" fmla="*/ 33659 w 52761"/>
                  <a:gd name="connsiteY10" fmla="*/ 53535 h 53534"/>
                  <a:gd name="connsiteX11" fmla="*/ 37176 w 52761"/>
                  <a:gd name="connsiteY11" fmla="*/ 50897 h 53534"/>
                  <a:gd name="connsiteX12" fmla="*/ 38056 w 52761"/>
                  <a:gd name="connsiteY12" fmla="*/ 50144 h 53534"/>
                  <a:gd name="connsiteX13" fmla="*/ 38809 w 52761"/>
                  <a:gd name="connsiteY13" fmla="*/ 49516 h 53534"/>
                  <a:gd name="connsiteX14" fmla="*/ 39688 w 52761"/>
                  <a:gd name="connsiteY14" fmla="*/ 48637 h 53534"/>
                  <a:gd name="connsiteX15" fmla="*/ 44837 w 52761"/>
                  <a:gd name="connsiteY15" fmla="*/ 11712 h 53534"/>
                  <a:gd name="connsiteX16" fmla="*/ 43582 w 52761"/>
                  <a:gd name="connsiteY16" fmla="*/ 9325 h 53534"/>
                  <a:gd name="connsiteX17" fmla="*/ 42325 w 52761"/>
                  <a:gd name="connsiteY17" fmla="*/ 7567 h 53534"/>
                  <a:gd name="connsiteX18" fmla="*/ 29515 w 52761"/>
                  <a:gd name="connsiteY18" fmla="*/ 785 h 53534"/>
                  <a:gd name="connsiteX19" fmla="*/ 20221 w 52761"/>
                  <a:gd name="connsiteY19" fmla="*/ 31 h 53534"/>
                  <a:gd name="connsiteX20" fmla="*/ 8164 w 52761"/>
                  <a:gd name="connsiteY20" fmla="*/ 2167 h 53534"/>
                  <a:gd name="connsiteX21" fmla="*/ 3014 w 52761"/>
                  <a:gd name="connsiteY21" fmla="*/ 3799 h 53534"/>
                  <a:gd name="connsiteX22" fmla="*/ 0 w 52761"/>
                  <a:gd name="connsiteY22" fmla="*/ 10833 h 53534"/>
                  <a:gd name="connsiteX23" fmla="*/ 0 w 52761"/>
                  <a:gd name="connsiteY23" fmla="*/ 12089 h 5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2761" h="53534">
                    <a:moveTo>
                      <a:pt x="0" y="12089"/>
                    </a:moveTo>
                    <a:cubicBezTo>
                      <a:pt x="0" y="12214"/>
                      <a:pt x="126" y="12214"/>
                      <a:pt x="126" y="12214"/>
                    </a:cubicBezTo>
                    <a:cubicBezTo>
                      <a:pt x="1507" y="12968"/>
                      <a:pt x="3140" y="13219"/>
                      <a:pt x="4773" y="13344"/>
                    </a:cubicBezTo>
                    <a:cubicBezTo>
                      <a:pt x="9169" y="13847"/>
                      <a:pt x="13690" y="14224"/>
                      <a:pt x="17960" y="13596"/>
                    </a:cubicBezTo>
                    <a:cubicBezTo>
                      <a:pt x="19844" y="13344"/>
                      <a:pt x="22482" y="12465"/>
                      <a:pt x="24240" y="13344"/>
                    </a:cubicBezTo>
                    <a:cubicBezTo>
                      <a:pt x="25622" y="14098"/>
                      <a:pt x="27255" y="15480"/>
                      <a:pt x="28008" y="16861"/>
                    </a:cubicBezTo>
                    <a:cubicBezTo>
                      <a:pt x="28385" y="17615"/>
                      <a:pt x="28762" y="18368"/>
                      <a:pt x="29012" y="19122"/>
                    </a:cubicBezTo>
                    <a:cubicBezTo>
                      <a:pt x="30017" y="21885"/>
                      <a:pt x="31399" y="24774"/>
                      <a:pt x="31524" y="27788"/>
                    </a:cubicBezTo>
                    <a:cubicBezTo>
                      <a:pt x="31650" y="30802"/>
                      <a:pt x="31902" y="33816"/>
                      <a:pt x="32152" y="36831"/>
                    </a:cubicBezTo>
                    <a:cubicBezTo>
                      <a:pt x="32404" y="39217"/>
                      <a:pt x="33283" y="41101"/>
                      <a:pt x="33911" y="43362"/>
                    </a:cubicBezTo>
                    <a:cubicBezTo>
                      <a:pt x="34790" y="46627"/>
                      <a:pt x="34413" y="50144"/>
                      <a:pt x="33659" y="53535"/>
                    </a:cubicBezTo>
                    <a:cubicBezTo>
                      <a:pt x="35041" y="52530"/>
                      <a:pt x="36297" y="51651"/>
                      <a:pt x="37176" y="50897"/>
                    </a:cubicBezTo>
                    <a:cubicBezTo>
                      <a:pt x="37428" y="50646"/>
                      <a:pt x="37804" y="50395"/>
                      <a:pt x="38056" y="50144"/>
                    </a:cubicBezTo>
                    <a:cubicBezTo>
                      <a:pt x="38306" y="49892"/>
                      <a:pt x="38558" y="49641"/>
                      <a:pt x="38809" y="49516"/>
                    </a:cubicBezTo>
                    <a:cubicBezTo>
                      <a:pt x="39437" y="49013"/>
                      <a:pt x="39688" y="48637"/>
                      <a:pt x="39688" y="48637"/>
                    </a:cubicBezTo>
                    <a:cubicBezTo>
                      <a:pt x="62797" y="25527"/>
                      <a:pt x="49108" y="22513"/>
                      <a:pt x="44837" y="11712"/>
                    </a:cubicBezTo>
                    <a:cubicBezTo>
                      <a:pt x="44461" y="10833"/>
                      <a:pt x="44084" y="10079"/>
                      <a:pt x="43582" y="9325"/>
                    </a:cubicBezTo>
                    <a:cubicBezTo>
                      <a:pt x="43205" y="8697"/>
                      <a:pt x="42828" y="8069"/>
                      <a:pt x="42325" y="7567"/>
                    </a:cubicBezTo>
                    <a:cubicBezTo>
                      <a:pt x="39186" y="3925"/>
                      <a:pt x="34288" y="1790"/>
                      <a:pt x="29515" y="785"/>
                    </a:cubicBezTo>
                    <a:cubicBezTo>
                      <a:pt x="26501" y="157"/>
                      <a:pt x="23361" y="-94"/>
                      <a:pt x="20221" y="31"/>
                    </a:cubicBezTo>
                    <a:cubicBezTo>
                      <a:pt x="16202" y="157"/>
                      <a:pt x="11932" y="659"/>
                      <a:pt x="8164" y="2167"/>
                    </a:cubicBezTo>
                    <a:cubicBezTo>
                      <a:pt x="6908" y="2669"/>
                      <a:pt x="4898" y="3171"/>
                      <a:pt x="3014" y="3799"/>
                    </a:cubicBezTo>
                    <a:cubicBezTo>
                      <a:pt x="1759" y="6060"/>
                      <a:pt x="754" y="8446"/>
                      <a:pt x="0" y="10833"/>
                    </a:cubicBezTo>
                    <a:cubicBezTo>
                      <a:pt x="126" y="11460"/>
                      <a:pt x="0" y="11712"/>
                      <a:pt x="0" y="12089"/>
                    </a:cubicBezTo>
                    <a:close/>
                  </a:path>
                </a:pathLst>
              </a:custGeom>
              <a:solidFill>
                <a:srgbClr val="DF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7" name="Freeform: Shape 5506">
                <a:extLst>
                  <a:ext uri="{FF2B5EF4-FFF2-40B4-BE49-F238E27FC236}">
                    <a16:creationId xmlns:a16="http://schemas.microsoft.com/office/drawing/2014/main" id="{473ADB59-EF56-4B4D-8453-2B6382716F23}"/>
                  </a:ext>
                </a:extLst>
              </p:cNvPr>
              <p:cNvSpPr/>
              <p:nvPr/>
            </p:nvSpPr>
            <p:spPr>
              <a:xfrm>
                <a:off x="11586249" y="2476959"/>
                <a:ext cx="59041" cy="82135"/>
              </a:xfrm>
              <a:custGeom>
                <a:avLst/>
                <a:gdLst>
                  <a:gd name="connsiteX0" fmla="*/ 5652 w 59041"/>
                  <a:gd name="connsiteY0" fmla="*/ 70455 h 82135"/>
                  <a:gd name="connsiteX1" fmla="*/ 19341 w 59041"/>
                  <a:gd name="connsiteY1" fmla="*/ 82135 h 82135"/>
                  <a:gd name="connsiteX2" fmla="*/ 29766 w 59041"/>
                  <a:gd name="connsiteY2" fmla="*/ 77739 h 82135"/>
                  <a:gd name="connsiteX3" fmla="*/ 36171 w 59041"/>
                  <a:gd name="connsiteY3" fmla="*/ 68822 h 82135"/>
                  <a:gd name="connsiteX4" fmla="*/ 37302 w 59041"/>
                  <a:gd name="connsiteY4" fmla="*/ 62291 h 82135"/>
                  <a:gd name="connsiteX5" fmla="*/ 37930 w 59041"/>
                  <a:gd name="connsiteY5" fmla="*/ 55886 h 82135"/>
                  <a:gd name="connsiteX6" fmla="*/ 38056 w 59041"/>
                  <a:gd name="connsiteY6" fmla="*/ 50360 h 82135"/>
                  <a:gd name="connsiteX7" fmla="*/ 40065 w 59041"/>
                  <a:gd name="connsiteY7" fmla="*/ 43829 h 82135"/>
                  <a:gd name="connsiteX8" fmla="*/ 42577 w 59041"/>
                  <a:gd name="connsiteY8" fmla="*/ 39182 h 82135"/>
                  <a:gd name="connsiteX9" fmla="*/ 48479 w 59041"/>
                  <a:gd name="connsiteY9" fmla="*/ 39684 h 82135"/>
                  <a:gd name="connsiteX10" fmla="*/ 49233 w 59041"/>
                  <a:gd name="connsiteY10" fmla="*/ 45838 h 82135"/>
                  <a:gd name="connsiteX11" fmla="*/ 47098 w 59041"/>
                  <a:gd name="connsiteY11" fmla="*/ 49983 h 82135"/>
                  <a:gd name="connsiteX12" fmla="*/ 42577 w 59041"/>
                  <a:gd name="connsiteY12" fmla="*/ 61789 h 82135"/>
                  <a:gd name="connsiteX13" fmla="*/ 42703 w 59041"/>
                  <a:gd name="connsiteY13" fmla="*/ 64301 h 82135"/>
                  <a:gd name="connsiteX14" fmla="*/ 46470 w 59041"/>
                  <a:gd name="connsiteY14" fmla="*/ 61412 h 82135"/>
                  <a:gd name="connsiteX15" fmla="*/ 56895 w 59041"/>
                  <a:gd name="connsiteY15" fmla="*/ 45461 h 82135"/>
                  <a:gd name="connsiteX16" fmla="*/ 59030 w 59041"/>
                  <a:gd name="connsiteY16" fmla="*/ 30767 h 82135"/>
                  <a:gd name="connsiteX17" fmla="*/ 50866 w 59041"/>
                  <a:gd name="connsiteY17" fmla="*/ 8537 h 82135"/>
                  <a:gd name="connsiteX18" fmla="*/ 27380 w 59041"/>
                  <a:gd name="connsiteY18" fmla="*/ 247 h 82135"/>
                  <a:gd name="connsiteX19" fmla="*/ 5526 w 59041"/>
                  <a:gd name="connsiteY19" fmla="*/ 12681 h 82135"/>
                  <a:gd name="connsiteX20" fmla="*/ 0 w 59041"/>
                  <a:gd name="connsiteY20" fmla="*/ 27501 h 82135"/>
                  <a:gd name="connsiteX21" fmla="*/ 8540 w 59041"/>
                  <a:gd name="connsiteY21" fmla="*/ 24990 h 82135"/>
                  <a:gd name="connsiteX22" fmla="*/ 32529 w 59041"/>
                  <a:gd name="connsiteY22" fmla="*/ 37549 h 82135"/>
                  <a:gd name="connsiteX23" fmla="*/ 33659 w 59041"/>
                  <a:gd name="connsiteY23" fmla="*/ 50988 h 82135"/>
                  <a:gd name="connsiteX24" fmla="*/ 33409 w 59041"/>
                  <a:gd name="connsiteY24" fmla="*/ 57519 h 82135"/>
                  <a:gd name="connsiteX25" fmla="*/ 29640 w 59041"/>
                  <a:gd name="connsiteY25" fmla="*/ 62542 h 82135"/>
                  <a:gd name="connsiteX26" fmla="*/ 26375 w 59041"/>
                  <a:gd name="connsiteY26" fmla="*/ 64929 h 82135"/>
                  <a:gd name="connsiteX27" fmla="*/ 24993 w 59041"/>
                  <a:gd name="connsiteY27" fmla="*/ 65180 h 82135"/>
                  <a:gd name="connsiteX28" fmla="*/ 23612 w 59041"/>
                  <a:gd name="connsiteY28" fmla="*/ 64552 h 82135"/>
                  <a:gd name="connsiteX29" fmla="*/ 21603 w 59041"/>
                  <a:gd name="connsiteY29" fmla="*/ 63422 h 82135"/>
                  <a:gd name="connsiteX30" fmla="*/ 19844 w 59041"/>
                  <a:gd name="connsiteY30" fmla="*/ 62542 h 82135"/>
                  <a:gd name="connsiteX31" fmla="*/ 15699 w 59041"/>
                  <a:gd name="connsiteY31" fmla="*/ 61789 h 82135"/>
                  <a:gd name="connsiteX32" fmla="*/ 11178 w 59041"/>
                  <a:gd name="connsiteY32" fmla="*/ 60784 h 82135"/>
                  <a:gd name="connsiteX33" fmla="*/ 9043 w 59041"/>
                  <a:gd name="connsiteY33" fmla="*/ 60784 h 82135"/>
                  <a:gd name="connsiteX34" fmla="*/ 7159 w 59041"/>
                  <a:gd name="connsiteY34" fmla="*/ 61789 h 82135"/>
                  <a:gd name="connsiteX35" fmla="*/ 4647 w 59041"/>
                  <a:gd name="connsiteY35" fmla="*/ 59151 h 82135"/>
                  <a:gd name="connsiteX36" fmla="*/ 4145 w 59041"/>
                  <a:gd name="connsiteY36" fmla="*/ 64175 h 82135"/>
                  <a:gd name="connsiteX37" fmla="*/ 5652 w 59041"/>
                  <a:gd name="connsiteY37" fmla="*/ 70455 h 82135"/>
                  <a:gd name="connsiteX38" fmla="*/ 16956 w 59041"/>
                  <a:gd name="connsiteY38" fmla="*/ 65933 h 82135"/>
                  <a:gd name="connsiteX39" fmla="*/ 22733 w 59041"/>
                  <a:gd name="connsiteY39" fmla="*/ 67064 h 82135"/>
                  <a:gd name="connsiteX40" fmla="*/ 22481 w 59041"/>
                  <a:gd name="connsiteY40" fmla="*/ 70832 h 82135"/>
                  <a:gd name="connsiteX41" fmla="*/ 19844 w 59041"/>
                  <a:gd name="connsiteY41" fmla="*/ 72967 h 82135"/>
                  <a:gd name="connsiteX42" fmla="*/ 18337 w 59041"/>
                  <a:gd name="connsiteY42" fmla="*/ 73092 h 82135"/>
                  <a:gd name="connsiteX43" fmla="*/ 16579 w 59041"/>
                  <a:gd name="connsiteY43" fmla="*/ 72590 h 82135"/>
                  <a:gd name="connsiteX44" fmla="*/ 16077 w 59041"/>
                  <a:gd name="connsiteY44" fmla="*/ 70706 h 82135"/>
                  <a:gd name="connsiteX45" fmla="*/ 16579 w 59041"/>
                  <a:gd name="connsiteY45" fmla="*/ 69073 h 82135"/>
                  <a:gd name="connsiteX46" fmla="*/ 15323 w 59041"/>
                  <a:gd name="connsiteY46" fmla="*/ 67817 h 82135"/>
                  <a:gd name="connsiteX47" fmla="*/ 13439 w 59041"/>
                  <a:gd name="connsiteY47" fmla="*/ 67315 h 82135"/>
                  <a:gd name="connsiteX48" fmla="*/ 12434 w 59041"/>
                  <a:gd name="connsiteY48" fmla="*/ 69199 h 82135"/>
                  <a:gd name="connsiteX49" fmla="*/ 12685 w 59041"/>
                  <a:gd name="connsiteY49" fmla="*/ 70329 h 82135"/>
                  <a:gd name="connsiteX50" fmla="*/ 10299 w 59041"/>
                  <a:gd name="connsiteY50" fmla="*/ 69827 h 82135"/>
                  <a:gd name="connsiteX51" fmla="*/ 8540 w 59041"/>
                  <a:gd name="connsiteY51" fmla="*/ 63673 h 82135"/>
                  <a:gd name="connsiteX52" fmla="*/ 9671 w 59041"/>
                  <a:gd name="connsiteY52" fmla="*/ 63673 h 82135"/>
                  <a:gd name="connsiteX53" fmla="*/ 10047 w 59041"/>
                  <a:gd name="connsiteY53" fmla="*/ 63798 h 82135"/>
                  <a:gd name="connsiteX54" fmla="*/ 16956 w 59041"/>
                  <a:gd name="connsiteY54" fmla="*/ 65933 h 8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9041" h="82135">
                    <a:moveTo>
                      <a:pt x="5652" y="70455"/>
                    </a:moveTo>
                    <a:cubicBezTo>
                      <a:pt x="7661" y="76735"/>
                      <a:pt x="12308" y="82135"/>
                      <a:pt x="19341" y="82135"/>
                    </a:cubicBezTo>
                    <a:cubicBezTo>
                      <a:pt x="23236" y="82135"/>
                      <a:pt x="27003" y="80502"/>
                      <a:pt x="29766" y="77739"/>
                    </a:cubicBezTo>
                    <a:cubicBezTo>
                      <a:pt x="32529" y="75102"/>
                      <a:pt x="34916" y="72590"/>
                      <a:pt x="36171" y="68822"/>
                    </a:cubicBezTo>
                    <a:cubicBezTo>
                      <a:pt x="36925" y="66687"/>
                      <a:pt x="37176" y="64426"/>
                      <a:pt x="37302" y="62291"/>
                    </a:cubicBezTo>
                    <a:cubicBezTo>
                      <a:pt x="37427" y="60156"/>
                      <a:pt x="37930" y="58021"/>
                      <a:pt x="37930" y="55886"/>
                    </a:cubicBezTo>
                    <a:cubicBezTo>
                      <a:pt x="37930" y="54002"/>
                      <a:pt x="37553" y="52244"/>
                      <a:pt x="38056" y="50360"/>
                    </a:cubicBezTo>
                    <a:cubicBezTo>
                      <a:pt x="38683" y="48099"/>
                      <a:pt x="39311" y="45964"/>
                      <a:pt x="40065" y="43829"/>
                    </a:cubicBezTo>
                    <a:cubicBezTo>
                      <a:pt x="40693" y="42196"/>
                      <a:pt x="41320" y="40438"/>
                      <a:pt x="42577" y="39182"/>
                    </a:cubicBezTo>
                    <a:cubicBezTo>
                      <a:pt x="44210" y="37549"/>
                      <a:pt x="47098" y="37675"/>
                      <a:pt x="48479" y="39684"/>
                    </a:cubicBezTo>
                    <a:cubicBezTo>
                      <a:pt x="49484" y="41191"/>
                      <a:pt x="49736" y="44080"/>
                      <a:pt x="49233" y="45838"/>
                    </a:cubicBezTo>
                    <a:cubicBezTo>
                      <a:pt x="48857" y="47345"/>
                      <a:pt x="47977" y="48727"/>
                      <a:pt x="47098" y="49983"/>
                    </a:cubicBezTo>
                    <a:cubicBezTo>
                      <a:pt x="44837" y="53625"/>
                      <a:pt x="42703" y="57267"/>
                      <a:pt x="42577" y="61789"/>
                    </a:cubicBezTo>
                    <a:cubicBezTo>
                      <a:pt x="42577" y="62166"/>
                      <a:pt x="42828" y="63924"/>
                      <a:pt x="42703" y="64301"/>
                    </a:cubicBezTo>
                    <a:cubicBezTo>
                      <a:pt x="44084" y="63422"/>
                      <a:pt x="45340" y="62417"/>
                      <a:pt x="46470" y="61412"/>
                    </a:cubicBezTo>
                    <a:cubicBezTo>
                      <a:pt x="51494" y="57267"/>
                      <a:pt x="55011" y="51616"/>
                      <a:pt x="56895" y="45461"/>
                    </a:cubicBezTo>
                    <a:cubicBezTo>
                      <a:pt x="58276" y="40689"/>
                      <a:pt x="59155" y="35791"/>
                      <a:pt x="59030" y="30767"/>
                    </a:cubicBezTo>
                    <a:cubicBezTo>
                      <a:pt x="58778" y="23357"/>
                      <a:pt x="56643" y="13686"/>
                      <a:pt x="50866" y="8537"/>
                    </a:cubicBezTo>
                    <a:cubicBezTo>
                      <a:pt x="44210" y="2634"/>
                      <a:pt x="36549" y="-1009"/>
                      <a:pt x="27380" y="247"/>
                    </a:cubicBezTo>
                    <a:cubicBezTo>
                      <a:pt x="18839" y="1378"/>
                      <a:pt x="11430" y="6778"/>
                      <a:pt x="5526" y="12681"/>
                    </a:cubicBezTo>
                    <a:cubicBezTo>
                      <a:pt x="1884" y="16324"/>
                      <a:pt x="377" y="21598"/>
                      <a:pt x="0" y="27501"/>
                    </a:cubicBezTo>
                    <a:cubicBezTo>
                      <a:pt x="2010" y="25869"/>
                      <a:pt x="3391" y="24864"/>
                      <a:pt x="8540" y="24990"/>
                    </a:cubicBezTo>
                    <a:cubicBezTo>
                      <a:pt x="23486" y="25241"/>
                      <a:pt x="31901" y="28632"/>
                      <a:pt x="32529" y="37549"/>
                    </a:cubicBezTo>
                    <a:cubicBezTo>
                      <a:pt x="32780" y="42070"/>
                      <a:pt x="33534" y="46466"/>
                      <a:pt x="33659" y="50988"/>
                    </a:cubicBezTo>
                    <a:cubicBezTo>
                      <a:pt x="33785" y="53123"/>
                      <a:pt x="34162" y="55383"/>
                      <a:pt x="33409" y="57519"/>
                    </a:cubicBezTo>
                    <a:cubicBezTo>
                      <a:pt x="32780" y="59528"/>
                      <a:pt x="31147" y="61161"/>
                      <a:pt x="29640" y="62542"/>
                    </a:cubicBezTo>
                    <a:cubicBezTo>
                      <a:pt x="28636" y="63422"/>
                      <a:pt x="27631" y="64301"/>
                      <a:pt x="26375" y="64929"/>
                    </a:cubicBezTo>
                    <a:cubicBezTo>
                      <a:pt x="25998" y="65054"/>
                      <a:pt x="25496" y="65305"/>
                      <a:pt x="24993" y="65180"/>
                    </a:cubicBezTo>
                    <a:cubicBezTo>
                      <a:pt x="24491" y="65180"/>
                      <a:pt x="24114" y="64803"/>
                      <a:pt x="23612" y="64552"/>
                    </a:cubicBezTo>
                    <a:cubicBezTo>
                      <a:pt x="22984" y="64175"/>
                      <a:pt x="22231" y="63798"/>
                      <a:pt x="21603" y="63422"/>
                    </a:cubicBezTo>
                    <a:cubicBezTo>
                      <a:pt x="20974" y="63170"/>
                      <a:pt x="20472" y="62794"/>
                      <a:pt x="19844" y="62542"/>
                    </a:cubicBezTo>
                    <a:cubicBezTo>
                      <a:pt x="18463" y="61914"/>
                      <a:pt x="17206" y="62040"/>
                      <a:pt x="15699" y="61789"/>
                    </a:cubicBezTo>
                    <a:cubicBezTo>
                      <a:pt x="14192" y="61538"/>
                      <a:pt x="12685" y="61035"/>
                      <a:pt x="11178" y="60784"/>
                    </a:cubicBezTo>
                    <a:cubicBezTo>
                      <a:pt x="10425" y="60658"/>
                      <a:pt x="9671" y="60533"/>
                      <a:pt x="9043" y="60784"/>
                    </a:cubicBezTo>
                    <a:cubicBezTo>
                      <a:pt x="8415" y="61035"/>
                      <a:pt x="7787" y="61538"/>
                      <a:pt x="7159" y="61789"/>
                    </a:cubicBezTo>
                    <a:cubicBezTo>
                      <a:pt x="5652" y="62417"/>
                      <a:pt x="5024" y="60282"/>
                      <a:pt x="4647" y="59151"/>
                    </a:cubicBezTo>
                    <a:cubicBezTo>
                      <a:pt x="4019" y="60784"/>
                      <a:pt x="4145" y="62417"/>
                      <a:pt x="4145" y="64175"/>
                    </a:cubicBezTo>
                    <a:cubicBezTo>
                      <a:pt x="4521" y="66185"/>
                      <a:pt x="4898" y="68445"/>
                      <a:pt x="5652" y="70455"/>
                    </a:cubicBezTo>
                    <a:close/>
                    <a:moveTo>
                      <a:pt x="16956" y="65933"/>
                    </a:moveTo>
                    <a:cubicBezTo>
                      <a:pt x="18463" y="66059"/>
                      <a:pt x="21853" y="65180"/>
                      <a:pt x="22733" y="67064"/>
                    </a:cubicBezTo>
                    <a:cubicBezTo>
                      <a:pt x="23360" y="68571"/>
                      <a:pt x="23236" y="69450"/>
                      <a:pt x="22481" y="70832"/>
                    </a:cubicBezTo>
                    <a:cubicBezTo>
                      <a:pt x="21979" y="71836"/>
                      <a:pt x="20974" y="72716"/>
                      <a:pt x="19844" y="72967"/>
                    </a:cubicBezTo>
                    <a:cubicBezTo>
                      <a:pt x="19341" y="73092"/>
                      <a:pt x="18839" y="73092"/>
                      <a:pt x="18337" y="73092"/>
                    </a:cubicBezTo>
                    <a:cubicBezTo>
                      <a:pt x="17709" y="73092"/>
                      <a:pt x="17081" y="73092"/>
                      <a:pt x="16579" y="72590"/>
                    </a:cubicBezTo>
                    <a:cubicBezTo>
                      <a:pt x="16077" y="72088"/>
                      <a:pt x="15951" y="71334"/>
                      <a:pt x="16077" y="70706"/>
                    </a:cubicBezTo>
                    <a:cubicBezTo>
                      <a:pt x="16201" y="70204"/>
                      <a:pt x="16579" y="69701"/>
                      <a:pt x="16579" y="69073"/>
                    </a:cubicBezTo>
                    <a:cubicBezTo>
                      <a:pt x="16453" y="68445"/>
                      <a:pt x="15825" y="68069"/>
                      <a:pt x="15323" y="67817"/>
                    </a:cubicBezTo>
                    <a:cubicBezTo>
                      <a:pt x="14694" y="67566"/>
                      <a:pt x="14067" y="67441"/>
                      <a:pt x="13439" y="67315"/>
                    </a:cubicBezTo>
                    <a:cubicBezTo>
                      <a:pt x="12183" y="67189"/>
                      <a:pt x="12183" y="68320"/>
                      <a:pt x="12434" y="69199"/>
                    </a:cubicBezTo>
                    <a:cubicBezTo>
                      <a:pt x="12559" y="69576"/>
                      <a:pt x="12559" y="69952"/>
                      <a:pt x="12685" y="70329"/>
                    </a:cubicBezTo>
                    <a:cubicBezTo>
                      <a:pt x="13062" y="72339"/>
                      <a:pt x="10801" y="70204"/>
                      <a:pt x="10299" y="69827"/>
                    </a:cubicBezTo>
                    <a:cubicBezTo>
                      <a:pt x="9168" y="68822"/>
                      <a:pt x="6782" y="64803"/>
                      <a:pt x="8540" y="63673"/>
                    </a:cubicBezTo>
                    <a:cubicBezTo>
                      <a:pt x="8918" y="63422"/>
                      <a:pt x="9294" y="63547"/>
                      <a:pt x="9671" y="63673"/>
                    </a:cubicBezTo>
                    <a:cubicBezTo>
                      <a:pt x="9797" y="63673"/>
                      <a:pt x="9922" y="63798"/>
                      <a:pt x="10047" y="63798"/>
                    </a:cubicBezTo>
                    <a:cubicBezTo>
                      <a:pt x="12308" y="64677"/>
                      <a:pt x="14444" y="65682"/>
                      <a:pt x="16956" y="65933"/>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8" name="Freeform: Shape 5507">
                <a:extLst>
                  <a:ext uri="{FF2B5EF4-FFF2-40B4-BE49-F238E27FC236}">
                    <a16:creationId xmlns:a16="http://schemas.microsoft.com/office/drawing/2014/main" id="{99DE74A9-1B2B-4650-B135-ABF2F17A815E}"/>
                  </a:ext>
                </a:extLst>
              </p:cNvPr>
              <p:cNvSpPr/>
              <p:nvPr/>
            </p:nvSpPr>
            <p:spPr>
              <a:xfrm>
                <a:off x="11595041" y="2476959"/>
                <a:ext cx="50375" cy="58900"/>
              </a:xfrm>
              <a:custGeom>
                <a:avLst/>
                <a:gdLst>
                  <a:gd name="connsiteX0" fmla="*/ 13439 w 50375"/>
                  <a:gd name="connsiteY0" fmla="*/ 5020 h 58900"/>
                  <a:gd name="connsiteX1" fmla="*/ 4396 w 50375"/>
                  <a:gd name="connsiteY1" fmla="*/ 7909 h 58900"/>
                  <a:gd name="connsiteX2" fmla="*/ 2009 w 50375"/>
                  <a:gd name="connsiteY2" fmla="*/ 8913 h 58900"/>
                  <a:gd name="connsiteX3" fmla="*/ 0 w 50375"/>
                  <a:gd name="connsiteY3" fmla="*/ 9793 h 58900"/>
                  <a:gd name="connsiteX4" fmla="*/ 18714 w 50375"/>
                  <a:gd name="connsiteY4" fmla="*/ 247 h 58900"/>
                  <a:gd name="connsiteX5" fmla="*/ 42200 w 50375"/>
                  <a:gd name="connsiteY5" fmla="*/ 8537 h 58900"/>
                  <a:gd name="connsiteX6" fmla="*/ 50364 w 50375"/>
                  <a:gd name="connsiteY6" fmla="*/ 30767 h 58900"/>
                  <a:gd name="connsiteX7" fmla="*/ 48228 w 50375"/>
                  <a:gd name="connsiteY7" fmla="*/ 45461 h 58900"/>
                  <a:gd name="connsiteX8" fmla="*/ 40441 w 50375"/>
                  <a:gd name="connsiteY8" fmla="*/ 58900 h 58900"/>
                  <a:gd name="connsiteX9" fmla="*/ 41070 w 50375"/>
                  <a:gd name="connsiteY9" fmla="*/ 56765 h 58900"/>
                  <a:gd name="connsiteX10" fmla="*/ 43330 w 50375"/>
                  <a:gd name="connsiteY10" fmla="*/ 45713 h 58900"/>
                  <a:gd name="connsiteX11" fmla="*/ 43707 w 50375"/>
                  <a:gd name="connsiteY11" fmla="*/ 26497 h 58900"/>
                  <a:gd name="connsiteX12" fmla="*/ 22355 w 50375"/>
                  <a:gd name="connsiteY12" fmla="*/ 4894 h 58900"/>
                  <a:gd name="connsiteX13" fmla="*/ 13439 w 50375"/>
                  <a:gd name="connsiteY13" fmla="*/ 5020 h 5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375" h="58900">
                    <a:moveTo>
                      <a:pt x="13439" y="5020"/>
                    </a:moveTo>
                    <a:cubicBezTo>
                      <a:pt x="10425" y="5648"/>
                      <a:pt x="7285" y="6778"/>
                      <a:pt x="4396" y="7909"/>
                    </a:cubicBezTo>
                    <a:cubicBezTo>
                      <a:pt x="3516" y="8285"/>
                      <a:pt x="2763" y="8537"/>
                      <a:pt x="2009" y="8913"/>
                    </a:cubicBezTo>
                    <a:cubicBezTo>
                      <a:pt x="1381" y="9165"/>
                      <a:pt x="628" y="9541"/>
                      <a:pt x="0" y="9793"/>
                    </a:cubicBezTo>
                    <a:cubicBezTo>
                      <a:pt x="5400" y="5146"/>
                      <a:pt x="11680" y="1127"/>
                      <a:pt x="18714" y="247"/>
                    </a:cubicBezTo>
                    <a:cubicBezTo>
                      <a:pt x="27757" y="-1009"/>
                      <a:pt x="35544" y="2634"/>
                      <a:pt x="42200" y="8537"/>
                    </a:cubicBezTo>
                    <a:cubicBezTo>
                      <a:pt x="47977" y="13686"/>
                      <a:pt x="50238" y="23357"/>
                      <a:pt x="50364" y="30767"/>
                    </a:cubicBezTo>
                    <a:cubicBezTo>
                      <a:pt x="50489" y="35791"/>
                      <a:pt x="49610" y="40689"/>
                      <a:pt x="48228" y="45461"/>
                    </a:cubicBezTo>
                    <a:cubicBezTo>
                      <a:pt x="46721" y="50485"/>
                      <a:pt x="44084" y="55132"/>
                      <a:pt x="40441" y="58900"/>
                    </a:cubicBezTo>
                    <a:cubicBezTo>
                      <a:pt x="40693" y="58147"/>
                      <a:pt x="40944" y="57393"/>
                      <a:pt x="41070" y="56765"/>
                    </a:cubicBezTo>
                    <a:cubicBezTo>
                      <a:pt x="42074" y="53123"/>
                      <a:pt x="42827" y="49481"/>
                      <a:pt x="43330" y="45713"/>
                    </a:cubicBezTo>
                    <a:cubicBezTo>
                      <a:pt x="44335" y="39307"/>
                      <a:pt x="44460" y="32902"/>
                      <a:pt x="43707" y="26497"/>
                    </a:cubicBezTo>
                    <a:cubicBezTo>
                      <a:pt x="42577" y="15068"/>
                      <a:pt x="33157" y="7406"/>
                      <a:pt x="22355" y="4894"/>
                    </a:cubicBezTo>
                    <a:cubicBezTo>
                      <a:pt x="19341" y="4266"/>
                      <a:pt x="16453" y="4392"/>
                      <a:pt x="13439" y="5020"/>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9" name="Freeform: Shape 5508">
                <a:extLst>
                  <a:ext uri="{FF2B5EF4-FFF2-40B4-BE49-F238E27FC236}">
                    <a16:creationId xmlns:a16="http://schemas.microsoft.com/office/drawing/2014/main" id="{7DF07711-C77B-45F5-BEC6-55F983F53A01}"/>
                  </a:ext>
                </a:extLst>
              </p:cNvPr>
              <p:cNvSpPr/>
              <p:nvPr/>
            </p:nvSpPr>
            <p:spPr>
              <a:xfrm>
                <a:off x="11590520" y="2533222"/>
                <a:ext cx="29514" cy="10776"/>
              </a:xfrm>
              <a:custGeom>
                <a:avLst/>
                <a:gdLst>
                  <a:gd name="connsiteX0" fmla="*/ 0 w 29514"/>
                  <a:gd name="connsiteY0" fmla="*/ 5777 h 10776"/>
                  <a:gd name="connsiteX1" fmla="*/ 502 w 29514"/>
                  <a:gd name="connsiteY1" fmla="*/ 2763 h 10776"/>
                  <a:gd name="connsiteX2" fmla="*/ 3014 w 29514"/>
                  <a:gd name="connsiteY2" fmla="*/ 5401 h 10776"/>
                  <a:gd name="connsiteX3" fmla="*/ 4898 w 29514"/>
                  <a:gd name="connsiteY3" fmla="*/ 4396 h 10776"/>
                  <a:gd name="connsiteX4" fmla="*/ 7033 w 29514"/>
                  <a:gd name="connsiteY4" fmla="*/ 4396 h 10776"/>
                  <a:gd name="connsiteX5" fmla="*/ 11555 w 29514"/>
                  <a:gd name="connsiteY5" fmla="*/ 5401 h 10776"/>
                  <a:gd name="connsiteX6" fmla="*/ 15699 w 29514"/>
                  <a:gd name="connsiteY6" fmla="*/ 6154 h 10776"/>
                  <a:gd name="connsiteX7" fmla="*/ 17457 w 29514"/>
                  <a:gd name="connsiteY7" fmla="*/ 7033 h 10776"/>
                  <a:gd name="connsiteX8" fmla="*/ 19467 w 29514"/>
                  <a:gd name="connsiteY8" fmla="*/ 8164 h 10776"/>
                  <a:gd name="connsiteX9" fmla="*/ 20848 w 29514"/>
                  <a:gd name="connsiteY9" fmla="*/ 8792 h 10776"/>
                  <a:gd name="connsiteX10" fmla="*/ 22230 w 29514"/>
                  <a:gd name="connsiteY10" fmla="*/ 8540 h 10776"/>
                  <a:gd name="connsiteX11" fmla="*/ 25495 w 29514"/>
                  <a:gd name="connsiteY11" fmla="*/ 6154 h 10776"/>
                  <a:gd name="connsiteX12" fmla="*/ 29263 w 29514"/>
                  <a:gd name="connsiteY12" fmla="*/ 1130 h 10776"/>
                  <a:gd name="connsiteX13" fmla="*/ 29514 w 29514"/>
                  <a:gd name="connsiteY13" fmla="*/ 0 h 10776"/>
                  <a:gd name="connsiteX14" fmla="*/ 28133 w 29514"/>
                  <a:gd name="connsiteY14" fmla="*/ 5275 h 10776"/>
                  <a:gd name="connsiteX15" fmla="*/ 26877 w 29514"/>
                  <a:gd name="connsiteY15" fmla="*/ 6782 h 10776"/>
                  <a:gd name="connsiteX16" fmla="*/ 23235 w 29514"/>
                  <a:gd name="connsiteY16" fmla="*/ 9796 h 10776"/>
                  <a:gd name="connsiteX17" fmla="*/ 21602 w 29514"/>
                  <a:gd name="connsiteY17" fmla="*/ 10676 h 10776"/>
                  <a:gd name="connsiteX18" fmla="*/ 19969 w 29514"/>
                  <a:gd name="connsiteY18" fmla="*/ 10299 h 10776"/>
                  <a:gd name="connsiteX19" fmla="*/ 16579 w 29514"/>
                  <a:gd name="connsiteY19" fmla="*/ 7912 h 10776"/>
                  <a:gd name="connsiteX20" fmla="*/ 14946 w 29514"/>
                  <a:gd name="connsiteY20" fmla="*/ 7033 h 10776"/>
                  <a:gd name="connsiteX21" fmla="*/ 12936 w 29514"/>
                  <a:gd name="connsiteY21" fmla="*/ 6531 h 10776"/>
                  <a:gd name="connsiteX22" fmla="*/ 8666 w 29514"/>
                  <a:gd name="connsiteY22" fmla="*/ 5652 h 10776"/>
                  <a:gd name="connsiteX23" fmla="*/ 4270 w 29514"/>
                  <a:gd name="connsiteY23" fmla="*/ 5903 h 10776"/>
                  <a:gd name="connsiteX24" fmla="*/ 3014 w 29514"/>
                  <a:gd name="connsiteY24" fmla="*/ 6657 h 10776"/>
                  <a:gd name="connsiteX25" fmla="*/ 0 w 29514"/>
                  <a:gd name="connsiteY25" fmla="*/ 5777 h 10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514" h="10776">
                    <a:moveTo>
                      <a:pt x="0" y="5777"/>
                    </a:moveTo>
                    <a:cubicBezTo>
                      <a:pt x="0" y="4773"/>
                      <a:pt x="126" y="3768"/>
                      <a:pt x="502" y="2763"/>
                    </a:cubicBezTo>
                    <a:cubicBezTo>
                      <a:pt x="754" y="3893"/>
                      <a:pt x="1381" y="6029"/>
                      <a:pt x="3014" y="5401"/>
                    </a:cubicBezTo>
                    <a:cubicBezTo>
                      <a:pt x="3642" y="5149"/>
                      <a:pt x="4144" y="4647"/>
                      <a:pt x="4898" y="4396"/>
                    </a:cubicBezTo>
                    <a:cubicBezTo>
                      <a:pt x="5651" y="4145"/>
                      <a:pt x="6405" y="4270"/>
                      <a:pt x="7033" y="4396"/>
                    </a:cubicBezTo>
                    <a:cubicBezTo>
                      <a:pt x="8540" y="4773"/>
                      <a:pt x="10047" y="5275"/>
                      <a:pt x="11555" y="5401"/>
                    </a:cubicBezTo>
                    <a:cubicBezTo>
                      <a:pt x="12936" y="5652"/>
                      <a:pt x="14317" y="5526"/>
                      <a:pt x="15699" y="6154"/>
                    </a:cubicBezTo>
                    <a:cubicBezTo>
                      <a:pt x="16327" y="6405"/>
                      <a:pt x="16829" y="6782"/>
                      <a:pt x="17457" y="7033"/>
                    </a:cubicBezTo>
                    <a:cubicBezTo>
                      <a:pt x="18211" y="7410"/>
                      <a:pt x="18839" y="7787"/>
                      <a:pt x="19467" y="8164"/>
                    </a:cubicBezTo>
                    <a:cubicBezTo>
                      <a:pt x="19843" y="8415"/>
                      <a:pt x="20346" y="8666"/>
                      <a:pt x="20848" y="8792"/>
                    </a:cubicBezTo>
                    <a:cubicBezTo>
                      <a:pt x="21351" y="8792"/>
                      <a:pt x="21728" y="8666"/>
                      <a:pt x="22230" y="8540"/>
                    </a:cubicBezTo>
                    <a:cubicBezTo>
                      <a:pt x="23486" y="8038"/>
                      <a:pt x="24490" y="7159"/>
                      <a:pt x="25495" y="6154"/>
                    </a:cubicBezTo>
                    <a:cubicBezTo>
                      <a:pt x="27002" y="4773"/>
                      <a:pt x="28635" y="3140"/>
                      <a:pt x="29263" y="1130"/>
                    </a:cubicBezTo>
                    <a:cubicBezTo>
                      <a:pt x="29389" y="754"/>
                      <a:pt x="29389" y="377"/>
                      <a:pt x="29514" y="0"/>
                    </a:cubicBezTo>
                    <a:cubicBezTo>
                      <a:pt x="29514" y="1884"/>
                      <a:pt x="29138" y="3768"/>
                      <a:pt x="28133" y="5275"/>
                    </a:cubicBezTo>
                    <a:cubicBezTo>
                      <a:pt x="27756" y="5777"/>
                      <a:pt x="27254" y="6280"/>
                      <a:pt x="26877" y="6782"/>
                    </a:cubicBezTo>
                    <a:cubicBezTo>
                      <a:pt x="25747" y="7912"/>
                      <a:pt x="24490" y="8917"/>
                      <a:pt x="23235" y="9796"/>
                    </a:cubicBezTo>
                    <a:cubicBezTo>
                      <a:pt x="22733" y="10173"/>
                      <a:pt x="22230" y="10424"/>
                      <a:pt x="21602" y="10676"/>
                    </a:cubicBezTo>
                    <a:cubicBezTo>
                      <a:pt x="20848" y="10927"/>
                      <a:pt x="20597" y="10676"/>
                      <a:pt x="19969" y="10299"/>
                    </a:cubicBezTo>
                    <a:cubicBezTo>
                      <a:pt x="18839" y="9420"/>
                      <a:pt x="17709" y="8666"/>
                      <a:pt x="16579" y="7912"/>
                    </a:cubicBezTo>
                    <a:cubicBezTo>
                      <a:pt x="16076" y="7536"/>
                      <a:pt x="15574" y="7285"/>
                      <a:pt x="14946" y="7033"/>
                    </a:cubicBezTo>
                    <a:cubicBezTo>
                      <a:pt x="14317" y="6782"/>
                      <a:pt x="13564" y="6657"/>
                      <a:pt x="12936" y="6531"/>
                    </a:cubicBezTo>
                    <a:cubicBezTo>
                      <a:pt x="11555" y="6280"/>
                      <a:pt x="10047" y="6029"/>
                      <a:pt x="8666" y="5652"/>
                    </a:cubicBezTo>
                    <a:cubicBezTo>
                      <a:pt x="7159" y="5401"/>
                      <a:pt x="5526" y="5149"/>
                      <a:pt x="4270" y="5903"/>
                    </a:cubicBezTo>
                    <a:cubicBezTo>
                      <a:pt x="3893" y="6154"/>
                      <a:pt x="3516" y="6531"/>
                      <a:pt x="3014" y="6657"/>
                    </a:cubicBezTo>
                    <a:cubicBezTo>
                      <a:pt x="2009" y="7159"/>
                      <a:pt x="754" y="6657"/>
                      <a:pt x="0" y="5777"/>
                    </a:cubicBezTo>
                    <a:close/>
                  </a:path>
                </a:pathLst>
              </a:custGeom>
              <a:solidFill>
                <a:srgbClr val="703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10" name="Freeform: Shape 5509">
                <a:extLst>
                  <a:ext uri="{FF2B5EF4-FFF2-40B4-BE49-F238E27FC236}">
                    <a16:creationId xmlns:a16="http://schemas.microsoft.com/office/drawing/2014/main" id="{1E015C53-7073-48F8-B915-6B193CC2E902}"/>
                  </a:ext>
                </a:extLst>
              </p:cNvPr>
              <p:cNvSpPr/>
              <p:nvPr/>
            </p:nvSpPr>
            <p:spPr>
              <a:xfrm>
                <a:off x="11590896" y="2518779"/>
                <a:ext cx="36171" cy="40441"/>
              </a:xfrm>
              <a:custGeom>
                <a:avLst/>
                <a:gdLst>
                  <a:gd name="connsiteX0" fmla="*/ 25119 w 36171"/>
                  <a:gd name="connsiteY0" fmla="*/ 36046 h 40441"/>
                  <a:gd name="connsiteX1" fmla="*/ 14694 w 36171"/>
                  <a:gd name="connsiteY1" fmla="*/ 40442 h 40441"/>
                  <a:gd name="connsiteX2" fmla="*/ 1005 w 36171"/>
                  <a:gd name="connsiteY2" fmla="*/ 28761 h 40441"/>
                  <a:gd name="connsiteX3" fmla="*/ 0 w 36171"/>
                  <a:gd name="connsiteY3" fmla="*/ 23612 h 40441"/>
                  <a:gd name="connsiteX4" fmla="*/ 628 w 36171"/>
                  <a:gd name="connsiteY4" fmla="*/ 26375 h 40441"/>
                  <a:gd name="connsiteX5" fmla="*/ 4019 w 36171"/>
                  <a:gd name="connsiteY5" fmla="*/ 32655 h 40441"/>
                  <a:gd name="connsiteX6" fmla="*/ 18211 w 36171"/>
                  <a:gd name="connsiteY6" fmla="*/ 36171 h 40441"/>
                  <a:gd name="connsiteX7" fmla="*/ 30394 w 36171"/>
                  <a:gd name="connsiteY7" fmla="*/ 23737 h 40441"/>
                  <a:gd name="connsiteX8" fmla="*/ 30645 w 36171"/>
                  <a:gd name="connsiteY8" fmla="*/ 18211 h 40441"/>
                  <a:gd name="connsiteX9" fmla="*/ 31022 w 36171"/>
                  <a:gd name="connsiteY9" fmla="*/ 11806 h 40441"/>
                  <a:gd name="connsiteX10" fmla="*/ 32404 w 36171"/>
                  <a:gd name="connsiteY10" fmla="*/ 5401 h 40441"/>
                  <a:gd name="connsiteX11" fmla="*/ 36171 w 36171"/>
                  <a:gd name="connsiteY11" fmla="*/ 0 h 40441"/>
                  <a:gd name="connsiteX12" fmla="*/ 35292 w 36171"/>
                  <a:gd name="connsiteY12" fmla="*/ 2261 h 40441"/>
                  <a:gd name="connsiteX13" fmla="*/ 33283 w 36171"/>
                  <a:gd name="connsiteY13" fmla="*/ 8792 h 40441"/>
                  <a:gd name="connsiteX14" fmla="*/ 33157 w 36171"/>
                  <a:gd name="connsiteY14" fmla="*/ 14318 h 40441"/>
                  <a:gd name="connsiteX15" fmla="*/ 32529 w 36171"/>
                  <a:gd name="connsiteY15" fmla="*/ 20723 h 40441"/>
                  <a:gd name="connsiteX16" fmla="*/ 31399 w 36171"/>
                  <a:gd name="connsiteY16" fmla="*/ 27254 h 40441"/>
                  <a:gd name="connsiteX17" fmla="*/ 25119 w 36171"/>
                  <a:gd name="connsiteY17" fmla="*/ 36046 h 4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171" h="40441">
                    <a:moveTo>
                      <a:pt x="25119" y="36046"/>
                    </a:moveTo>
                    <a:cubicBezTo>
                      <a:pt x="22356" y="38683"/>
                      <a:pt x="18589" y="40442"/>
                      <a:pt x="14694" y="40442"/>
                    </a:cubicBezTo>
                    <a:cubicBezTo>
                      <a:pt x="7661" y="40442"/>
                      <a:pt x="3014" y="34915"/>
                      <a:pt x="1005" y="28761"/>
                    </a:cubicBezTo>
                    <a:cubicBezTo>
                      <a:pt x="503" y="27129"/>
                      <a:pt x="126" y="25370"/>
                      <a:pt x="0" y="23612"/>
                    </a:cubicBezTo>
                    <a:cubicBezTo>
                      <a:pt x="251" y="24491"/>
                      <a:pt x="377" y="25496"/>
                      <a:pt x="628" y="26375"/>
                    </a:cubicBezTo>
                    <a:cubicBezTo>
                      <a:pt x="1256" y="28636"/>
                      <a:pt x="2135" y="31148"/>
                      <a:pt x="4019" y="32655"/>
                    </a:cubicBezTo>
                    <a:cubicBezTo>
                      <a:pt x="7913" y="35794"/>
                      <a:pt x="13313" y="37427"/>
                      <a:pt x="18211" y="36171"/>
                    </a:cubicBezTo>
                    <a:cubicBezTo>
                      <a:pt x="23612" y="34790"/>
                      <a:pt x="29390" y="29264"/>
                      <a:pt x="30394" y="23737"/>
                    </a:cubicBezTo>
                    <a:cubicBezTo>
                      <a:pt x="30771" y="21979"/>
                      <a:pt x="30645" y="20095"/>
                      <a:pt x="30645" y="18211"/>
                    </a:cubicBezTo>
                    <a:cubicBezTo>
                      <a:pt x="30645" y="16076"/>
                      <a:pt x="30771" y="13941"/>
                      <a:pt x="31022" y="11806"/>
                    </a:cubicBezTo>
                    <a:cubicBezTo>
                      <a:pt x="31273" y="9545"/>
                      <a:pt x="31776" y="7410"/>
                      <a:pt x="32404" y="5401"/>
                    </a:cubicBezTo>
                    <a:cubicBezTo>
                      <a:pt x="32780" y="4270"/>
                      <a:pt x="34539" y="754"/>
                      <a:pt x="36171" y="0"/>
                    </a:cubicBezTo>
                    <a:cubicBezTo>
                      <a:pt x="35795" y="754"/>
                      <a:pt x="35544" y="1507"/>
                      <a:pt x="35292" y="2261"/>
                    </a:cubicBezTo>
                    <a:cubicBezTo>
                      <a:pt x="34413" y="4396"/>
                      <a:pt x="33785" y="6657"/>
                      <a:pt x="33283" y="8792"/>
                    </a:cubicBezTo>
                    <a:cubicBezTo>
                      <a:pt x="32780" y="10676"/>
                      <a:pt x="33157" y="12434"/>
                      <a:pt x="33157" y="14318"/>
                    </a:cubicBezTo>
                    <a:cubicBezTo>
                      <a:pt x="33157" y="16453"/>
                      <a:pt x="32655" y="18588"/>
                      <a:pt x="32529" y="20723"/>
                    </a:cubicBezTo>
                    <a:cubicBezTo>
                      <a:pt x="32404" y="22984"/>
                      <a:pt x="32152" y="25119"/>
                      <a:pt x="31399" y="27254"/>
                    </a:cubicBezTo>
                    <a:cubicBezTo>
                      <a:pt x="30269" y="30896"/>
                      <a:pt x="27882" y="33408"/>
                      <a:pt x="25119" y="36046"/>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11" name="Freeform: Shape 5510">
                <a:extLst>
                  <a:ext uri="{FF2B5EF4-FFF2-40B4-BE49-F238E27FC236}">
                    <a16:creationId xmlns:a16="http://schemas.microsoft.com/office/drawing/2014/main" id="{FA98285C-EF2F-489C-9635-E73DE047EBE3}"/>
                  </a:ext>
                </a:extLst>
              </p:cNvPr>
              <p:cNvSpPr/>
              <p:nvPr/>
            </p:nvSpPr>
            <p:spPr>
              <a:xfrm>
                <a:off x="11660327" y="2654170"/>
                <a:ext cx="28785" cy="18315"/>
              </a:xfrm>
              <a:custGeom>
                <a:avLst/>
                <a:gdLst>
                  <a:gd name="connsiteX0" fmla="*/ 27780 w 28785"/>
                  <a:gd name="connsiteY0" fmla="*/ 9294 h 18315"/>
                  <a:gd name="connsiteX1" fmla="*/ 27655 w 28785"/>
                  <a:gd name="connsiteY1" fmla="*/ 12183 h 18315"/>
                  <a:gd name="connsiteX2" fmla="*/ 18486 w 28785"/>
                  <a:gd name="connsiteY2" fmla="*/ 18211 h 18315"/>
                  <a:gd name="connsiteX3" fmla="*/ 2661 w 28785"/>
                  <a:gd name="connsiteY3" fmla="*/ 16076 h 18315"/>
                  <a:gd name="connsiteX4" fmla="*/ 2033 w 28785"/>
                  <a:gd name="connsiteY4" fmla="*/ 11429 h 18315"/>
                  <a:gd name="connsiteX5" fmla="*/ 2033 w 28785"/>
                  <a:gd name="connsiteY5" fmla="*/ 10048 h 18315"/>
                  <a:gd name="connsiteX6" fmla="*/ 24 w 28785"/>
                  <a:gd name="connsiteY6" fmla="*/ 4898 h 18315"/>
                  <a:gd name="connsiteX7" fmla="*/ 903 w 28785"/>
                  <a:gd name="connsiteY7" fmla="*/ 3014 h 18315"/>
                  <a:gd name="connsiteX8" fmla="*/ 3792 w 28785"/>
                  <a:gd name="connsiteY8" fmla="*/ 1382 h 18315"/>
                  <a:gd name="connsiteX9" fmla="*/ 3792 w 28785"/>
                  <a:gd name="connsiteY9" fmla="*/ 3391 h 18315"/>
                  <a:gd name="connsiteX10" fmla="*/ 21877 w 28785"/>
                  <a:gd name="connsiteY10" fmla="*/ 4773 h 18315"/>
                  <a:gd name="connsiteX11" fmla="*/ 25143 w 28785"/>
                  <a:gd name="connsiteY11" fmla="*/ 0 h 18315"/>
                  <a:gd name="connsiteX12" fmla="*/ 28785 w 28785"/>
                  <a:gd name="connsiteY12" fmla="*/ 3894 h 18315"/>
                  <a:gd name="connsiteX13" fmla="*/ 27780 w 28785"/>
                  <a:gd name="connsiteY13" fmla="*/ 9294 h 18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85" h="18315">
                    <a:moveTo>
                      <a:pt x="27780" y="9294"/>
                    </a:moveTo>
                    <a:cubicBezTo>
                      <a:pt x="27780" y="10299"/>
                      <a:pt x="27780" y="11304"/>
                      <a:pt x="27655" y="12183"/>
                    </a:cubicBezTo>
                    <a:cubicBezTo>
                      <a:pt x="27278" y="16704"/>
                      <a:pt x="22254" y="17960"/>
                      <a:pt x="18486" y="18211"/>
                    </a:cubicBezTo>
                    <a:cubicBezTo>
                      <a:pt x="12834" y="18588"/>
                      <a:pt x="8062" y="17960"/>
                      <a:pt x="2661" y="16076"/>
                    </a:cubicBezTo>
                    <a:cubicBezTo>
                      <a:pt x="903" y="15448"/>
                      <a:pt x="1908" y="12811"/>
                      <a:pt x="2033" y="11429"/>
                    </a:cubicBezTo>
                    <a:cubicBezTo>
                      <a:pt x="2033" y="10927"/>
                      <a:pt x="2033" y="10550"/>
                      <a:pt x="2033" y="10048"/>
                    </a:cubicBezTo>
                    <a:cubicBezTo>
                      <a:pt x="1782" y="8164"/>
                      <a:pt x="150" y="6531"/>
                      <a:pt x="24" y="4898"/>
                    </a:cubicBezTo>
                    <a:cubicBezTo>
                      <a:pt x="-102" y="4019"/>
                      <a:pt x="275" y="3642"/>
                      <a:pt x="903" y="3014"/>
                    </a:cubicBezTo>
                    <a:cubicBezTo>
                      <a:pt x="1280" y="2763"/>
                      <a:pt x="3792" y="1633"/>
                      <a:pt x="3792" y="1382"/>
                    </a:cubicBezTo>
                    <a:cubicBezTo>
                      <a:pt x="3792" y="2010"/>
                      <a:pt x="3792" y="2763"/>
                      <a:pt x="3792" y="3391"/>
                    </a:cubicBezTo>
                    <a:cubicBezTo>
                      <a:pt x="3666" y="8415"/>
                      <a:pt x="18989" y="5526"/>
                      <a:pt x="21877" y="4773"/>
                    </a:cubicBezTo>
                    <a:cubicBezTo>
                      <a:pt x="24640" y="4019"/>
                      <a:pt x="26650" y="3391"/>
                      <a:pt x="25143" y="0"/>
                    </a:cubicBezTo>
                    <a:cubicBezTo>
                      <a:pt x="27027" y="754"/>
                      <a:pt x="28785" y="1633"/>
                      <a:pt x="28785" y="3894"/>
                    </a:cubicBezTo>
                    <a:cubicBezTo>
                      <a:pt x="28659" y="5777"/>
                      <a:pt x="27906" y="7536"/>
                      <a:pt x="27780" y="9294"/>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12" name="Freeform: Shape 5511">
                <a:extLst>
                  <a:ext uri="{FF2B5EF4-FFF2-40B4-BE49-F238E27FC236}">
                    <a16:creationId xmlns:a16="http://schemas.microsoft.com/office/drawing/2014/main" id="{1F1C222C-A447-441B-946C-5948F27BB1D7}"/>
                  </a:ext>
                </a:extLst>
              </p:cNvPr>
              <p:cNvSpPr/>
              <p:nvPr/>
            </p:nvSpPr>
            <p:spPr>
              <a:xfrm>
                <a:off x="11378642" y="2505741"/>
                <a:ext cx="46669" cy="33635"/>
              </a:xfrm>
              <a:custGeom>
                <a:avLst/>
                <a:gdLst>
                  <a:gd name="connsiteX0" fmla="*/ 0 w 46669"/>
                  <a:gd name="connsiteY0" fmla="*/ 6381 h 33635"/>
                  <a:gd name="connsiteX1" fmla="*/ 17960 w 46669"/>
                  <a:gd name="connsiteY1" fmla="*/ 227 h 33635"/>
                  <a:gd name="connsiteX2" fmla="*/ 43581 w 46669"/>
                  <a:gd name="connsiteY2" fmla="*/ 10526 h 33635"/>
                  <a:gd name="connsiteX3" fmla="*/ 45967 w 46669"/>
                  <a:gd name="connsiteY3" fmla="*/ 30244 h 33635"/>
                  <a:gd name="connsiteX4" fmla="*/ 45716 w 46669"/>
                  <a:gd name="connsiteY4" fmla="*/ 31626 h 33635"/>
                  <a:gd name="connsiteX5" fmla="*/ 44712 w 46669"/>
                  <a:gd name="connsiteY5" fmla="*/ 33635 h 33635"/>
                  <a:gd name="connsiteX6" fmla="*/ 44335 w 46669"/>
                  <a:gd name="connsiteY6" fmla="*/ 23713 h 33635"/>
                  <a:gd name="connsiteX7" fmla="*/ 22355 w 46669"/>
                  <a:gd name="connsiteY7" fmla="*/ 1483 h 33635"/>
                  <a:gd name="connsiteX8" fmla="*/ 13187 w 46669"/>
                  <a:gd name="connsiteY8" fmla="*/ 1609 h 33635"/>
                  <a:gd name="connsiteX9" fmla="*/ 3893 w 46669"/>
                  <a:gd name="connsiteY9" fmla="*/ 4623 h 33635"/>
                  <a:gd name="connsiteX10" fmla="*/ 1381 w 46669"/>
                  <a:gd name="connsiteY10" fmla="*/ 5628 h 33635"/>
                  <a:gd name="connsiteX11" fmla="*/ 0 w 46669"/>
                  <a:gd name="connsiteY11" fmla="*/ 6381 h 3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69" h="33635">
                    <a:moveTo>
                      <a:pt x="0" y="6381"/>
                    </a:moveTo>
                    <a:cubicBezTo>
                      <a:pt x="6028" y="2488"/>
                      <a:pt x="11931" y="1106"/>
                      <a:pt x="17960" y="227"/>
                    </a:cubicBezTo>
                    <a:cubicBezTo>
                      <a:pt x="27254" y="-1029"/>
                      <a:pt x="38055" y="2990"/>
                      <a:pt x="43581" y="10526"/>
                    </a:cubicBezTo>
                    <a:cubicBezTo>
                      <a:pt x="47223" y="15550"/>
                      <a:pt x="47098" y="24090"/>
                      <a:pt x="45967" y="30244"/>
                    </a:cubicBezTo>
                    <a:cubicBezTo>
                      <a:pt x="45842" y="30747"/>
                      <a:pt x="45716" y="31124"/>
                      <a:pt x="45716" y="31626"/>
                    </a:cubicBezTo>
                    <a:cubicBezTo>
                      <a:pt x="45340" y="32254"/>
                      <a:pt x="45088" y="33008"/>
                      <a:pt x="44712" y="33635"/>
                    </a:cubicBezTo>
                    <a:cubicBezTo>
                      <a:pt x="44712" y="30370"/>
                      <a:pt x="44586" y="27105"/>
                      <a:pt x="44335" y="23713"/>
                    </a:cubicBezTo>
                    <a:cubicBezTo>
                      <a:pt x="43205" y="12033"/>
                      <a:pt x="33534" y="3995"/>
                      <a:pt x="22355" y="1483"/>
                    </a:cubicBezTo>
                    <a:cubicBezTo>
                      <a:pt x="19216" y="730"/>
                      <a:pt x="16327" y="981"/>
                      <a:pt x="13187" y="1609"/>
                    </a:cubicBezTo>
                    <a:cubicBezTo>
                      <a:pt x="10047" y="2237"/>
                      <a:pt x="6908" y="3367"/>
                      <a:pt x="3893" y="4623"/>
                    </a:cubicBezTo>
                    <a:cubicBezTo>
                      <a:pt x="3014" y="5000"/>
                      <a:pt x="2261" y="5251"/>
                      <a:pt x="1381" y="5628"/>
                    </a:cubicBezTo>
                    <a:cubicBezTo>
                      <a:pt x="878" y="5879"/>
                      <a:pt x="376" y="6130"/>
                      <a:pt x="0" y="6381"/>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13" name="Freeform: Shape 5512">
                <a:extLst>
                  <a:ext uri="{FF2B5EF4-FFF2-40B4-BE49-F238E27FC236}">
                    <a16:creationId xmlns:a16="http://schemas.microsoft.com/office/drawing/2014/main" id="{125AC324-A7A5-42F9-A7DE-A6A4CB7149E7}"/>
                  </a:ext>
                </a:extLst>
              </p:cNvPr>
              <p:cNvSpPr/>
              <p:nvPr/>
            </p:nvSpPr>
            <p:spPr>
              <a:xfrm>
                <a:off x="11370822" y="2580818"/>
                <a:ext cx="52643" cy="23872"/>
              </a:xfrm>
              <a:custGeom>
                <a:avLst/>
                <a:gdLst>
                  <a:gd name="connsiteX0" fmla="*/ 2042 w 52643"/>
                  <a:gd name="connsiteY0" fmla="*/ 13820 h 23872"/>
                  <a:gd name="connsiteX1" fmla="*/ 33 w 52643"/>
                  <a:gd name="connsiteY1" fmla="*/ 6536 h 23872"/>
                  <a:gd name="connsiteX2" fmla="*/ 6689 w 52643"/>
                  <a:gd name="connsiteY2" fmla="*/ 1261 h 23872"/>
                  <a:gd name="connsiteX3" fmla="*/ 23268 w 52643"/>
                  <a:gd name="connsiteY3" fmla="*/ 14699 h 23872"/>
                  <a:gd name="connsiteX4" fmla="*/ 35450 w 52643"/>
                  <a:gd name="connsiteY4" fmla="*/ 12187 h 23872"/>
                  <a:gd name="connsiteX5" fmla="*/ 41102 w 52643"/>
                  <a:gd name="connsiteY5" fmla="*/ 8922 h 23872"/>
                  <a:gd name="connsiteX6" fmla="*/ 44493 w 52643"/>
                  <a:gd name="connsiteY6" fmla="*/ 5782 h 23872"/>
                  <a:gd name="connsiteX7" fmla="*/ 45121 w 52643"/>
                  <a:gd name="connsiteY7" fmla="*/ 5656 h 23872"/>
                  <a:gd name="connsiteX8" fmla="*/ 47508 w 52643"/>
                  <a:gd name="connsiteY8" fmla="*/ 7038 h 23872"/>
                  <a:gd name="connsiteX9" fmla="*/ 52029 w 52643"/>
                  <a:gd name="connsiteY9" fmla="*/ 10303 h 23872"/>
                  <a:gd name="connsiteX10" fmla="*/ 50647 w 52643"/>
                  <a:gd name="connsiteY10" fmla="*/ 15955 h 23872"/>
                  <a:gd name="connsiteX11" fmla="*/ 42609 w 52643"/>
                  <a:gd name="connsiteY11" fmla="*/ 20853 h 23872"/>
                  <a:gd name="connsiteX12" fmla="*/ 32436 w 52643"/>
                  <a:gd name="connsiteY12" fmla="*/ 23491 h 23872"/>
                  <a:gd name="connsiteX13" fmla="*/ 11964 w 52643"/>
                  <a:gd name="connsiteY13" fmla="*/ 21481 h 23872"/>
                  <a:gd name="connsiteX14" fmla="*/ 6187 w 52643"/>
                  <a:gd name="connsiteY14" fmla="*/ 18593 h 23872"/>
                  <a:gd name="connsiteX15" fmla="*/ 2042 w 52643"/>
                  <a:gd name="connsiteY15" fmla="*/ 13820 h 2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643" h="23872">
                    <a:moveTo>
                      <a:pt x="2042" y="13820"/>
                    </a:moveTo>
                    <a:cubicBezTo>
                      <a:pt x="912" y="11559"/>
                      <a:pt x="409" y="9048"/>
                      <a:pt x="33" y="6536"/>
                    </a:cubicBezTo>
                    <a:cubicBezTo>
                      <a:pt x="-344" y="2642"/>
                      <a:pt x="2544" y="-2382"/>
                      <a:pt x="6689" y="1261"/>
                    </a:cubicBezTo>
                    <a:cubicBezTo>
                      <a:pt x="2419" y="9424"/>
                      <a:pt x="17239" y="14448"/>
                      <a:pt x="23268" y="14699"/>
                    </a:cubicBezTo>
                    <a:cubicBezTo>
                      <a:pt x="27413" y="14825"/>
                      <a:pt x="31682" y="13820"/>
                      <a:pt x="35450" y="12187"/>
                    </a:cubicBezTo>
                    <a:cubicBezTo>
                      <a:pt x="37460" y="11308"/>
                      <a:pt x="39219" y="10178"/>
                      <a:pt x="41102" y="8922"/>
                    </a:cubicBezTo>
                    <a:cubicBezTo>
                      <a:pt x="42233" y="8168"/>
                      <a:pt x="43237" y="6284"/>
                      <a:pt x="44493" y="5782"/>
                    </a:cubicBezTo>
                    <a:cubicBezTo>
                      <a:pt x="44619" y="5656"/>
                      <a:pt x="44870" y="5656"/>
                      <a:pt x="45121" y="5656"/>
                    </a:cubicBezTo>
                    <a:cubicBezTo>
                      <a:pt x="46126" y="5531"/>
                      <a:pt x="46754" y="6536"/>
                      <a:pt x="47508" y="7038"/>
                    </a:cubicBezTo>
                    <a:cubicBezTo>
                      <a:pt x="49015" y="8168"/>
                      <a:pt x="50522" y="9299"/>
                      <a:pt x="52029" y="10303"/>
                    </a:cubicBezTo>
                    <a:cubicBezTo>
                      <a:pt x="53787" y="11559"/>
                      <a:pt x="51275" y="14699"/>
                      <a:pt x="50647" y="15955"/>
                    </a:cubicBezTo>
                    <a:cubicBezTo>
                      <a:pt x="49140" y="18593"/>
                      <a:pt x="45247" y="19849"/>
                      <a:pt x="42609" y="20853"/>
                    </a:cubicBezTo>
                    <a:cubicBezTo>
                      <a:pt x="39344" y="22109"/>
                      <a:pt x="35953" y="22989"/>
                      <a:pt x="32436" y="23491"/>
                    </a:cubicBezTo>
                    <a:cubicBezTo>
                      <a:pt x="25654" y="24370"/>
                      <a:pt x="18495" y="23742"/>
                      <a:pt x="11964" y="21481"/>
                    </a:cubicBezTo>
                    <a:cubicBezTo>
                      <a:pt x="9955" y="20728"/>
                      <a:pt x="7945" y="19849"/>
                      <a:pt x="6187" y="18593"/>
                    </a:cubicBezTo>
                    <a:cubicBezTo>
                      <a:pt x="4177" y="17211"/>
                      <a:pt x="2922" y="15578"/>
                      <a:pt x="2042" y="13820"/>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514" name="TextBox 5513">
            <a:extLst>
              <a:ext uri="{FF2B5EF4-FFF2-40B4-BE49-F238E27FC236}">
                <a16:creationId xmlns:a16="http://schemas.microsoft.com/office/drawing/2014/main" id="{8C5C52F4-851C-4AAE-9FC2-A2870AAEA843}"/>
              </a:ext>
            </a:extLst>
          </p:cNvPr>
          <p:cNvSpPr txBox="1"/>
          <p:nvPr/>
        </p:nvSpPr>
        <p:spPr>
          <a:xfrm>
            <a:off x="278511" y="3297961"/>
            <a:ext cx="887349"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INBOUND LOGISTICS</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15" name="TextBox 5514">
            <a:extLst>
              <a:ext uri="{FF2B5EF4-FFF2-40B4-BE49-F238E27FC236}">
                <a16:creationId xmlns:a16="http://schemas.microsoft.com/office/drawing/2014/main" id="{AF14B24C-EC30-4ED3-B2A9-CA574E0D221C}"/>
              </a:ext>
            </a:extLst>
          </p:cNvPr>
          <p:cNvSpPr txBox="1"/>
          <p:nvPr/>
        </p:nvSpPr>
        <p:spPr>
          <a:xfrm>
            <a:off x="1269111" y="3564661"/>
            <a:ext cx="103975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Optimize</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Transportation</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16" name="TextBox 5515">
            <a:extLst>
              <a:ext uri="{FF2B5EF4-FFF2-40B4-BE49-F238E27FC236}">
                <a16:creationId xmlns:a16="http://schemas.microsoft.com/office/drawing/2014/main" id="{D99B1AC4-6D7C-44B6-B7FD-4FC0599C5952}"/>
              </a:ext>
            </a:extLst>
          </p:cNvPr>
          <p:cNvSpPr txBox="1"/>
          <p:nvPr/>
        </p:nvSpPr>
        <p:spPr>
          <a:xfrm>
            <a:off x="1642491" y="2025421"/>
            <a:ext cx="103975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onitor </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Supply Chain</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17" name="TextBox 5516">
            <a:extLst>
              <a:ext uri="{FF2B5EF4-FFF2-40B4-BE49-F238E27FC236}">
                <a16:creationId xmlns:a16="http://schemas.microsoft.com/office/drawing/2014/main" id="{BC98D47B-A686-417F-8D30-46FC5F6B8B71}"/>
              </a:ext>
            </a:extLst>
          </p:cNvPr>
          <p:cNvSpPr txBox="1"/>
          <p:nvPr/>
        </p:nvSpPr>
        <p:spPr>
          <a:xfrm>
            <a:off x="2793111" y="2863621"/>
            <a:ext cx="1024509" cy="6093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Distributed</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Orders </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Purchasing)</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18" name="TextBox 5517">
            <a:extLst>
              <a:ext uri="{FF2B5EF4-FFF2-40B4-BE49-F238E27FC236}">
                <a16:creationId xmlns:a16="http://schemas.microsoft.com/office/drawing/2014/main" id="{7A54A2D2-9EBA-4007-A878-644343A14001}"/>
              </a:ext>
            </a:extLst>
          </p:cNvPr>
          <p:cNvSpPr txBox="1"/>
          <p:nvPr/>
        </p:nvSpPr>
        <p:spPr>
          <a:xfrm>
            <a:off x="1570663" y="1179601"/>
            <a:ext cx="1305326"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RAW MATERIALS</a:t>
            </a:r>
            <a:br>
              <a:rPr kumimoji="0" lang="en-US" sz="1200" b="0" i="0" u="none" strike="noStrike" kern="1200" cap="none" spc="0" normalizeH="0" baseline="0" noProof="0">
                <a:ln>
                  <a:noFill/>
                </a:ln>
                <a:solidFill>
                  <a:srgbClr val="008272"/>
                </a:solidFill>
                <a:effectLst/>
                <a:uLnTx/>
                <a:uFillTx/>
                <a:latin typeface="Segoe UI Semibold"/>
                <a:ea typeface="+mn-ea"/>
                <a:cs typeface="+mn-cs"/>
              </a:rPr>
            </a:br>
            <a:r>
              <a:rPr kumimoji="0" lang="en-US" sz="1200" b="0" i="0" u="none" strike="noStrike" kern="1200" cap="none" spc="0" normalizeH="0" baseline="0" noProof="0">
                <a:ln>
                  <a:noFill/>
                </a:ln>
                <a:solidFill>
                  <a:srgbClr val="008272"/>
                </a:solidFill>
                <a:effectLst/>
                <a:uLnTx/>
                <a:uFillTx/>
                <a:latin typeface="Segoe UI Semibold"/>
                <a:ea typeface="+mn-ea"/>
                <a:cs typeface="+mn-cs"/>
              </a:rPr>
              <a:t>WAREHOUSE</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19" name="TextBox 5518">
            <a:extLst>
              <a:ext uri="{FF2B5EF4-FFF2-40B4-BE49-F238E27FC236}">
                <a16:creationId xmlns:a16="http://schemas.microsoft.com/office/drawing/2014/main" id="{D9C57905-06B4-42B7-A0A9-F9518570DB23}"/>
              </a:ext>
            </a:extLst>
          </p:cNvPr>
          <p:cNvSpPr txBox="1"/>
          <p:nvPr/>
        </p:nvSpPr>
        <p:spPr>
          <a:xfrm>
            <a:off x="4080891" y="1347241"/>
            <a:ext cx="103975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Analyze Delivery</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of Material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0" name="TextBox 5519">
            <a:extLst>
              <a:ext uri="{FF2B5EF4-FFF2-40B4-BE49-F238E27FC236}">
                <a16:creationId xmlns:a16="http://schemas.microsoft.com/office/drawing/2014/main" id="{3041A89D-574F-41D0-95B8-7232260431D4}"/>
              </a:ext>
            </a:extLst>
          </p:cNvPr>
          <p:cNvSpPr txBox="1"/>
          <p:nvPr/>
        </p:nvSpPr>
        <p:spPr>
          <a:xfrm>
            <a:off x="5886831" y="1225321"/>
            <a:ext cx="872109" cy="45704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onitor Inventory Lifecycle</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1" name="TextBox 5520">
            <a:extLst>
              <a:ext uri="{FF2B5EF4-FFF2-40B4-BE49-F238E27FC236}">
                <a16:creationId xmlns:a16="http://schemas.microsoft.com/office/drawing/2014/main" id="{FFCA0A6F-1863-4F85-8576-6F627956666F}"/>
              </a:ext>
            </a:extLst>
          </p:cNvPr>
          <p:cNvSpPr txBox="1"/>
          <p:nvPr/>
        </p:nvSpPr>
        <p:spPr>
          <a:xfrm>
            <a:off x="5947791" y="2406421"/>
            <a:ext cx="1253109"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onitor Distributed </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Inventory (Raw)</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2" name="TextBox 5521">
            <a:extLst>
              <a:ext uri="{FF2B5EF4-FFF2-40B4-BE49-F238E27FC236}">
                <a16:creationId xmlns:a16="http://schemas.microsoft.com/office/drawing/2014/main" id="{142CB7E2-3916-488F-A7E0-64418C98AD2B}"/>
              </a:ext>
            </a:extLst>
          </p:cNvPr>
          <p:cNvSpPr txBox="1"/>
          <p:nvPr/>
        </p:nvSpPr>
        <p:spPr>
          <a:xfrm>
            <a:off x="5426382" y="3046501"/>
            <a:ext cx="1419295"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MAUFACTURING</a:t>
            </a:r>
            <a:br>
              <a:rPr kumimoji="0" lang="en-US" sz="1200" b="0" i="0" u="none" strike="noStrike" kern="1200" cap="none" spc="0" normalizeH="0" baseline="0" noProof="0">
                <a:ln>
                  <a:noFill/>
                </a:ln>
                <a:solidFill>
                  <a:srgbClr val="008272"/>
                </a:solidFill>
                <a:effectLst/>
                <a:uLnTx/>
                <a:uFillTx/>
                <a:latin typeface="Segoe UI Semibold"/>
                <a:ea typeface="+mn-ea"/>
                <a:cs typeface="+mn-cs"/>
              </a:rPr>
            </a:br>
            <a:r>
              <a:rPr kumimoji="0" lang="en-US" sz="1200" b="0" i="0" u="none" strike="noStrike" kern="1200" cap="none" spc="0" normalizeH="0" baseline="0" noProof="0">
                <a:ln>
                  <a:noFill/>
                </a:ln>
                <a:solidFill>
                  <a:srgbClr val="008272"/>
                </a:solidFill>
                <a:effectLst/>
                <a:uLnTx/>
                <a:uFillTx/>
                <a:latin typeface="Segoe UI Semibold"/>
                <a:ea typeface="+mn-ea"/>
                <a:cs typeface="+mn-cs"/>
              </a:rPr>
              <a:t>EXECUTION SYSTEM</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23" name="TextBox 5522">
            <a:extLst>
              <a:ext uri="{FF2B5EF4-FFF2-40B4-BE49-F238E27FC236}">
                <a16:creationId xmlns:a16="http://schemas.microsoft.com/office/drawing/2014/main" id="{02B260D5-A5AD-425C-A3FF-561AB4B0F5A6}"/>
              </a:ext>
            </a:extLst>
          </p:cNvPr>
          <p:cNvSpPr txBox="1"/>
          <p:nvPr/>
        </p:nvSpPr>
        <p:spPr>
          <a:xfrm>
            <a:off x="3753231" y="3717061"/>
            <a:ext cx="103975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Shop</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Floor Order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4" name="TextBox 5523">
            <a:extLst>
              <a:ext uri="{FF2B5EF4-FFF2-40B4-BE49-F238E27FC236}">
                <a16:creationId xmlns:a16="http://schemas.microsoft.com/office/drawing/2014/main" id="{6BD843C2-12BE-4692-ABE8-F3E1D43A88A2}"/>
              </a:ext>
            </a:extLst>
          </p:cNvPr>
          <p:cNvSpPr txBox="1"/>
          <p:nvPr/>
        </p:nvSpPr>
        <p:spPr>
          <a:xfrm>
            <a:off x="2914088" y="4555261"/>
            <a:ext cx="130776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Remote Monitoring</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and Control</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5" name="TextBox 5524">
            <a:extLst>
              <a:ext uri="{FF2B5EF4-FFF2-40B4-BE49-F238E27FC236}">
                <a16:creationId xmlns:a16="http://schemas.microsoft.com/office/drawing/2014/main" id="{1D8B17D9-8E1B-4210-A257-9AECA9ED4B85}"/>
              </a:ext>
            </a:extLst>
          </p:cNvPr>
          <p:cNvSpPr txBox="1"/>
          <p:nvPr/>
        </p:nvSpPr>
        <p:spPr>
          <a:xfrm>
            <a:off x="5969708" y="4753381"/>
            <a:ext cx="964492" cy="45704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Maintenance </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of Asset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6" name="TextBox 5525">
            <a:extLst>
              <a:ext uri="{FF2B5EF4-FFF2-40B4-BE49-F238E27FC236}">
                <a16:creationId xmlns:a16="http://schemas.microsoft.com/office/drawing/2014/main" id="{E1622A69-9B6E-47EA-826E-19877935E0D7}"/>
              </a:ext>
            </a:extLst>
          </p:cNvPr>
          <p:cNvSpPr txBox="1"/>
          <p:nvPr/>
        </p:nvSpPr>
        <p:spPr>
          <a:xfrm>
            <a:off x="5742051" y="3907561"/>
            <a:ext cx="1039750" cy="45704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MRO and WIP</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Inventorie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7" name="TextBox 5526">
            <a:extLst>
              <a:ext uri="{FF2B5EF4-FFF2-40B4-BE49-F238E27FC236}">
                <a16:creationId xmlns:a16="http://schemas.microsoft.com/office/drawing/2014/main" id="{1C4FE193-BDFF-4A56-B76A-6838BDA84B37}"/>
              </a:ext>
            </a:extLst>
          </p:cNvPr>
          <p:cNvSpPr txBox="1"/>
          <p:nvPr/>
        </p:nvSpPr>
        <p:spPr>
          <a:xfrm>
            <a:off x="7485982" y="4178031"/>
            <a:ext cx="1419295"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FINISHED GOODS</a:t>
            </a:r>
            <a:br>
              <a:rPr kumimoji="0" lang="en-US" sz="1200" b="0" i="0" u="none" strike="noStrike" kern="1200" cap="none" spc="0" normalizeH="0" baseline="0" noProof="0">
                <a:ln>
                  <a:noFill/>
                </a:ln>
                <a:solidFill>
                  <a:srgbClr val="008272"/>
                </a:solidFill>
                <a:effectLst/>
                <a:uLnTx/>
                <a:uFillTx/>
                <a:latin typeface="Segoe UI Semibold"/>
                <a:ea typeface="+mn-ea"/>
                <a:cs typeface="+mn-cs"/>
              </a:rPr>
            </a:br>
            <a:r>
              <a:rPr kumimoji="0" lang="en-US" sz="1200" b="0" i="0" u="none" strike="noStrike" kern="1200" cap="none" spc="0" normalizeH="0" baseline="0" noProof="0">
                <a:ln>
                  <a:noFill/>
                </a:ln>
                <a:solidFill>
                  <a:srgbClr val="008272"/>
                </a:solidFill>
                <a:effectLst/>
                <a:uLnTx/>
                <a:uFillTx/>
                <a:latin typeface="Segoe UI Semibold"/>
                <a:ea typeface="+mn-ea"/>
                <a:cs typeface="+mn-cs"/>
              </a:rPr>
              <a:t>WAREHOUSE</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28" name="TextBox 5527">
            <a:extLst>
              <a:ext uri="{FF2B5EF4-FFF2-40B4-BE49-F238E27FC236}">
                <a16:creationId xmlns:a16="http://schemas.microsoft.com/office/drawing/2014/main" id="{6100FD76-7326-4810-986F-91D6691A6D53}"/>
              </a:ext>
            </a:extLst>
          </p:cNvPr>
          <p:cNvSpPr txBox="1"/>
          <p:nvPr/>
        </p:nvSpPr>
        <p:spPr>
          <a:xfrm>
            <a:off x="8210224" y="3641333"/>
            <a:ext cx="1253109"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Capacity,</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Inventory, Los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30" name="TextBox 5529">
            <a:extLst>
              <a:ext uri="{FF2B5EF4-FFF2-40B4-BE49-F238E27FC236}">
                <a16:creationId xmlns:a16="http://schemas.microsoft.com/office/drawing/2014/main" id="{CC5EB088-8901-48E8-AA3D-9177F34BDD4F}"/>
              </a:ext>
            </a:extLst>
          </p:cNvPr>
          <p:cNvSpPr txBox="1"/>
          <p:nvPr/>
        </p:nvSpPr>
        <p:spPr>
          <a:xfrm>
            <a:off x="7379702" y="2026882"/>
            <a:ext cx="1253109"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Distributed</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Inventory (FG)</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31" name="TextBox 5530">
            <a:extLst>
              <a:ext uri="{FF2B5EF4-FFF2-40B4-BE49-F238E27FC236}">
                <a16:creationId xmlns:a16="http://schemas.microsoft.com/office/drawing/2014/main" id="{549DCABF-3B0F-4BDF-9BB1-548AE89978DC}"/>
              </a:ext>
            </a:extLst>
          </p:cNvPr>
          <p:cNvSpPr txBox="1"/>
          <p:nvPr/>
        </p:nvSpPr>
        <p:spPr>
          <a:xfrm>
            <a:off x="9003698" y="3056241"/>
            <a:ext cx="1419295"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OUTBOUND</a:t>
            </a:r>
            <a:br>
              <a:rPr kumimoji="0" lang="en-US" sz="1200" b="0" i="0" u="none" strike="noStrike" kern="1200" cap="none" spc="0" normalizeH="0" baseline="0" noProof="0">
                <a:ln>
                  <a:noFill/>
                </a:ln>
                <a:solidFill>
                  <a:srgbClr val="008272"/>
                </a:solidFill>
                <a:effectLst/>
                <a:uLnTx/>
                <a:uFillTx/>
                <a:latin typeface="Segoe UI Semibold"/>
                <a:ea typeface="+mn-ea"/>
                <a:cs typeface="+mn-cs"/>
              </a:rPr>
            </a:br>
            <a:r>
              <a:rPr kumimoji="0" lang="en-US" sz="1200" b="0" i="0" u="none" strike="noStrike" kern="1200" cap="none" spc="0" normalizeH="0" baseline="0" noProof="0">
                <a:ln>
                  <a:noFill/>
                </a:ln>
                <a:solidFill>
                  <a:srgbClr val="008272"/>
                </a:solidFill>
                <a:effectLst/>
                <a:uLnTx/>
                <a:uFillTx/>
                <a:latin typeface="Segoe UI Semibold"/>
                <a:ea typeface="+mn-ea"/>
                <a:cs typeface="+mn-cs"/>
              </a:rPr>
              <a:t>LOGISTICS</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32" name="TextBox 5531">
            <a:extLst>
              <a:ext uri="{FF2B5EF4-FFF2-40B4-BE49-F238E27FC236}">
                <a16:creationId xmlns:a16="http://schemas.microsoft.com/office/drawing/2014/main" id="{7E8A0829-01CE-478F-9FF7-CC2B603E7BAB}"/>
              </a:ext>
            </a:extLst>
          </p:cNvPr>
          <p:cNvSpPr txBox="1"/>
          <p:nvPr/>
        </p:nvSpPr>
        <p:spPr>
          <a:xfrm>
            <a:off x="9877099" y="2317358"/>
            <a:ext cx="1253109"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Optimize</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Transportation</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33" name="TextBox 5532">
            <a:extLst>
              <a:ext uri="{FF2B5EF4-FFF2-40B4-BE49-F238E27FC236}">
                <a16:creationId xmlns:a16="http://schemas.microsoft.com/office/drawing/2014/main" id="{D8FBF43D-4B73-4B9B-91CD-FF3E5D0970B9}"/>
              </a:ext>
            </a:extLst>
          </p:cNvPr>
          <p:cNvSpPr txBox="1"/>
          <p:nvPr/>
        </p:nvSpPr>
        <p:spPr>
          <a:xfrm>
            <a:off x="10953750" y="3298433"/>
            <a:ext cx="919408" cy="6093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Distributed</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Orders</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Sale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pic>
        <p:nvPicPr>
          <p:cNvPr id="5542" name="Graphic 5541">
            <a:extLst>
              <a:ext uri="{FF2B5EF4-FFF2-40B4-BE49-F238E27FC236}">
                <a16:creationId xmlns:a16="http://schemas.microsoft.com/office/drawing/2014/main" id="{5EB13478-5771-4332-A7E7-8A98323A8F4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70395" y="4162743"/>
            <a:ext cx="925830" cy="1121122"/>
          </a:xfrm>
          <a:prstGeom prst="rect">
            <a:avLst/>
          </a:prstGeom>
        </p:spPr>
      </p:pic>
    </p:spTree>
    <p:extLst>
      <p:ext uri="{BB962C8B-B14F-4D97-AF65-F5344CB8AC3E}">
        <p14:creationId xmlns:p14="http://schemas.microsoft.com/office/powerpoint/2010/main" val="371208339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0108FE83-CA15-45F6-9AC9-249FCA851DA2}"/>
              </a:ext>
            </a:extLst>
          </p:cNvPr>
          <p:cNvGrpSpPr/>
          <p:nvPr/>
        </p:nvGrpSpPr>
        <p:grpSpPr>
          <a:xfrm>
            <a:off x="5638800" y="0"/>
            <a:ext cx="6553200" cy="6858000"/>
            <a:chOff x="5638800" y="0"/>
            <a:chExt cx="6553200" cy="6858000"/>
          </a:xfrm>
        </p:grpSpPr>
        <p:sp>
          <p:nvSpPr>
            <p:cNvPr id="19" name="Oval 18">
              <a:extLst>
                <a:ext uri="{FF2B5EF4-FFF2-40B4-BE49-F238E27FC236}">
                  <a16:creationId xmlns:a16="http://schemas.microsoft.com/office/drawing/2014/main" id="{CDC5DE7A-FCA3-41AA-978D-FE06C1472A0A}"/>
                </a:ext>
              </a:extLst>
            </p:cNvPr>
            <p:cNvSpPr/>
            <p:nvPr/>
          </p:nvSpPr>
          <p:spPr bwMode="auto">
            <a:xfrm>
              <a:off x="6096000" y="392969"/>
              <a:ext cx="667657" cy="3472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3271BC2B-2E51-4661-9105-66D0FC0D8B1D}"/>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B3D3CC0A-3EFD-472D-8381-C6367065002C}"/>
              </a:ext>
            </a:extLst>
          </p:cNvPr>
          <p:cNvSpPr/>
          <p:nvPr/>
        </p:nvSpPr>
        <p:spPr bwMode="auto">
          <a:xfrm>
            <a:off x="527050" y="2393020"/>
            <a:ext cx="4984749" cy="1886017"/>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Inbound Operation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Quality assurance</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Inventory activitie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Outbound operation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Inventory control</a:t>
            </a:r>
          </a:p>
        </p:txBody>
      </p:sp>
      <p:sp>
        <p:nvSpPr>
          <p:cNvPr id="9" name="TextBox 8">
            <a:extLst>
              <a:ext uri="{FF2B5EF4-FFF2-40B4-BE49-F238E27FC236}">
                <a16:creationId xmlns:a16="http://schemas.microsoft.com/office/drawing/2014/main" id="{FFD8B6CC-F34E-4F41-A3BF-79AFCA685692}"/>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Inventory management</a:t>
            </a:r>
          </a:p>
        </p:txBody>
      </p:sp>
      <p:sp>
        <p:nvSpPr>
          <p:cNvPr id="13" name="TextBox 12">
            <a:extLst>
              <a:ext uri="{FF2B5EF4-FFF2-40B4-BE49-F238E27FC236}">
                <a16:creationId xmlns:a16="http://schemas.microsoft.com/office/drawing/2014/main" id="{2D962AE5-F77D-441C-8247-8E5A8A76B8CD}"/>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Streamline the procurement process and get deep visibility into product inventory: </a:t>
            </a:r>
          </a:p>
        </p:txBody>
      </p:sp>
      <p:sp>
        <p:nvSpPr>
          <p:cNvPr id="17" name="!!INVENTORY MANAGEMENT">
            <a:extLst>
              <a:ext uri="{FF2B5EF4-FFF2-40B4-BE49-F238E27FC236}">
                <a16:creationId xmlns:a16="http://schemas.microsoft.com/office/drawing/2014/main" id="{48DCCA36-262F-4FCC-82ED-A42323C287AF}"/>
              </a:ext>
            </a:extLst>
          </p:cNvPr>
          <p:cNvSpPr/>
          <p:nvPr/>
        </p:nvSpPr>
        <p:spPr bwMode="auto">
          <a:xfrm>
            <a:off x="356168" y="1338467"/>
            <a:ext cx="4114232" cy="647501"/>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en-US" sz="1000" b="1" i="0" u="none" strike="noStrike" kern="1200" cap="all"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pic>
        <p:nvPicPr>
          <p:cNvPr id="11" name="Picture 10">
            <a:extLst>
              <a:ext uri="{FF2B5EF4-FFF2-40B4-BE49-F238E27FC236}">
                <a16:creationId xmlns:a16="http://schemas.microsoft.com/office/drawing/2014/main" id="{7B9B4561-6F93-4625-B0F4-32EF1BA43102}"/>
              </a:ext>
            </a:extLst>
          </p:cNvPr>
          <p:cNvPicPr>
            <a:picLocks noChangeAspect="1"/>
          </p:cNvPicPr>
          <p:nvPr/>
        </p:nvPicPr>
        <p:blipFill>
          <a:blip r:embed="rId3"/>
          <a:stretch>
            <a:fillRect/>
          </a:stretch>
        </p:blipFill>
        <p:spPr>
          <a:xfrm>
            <a:off x="5335681" y="1710633"/>
            <a:ext cx="6816662" cy="3436733"/>
          </a:xfrm>
          <a:prstGeom prst="rect">
            <a:avLst/>
          </a:prstGeom>
          <a:scene3d>
            <a:camera prst="perspectiveLeft"/>
            <a:lightRig rig="threePt" dir="t"/>
          </a:scene3d>
        </p:spPr>
      </p:pic>
      <p:pic>
        <p:nvPicPr>
          <p:cNvPr id="3" name="Picture 2">
            <a:extLst>
              <a:ext uri="{FF2B5EF4-FFF2-40B4-BE49-F238E27FC236}">
                <a16:creationId xmlns:a16="http://schemas.microsoft.com/office/drawing/2014/main" id="{9E75BF33-507B-414E-8321-989F13827825}"/>
              </a:ext>
            </a:extLst>
          </p:cNvPr>
          <p:cNvPicPr>
            <a:picLocks noChangeAspect="1"/>
          </p:cNvPicPr>
          <p:nvPr/>
        </p:nvPicPr>
        <p:blipFill>
          <a:blip r:embed="rId4"/>
          <a:stretch>
            <a:fillRect/>
          </a:stretch>
        </p:blipFill>
        <p:spPr>
          <a:xfrm>
            <a:off x="0" y="4582114"/>
            <a:ext cx="5428343" cy="2115057"/>
          </a:xfrm>
          <a:prstGeom prst="rect">
            <a:avLst/>
          </a:prstGeom>
        </p:spPr>
      </p:pic>
    </p:spTree>
    <p:extLst>
      <p:ext uri="{BB962C8B-B14F-4D97-AF65-F5344CB8AC3E}">
        <p14:creationId xmlns:p14="http://schemas.microsoft.com/office/powerpoint/2010/main" val="15625778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E9EB4620-2D82-4BE6-A149-5BE3B88D7C8A}"/>
              </a:ext>
            </a:extLst>
          </p:cNvPr>
          <p:cNvGrpSpPr/>
          <p:nvPr/>
        </p:nvGrpSpPr>
        <p:grpSpPr>
          <a:xfrm>
            <a:off x="5638800" y="0"/>
            <a:ext cx="6553200" cy="6858000"/>
            <a:chOff x="5638800" y="0"/>
            <a:chExt cx="6553200" cy="6858000"/>
          </a:xfrm>
        </p:grpSpPr>
        <p:sp>
          <p:nvSpPr>
            <p:cNvPr id="20" name="Oval 19">
              <a:extLst>
                <a:ext uri="{FF2B5EF4-FFF2-40B4-BE49-F238E27FC236}">
                  <a16:creationId xmlns:a16="http://schemas.microsoft.com/office/drawing/2014/main" id="{6DBFAED8-6CA4-4795-BB3A-D6DD390AE917}"/>
                </a:ext>
              </a:extLst>
            </p:cNvPr>
            <p:cNvSpPr/>
            <p:nvPr/>
          </p:nvSpPr>
          <p:spPr bwMode="auto">
            <a:xfrm>
              <a:off x="6096000" y="392969"/>
              <a:ext cx="667657" cy="3472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03FDE888-2B1D-43A2-93E1-EBBD64FA65C3}"/>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69D5DB74-23A2-4F60-AA9E-1023B49BF6FD}"/>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Identify needs and procure products and services through procurement and sourcing management. </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Define purchasing policies and workflows that meet business needs. </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Manage product catalogues and procurement channels based on demand and vendor pricing and capabilitie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Use spending limits to constrain requisition spending and the purchasing workflow.</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Vendor management and portal access</a:t>
            </a:r>
          </a:p>
        </p:txBody>
      </p:sp>
      <p:sp>
        <p:nvSpPr>
          <p:cNvPr id="9" name="TextBox 8">
            <a:extLst>
              <a:ext uri="{FF2B5EF4-FFF2-40B4-BE49-F238E27FC236}">
                <a16:creationId xmlns:a16="http://schemas.microsoft.com/office/drawing/2014/main" id="{0A10967C-E112-4337-BBD4-1DFAA54FB90D}"/>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Procurement management</a:t>
            </a:r>
          </a:p>
        </p:txBody>
      </p:sp>
      <p:sp>
        <p:nvSpPr>
          <p:cNvPr id="13" name="TextBox 12">
            <a:extLst>
              <a:ext uri="{FF2B5EF4-FFF2-40B4-BE49-F238E27FC236}">
                <a16:creationId xmlns:a16="http://schemas.microsoft.com/office/drawing/2014/main" id="{97287511-4AD8-4B56-A340-A34BF949AF24}"/>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Streamline the procurement process and get deep visibility into product inventory: </a:t>
            </a:r>
          </a:p>
        </p:txBody>
      </p:sp>
      <p:sp>
        <p:nvSpPr>
          <p:cNvPr id="17" name="!!ORDER MANAGEMENT">
            <a:extLst>
              <a:ext uri="{FF2B5EF4-FFF2-40B4-BE49-F238E27FC236}">
                <a16:creationId xmlns:a16="http://schemas.microsoft.com/office/drawing/2014/main" id="{2912ABE8-5B2E-49C8-9BE0-C27B1F9BDAA3}"/>
              </a:ext>
            </a:extLst>
          </p:cNvPr>
          <p:cNvSpPr/>
          <p:nvPr/>
        </p:nvSpPr>
        <p:spPr bwMode="auto">
          <a:xfrm>
            <a:off x="459514" y="1372986"/>
            <a:ext cx="4446315" cy="571545"/>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85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pic>
        <p:nvPicPr>
          <p:cNvPr id="3" name="procurement workspaces">
            <a:hlinkClick r:id="" action="ppaction://media"/>
            <a:extLst>
              <a:ext uri="{FF2B5EF4-FFF2-40B4-BE49-F238E27FC236}">
                <a16:creationId xmlns:a16="http://schemas.microsoft.com/office/drawing/2014/main" id="{CB399D02-F9A1-4EB0-9A22-A299CF40860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183065" y="1316522"/>
            <a:ext cx="7104185" cy="4224956"/>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32910545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696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D8293C7E-F9AF-425A-ABDF-548EE3036B4F}"/>
              </a:ext>
            </a:extLst>
          </p:cNvPr>
          <p:cNvGrpSpPr/>
          <p:nvPr/>
        </p:nvGrpSpPr>
        <p:grpSpPr>
          <a:xfrm>
            <a:off x="5638800" y="0"/>
            <a:ext cx="6553200" cy="6858000"/>
            <a:chOff x="5638800" y="0"/>
            <a:chExt cx="6553200" cy="6858000"/>
          </a:xfrm>
        </p:grpSpPr>
        <p:sp>
          <p:nvSpPr>
            <p:cNvPr id="19" name="Oval 18">
              <a:extLst>
                <a:ext uri="{FF2B5EF4-FFF2-40B4-BE49-F238E27FC236}">
                  <a16:creationId xmlns:a16="http://schemas.microsoft.com/office/drawing/2014/main" id="{D37CCA24-3E5B-44A0-8AF0-EAF203CC1961}"/>
                </a:ext>
              </a:extLst>
            </p:cNvPr>
            <p:cNvSpPr/>
            <p:nvPr/>
          </p:nvSpPr>
          <p:spPr bwMode="auto">
            <a:xfrm>
              <a:off x="6096000" y="392969"/>
              <a:ext cx="667657" cy="3472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70144877-5564-484D-8496-F60670176428}"/>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A48B6F0F-068E-42EA-8152-1CA0B0CAB2F3}"/>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Enable total cost of ownership for operational assets and manage ongoing maintenance.</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Manage the full lifecycle for an asset while keeping track of asset locations and hierarchie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Use preventive maintenance to track, manage, and monitor assets. </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Plan—automatically or manually—using key parameters such as worker capacity, availability, or work order criticality.</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Track spare parts to effectively manage inventory.</a:t>
            </a:r>
          </a:p>
        </p:txBody>
      </p:sp>
      <p:sp>
        <p:nvSpPr>
          <p:cNvPr id="9" name="TextBox 8">
            <a:extLst>
              <a:ext uri="{FF2B5EF4-FFF2-40B4-BE49-F238E27FC236}">
                <a16:creationId xmlns:a16="http://schemas.microsoft.com/office/drawing/2014/main" id="{D4F4E447-44BF-42CC-8EA7-FFBCA62F672A}"/>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Asset management</a:t>
            </a:r>
          </a:p>
        </p:txBody>
      </p:sp>
      <p:sp>
        <p:nvSpPr>
          <p:cNvPr id="13" name="TextBox 12">
            <a:extLst>
              <a:ext uri="{FF2B5EF4-FFF2-40B4-BE49-F238E27FC236}">
                <a16:creationId xmlns:a16="http://schemas.microsoft.com/office/drawing/2014/main" id="{BCFD4B59-82BA-4854-BF5C-5108541925BA}"/>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Implement a unified and intelligent production lifecycle: </a:t>
            </a:r>
          </a:p>
        </p:txBody>
      </p:sp>
      <p:sp>
        <p:nvSpPr>
          <p:cNvPr id="17" name="!!ASSET MANAGEMENT">
            <a:extLst>
              <a:ext uri="{FF2B5EF4-FFF2-40B4-BE49-F238E27FC236}">
                <a16:creationId xmlns:a16="http://schemas.microsoft.com/office/drawing/2014/main" id="{7BAC60FA-9664-47E1-B2EA-5E2191DA2A0D}"/>
              </a:ext>
            </a:extLst>
          </p:cNvPr>
          <p:cNvSpPr/>
          <p:nvPr/>
        </p:nvSpPr>
        <p:spPr bwMode="auto">
          <a:xfrm>
            <a:off x="490629" y="1349829"/>
            <a:ext cx="3602399" cy="721002"/>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a:spcBef>
                <a:spcPct val="0"/>
              </a:spcBef>
              <a:defRPr/>
            </a:pPr>
            <a:endParaRPr lang="en-US" sz="1000">
              <a:gradFill>
                <a:gsLst>
                  <a:gs pos="2917">
                    <a:srgbClr val="3C3C41"/>
                  </a:gs>
                  <a:gs pos="30000">
                    <a:srgbClr val="3C3C41"/>
                  </a:gs>
                </a:gsLst>
                <a:lin ang="5400000" scaled="0"/>
              </a:gradFill>
              <a:latin typeface="Segoe UI Emoji" panose="020B0502040204020203" pitchFamily="34" charset="0"/>
              <a:ea typeface="Segoe UI Emoji" panose="020B0502040204020203" pitchFamily="34" charset="0"/>
            </a:endParaRPr>
          </a:p>
        </p:txBody>
      </p:sp>
      <p:pic>
        <p:nvPicPr>
          <p:cNvPr id="11" name="Picture 10">
            <a:extLst>
              <a:ext uri="{FF2B5EF4-FFF2-40B4-BE49-F238E27FC236}">
                <a16:creationId xmlns:a16="http://schemas.microsoft.com/office/drawing/2014/main" id="{280AD922-09D1-4B98-B4A2-68C32544C75D}"/>
              </a:ext>
            </a:extLst>
          </p:cNvPr>
          <p:cNvPicPr>
            <a:picLocks noChangeAspect="1"/>
          </p:cNvPicPr>
          <p:nvPr/>
        </p:nvPicPr>
        <p:blipFill>
          <a:blip r:embed="rId3"/>
          <a:stretch>
            <a:fillRect/>
          </a:stretch>
        </p:blipFill>
        <p:spPr>
          <a:xfrm>
            <a:off x="5231806" y="2079708"/>
            <a:ext cx="6807794" cy="2698584"/>
          </a:xfrm>
          <a:prstGeom prst="rect">
            <a:avLst/>
          </a:prstGeom>
          <a:scene3d>
            <a:camera prst="perspectiveLeft"/>
            <a:lightRig rig="threePt" dir="t"/>
          </a:scene3d>
        </p:spPr>
      </p:pic>
    </p:spTree>
    <p:extLst>
      <p:ext uri="{BB962C8B-B14F-4D97-AF65-F5344CB8AC3E}">
        <p14:creationId xmlns:p14="http://schemas.microsoft.com/office/powerpoint/2010/main" val="12250539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grpSp>
        <p:nvGrpSpPr>
          <p:cNvPr id="4" name="Group 3">
            <a:extLst>
              <a:ext uri="{FF2B5EF4-FFF2-40B4-BE49-F238E27FC236}">
                <a16:creationId xmlns:a16="http://schemas.microsoft.com/office/drawing/2014/main" id="{1E455F65-3450-453B-90EA-26B0154E7139}"/>
              </a:ext>
            </a:extLst>
          </p:cNvPr>
          <p:cNvGrpSpPr/>
          <p:nvPr/>
        </p:nvGrpSpPr>
        <p:grpSpPr>
          <a:xfrm>
            <a:off x="5638800" y="0"/>
            <a:ext cx="6553200" cy="6858000"/>
            <a:chOff x="5638800" y="0"/>
            <a:chExt cx="6553200" cy="6858000"/>
          </a:xfrm>
        </p:grpSpPr>
        <p:sp>
          <p:nvSpPr>
            <p:cNvPr id="3" name="Oval 2">
              <a:extLst>
                <a:ext uri="{FF2B5EF4-FFF2-40B4-BE49-F238E27FC236}">
                  <a16:creationId xmlns:a16="http://schemas.microsoft.com/office/drawing/2014/main" id="{71733B4E-6812-46B4-9D29-FE0881417BA3}"/>
                </a:ext>
              </a:extLst>
            </p:cNvPr>
            <p:cNvSpPr/>
            <p:nvPr/>
          </p:nvSpPr>
          <p:spPr bwMode="auto">
            <a:xfrm>
              <a:off x="6096000" y="392969"/>
              <a:ext cx="667657" cy="3472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3C62DC06-7E5A-4FF3-9188-5D734275A3FA}"/>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A317E7CB-1181-4C6D-BAAE-19B77C17A427}"/>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Notification services and actions for delayed production orders </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Automated inventory update from shop floor</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Notification services and actions for equipment down</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Notification services and actions for quality anomalie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Operational Insights &amp; Machine health</a:t>
            </a:r>
          </a:p>
        </p:txBody>
      </p:sp>
      <p:sp>
        <p:nvSpPr>
          <p:cNvPr id="11" name="TextBox 10">
            <a:extLst>
              <a:ext uri="{FF2B5EF4-FFF2-40B4-BE49-F238E27FC236}">
                <a16:creationId xmlns:a16="http://schemas.microsoft.com/office/drawing/2014/main" id="{02F122B7-3C63-4064-97A0-22063B61A6EB}"/>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IoT intelligence</a:t>
            </a:r>
          </a:p>
        </p:txBody>
      </p:sp>
      <p:sp>
        <p:nvSpPr>
          <p:cNvPr id="15" name="TextBox 14">
            <a:extLst>
              <a:ext uri="{FF2B5EF4-FFF2-40B4-BE49-F238E27FC236}">
                <a16:creationId xmlns:a16="http://schemas.microsoft.com/office/drawing/2014/main" id="{71AF0BE2-7680-4BF7-842A-641FEC92519A}"/>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Implement a unified and intelligent production lifecycle: </a:t>
            </a:r>
          </a:p>
        </p:txBody>
      </p:sp>
      <p:sp>
        <p:nvSpPr>
          <p:cNvPr id="25" name="!!IOT INTELLIGENCE">
            <a:extLst>
              <a:ext uri="{FF2B5EF4-FFF2-40B4-BE49-F238E27FC236}">
                <a16:creationId xmlns:a16="http://schemas.microsoft.com/office/drawing/2014/main" id="{23D0366B-64E0-4980-9823-37385E73470D}"/>
              </a:ext>
            </a:extLst>
          </p:cNvPr>
          <p:cNvSpPr/>
          <p:nvPr/>
        </p:nvSpPr>
        <p:spPr bwMode="auto">
          <a:xfrm>
            <a:off x="490630" y="1358776"/>
            <a:ext cx="3152456" cy="712055"/>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a:spcBef>
                <a:spcPct val="0"/>
              </a:spcBef>
              <a:defRPr/>
            </a:pPr>
            <a:endParaRPr lang="en-US" sz="1000">
              <a:gradFill>
                <a:gsLst>
                  <a:gs pos="2917">
                    <a:srgbClr val="3C3C41"/>
                  </a:gs>
                  <a:gs pos="30000">
                    <a:srgbClr val="3C3C41"/>
                  </a:gs>
                </a:gsLst>
                <a:lin ang="5400000" scaled="0"/>
              </a:gradFill>
              <a:latin typeface="Segoe UI Emoji" panose="020B0502040204020203" pitchFamily="34" charset="0"/>
              <a:ea typeface="Segoe UI Emoji" panose="020B0502040204020203" pitchFamily="34" charset="0"/>
            </a:endParaRPr>
          </a:p>
        </p:txBody>
      </p:sp>
      <p:pic>
        <p:nvPicPr>
          <p:cNvPr id="12" name="IoTIntelligence">
            <a:hlinkClick r:id="" action="ppaction://media"/>
            <a:extLst>
              <a:ext uri="{FF2B5EF4-FFF2-40B4-BE49-F238E27FC236}">
                <a16:creationId xmlns:a16="http://schemas.microsoft.com/office/drawing/2014/main" id="{BBAE6461-E7BC-4461-9B93-3B357AE16D0A}"/>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200622" y="1350066"/>
            <a:ext cx="6991378" cy="4157868"/>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6107716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7400"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2"/>
                                        </p:tgtEl>
                                      </p:cBhvr>
                                    </p:cmd>
                                  </p:childTnLst>
                                </p:cTn>
                              </p:par>
                            </p:childTnLst>
                          </p:cTn>
                        </p:par>
                      </p:childTnLst>
                    </p:cTn>
                  </p:par>
                </p:childTnLst>
              </p:cTn>
              <p:nextCondLst>
                <p:cond evt="onClick" delay="0">
                  <p:tgtEl>
                    <p:spTgt spid="12"/>
                  </p:tgtEl>
                </p:cond>
              </p:nextCondLst>
            </p:seq>
            <p:video>
              <p:cMediaNode vol="80000">
                <p:cTn id="12" fill="hold" display="0">
                  <p:stCondLst>
                    <p:cond delay="indefinite"/>
                  </p:stCondLst>
                </p:cTn>
                <p:tgtEl>
                  <p:spTgt spid="12"/>
                </p:tgtEl>
              </p:cMediaNode>
            </p:video>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C93E9-D2E3-FA4B-99E9-BE19C5A6BFFB}"/>
              </a:ext>
            </a:extLst>
          </p:cNvPr>
          <p:cNvSpPr>
            <a:spLocks noGrp="1"/>
          </p:cNvSpPr>
          <p:nvPr>
            <p:ph type="title"/>
          </p:nvPr>
        </p:nvSpPr>
        <p:spPr>
          <a:xfrm>
            <a:off x="457200" y="457200"/>
            <a:ext cx="8686800" cy="658126"/>
          </a:xfrm>
        </p:spPr>
        <p:txBody>
          <a:bodyPr anchor="t"/>
          <a:lstStyle/>
          <a:p>
            <a:r>
              <a:rPr lang="en-US" sz="4000" dirty="0"/>
              <a:t>A comprehensive solution</a:t>
            </a:r>
          </a:p>
        </p:txBody>
      </p:sp>
      <p:sp>
        <p:nvSpPr>
          <p:cNvPr id="28" name="Text Placeholder 18">
            <a:extLst>
              <a:ext uri="{FF2B5EF4-FFF2-40B4-BE49-F238E27FC236}">
                <a16:creationId xmlns:a16="http://schemas.microsoft.com/office/drawing/2014/main" id="{135266C2-ADAF-1D40-95B0-1B3F5340D547}"/>
              </a:ext>
            </a:extLst>
          </p:cNvPr>
          <p:cNvSpPr txBox="1">
            <a:spLocks/>
          </p:cNvSpPr>
          <p:nvPr/>
        </p:nvSpPr>
        <p:spPr>
          <a:xfrm>
            <a:off x="5017418" y="3833230"/>
            <a:ext cx="2141838" cy="341631"/>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egoe UI Semibold" panose="020B0502040204020203" pitchFamily="34" charset="0"/>
                <a:ea typeface="+mn-ea"/>
                <a:cs typeface="Segoe UI Semibold"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egoe UI Semibold" panose="020B0502040204020203" pitchFamily="34" charset="0"/>
                <a:ea typeface="+mn-ea"/>
                <a:cs typeface="Segoe UI Semibold"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dirty="0">
                <a:solidFill>
                  <a:srgbClr val="3C3C41"/>
                </a:solidFill>
              </a:rPr>
              <a:t>Power BI</a:t>
            </a:r>
          </a:p>
        </p:txBody>
      </p:sp>
      <p:sp>
        <p:nvSpPr>
          <p:cNvPr id="29" name="Rounded Rectangle 28">
            <a:extLst>
              <a:ext uri="{FF2B5EF4-FFF2-40B4-BE49-F238E27FC236}">
                <a16:creationId xmlns:a16="http://schemas.microsoft.com/office/drawing/2014/main" id="{807F1ADB-46E7-7A46-9C2E-3F7AB1F21BC1}"/>
              </a:ext>
            </a:extLst>
          </p:cNvPr>
          <p:cNvSpPr/>
          <p:nvPr/>
        </p:nvSpPr>
        <p:spPr>
          <a:xfrm>
            <a:off x="4472320" y="1752600"/>
            <a:ext cx="3247371" cy="544830"/>
          </a:xfrm>
          <a:prstGeom prst="roundRect">
            <a:avLst>
              <a:gd name="adj" fmla="val 11917"/>
            </a:avLst>
          </a:prstGeom>
          <a:solidFill>
            <a:srgbClr val="30E5D0"/>
          </a:solidFill>
        </p:spPr>
        <p:txBody>
          <a:bodyPr wrap="none" lIns="182880" tIns="91440" rIns="182880" bIns="91440">
            <a:spAutoFit/>
          </a:bodyPr>
          <a:lstStyle/>
          <a:p>
            <a:pPr algn="ctr" defTabSz="932021">
              <a:defRPr/>
            </a:pPr>
            <a:r>
              <a:rPr lang="en-US" sz="2000" kern="0" dirty="0">
                <a:solidFill>
                  <a:srgbClr val="3C3C41"/>
                </a:solidFill>
                <a:latin typeface="Segoe UI Semibold" panose="020B0502040204020203" pitchFamily="34" charset="0"/>
                <a:cs typeface="Segoe UI Semibold" panose="020B0502040204020203" pitchFamily="34" charset="0"/>
              </a:rPr>
              <a:t>Connected app platform</a:t>
            </a:r>
          </a:p>
        </p:txBody>
      </p:sp>
      <p:sp>
        <p:nvSpPr>
          <p:cNvPr id="31" name="Text Placeholder 18">
            <a:extLst>
              <a:ext uri="{FF2B5EF4-FFF2-40B4-BE49-F238E27FC236}">
                <a16:creationId xmlns:a16="http://schemas.microsoft.com/office/drawing/2014/main" id="{109364B8-BD60-D247-84B6-9FBEEC235D16}"/>
              </a:ext>
            </a:extLst>
          </p:cNvPr>
          <p:cNvSpPr txBox="1">
            <a:spLocks/>
          </p:cNvSpPr>
          <p:nvPr/>
        </p:nvSpPr>
        <p:spPr>
          <a:xfrm>
            <a:off x="2259165" y="3833230"/>
            <a:ext cx="2141838" cy="341631"/>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egoe UI Semibold" panose="020B0502040204020203" pitchFamily="34" charset="0"/>
                <a:ea typeface="+mn-ea"/>
                <a:cs typeface="Segoe UI Semibold"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egoe UI Semibold" panose="020B0502040204020203" pitchFamily="34" charset="0"/>
                <a:ea typeface="+mn-ea"/>
                <a:cs typeface="Segoe UI Semibold"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dirty="0">
                <a:solidFill>
                  <a:srgbClr val="3C3C41"/>
                </a:solidFill>
              </a:rPr>
              <a:t>PowerApps</a:t>
            </a:r>
          </a:p>
        </p:txBody>
      </p:sp>
      <p:sp>
        <p:nvSpPr>
          <p:cNvPr id="57" name="Text Placeholder 18">
            <a:extLst>
              <a:ext uri="{FF2B5EF4-FFF2-40B4-BE49-F238E27FC236}">
                <a16:creationId xmlns:a16="http://schemas.microsoft.com/office/drawing/2014/main" id="{25F150C1-F64D-914C-ABB0-EFF288C1DDDA}"/>
              </a:ext>
            </a:extLst>
          </p:cNvPr>
          <p:cNvSpPr txBox="1">
            <a:spLocks/>
          </p:cNvSpPr>
          <p:nvPr/>
        </p:nvSpPr>
        <p:spPr>
          <a:xfrm>
            <a:off x="7680241" y="3833230"/>
            <a:ext cx="2141838" cy="341631"/>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egoe UI Semibold" panose="020B0502040204020203" pitchFamily="34" charset="0"/>
                <a:ea typeface="+mn-ea"/>
                <a:cs typeface="Segoe UI Semibold"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egoe UI Semibold" panose="020B0502040204020203" pitchFamily="34" charset="0"/>
                <a:ea typeface="+mn-ea"/>
                <a:cs typeface="Segoe UI Semibold"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dirty="0">
                <a:solidFill>
                  <a:srgbClr val="3C3C41"/>
                </a:solidFill>
              </a:rPr>
              <a:t>Microsoft Flow</a:t>
            </a:r>
          </a:p>
        </p:txBody>
      </p:sp>
      <p:sp>
        <p:nvSpPr>
          <p:cNvPr id="59" name="Rectangle 58">
            <a:extLst>
              <a:ext uri="{FF2B5EF4-FFF2-40B4-BE49-F238E27FC236}">
                <a16:creationId xmlns:a16="http://schemas.microsoft.com/office/drawing/2014/main" id="{939A0FAC-C1D2-E84A-8C50-264351F5E930}"/>
              </a:ext>
            </a:extLst>
          </p:cNvPr>
          <p:cNvSpPr/>
          <p:nvPr/>
        </p:nvSpPr>
        <p:spPr>
          <a:xfrm>
            <a:off x="2187084" y="4174861"/>
            <a:ext cx="2286000" cy="1015663"/>
          </a:xfrm>
          <a:prstGeom prst="rect">
            <a:avLst/>
          </a:prstGeom>
        </p:spPr>
        <p:txBody>
          <a:bodyPr wrap="square">
            <a:spAutoFit/>
          </a:bodyPr>
          <a:lstStyle/>
          <a:p>
            <a:pPr algn="ctr"/>
            <a:r>
              <a:rPr lang="en-US" sz="1200" dirty="0">
                <a:latin typeface="SegoeUI" panose="020B0502040204020203" pitchFamily="34" charset="0"/>
              </a:rPr>
              <a:t>Build apps in hours—not months—that easily connect to data, use Excel-like expressions to add logic, and run on the web, iOS, and Android devices.</a:t>
            </a:r>
            <a:endParaRPr lang="en-US" sz="1200" dirty="0"/>
          </a:p>
        </p:txBody>
      </p:sp>
      <p:sp>
        <p:nvSpPr>
          <p:cNvPr id="60" name="Rectangle 59">
            <a:extLst>
              <a:ext uri="{FF2B5EF4-FFF2-40B4-BE49-F238E27FC236}">
                <a16:creationId xmlns:a16="http://schemas.microsoft.com/office/drawing/2014/main" id="{2C03B1E7-E060-8843-8978-73788E23B11B}"/>
              </a:ext>
            </a:extLst>
          </p:cNvPr>
          <p:cNvSpPr/>
          <p:nvPr/>
        </p:nvSpPr>
        <p:spPr>
          <a:xfrm>
            <a:off x="4945337" y="4174861"/>
            <a:ext cx="2286000" cy="1015663"/>
          </a:xfrm>
          <a:prstGeom prst="rect">
            <a:avLst/>
          </a:prstGeom>
        </p:spPr>
        <p:txBody>
          <a:bodyPr wrap="square">
            <a:spAutoFit/>
          </a:bodyPr>
          <a:lstStyle/>
          <a:p>
            <a:pPr algn="ctr"/>
            <a:r>
              <a:rPr lang="en-US" sz="1200" dirty="0">
                <a:latin typeface="SegoeUI" panose="020B0502040204020203" pitchFamily="34" charset="0"/>
              </a:rPr>
              <a:t>Make sense of your data through interactive, real-time dashboards and unlock the insights needed to drive your business forward.</a:t>
            </a:r>
          </a:p>
        </p:txBody>
      </p:sp>
      <p:sp>
        <p:nvSpPr>
          <p:cNvPr id="61" name="Rectangle 60">
            <a:extLst>
              <a:ext uri="{FF2B5EF4-FFF2-40B4-BE49-F238E27FC236}">
                <a16:creationId xmlns:a16="http://schemas.microsoft.com/office/drawing/2014/main" id="{AE732A6C-BED0-604E-B033-8F8F30432628}"/>
              </a:ext>
            </a:extLst>
          </p:cNvPr>
          <p:cNvSpPr/>
          <p:nvPr/>
        </p:nvSpPr>
        <p:spPr>
          <a:xfrm>
            <a:off x="7608160" y="4174861"/>
            <a:ext cx="2286000" cy="1015663"/>
          </a:xfrm>
          <a:prstGeom prst="rect">
            <a:avLst/>
          </a:prstGeom>
        </p:spPr>
        <p:txBody>
          <a:bodyPr wrap="square">
            <a:spAutoFit/>
          </a:bodyPr>
          <a:lstStyle/>
          <a:p>
            <a:pPr algn="ctr"/>
            <a:r>
              <a:rPr lang="en-US" sz="1200" dirty="0">
                <a:latin typeface="SegoeUI" panose="020B0502040204020203" pitchFamily="34" charset="0"/>
              </a:rPr>
              <a:t>Include powerful workflow automation directly in your apps with a no-code approach that connects to hundreds of popular apps and services.</a:t>
            </a:r>
          </a:p>
        </p:txBody>
      </p:sp>
      <p:grpSp>
        <p:nvGrpSpPr>
          <p:cNvPr id="6" name="Group 5">
            <a:extLst>
              <a:ext uri="{FF2B5EF4-FFF2-40B4-BE49-F238E27FC236}">
                <a16:creationId xmlns:a16="http://schemas.microsoft.com/office/drawing/2014/main" id="{0255EACC-5F60-6943-9F77-2AF938CAA312}"/>
              </a:ext>
            </a:extLst>
          </p:cNvPr>
          <p:cNvGrpSpPr/>
          <p:nvPr/>
        </p:nvGrpSpPr>
        <p:grpSpPr>
          <a:xfrm>
            <a:off x="8200953" y="2686161"/>
            <a:ext cx="1100414" cy="1100414"/>
            <a:chOff x="8200953" y="2686161"/>
            <a:chExt cx="1100414" cy="1100414"/>
          </a:xfrm>
        </p:grpSpPr>
        <p:sp>
          <p:nvSpPr>
            <p:cNvPr id="58" name="Oval 57">
              <a:extLst>
                <a:ext uri="{FF2B5EF4-FFF2-40B4-BE49-F238E27FC236}">
                  <a16:creationId xmlns:a16="http://schemas.microsoft.com/office/drawing/2014/main" id="{D97B84C8-16A8-E74F-89D1-4EAB468FC8BB}"/>
                </a:ext>
              </a:extLst>
            </p:cNvPr>
            <p:cNvSpPr>
              <a:spLocks noChangeAspect="1"/>
            </p:cNvSpPr>
            <p:nvPr/>
          </p:nvSpPr>
          <p:spPr bwMode="auto">
            <a:xfrm>
              <a:off x="8200953" y="2686161"/>
              <a:ext cx="1100414" cy="1100414"/>
            </a:xfrm>
            <a:prstGeom prst="ellipse">
              <a:avLst/>
            </a:prstGeom>
            <a:solidFill>
              <a:schemeClr val="tx2"/>
            </a:solidFill>
            <a:ln w="10795" cap="flat" cmpd="sng" algn="ctr">
              <a:noFill/>
              <a:prstDash val="solid"/>
              <a:headEnd type="none" w="med" len="med"/>
              <a:tailEnd type="none" w="med" len="med"/>
            </a:ln>
            <a:effectLst/>
          </p:spPr>
          <p:txBody>
            <a:bodyPr vert="horz" wrap="square" lIns="0" tIns="45682" rIns="0" bIns="45682" numCol="1" rtlCol="0" anchor="ctr" anchorCtr="0" compatLnSpc="1">
              <a:prstTxWarp prst="textNoShape">
                <a:avLst/>
              </a:prstTxWarp>
            </a:bodyPr>
            <a:lstStyle/>
            <a:p>
              <a:pPr algn="ctr" defTabSz="913213" fontAlgn="base">
                <a:lnSpc>
                  <a:spcPct val="90000"/>
                </a:lnSpc>
                <a:spcBef>
                  <a:spcPct val="0"/>
                </a:spcBef>
                <a:spcAft>
                  <a:spcPct val="0"/>
                </a:spcAft>
                <a:defRPr/>
              </a:pPr>
              <a:endParaRPr lang="en-US" sz="1172" kern="0" spc="49">
                <a:solidFill>
                  <a:srgbClr val="505050"/>
                </a:solidFill>
                <a:latin typeface="Segoe UI Semibold" panose="020B0702040204020203" pitchFamily="34" charset="0"/>
                <a:cs typeface="Segoe UI Semibold" panose="020B0702040204020203" pitchFamily="34" charset="0"/>
              </a:endParaRPr>
            </a:p>
          </p:txBody>
        </p:sp>
        <p:sp>
          <p:nvSpPr>
            <p:cNvPr id="65" name="FLOW ICON">
              <a:extLst>
                <a:ext uri="{FF2B5EF4-FFF2-40B4-BE49-F238E27FC236}">
                  <a16:creationId xmlns:a16="http://schemas.microsoft.com/office/drawing/2014/main" id="{602FEDE9-D52F-0647-A348-8BDAC019885B}"/>
                </a:ext>
              </a:extLst>
            </p:cNvPr>
            <p:cNvSpPr>
              <a:spLocks noChangeAspect="1"/>
            </p:cNvSpPr>
            <p:nvPr/>
          </p:nvSpPr>
          <p:spPr bwMode="auto">
            <a:xfrm>
              <a:off x="8522560" y="3074743"/>
              <a:ext cx="457200" cy="323250"/>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rgbClr val="FFFFFF"/>
            </a:solidFill>
            <a:ln w="9525" cap="flat" cmpd="sng" algn="ctr">
              <a:noFill/>
              <a:prstDash val="solid"/>
            </a:ln>
            <a:effectLst/>
          </p:spPr>
          <p:txBody>
            <a:bodyPr rot="0" spcFirstLastPara="0" vert="horz" wrap="square" lIns="179259" tIns="143408" rIns="179259" bIns="143408"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5" name="Group 4">
            <a:extLst>
              <a:ext uri="{FF2B5EF4-FFF2-40B4-BE49-F238E27FC236}">
                <a16:creationId xmlns:a16="http://schemas.microsoft.com/office/drawing/2014/main" id="{1A790F91-6EE4-6F46-BB7A-86AF09FF2F43}"/>
              </a:ext>
            </a:extLst>
          </p:cNvPr>
          <p:cNvGrpSpPr/>
          <p:nvPr/>
        </p:nvGrpSpPr>
        <p:grpSpPr>
          <a:xfrm>
            <a:off x="5538130" y="2686161"/>
            <a:ext cx="1100414" cy="1100414"/>
            <a:chOff x="5538130" y="2686161"/>
            <a:chExt cx="1100414" cy="1100414"/>
          </a:xfrm>
        </p:grpSpPr>
        <p:sp>
          <p:nvSpPr>
            <p:cNvPr id="30" name="Oval 29">
              <a:extLst>
                <a:ext uri="{FF2B5EF4-FFF2-40B4-BE49-F238E27FC236}">
                  <a16:creationId xmlns:a16="http://schemas.microsoft.com/office/drawing/2014/main" id="{7481920D-A706-8049-B433-3BA15CE831D2}"/>
                </a:ext>
              </a:extLst>
            </p:cNvPr>
            <p:cNvSpPr>
              <a:spLocks noChangeAspect="1"/>
            </p:cNvSpPr>
            <p:nvPr/>
          </p:nvSpPr>
          <p:spPr bwMode="auto">
            <a:xfrm>
              <a:off x="5538130" y="2686161"/>
              <a:ext cx="1100414" cy="1100414"/>
            </a:xfrm>
            <a:prstGeom prst="ellipse">
              <a:avLst/>
            </a:prstGeom>
            <a:solidFill>
              <a:schemeClr val="tx2"/>
            </a:solidFill>
            <a:ln w="10795" cap="flat" cmpd="sng" algn="ctr">
              <a:noFill/>
              <a:prstDash val="solid"/>
              <a:headEnd type="none" w="med" len="med"/>
              <a:tailEnd type="none" w="med" len="med"/>
            </a:ln>
            <a:effectLst/>
          </p:spPr>
          <p:txBody>
            <a:bodyPr vert="horz" wrap="square" lIns="0" tIns="45682" rIns="0" bIns="45682" numCol="1" rtlCol="0" anchor="ctr" anchorCtr="0" compatLnSpc="1">
              <a:prstTxWarp prst="textNoShape">
                <a:avLst/>
              </a:prstTxWarp>
            </a:bodyPr>
            <a:lstStyle/>
            <a:p>
              <a:pPr algn="ctr" defTabSz="913213" fontAlgn="base">
                <a:lnSpc>
                  <a:spcPct val="90000"/>
                </a:lnSpc>
                <a:spcBef>
                  <a:spcPct val="0"/>
                </a:spcBef>
                <a:spcAft>
                  <a:spcPct val="0"/>
                </a:spcAft>
                <a:defRPr/>
              </a:pPr>
              <a:endParaRPr lang="en-US" sz="1172" kern="0" spc="49">
                <a:solidFill>
                  <a:srgbClr val="505050"/>
                </a:solidFill>
                <a:latin typeface="Segoe UI Semibold" panose="020B0702040204020203" pitchFamily="34" charset="0"/>
                <a:cs typeface="Segoe UI Semibold" panose="020B0702040204020203" pitchFamily="34" charset="0"/>
              </a:endParaRPr>
            </a:p>
          </p:txBody>
        </p:sp>
        <p:sp>
          <p:nvSpPr>
            <p:cNvPr id="67" name="POWER BI ICON">
              <a:extLst>
                <a:ext uri="{FF2B5EF4-FFF2-40B4-BE49-F238E27FC236}">
                  <a16:creationId xmlns:a16="http://schemas.microsoft.com/office/drawing/2014/main" id="{DFA17281-9BB2-504C-8E7B-B317CFC78B67}"/>
                </a:ext>
              </a:extLst>
            </p:cNvPr>
            <p:cNvSpPr>
              <a:spLocks noChangeAspect="1"/>
            </p:cNvSpPr>
            <p:nvPr/>
          </p:nvSpPr>
          <p:spPr bwMode="auto">
            <a:xfrm flipV="1">
              <a:off x="5859737" y="3078753"/>
              <a:ext cx="457200" cy="315230"/>
            </a:xfrm>
            <a:custGeom>
              <a:avLst/>
              <a:gdLst>
                <a:gd name="connsiteX0" fmla="*/ 724747 w 3011132"/>
                <a:gd name="connsiteY0" fmla="*/ 690457 h 2242888"/>
                <a:gd name="connsiteX1" fmla="*/ 889639 w 3011132"/>
                <a:gd name="connsiteY1" fmla="*/ 525565 h 2242888"/>
                <a:gd name="connsiteX2" fmla="*/ 889638 w 3011132"/>
                <a:gd name="connsiteY2" fmla="*/ 164892 h 2242888"/>
                <a:gd name="connsiteX3" fmla="*/ 724746 w 3011132"/>
                <a:gd name="connsiteY3" fmla="*/ 0 h 2242888"/>
                <a:gd name="connsiteX4" fmla="*/ 724747 w 3011132"/>
                <a:gd name="connsiteY4" fmla="*/ 1 h 2242888"/>
                <a:gd name="connsiteX5" fmla="*/ 559855 w 3011132"/>
                <a:gd name="connsiteY5" fmla="*/ 164893 h 2242888"/>
                <a:gd name="connsiteX6" fmla="*/ 559855 w 3011132"/>
                <a:gd name="connsiteY6" fmla="*/ 525565 h 2242888"/>
                <a:gd name="connsiteX7" fmla="*/ 724747 w 3011132"/>
                <a:gd name="connsiteY7" fmla="*/ 690457 h 2242888"/>
                <a:gd name="connsiteX8" fmla="*/ 1772676 w 3011132"/>
                <a:gd name="connsiteY8" fmla="*/ 1028296 h 2242888"/>
                <a:gd name="connsiteX9" fmla="*/ 1937568 w 3011132"/>
                <a:gd name="connsiteY9" fmla="*/ 863404 h 2242888"/>
                <a:gd name="connsiteX10" fmla="*/ 1937569 w 3011132"/>
                <a:gd name="connsiteY10" fmla="*/ 164893 h 2242888"/>
                <a:gd name="connsiteX11" fmla="*/ 1772677 w 3011132"/>
                <a:gd name="connsiteY11" fmla="*/ 1 h 2242888"/>
                <a:gd name="connsiteX12" fmla="*/ 1607785 w 3011132"/>
                <a:gd name="connsiteY12" fmla="*/ 164893 h 2242888"/>
                <a:gd name="connsiteX13" fmla="*/ 1607785 w 3011132"/>
                <a:gd name="connsiteY13" fmla="*/ 863403 h 2242888"/>
                <a:gd name="connsiteX14" fmla="*/ 1772677 w 3011132"/>
                <a:gd name="connsiteY14" fmla="*/ 1028295 h 2242888"/>
                <a:gd name="connsiteX15" fmla="*/ 1248711 w 3011132"/>
                <a:gd name="connsiteY15" fmla="*/ 1291654 h 2242888"/>
                <a:gd name="connsiteX16" fmla="*/ 1413603 w 3011132"/>
                <a:gd name="connsiteY16" fmla="*/ 1126762 h 2242888"/>
                <a:gd name="connsiteX17" fmla="*/ 1413604 w 3011132"/>
                <a:gd name="connsiteY17" fmla="*/ 164893 h 2242888"/>
                <a:gd name="connsiteX18" fmla="*/ 1248712 w 3011132"/>
                <a:gd name="connsiteY18" fmla="*/ 1 h 2242888"/>
                <a:gd name="connsiteX19" fmla="*/ 1083820 w 3011132"/>
                <a:gd name="connsiteY19" fmla="*/ 164893 h 2242888"/>
                <a:gd name="connsiteX20" fmla="*/ 1083820 w 3011132"/>
                <a:gd name="connsiteY20" fmla="*/ 1126761 h 2242888"/>
                <a:gd name="connsiteX21" fmla="*/ 1248712 w 3011132"/>
                <a:gd name="connsiteY21" fmla="*/ 1291653 h 2242888"/>
                <a:gd name="connsiteX22" fmla="*/ 2296641 w 3011132"/>
                <a:gd name="connsiteY22" fmla="*/ 1696388 h 2242888"/>
                <a:gd name="connsiteX23" fmla="*/ 2461533 w 3011132"/>
                <a:gd name="connsiteY23" fmla="*/ 1531496 h 2242888"/>
                <a:gd name="connsiteX24" fmla="*/ 2461534 w 3011132"/>
                <a:gd name="connsiteY24" fmla="*/ 164893 h 2242888"/>
                <a:gd name="connsiteX25" fmla="*/ 2296642 w 3011132"/>
                <a:gd name="connsiteY25" fmla="*/ 1 h 2242888"/>
                <a:gd name="connsiteX26" fmla="*/ 2131750 w 3011132"/>
                <a:gd name="connsiteY26" fmla="*/ 164893 h 2242888"/>
                <a:gd name="connsiteX27" fmla="*/ 2131750 w 3011132"/>
                <a:gd name="connsiteY27" fmla="*/ 1531495 h 2242888"/>
                <a:gd name="connsiteX28" fmla="*/ 2296642 w 3011132"/>
                <a:gd name="connsiteY28" fmla="*/ 1696387 h 2242888"/>
                <a:gd name="connsiteX29" fmla="*/ 370635 w 3011132"/>
                <a:gd name="connsiteY29" fmla="*/ 2242888 h 2242888"/>
                <a:gd name="connsiteX30" fmla="*/ 2640497 w 3011132"/>
                <a:gd name="connsiteY30" fmla="*/ 2242888 h 2242888"/>
                <a:gd name="connsiteX31" fmla="*/ 3011132 w 3011132"/>
                <a:gd name="connsiteY31" fmla="*/ 1872253 h 2242888"/>
                <a:gd name="connsiteX32" fmla="*/ 3011132 w 3011132"/>
                <a:gd name="connsiteY32" fmla="*/ 653116 h 2242888"/>
                <a:gd name="connsiteX33" fmla="*/ 2640497 w 3011132"/>
                <a:gd name="connsiteY33" fmla="*/ 282481 h 2242888"/>
                <a:gd name="connsiteX34" fmla="*/ 2630997 w 3011132"/>
                <a:gd name="connsiteY34" fmla="*/ 282481 h 2242888"/>
                <a:gd name="connsiteX35" fmla="*/ 2630997 w 3011132"/>
                <a:gd name="connsiteY35" fmla="*/ 397932 h 2242888"/>
                <a:gd name="connsiteX36" fmla="*/ 2635026 w 3011132"/>
                <a:gd name="connsiteY36" fmla="*/ 397932 h 2242888"/>
                <a:gd name="connsiteX37" fmla="*/ 2892528 w 3011132"/>
                <a:gd name="connsiteY37" fmla="*/ 655434 h 2242888"/>
                <a:gd name="connsiteX38" fmla="*/ 2892528 w 3011132"/>
                <a:gd name="connsiteY38" fmla="*/ 1869563 h 2242888"/>
                <a:gd name="connsiteX39" fmla="*/ 2635026 w 3011132"/>
                <a:gd name="connsiteY39" fmla="*/ 2127065 h 2242888"/>
                <a:gd name="connsiteX40" fmla="*/ 385364 w 3011132"/>
                <a:gd name="connsiteY40" fmla="*/ 2127065 h 2242888"/>
                <a:gd name="connsiteX41" fmla="*/ 127862 w 3011132"/>
                <a:gd name="connsiteY41" fmla="*/ 1869563 h 2242888"/>
                <a:gd name="connsiteX42" fmla="*/ 127862 w 3011132"/>
                <a:gd name="connsiteY42" fmla="*/ 655434 h 2242888"/>
                <a:gd name="connsiteX43" fmla="*/ 385364 w 3011132"/>
                <a:gd name="connsiteY43" fmla="*/ 397932 h 2242888"/>
                <a:gd name="connsiteX44" fmla="*/ 412220 w 3011132"/>
                <a:gd name="connsiteY44" fmla="*/ 397932 h 2242888"/>
                <a:gd name="connsiteX45" fmla="*/ 412220 w 3011132"/>
                <a:gd name="connsiteY45" fmla="*/ 282481 h 2242888"/>
                <a:gd name="connsiteX46" fmla="*/ 370635 w 3011132"/>
                <a:gd name="connsiteY46" fmla="*/ 282481 h 2242888"/>
                <a:gd name="connsiteX47" fmla="*/ 0 w 3011132"/>
                <a:gd name="connsiteY47" fmla="*/ 653116 h 2242888"/>
                <a:gd name="connsiteX48" fmla="*/ 0 w 3011132"/>
                <a:gd name="connsiteY48" fmla="*/ 1872253 h 2242888"/>
                <a:gd name="connsiteX49" fmla="*/ 370635 w 3011132"/>
                <a:gd name="connsiteY49" fmla="*/ 2242888 h 224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011132" h="2242888">
                  <a:moveTo>
                    <a:pt x="724747" y="690457"/>
                  </a:moveTo>
                  <a:cubicBezTo>
                    <a:pt x="815814" y="690457"/>
                    <a:pt x="889639" y="616632"/>
                    <a:pt x="889639" y="525565"/>
                  </a:cubicBezTo>
                  <a:cubicBezTo>
                    <a:pt x="889639" y="405341"/>
                    <a:pt x="889638" y="285116"/>
                    <a:pt x="889638" y="164892"/>
                  </a:cubicBezTo>
                  <a:cubicBezTo>
                    <a:pt x="889638" y="73825"/>
                    <a:pt x="815813" y="0"/>
                    <a:pt x="724746" y="0"/>
                  </a:cubicBezTo>
                  <a:lnTo>
                    <a:pt x="724747" y="1"/>
                  </a:lnTo>
                  <a:cubicBezTo>
                    <a:pt x="633680" y="1"/>
                    <a:pt x="559855" y="73826"/>
                    <a:pt x="559855" y="164893"/>
                  </a:cubicBezTo>
                  <a:lnTo>
                    <a:pt x="559855" y="525565"/>
                  </a:lnTo>
                  <a:cubicBezTo>
                    <a:pt x="559855" y="616632"/>
                    <a:pt x="633680" y="690457"/>
                    <a:pt x="724747" y="690457"/>
                  </a:cubicBezTo>
                  <a:close/>
                  <a:moveTo>
                    <a:pt x="1772676" y="1028296"/>
                  </a:moveTo>
                  <a:cubicBezTo>
                    <a:pt x="1863743" y="1028296"/>
                    <a:pt x="1937568" y="954471"/>
                    <a:pt x="1937568" y="863404"/>
                  </a:cubicBezTo>
                  <a:cubicBezTo>
                    <a:pt x="1937568" y="630567"/>
                    <a:pt x="1937569" y="397730"/>
                    <a:pt x="1937569" y="164893"/>
                  </a:cubicBezTo>
                  <a:cubicBezTo>
                    <a:pt x="1937569" y="73826"/>
                    <a:pt x="1863744" y="1"/>
                    <a:pt x="1772677" y="1"/>
                  </a:cubicBezTo>
                  <a:cubicBezTo>
                    <a:pt x="1681610" y="1"/>
                    <a:pt x="1607785" y="73826"/>
                    <a:pt x="1607785" y="164893"/>
                  </a:cubicBezTo>
                  <a:lnTo>
                    <a:pt x="1607785" y="863403"/>
                  </a:lnTo>
                  <a:cubicBezTo>
                    <a:pt x="1607785" y="954470"/>
                    <a:pt x="1681610" y="1028295"/>
                    <a:pt x="1772677" y="1028295"/>
                  </a:cubicBezTo>
                  <a:close/>
                  <a:moveTo>
                    <a:pt x="1248711" y="1291654"/>
                  </a:moveTo>
                  <a:cubicBezTo>
                    <a:pt x="1339778" y="1291654"/>
                    <a:pt x="1413603" y="1217829"/>
                    <a:pt x="1413603" y="1126762"/>
                  </a:cubicBezTo>
                  <a:cubicBezTo>
                    <a:pt x="1413603" y="806139"/>
                    <a:pt x="1413604" y="485516"/>
                    <a:pt x="1413604" y="164893"/>
                  </a:cubicBezTo>
                  <a:cubicBezTo>
                    <a:pt x="1413604" y="73826"/>
                    <a:pt x="1339779" y="1"/>
                    <a:pt x="1248712" y="1"/>
                  </a:cubicBezTo>
                  <a:cubicBezTo>
                    <a:pt x="1157645" y="1"/>
                    <a:pt x="1083820" y="73826"/>
                    <a:pt x="1083820" y="164893"/>
                  </a:cubicBezTo>
                  <a:lnTo>
                    <a:pt x="1083820" y="1126761"/>
                  </a:lnTo>
                  <a:cubicBezTo>
                    <a:pt x="1083820" y="1217828"/>
                    <a:pt x="1157645" y="1291653"/>
                    <a:pt x="1248712" y="1291653"/>
                  </a:cubicBezTo>
                  <a:close/>
                  <a:moveTo>
                    <a:pt x="2296641" y="1696388"/>
                  </a:moveTo>
                  <a:cubicBezTo>
                    <a:pt x="2387708" y="1696388"/>
                    <a:pt x="2461533" y="1622563"/>
                    <a:pt x="2461533" y="1531496"/>
                  </a:cubicBezTo>
                  <a:cubicBezTo>
                    <a:pt x="2461533" y="1075962"/>
                    <a:pt x="2461534" y="620427"/>
                    <a:pt x="2461534" y="164893"/>
                  </a:cubicBezTo>
                  <a:cubicBezTo>
                    <a:pt x="2461534" y="73826"/>
                    <a:pt x="2387709" y="1"/>
                    <a:pt x="2296642" y="1"/>
                  </a:cubicBezTo>
                  <a:cubicBezTo>
                    <a:pt x="2205575" y="1"/>
                    <a:pt x="2131750" y="73826"/>
                    <a:pt x="2131750" y="164893"/>
                  </a:cubicBezTo>
                  <a:lnTo>
                    <a:pt x="2131750" y="1531495"/>
                  </a:lnTo>
                  <a:cubicBezTo>
                    <a:pt x="2131750" y="1622562"/>
                    <a:pt x="2205575" y="1696387"/>
                    <a:pt x="2296642" y="1696387"/>
                  </a:cubicBezTo>
                  <a:close/>
                  <a:moveTo>
                    <a:pt x="370635" y="2242888"/>
                  </a:moveTo>
                  <a:lnTo>
                    <a:pt x="2640497" y="2242888"/>
                  </a:lnTo>
                  <a:cubicBezTo>
                    <a:pt x="2845193" y="2242888"/>
                    <a:pt x="3011132" y="2076949"/>
                    <a:pt x="3011132" y="1872253"/>
                  </a:cubicBezTo>
                  <a:lnTo>
                    <a:pt x="3011132" y="653116"/>
                  </a:lnTo>
                  <a:cubicBezTo>
                    <a:pt x="3011132" y="448420"/>
                    <a:pt x="2845193" y="282481"/>
                    <a:pt x="2640497" y="282481"/>
                  </a:cubicBezTo>
                  <a:lnTo>
                    <a:pt x="2630997" y="282481"/>
                  </a:lnTo>
                  <a:lnTo>
                    <a:pt x="2630997" y="397932"/>
                  </a:lnTo>
                  <a:lnTo>
                    <a:pt x="2635026" y="397932"/>
                  </a:lnTo>
                  <a:cubicBezTo>
                    <a:pt x="2777240" y="397932"/>
                    <a:pt x="2892528" y="513220"/>
                    <a:pt x="2892528" y="655434"/>
                  </a:cubicBezTo>
                  <a:lnTo>
                    <a:pt x="2892528" y="1869563"/>
                  </a:lnTo>
                  <a:cubicBezTo>
                    <a:pt x="2892528" y="2011777"/>
                    <a:pt x="2777240" y="2127065"/>
                    <a:pt x="2635026" y="2127065"/>
                  </a:cubicBezTo>
                  <a:lnTo>
                    <a:pt x="385364" y="2127065"/>
                  </a:lnTo>
                  <a:cubicBezTo>
                    <a:pt x="243150" y="2127065"/>
                    <a:pt x="127862" y="2011777"/>
                    <a:pt x="127862" y="1869563"/>
                  </a:cubicBezTo>
                  <a:lnTo>
                    <a:pt x="127862" y="655434"/>
                  </a:lnTo>
                  <a:cubicBezTo>
                    <a:pt x="127862" y="513220"/>
                    <a:pt x="243150" y="397932"/>
                    <a:pt x="385364" y="397932"/>
                  </a:cubicBezTo>
                  <a:lnTo>
                    <a:pt x="412220" y="397932"/>
                  </a:lnTo>
                  <a:lnTo>
                    <a:pt x="412220" y="282481"/>
                  </a:lnTo>
                  <a:lnTo>
                    <a:pt x="370635" y="282481"/>
                  </a:lnTo>
                  <a:cubicBezTo>
                    <a:pt x="165939" y="282481"/>
                    <a:pt x="0" y="448420"/>
                    <a:pt x="0" y="653116"/>
                  </a:cubicBezTo>
                  <a:lnTo>
                    <a:pt x="0" y="1872253"/>
                  </a:lnTo>
                  <a:cubicBezTo>
                    <a:pt x="0" y="2076949"/>
                    <a:pt x="165939" y="2242888"/>
                    <a:pt x="370635" y="2242888"/>
                  </a:cubicBezTo>
                  <a:close/>
                </a:path>
              </a:pathLst>
            </a:custGeom>
            <a:solidFill>
              <a:srgbClr val="FFFFFF"/>
            </a:solidFill>
            <a:ln w="9525" cap="flat" cmpd="sng" algn="ctr">
              <a:noFill/>
              <a:prstDash val="solid"/>
            </a:ln>
            <a:effectLst/>
          </p:spPr>
          <p:txBody>
            <a:bodyPr rot="0" spcFirstLastPara="0" vert="horz" wrap="square" lIns="179259" tIns="143408" rIns="179259" bIns="143408"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4" name="Group 3">
            <a:extLst>
              <a:ext uri="{FF2B5EF4-FFF2-40B4-BE49-F238E27FC236}">
                <a16:creationId xmlns:a16="http://schemas.microsoft.com/office/drawing/2014/main" id="{20A1B402-E1B0-9F45-A69F-CCB030C0347B}"/>
              </a:ext>
            </a:extLst>
          </p:cNvPr>
          <p:cNvGrpSpPr/>
          <p:nvPr/>
        </p:nvGrpSpPr>
        <p:grpSpPr>
          <a:xfrm>
            <a:off x="2779877" y="2686161"/>
            <a:ext cx="1100414" cy="1100414"/>
            <a:chOff x="2779877" y="2686161"/>
            <a:chExt cx="1100414" cy="1100414"/>
          </a:xfrm>
        </p:grpSpPr>
        <p:sp>
          <p:nvSpPr>
            <p:cNvPr id="56" name="Oval 55">
              <a:extLst>
                <a:ext uri="{FF2B5EF4-FFF2-40B4-BE49-F238E27FC236}">
                  <a16:creationId xmlns:a16="http://schemas.microsoft.com/office/drawing/2014/main" id="{C41393BF-41A6-6743-8567-B0D3384A50D9}"/>
                </a:ext>
              </a:extLst>
            </p:cNvPr>
            <p:cNvSpPr>
              <a:spLocks noChangeAspect="1"/>
            </p:cNvSpPr>
            <p:nvPr/>
          </p:nvSpPr>
          <p:spPr bwMode="auto">
            <a:xfrm>
              <a:off x="2779877" y="2686161"/>
              <a:ext cx="1100414" cy="1100414"/>
            </a:xfrm>
            <a:prstGeom prst="ellipse">
              <a:avLst/>
            </a:prstGeom>
            <a:solidFill>
              <a:schemeClr val="tx2"/>
            </a:solidFill>
            <a:ln w="10795" cap="flat" cmpd="sng" algn="ctr">
              <a:noFill/>
              <a:prstDash val="solid"/>
              <a:headEnd type="none" w="med" len="med"/>
              <a:tailEnd type="none" w="med" len="med"/>
            </a:ln>
            <a:effectLst/>
          </p:spPr>
          <p:txBody>
            <a:bodyPr vert="horz" wrap="square" lIns="0" tIns="45682" rIns="0" bIns="45682" numCol="1" rtlCol="0" anchor="ctr" anchorCtr="0" compatLnSpc="1">
              <a:prstTxWarp prst="textNoShape">
                <a:avLst/>
              </a:prstTxWarp>
            </a:bodyPr>
            <a:lstStyle/>
            <a:p>
              <a:pPr algn="ctr" defTabSz="913213" fontAlgn="base">
                <a:lnSpc>
                  <a:spcPct val="90000"/>
                </a:lnSpc>
                <a:spcBef>
                  <a:spcPct val="0"/>
                </a:spcBef>
                <a:spcAft>
                  <a:spcPct val="0"/>
                </a:spcAft>
                <a:defRPr/>
              </a:pPr>
              <a:endParaRPr lang="en-US" sz="1172" kern="0" spc="49">
                <a:solidFill>
                  <a:srgbClr val="505050"/>
                </a:solidFill>
                <a:latin typeface="Segoe UI Semibold" panose="020B0702040204020203" pitchFamily="34" charset="0"/>
                <a:cs typeface="Segoe UI Semibold" panose="020B0702040204020203" pitchFamily="34" charset="0"/>
              </a:endParaRPr>
            </a:p>
          </p:txBody>
        </p:sp>
        <p:sp>
          <p:nvSpPr>
            <p:cNvPr id="69" name="POWERAPPSICON">
              <a:extLst>
                <a:ext uri="{FF2B5EF4-FFF2-40B4-BE49-F238E27FC236}">
                  <a16:creationId xmlns:a16="http://schemas.microsoft.com/office/drawing/2014/main" id="{8C21734F-3FF7-4D42-B52B-718A791BAECA}"/>
                </a:ext>
              </a:extLst>
            </p:cNvPr>
            <p:cNvSpPr>
              <a:spLocks noChangeAspect="1"/>
            </p:cNvSpPr>
            <p:nvPr/>
          </p:nvSpPr>
          <p:spPr bwMode="auto">
            <a:xfrm>
              <a:off x="3101484" y="3075708"/>
              <a:ext cx="457200" cy="321320"/>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rgbClr val="FFFFFF"/>
            </a:solidFill>
            <a:ln w="9525" cap="flat" cmpd="sng" algn="ctr">
              <a:noFill/>
              <a:prstDash val="solid"/>
            </a:ln>
            <a:effectLst/>
          </p:spPr>
          <p:txBody>
            <a:bodyPr rot="0" spcFirstLastPara="0" vert="horz" wrap="square" lIns="179259" tIns="143408" rIns="179259" bIns="143408"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19883336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06C72F0-CA19-5740-BE01-5E271FED8B87}"/>
              </a:ext>
            </a:extLst>
          </p:cNvPr>
          <p:cNvSpPr>
            <a:spLocks noGrp="1"/>
          </p:cNvSpPr>
          <p:nvPr>
            <p:ph type="body" sz="quarter" idx="10"/>
          </p:nvPr>
        </p:nvSpPr>
        <p:spPr>
          <a:xfrm>
            <a:off x="457200" y="1752600"/>
            <a:ext cx="5334000" cy="4648199"/>
          </a:xfrm>
        </p:spPr>
        <p:txBody>
          <a:bodyPr>
            <a:normAutofit/>
          </a:bodyPr>
          <a:lstStyle/>
          <a:p>
            <a:pPr lvl="0">
              <a:lnSpc>
                <a:spcPct val="100000"/>
              </a:lnSpc>
              <a:spcBef>
                <a:spcPts val="0"/>
              </a:spcBef>
            </a:pPr>
            <a:r>
              <a:rPr lang="en-US" b="1" dirty="0">
                <a:solidFill>
                  <a:prstClr val="black"/>
                </a:solidFill>
                <a:latin typeface="Segoe UI Semibold" panose="020B0502040204020203" pitchFamily="34" charset="0"/>
                <a:cs typeface="Segoe UI Semibold" panose="020B0502040204020203" pitchFamily="34" charset="0"/>
              </a:rPr>
              <a:t>Easy build apps</a:t>
            </a:r>
          </a:p>
          <a:p>
            <a:pPr lvl="0">
              <a:lnSpc>
                <a:spcPct val="100000"/>
              </a:lnSpc>
              <a:spcBef>
                <a:spcPts val="0"/>
              </a:spcBef>
            </a:pPr>
            <a:r>
              <a:rPr lang="en-US" sz="1400" dirty="0">
                <a:solidFill>
                  <a:prstClr val="black"/>
                </a:solidFill>
              </a:rPr>
              <a:t>Easily build apps with a full-featured low-code/no-code platform. </a:t>
            </a:r>
          </a:p>
          <a:p>
            <a:pPr lvl="0">
              <a:lnSpc>
                <a:spcPct val="100000"/>
              </a:lnSpc>
              <a:spcBef>
                <a:spcPts val="0"/>
              </a:spcBef>
            </a:pPr>
            <a:endParaRPr lang="en-US" sz="1400" dirty="0">
              <a:solidFill>
                <a:prstClr val="black"/>
              </a:solidFill>
            </a:endParaRPr>
          </a:p>
          <a:p>
            <a:pPr>
              <a:lnSpc>
                <a:spcPct val="100000"/>
              </a:lnSpc>
              <a:spcBef>
                <a:spcPts val="0"/>
              </a:spcBef>
            </a:pPr>
            <a:r>
              <a:rPr lang="en-US" b="1" dirty="0">
                <a:solidFill>
                  <a:prstClr val="black"/>
                </a:solidFill>
                <a:latin typeface="Segoe UI Semibold" panose="020B0502040204020203" pitchFamily="34" charset="0"/>
                <a:cs typeface="Segoe UI Semibold" panose="020B0502040204020203" pitchFamily="34" charset="0"/>
              </a:rPr>
              <a:t>Connect to any data</a:t>
            </a:r>
          </a:p>
          <a:p>
            <a:pPr lvl="0">
              <a:lnSpc>
                <a:spcPct val="100000"/>
              </a:lnSpc>
              <a:spcBef>
                <a:spcPts val="0"/>
              </a:spcBef>
            </a:pPr>
            <a:r>
              <a:rPr lang="en-CA" altLang="en-US" sz="1400" dirty="0">
                <a:solidFill>
                  <a:prstClr val="black"/>
                </a:solidFill>
              </a:rPr>
              <a:t>Connect to all your data with pre-built and customer connectors</a:t>
            </a:r>
            <a:r>
              <a:rPr lang="en-US" sz="1400" dirty="0">
                <a:solidFill>
                  <a:prstClr val="black"/>
                </a:solidFill>
              </a:rPr>
              <a:t>.</a:t>
            </a:r>
          </a:p>
          <a:p>
            <a:pPr lvl="0">
              <a:lnSpc>
                <a:spcPct val="100000"/>
              </a:lnSpc>
              <a:spcBef>
                <a:spcPts val="0"/>
              </a:spcBef>
            </a:pPr>
            <a:endParaRPr lang="en-US" sz="1400" dirty="0">
              <a:solidFill>
                <a:prstClr val="black"/>
              </a:solidFill>
            </a:endParaRPr>
          </a:p>
          <a:p>
            <a:pPr>
              <a:lnSpc>
                <a:spcPct val="100000"/>
              </a:lnSpc>
              <a:spcBef>
                <a:spcPts val="0"/>
              </a:spcBef>
            </a:pPr>
            <a:r>
              <a:rPr lang="en-US" b="1" dirty="0">
                <a:solidFill>
                  <a:prstClr val="black"/>
                </a:solidFill>
                <a:latin typeface="Segoe UI Semibold" panose="020B0502040204020203" pitchFamily="34" charset="0"/>
                <a:cs typeface="Segoe UI Semibold" panose="020B0502040204020203" pitchFamily="34" charset="0"/>
              </a:rPr>
              <a:t>Enterprise governance and security</a:t>
            </a:r>
          </a:p>
          <a:p>
            <a:pPr lvl="0">
              <a:lnSpc>
                <a:spcPct val="100000"/>
              </a:lnSpc>
              <a:spcBef>
                <a:spcPts val="0"/>
              </a:spcBef>
            </a:pPr>
            <a:r>
              <a:rPr lang="en-US" sz="1400" dirty="0">
                <a:solidFill>
                  <a:prstClr val="black"/>
                </a:solidFill>
              </a:rPr>
              <a:t>A unified admin center provides comprehensive data management across first-party, third-party, and custom apps.</a:t>
            </a:r>
          </a:p>
          <a:p>
            <a:pPr lvl="0">
              <a:lnSpc>
                <a:spcPct val="100000"/>
              </a:lnSpc>
              <a:spcBef>
                <a:spcPts val="0"/>
              </a:spcBef>
            </a:pPr>
            <a:endParaRPr lang="en-US" sz="1400" dirty="0">
              <a:solidFill>
                <a:prstClr val="black"/>
              </a:solidFill>
            </a:endParaRPr>
          </a:p>
          <a:p>
            <a:pPr>
              <a:lnSpc>
                <a:spcPct val="100000"/>
              </a:lnSpc>
              <a:spcBef>
                <a:spcPts val="0"/>
              </a:spcBef>
            </a:pPr>
            <a:r>
              <a:rPr lang="en-US" b="1" dirty="0">
                <a:solidFill>
                  <a:prstClr val="black"/>
                </a:solidFill>
                <a:latin typeface="Segoe UI Semibold" panose="020B0502040204020203" pitchFamily="34" charset="0"/>
                <a:cs typeface="Segoe UI Semibold" panose="020B0502040204020203" pitchFamily="34" charset="0"/>
              </a:rPr>
              <a:t>Pro-dev extensibility</a:t>
            </a:r>
          </a:p>
          <a:p>
            <a:pPr lvl="0">
              <a:lnSpc>
                <a:spcPct val="100000"/>
              </a:lnSpc>
              <a:spcBef>
                <a:spcPts val="0"/>
              </a:spcBef>
            </a:pPr>
            <a:r>
              <a:rPr lang="en-US" sz="1400" dirty="0">
                <a:solidFill>
                  <a:prstClr val="black"/>
                </a:solidFill>
              </a:rPr>
              <a:t>Visual Studio plugin, robust Azure integrations, and in-line serverless code amplify pro developer productivity at every step. </a:t>
            </a:r>
          </a:p>
          <a:p>
            <a:pPr lvl="0">
              <a:lnSpc>
                <a:spcPct val="100000"/>
              </a:lnSpc>
              <a:spcBef>
                <a:spcPts val="0"/>
              </a:spcBef>
            </a:pPr>
            <a:endParaRPr lang="en-US" sz="1400" dirty="0">
              <a:solidFill>
                <a:prstClr val="black"/>
              </a:solidFill>
            </a:endParaRPr>
          </a:p>
          <a:p>
            <a:pPr lvl="0">
              <a:lnSpc>
                <a:spcPct val="100000"/>
              </a:lnSpc>
              <a:spcBef>
                <a:spcPts val="0"/>
              </a:spcBef>
            </a:pPr>
            <a:r>
              <a:rPr lang="en-US" b="1" dirty="0">
                <a:solidFill>
                  <a:prstClr val="black"/>
                </a:solidFill>
                <a:latin typeface="Segoe UI Semibold" panose="020B0502040204020203" pitchFamily="34" charset="0"/>
                <a:cs typeface="Segoe UI Semibold" panose="020B0502040204020203" pitchFamily="34" charset="0"/>
              </a:rPr>
              <a:t>Integrations</a:t>
            </a:r>
          </a:p>
          <a:p>
            <a:pPr lvl="0">
              <a:lnSpc>
                <a:spcPct val="100000"/>
              </a:lnSpc>
              <a:spcBef>
                <a:spcPts val="0"/>
              </a:spcBef>
            </a:pPr>
            <a:r>
              <a:rPr lang="en-CA" altLang="en-US" sz="1400" dirty="0">
                <a:solidFill>
                  <a:prstClr val="black"/>
                </a:solidFill>
              </a:rPr>
              <a:t>Leverage integrations with Office 365, Azure, Dynamics 365, Power BI, and Microsoft Flow</a:t>
            </a:r>
            <a:r>
              <a:rPr lang="en-US" sz="1400" dirty="0">
                <a:solidFill>
                  <a:prstClr val="black"/>
                </a:solidFill>
              </a:rPr>
              <a:t>.</a:t>
            </a:r>
          </a:p>
        </p:txBody>
      </p:sp>
      <p:pic>
        <p:nvPicPr>
          <p:cNvPr id="7" name="Picture Placeholder 6">
            <a:extLst>
              <a:ext uri="{FF2B5EF4-FFF2-40B4-BE49-F238E27FC236}">
                <a16:creationId xmlns:a16="http://schemas.microsoft.com/office/drawing/2014/main" id="{D0644D9F-009F-8544-9DF8-AAFA4FCE3E17}"/>
              </a:ext>
            </a:extLst>
          </p:cNvPr>
          <p:cNvPicPr>
            <a:picLocks noGrp="1" noChangeAspect="1"/>
          </p:cNvPicPr>
          <p:nvPr>
            <p:ph type="pic" sz="quarter" idx="11"/>
          </p:nvPr>
        </p:nvPicPr>
        <p:blipFill rotWithShape="1">
          <a:blip r:embed="rId3" cstate="email">
            <a:extLst>
              <a:ext uri="{28A0092B-C50C-407E-A947-70E740481C1C}">
                <a14:useLocalDpi xmlns:a14="http://schemas.microsoft.com/office/drawing/2010/main"/>
              </a:ext>
            </a:extLst>
          </a:blip>
          <a:srcRect/>
          <a:stretch/>
        </p:blipFill>
        <p:spPr>
          <a:xfrm>
            <a:off x="6096000" y="0"/>
            <a:ext cx="6096000" cy="6858000"/>
          </a:xfrm>
        </p:spPr>
      </p:pic>
      <p:sp>
        <p:nvSpPr>
          <p:cNvPr id="4" name="Title 3">
            <a:extLst>
              <a:ext uri="{FF2B5EF4-FFF2-40B4-BE49-F238E27FC236}">
                <a16:creationId xmlns:a16="http://schemas.microsoft.com/office/drawing/2014/main" id="{FC1BF675-3B3B-9A4D-8181-4D51E9725420}"/>
              </a:ext>
            </a:extLst>
          </p:cNvPr>
          <p:cNvSpPr>
            <a:spLocks noGrp="1"/>
          </p:cNvSpPr>
          <p:nvPr>
            <p:ph type="title"/>
          </p:nvPr>
        </p:nvSpPr>
        <p:spPr>
          <a:xfrm>
            <a:off x="457200" y="457200"/>
            <a:ext cx="5334000" cy="606966"/>
          </a:xfrm>
        </p:spPr>
        <p:txBody>
          <a:bodyPr anchor="t"/>
          <a:lstStyle/>
          <a:p>
            <a:r>
              <a:rPr lang="en-US" sz="4000" dirty="0"/>
              <a:t>PowerApps</a:t>
            </a:r>
          </a:p>
        </p:txBody>
      </p:sp>
      <p:pic>
        <p:nvPicPr>
          <p:cNvPr id="8" name="Picture 7">
            <a:extLst>
              <a:ext uri="{FF2B5EF4-FFF2-40B4-BE49-F238E27FC236}">
                <a16:creationId xmlns:a16="http://schemas.microsoft.com/office/drawing/2014/main" id="{F3975427-BC24-AF49-972D-3470EE338F0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791200" y="1752600"/>
            <a:ext cx="6400800" cy="4572000"/>
          </a:xfrm>
          <a:prstGeom prst="rect">
            <a:avLst/>
          </a:prstGeom>
        </p:spPr>
      </p:pic>
    </p:spTree>
    <p:extLst>
      <p:ext uri="{BB962C8B-B14F-4D97-AF65-F5344CB8AC3E}">
        <p14:creationId xmlns:p14="http://schemas.microsoft.com/office/powerpoint/2010/main" val="38250969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3729EEC-2958-DD46-AC7B-B5445F5E391A}"/>
              </a:ext>
            </a:extLst>
          </p:cNvPr>
          <p:cNvSpPr/>
          <p:nvPr/>
        </p:nvSpPr>
        <p:spPr>
          <a:xfrm>
            <a:off x="6095999" y="0"/>
            <a:ext cx="6095999" cy="6858000"/>
          </a:xfrm>
          <a:prstGeom prst="rect">
            <a:avLst/>
          </a:prstGeom>
          <a:solidFill>
            <a:srgbClr val="F0CB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606C72F0-CA19-5740-BE01-5E271FED8B87}"/>
              </a:ext>
            </a:extLst>
          </p:cNvPr>
          <p:cNvSpPr>
            <a:spLocks noGrp="1"/>
          </p:cNvSpPr>
          <p:nvPr>
            <p:ph type="body" sz="quarter" idx="10"/>
          </p:nvPr>
        </p:nvSpPr>
        <p:spPr>
          <a:xfrm>
            <a:off x="457200" y="1752600"/>
            <a:ext cx="5334000" cy="4648199"/>
          </a:xfrm>
        </p:spPr>
        <p:txBody>
          <a:bodyPr>
            <a:normAutofit/>
          </a:bodyPr>
          <a:lstStyle/>
          <a:p>
            <a:pPr>
              <a:lnSpc>
                <a:spcPct val="100000"/>
              </a:lnSpc>
              <a:spcBef>
                <a:spcPts val="0"/>
              </a:spcBef>
            </a:pPr>
            <a:r>
              <a:rPr lang="en-US" b="1" dirty="0">
                <a:solidFill>
                  <a:prstClr val="black"/>
                </a:solidFill>
                <a:latin typeface="Segoe UI Semibold" panose="020B0502040204020203" pitchFamily="34" charset="0"/>
                <a:cs typeface="Segoe UI Semibold" panose="020B0502040204020203" pitchFamily="34" charset="0"/>
              </a:rPr>
              <a:t>Real-time dashboards</a:t>
            </a:r>
          </a:p>
          <a:p>
            <a:pPr lvl="0">
              <a:lnSpc>
                <a:spcPct val="100000"/>
              </a:lnSpc>
              <a:spcBef>
                <a:spcPts val="0"/>
              </a:spcBef>
            </a:pPr>
            <a:r>
              <a:rPr lang="en-US" sz="1400" dirty="0">
                <a:solidFill>
                  <a:prstClr val="black"/>
                </a:solidFill>
              </a:rPr>
              <a:t>Live dashboards that maintain a real-time pulse on the business and provide critical insights.</a:t>
            </a:r>
          </a:p>
          <a:p>
            <a:pPr lvl="0">
              <a:lnSpc>
                <a:spcPct val="100000"/>
              </a:lnSpc>
              <a:spcBef>
                <a:spcPts val="0"/>
              </a:spcBef>
            </a:pPr>
            <a:endParaRPr lang="en-US" sz="1400" dirty="0">
              <a:solidFill>
                <a:prstClr val="black"/>
              </a:solidFill>
            </a:endParaRPr>
          </a:p>
          <a:p>
            <a:pPr>
              <a:lnSpc>
                <a:spcPct val="100000"/>
              </a:lnSpc>
              <a:spcBef>
                <a:spcPts val="0"/>
              </a:spcBef>
            </a:pPr>
            <a:r>
              <a:rPr lang="en-US" b="1" dirty="0">
                <a:solidFill>
                  <a:prstClr val="black"/>
                </a:solidFill>
                <a:latin typeface="Segoe UI Semibold" panose="020B0502040204020203" pitchFamily="34" charset="0"/>
                <a:cs typeface="Segoe UI Semibold" panose="020B0502040204020203" pitchFamily="34" charset="0"/>
              </a:rPr>
              <a:t>Natural Language query</a:t>
            </a:r>
          </a:p>
          <a:p>
            <a:pPr lvl="0">
              <a:lnSpc>
                <a:spcPct val="100000"/>
              </a:lnSpc>
              <a:spcBef>
                <a:spcPts val="0"/>
              </a:spcBef>
            </a:pPr>
            <a:r>
              <a:rPr lang="en-US" sz="1400" dirty="0">
                <a:solidFill>
                  <a:prstClr val="black"/>
                </a:solidFill>
              </a:rPr>
              <a:t>Natural language query that enables users to simply and intuitively ask questions of their data, including through Cortana. </a:t>
            </a:r>
          </a:p>
          <a:p>
            <a:pPr lvl="0">
              <a:lnSpc>
                <a:spcPct val="100000"/>
              </a:lnSpc>
              <a:spcBef>
                <a:spcPts val="0"/>
              </a:spcBef>
            </a:pPr>
            <a:endParaRPr lang="en-US" sz="1400" dirty="0">
              <a:solidFill>
                <a:prstClr val="black"/>
              </a:solidFill>
            </a:endParaRPr>
          </a:p>
          <a:p>
            <a:pPr>
              <a:lnSpc>
                <a:spcPct val="100000"/>
              </a:lnSpc>
              <a:spcBef>
                <a:spcPts val="0"/>
              </a:spcBef>
            </a:pPr>
            <a:r>
              <a:rPr lang="en-US" b="1" dirty="0">
                <a:solidFill>
                  <a:prstClr val="black"/>
                </a:solidFill>
                <a:latin typeface="Segoe UI Semibold" panose="020B0502040204020203" pitchFamily="34" charset="0"/>
                <a:cs typeface="Segoe UI Semibold" panose="020B0502040204020203" pitchFamily="34" charset="0"/>
              </a:rPr>
              <a:t>Custom visualizations</a:t>
            </a:r>
          </a:p>
          <a:p>
            <a:pPr lvl="0">
              <a:lnSpc>
                <a:spcPct val="100000"/>
              </a:lnSpc>
              <a:spcBef>
                <a:spcPts val="0"/>
              </a:spcBef>
            </a:pPr>
            <a:r>
              <a:rPr lang="en-US" sz="1400" dirty="0">
                <a:solidFill>
                  <a:prstClr val="black"/>
                </a:solidFill>
              </a:rPr>
              <a:t>Bring data to life with the Power BI visualization stack to create new ways to visualize data in a way that makes more sense.</a:t>
            </a:r>
          </a:p>
          <a:p>
            <a:pPr lvl="0">
              <a:lnSpc>
                <a:spcPct val="100000"/>
              </a:lnSpc>
              <a:spcBef>
                <a:spcPts val="0"/>
              </a:spcBef>
            </a:pPr>
            <a:endParaRPr lang="en-US" sz="1400" dirty="0">
              <a:solidFill>
                <a:prstClr val="black"/>
              </a:solidFill>
            </a:endParaRPr>
          </a:p>
          <a:p>
            <a:pPr>
              <a:lnSpc>
                <a:spcPct val="100000"/>
              </a:lnSpc>
              <a:spcBef>
                <a:spcPts val="0"/>
              </a:spcBef>
            </a:pPr>
            <a:r>
              <a:rPr lang="en-US" b="1" dirty="0">
                <a:solidFill>
                  <a:prstClr val="black"/>
                </a:solidFill>
                <a:latin typeface="Segoe UI Semibold" panose="020B0502040204020203" pitchFamily="34" charset="0"/>
                <a:cs typeface="Segoe UI Semibold" panose="020B0502040204020203" pitchFamily="34" charset="0"/>
              </a:rPr>
              <a:t>Integration of Power BI with the Microsoft stack</a:t>
            </a:r>
          </a:p>
          <a:p>
            <a:pPr lvl="0">
              <a:lnSpc>
                <a:spcPct val="100000"/>
              </a:lnSpc>
              <a:spcBef>
                <a:spcPts val="0"/>
              </a:spcBef>
            </a:pPr>
            <a:r>
              <a:rPr lang="en-US" sz="1400" dirty="0">
                <a:solidFill>
                  <a:prstClr val="black"/>
                </a:solidFill>
              </a:rPr>
              <a:t>Power BI is part of larger ecosystem that integrates with services like Microsoft Teams, Office 365, and Dynamics 365.</a:t>
            </a:r>
          </a:p>
          <a:p>
            <a:pPr lvl="0">
              <a:lnSpc>
                <a:spcPct val="100000"/>
              </a:lnSpc>
              <a:spcBef>
                <a:spcPts val="0"/>
              </a:spcBef>
            </a:pPr>
            <a:endParaRPr lang="en-US" sz="1400" dirty="0">
              <a:solidFill>
                <a:prstClr val="black"/>
              </a:solidFill>
            </a:endParaRPr>
          </a:p>
          <a:p>
            <a:pPr>
              <a:lnSpc>
                <a:spcPct val="100000"/>
              </a:lnSpc>
              <a:spcBef>
                <a:spcPts val="0"/>
              </a:spcBef>
            </a:pPr>
            <a:r>
              <a:rPr lang="en-US" b="1" dirty="0">
                <a:solidFill>
                  <a:prstClr val="black"/>
                </a:solidFill>
                <a:latin typeface="Segoe UI Semibold" panose="020B0502040204020203" pitchFamily="34" charset="0"/>
                <a:cs typeface="Segoe UI Semibold" panose="020B0502040204020203" pitchFamily="34" charset="0"/>
              </a:rPr>
              <a:t>Anywhere access to insights</a:t>
            </a:r>
          </a:p>
          <a:p>
            <a:pPr lvl="0">
              <a:lnSpc>
                <a:spcPct val="100000"/>
              </a:lnSpc>
              <a:spcBef>
                <a:spcPts val="0"/>
              </a:spcBef>
            </a:pPr>
            <a:r>
              <a:rPr lang="en-CA" altLang="en-US" sz="1400" dirty="0">
                <a:solidFill>
                  <a:prstClr val="black"/>
                </a:solidFill>
              </a:rPr>
              <a:t>Whether in the office or on-the-go, Power BI provides anywhere access to insights with dashboards accessible via the desktop, on the web, or across mobile devices</a:t>
            </a:r>
            <a:r>
              <a:rPr lang="en-US" sz="1400" dirty="0">
                <a:solidFill>
                  <a:prstClr val="black"/>
                </a:solidFill>
              </a:rPr>
              <a:t>.</a:t>
            </a:r>
          </a:p>
        </p:txBody>
      </p:sp>
      <p:pic>
        <p:nvPicPr>
          <p:cNvPr id="6" name="Picture Placeholder 5">
            <a:extLst>
              <a:ext uri="{FF2B5EF4-FFF2-40B4-BE49-F238E27FC236}">
                <a16:creationId xmlns:a16="http://schemas.microsoft.com/office/drawing/2014/main" id="{6AA1DBBA-3970-1747-ADAC-02BECFEBC41F}"/>
              </a:ext>
            </a:extLst>
          </p:cNvPr>
          <p:cNvPicPr>
            <a:picLocks noGrp="1" noChangeAspect="1"/>
          </p:cNvPicPr>
          <p:nvPr>
            <p:ph type="pic" sz="quarter" idx="11"/>
          </p:nvPr>
        </p:nvPicPr>
        <p:blipFill>
          <a:blip r:embed="rId2" cstate="email">
            <a:extLst>
              <a:ext uri="{28A0092B-C50C-407E-A947-70E740481C1C}">
                <a14:useLocalDpi xmlns:a14="http://schemas.microsoft.com/office/drawing/2010/main"/>
              </a:ext>
            </a:extLst>
          </a:blip>
          <a:srcRect/>
          <a:stretch>
            <a:fillRect/>
          </a:stretch>
        </p:blipFill>
        <p:spPr/>
      </p:pic>
      <p:sp>
        <p:nvSpPr>
          <p:cNvPr id="4" name="Title 3">
            <a:extLst>
              <a:ext uri="{FF2B5EF4-FFF2-40B4-BE49-F238E27FC236}">
                <a16:creationId xmlns:a16="http://schemas.microsoft.com/office/drawing/2014/main" id="{FC1BF675-3B3B-9A4D-8181-4D51E9725420}"/>
              </a:ext>
            </a:extLst>
          </p:cNvPr>
          <p:cNvSpPr>
            <a:spLocks noGrp="1"/>
          </p:cNvSpPr>
          <p:nvPr>
            <p:ph type="title"/>
          </p:nvPr>
        </p:nvSpPr>
        <p:spPr>
          <a:xfrm>
            <a:off x="457200" y="457202"/>
            <a:ext cx="5334000" cy="726140"/>
          </a:xfrm>
        </p:spPr>
        <p:txBody>
          <a:bodyPr anchor="t"/>
          <a:lstStyle/>
          <a:p>
            <a:r>
              <a:rPr lang="en-US" sz="4000" dirty="0"/>
              <a:t>Power BI</a:t>
            </a:r>
          </a:p>
        </p:txBody>
      </p:sp>
      <p:pic>
        <p:nvPicPr>
          <p:cNvPr id="11" name="Picture 10">
            <a:extLst>
              <a:ext uri="{FF2B5EF4-FFF2-40B4-BE49-F238E27FC236}">
                <a16:creationId xmlns:a16="http://schemas.microsoft.com/office/drawing/2014/main" id="{BA53A640-8FA9-1040-9807-4AF7D58089B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819"/>
          <a:stretch/>
        </p:blipFill>
        <p:spPr>
          <a:xfrm>
            <a:off x="6690049" y="2911151"/>
            <a:ext cx="5501950" cy="3946849"/>
          </a:xfrm>
          <a:prstGeom prst="rect">
            <a:avLst/>
          </a:prstGeom>
        </p:spPr>
      </p:pic>
    </p:spTree>
    <p:extLst>
      <p:ext uri="{BB962C8B-B14F-4D97-AF65-F5344CB8AC3E}">
        <p14:creationId xmlns:p14="http://schemas.microsoft.com/office/powerpoint/2010/main" val="40009672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0" y="2474893"/>
            <a:ext cx="12192000" cy="646331"/>
          </a:xfrm>
          <a:prstGeom prst="rect">
            <a:avLst/>
          </a:prstGeom>
        </p:spPr>
        <p:txBody>
          <a:bodyPr wrap="square">
            <a:spAutoFit/>
          </a:bodyPr>
          <a:lstStyle/>
          <a:p>
            <a:pPr algn="ctr"/>
            <a:r>
              <a:rPr lang="en-US" sz="3600" b="1" dirty="0">
                <a:solidFill>
                  <a:srgbClr val="7030A0"/>
                </a:solidFill>
              </a:rPr>
              <a:t>Day 10: Power Packed Bizz Apps Day– Finance &amp; Supply Chain</a:t>
            </a:r>
            <a:endParaRPr lang="en-US" sz="2800" b="1" dirty="0">
              <a:solidFill>
                <a:srgbClr val="7030A0"/>
              </a:solidFill>
            </a:endParaRPr>
          </a:p>
        </p:txBody>
      </p:sp>
    </p:spTree>
    <p:extLst>
      <p:ext uri="{BB962C8B-B14F-4D97-AF65-F5344CB8AC3E}">
        <p14:creationId xmlns:p14="http://schemas.microsoft.com/office/powerpoint/2010/main" val="280375037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06C72F0-CA19-5740-BE01-5E271FED8B87}"/>
              </a:ext>
            </a:extLst>
          </p:cNvPr>
          <p:cNvSpPr>
            <a:spLocks noGrp="1"/>
          </p:cNvSpPr>
          <p:nvPr>
            <p:ph type="body" sz="quarter" idx="10"/>
          </p:nvPr>
        </p:nvSpPr>
        <p:spPr>
          <a:xfrm>
            <a:off x="457200" y="1752600"/>
            <a:ext cx="5334000" cy="4648199"/>
          </a:xfrm>
        </p:spPr>
        <p:txBody>
          <a:bodyPr>
            <a:normAutofit/>
          </a:bodyPr>
          <a:lstStyle/>
          <a:p>
            <a:pPr>
              <a:lnSpc>
                <a:spcPct val="100000"/>
              </a:lnSpc>
              <a:spcBef>
                <a:spcPts val="0"/>
              </a:spcBef>
            </a:pPr>
            <a:r>
              <a:rPr lang="en-US" b="1" dirty="0">
                <a:solidFill>
                  <a:prstClr val="black"/>
                </a:solidFill>
                <a:latin typeface="Segoe UI Semibold" panose="020B0502040204020203" pitchFamily="34" charset="0"/>
                <a:cs typeface="Segoe UI Semibold" panose="020B0502040204020203" pitchFamily="34" charset="0"/>
              </a:rPr>
              <a:t>Automate workflows</a:t>
            </a:r>
          </a:p>
          <a:p>
            <a:pPr lvl="0">
              <a:lnSpc>
                <a:spcPct val="100000"/>
              </a:lnSpc>
              <a:spcBef>
                <a:spcPts val="0"/>
              </a:spcBef>
            </a:pPr>
            <a:r>
              <a:rPr lang="en-US" sz="1400" dirty="0">
                <a:solidFill>
                  <a:prstClr val="black"/>
                </a:solidFill>
              </a:rPr>
              <a:t>Create automated workflows between your favorite apps and services to get notifications, synchronize files, collect data, and more. </a:t>
            </a:r>
          </a:p>
          <a:p>
            <a:pPr lvl="0">
              <a:lnSpc>
                <a:spcPct val="100000"/>
              </a:lnSpc>
              <a:spcBef>
                <a:spcPts val="0"/>
              </a:spcBef>
            </a:pPr>
            <a:endParaRPr lang="en-US" sz="1400" dirty="0">
              <a:solidFill>
                <a:prstClr val="black"/>
              </a:solidFill>
            </a:endParaRPr>
          </a:p>
          <a:p>
            <a:pPr lvl="0">
              <a:lnSpc>
                <a:spcPct val="100000"/>
              </a:lnSpc>
              <a:spcBef>
                <a:spcPts val="0"/>
              </a:spcBef>
            </a:pPr>
            <a:r>
              <a:rPr lang="en-US" sz="1400" b="1" dirty="0">
                <a:solidFill>
                  <a:prstClr val="black"/>
                </a:solidFill>
              </a:rPr>
              <a:t>Multistep flows</a:t>
            </a:r>
          </a:p>
          <a:p>
            <a:pPr>
              <a:lnSpc>
                <a:spcPct val="100000"/>
              </a:lnSpc>
              <a:spcBef>
                <a:spcPts val="0"/>
              </a:spcBef>
            </a:pPr>
            <a:r>
              <a:rPr lang="en-US" sz="1400" dirty="0"/>
              <a:t>Turn repetitive tasks into multistep workflows.</a:t>
            </a:r>
          </a:p>
          <a:p>
            <a:pPr>
              <a:lnSpc>
                <a:spcPct val="100000"/>
              </a:lnSpc>
              <a:spcBef>
                <a:spcPts val="0"/>
              </a:spcBef>
            </a:pPr>
            <a:endParaRPr lang="en-US" sz="1400" dirty="0"/>
          </a:p>
          <a:p>
            <a:pPr>
              <a:lnSpc>
                <a:spcPct val="100000"/>
              </a:lnSpc>
              <a:spcBef>
                <a:spcPts val="0"/>
              </a:spcBef>
            </a:pPr>
            <a:r>
              <a:rPr lang="en-US" sz="1400" b="1" dirty="0"/>
              <a:t>Approve requests</a:t>
            </a:r>
          </a:p>
          <a:p>
            <a:pPr>
              <a:lnSpc>
                <a:spcPct val="100000"/>
              </a:lnSpc>
              <a:spcBef>
                <a:spcPts val="0"/>
              </a:spcBef>
            </a:pPr>
            <a:r>
              <a:rPr lang="en-US" sz="1400" dirty="0"/>
              <a:t>Create, use, and share automated approval workflows.</a:t>
            </a:r>
          </a:p>
          <a:p>
            <a:pPr>
              <a:lnSpc>
                <a:spcPct val="100000"/>
              </a:lnSpc>
              <a:spcBef>
                <a:spcPts val="0"/>
              </a:spcBef>
            </a:pPr>
            <a:endParaRPr lang="en-US" sz="1400" dirty="0"/>
          </a:p>
          <a:p>
            <a:pPr>
              <a:lnSpc>
                <a:spcPct val="100000"/>
              </a:lnSpc>
              <a:spcBef>
                <a:spcPts val="0"/>
              </a:spcBef>
            </a:pPr>
            <a:r>
              <a:rPr lang="en-US" sz="1400" b="1" dirty="0"/>
              <a:t>Adding conditions</a:t>
            </a:r>
          </a:p>
          <a:p>
            <a:pPr>
              <a:lnSpc>
                <a:spcPct val="100000"/>
              </a:lnSpc>
              <a:spcBef>
                <a:spcPts val="0"/>
              </a:spcBef>
            </a:pPr>
            <a:r>
              <a:rPr lang="en-US" sz="1400" dirty="0"/>
              <a:t>Make decisions in your workflow, like running an action only when certain conditions are met.</a:t>
            </a:r>
          </a:p>
          <a:p>
            <a:pPr>
              <a:lnSpc>
                <a:spcPct val="100000"/>
              </a:lnSpc>
              <a:spcBef>
                <a:spcPts val="0"/>
              </a:spcBef>
            </a:pPr>
            <a:endParaRPr lang="en-US" sz="1400" dirty="0"/>
          </a:p>
          <a:p>
            <a:pPr>
              <a:lnSpc>
                <a:spcPct val="100000"/>
              </a:lnSpc>
              <a:spcBef>
                <a:spcPts val="0"/>
              </a:spcBef>
            </a:pPr>
            <a:r>
              <a:rPr lang="en-US" sz="1400" b="1" dirty="0"/>
              <a:t>Using on-premises data</a:t>
            </a:r>
          </a:p>
          <a:p>
            <a:pPr>
              <a:lnSpc>
                <a:spcPct val="100000"/>
              </a:lnSpc>
              <a:spcBef>
                <a:spcPts val="0"/>
              </a:spcBef>
            </a:pPr>
            <a:r>
              <a:rPr lang="en-US" sz="1400" dirty="0"/>
              <a:t>Securely connect to on-premises data and cloud-based services.</a:t>
            </a:r>
          </a:p>
          <a:p>
            <a:pPr>
              <a:lnSpc>
                <a:spcPct val="100000"/>
              </a:lnSpc>
              <a:spcBef>
                <a:spcPts val="0"/>
              </a:spcBef>
            </a:pPr>
            <a:endParaRPr lang="en-US" sz="1400" dirty="0"/>
          </a:p>
          <a:p>
            <a:pPr>
              <a:lnSpc>
                <a:spcPct val="100000"/>
              </a:lnSpc>
              <a:spcBef>
                <a:spcPts val="0"/>
              </a:spcBef>
            </a:pPr>
            <a:r>
              <a:rPr lang="en-US" sz="1400" b="1" dirty="0"/>
              <a:t>Working securely</a:t>
            </a:r>
          </a:p>
          <a:p>
            <a:pPr>
              <a:lnSpc>
                <a:spcPct val="100000"/>
              </a:lnSpc>
              <a:spcBef>
                <a:spcPts val="0"/>
              </a:spcBef>
            </a:pPr>
            <a:r>
              <a:rPr lang="en-US" sz="1400" dirty="0"/>
              <a:t>Prevent sensitive data from leaving your company using built-in or customized data loss prevention policies.</a:t>
            </a:r>
          </a:p>
        </p:txBody>
      </p:sp>
      <p:pic>
        <p:nvPicPr>
          <p:cNvPr id="6" name="Picture Placeholder 5">
            <a:extLst>
              <a:ext uri="{FF2B5EF4-FFF2-40B4-BE49-F238E27FC236}">
                <a16:creationId xmlns:a16="http://schemas.microsoft.com/office/drawing/2014/main" id="{AF264D1C-B8D1-864F-B1DF-3C5EFEA2E9A1}"/>
              </a:ext>
            </a:extLst>
          </p:cNvPr>
          <p:cNvPicPr>
            <a:picLocks noGrp="1" noChangeAspect="1"/>
          </p:cNvPicPr>
          <p:nvPr>
            <p:ph type="pic" sz="quarter" idx="11"/>
          </p:nvPr>
        </p:nvPicPr>
        <p:blipFill>
          <a:blip r:embed="rId2" cstate="email">
            <a:extLst>
              <a:ext uri="{28A0092B-C50C-407E-A947-70E740481C1C}">
                <a14:useLocalDpi xmlns:a14="http://schemas.microsoft.com/office/drawing/2010/main"/>
              </a:ext>
            </a:extLst>
          </a:blip>
          <a:srcRect/>
          <a:stretch>
            <a:fillRect/>
          </a:stretch>
        </p:blipFill>
        <p:spPr/>
      </p:pic>
      <p:sp>
        <p:nvSpPr>
          <p:cNvPr id="4" name="Title 3">
            <a:extLst>
              <a:ext uri="{FF2B5EF4-FFF2-40B4-BE49-F238E27FC236}">
                <a16:creationId xmlns:a16="http://schemas.microsoft.com/office/drawing/2014/main" id="{FC1BF675-3B3B-9A4D-8181-4D51E9725420}"/>
              </a:ext>
            </a:extLst>
          </p:cNvPr>
          <p:cNvSpPr>
            <a:spLocks noGrp="1"/>
          </p:cNvSpPr>
          <p:nvPr>
            <p:ph type="title"/>
          </p:nvPr>
        </p:nvSpPr>
        <p:spPr>
          <a:xfrm>
            <a:off x="457200" y="457201"/>
            <a:ext cx="5334000" cy="615931"/>
          </a:xfrm>
        </p:spPr>
        <p:txBody>
          <a:bodyPr anchor="t"/>
          <a:lstStyle/>
          <a:p>
            <a:r>
              <a:rPr lang="en-US" sz="4000" dirty="0"/>
              <a:t>Microsoft Flow</a:t>
            </a:r>
          </a:p>
        </p:txBody>
      </p:sp>
      <p:pic>
        <p:nvPicPr>
          <p:cNvPr id="8" name="Picture 7">
            <a:extLst>
              <a:ext uri="{FF2B5EF4-FFF2-40B4-BE49-F238E27FC236}">
                <a16:creationId xmlns:a16="http://schemas.microsoft.com/office/drawing/2014/main" id="{38F96A8D-E850-0A40-8258-4548DAB43E4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37927" y="4230964"/>
            <a:ext cx="5812145" cy="2627036"/>
          </a:xfrm>
          <a:prstGeom prst="rect">
            <a:avLst/>
          </a:prstGeom>
        </p:spPr>
      </p:pic>
    </p:spTree>
    <p:extLst>
      <p:ext uri="{BB962C8B-B14F-4D97-AF65-F5344CB8AC3E}">
        <p14:creationId xmlns:p14="http://schemas.microsoft.com/office/powerpoint/2010/main" val="9106289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26B2F-0E36-8C4B-B008-19CAEECD3E53}"/>
              </a:ext>
            </a:extLst>
          </p:cNvPr>
          <p:cNvSpPr txBox="1">
            <a:spLocks/>
          </p:cNvSpPr>
          <p:nvPr/>
        </p:nvSpPr>
        <p:spPr>
          <a:xfrm>
            <a:off x="457200" y="461561"/>
            <a:ext cx="9887622" cy="747897"/>
          </a:xfrm>
          <a:prstGeom prst="rect">
            <a:avLst/>
          </a:prstGeom>
        </p:spPr>
        <p:txBody>
          <a:bodyPr vert="horz" lIns="0" tIns="0" rIns="0" bIns="0" rtlCol="0" anchor="t">
            <a:spAutoFit/>
          </a:bodyPr>
          <a:lstStyle>
            <a:lvl1pPr algn="l" defTabSz="914400" rtl="0" eaLnBrk="1" latinLnBrk="0" hangingPunct="1">
              <a:lnSpc>
                <a:spcPct val="90000"/>
              </a:lnSpc>
              <a:spcBef>
                <a:spcPct val="0"/>
              </a:spcBef>
              <a:buNone/>
              <a:defRPr sz="4000" b="0" i="0" kern="1200">
                <a:solidFill>
                  <a:schemeClr val="tx1"/>
                </a:solidFill>
                <a:latin typeface="Segoe UI Semibold" panose="020B0502040204020203" pitchFamily="34" charset="0"/>
                <a:ea typeface="+mj-ea"/>
                <a:cs typeface="Segoe UI Semibold" panose="020B0502040204020203" pitchFamily="34" charset="0"/>
              </a:defRPr>
            </a:lvl1pPr>
          </a:lstStyle>
          <a:p>
            <a:r>
              <a:rPr lang="en-US" sz="3600" dirty="0"/>
              <a:t>PowerApps democratizes digital transformation</a:t>
            </a:r>
          </a:p>
          <a:p>
            <a:pPr lvl="0"/>
            <a:r>
              <a:rPr lang="en-US" sz="1800" dirty="0">
                <a:latin typeface="Segoe UI" panose="020B0502040204020203" pitchFamily="34" charset="0"/>
                <a:cs typeface="Segoe UI" panose="020B0502040204020203" pitchFamily="34" charset="0"/>
              </a:rPr>
              <a:t>Anyone can rapidly create apps for any scenario</a:t>
            </a:r>
            <a:endParaRPr lang="en-US" sz="1800" noProof="0" dirty="0">
              <a:latin typeface="Segoe UI" panose="020B0502040204020203" pitchFamily="34" charset="0"/>
              <a:cs typeface="Segoe UI" panose="020B0502040204020203" pitchFamily="34" charset="0"/>
            </a:endParaRPr>
          </a:p>
        </p:txBody>
      </p:sp>
      <p:sp>
        <p:nvSpPr>
          <p:cNvPr id="43" name="Text Placeholder 21">
            <a:extLst>
              <a:ext uri="{FF2B5EF4-FFF2-40B4-BE49-F238E27FC236}">
                <a16:creationId xmlns:a16="http://schemas.microsoft.com/office/drawing/2014/main" id="{29ABCB00-BABC-8B43-BA7E-C3946AEFE99A}"/>
              </a:ext>
            </a:extLst>
          </p:cNvPr>
          <p:cNvSpPr txBox="1">
            <a:spLocks/>
          </p:cNvSpPr>
          <p:nvPr userDrawn="1"/>
        </p:nvSpPr>
        <p:spPr>
          <a:xfrm>
            <a:off x="8256498" y="4221480"/>
            <a:ext cx="2849006" cy="747897"/>
          </a:xfrm>
          <a:prstGeom prst="rect">
            <a:avLst/>
          </a:prstGeom>
        </p:spPr>
        <p:txBody>
          <a:bodyPr vert="horz" wrap="square" lIns="0" tIns="0" rIns="0" bIns="0" rtlCol="0" anchor="b">
            <a:spAutoFit/>
          </a:bodyPr>
          <a:lstStyle>
            <a:defPPr>
              <a:defRPr lang="en-US"/>
            </a:defPPr>
            <a:lvl1pPr lvl="0" indent="0">
              <a:lnSpc>
                <a:spcPct val="90000"/>
              </a:lnSpc>
              <a:spcBef>
                <a:spcPts val="1000"/>
              </a:spcBef>
              <a:buFont typeface="Arial" panose="020B0604020202020204" pitchFamily="34" charset="0"/>
              <a:buNone/>
              <a:defRPr b="1" i="0" baseline="0">
                <a:solidFill>
                  <a:schemeClr val="tx2"/>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b="1" i="0">
                <a:latin typeface="Segoe UI Semibold" panose="020B0502040204020203" pitchFamily="34" charset="0"/>
                <a:cs typeface="Segoe UI Semibold" panose="020B0502040204020203" pitchFamily="34" charset="0"/>
              </a:defRPr>
            </a:lvl2pPr>
            <a:lvl3pPr marL="1143000" indent="-228600">
              <a:lnSpc>
                <a:spcPct val="90000"/>
              </a:lnSpc>
              <a:spcBef>
                <a:spcPts val="500"/>
              </a:spcBef>
              <a:buFont typeface="Arial" panose="020B0604020202020204" pitchFamily="34" charset="0"/>
              <a:buChar char="•"/>
              <a:defRPr sz="2000" b="1" i="0">
                <a:latin typeface="Segoe UI Semibold" panose="020B0502040204020203" pitchFamily="34" charset="0"/>
                <a:cs typeface="Segoe UI Semibold" panose="020B0502040204020203" pitchFamily="34" charset="0"/>
              </a:defRPr>
            </a:lvl3pPr>
            <a:lvl4pPr marL="1600200" indent="-228600">
              <a:lnSpc>
                <a:spcPct val="90000"/>
              </a:lnSpc>
              <a:spcBef>
                <a:spcPts val="500"/>
              </a:spcBef>
              <a:buFont typeface="Arial" panose="020B0604020202020204" pitchFamily="34" charset="0"/>
              <a:buChar char="•"/>
              <a:defRPr b="1" i="0">
                <a:latin typeface="Segoe UI" panose="020B0502040204020203" pitchFamily="34" charset="0"/>
                <a:cs typeface="Segoe UI" panose="020B0502040204020203" pitchFamily="34" charset="0"/>
              </a:defRPr>
            </a:lvl4pPr>
            <a:lvl5pPr marL="2057400" indent="-228600">
              <a:lnSpc>
                <a:spcPct val="90000"/>
              </a:lnSpc>
              <a:spcBef>
                <a:spcPts val="500"/>
              </a:spcBef>
              <a:buFont typeface="Arial" panose="020B0604020202020204" pitchFamily="34" charset="0"/>
              <a:buChar char="•"/>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Immersive, end-to-end solutions for mission critical scenarios.</a:t>
            </a:r>
          </a:p>
        </p:txBody>
      </p:sp>
      <p:sp>
        <p:nvSpPr>
          <p:cNvPr id="47" name="Text Placeholder 20">
            <a:extLst>
              <a:ext uri="{FF2B5EF4-FFF2-40B4-BE49-F238E27FC236}">
                <a16:creationId xmlns:a16="http://schemas.microsoft.com/office/drawing/2014/main" id="{D9D2AE1C-BE5E-9D4F-BEB6-0FF634FD7689}"/>
              </a:ext>
            </a:extLst>
          </p:cNvPr>
          <p:cNvSpPr txBox="1">
            <a:spLocks/>
          </p:cNvSpPr>
          <p:nvPr userDrawn="1"/>
        </p:nvSpPr>
        <p:spPr>
          <a:xfrm>
            <a:off x="4664400" y="4221480"/>
            <a:ext cx="2926080" cy="747897"/>
          </a:xfrm>
          <a:prstGeom prst="rect">
            <a:avLst/>
          </a:prstGeom>
        </p:spPr>
        <p:txBody>
          <a:bodyPr vert="horz" wrap="square" lIns="0" tIns="0" rIns="0" bIns="0" rtlCol="0" anchor="b">
            <a:spAutoFit/>
          </a:bodyPr>
          <a:lstStyle>
            <a:defPPr>
              <a:defRPr lang="en-US"/>
            </a:defPPr>
            <a:lvl1pPr lvl="0" indent="0">
              <a:lnSpc>
                <a:spcPct val="90000"/>
              </a:lnSpc>
              <a:spcBef>
                <a:spcPts val="1000"/>
              </a:spcBef>
              <a:buFont typeface="Arial" panose="020B0604020202020204" pitchFamily="34" charset="0"/>
              <a:buNone/>
              <a:defRPr b="1" i="0" baseline="0">
                <a:solidFill>
                  <a:schemeClr val="tx2"/>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b="1" i="0">
                <a:latin typeface="Segoe UI Semibold" panose="020B0502040204020203" pitchFamily="34" charset="0"/>
                <a:cs typeface="Segoe UI Semibold" panose="020B0502040204020203" pitchFamily="34" charset="0"/>
              </a:defRPr>
            </a:lvl2pPr>
            <a:lvl3pPr marL="1143000" indent="-228600">
              <a:lnSpc>
                <a:spcPct val="90000"/>
              </a:lnSpc>
              <a:spcBef>
                <a:spcPts val="500"/>
              </a:spcBef>
              <a:buFont typeface="Arial" panose="020B0604020202020204" pitchFamily="34" charset="0"/>
              <a:buChar char="•"/>
              <a:defRPr sz="2000" b="1" i="0">
                <a:latin typeface="Segoe UI Semibold" panose="020B0502040204020203" pitchFamily="34" charset="0"/>
                <a:cs typeface="Segoe UI Semibold" panose="020B0502040204020203" pitchFamily="34" charset="0"/>
              </a:defRPr>
            </a:lvl3pPr>
            <a:lvl4pPr marL="1600200" indent="-228600">
              <a:lnSpc>
                <a:spcPct val="90000"/>
              </a:lnSpc>
              <a:spcBef>
                <a:spcPts val="500"/>
              </a:spcBef>
              <a:buFont typeface="Arial" panose="020B0604020202020204" pitchFamily="34" charset="0"/>
              <a:buChar char="•"/>
              <a:defRPr b="1" i="0">
                <a:latin typeface="Segoe UI" panose="020B0502040204020203" pitchFamily="34" charset="0"/>
                <a:cs typeface="Segoe UI" panose="020B0502040204020203" pitchFamily="34" charset="0"/>
              </a:defRPr>
            </a:lvl4pPr>
            <a:lvl5pPr marL="2057400" indent="-228600">
              <a:lnSpc>
                <a:spcPct val="90000"/>
              </a:lnSpc>
              <a:spcBef>
                <a:spcPts val="500"/>
              </a:spcBef>
              <a:buFont typeface="Arial" panose="020B0604020202020204" pitchFamily="34" charset="0"/>
              <a:buChar char="•"/>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Highly-customizable task- and role-based applications.</a:t>
            </a:r>
          </a:p>
        </p:txBody>
      </p:sp>
      <p:sp>
        <p:nvSpPr>
          <p:cNvPr id="51" name="Text Placeholder 22">
            <a:extLst>
              <a:ext uri="{FF2B5EF4-FFF2-40B4-BE49-F238E27FC236}">
                <a16:creationId xmlns:a16="http://schemas.microsoft.com/office/drawing/2014/main" id="{B0A11E06-BAA8-3D40-A62A-FA8B4B83996F}"/>
              </a:ext>
            </a:extLst>
          </p:cNvPr>
          <p:cNvSpPr txBox="1">
            <a:spLocks/>
          </p:cNvSpPr>
          <p:nvPr userDrawn="1"/>
        </p:nvSpPr>
        <p:spPr>
          <a:xfrm>
            <a:off x="1072302" y="4221480"/>
            <a:ext cx="2926080" cy="747897"/>
          </a:xfrm>
          <a:prstGeom prst="rect">
            <a:avLst/>
          </a:prstGeom>
        </p:spPr>
        <p:txBody>
          <a:bodyPr vert="horz" wrap="square" lIns="0" tIns="0" rIns="0" bIns="0" rtlCol="0" anchor="b">
            <a:spAutoFit/>
          </a:bodyPr>
          <a:lstStyle>
            <a:defPPr>
              <a:defRPr lang="en-US"/>
            </a:defPPr>
            <a:lvl1pPr lvl="0" indent="0">
              <a:lnSpc>
                <a:spcPct val="90000"/>
              </a:lnSpc>
              <a:spcBef>
                <a:spcPts val="1000"/>
              </a:spcBef>
              <a:buFont typeface="Arial" panose="020B0604020202020204" pitchFamily="34" charset="0"/>
              <a:buNone/>
              <a:defRPr b="1" i="0" baseline="0">
                <a:solidFill>
                  <a:schemeClr val="tx2"/>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b="1" i="0">
                <a:latin typeface="Segoe UI Semibold" panose="020B0502040204020203" pitchFamily="34" charset="0"/>
                <a:cs typeface="Segoe UI Semibold" panose="020B0502040204020203" pitchFamily="34" charset="0"/>
              </a:defRPr>
            </a:lvl2pPr>
            <a:lvl3pPr marL="1143000" indent="-228600">
              <a:lnSpc>
                <a:spcPct val="90000"/>
              </a:lnSpc>
              <a:spcBef>
                <a:spcPts val="500"/>
              </a:spcBef>
              <a:buFont typeface="Arial" panose="020B0604020202020204" pitchFamily="34" charset="0"/>
              <a:buChar char="•"/>
              <a:defRPr sz="2000" b="1" i="0">
                <a:latin typeface="Segoe UI Semibold" panose="020B0502040204020203" pitchFamily="34" charset="0"/>
                <a:cs typeface="Segoe UI Semibold" panose="020B0502040204020203" pitchFamily="34" charset="0"/>
              </a:defRPr>
            </a:lvl3pPr>
            <a:lvl4pPr marL="1600200" indent="-228600">
              <a:lnSpc>
                <a:spcPct val="90000"/>
              </a:lnSpc>
              <a:spcBef>
                <a:spcPts val="500"/>
              </a:spcBef>
              <a:buFont typeface="Arial" panose="020B0604020202020204" pitchFamily="34" charset="0"/>
              <a:buChar char="•"/>
              <a:defRPr b="1" i="0">
                <a:latin typeface="Segoe UI" panose="020B0502040204020203" pitchFamily="34" charset="0"/>
                <a:cs typeface="Segoe UI" panose="020B0502040204020203" pitchFamily="34" charset="0"/>
              </a:defRPr>
            </a:lvl4pPr>
            <a:lvl5pPr marL="2057400" indent="-228600">
              <a:lnSpc>
                <a:spcPct val="90000"/>
              </a:lnSpc>
              <a:spcBef>
                <a:spcPts val="500"/>
              </a:spcBef>
              <a:buFont typeface="Arial" panose="020B0604020202020204" pitchFamily="34" charset="0"/>
              <a:buChar char="•"/>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Tailored out-of-the-box solutions, embedded forms, and dashboards.</a:t>
            </a:r>
          </a:p>
        </p:txBody>
      </p:sp>
      <p:sp>
        <p:nvSpPr>
          <p:cNvPr id="53" name="Oval 52">
            <a:extLst>
              <a:ext uri="{FF2B5EF4-FFF2-40B4-BE49-F238E27FC236}">
                <a16:creationId xmlns:a16="http://schemas.microsoft.com/office/drawing/2014/main" id="{C32646E5-ACE5-6048-8E18-A221E5D1CFBA}"/>
              </a:ext>
            </a:extLst>
          </p:cNvPr>
          <p:cNvSpPr>
            <a:spLocks noChangeAspect="1"/>
          </p:cNvSpPr>
          <p:nvPr/>
        </p:nvSpPr>
        <p:spPr>
          <a:xfrm>
            <a:off x="1072302" y="5148194"/>
            <a:ext cx="91440" cy="914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id="{690319E7-277C-9C43-B9C0-C41B67436827}"/>
              </a:ext>
            </a:extLst>
          </p:cNvPr>
          <p:cNvSpPr>
            <a:spLocks noChangeAspect="1"/>
          </p:cNvSpPr>
          <p:nvPr/>
        </p:nvSpPr>
        <p:spPr>
          <a:xfrm>
            <a:off x="4664400" y="5148194"/>
            <a:ext cx="91440" cy="914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8B9A9319-CDAB-D643-8B5C-BC963F9E8482}"/>
              </a:ext>
            </a:extLst>
          </p:cNvPr>
          <p:cNvSpPr>
            <a:spLocks noChangeAspect="1"/>
          </p:cNvSpPr>
          <p:nvPr/>
        </p:nvSpPr>
        <p:spPr>
          <a:xfrm>
            <a:off x="4811600" y="5148194"/>
            <a:ext cx="91440" cy="914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BA0A99DF-C162-DF4D-B07E-9A1787437FAE}"/>
              </a:ext>
            </a:extLst>
          </p:cNvPr>
          <p:cNvSpPr>
            <a:spLocks noChangeAspect="1"/>
          </p:cNvSpPr>
          <p:nvPr/>
        </p:nvSpPr>
        <p:spPr>
          <a:xfrm>
            <a:off x="8256498" y="5148194"/>
            <a:ext cx="91440" cy="914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AB8441D6-EE8C-A340-8104-DB98FC603034}"/>
              </a:ext>
            </a:extLst>
          </p:cNvPr>
          <p:cNvSpPr>
            <a:spLocks noChangeAspect="1"/>
          </p:cNvSpPr>
          <p:nvPr/>
        </p:nvSpPr>
        <p:spPr>
          <a:xfrm>
            <a:off x="8403698" y="5148194"/>
            <a:ext cx="91440" cy="914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B9C3C9F4-1CBA-C746-9C7E-A994DE007DCB}"/>
              </a:ext>
            </a:extLst>
          </p:cNvPr>
          <p:cNvSpPr>
            <a:spLocks noChangeAspect="1"/>
          </p:cNvSpPr>
          <p:nvPr/>
        </p:nvSpPr>
        <p:spPr>
          <a:xfrm>
            <a:off x="8550898" y="5148194"/>
            <a:ext cx="91440" cy="914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03632BC4-EBF0-9A44-8C9C-97AAB56BC1EA}"/>
              </a:ext>
            </a:extLst>
          </p:cNvPr>
          <p:cNvSpPr/>
          <p:nvPr/>
        </p:nvSpPr>
        <p:spPr>
          <a:xfrm>
            <a:off x="10342396" y="6247336"/>
            <a:ext cx="955390" cy="184666"/>
          </a:xfrm>
          <a:prstGeom prst="rect">
            <a:avLst/>
          </a:prstGeom>
        </p:spPr>
        <p:txBody>
          <a:bodyPr wrap="none" lIns="0" tIns="0" rIns="0" bIns="0">
            <a:spAutoFit/>
          </a:bodyPr>
          <a:lstStyle/>
          <a:p>
            <a:r>
              <a:rPr lang="en-US" sz="1200" dirty="0">
                <a:solidFill>
                  <a:srgbClr val="000000"/>
                </a:solidFill>
                <a:latin typeface="Segoe UI" panose="020B0502040204020203" pitchFamily="34" charset="0"/>
                <a:cs typeface="Segoe UI" panose="020B0502040204020203" pitchFamily="34" charset="0"/>
              </a:rPr>
              <a:t>Sophistication</a:t>
            </a:r>
            <a:endParaRPr lang="en-US" dirty="0"/>
          </a:p>
        </p:txBody>
      </p:sp>
      <p:sp>
        <p:nvSpPr>
          <p:cNvPr id="60" name="Oval 59">
            <a:extLst>
              <a:ext uri="{FF2B5EF4-FFF2-40B4-BE49-F238E27FC236}">
                <a16:creationId xmlns:a16="http://schemas.microsoft.com/office/drawing/2014/main" id="{E914AC66-4173-B844-A228-4A0B20786D55}"/>
              </a:ext>
            </a:extLst>
          </p:cNvPr>
          <p:cNvSpPr>
            <a:spLocks noChangeAspect="1"/>
          </p:cNvSpPr>
          <p:nvPr/>
        </p:nvSpPr>
        <p:spPr>
          <a:xfrm>
            <a:off x="11352742" y="6309360"/>
            <a:ext cx="91440" cy="914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EF92D6C6-E9CE-4D47-9796-3DAE07612907}"/>
              </a:ext>
            </a:extLst>
          </p:cNvPr>
          <p:cNvSpPr>
            <a:spLocks noChangeAspect="1"/>
          </p:cNvSpPr>
          <p:nvPr/>
        </p:nvSpPr>
        <p:spPr>
          <a:xfrm>
            <a:off x="11499138" y="6309360"/>
            <a:ext cx="91440" cy="914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id="{8897DF54-6445-9344-8128-FFECD5BA9793}"/>
              </a:ext>
            </a:extLst>
          </p:cNvPr>
          <p:cNvSpPr>
            <a:spLocks noChangeAspect="1"/>
          </p:cNvSpPr>
          <p:nvPr/>
        </p:nvSpPr>
        <p:spPr>
          <a:xfrm>
            <a:off x="11643360" y="6309360"/>
            <a:ext cx="91440" cy="914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4" name="Group 63">
            <a:extLst>
              <a:ext uri="{FF2B5EF4-FFF2-40B4-BE49-F238E27FC236}">
                <a16:creationId xmlns:a16="http://schemas.microsoft.com/office/drawing/2014/main" id="{C884562B-FF30-8B46-8729-202286D5676A}"/>
              </a:ext>
            </a:extLst>
          </p:cNvPr>
          <p:cNvGrpSpPr/>
          <p:nvPr/>
        </p:nvGrpSpPr>
        <p:grpSpPr>
          <a:xfrm>
            <a:off x="1005418" y="2192462"/>
            <a:ext cx="2884365" cy="1857586"/>
            <a:chOff x="961439" y="2858933"/>
            <a:chExt cx="2884365" cy="1857586"/>
          </a:xfrm>
        </p:grpSpPr>
        <p:pic>
          <p:nvPicPr>
            <p:cNvPr id="65" name="Picture 64">
              <a:extLst>
                <a:ext uri="{FF2B5EF4-FFF2-40B4-BE49-F238E27FC236}">
                  <a16:creationId xmlns:a16="http://schemas.microsoft.com/office/drawing/2014/main" id="{E3D9FAC7-0313-A64C-BA93-C76229129EE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61439" y="2858933"/>
              <a:ext cx="2550163" cy="1804623"/>
            </a:xfrm>
            <a:prstGeom prst="rect">
              <a:avLst/>
            </a:prstGeom>
          </p:spPr>
        </p:pic>
        <p:pic>
          <p:nvPicPr>
            <p:cNvPr id="66" name="Picture 65">
              <a:extLst>
                <a:ext uri="{FF2B5EF4-FFF2-40B4-BE49-F238E27FC236}">
                  <a16:creationId xmlns:a16="http://schemas.microsoft.com/office/drawing/2014/main" id="{3A913597-7CCA-394C-93FF-4FD7A691DA2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92770" y="3544480"/>
              <a:ext cx="653034" cy="1172039"/>
            </a:xfrm>
            <a:prstGeom prst="rect">
              <a:avLst/>
            </a:prstGeom>
          </p:spPr>
        </p:pic>
      </p:grpSp>
      <p:grpSp>
        <p:nvGrpSpPr>
          <p:cNvPr id="67" name="Group 66">
            <a:extLst>
              <a:ext uri="{FF2B5EF4-FFF2-40B4-BE49-F238E27FC236}">
                <a16:creationId xmlns:a16="http://schemas.microsoft.com/office/drawing/2014/main" id="{DF4ED8C1-FE7B-4840-B0D4-7595BA3EAE0A}"/>
              </a:ext>
            </a:extLst>
          </p:cNvPr>
          <p:cNvGrpSpPr/>
          <p:nvPr/>
        </p:nvGrpSpPr>
        <p:grpSpPr>
          <a:xfrm>
            <a:off x="7950535" y="2155886"/>
            <a:ext cx="3072278" cy="2113201"/>
            <a:chOff x="8305403" y="2663649"/>
            <a:chExt cx="3072278" cy="2113201"/>
          </a:xfrm>
        </p:grpSpPr>
        <p:grpSp>
          <p:nvGrpSpPr>
            <p:cNvPr id="68" name="Group 67">
              <a:extLst>
                <a:ext uri="{FF2B5EF4-FFF2-40B4-BE49-F238E27FC236}">
                  <a16:creationId xmlns:a16="http://schemas.microsoft.com/office/drawing/2014/main" id="{BA592CCA-6032-B049-8534-4EE31E8FABDF}"/>
                </a:ext>
              </a:extLst>
            </p:cNvPr>
            <p:cNvGrpSpPr/>
            <p:nvPr/>
          </p:nvGrpSpPr>
          <p:grpSpPr>
            <a:xfrm>
              <a:off x="8305403" y="2735424"/>
              <a:ext cx="2992816" cy="2041426"/>
              <a:chOff x="2903723" y="855907"/>
              <a:chExt cx="6808896" cy="4256485"/>
            </a:xfrm>
          </p:grpSpPr>
          <p:pic>
            <p:nvPicPr>
              <p:cNvPr id="75" name="Picture 74" descr="A screenshot of a cell phone&#10;&#10;Description generated with very high confidence">
                <a:extLst>
                  <a:ext uri="{FF2B5EF4-FFF2-40B4-BE49-F238E27FC236}">
                    <a16:creationId xmlns:a16="http://schemas.microsoft.com/office/drawing/2014/main" id="{5E7BED15-17D8-C744-8BC0-17374F5B210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7143" y="1172663"/>
                <a:ext cx="6192936" cy="3483526"/>
              </a:xfrm>
              <a:prstGeom prst="rect">
                <a:avLst/>
              </a:prstGeom>
            </p:spPr>
          </p:pic>
          <p:pic>
            <p:nvPicPr>
              <p:cNvPr id="76" name="Picture 75">
                <a:extLst>
                  <a:ext uri="{FF2B5EF4-FFF2-40B4-BE49-F238E27FC236}">
                    <a16:creationId xmlns:a16="http://schemas.microsoft.com/office/drawing/2014/main" id="{79768A11-D610-8B42-B434-846DEFD30E3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903723" y="855907"/>
                <a:ext cx="6808896" cy="4256485"/>
              </a:xfrm>
              <a:prstGeom prst="rect">
                <a:avLst/>
              </a:prstGeom>
            </p:spPr>
          </p:pic>
        </p:grpSp>
        <p:grpSp>
          <p:nvGrpSpPr>
            <p:cNvPr id="69" name="Group 68">
              <a:extLst>
                <a:ext uri="{FF2B5EF4-FFF2-40B4-BE49-F238E27FC236}">
                  <a16:creationId xmlns:a16="http://schemas.microsoft.com/office/drawing/2014/main" id="{906F6922-9E1F-F743-A7EE-5414484CE071}"/>
                </a:ext>
              </a:extLst>
            </p:cNvPr>
            <p:cNvGrpSpPr/>
            <p:nvPr/>
          </p:nvGrpSpPr>
          <p:grpSpPr>
            <a:xfrm>
              <a:off x="10390343" y="2663649"/>
              <a:ext cx="987338" cy="1427381"/>
              <a:chOff x="1078270" y="2619534"/>
              <a:chExt cx="2082959" cy="3011305"/>
            </a:xfrm>
          </p:grpSpPr>
          <p:pic>
            <p:nvPicPr>
              <p:cNvPr id="73" name="Picture 13">
                <a:extLst>
                  <a:ext uri="{FF2B5EF4-FFF2-40B4-BE49-F238E27FC236}">
                    <a16:creationId xmlns:a16="http://schemas.microsoft.com/office/drawing/2014/main" id="{148EA3A7-11A5-4843-BCF8-B1679C2A765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8270" y="2619534"/>
                <a:ext cx="2082959" cy="3011305"/>
              </a:xfrm>
              <a:prstGeom prst="rect">
                <a:avLst/>
              </a:prstGeom>
            </p:spPr>
          </p:pic>
          <p:pic>
            <p:nvPicPr>
              <p:cNvPr id="74" name="Picture 73">
                <a:extLst>
                  <a:ext uri="{FF2B5EF4-FFF2-40B4-BE49-F238E27FC236}">
                    <a16:creationId xmlns:a16="http://schemas.microsoft.com/office/drawing/2014/main" id="{2501A8C7-440B-8D44-A379-7A357F5F58E6}"/>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242998" y="2944404"/>
                <a:ext cx="1715355" cy="2324531"/>
              </a:xfrm>
              <a:prstGeom prst="rect">
                <a:avLst/>
              </a:prstGeom>
            </p:spPr>
          </p:pic>
        </p:grpSp>
        <p:grpSp>
          <p:nvGrpSpPr>
            <p:cNvPr id="70" name="Group 69">
              <a:extLst>
                <a:ext uri="{FF2B5EF4-FFF2-40B4-BE49-F238E27FC236}">
                  <a16:creationId xmlns:a16="http://schemas.microsoft.com/office/drawing/2014/main" id="{5FFCF8AF-EE84-5948-8560-33B69DD3AE38}"/>
                </a:ext>
              </a:extLst>
            </p:cNvPr>
            <p:cNvGrpSpPr/>
            <p:nvPr/>
          </p:nvGrpSpPr>
          <p:grpSpPr>
            <a:xfrm>
              <a:off x="8522781" y="2789426"/>
              <a:ext cx="612099" cy="1068584"/>
              <a:chOff x="6911625" y="4033331"/>
              <a:chExt cx="1883155" cy="3287555"/>
            </a:xfrm>
          </p:grpSpPr>
          <p:pic>
            <p:nvPicPr>
              <p:cNvPr id="71" name="Picture 70" descr="A screenshot of a cell phone&#10;&#10;Description generated with very high confidence">
                <a:extLst>
                  <a:ext uri="{FF2B5EF4-FFF2-40B4-BE49-F238E27FC236}">
                    <a16:creationId xmlns:a16="http://schemas.microsoft.com/office/drawing/2014/main" id="{CD740010-C960-E94A-92A6-3BECF1CD6453}"/>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7095716" y="4338274"/>
                <a:ext cx="1519386" cy="2518881"/>
              </a:xfrm>
              <a:prstGeom prst="rect">
                <a:avLst/>
              </a:prstGeom>
            </p:spPr>
          </p:pic>
          <p:pic>
            <p:nvPicPr>
              <p:cNvPr id="72" name="Picture 71" descr="A screen shot of a computer&#10;&#10;Description generated with very high confidence">
                <a:extLst>
                  <a:ext uri="{FF2B5EF4-FFF2-40B4-BE49-F238E27FC236}">
                    <a16:creationId xmlns:a16="http://schemas.microsoft.com/office/drawing/2014/main" id="{2270162F-420E-FC47-875C-FC51FAE6C56F}"/>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911625" y="4033331"/>
                <a:ext cx="1883155" cy="3287555"/>
              </a:xfrm>
              <a:prstGeom prst="rect">
                <a:avLst/>
              </a:prstGeom>
            </p:spPr>
          </p:pic>
        </p:grpSp>
      </p:grpSp>
      <p:grpSp>
        <p:nvGrpSpPr>
          <p:cNvPr id="77" name="Group 76">
            <a:extLst>
              <a:ext uri="{FF2B5EF4-FFF2-40B4-BE49-F238E27FC236}">
                <a16:creationId xmlns:a16="http://schemas.microsoft.com/office/drawing/2014/main" id="{4C08E2CB-B108-A042-BCB9-4D29B0C9C116}"/>
              </a:ext>
            </a:extLst>
          </p:cNvPr>
          <p:cNvGrpSpPr/>
          <p:nvPr/>
        </p:nvGrpSpPr>
        <p:grpSpPr>
          <a:xfrm>
            <a:off x="4520570" y="2192462"/>
            <a:ext cx="3258116" cy="1841411"/>
            <a:chOff x="4623447" y="2735424"/>
            <a:chExt cx="3258116" cy="1841411"/>
          </a:xfrm>
        </p:grpSpPr>
        <p:pic>
          <p:nvPicPr>
            <p:cNvPr id="78" name="Picture 77" descr="A screenshot of a computer screen&#10;&#10;Description generated with very high confidence">
              <a:extLst>
                <a:ext uri="{FF2B5EF4-FFF2-40B4-BE49-F238E27FC236}">
                  <a16:creationId xmlns:a16="http://schemas.microsoft.com/office/drawing/2014/main" id="{AD92737A-03B1-2041-B16F-572AF022DA7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010402" y="2735424"/>
              <a:ext cx="2871161" cy="1782790"/>
            </a:xfrm>
            <a:prstGeom prst="rect">
              <a:avLst/>
            </a:prstGeom>
          </p:spPr>
        </p:pic>
        <p:pic>
          <p:nvPicPr>
            <p:cNvPr id="79" name="Picture 78" descr="A screenshot of a cell phone&#10;&#10;Description generated with very high confidence">
              <a:extLst>
                <a:ext uri="{FF2B5EF4-FFF2-40B4-BE49-F238E27FC236}">
                  <a16:creationId xmlns:a16="http://schemas.microsoft.com/office/drawing/2014/main" id="{3A1B385C-AD7A-5A4A-95B0-77498A910B34}"/>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623447" y="3507439"/>
              <a:ext cx="1722248" cy="1069396"/>
            </a:xfrm>
            <a:prstGeom prst="rect">
              <a:avLst/>
            </a:prstGeom>
          </p:spPr>
        </p:pic>
      </p:grpSp>
    </p:spTree>
    <p:extLst>
      <p:ext uri="{BB962C8B-B14F-4D97-AF65-F5344CB8AC3E}">
        <p14:creationId xmlns:p14="http://schemas.microsoft.com/office/powerpoint/2010/main" val="1675125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1000"/>
                                  </p:stCondLst>
                                  <p:childTnLst>
                                    <p:set>
                                      <p:cBhvr>
                                        <p:cTn id="6" dur="1" fill="hold">
                                          <p:stCondLst>
                                            <p:cond delay="0"/>
                                          </p:stCondLst>
                                        </p:cTn>
                                        <p:tgtEl>
                                          <p:spTgt spid="53"/>
                                        </p:tgtEl>
                                        <p:attrNameLst>
                                          <p:attrName>style.visibility</p:attrName>
                                        </p:attrNameLst>
                                      </p:cBhvr>
                                      <p:to>
                                        <p:strVal val="visible"/>
                                      </p:to>
                                    </p:set>
                                  </p:childTnLst>
                                </p:cTn>
                              </p:par>
                            </p:childTnLst>
                          </p:cTn>
                        </p:par>
                        <p:par>
                          <p:cTn id="7" fill="hold">
                            <p:stCondLst>
                              <p:cond delay="1000"/>
                            </p:stCondLst>
                            <p:childTnLst>
                              <p:par>
                                <p:cTn id="8" presetID="1" presetClass="entr" presetSubtype="0" fill="hold" grpId="0" nodeType="afterEffect">
                                  <p:stCondLst>
                                    <p:cond delay="500"/>
                                  </p:stCondLst>
                                  <p:childTnLst>
                                    <p:set>
                                      <p:cBhvr>
                                        <p:cTn id="9" dur="1" fill="hold">
                                          <p:stCondLst>
                                            <p:cond delay="0"/>
                                          </p:stCondLst>
                                        </p:cTn>
                                        <p:tgtEl>
                                          <p:spTgt spid="54"/>
                                        </p:tgtEl>
                                        <p:attrNameLst>
                                          <p:attrName>style.visibility</p:attrName>
                                        </p:attrNameLst>
                                      </p:cBhvr>
                                      <p:to>
                                        <p:strVal val="visible"/>
                                      </p:to>
                                    </p:set>
                                  </p:childTnLst>
                                </p:cTn>
                              </p:par>
                            </p:childTnLst>
                          </p:cTn>
                        </p:par>
                        <p:par>
                          <p:cTn id="10" fill="hold">
                            <p:stCondLst>
                              <p:cond delay="1500"/>
                            </p:stCondLst>
                            <p:childTnLst>
                              <p:par>
                                <p:cTn id="11" presetID="1" presetClass="entr" presetSubtype="0" fill="hold" grpId="0" nodeType="afterEffect">
                                  <p:stCondLst>
                                    <p:cond delay="150"/>
                                  </p:stCondLst>
                                  <p:childTnLst>
                                    <p:set>
                                      <p:cBhvr>
                                        <p:cTn id="12" dur="1" fill="hold">
                                          <p:stCondLst>
                                            <p:cond delay="0"/>
                                          </p:stCondLst>
                                        </p:cTn>
                                        <p:tgtEl>
                                          <p:spTgt spid="55"/>
                                        </p:tgtEl>
                                        <p:attrNameLst>
                                          <p:attrName>style.visibility</p:attrName>
                                        </p:attrNameLst>
                                      </p:cBhvr>
                                      <p:to>
                                        <p:strVal val="visible"/>
                                      </p:to>
                                    </p:set>
                                  </p:childTnLst>
                                </p:cTn>
                              </p:par>
                            </p:childTnLst>
                          </p:cTn>
                        </p:par>
                        <p:par>
                          <p:cTn id="13" fill="hold">
                            <p:stCondLst>
                              <p:cond delay="1650"/>
                            </p:stCondLst>
                            <p:childTnLst>
                              <p:par>
                                <p:cTn id="14" presetID="1" presetClass="entr" presetSubtype="0" fill="hold" grpId="0" nodeType="afterEffect">
                                  <p:stCondLst>
                                    <p:cond delay="500"/>
                                  </p:stCondLst>
                                  <p:childTnLst>
                                    <p:set>
                                      <p:cBhvr>
                                        <p:cTn id="15" dur="1" fill="hold">
                                          <p:stCondLst>
                                            <p:cond delay="0"/>
                                          </p:stCondLst>
                                        </p:cTn>
                                        <p:tgtEl>
                                          <p:spTgt spid="56"/>
                                        </p:tgtEl>
                                        <p:attrNameLst>
                                          <p:attrName>style.visibility</p:attrName>
                                        </p:attrNameLst>
                                      </p:cBhvr>
                                      <p:to>
                                        <p:strVal val="visible"/>
                                      </p:to>
                                    </p:set>
                                  </p:childTnLst>
                                </p:cTn>
                              </p:par>
                            </p:childTnLst>
                          </p:cTn>
                        </p:par>
                        <p:par>
                          <p:cTn id="16" fill="hold">
                            <p:stCondLst>
                              <p:cond delay="2150"/>
                            </p:stCondLst>
                            <p:childTnLst>
                              <p:par>
                                <p:cTn id="17" presetID="1" presetClass="entr" presetSubtype="0" fill="hold" grpId="0" nodeType="afterEffect">
                                  <p:stCondLst>
                                    <p:cond delay="150"/>
                                  </p:stCondLst>
                                  <p:childTnLst>
                                    <p:set>
                                      <p:cBhvr>
                                        <p:cTn id="18" dur="1" fill="hold">
                                          <p:stCondLst>
                                            <p:cond delay="0"/>
                                          </p:stCondLst>
                                        </p:cTn>
                                        <p:tgtEl>
                                          <p:spTgt spid="57"/>
                                        </p:tgtEl>
                                        <p:attrNameLst>
                                          <p:attrName>style.visibility</p:attrName>
                                        </p:attrNameLst>
                                      </p:cBhvr>
                                      <p:to>
                                        <p:strVal val="visible"/>
                                      </p:to>
                                    </p:set>
                                  </p:childTnLst>
                                </p:cTn>
                              </p:par>
                            </p:childTnLst>
                          </p:cTn>
                        </p:par>
                        <p:par>
                          <p:cTn id="19" fill="hold">
                            <p:stCondLst>
                              <p:cond delay="2300"/>
                            </p:stCondLst>
                            <p:childTnLst>
                              <p:par>
                                <p:cTn id="20" presetID="1" presetClass="entr" presetSubtype="0" fill="hold" grpId="0" nodeType="afterEffect">
                                  <p:stCondLst>
                                    <p:cond delay="150"/>
                                  </p:stCondLst>
                                  <p:childTnLst>
                                    <p:set>
                                      <p:cBhvr>
                                        <p:cTn id="21" dur="1" fill="hold">
                                          <p:stCondLst>
                                            <p:cond delay="0"/>
                                          </p:stCondLst>
                                        </p:cTn>
                                        <p:tgtEl>
                                          <p:spTgt spid="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P spid="55" grpId="0" animBg="1"/>
      <p:bldP spid="56" grpId="0" animBg="1"/>
      <p:bldP spid="57" grpId="0" animBg="1"/>
      <p:bldP spid="5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F08352BC-425D-4998-94D4-4549CADFEB9D}"/>
              </a:ext>
            </a:extLst>
          </p:cNvPr>
          <p:cNvSpPr/>
          <p:nvPr/>
        </p:nvSpPr>
        <p:spPr>
          <a:xfrm>
            <a:off x="457200" y="1840282"/>
            <a:ext cx="3671858" cy="3839222"/>
          </a:xfrm>
          <a:prstGeom prst="roundRect">
            <a:avLst>
              <a:gd name="adj" fmla="val 3709"/>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6" name="Group 5">
            <a:extLst>
              <a:ext uri="{FF2B5EF4-FFF2-40B4-BE49-F238E27FC236}">
                <a16:creationId xmlns:a16="http://schemas.microsoft.com/office/drawing/2014/main" id="{17D146B2-9339-F844-A764-09003D3FD302}"/>
              </a:ext>
            </a:extLst>
          </p:cNvPr>
          <p:cNvGrpSpPr/>
          <p:nvPr/>
        </p:nvGrpSpPr>
        <p:grpSpPr>
          <a:xfrm>
            <a:off x="778679" y="2942249"/>
            <a:ext cx="3187033" cy="2325442"/>
            <a:chOff x="4598240" y="3438896"/>
            <a:chExt cx="3187033" cy="2325442"/>
          </a:xfrm>
        </p:grpSpPr>
        <p:sp>
          <p:nvSpPr>
            <p:cNvPr id="10" name="Text Placeholder 18">
              <a:extLst>
                <a:ext uri="{FF2B5EF4-FFF2-40B4-BE49-F238E27FC236}">
                  <a16:creationId xmlns:a16="http://schemas.microsoft.com/office/drawing/2014/main" id="{E9B3C160-4DFC-B34C-95FC-66CE7617026A}"/>
                </a:ext>
              </a:extLst>
            </p:cNvPr>
            <p:cNvSpPr txBox="1">
              <a:spLocks/>
            </p:cNvSpPr>
            <p:nvPr userDrawn="1"/>
          </p:nvSpPr>
          <p:spPr>
            <a:xfrm>
              <a:off x="4598969" y="3438896"/>
              <a:ext cx="2994062" cy="373626"/>
            </a:xfrm>
            <a:prstGeom prst="rect">
              <a:avLst/>
            </a:prstGeom>
          </p:spPr>
          <p:txBody>
            <a:bodyPr vert="horz" lIns="0" tIns="0" rIns="0" bIns="0" rtlCol="0" anchor="b">
              <a:normAutofit/>
            </a:bodyPr>
            <a:lstStyle>
              <a:defPPr>
                <a:defRPr lang="en-US"/>
              </a:defPPr>
              <a:lvl1pPr lvl="0" indent="0">
                <a:lnSpc>
                  <a:spcPct val="90000"/>
                </a:lnSpc>
                <a:spcBef>
                  <a:spcPts val="1000"/>
                </a:spcBef>
                <a:buFont typeface="Arial" panose="020B0604020202020204" pitchFamily="34" charset="0"/>
                <a:buNone/>
                <a:defRPr b="1" i="0" baseline="0">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b="1" i="0">
                  <a:latin typeface="Segoe UI Semibold" panose="020B0502040204020203" pitchFamily="34" charset="0"/>
                  <a:cs typeface="Segoe UI Semibold" panose="020B0502040204020203" pitchFamily="34" charset="0"/>
                </a:defRPr>
              </a:lvl2pPr>
              <a:lvl3pPr marL="1143000" indent="-228600">
                <a:lnSpc>
                  <a:spcPct val="90000"/>
                </a:lnSpc>
                <a:spcBef>
                  <a:spcPts val="500"/>
                </a:spcBef>
                <a:buFont typeface="Arial" panose="020B0604020202020204" pitchFamily="34" charset="0"/>
                <a:buChar char="•"/>
                <a:defRPr sz="2000" b="1" i="0">
                  <a:latin typeface="Segoe UI Semibold" panose="020B0502040204020203" pitchFamily="34" charset="0"/>
                  <a:cs typeface="Segoe UI Semibold" panose="020B0502040204020203" pitchFamily="34" charset="0"/>
                </a:defRPr>
              </a:lvl3pPr>
              <a:lvl4pPr marL="1600200" indent="-228600">
                <a:lnSpc>
                  <a:spcPct val="90000"/>
                </a:lnSpc>
                <a:spcBef>
                  <a:spcPts val="500"/>
                </a:spcBef>
                <a:buFont typeface="Arial" panose="020B0604020202020204" pitchFamily="34" charset="0"/>
                <a:buChar char="•"/>
                <a:defRPr b="1" i="0">
                  <a:latin typeface="Segoe UI" panose="020B0502040204020203" pitchFamily="34" charset="0"/>
                  <a:cs typeface="Segoe UI" panose="020B0502040204020203" pitchFamily="34" charset="0"/>
                </a:defRPr>
              </a:lvl4pPr>
              <a:lvl5pPr marL="2057400" indent="-228600">
                <a:lnSpc>
                  <a:spcPct val="90000"/>
                </a:lnSpc>
                <a:spcBef>
                  <a:spcPts val="500"/>
                </a:spcBef>
                <a:buFont typeface="Arial" panose="020B0604020202020204" pitchFamily="34" charset="0"/>
                <a:buChar char="•"/>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Segoe UI Semibold" panose="020B0502040204020203" pitchFamily="34" charset="0"/>
                  <a:ea typeface="+mn-ea"/>
                  <a:cs typeface="Segoe UI Semibold" panose="020B0502040204020203" pitchFamily="34" charset="0"/>
                </a:rPr>
                <a:t>Embed</a:t>
              </a:r>
              <a:endParaRPr kumimoji="0" lang="en-US" sz="1800" b="1" i="0" u="none" strike="noStrike" kern="1200" cap="none" spc="0" normalizeH="0" baseline="0" noProof="0" dirty="0">
                <a:ln>
                  <a:noFill/>
                </a:ln>
                <a:solidFill>
                  <a:srgbClr val="000000"/>
                </a:solidFill>
                <a:effectLst/>
                <a:uLnTx/>
                <a:uFillTx/>
                <a:latin typeface="Segoe UI Semibold" panose="020B0502040204020203" pitchFamily="34" charset="0"/>
                <a:ea typeface="+mn-ea"/>
                <a:cs typeface="Segoe UI Semibold" panose="020B0502040204020203" pitchFamily="34" charset="0"/>
              </a:endParaRPr>
            </a:p>
          </p:txBody>
        </p:sp>
        <p:sp>
          <p:nvSpPr>
            <p:cNvPr id="11" name="Text Placeholder 21">
              <a:extLst>
                <a:ext uri="{FF2B5EF4-FFF2-40B4-BE49-F238E27FC236}">
                  <a16:creationId xmlns:a16="http://schemas.microsoft.com/office/drawing/2014/main" id="{E01CE75A-A834-394D-B279-F19C5B473973}"/>
                </a:ext>
              </a:extLst>
            </p:cNvPr>
            <p:cNvSpPr txBox="1">
              <a:spLocks/>
            </p:cNvSpPr>
            <p:nvPr userDrawn="1"/>
          </p:nvSpPr>
          <p:spPr>
            <a:xfrm>
              <a:off x="4598240" y="3812522"/>
              <a:ext cx="3187033" cy="1951816"/>
            </a:xfrm>
            <a:prstGeom prst="rect">
              <a:avLst/>
            </a:prstGeom>
          </p:spPr>
          <p:txBody>
            <a:bodyPr vert="horz" wrap="square" lIns="0" tIns="9144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tx1"/>
                  </a:solidFill>
                  <a:latin typeface="Segoe UI Semibold" panose="020B0502040204020203" pitchFamily="34" charset="0"/>
                  <a:ea typeface="+mn-ea"/>
                  <a:cs typeface="Segoe UI Semibold"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Embed PowerApps into your practices</a:t>
              </a:r>
              <a:endParaRPr kumimoji="0" lang="en-US" sz="1300" b="1" i="0" u="none" strike="noStrike" kern="1200" cap="none" spc="0" normalizeH="0" baseline="0" noProof="0" dirty="0">
                <a:ln>
                  <a:noFill/>
                </a:ln>
                <a:solidFill>
                  <a:srgbClr val="000000"/>
                </a:solidFill>
                <a:effectLst/>
                <a:uLnTx/>
                <a:uFillTx/>
                <a:latin typeface="Segoe UI Semibold" panose="020B0502040204020203" pitchFamily="34" charset="0"/>
                <a:cs typeface="Segoe UI Semibold" panose="020B0502040204020203"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457200" marR="0" lvl="1" indent="0" algn="l" defTabSz="914400" rtl="0" eaLnBrk="1" fontAlgn="auto" latinLnBrk="0" hangingPunct="1">
                <a:lnSpc>
                  <a:spcPct val="100000"/>
                </a:lnSpc>
                <a:spcBef>
                  <a:spcPts val="1600"/>
                </a:spcBef>
                <a:spcAft>
                  <a:spcPts val="1200"/>
                </a:spcAft>
                <a:buClrTx/>
                <a:buSzTx/>
                <a:buFont typeface="Arial" panose="020B0604020202020204" pitchFamily="34" charset="0"/>
                <a:buNone/>
                <a:tabLst/>
                <a:defRPr/>
              </a:pPr>
              <a:r>
                <a:rPr kumimoji="0" lang="en-US" sz="13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Form a Center of Excellence (</a:t>
              </a:r>
              <a:r>
                <a:rPr kumimoji="0" lang="en-US" sz="13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CoE</a:t>
              </a:r>
              <a:r>
                <a:rPr kumimoji="0" lang="en-US" sz="13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t>
              </a:r>
            </a:p>
            <a:p>
              <a:pPr marL="457200" marR="0" lvl="1" indent="0" algn="l" defTabSz="914400" rtl="0" eaLnBrk="1" fontAlgn="auto" latinLnBrk="0" hangingPunct="1">
                <a:lnSpc>
                  <a:spcPct val="100000"/>
                </a:lnSpc>
                <a:spcBef>
                  <a:spcPts val="1600"/>
                </a:spcBef>
                <a:spcAft>
                  <a:spcPts val="1200"/>
                </a:spcAft>
                <a:buClrTx/>
                <a:buSzTx/>
                <a:buFont typeface="Arial" panose="020B0604020202020204" pitchFamily="34" charset="0"/>
                <a:buNone/>
                <a:tabLst/>
                <a:defRPr/>
              </a:pPr>
              <a:r>
                <a:rPr kumimoji="0" lang="en-US" sz="13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Cross-train resources</a:t>
              </a:r>
            </a:p>
            <a:p>
              <a:pPr marL="457200" marR="0" lvl="1" indent="0" algn="l" defTabSz="914400" rtl="0" eaLnBrk="1" fontAlgn="auto" latinLnBrk="0" hangingPunct="1">
                <a:lnSpc>
                  <a:spcPct val="100000"/>
                </a:lnSpc>
                <a:spcBef>
                  <a:spcPts val="1600"/>
                </a:spcBef>
                <a:spcAft>
                  <a:spcPts val="1200"/>
                </a:spcAft>
                <a:buClrTx/>
                <a:buSzTx/>
                <a:buFont typeface="Arial" panose="020B0604020202020204" pitchFamily="34" charset="0"/>
                <a:buNone/>
                <a:tabLst/>
                <a:defRPr/>
              </a:pPr>
              <a:r>
                <a:rPr kumimoji="0" lang="en-US" sz="13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Create a go-to-market strategy</a:t>
              </a:r>
            </a:p>
          </p:txBody>
        </p:sp>
      </p:grpSp>
      <p:grpSp>
        <p:nvGrpSpPr>
          <p:cNvPr id="7" name="Group 6">
            <a:extLst>
              <a:ext uri="{FF2B5EF4-FFF2-40B4-BE49-F238E27FC236}">
                <a16:creationId xmlns:a16="http://schemas.microsoft.com/office/drawing/2014/main" id="{F1288642-D56F-8445-A737-8448A5CDC0D6}"/>
              </a:ext>
            </a:extLst>
          </p:cNvPr>
          <p:cNvGrpSpPr/>
          <p:nvPr/>
        </p:nvGrpSpPr>
        <p:grpSpPr>
          <a:xfrm>
            <a:off x="747886" y="2033177"/>
            <a:ext cx="648502" cy="813946"/>
            <a:chOff x="729433" y="1860238"/>
            <a:chExt cx="739160" cy="927732"/>
          </a:xfrm>
        </p:grpSpPr>
        <p:sp>
          <p:nvSpPr>
            <p:cNvPr id="8" name="Rectangle 7">
              <a:extLst>
                <a:ext uri="{FF2B5EF4-FFF2-40B4-BE49-F238E27FC236}">
                  <a16:creationId xmlns:a16="http://schemas.microsoft.com/office/drawing/2014/main" id="{C8A76443-5655-304B-9004-8B6842A1DD98}"/>
                </a:ext>
              </a:extLst>
            </p:cNvPr>
            <p:cNvSpPr/>
            <p:nvPr/>
          </p:nvSpPr>
          <p:spPr>
            <a:xfrm>
              <a:off x="729433" y="1860238"/>
              <a:ext cx="731519" cy="5212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3716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9" name="Oval 8">
              <a:extLst>
                <a:ext uri="{FF2B5EF4-FFF2-40B4-BE49-F238E27FC236}">
                  <a16:creationId xmlns:a16="http://schemas.microsoft.com/office/drawing/2014/main" id="{7A33EB52-0E53-344E-9FCC-3EF96E381CA5}"/>
                </a:ext>
              </a:extLst>
            </p:cNvPr>
            <p:cNvSpPr>
              <a:spLocks noChangeAspect="1"/>
            </p:cNvSpPr>
            <p:nvPr/>
          </p:nvSpPr>
          <p:spPr>
            <a:xfrm>
              <a:off x="737073" y="2056450"/>
              <a:ext cx="731520" cy="731520"/>
            </a:xfrm>
            <a:prstGeom prst="ellipse">
              <a:avLst/>
            </a:prstGeom>
            <a:solidFill>
              <a:schemeClr val="tx2"/>
            </a:solidFill>
          </p:spPr>
          <p:style>
            <a:lnRef idx="2">
              <a:schemeClr val="accent4">
                <a:shade val="50000"/>
              </a:schemeClr>
            </a:lnRef>
            <a:fillRef idx="1">
              <a:schemeClr val="accent4"/>
            </a:fillRef>
            <a:effectRef idx="0">
              <a:schemeClr val="accent4"/>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grpSp>
        <p:nvGrpSpPr>
          <p:cNvPr id="13" name="Group 12">
            <a:extLst>
              <a:ext uri="{FF2B5EF4-FFF2-40B4-BE49-F238E27FC236}">
                <a16:creationId xmlns:a16="http://schemas.microsoft.com/office/drawing/2014/main" id="{B61003EE-CE40-2C49-A65C-F08FA59AB5C1}"/>
              </a:ext>
            </a:extLst>
          </p:cNvPr>
          <p:cNvGrpSpPr/>
          <p:nvPr/>
        </p:nvGrpSpPr>
        <p:grpSpPr>
          <a:xfrm>
            <a:off x="4656116" y="2946020"/>
            <a:ext cx="3324953" cy="2433624"/>
            <a:chOff x="5391616" y="3438896"/>
            <a:chExt cx="2514561" cy="2082265"/>
          </a:xfrm>
        </p:grpSpPr>
        <p:sp>
          <p:nvSpPr>
            <p:cNvPr id="15" name="Text Placeholder 19">
              <a:extLst>
                <a:ext uri="{FF2B5EF4-FFF2-40B4-BE49-F238E27FC236}">
                  <a16:creationId xmlns:a16="http://schemas.microsoft.com/office/drawing/2014/main" id="{FCCBAA67-F6DF-1648-8D1B-1288B5EC3104}"/>
                </a:ext>
              </a:extLst>
            </p:cNvPr>
            <p:cNvSpPr txBox="1">
              <a:spLocks/>
            </p:cNvSpPr>
            <p:nvPr userDrawn="1"/>
          </p:nvSpPr>
          <p:spPr>
            <a:xfrm>
              <a:off x="5391616" y="3438896"/>
              <a:ext cx="2513833" cy="373626"/>
            </a:xfrm>
            <a:prstGeom prst="rect">
              <a:avLst/>
            </a:prstGeom>
          </p:spPr>
          <p:txBody>
            <a:bodyPr vert="horz" lIns="0" tIns="0" rIns="0" bIns="0" rtlCol="0" anchor="b">
              <a:normAutofit/>
            </a:bodyPr>
            <a:lstStyle>
              <a:defPPr>
                <a:defRPr lang="en-US"/>
              </a:defPPr>
              <a:lvl1pPr lvl="0" indent="0">
                <a:lnSpc>
                  <a:spcPct val="90000"/>
                </a:lnSpc>
                <a:spcBef>
                  <a:spcPts val="1000"/>
                </a:spcBef>
                <a:buFont typeface="Arial" panose="020B0604020202020204" pitchFamily="34" charset="0"/>
                <a:buNone/>
                <a:defRPr b="1" i="0" baseline="0">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b="1" i="0">
                  <a:latin typeface="Segoe UI Semibold" panose="020B0502040204020203" pitchFamily="34" charset="0"/>
                  <a:cs typeface="Segoe UI Semibold" panose="020B0502040204020203" pitchFamily="34" charset="0"/>
                </a:defRPr>
              </a:lvl2pPr>
              <a:lvl3pPr marL="1143000" indent="-228600">
                <a:lnSpc>
                  <a:spcPct val="90000"/>
                </a:lnSpc>
                <a:spcBef>
                  <a:spcPts val="500"/>
                </a:spcBef>
                <a:buFont typeface="Arial" panose="020B0604020202020204" pitchFamily="34" charset="0"/>
                <a:buChar char="•"/>
                <a:defRPr sz="2000" b="1" i="0">
                  <a:latin typeface="Segoe UI Semibold" panose="020B0502040204020203" pitchFamily="34" charset="0"/>
                  <a:cs typeface="Segoe UI Semibold" panose="020B0502040204020203" pitchFamily="34" charset="0"/>
                </a:defRPr>
              </a:lvl3pPr>
              <a:lvl4pPr marL="1600200" indent="-228600">
                <a:lnSpc>
                  <a:spcPct val="90000"/>
                </a:lnSpc>
                <a:spcBef>
                  <a:spcPts val="500"/>
                </a:spcBef>
                <a:buFont typeface="Arial" panose="020B0604020202020204" pitchFamily="34" charset="0"/>
                <a:buChar char="•"/>
                <a:defRPr b="1" i="0">
                  <a:latin typeface="Segoe UI" panose="020B0502040204020203" pitchFamily="34" charset="0"/>
                  <a:cs typeface="Segoe UI" panose="020B0502040204020203" pitchFamily="34" charset="0"/>
                </a:defRPr>
              </a:lvl4pPr>
              <a:lvl5pPr marL="2057400" indent="-228600">
                <a:lnSpc>
                  <a:spcPct val="90000"/>
                </a:lnSpc>
                <a:spcBef>
                  <a:spcPts val="500"/>
                </a:spcBef>
                <a:buFont typeface="Arial" panose="020B0604020202020204" pitchFamily="34" charset="0"/>
                <a:buChar char="•"/>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Segoe UI Semibold" panose="020B0502040204020203" pitchFamily="34" charset="0"/>
                  <a:ea typeface="+mn-ea"/>
                  <a:cs typeface="Segoe UI Semibold" panose="020B0502040204020203" pitchFamily="34" charset="0"/>
                </a:rPr>
                <a:t>Implement</a:t>
              </a:r>
              <a:endParaRPr kumimoji="0" lang="en-US" sz="1800" b="1" i="0" u="none" strike="noStrike" kern="1200" cap="none" spc="0" normalizeH="0" baseline="0" noProof="0" dirty="0">
                <a:ln>
                  <a:noFill/>
                </a:ln>
                <a:solidFill>
                  <a:srgbClr val="000000"/>
                </a:solidFill>
                <a:effectLst/>
                <a:uLnTx/>
                <a:uFillTx/>
                <a:latin typeface="Segoe UI Semibold" panose="020B0502040204020203" pitchFamily="34" charset="0"/>
                <a:ea typeface="+mn-ea"/>
                <a:cs typeface="Segoe UI Semibold" panose="020B0502040204020203" pitchFamily="34" charset="0"/>
              </a:endParaRPr>
            </a:p>
          </p:txBody>
        </p:sp>
        <p:sp>
          <p:nvSpPr>
            <p:cNvPr id="16" name="Text Placeholder 22">
              <a:extLst>
                <a:ext uri="{FF2B5EF4-FFF2-40B4-BE49-F238E27FC236}">
                  <a16:creationId xmlns:a16="http://schemas.microsoft.com/office/drawing/2014/main" id="{D2F873D2-082C-C341-9504-CC535427423E}"/>
                </a:ext>
              </a:extLst>
            </p:cNvPr>
            <p:cNvSpPr txBox="1">
              <a:spLocks/>
            </p:cNvSpPr>
            <p:nvPr userDrawn="1"/>
          </p:nvSpPr>
          <p:spPr>
            <a:xfrm>
              <a:off x="5392337" y="3801546"/>
              <a:ext cx="2513840" cy="1719615"/>
            </a:xfrm>
            <a:prstGeom prst="rect">
              <a:avLst/>
            </a:prstGeom>
          </p:spPr>
          <p:txBody>
            <a:bodyPr vert="horz" lIns="0" tIns="9144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tx1"/>
                  </a:solidFill>
                  <a:latin typeface="Segoe UI Semibold" panose="020B0502040204020203" pitchFamily="34" charset="0"/>
                  <a:ea typeface="+mn-ea"/>
                  <a:cs typeface="Segoe UI Semibold"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Maximize value in customer’s budget</a:t>
              </a:r>
            </a:p>
            <a:p>
              <a:pPr marL="137160" indent="-137160">
                <a:lnSpc>
                  <a:spcPct val="100000"/>
                </a:lnSpc>
                <a:spcBef>
                  <a:spcPts val="1600"/>
                </a:spcBef>
                <a:spcAft>
                  <a:spcPts val="1200"/>
                </a:spcAft>
                <a:buFont typeface="Arial" panose="020B0604020202020204" pitchFamily="34" charset="0"/>
                <a:buChar char="•"/>
                <a:defRPr/>
              </a:pPr>
              <a:r>
                <a:rPr lang="en-US" sz="1300" dirty="0">
                  <a:solidFill>
                    <a:srgbClr val="000000"/>
                  </a:solidFill>
                </a:rPr>
                <a:t>Build apps instantly, saving 70% in development time</a:t>
              </a:r>
            </a:p>
            <a:p>
              <a:pPr marL="137160" indent="-137160">
                <a:lnSpc>
                  <a:spcPct val="100000"/>
                </a:lnSpc>
                <a:spcBef>
                  <a:spcPts val="1600"/>
                </a:spcBef>
                <a:spcAft>
                  <a:spcPts val="1200"/>
                </a:spcAft>
                <a:buFont typeface="Arial" panose="020B0604020202020204" pitchFamily="34" charset="0"/>
                <a:buChar char="•"/>
                <a:defRPr/>
              </a:pPr>
              <a:r>
                <a:rPr lang="en-US" sz="1300" dirty="0">
                  <a:solidFill>
                    <a:srgbClr val="000000"/>
                  </a:solidFill>
                </a:rPr>
                <a:t>Prove ROI in fewer than 3 months</a:t>
              </a:r>
            </a:p>
            <a:p>
              <a:pPr marL="137160" indent="-137160">
                <a:lnSpc>
                  <a:spcPct val="100000"/>
                </a:lnSpc>
                <a:spcBef>
                  <a:spcPts val="1600"/>
                </a:spcBef>
                <a:spcAft>
                  <a:spcPts val="1200"/>
                </a:spcAft>
                <a:buFont typeface="Arial" panose="020B0604020202020204" pitchFamily="34" charset="0"/>
                <a:buChar char="•"/>
                <a:defRPr/>
              </a:pPr>
              <a:r>
                <a:rPr lang="en-US" sz="1300" dirty="0">
                  <a:solidFill>
                    <a:srgbClr val="000000"/>
                  </a:solidFill>
                </a:rPr>
                <a:t>Build custom apps with any data source</a:t>
              </a:r>
            </a:p>
          </p:txBody>
        </p:sp>
      </p:grpSp>
      <p:grpSp>
        <p:nvGrpSpPr>
          <p:cNvPr id="18" name="Group 17">
            <a:extLst>
              <a:ext uri="{FF2B5EF4-FFF2-40B4-BE49-F238E27FC236}">
                <a16:creationId xmlns:a16="http://schemas.microsoft.com/office/drawing/2014/main" id="{B8353449-1360-C643-B931-54E6F25F3B35}"/>
              </a:ext>
            </a:extLst>
          </p:cNvPr>
          <p:cNvGrpSpPr/>
          <p:nvPr/>
        </p:nvGrpSpPr>
        <p:grpSpPr>
          <a:xfrm>
            <a:off x="8265098" y="2851752"/>
            <a:ext cx="3558674" cy="2300197"/>
            <a:chOff x="9343851" y="3438896"/>
            <a:chExt cx="2994062" cy="1768741"/>
          </a:xfrm>
        </p:grpSpPr>
        <p:sp>
          <p:nvSpPr>
            <p:cNvPr id="20" name="Text Placeholder 19">
              <a:extLst>
                <a:ext uri="{FF2B5EF4-FFF2-40B4-BE49-F238E27FC236}">
                  <a16:creationId xmlns:a16="http://schemas.microsoft.com/office/drawing/2014/main" id="{9DCBFEC7-E26A-8C41-8423-DE641E8E037B}"/>
                </a:ext>
              </a:extLst>
            </p:cNvPr>
            <p:cNvSpPr txBox="1">
              <a:spLocks/>
            </p:cNvSpPr>
            <p:nvPr/>
          </p:nvSpPr>
          <p:spPr>
            <a:xfrm>
              <a:off x="9343851" y="3438896"/>
              <a:ext cx="2994062" cy="373626"/>
            </a:xfrm>
            <a:prstGeom prst="rect">
              <a:avLst/>
            </a:prstGeom>
          </p:spPr>
          <p:txBody>
            <a:bodyPr vert="horz" lIns="0" tIns="0" rIns="0" bIns="0" rtlCol="0" anchor="b">
              <a:normAutofit/>
            </a:bodyPr>
            <a:lstStyle>
              <a:defPPr>
                <a:defRPr lang="en-US"/>
              </a:defPPr>
              <a:lvl1pPr lvl="0" indent="0">
                <a:lnSpc>
                  <a:spcPct val="90000"/>
                </a:lnSpc>
                <a:spcBef>
                  <a:spcPts val="1000"/>
                </a:spcBef>
                <a:buFont typeface="Arial" panose="020B0604020202020204" pitchFamily="34" charset="0"/>
                <a:buNone/>
                <a:defRPr b="1" i="0" baseline="0">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b="1" i="0">
                  <a:latin typeface="Segoe UI Semibold" panose="020B0502040204020203" pitchFamily="34" charset="0"/>
                  <a:cs typeface="Segoe UI Semibold" panose="020B0502040204020203" pitchFamily="34" charset="0"/>
                </a:defRPr>
              </a:lvl2pPr>
              <a:lvl3pPr marL="1143000" indent="-228600">
                <a:lnSpc>
                  <a:spcPct val="90000"/>
                </a:lnSpc>
                <a:spcBef>
                  <a:spcPts val="500"/>
                </a:spcBef>
                <a:buFont typeface="Arial" panose="020B0604020202020204" pitchFamily="34" charset="0"/>
                <a:buChar char="•"/>
                <a:defRPr sz="2000" b="1" i="0">
                  <a:latin typeface="Segoe UI Semibold" panose="020B0502040204020203" pitchFamily="34" charset="0"/>
                  <a:cs typeface="Segoe UI Semibold" panose="020B0502040204020203" pitchFamily="34" charset="0"/>
                </a:defRPr>
              </a:lvl3pPr>
              <a:lvl4pPr marL="1600200" indent="-228600">
                <a:lnSpc>
                  <a:spcPct val="90000"/>
                </a:lnSpc>
                <a:spcBef>
                  <a:spcPts val="500"/>
                </a:spcBef>
                <a:buFont typeface="Arial" panose="020B0604020202020204" pitchFamily="34" charset="0"/>
                <a:buChar char="•"/>
                <a:defRPr b="1" i="0">
                  <a:latin typeface="Segoe UI" panose="020B0502040204020203" pitchFamily="34" charset="0"/>
                  <a:cs typeface="Segoe UI" panose="020B0502040204020203" pitchFamily="34" charset="0"/>
                </a:defRPr>
              </a:lvl4pPr>
              <a:lvl5pPr marL="2057400" indent="-228600">
                <a:lnSpc>
                  <a:spcPct val="90000"/>
                </a:lnSpc>
                <a:spcBef>
                  <a:spcPts val="500"/>
                </a:spcBef>
                <a:buFont typeface="Arial" panose="020B0604020202020204" pitchFamily="34" charset="0"/>
                <a:buChar char="•"/>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Segoe UI Semibold" panose="020B0502040204020203" pitchFamily="34" charset="0"/>
                  <a:ea typeface="+mn-ea"/>
                  <a:cs typeface="Segoe UI Semibold" panose="020B0502040204020203" pitchFamily="34" charset="0"/>
                </a:rPr>
                <a:t>Empower</a:t>
              </a:r>
              <a:endParaRPr kumimoji="0" lang="en-US" sz="1800" b="1" i="0" u="none" strike="noStrike" kern="1200" cap="none" spc="0" normalizeH="0" baseline="0" noProof="0" dirty="0">
                <a:ln>
                  <a:noFill/>
                </a:ln>
                <a:solidFill>
                  <a:srgbClr val="000000"/>
                </a:solidFill>
                <a:effectLst/>
                <a:uLnTx/>
                <a:uFillTx/>
                <a:latin typeface="Segoe UI Semibold" panose="020B0502040204020203" pitchFamily="34" charset="0"/>
                <a:ea typeface="+mn-ea"/>
                <a:cs typeface="Segoe UI Semibold" panose="020B0502040204020203" pitchFamily="34" charset="0"/>
              </a:endParaRPr>
            </a:p>
          </p:txBody>
        </p:sp>
        <p:sp>
          <p:nvSpPr>
            <p:cNvPr id="21" name="Text Placeholder 22">
              <a:extLst>
                <a:ext uri="{FF2B5EF4-FFF2-40B4-BE49-F238E27FC236}">
                  <a16:creationId xmlns:a16="http://schemas.microsoft.com/office/drawing/2014/main" id="{8D60815A-8E1A-D948-ABE7-95F7834397AC}"/>
                </a:ext>
              </a:extLst>
            </p:cNvPr>
            <p:cNvSpPr txBox="1">
              <a:spLocks/>
            </p:cNvSpPr>
            <p:nvPr/>
          </p:nvSpPr>
          <p:spPr>
            <a:xfrm>
              <a:off x="9343851" y="3816045"/>
              <a:ext cx="2976046" cy="1391592"/>
            </a:xfrm>
            <a:prstGeom prst="rect">
              <a:avLst/>
            </a:prstGeom>
          </p:spPr>
          <p:txBody>
            <a:bodyPr vert="horz" wrap="square" lIns="0" tIns="9144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tx1"/>
                  </a:solidFill>
                  <a:latin typeface="Segoe UI Semibold" panose="020B0502040204020203" pitchFamily="34" charset="0"/>
                  <a:ea typeface="+mn-ea"/>
                  <a:cs typeface="Segoe UI Semibold"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Enable customers to digitally transform</a:t>
              </a:r>
            </a:p>
            <a:p>
              <a:pPr marL="137160" indent="-137160">
                <a:lnSpc>
                  <a:spcPct val="100000"/>
                </a:lnSpc>
                <a:spcBef>
                  <a:spcPts val="1600"/>
                </a:spcBef>
                <a:spcAft>
                  <a:spcPts val="1200"/>
                </a:spcAft>
                <a:buFont typeface="Arial" panose="020B0604020202020204" pitchFamily="34" charset="0"/>
                <a:buChar char="•"/>
                <a:defRPr/>
              </a:pPr>
              <a:r>
                <a:rPr lang="en-US" sz="1300" dirty="0">
                  <a:solidFill>
                    <a:srgbClr val="000000"/>
                  </a:solidFill>
                </a:rPr>
                <a:t>Nurture customers to form their own </a:t>
              </a:r>
              <a:r>
                <a:rPr lang="en-US" sz="1300" dirty="0" err="1">
                  <a:solidFill>
                    <a:srgbClr val="000000"/>
                  </a:solidFill>
                </a:rPr>
                <a:t>CoE</a:t>
              </a:r>
              <a:endParaRPr lang="en-US" sz="1300" dirty="0">
                <a:solidFill>
                  <a:srgbClr val="000000"/>
                </a:solidFill>
              </a:endParaRPr>
            </a:p>
            <a:p>
              <a:pPr marL="137160" indent="-137160">
                <a:lnSpc>
                  <a:spcPct val="100000"/>
                </a:lnSpc>
                <a:spcBef>
                  <a:spcPts val="1600"/>
                </a:spcBef>
                <a:spcAft>
                  <a:spcPts val="1200"/>
                </a:spcAft>
                <a:buFont typeface="Arial" panose="020B0604020202020204" pitchFamily="34" charset="0"/>
                <a:buChar char="•"/>
                <a:defRPr/>
              </a:pPr>
              <a:r>
                <a:rPr lang="en-US" sz="1300" dirty="0">
                  <a:solidFill>
                    <a:srgbClr val="000000"/>
                  </a:solidFill>
                </a:rPr>
                <a:t>Train the customer to build their apps</a:t>
              </a:r>
            </a:p>
            <a:p>
              <a:pPr marL="137160" indent="-137160">
                <a:lnSpc>
                  <a:spcPct val="100000"/>
                </a:lnSpc>
                <a:spcBef>
                  <a:spcPts val="1600"/>
                </a:spcBef>
                <a:spcAft>
                  <a:spcPts val="1200"/>
                </a:spcAft>
                <a:buFont typeface="Arial" panose="020B0604020202020204" pitchFamily="34" charset="0"/>
                <a:buChar char="•"/>
                <a:defRPr/>
              </a:pPr>
              <a:r>
                <a:rPr lang="en-US" sz="1300" dirty="0">
                  <a:solidFill>
                    <a:srgbClr val="000000"/>
                  </a:solidFill>
                </a:rPr>
                <a:t>Add value across the entire organization</a:t>
              </a:r>
            </a:p>
          </p:txBody>
        </p:sp>
      </p:grpSp>
      <p:pic>
        <p:nvPicPr>
          <p:cNvPr id="24" name="Picture 23">
            <a:extLst>
              <a:ext uri="{FF2B5EF4-FFF2-40B4-BE49-F238E27FC236}">
                <a16:creationId xmlns:a16="http://schemas.microsoft.com/office/drawing/2014/main" id="{CB80BF3F-064F-7346-A13E-7A5227FE310A}"/>
              </a:ext>
            </a:extLst>
          </p:cNvPr>
          <p:cNvPicPr>
            <a:picLocks noChangeAspect="1"/>
          </p:cNvPicPr>
          <p:nvPr/>
        </p:nvPicPr>
        <p:blipFill>
          <a:blip r:embed="rId3"/>
          <a:stretch>
            <a:fillRect/>
          </a:stretch>
        </p:blipFill>
        <p:spPr>
          <a:xfrm>
            <a:off x="4656118" y="2033177"/>
            <a:ext cx="731520" cy="731520"/>
          </a:xfrm>
          <a:prstGeom prst="rect">
            <a:avLst/>
          </a:prstGeom>
        </p:spPr>
      </p:pic>
      <p:pic>
        <p:nvPicPr>
          <p:cNvPr id="25" name="Picture 24">
            <a:extLst>
              <a:ext uri="{FF2B5EF4-FFF2-40B4-BE49-F238E27FC236}">
                <a16:creationId xmlns:a16="http://schemas.microsoft.com/office/drawing/2014/main" id="{11B42E68-BC52-7949-BEE2-5C8308FF063B}"/>
              </a:ext>
            </a:extLst>
          </p:cNvPr>
          <p:cNvPicPr>
            <a:picLocks noChangeAspect="1"/>
          </p:cNvPicPr>
          <p:nvPr/>
        </p:nvPicPr>
        <p:blipFill>
          <a:blip r:embed="rId4"/>
          <a:stretch>
            <a:fillRect/>
          </a:stretch>
        </p:blipFill>
        <p:spPr>
          <a:xfrm>
            <a:off x="8265098" y="2033177"/>
            <a:ext cx="704427" cy="731520"/>
          </a:xfrm>
          <a:prstGeom prst="rect">
            <a:avLst/>
          </a:prstGeom>
        </p:spPr>
      </p:pic>
      <p:sp>
        <p:nvSpPr>
          <p:cNvPr id="22" name="Text Placeholder 74">
            <a:extLst>
              <a:ext uri="{FF2B5EF4-FFF2-40B4-BE49-F238E27FC236}">
                <a16:creationId xmlns:a16="http://schemas.microsoft.com/office/drawing/2014/main" id="{2DBB3622-B225-634A-92E1-A21B6EF73B6B}"/>
              </a:ext>
            </a:extLst>
          </p:cNvPr>
          <p:cNvSpPr txBox="1">
            <a:spLocks/>
          </p:cNvSpPr>
          <p:nvPr/>
        </p:nvSpPr>
        <p:spPr>
          <a:xfrm>
            <a:off x="8052748" y="5991464"/>
            <a:ext cx="3737270" cy="624161"/>
          </a:xfrm>
          <a:prstGeom prst="rect">
            <a:avLst/>
          </a:prstGeom>
        </p:spPr>
        <p:txBody>
          <a:bodyPr vert="horz" lIns="91440" tIns="91440" rIns="91440" bIns="45720" rtlCol="0" anchor="b">
            <a:normAutofit/>
          </a:bodyPr>
          <a:lstStyle>
            <a:lvl1pPr indent="0" algn="r">
              <a:lnSpc>
                <a:spcPct val="100000"/>
              </a:lnSpc>
              <a:spcBef>
                <a:spcPts val="0"/>
              </a:spcBef>
              <a:buFont typeface="Arial" panose="020B0604020202020204" pitchFamily="34" charset="0"/>
              <a:buNone/>
              <a:defRPr sz="900" b="0" i="0" baseline="0">
                <a:solidFill>
                  <a:srgbClr val="737373"/>
                </a:solidFill>
                <a:latin typeface="SegoeUI" charset="0"/>
                <a:ea typeface="Segoe UI" panose="020B0502040204020203" pitchFamily="34" charset="0"/>
                <a:cs typeface="Segoe UI" panose="020B0502040204020203" pitchFamily="34" charset="0"/>
              </a:defRPr>
            </a:lvl1pPr>
            <a:lvl2pPr indent="0">
              <a:lnSpc>
                <a:spcPct val="90000"/>
              </a:lnSpc>
              <a:spcBef>
                <a:spcPts val="500"/>
              </a:spcBef>
              <a:buFont typeface="Arial" panose="020B0604020202020204" pitchFamily="34" charset="0"/>
              <a:buNone/>
              <a:defRPr sz="2400" b="1" i="0">
                <a:latin typeface="Segoe UI Semibold" panose="020B0502040204020203" pitchFamily="34" charset="0"/>
                <a:cs typeface="Segoe UI Semibold" panose="020B0502040204020203" pitchFamily="34" charset="0"/>
              </a:defRPr>
            </a:lvl2pPr>
            <a:lvl3pPr marL="1143000" indent="-228600">
              <a:lnSpc>
                <a:spcPct val="90000"/>
              </a:lnSpc>
              <a:spcBef>
                <a:spcPts val="500"/>
              </a:spcBef>
              <a:buFont typeface="Arial" panose="020B0604020202020204" pitchFamily="34" charset="0"/>
              <a:buChar char="•"/>
              <a:defRPr sz="2000" b="1" i="0">
                <a:latin typeface="Segoe UI Semibold" panose="020B0502040204020203" pitchFamily="34" charset="0"/>
                <a:cs typeface="Segoe UI Semibold" panose="020B0502040204020203" pitchFamily="34" charset="0"/>
              </a:defRPr>
            </a:lvl3pPr>
            <a:lvl4pPr marL="1600200" indent="-228600">
              <a:lnSpc>
                <a:spcPct val="90000"/>
              </a:lnSpc>
              <a:spcBef>
                <a:spcPts val="500"/>
              </a:spcBef>
              <a:buFont typeface="Arial" panose="020B0604020202020204" pitchFamily="34" charset="0"/>
              <a:buChar char="•"/>
              <a:defRPr b="1" i="0">
                <a:latin typeface="Segoe UI" panose="020B0502040204020203" pitchFamily="34" charset="0"/>
                <a:cs typeface="Segoe UI" panose="020B0502040204020203" pitchFamily="34" charset="0"/>
              </a:defRPr>
            </a:lvl4pPr>
            <a:lvl5pPr marL="2057400" indent="-228600">
              <a:lnSpc>
                <a:spcPct val="90000"/>
              </a:lnSpc>
              <a:spcBef>
                <a:spcPts val="500"/>
              </a:spcBef>
              <a:buFont typeface="Arial" panose="020B0604020202020204" pitchFamily="34" charset="0"/>
              <a:buChar char="•"/>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1" u="none" strike="noStrike" kern="1200" cap="none" spc="0" normalizeH="0" baseline="0" noProof="0" dirty="0">
                <a:ln>
                  <a:noFill/>
                </a:ln>
                <a:solidFill>
                  <a:srgbClr val="737373"/>
                </a:solidFill>
                <a:effectLst/>
                <a:uLnTx/>
                <a:uFillTx/>
                <a:latin typeface="SegoeUI" charset="0"/>
                <a:cs typeface="Segoe UI" panose="020B0502040204020203" pitchFamily="34" charset="0"/>
              </a:rPr>
              <a:t>Source: The Total Economic Impact™ Of PowerApps And Microsoft Flow, a commissioned study conducted by Forrester Consulting on behalf of Microsoft, June 2018.</a:t>
            </a:r>
          </a:p>
        </p:txBody>
      </p:sp>
      <p:pic>
        <p:nvPicPr>
          <p:cNvPr id="14" name="Graphic 13">
            <a:extLst>
              <a:ext uri="{FF2B5EF4-FFF2-40B4-BE49-F238E27FC236}">
                <a16:creationId xmlns:a16="http://schemas.microsoft.com/office/drawing/2014/main" id="{2D1E68F1-C226-664A-8C9F-63CC547BC9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70449" y="3787431"/>
            <a:ext cx="548640" cy="548640"/>
          </a:xfrm>
          <a:prstGeom prst="rect">
            <a:avLst/>
          </a:prstGeom>
        </p:spPr>
      </p:pic>
      <p:cxnSp>
        <p:nvCxnSpPr>
          <p:cNvPr id="29" name="Straight Connector 28">
            <a:extLst>
              <a:ext uri="{FF2B5EF4-FFF2-40B4-BE49-F238E27FC236}">
                <a16:creationId xmlns:a16="http://schemas.microsoft.com/office/drawing/2014/main" id="{CEA5FFB5-0307-9F41-A3A6-ABB89F7D15D8}"/>
              </a:ext>
            </a:extLst>
          </p:cNvPr>
          <p:cNvCxnSpPr>
            <a:cxnSpLocks/>
          </p:cNvCxnSpPr>
          <p:nvPr/>
        </p:nvCxnSpPr>
        <p:spPr>
          <a:xfrm>
            <a:off x="4538913" y="1763912"/>
            <a:ext cx="7073967" cy="0"/>
          </a:xfrm>
          <a:prstGeom prst="line">
            <a:avLst/>
          </a:prstGeom>
          <a:ln w="19050">
            <a:solidFill>
              <a:schemeClr val="accent5"/>
            </a:solidFill>
          </a:ln>
        </p:spPr>
        <p:style>
          <a:lnRef idx="1">
            <a:schemeClr val="dk1"/>
          </a:lnRef>
          <a:fillRef idx="0">
            <a:schemeClr val="dk1"/>
          </a:fillRef>
          <a:effectRef idx="0">
            <a:schemeClr val="dk1"/>
          </a:effectRef>
          <a:fontRef idx="minor">
            <a:schemeClr val="tx1"/>
          </a:fontRef>
        </p:style>
      </p:cxnSp>
      <p:sp>
        <p:nvSpPr>
          <p:cNvPr id="26" name="Rectangle 25">
            <a:extLst>
              <a:ext uri="{FF2B5EF4-FFF2-40B4-BE49-F238E27FC236}">
                <a16:creationId xmlns:a16="http://schemas.microsoft.com/office/drawing/2014/main" id="{4973DF4B-A94F-403E-B66B-B2B0EA059A39}"/>
              </a:ext>
            </a:extLst>
          </p:cNvPr>
          <p:cNvSpPr/>
          <p:nvPr/>
        </p:nvSpPr>
        <p:spPr>
          <a:xfrm>
            <a:off x="4475116" y="1407203"/>
            <a:ext cx="85446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C3C41"/>
                </a:solidFill>
                <a:effectLst/>
                <a:uLnTx/>
                <a:uFillTx/>
                <a:latin typeface="Segoe UI" panose="020B0502040204020203" pitchFamily="34" charset="0"/>
                <a:ea typeface="+mn-ea"/>
                <a:cs typeface="Segoe UI" panose="020B0502040204020203" pitchFamily="34" charset="0"/>
              </a:rPr>
              <a:t>Offers</a:t>
            </a:r>
            <a:endParaRPr kumimoji="0" lang="en-US" sz="1600" b="1" i="0" u="none" strike="noStrike" kern="1200" cap="none" spc="0" normalizeH="0" baseline="0" noProof="0" dirty="0">
              <a:ln>
                <a:noFill/>
              </a:ln>
              <a:solidFill>
                <a:srgbClr val="3C3C41"/>
              </a:solidFill>
              <a:effectLst/>
              <a:uLnTx/>
              <a:uFillTx/>
              <a:latin typeface="Segoe UI" panose="020B0502040204020203" pitchFamily="34" charset="0"/>
              <a:ea typeface="+mn-ea"/>
              <a:cs typeface="Segoe UI" panose="020B0502040204020203" pitchFamily="34" charset="0"/>
            </a:endParaRPr>
          </a:p>
        </p:txBody>
      </p:sp>
      <p:pic>
        <p:nvPicPr>
          <p:cNvPr id="17" name="Graphic 16" descr="Customer review">
            <a:extLst>
              <a:ext uri="{FF2B5EF4-FFF2-40B4-BE49-F238E27FC236}">
                <a16:creationId xmlns:a16="http://schemas.microsoft.com/office/drawing/2014/main" id="{4A8D4912-34FE-4F49-82C5-8BA8B7F5C4E8}"/>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38825" y="4391434"/>
            <a:ext cx="411480" cy="411480"/>
          </a:xfrm>
          <a:prstGeom prst="rect">
            <a:avLst/>
          </a:prstGeom>
        </p:spPr>
      </p:pic>
      <p:pic>
        <p:nvPicPr>
          <p:cNvPr id="27" name="Graphic 26" descr="Group brainstorm">
            <a:extLst>
              <a:ext uri="{FF2B5EF4-FFF2-40B4-BE49-F238E27FC236}">
                <a16:creationId xmlns:a16="http://schemas.microsoft.com/office/drawing/2014/main" id="{B99AA0F2-4A13-460C-B1BF-665B38C50F35}"/>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52108" y="4937896"/>
            <a:ext cx="411480" cy="411480"/>
          </a:xfrm>
          <a:prstGeom prst="rect">
            <a:avLst/>
          </a:prstGeom>
        </p:spPr>
      </p:pic>
      <p:pic>
        <p:nvPicPr>
          <p:cNvPr id="34" name="Graphic 33" descr="Meeting">
            <a:extLst>
              <a:ext uri="{FF2B5EF4-FFF2-40B4-BE49-F238E27FC236}">
                <a16:creationId xmlns:a16="http://schemas.microsoft.com/office/drawing/2014/main" id="{B0256398-C296-41B4-8D30-B06F2FB0D94C}"/>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56266" y="3821637"/>
            <a:ext cx="411480" cy="411480"/>
          </a:xfrm>
          <a:prstGeom prst="rect">
            <a:avLst/>
          </a:prstGeom>
        </p:spPr>
      </p:pic>
      <p:sp>
        <p:nvSpPr>
          <p:cNvPr id="28" name="Title 1">
            <a:extLst>
              <a:ext uri="{FF2B5EF4-FFF2-40B4-BE49-F238E27FC236}">
                <a16:creationId xmlns:a16="http://schemas.microsoft.com/office/drawing/2014/main" id="{E5CA81D5-ED8C-41E4-B482-3E567CFE3D53}"/>
              </a:ext>
            </a:extLst>
          </p:cNvPr>
          <p:cNvSpPr txBox="1">
            <a:spLocks/>
          </p:cNvSpPr>
          <p:nvPr/>
        </p:nvSpPr>
        <p:spPr>
          <a:xfrm>
            <a:off x="457200" y="461561"/>
            <a:ext cx="9887622" cy="498598"/>
          </a:xfrm>
          <a:prstGeom prst="rect">
            <a:avLst/>
          </a:prstGeom>
        </p:spPr>
        <p:txBody>
          <a:bodyPr vert="horz" lIns="0" tIns="0" rIns="0" bIns="0" rtlCol="0" anchor="t">
            <a:spAutoFit/>
          </a:bodyPr>
          <a:lstStyle>
            <a:lvl1pPr algn="l" defTabSz="914400" rtl="0" eaLnBrk="1" latinLnBrk="0" hangingPunct="1">
              <a:lnSpc>
                <a:spcPct val="90000"/>
              </a:lnSpc>
              <a:spcBef>
                <a:spcPct val="0"/>
              </a:spcBef>
              <a:buNone/>
              <a:defRPr sz="4000" b="0" i="0" kern="1200">
                <a:solidFill>
                  <a:schemeClr val="tx1"/>
                </a:solidFill>
                <a:latin typeface="Segoe UI Semibold" panose="020B0502040204020203" pitchFamily="34" charset="0"/>
                <a:ea typeface="+mj-ea"/>
                <a:cs typeface="Segoe UI Semibold" panose="020B0502040204020203" pitchFamily="34" charset="0"/>
              </a:defRPr>
            </a:lvl1pPr>
          </a:lstStyle>
          <a:p>
            <a:pPr lvl="0"/>
            <a:r>
              <a:rPr lang="en-US" sz="3600" dirty="0"/>
              <a:t>Build a PowerApps Practice</a:t>
            </a:r>
            <a:endParaRPr lang="en-US" sz="3600" noProof="0" dirty="0"/>
          </a:p>
        </p:txBody>
      </p:sp>
    </p:spTree>
    <p:extLst>
      <p:ext uri="{BB962C8B-B14F-4D97-AF65-F5344CB8AC3E}">
        <p14:creationId xmlns:p14="http://schemas.microsoft.com/office/powerpoint/2010/main" val="161952296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26B2F-0E36-8C4B-B008-19CAEECD3E53}"/>
              </a:ext>
            </a:extLst>
          </p:cNvPr>
          <p:cNvSpPr txBox="1">
            <a:spLocks/>
          </p:cNvSpPr>
          <p:nvPr/>
        </p:nvSpPr>
        <p:spPr>
          <a:xfrm>
            <a:off x="457199" y="461561"/>
            <a:ext cx="10765857" cy="7478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000" b="0" i="0" kern="1200">
                <a:solidFill>
                  <a:schemeClr val="tx1"/>
                </a:solidFill>
                <a:latin typeface="Segoe UI Semibold" panose="020B0502040204020203" pitchFamily="34" charset="0"/>
                <a:ea typeface="+mj-ea"/>
                <a:cs typeface="Segoe UI Semibold" panose="020B0502040204020203" pitchFamily="34" charset="0"/>
              </a:defRPr>
            </a:lvl1pPr>
          </a:lstStyle>
          <a:p>
            <a:pPr lvl="0"/>
            <a:r>
              <a:rPr lang="en-US" sz="3600" noProof="0" dirty="0"/>
              <a:t>Grow your footprint in accounts</a:t>
            </a:r>
          </a:p>
          <a:p>
            <a:pPr lvl="0"/>
            <a:r>
              <a:rPr lang="en-US" sz="1800" dirty="0">
                <a:latin typeface="Segoe UI" panose="020B0502040204020203" pitchFamily="34" charset="0"/>
                <a:ea typeface="+mn-ea"/>
                <a:cs typeface="Segoe UI" panose="020B0502040204020203" pitchFamily="34" charset="0"/>
              </a:rPr>
              <a:t>Add value to both business and IT users across the entire organization</a:t>
            </a:r>
          </a:p>
        </p:txBody>
      </p:sp>
      <p:sp>
        <p:nvSpPr>
          <p:cNvPr id="38" name="Rectangle 37">
            <a:extLst>
              <a:ext uri="{FF2B5EF4-FFF2-40B4-BE49-F238E27FC236}">
                <a16:creationId xmlns:a16="http://schemas.microsoft.com/office/drawing/2014/main" id="{3178BA47-9BF1-5245-85D3-5CD45408D9B4}"/>
              </a:ext>
            </a:extLst>
          </p:cNvPr>
          <p:cNvSpPr/>
          <p:nvPr/>
        </p:nvSpPr>
        <p:spPr>
          <a:xfrm>
            <a:off x="10848953" y="1256891"/>
            <a:ext cx="967664" cy="251051"/>
          </a:xfrm>
          <a:prstGeom prst="rect">
            <a:avLst/>
          </a:prstGeom>
          <a:noFill/>
          <a:ln>
            <a:noFill/>
          </a:ln>
        </p:spPr>
        <p:style>
          <a:lnRef idx="2">
            <a:schemeClr val="dk1"/>
          </a:lnRef>
          <a:fillRef idx="1">
            <a:schemeClr val="lt1"/>
          </a:fillRef>
          <a:effectRef idx="0">
            <a:schemeClr val="dk1"/>
          </a:effectRef>
          <a:fontRef idx="minor">
            <a:schemeClr val="dk1"/>
          </a:fontRef>
        </p:style>
        <p:txBody>
          <a:bodyPr tIns="91440" bIns="91440" rtlCol="0" anchor="ctr"/>
          <a:lstStyle/>
          <a:p>
            <a:pPr algn="ctr"/>
            <a:r>
              <a:rPr lang="en-US" b="1" dirty="0">
                <a:latin typeface="Segoe UI Semibold" panose="020B0502040204020203" pitchFamily="34" charset="0"/>
                <a:cs typeface="Segoe UI Semibold" panose="020B0502040204020203" pitchFamily="34" charset="0"/>
              </a:rPr>
              <a:t>$20M+</a:t>
            </a:r>
          </a:p>
        </p:txBody>
      </p:sp>
      <p:sp>
        <p:nvSpPr>
          <p:cNvPr id="39" name="Rectangle 38">
            <a:extLst>
              <a:ext uri="{FF2B5EF4-FFF2-40B4-BE49-F238E27FC236}">
                <a16:creationId xmlns:a16="http://schemas.microsoft.com/office/drawing/2014/main" id="{DF98E4FF-F95F-1945-8528-A4F9052D35B0}"/>
              </a:ext>
            </a:extLst>
          </p:cNvPr>
          <p:cNvSpPr/>
          <p:nvPr/>
        </p:nvSpPr>
        <p:spPr>
          <a:xfrm>
            <a:off x="10967760" y="5866040"/>
            <a:ext cx="730050" cy="295835"/>
          </a:xfrm>
          <a:prstGeom prst="rect">
            <a:avLst/>
          </a:prstGeom>
          <a:noFill/>
          <a:ln>
            <a:noFill/>
          </a:ln>
        </p:spPr>
        <p:style>
          <a:lnRef idx="2">
            <a:schemeClr val="dk1"/>
          </a:lnRef>
          <a:fillRef idx="1">
            <a:schemeClr val="lt1"/>
          </a:fillRef>
          <a:effectRef idx="0">
            <a:schemeClr val="dk1"/>
          </a:effectRef>
          <a:fontRef idx="minor">
            <a:schemeClr val="dk1"/>
          </a:fontRef>
        </p:style>
        <p:txBody>
          <a:bodyPr tIns="91440" bIns="91440" rtlCol="0" anchor="ctr"/>
          <a:lstStyle/>
          <a:p>
            <a:pPr algn="ctr"/>
            <a:r>
              <a:rPr lang="en-US" b="1" dirty="0">
                <a:latin typeface="Segoe UI Semibold" panose="020B0502040204020203" pitchFamily="34" charset="0"/>
                <a:cs typeface="Segoe UI Semibold" panose="020B0502040204020203" pitchFamily="34" charset="0"/>
              </a:rPr>
              <a:t>$10K</a:t>
            </a:r>
          </a:p>
        </p:txBody>
      </p:sp>
      <p:grpSp>
        <p:nvGrpSpPr>
          <p:cNvPr id="4" name="Group 3">
            <a:extLst>
              <a:ext uri="{FF2B5EF4-FFF2-40B4-BE49-F238E27FC236}">
                <a16:creationId xmlns:a16="http://schemas.microsoft.com/office/drawing/2014/main" id="{68A9E3B2-3DDB-4741-8BBC-15C9421F5609}"/>
              </a:ext>
            </a:extLst>
          </p:cNvPr>
          <p:cNvGrpSpPr/>
          <p:nvPr/>
        </p:nvGrpSpPr>
        <p:grpSpPr>
          <a:xfrm>
            <a:off x="11113604" y="1535652"/>
            <a:ext cx="438362" cy="4330387"/>
            <a:chOff x="11113604" y="1574152"/>
            <a:chExt cx="438362" cy="4591325"/>
          </a:xfrm>
        </p:grpSpPr>
        <p:sp>
          <p:nvSpPr>
            <p:cNvPr id="5" name="Up Arrow 4">
              <a:extLst>
                <a:ext uri="{FF2B5EF4-FFF2-40B4-BE49-F238E27FC236}">
                  <a16:creationId xmlns:a16="http://schemas.microsoft.com/office/drawing/2014/main" id="{0A51597F-8543-2349-86AA-B0E9292C0F9E}"/>
                </a:ext>
              </a:extLst>
            </p:cNvPr>
            <p:cNvSpPr/>
            <p:nvPr/>
          </p:nvSpPr>
          <p:spPr>
            <a:xfrm>
              <a:off x="11113604" y="1574152"/>
              <a:ext cx="438362" cy="4591325"/>
            </a:xfrm>
            <a:prstGeom prst="upArrow">
              <a:avLst>
                <a:gd name="adj1" fmla="val 50000"/>
                <a:gd name="adj2" fmla="val 555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4AC6EA4F-2917-254A-925A-FA0E88B343E6}"/>
                </a:ext>
              </a:extLst>
            </p:cNvPr>
            <p:cNvCxnSpPr/>
            <p:nvPr/>
          </p:nvCxnSpPr>
          <p:spPr>
            <a:xfrm>
              <a:off x="11223057" y="6083299"/>
              <a:ext cx="219456"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28405CD-07EF-2641-AF34-110E254B148E}"/>
                </a:ext>
              </a:extLst>
            </p:cNvPr>
            <p:cNvCxnSpPr/>
            <p:nvPr/>
          </p:nvCxnSpPr>
          <p:spPr>
            <a:xfrm>
              <a:off x="11223057" y="6028266"/>
              <a:ext cx="219456"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1A4A1D1-A6D1-C645-8D49-C6CE0B51F415}"/>
                </a:ext>
              </a:extLst>
            </p:cNvPr>
            <p:cNvCxnSpPr/>
            <p:nvPr/>
          </p:nvCxnSpPr>
          <p:spPr>
            <a:xfrm>
              <a:off x="11223057" y="5955694"/>
              <a:ext cx="219456"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3CF99B1-EA06-AE42-97E6-2D3C7EB8BA80}"/>
                </a:ext>
              </a:extLst>
            </p:cNvPr>
            <p:cNvCxnSpPr/>
            <p:nvPr/>
          </p:nvCxnSpPr>
          <p:spPr>
            <a:xfrm>
              <a:off x="11223057" y="5863770"/>
              <a:ext cx="219456"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E49F3E2-584D-7F4C-A5FF-FF4CDB9442D9}"/>
                </a:ext>
              </a:extLst>
            </p:cNvPr>
            <p:cNvCxnSpPr/>
            <p:nvPr/>
          </p:nvCxnSpPr>
          <p:spPr>
            <a:xfrm>
              <a:off x="11223057" y="5752494"/>
              <a:ext cx="219456"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FCCA31E-398D-B142-8CDE-C05CCCB10E1F}"/>
                </a:ext>
              </a:extLst>
            </p:cNvPr>
            <p:cNvCxnSpPr/>
            <p:nvPr/>
          </p:nvCxnSpPr>
          <p:spPr>
            <a:xfrm>
              <a:off x="11223057" y="5641218"/>
              <a:ext cx="219456"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D8F62EF-F6D3-AE4F-A8CF-217433687D00}"/>
                </a:ext>
              </a:extLst>
            </p:cNvPr>
            <p:cNvCxnSpPr/>
            <p:nvPr/>
          </p:nvCxnSpPr>
          <p:spPr>
            <a:xfrm>
              <a:off x="11223057" y="5481561"/>
              <a:ext cx="219456"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147EC6B-DAA2-0741-97CD-D62DB7844449}"/>
                </a:ext>
              </a:extLst>
            </p:cNvPr>
            <p:cNvCxnSpPr/>
            <p:nvPr/>
          </p:nvCxnSpPr>
          <p:spPr>
            <a:xfrm>
              <a:off x="11223057" y="5273523"/>
              <a:ext cx="219456"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782E4FF-C0DF-014B-969E-B9E86102208B}"/>
                </a:ext>
              </a:extLst>
            </p:cNvPr>
            <p:cNvCxnSpPr/>
            <p:nvPr/>
          </p:nvCxnSpPr>
          <p:spPr>
            <a:xfrm>
              <a:off x="11223057" y="4983237"/>
              <a:ext cx="219456"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886160B-2AE5-B34C-886F-27F8C87FC6D9}"/>
                </a:ext>
              </a:extLst>
            </p:cNvPr>
            <p:cNvCxnSpPr/>
            <p:nvPr/>
          </p:nvCxnSpPr>
          <p:spPr>
            <a:xfrm>
              <a:off x="11223057" y="4586513"/>
              <a:ext cx="219456"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576F0B2-212D-0C43-A475-605FA6E3C36A}"/>
                </a:ext>
              </a:extLst>
            </p:cNvPr>
            <p:cNvCxnSpPr/>
            <p:nvPr/>
          </p:nvCxnSpPr>
          <p:spPr>
            <a:xfrm>
              <a:off x="11223057" y="4001103"/>
              <a:ext cx="219456"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6364FCF-68D9-8043-92BA-3B01E3A5E0DC}"/>
                </a:ext>
              </a:extLst>
            </p:cNvPr>
            <p:cNvCxnSpPr/>
            <p:nvPr/>
          </p:nvCxnSpPr>
          <p:spPr>
            <a:xfrm>
              <a:off x="11223057" y="3115731"/>
              <a:ext cx="219456"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69ACA3A-45F6-2D4D-A7E7-7EF4B7349F22}"/>
                </a:ext>
              </a:extLst>
            </p:cNvPr>
            <p:cNvCxnSpPr/>
            <p:nvPr/>
          </p:nvCxnSpPr>
          <p:spPr>
            <a:xfrm>
              <a:off x="11223057" y="6127749"/>
              <a:ext cx="219456"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EA53BE08-5753-3D48-9274-1A7789F805A4}"/>
              </a:ext>
            </a:extLst>
          </p:cNvPr>
          <p:cNvSpPr/>
          <p:nvPr/>
        </p:nvSpPr>
        <p:spPr>
          <a:xfrm>
            <a:off x="355181" y="6133000"/>
            <a:ext cx="2168479" cy="369332"/>
          </a:xfrm>
          <a:prstGeom prst="rect">
            <a:avLst/>
          </a:prstGeom>
        </p:spPr>
        <p:txBody>
          <a:bodyPr wrap="none">
            <a:spAutoFit/>
          </a:bodyPr>
          <a:lstStyle/>
          <a:p>
            <a:pPr lvl="0"/>
            <a:r>
              <a:rPr lang="en-US" b="1" dirty="0">
                <a:solidFill>
                  <a:schemeClr val="tx2"/>
                </a:solidFill>
                <a:latin typeface="Segoe UI" panose="020B0502040204020203" pitchFamily="34" charset="0"/>
                <a:cs typeface="Segoe UI" panose="020B0502040204020203" pitchFamily="34" charset="0"/>
              </a:rPr>
              <a:t>Business scenarios</a:t>
            </a:r>
            <a:endParaRPr lang="en-US" sz="1600" b="1" dirty="0">
              <a:solidFill>
                <a:schemeClr val="tx2"/>
              </a:solidFill>
              <a:latin typeface="Segoe UI" panose="020B0502040204020203" pitchFamily="34" charset="0"/>
              <a:cs typeface="Segoe UI" panose="020B0502040204020203" pitchFamily="34" charset="0"/>
            </a:endParaRPr>
          </a:p>
        </p:txBody>
      </p:sp>
      <p:cxnSp>
        <p:nvCxnSpPr>
          <p:cNvPr id="55" name="Straight Connector 54">
            <a:extLst>
              <a:ext uri="{FF2B5EF4-FFF2-40B4-BE49-F238E27FC236}">
                <a16:creationId xmlns:a16="http://schemas.microsoft.com/office/drawing/2014/main" id="{A6403326-B665-5E4B-9AB9-C9A33867FB55}"/>
              </a:ext>
            </a:extLst>
          </p:cNvPr>
          <p:cNvCxnSpPr>
            <a:cxnSpLocks/>
          </p:cNvCxnSpPr>
          <p:nvPr/>
        </p:nvCxnSpPr>
        <p:spPr>
          <a:xfrm>
            <a:off x="418700" y="6161875"/>
            <a:ext cx="10430253" cy="0"/>
          </a:xfrm>
          <a:prstGeom prst="line">
            <a:avLst/>
          </a:prstGeom>
          <a:ln w="19050"/>
        </p:spPr>
        <p:style>
          <a:lnRef idx="1">
            <a:schemeClr val="dk1"/>
          </a:lnRef>
          <a:fillRef idx="0">
            <a:schemeClr val="dk1"/>
          </a:fillRef>
          <a:effectRef idx="0">
            <a:schemeClr val="dk1"/>
          </a:effectRef>
          <a:fontRef idx="minor">
            <a:schemeClr val="tx1"/>
          </a:fontRef>
        </p:style>
      </p:cxnSp>
      <p:grpSp>
        <p:nvGrpSpPr>
          <p:cNvPr id="15" name="Group 14">
            <a:extLst>
              <a:ext uri="{FF2B5EF4-FFF2-40B4-BE49-F238E27FC236}">
                <a16:creationId xmlns:a16="http://schemas.microsoft.com/office/drawing/2014/main" id="{91B9698F-6D86-314A-B80E-367E9F4EAF5E}"/>
              </a:ext>
            </a:extLst>
          </p:cNvPr>
          <p:cNvGrpSpPr/>
          <p:nvPr/>
        </p:nvGrpSpPr>
        <p:grpSpPr>
          <a:xfrm>
            <a:off x="457200" y="4273693"/>
            <a:ext cx="1371600" cy="1775630"/>
            <a:chOff x="457200" y="4312193"/>
            <a:chExt cx="1371600" cy="1775630"/>
          </a:xfrm>
        </p:grpSpPr>
        <p:sp>
          <p:nvSpPr>
            <p:cNvPr id="19" name="Rounded Rectangle 18">
              <a:extLst>
                <a:ext uri="{FF2B5EF4-FFF2-40B4-BE49-F238E27FC236}">
                  <a16:creationId xmlns:a16="http://schemas.microsoft.com/office/drawing/2014/main" id="{FDB35C9A-ABA8-864B-91DC-ADE7C4B9ED2D}"/>
                </a:ext>
              </a:extLst>
            </p:cNvPr>
            <p:cNvSpPr/>
            <p:nvPr/>
          </p:nvSpPr>
          <p:spPr>
            <a:xfrm>
              <a:off x="457200" y="4586513"/>
              <a:ext cx="1371600" cy="150131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0" i="0" dirty="0">
                  <a:latin typeface="Segoe UI" panose="020B0502040204020203" pitchFamily="34" charset="0"/>
                  <a:cs typeface="Segoe UI" panose="020B0502040204020203" pitchFamily="34" charset="0"/>
                </a:rPr>
                <a:t>Increase adoption via training</a:t>
              </a:r>
            </a:p>
          </p:txBody>
        </p:sp>
        <p:sp>
          <p:nvSpPr>
            <p:cNvPr id="54" name="Oval 53">
              <a:extLst>
                <a:ext uri="{FF2B5EF4-FFF2-40B4-BE49-F238E27FC236}">
                  <a16:creationId xmlns:a16="http://schemas.microsoft.com/office/drawing/2014/main" id="{BE948E4A-C1C7-1944-BC4F-4D4ACA7C4D31}"/>
                </a:ext>
              </a:extLst>
            </p:cNvPr>
            <p:cNvSpPr>
              <a:spLocks noChangeAspect="1"/>
            </p:cNvSpPr>
            <p:nvPr/>
          </p:nvSpPr>
          <p:spPr bwMode="auto">
            <a:xfrm>
              <a:off x="878960" y="4312193"/>
              <a:ext cx="548640" cy="548640"/>
            </a:xfrm>
            <a:prstGeom prst="ellipse">
              <a:avLst/>
            </a:prstGeom>
            <a:solidFill>
              <a:schemeClr val="tx2"/>
            </a:solidFill>
            <a:ln w="10795" cap="flat" cmpd="sng" algn="ctr">
              <a:noFill/>
              <a:prstDash val="solid"/>
              <a:headEnd type="none" w="med" len="med"/>
              <a:tailEnd type="none" w="med" len="med"/>
            </a:ln>
            <a:effectLst/>
          </p:spPr>
          <p:txBody>
            <a:bodyPr vert="horz" wrap="square" lIns="0" tIns="45682" rIns="0" bIns="45682" numCol="1" rtlCol="0" anchor="ctr" anchorCtr="0" compatLnSpc="1">
              <a:prstTxWarp prst="textNoShape">
                <a:avLst/>
              </a:prstTxWarp>
            </a:bodyPr>
            <a:lstStyle/>
            <a:p>
              <a:pPr marL="0" marR="0" lvl="0" indent="0" algn="ctr" defTabSz="913213"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49"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pic>
          <p:nvPicPr>
            <p:cNvPr id="7" name="Picture 6">
              <a:extLst>
                <a:ext uri="{FF2B5EF4-FFF2-40B4-BE49-F238E27FC236}">
                  <a16:creationId xmlns:a16="http://schemas.microsoft.com/office/drawing/2014/main" id="{6AC5BF0F-FA97-B64C-BB2E-C213A5E62CFD}"/>
                </a:ext>
              </a:extLst>
            </p:cNvPr>
            <p:cNvPicPr>
              <a:picLocks noChangeAspect="1"/>
            </p:cNvPicPr>
            <p:nvPr/>
          </p:nvPicPr>
          <p:blipFill>
            <a:blip r:embed="rId3"/>
            <a:stretch>
              <a:fillRect/>
            </a:stretch>
          </p:blipFill>
          <p:spPr>
            <a:xfrm>
              <a:off x="1027550" y="4449353"/>
              <a:ext cx="251460" cy="274320"/>
            </a:xfrm>
            <a:prstGeom prst="rect">
              <a:avLst/>
            </a:prstGeom>
          </p:spPr>
        </p:pic>
      </p:grpSp>
      <p:grpSp>
        <p:nvGrpSpPr>
          <p:cNvPr id="16" name="Group 15">
            <a:extLst>
              <a:ext uri="{FF2B5EF4-FFF2-40B4-BE49-F238E27FC236}">
                <a16:creationId xmlns:a16="http://schemas.microsoft.com/office/drawing/2014/main" id="{3DD9E9A4-F3FE-0B40-941D-A1951A1D3D15}"/>
              </a:ext>
            </a:extLst>
          </p:cNvPr>
          <p:cNvGrpSpPr/>
          <p:nvPr/>
        </p:nvGrpSpPr>
        <p:grpSpPr>
          <a:xfrm>
            <a:off x="1945800" y="4274418"/>
            <a:ext cx="1371600" cy="1774905"/>
            <a:chOff x="1945800" y="4312918"/>
            <a:chExt cx="1371600" cy="1774905"/>
          </a:xfrm>
        </p:grpSpPr>
        <p:sp>
          <p:nvSpPr>
            <p:cNvPr id="20" name="Rounded Rectangle 19">
              <a:extLst>
                <a:ext uri="{FF2B5EF4-FFF2-40B4-BE49-F238E27FC236}">
                  <a16:creationId xmlns:a16="http://schemas.microsoft.com/office/drawing/2014/main" id="{6FF00D01-65C5-4C4F-A964-7185AB31695E}"/>
                </a:ext>
              </a:extLst>
            </p:cNvPr>
            <p:cNvSpPr/>
            <p:nvPr/>
          </p:nvSpPr>
          <p:spPr>
            <a:xfrm>
              <a:off x="1945800" y="4586513"/>
              <a:ext cx="1371600" cy="150131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dirty="0">
                  <a:latin typeface="Segoe UI" panose="020B0502040204020203" pitchFamily="34" charset="0"/>
                  <a:cs typeface="Segoe UI" panose="020B0502040204020203" pitchFamily="34" charset="0"/>
                </a:rPr>
                <a:t>Enhance design/ business process management</a:t>
              </a:r>
            </a:p>
          </p:txBody>
        </p:sp>
        <p:sp>
          <p:nvSpPr>
            <p:cNvPr id="53" name="Oval 52">
              <a:extLst>
                <a:ext uri="{FF2B5EF4-FFF2-40B4-BE49-F238E27FC236}">
                  <a16:creationId xmlns:a16="http://schemas.microsoft.com/office/drawing/2014/main" id="{F5187E78-837F-C94D-B7D4-401422C10A62}"/>
                </a:ext>
              </a:extLst>
            </p:cNvPr>
            <p:cNvSpPr>
              <a:spLocks noChangeAspect="1"/>
            </p:cNvSpPr>
            <p:nvPr/>
          </p:nvSpPr>
          <p:spPr bwMode="auto">
            <a:xfrm>
              <a:off x="2351658" y="4312918"/>
              <a:ext cx="548640" cy="548640"/>
            </a:xfrm>
            <a:prstGeom prst="ellipse">
              <a:avLst/>
            </a:prstGeom>
            <a:solidFill>
              <a:schemeClr val="tx2"/>
            </a:solidFill>
            <a:ln w="10795" cap="flat" cmpd="sng" algn="ctr">
              <a:noFill/>
              <a:prstDash val="solid"/>
              <a:headEnd type="none" w="med" len="med"/>
              <a:tailEnd type="none" w="med" len="med"/>
            </a:ln>
            <a:effectLst/>
          </p:spPr>
          <p:txBody>
            <a:bodyPr vert="horz" wrap="square" lIns="0" tIns="45682" rIns="0" bIns="45682" numCol="1" rtlCol="0" anchor="ctr" anchorCtr="0" compatLnSpc="1">
              <a:prstTxWarp prst="textNoShape">
                <a:avLst/>
              </a:prstTxWarp>
            </a:bodyPr>
            <a:lstStyle/>
            <a:p>
              <a:pPr marL="0" marR="0" lvl="0" indent="0" algn="ctr" defTabSz="913213"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49"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pic>
          <p:nvPicPr>
            <p:cNvPr id="8" name="Picture 7">
              <a:extLst>
                <a:ext uri="{FF2B5EF4-FFF2-40B4-BE49-F238E27FC236}">
                  <a16:creationId xmlns:a16="http://schemas.microsoft.com/office/drawing/2014/main" id="{B8FB0E09-7127-414D-ACE2-37B98214D4FD}"/>
                </a:ext>
              </a:extLst>
            </p:cNvPr>
            <p:cNvPicPr>
              <a:picLocks noChangeAspect="1"/>
            </p:cNvPicPr>
            <p:nvPr/>
          </p:nvPicPr>
          <p:blipFill>
            <a:blip r:embed="rId4"/>
            <a:stretch>
              <a:fillRect/>
            </a:stretch>
          </p:blipFill>
          <p:spPr>
            <a:xfrm>
              <a:off x="2498739" y="4460783"/>
              <a:ext cx="274320" cy="251459"/>
            </a:xfrm>
            <a:prstGeom prst="rect">
              <a:avLst/>
            </a:prstGeom>
          </p:spPr>
        </p:pic>
      </p:grpSp>
      <p:grpSp>
        <p:nvGrpSpPr>
          <p:cNvPr id="17" name="Group 16">
            <a:extLst>
              <a:ext uri="{FF2B5EF4-FFF2-40B4-BE49-F238E27FC236}">
                <a16:creationId xmlns:a16="http://schemas.microsoft.com/office/drawing/2014/main" id="{D97AEEFA-1F3C-4161-B7BC-8A6FF6F406D5}"/>
              </a:ext>
            </a:extLst>
          </p:cNvPr>
          <p:cNvGrpSpPr/>
          <p:nvPr/>
        </p:nvGrpSpPr>
        <p:grpSpPr>
          <a:xfrm>
            <a:off x="3432353" y="3391463"/>
            <a:ext cx="1371600" cy="2657861"/>
            <a:chOff x="3432353" y="3391463"/>
            <a:chExt cx="1371600" cy="2657861"/>
          </a:xfrm>
        </p:grpSpPr>
        <p:sp>
          <p:nvSpPr>
            <p:cNvPr id="21" name="Rounded Rectangle 20">
              <a:extLst>
                <a:ext uri="{FF2B5EF4-FFF2-40B4-BE49-F238E27FC236}">
                  <a16:creationId xmlns:a16="http://schemas.microsoft.com/office/drawing/2014/main" id="{20AE3AF4-1EE2-8A4C-B6DC-C15D920CF60E}"/>
                </a:ext>
              </a:extLst>
            </p:cNvPr>
            <p:cNvSpPr/>
            <p:nvPr/>
          </p:nvSpPr>
          <p:spPr>
            <a:xfrm>
              <a:off x="3432353" y="3688764"/>
              <a:ext cx="1371600" cy="236056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dirty="0">
                  <a:latin typeface="Segoe UI" panose="020B0502040204020203" pitchFamily="34" charset="0"/>
                  <a:cs typeface="Segoe UI" panose="020B0502040204020203" pitchFamily="34" charset="0"/>
                </a:rPr>
                <a:t>Develop cross-platform mobile apps</a:t>
              </a:r>
            </a:p>
          </p:txBody>
        </p:sp>
        <p:sp>
          <p:nvSpPr>
            <p:cNvPr id="52" name="Oval 51">
              <a:extLst>
                <a:ext uri="{FF2B5EF4-FFF2-40B4-BE49-F238E27FC236}">
                  <a16:creationId xmlns:a16="http://schemas.microsoft.com/office/drawing/2014/main" id="{99AB7739-FAA1-C94D-A99E-BD322242813C}"/>
                </a:ext>
              </a:extLst>
            </p:cNvPr>
            <p:cNvSpPr>
              <a:spLocks noChangeAspect="1"/>
            </p:cNvSpPr>
            <p:nvPr/>
          </p:nvSpPr>
          <p:spPr bwMode="auto">
            <a:xfrm>
              <a:off x="3832730" y="3391463"/>
              <a:ext cx="548640" cy="548640"/>
            </a:xfrm>
            <a:prstGeom prst="ellipse">
              <a:avLst/>
            </a:prstGeom>
            <a:solidFill>
              <a:schemeClr val="tx2"/>
            </a:solidFill>
            <a:ln w="10795" cap="flat" cmpd="sng" algn="ctr">
              <a:noFill/>
              <a:prstDash val="solid"/>
              <a:headEnd type="none" w="med" len="med"/>
              <a:tailEnd type="none" w="med" len="med"/>
            </a:ln>
            <a:effectLst/>
          </p:spPr>
          <p:txBody>
            <a:bodyPr vert="horz" wrap="square" lIns="0" tIns="45682" rIns="0" bIns="45682" numCol="1" rtlCol="0" anchor="ctr" anchorCtr="0" compatLnSpc="1">
              <a:prstTxWarp prst="textNoShape">
                <a:avLst/>
              </a:prstTxWarp>
            </a:bodyPr>
            <a:lstStyle/>
            <a:p>
              <a:pPr marL="0" marR="0" lvl="0" indent="0" algn="ctr" defTabSz="913213"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49"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pic>
          <p:nvPicPr>
            <p:cNvPr id="10" name="Picture 9">
              <a:extLst>
                <a:ext uri="{FF2B5EF4-FFF2-40B4-BE49-F238E27FC236}">
                  <a16:creationId xmlns:a16="http://schemas.microsoft.com/office/drawing/2014/main" id="{8CADB400-FA0F-B947-A6B3-1A60BD8612F5}"/>
                </a:ext>
              </a:extLst>
            </p:cNvPr>
            <p:cNvPicPr>
              <a:picLocks noChangeAspect="1"/>
            </p:cNvPicPr>
            <p:nvPr/>
          </p:nvPicPr>
          <p:blipFill>
            <a:blip r:embed="rId5"/>
            <a:stretch>
              <a:fillRect/>
            </a:stretch>
          </p:blipFill>
          <p:spPr>
            <a:xfrm>
              <a:off x="4018875" y="3527932"/>
              <a:ext cx="176349" cy="274320"/>
            </a:xfrm>
            <a:prstGeom prst="rect">
              <a:avLst/>
            </a:prstGeom>
          </p:spPr>
        </p:pic>
      </p:grpSp>
      <p:grpSp>
        <p:nvGrpSpPr>
          <p:cNvPr id="18" name="Group 17">
            <a:extLst>
              <a:ext uri="{FF2B5EF4-FFF2-40B4-BE49-F238E27FC236}">
                <a16:creationId xmlns:a16="http://schemas.microsoft.com/office/drawing/2014/main" id="{7E4FCFAA-EEF7-4479-956B-BF3A28C4341E}"/>
              </a:ext>
            </a:extLst>
          </p:cNvPr>
          <p:cNvGrpSpPr/>
          <p:nvPr/>
        </p:nvGrpSpPr>
        <p:grpSpPr>
          <a:xfrm>
            <a:off x="4918906" y="3391463"/>
            <a:ext cx="1371600" cy="2657860"/>
            <a:chOff x="4918906" y="3391463"/>
            <a:chExt cx="1371600" cy="2657860"/>
          </a:xfrm>
        </p:grpSpPr>
        <p:sp>
          <p:nvSpPr>
            <p:cNvPr id="22" name="Rounded Rectangle 21">
              <a:extLst>
                <a:ext uri="{FF2B5EF4-FFF2-40B4-BE49-F238E27FC236}">
                  <a16:creationId xmlns:a16="http://schemas.microsoft.com/office/drawing/2014/main" id="{397EE758-7788-7E40-B660-FBA66D3BE13D}"/>
                </a:ext>
              </a:extLst>
            </p:cNvPr>
            <p:cNvSpPr/>
            <p:nvPr/>
          </p:nvSpPr>
          <p:spPr>
            <a:xfrm>
              <a:off x="4918906" y="3688762"/>
              <a:ext cx="1371600" cy="2360561"/>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dirty="0">
                  <a:latin typeface="Segoe UI" panose="020B0502040204020203" pitchFamily="34" charset="0"/>
                  <a:cs typeface="Segoe UI" panose="020B0502040204020203" pitchFamily="34" charset="0"/>
                </a:rPr>
                <a:t>Govern/ manage application lifecycles for viral apps</a:t>
              </a:r>
            </a:p>
          </p:txBody>
        </p:sp>
        <p:sp>
          <p:nvSpPr>
            <p:cNvPr id="32" name="Oval 31">
              <a:extLst>
                <a:ext uri="{FF2B5EF4-FFF2-40B4-BE49-F238E27FC236}">
                  <a16:creationId xmlns:a16="http://schemas.microsoft.com/office/drawing/2014/main" id="{AF122A25-BE99-42C9-A295-85F562EC80BA}"/>
                </a:ext>
              </a:extLst>
            </p:cNvPr>
            <p:cNvSpPr>
              <a:spLocks noChangeAspect="1"/>
            </p:cNvSpPr>
            <p:nvPr/>
          </p:nvSpPr>
          <p:spPr bwMode="auto">
            <a:xfrm>
              <a:off x="5330386" y="3391463"/>
              <a:ext cx="548640" cy="548640"/>
            </a:xfrm>
            <a:prstGeom prst="ellipse">
              <a:avLst/>
            </a:prstGeom>
            <a:solidFill>
              <a:schemeClr val="tx2"/>
            </a:solidFill>
            <a:ln w="10795" cap="flat" cmpd="sng" algn="ctr">
              <a:noFill/>
              <a:prstDash val="solid"/>
              <a:headEnd type="none" w="med" len="med"/>
              <a:tailEnd type="none" w="med" len="med"/>
            </a:ln>
            <a:effectLst/>
          </p:spPr>
          <p:txBody>
            <a:bodyPr vert="horz" wrap="square" lIns="0" tIns="45682" rIns="0" bIns="45682" numCol="1" rtlCol="0" anchor="ctr" anchorCtr="0" compatLnSpc="1">
              <a:prstTxWarp prst="textNoShape">
                <a:avLst/>
              </a:prstTxWarp>
            </a:bodyPr>
            <a:lstStyle/>
            <a:p>
              <a:pPr marL="0" marR="0" lvl="0" indent="0" algn="ctr" defTabSz="913213"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49"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pic>
          <p:nvPicPr>
            <p:cNvPr id="11" name="Picture 10">
              <a:extLst>
                <a:ext uri="{FF2B5EF4-FFF2-40B4-BE49-F238E27FC236}">
                  <a16:creationId xmlns:a16="http://schemas.microsoft.com/office/drawing/2014/main" id="{FEBE0276-722E-7640-AF60-850E9C3FD4D8}"/>
                </a:ext>
              </a:extLst>
            </p:cNvPr>
            <p:cNvPicPr>
              <a:picLocks noChangeAspect="1"/>
            </p:cNvPicPr>
            <p:nvPr/>
          </p:nvPicPr>
          <p:blipFill>
            <a:blip r:embed="rId6"/>
            <a:stretch>
              <a:fillRect/>
            </a:stretch>
          </p:blipFill>
          <p:spPr>
            <a:xfrm>
              <a:off x="5478976" y="3537183"/>
              <a:ext cx="251460" cy="274320"/>
            </a:xfrm>
            <a:prstGeom prst="rect">
              <a:avLst/>
            </a:prstGeom>
          </p:spPr>
        </p:pic>
      </p:grpSp>
      <p:grpSp>
        <p:nvGrpSpPr>
          <p:cNvPr id="23" name="Group 22">
            <a:extLst>
              <a:ext uri="{FF2B5EF4-FFF2-40B4-BE49-F238E27FC236}">
                <a16:creationId xmlns:a16="http://schemas.microsoft.com/office/drawing/2014/main" id="{5A7FD131-ED9B-4F5B-8936-7F861E1FE7BF}"/>
              </a:ext>
            </a:extLst>
          </p:cNvPr>
          <p:cNvGrpSpPr/>
          <p:nvPr/>
        </p:nvGrpSpPr>
        <p:grpSpPr>
          <a:xfrm>
            <a:off x="6405459" y="2304603"/>
            <a:ext cx="1371600" cy="3744721"/>
            <a:chOff x="6405459" y="2304603"/>
            <a:chExt cx="1371600" cy="3744721"/>
          </a:xfrm>
        </p:grpSpPr>
        <p:sp>
          <p:nvSpPr>
            <p:cNvPr id="24" name="Rounded Rectangle 23">
              <a:extLst>
                <a:ext uri="{FF2B5EF4-FFF2-40B4-BE49-F238E27FC236}">
                  <a16:creationId xmlns:a16="http://schemas.microsoft.com/office/drawing/2014/main" id="{67EC198D-6681-F74C-A804-0DECCE7121CA}"/>
                </a:ext>
              </a:extLst>
            </p:cNvPr>
            <p:cNvSpPr/>
            <p:nvPr/>
          </p:nvSpPr>
          <p:spPr>
            <a:xfrm>
              <a:off x="6405459" y="2587268"/>
              <a:ext cx="1371600" cy="346205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dirty="0">
                  <a:latin typeface="Segoe UI" panose="020B0502040204020203" pitchFamily="34" charset="0"/>
                  <a:cs typeface="Segoe UI" panose="020B0502040204020203" pitchFamily="34" charset="0"/>
                </a:rPr>
                <a:t>Customize first- or third-party apps</a:t>
              </a:r>
            </a:p>
          </p:txBody>
        </p:sp>
        <p:sp>
          <p:nvSpPr>
            <p:cNvPr id="35" name="Oval 34">
              <a:extLst>
                <a:ext uri="{FF2B5EF4-FFF2-40B4-BE49-F238E27FC236}">
                  <a16:creationId xmlns:a16="http://schemas.microsoft.com/office/drawing/2014/main" id="{F28FCC39-D807-CA4A-B2B3-C4D7F623850C}"/>
                </a:ext>
              </a:extLst>
            </p:cNvPr>
            <p:cNvSpPr>
              <a:spLocks noChangeAspect="1"/>
            </p:cNvSpPr>
            <p:nvPr/>
          </p:nvSpPr>
          <p:spPr bwMode="auto">
            <a:xfrm>
              <a:off x="6815573" y="2304603"/>
              <a:ext cx="548640" cy="548640"/>
            </a:xfrm>
            <a:prstGeom prst="ellipse">
              <a:avLst/>
            </a:prstGeom>
            <a:solidFill>
              <a:schemeClr val="tx2"/>
            </a:solidFill>
            <a:ln w="10795" cap="flat" cmpd="sng" algn="ctr">
              <a:noFill/>
              <a:prstDash val="solid"/>
              <a:headEnd type="none" w="med" len="med"/>
              <a:tailEnd type="none" w="med" len="med"/>
            </a:ln>
            <a:effectLst/>
          </p:spPr>
          <p:txBody>
            <a:bodyPr vert="horz" wrap="square" lIns="0" tIns="45682" rIns="0" bIns="45682" numCol="1" rtlCol="0" anchor="ctr" anchorCtr="0" compatLnSpc="1">
              <a:prstTxWarp prst="textNoShape">
                <a:avLst/>
              </a:prstTxWarp>
            </a:bodyPr>
            <a:lstStyle/>
            <a:p>
              <a:pPr marL="0" marR="0" lvl="0" indent="0" algn="ctr" defTabSz="913213"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49"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pic>
          <p:nvPicPr>
            <p:cNvPr id="12" name="Picture 11">
              <a:extLst>
                <a:ext uri="{FF2B5EF4-FFF2-40B4-BE49-F238E27FC236}">
                  <a16:creationId xmlns:a16="http://schemas.microsoft.com/office/drawing/2014/main" id="{6FBA94F4-5666-2D46-8AAA-4521EE9BC05F}"/>
                </a:ext>
              </a:extLst>
            </p:cNvPr>
            <p:cNvPicPr>
              <a:picLocks noChangeAspect="1"/>
            </p:cNvPicPr>
            <p:nvPr/>
          </p:nvPicPr>
          <p:blipFill>
            <a:blip r:embed="rId7"/>
            <a:stretch>
              <a:fillRect/>
            </a:stretch>
          </p:blipFill>
          <p:spPr>
            <a:xfrm>
              <a:off x="6952733" y="2460954"/>
              <a:ext cx="274320" cy="232118"/>
            </a:xfrm>
            <a:prstGeom prst="rect">
              <a:avLst/>
            </a:prstGeom>
          </p:spPr>
        </p:pic>
      </p:grpSp>
      <p:grpSp>
        <p:nvGrpSpPr>
          <p:cNvPr id="26" name="Group 25">
            <a:extLst>
              <a:ext uri="{FF2B5EF4-FFF2-40B4-BE49-F238E27FC236}">
                <a16:creationId xmlns:a16="http://schemas.microsoft.com/office/drawing/2014/main" id="{07938E86-96E7-46A5-9C2A-33B3558640C1}"/>
              </a:ext>
            </a:extLst>
          </p:cNvPr>
          <p:cNvGrpSpPr/>
          <p:nvPr/>
        </p:nvGrpSpPr>
        <p:grpSpPr>
          <a:xfrm>
            <a:off x="7892012" y="2304603"/>
            <a:ext cx="1371600" cy="3744721"/>
            <a:chOff x="7892012" y="2304603"/>
            <a:chExt cx="1371600" cy="3744721"/>
          </a:xfrm>
        </p:grpSpPr>
        <p:sp>
          <p:nvSpPr>
            <p:cNvPr id="25" name="Rounded Rectangle 24">
              <a:extLst>
                <a:ext uri="{FF2B5EF4-FFF2-40B4-BE49-F238E27FC236}">
                  <a16:creationId xmlns:a16="http://schemas.microsoft.com/office/drawing/2014/main" id="{E73EE996-F08E-3A40-AAD1-4745F6E198C1}"/>
                </a:ext>
              </a:extLst>
            </p:cNvPr>
            <p:cNvSpPr/>
            <p:nvPr/>
          </p:nvSpPr>
          <p:spPr>
            <a:xfrm>
              <a:off x="7892012" y="2587268"/>
              <a:ext cx="1371600" cy="346205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0" i="0" dirty="0">
                  <a:latin typeface="Segoe UI" panose="020B0502040204020203" pitchFamily="34" charset="0"/>
                  <a:cs typeface="Segoe UI" panose="020B0502040204020203" pitchFamily="34" charset="0"/>
                </a:rPr>
                <a:t>Digitize paper/ siloed processes</a:t>
              </a:r>
            </a:p>
          </p:txBody>
        </p:sp>
        <p:sp>
          <p:nvSpPr>
            <p:cNvPr id="36" name="Oval 35">
              <a:extLst>
                <a:ext uri="{FF2B5EF4-FFF2-40B4-BE49-F238E27FC236}">
                  <a16:creationId xmlns:a16="http://schemas.microsoft.com/office/drawing/2014/main" id="{CF43B1B4-CEE0-494C-A632-B71EBA6079BA}"/>
                </a:ext>
              </a:extLst>
            </p:cNvPr>
            <p:cNvSpPr>
              <a:spLocks noChangeAspect="1"/>
            </p:cNvSpPr>
            <p:nvPr/>
          </p:nvSpPr>
          <p:spPr bwMode="auto">
            <a:xfrm>
              <a:off x="8303492" y="2304603"/>
              <a:ext cx="548640" cy="548640"/>
            </a:xfrm>
            <a:prstGeom prst="ellipse">
              <a:avLst/>
            </a:prstGeom>
            <a:solidFill>
              <a:schemeClr val="tx2"/>
            </a:solidFill>
            <a:ln w="10795" cap="flat" cmpd="sng" algn="ctr">
              <a:noFill/>
              <a:prstDash val="solid"/>
              <a:headEnd type="none" w="med" len="med"/>
              <a:tailEnd type="none" w="med" len="med"/>
            </a:ln>
            <a:effectLst/>
          </p:spPr>
          <p:txBody>
            <a:bodyPr vert="horz" wrap="square" lIns="0" tIns="45682" rIns="0" bIns="45682" numCol="1" rtlCol="0" anchor="ctr" anchorCtr="0" compatLnSpc="1">
              <a:prstTxWarp prst="textNoShape">
                <a:avLst/>
              </a:prstTxWarp>
            </a:bodyPr>
            <a:lstStyle/>
            <a:p>
              <a:pPr marL="0" marR="0" lvl="0" indent="0" algn="ctr" defTabSz="913213"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49"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pic>
          <p:nvPicPr>
            <p:cNvPr id="13" name="Picture 12">
              <a:extLst>
                <a:ext uri="{FF2B5EF4-FFF2-40B4-BE49-F238E27FC236}">
                  <a16:creationId xmlns:a16="http://schemas.microsoft.com/office/drawing/2014/main" id="{AB808D07-C3B5-0B43-919A-F99F8340C88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440652" y="2471857"/>
              <a:ext cx="274320" cy="210311"/>
            </a:xfrm>
            <a:prstGeom prst="rect">
              <a:avLst/>
            </a:prstGeom>
          </p:spPr>
        </p:pic>
      </p:grpSp>
      <p:grpSp>
        <p:nvGrpSpPr>
          <p:cNvPr id="27" name="Group 26">
            <a:extLst>
              <a:ext uri="{FF2B5EF4-FFF2-40B4-BE49-F238E27FC236}">
                <a16:creationId xmlns:a16="http://schemas.microsoft.com/office/drawing/2014/main" id="{1C70B001-0C96-654E-A042-5F94DC02DB89}"/>
              </a:ext>
            </a:extLst>
          </p:cNvPr>
          <p:cNvGrpSpPr/>
          <p:nvPr/>
        </p:nvGrpSpPr>
        <p:grpSpPr>
          <a:xfrm>
            <a:off x="9378565" y="1284601"/>
            <a:ext cx="1371600" cy="4764723"/>
            <a:chOff x="9378565" y="1323101"/>
            <a:chExt cx="1371600" cy="4764723"/>
          </a:xfrm>
        </p:grpSpPr>
        <p:sp>
          <p:nvSpPr>
            <p:cNvPr id="30" name="Rounded Rectangle 29">
              <a:extLst>
                <a:ext uri="{FF2B5EF4-FFF2-40B4-BE49-F238E27FC236}">
                  <a16:creationId xmlns:a16="http://schemas.microsoft.com/office/drawing/2014/main" id="{06730D29-25A4-BF49-A658-51EBA4727361}"/>
                </a:ext>
              </a:extLst>
            </p:cNvPr>
            <p:cNvSpPr/>
            <p:nvPr/>
          </p:nvSpPr>
          <p:spPr>
            <a:xfrm>
              <a:off x="9378565" y="1574152"/>
              <a:ext cx="1371600" cy="451367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0" i="0" dirty="0">
                  <a:latin typeface="Segoe UI" panose="020B0502040204020203" pitchFamily="34" charset="0"/>
                  <a:cs typeface="Segoe UI" panose="020B0502040204020203" pitchFamily="34" charset="0"/>
                </a:rPr>
                <a:t>Modernize legacy apps</a:t>
              </a:r>
            </a:p>
          </p:txBody>
        </p:sp>
        <p:sp>
          <p:nvSpPr>
            <p:cNvPr id="37" name="Oval 36">
              <a:extLst>
                <a:ext uri="{FF2B5EF4-FFF2-40B4-BE49-F238E27FC236}">
                  <a16:creationId xmlns:a16="http://schemas.microsoft.com/office/drawing/2014/main" id="{5DA7E757-B45B-FA4E-BB7F-BF0E26CB3E41}"/>
                </a:ext>
              </a:extLst>
            </p:cNvPr>
            <p:cNvSpPr>
              <a:spLocks noChangeAspect="1"/>
            </p:cNvSpPr>
            <p:nvPr/>
          </p:nvSpPr>
          <p:spPr bwMode="auto">
            <a:xfrm>
              <a:off x="9790045" y="1323101"/>
              <a:ext cx="548640" cy="548640"/>
            </a:xfrm>
            <a:prstGeom prst="ellipse">
              <a:avLst/>
            </a:prstGeom>
            <a:solidFill>
              <a:schemeClr val="tx2"/>
            </a:solidFill>
            <a:ln w="10795" cap="flat" cmpd="sng" algn="ctr">
              <a:noFill/>
              <a:prstDash val="solid"/>
              <a:headEnd type="none" w="med" len="med"/>
              <a:tailEnd type="none" w="med" len="med"/>
            </a:ln>
            <a:effectLst/>
          </p:spPr>
          <p:txBody>
            <a:bodyPr vert="horz" wrap="square" lIns="0" tIns="45682" rIns="0" bIns="45682" numCol="1" rtlCol="0" anchor="ctr" anchorCtr="0" compatLnSpc="1">
              <a:prstTxWarp prst="textNoShape">
                <a:avLst/>
              </a:prstTxWarp>
            </a:bodyPr>
            <a:lstStyle/>
            <a:p>
              <a:pPr marL="0" marR="0" lvl="0" indent="0" algn="ctr" defTabSz="913213"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49"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pic>
          <p:nvPicPr>
            <p:cNvPr id="14" name="Picture 13">
              <a:extLst>
                <a:ext uri="{FF2B5EF4-FFF2-40B4-BE49-F238E27FC236}">
                  <a16:creationId xmlns:a16="http://schemas.microsoft.com/office/drawing/2014/main" id="{88C6FD4E-E078-2744-B0E0-97720CC83CAE}"/>
                </a:ext>
              </a:extLst>
            </p:cNvPr>
            <p:cNvPicPr>
              <a:picLocks noChangeAspect="1"/>
            </p:cNvPicPr>
            <p:nvPr/>
          </p:nvPicPr>
          <p:blipFill>
            <a:blip r:embed="rId9"/>
            <a:stretch>
              <a:fillRect/>
            </a:stretch>
          </p:blipFill>
          <p:spPr>
            <a:xfrm>
              <a:off x="9927205" y="1460261"/>
              <a:ext cx="274320" cy="274320"/>
            </a:xfrm>
            <a:prstGeom prst="rect">
              <a:avLst/>
            </a:prstGeom>
          </p:spPr>
        </p:pic>
      </p:grpSp>
    </p:spTree>
    <p:extLst>
      <p:ext uri="{BB962C8B-B14F-4D97-AF65-F5344CB8AC3E}">
        <p14:creationId xmlns:p14="http://schemas.microsoft.com/office/powerpoint/2010/main" val="255443516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13369" y="775098"/>
            <a:ext cx="7537116" cy="249299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7030A0"/>
                </a:solidFill>
                <a:effectLst/>
                <a:uLnTx/>
                <a:uFillTx/>
                <a:latin typeface="Calibri" panose="020F0502020204030204"/>
                <a:ea typeface="+mn-ea"/>
                <a:cs typeface="+mn-cs"/>
              </a:rPr>
              <a:t>Demo</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5400" b="1" dirty="0">
              <a:solidFill>
                <a:srgbClr val="7030A0"/>
              </a:solidFill>
              <a:latin typeface="Calibri" panose="020F0502020204030204"/>
            </a:endParaRPr>
          </a:p>
          <a:p>
            <a:pPr marL="800100" lvl="1" indent="-342900" defTabSz="1955800">
              <a:spcBef>
                <a:spcPct val="0"/>
              </a:spcBef>
              <a:spcAft>
                <a:spcPct val="35000"/>
              </a:spcAft>
              <a:buFont typeface="Wingdings" panose="05000000000000000000" pitchFamily="2" charset="2"/>
              <a:buChar char="ü"/>
              <a:defRPr/>
            </a:pPr>
            <a:r>
              <a:rPr lang="en-US" sz="2400" dirty="0"/>
              <a:t>How to embed Power Platform in Dynamics 365 for Finance and Supply Chain</a:t>
            </a:r>
            <a:endParaRPr lang="en-IN" sz="2400" dirty="0"/>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7523747" y="0"/>
            <a:ext cx="6915150" cy="6858000"/>
          </a:xfrm>
          <a:prstGeom prst="rect">
            <a:avLst/>
          </a:prstGeom>
        </p:spPr>
      </p:pic>
    </p:spTree>
    <p:extLst>
      <p:ext uri="{BB962C8B-B14F-4D97-AF65-F5344CB8AC3E}">
        <p14:creationId xmlns:p14="http://schemas.microsoft.com/office/powerpoint/2010/main" val="45058113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6030705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02152" y="552478"/>
            <a:ext cx="4060141" cy="397545"/>
          </a:xfrm>
        </p:spPr>
        <p:txBody>
          <a:bodyPr/>
          <a:lstStyle/>
          <a:p>
            <a:r>
              <a:rPr lang="en-US" sz="3200" dirty="0">
                <a:solidFill>
                  <a:srgbClr val="7030A0"/>
                </a:solidFill>
              </a:rPr>
              <a:t>Agenda</a:t>
            </a:r>
          </a:p>
        </p:txBody>
      </p:sp>
      <p:sp>
        <p:nvSpPr>
          <p:cNvPr id="24" name="Rectangle 23">
            <a:extLst>
              <a:ext uri="{FF2B5EF4-FFF2-40B4-BE49-F238E27FC236}">
                <a16:creationId xmlns:a16="http://schemas.microsoft.com/office/drawing/2014/main" id="{5442E03D-8429-4041-ADF2-C50B8C8F24A4}"/>
              </a:ext>
            </a:extLst>
          </p:cNvPr>
          <p:cNvSpPr/>
          <p:nvPr/>
        </p:nvSpPr>
        <p:spPr>
          <a:xfrm>
            <a:off x="873457" y="1152692"/>
            <a:ext cx="5222543" cy="570530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342900" indent="-342900" defTabSz="1955800">
              <a:spcBef>
                <a:spcPct val="0"/>
              </a:spcBef>
              <a:spcAft>
                <a:spcPct val="35000"/>
              </a:spcAft>
              <a:buFont typeface="Wingdings" panose="05000000000000000000" pitchFamily="2" charset="2"/>
              <a:buChar char="ü"/>
              <a:defRPr/>
            </a:pPr>
            <a:r>
              <a:rPr lang="en-US" sz="2400" dirty="0">
                <a:solidFill>
                  <a:schemeClr val="tx1"/>
                </a:solidFill>
              </a:rPr>
              <a:t>Introduction</a:t>
            </a:r>
          </a:p>
          <a:p>
            <a:pPr marL="342900" indent="-342900" defTabSz="1955800">
              <a:spcBef>
                <a:spcPct val="0"/>
              </a:spcBef>
              <a:spcAft>
                <a:spcPct val="35000"/>
              </a:spcAft>
              <a:buFont typeface="Wingdings" panose="05000000000000000000" pitchFamily="2" charset="2"/>
              <a:buChar char="ü"/>
              <a:defRPr/>
            </a:pPr>
            <a:r>
              <a:rPr lang="en-US" sz="2400" dirty="0">
                <a:solidFill>
                  <a:schemeClr val="tx1"/>
                </a:solidFill>
              </a:rPr>
              <a:t>Technology Modernization</a:t>
            </a:r>
          </a:p>
          <a:p>
            <a:pPr marL="342900" indent="-342900" defTabSz="1955800">
              <a:spcBef>
                <a:spcPct val="0"/>
              </a:spcBef>
              <a:spcAft>
                <a:spcPct val="35000"/>
              </a:spcAft>
              <a:buFont typeface="Wingdings" panose="05000000000000000000" pitchFamily="2" charset="2"/>
              <a:buChar char="ü"/>
              <a:defRPr/>
            </a:pPr>
            <a:r>
              <a:rPr lang="en-US" sz="2400" dirty="0">
                <a:solidFill>
                  <a:schemeClr val="tx1"/>
                </a:solidFill>
              </a:rPr>
              <a:t>Modern Finance</a:t>
            </a:r>
          </a:p>
          <a:p>
            <a:pPr marL="342900" indent="-342900" defTabSz="1955800">
              <a:spcBef>
                <a:spcPct val="0"/>
              </a:spcBef>
              <a:spcAft>
                <a:spcPct val="35000"/>
              </a:spcAft>
              <a:buFont typeface="Wingdings" panose="05000000000000000000" pitchFamily="2" charset="2"/>
              <a:buChar char="ü"/>
              <a:defRPr/>
            </a:pPr>
            <a:r>
              <a:rPr lang="en-US" sz="2400" dirty="0">
                <a:solidFill>
                  <a:schemeClr val="tx1"/>
                </a:solidFill>
              </a:rPr>
              <a:t>Supporting modern supply chain management</a:t>
            </a:r>
          </a:p>
          <a:p>
            <a:pPr marL="342900" lvl="0" indent="-342900" defTabSz="1955800">
              <a:spcBef>
                <a:spcPct val="0"/>
              </a:spcBef>
              <a:spcAft>
                <a:spcPct val="35000"/>
              </a:spcAft>
              <a:buFont typeface="Wingdings" panose="05000000000000000000" pitchFamily="2" charset="2"/>
              <a:buChar char="ü"/>
              <a:defRPr/>
            </a:pPr>
            <a:r>
              <a:rPr lang="en-IN" sz="2400" dirty="0">
                <a:solidFill>
                  <a:schemeClr val="tx1"/>
                </a:solidFill>
              </a:rPr>
              <a:t>Demo</a:t>
            </a:r>
          </a:p>
          <a:p>
            <a:pPr marL="800100" lvl="1" indent="-342900" defTabSz="1955800">
              <a:spcBef>
                <a:spcPct val="0"/>
              </a:spcBef>
              <a:spcAft>
                <a:spcPct val="35000"/>
              </a:spcAft>
              <a:buFont typeface="Wingdings" panose="05000000000000000000" pitchFamily="2" charset="2"/>
              <a:buChar char="ü"/>
              <a:defRPr/>
            </a:pPr>
            <a:r>
              <a:rPr lang="en-US" sz="2400" dirty="0">
                <a:solidFill>
                  <a:schemeClr val="tx1"/>
                </a:solidFill>
              </a:rPr>
              <a:t>How to embed Power Platform in Dynamics 365 for Finance and Supply Chain</a:t>
            </a:r>
            <a:endParaRPr lang="en-IN" sz="2400" dirty="0">
              <a:solidFill>
                <a:schemeClr val="tx1"/>
              </a:solidFill>
            </a:endParaRPr>
          </a:p>
        </p:txBody>
      </p:sp>
      <p:sp>
        <p:nvSpPr>
          <p:cNvPr id="16" name="Oval 15">
            <a:extLst>
              <a:ext uri="{FF2B5EF4-FFF2-40B4-BE49-F238E27FC236}">
                <a16:creationId xmlns:a16="http://schemas.microsoft.com/office/drawing/2014/main" id="{FA231835-8FF7-4A9C-82B8-CE56A4437FE9}"/>
              </a:ext>
              <a:ext uri="{C183D7F6-B498-43B3-948B-1728B52AA6E4}">
                <adec:decorative xmlns:adec="http://schemas.microsoft.com/office/drawing/2017/decorative" val="1"/>
              </a:ext>
            </a:extLst>
          </p:cNvPr>
          <p:cNvSpPr/>
          <p:nvPr/>
        </p:nvSpPr>
        <p:spPr bwMode="auto">
          <a:xfrm>
            <a:off x="482916" y="318024"/>
            <a:ext cx="834670" cy="83466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list_4" title="Icon of a checklist">
            <a:extLst>
              <a:ext uri="{FF2B5EF4-FFF2-40B4-BE49-F238E27FC236}">
                <a16:creationId xmlns:a16="http://schemas.microsoft.com/office/drawing/2014/main" id="{989B91EC-A5DE-48E2-AD79-8E8E857264F3}"/>
              </a:ext>
            </a:extLst>
          </p:cNvPr>
          <p:cNvSpPr>
            <a:spLocks noChangeAspect="1" noEditPoints="1"/>
          </p:cNvSpPr>
          <p:nvPr/>
        </p:nvSpPr>
        <p:spPr bwMode="auto">
          <a:xfrm>
            <a:off x="629675" y="552478"/>
            <a:ext cx="541153" cy="36576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9050" cap="flat">
            <a:solidFill>
              <a:srgbClr val="4C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30A0"/>
              </a:solidFill>
              <a:effectLst/>
              <a:uLnTx/>
              <a:uFillTx/>
              <a:latin typeface="Segoe UI"/>
              <a:ea typeface="+mn-ea"/>
              <a:cs typeface="+mn-cs"/>
            </a:endParaRPr>
          </a:p>
        </p:txBody>
      </p:sp>
      <p:pic>
        <p:nvPicPr>
          <p:cNvPr id="20" name="Picture 19" descr="A group of people sitting at a table&#10;&#10;Description automatically generated">
            <a:extLst>
              <a:ext uri="{FF2B5EF4-FFF2-40B4-BE49-F238E27FC236}">
                <a16:creationId xmlns:a16="http://schemas.microsoft.com/office/drawing/2014/main" id="{17E7ACF8-9755-4938-935F-40DDF6D8BAD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548511" y="0"/>
            <a:ext cx="5643488" cy="6858000"/>
          </a:xfrm>
          <a:prstGeom prst="rect">
            <a:avLst/>
          </a:prstGeom>
        </p:spPr>
      </p:pic>
      <p:sp>
        <p:nvSpPr>
          <p:cNvPr id="2" name="Rectangle 1">
            <a:extLst>
              <a:ext uri="{FF2B5EF4-FFF2-40B4-BE49-F238E27FC236}">
                <a16:creationId xmlns:a16="http://schemas.microsoft.com/office/drawing/2014/main" id="{1F7A16A1-BC88-4847-A8CA-38EA9D4BFF22}"/>
              </a:ext>
              <a:ext uri="{C183D7F6-B498-43B3-948B-1728B52AA6E4}">
                <adec:decorative xmlns:adec="http://schemas.microsoft.com/office/drawing/2017/decorative" val="1"/>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0130916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CD131F4-80E5-42AE-AB98-20F6F845394C}"/>
              </a:ext>
            </a:extLst>
          </p:cNvPr>
          <p:cNvGrpSpPr/>
          <p:nvPr/>
        </p:nvGrpSpPr>
        <p:grpSpPr>
          <a:xfrm>
            <a:off x="0" y="-1"/>
            <a:ext cx="12192000" cy="6858001"/>
            <a:chOff x="1642500" y="1555023"/>
            <a:chExt cx="12192000" cy="6858001"/>
          </a:xfrm>
        </p:grpSpPr>
        <p:pic>
          <p:nvPicPr>
            <p:cNvPr id="8" name="Picture 7" descr="A group of people sitting at a desk in front of a computer&#10;&#10;Description automatically generated">
              <a:extLst>
                <a:ext uri="{FF2B5EF4-FFF2-40B4-BE49-F238E27FC236}">
                  <a16:creationId xmlns:a16="http://schemas.microsoft.com/office/drawing/2014/main" id="{DB4EF682-00D2-46F0-AF99-BFC6508F50D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642500" y="1555023"/>
              <a:ext cx="12192000" cy="6858001"/>
            </a:xfrm>
            <a:prstGeom prst="rect">
              <a:avLst/>
            </a:prstGeom>
          </p:spPr>
        </p:pic>
        <p:sp>
          <p:nvSpPr>
            <p:cNvPr id="66" name="Rectangle 65">
              <a:extLst>
                <a:ext uri="{FF2B5EF4-FFF2-40B4-BE49-F238E27FC236}">
                  <a16:creationId xmlns:a16="http://schemas.microsoft.com/office/drawing/2014/main" id="{67BFE770-F575-4E05-A2EE-4BB146C195A8}"/>
                </a:ext>
              </a:extLst>
            </p:cNvPr>
            <p:cNvSpPr/>
            <p:nvPr/>
          </p:nvSpPr>
          <p:spPr bwMode="auto">
            <a:xfrm>
              <a:off x="1642500" y="1555024"/>
              <a:ext cx="12192000" cy="6858000"/>
            </a:xfrm>
            <a:prstGeom prst="rect">
              <a:avLst/>
            </a:prstGeom>
            <a:solidFill>
              <a:schemeClr val="tx1">
                <a:alpha val="6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 name="Title 6"/>
          <p:cNvSpPr>
            <a:spLocks noGrp="1"/>
          </p:cNvSpPr>
          <p:nvPr>
            <p:ph type="title"/>
          </p:nvPr>
        </p:nvSpPr>
        <p:spPr/>
        <p:txBody>
          <a:bodyPr/>
          <a:lstStyle/>
          <a:p>
            <a:r>
              <a:rPr lang="en-US" sz="2800" dirty="0">
                <a:solidFill>
                  <a:schemeClr val="bg1"/>
                </a:solidFill>
              </a:rPr>
              <a:t>Trending technology advancements</a:t>
            </a:r>
          </a:p>
        </p:txBody>
      </p:sp>
      <p:sp>
        <p:nvSpPr>
          <p:cNvPr id="34" name="Rectangle 33">
            <a:extLst>
              <a:ext uri="{FF2B5EF4-FFF2-40B4-BE49-F238E27FC236}">
                <a16:creationId xmlns:a16="http://schemas.microsoft.com/office/drawing/2014/main" id="{08330E2A-3E89-4322-8CEF-0D3A868F52F1}"/>
              </a:ext>
            </a:extLst>
          </p:cNvPr>
          <p:cNvSpPr/>
          <p:nvPr/>
        </p:nvSpPr>
        <p:spPr bwMode="auto">
          <a:xfrm>
            <a:off x="11462795" y="3741729"/>
            <a:ext cx="729205" cy="311627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8272"/>
                </a:solidFill>
                <a:effectLst/>
                <a:uLnTx/>
                <a:uFillTx/>
                <a:latin typeface="Segoe UI Semibold"/>
                <a:ea typeface="+mn-ea"/>
                <a:cs typeface="Segoe UI" pitchFamily="34" charset="0"/>
              </a:rPr>
              <a:t>Supply Chain Management</a:t>
            </a:r>
          </a:p>
        </p:txBody>
      </p:sp>
      <p:grpSp>
        <p:nvGrpSpPr>
          <p:cNvPr id="40" name="Group 39">
            <a:extLst>
              <a:ext uri="{FF2B5EF4-FFF2-40B4-BE49-F238E27FC236}">
                <a16:creationId xmlns:a16="http://schemas.microsoft.com/office/drawing/2014/main" id="{CFB53673-3883-43B3-86DA-E102D123E6A2}"/>
              </a:ext>
            </a:extLst>
          </p:cNvPr>
          <p:cNvGrpSpPr/>
          <p:nvPr/>
        </p:nvGrpSpPr>
        <p:grpSpPr>
          <a:xfrm>
            <a:off x="0" y="1169054"/>
            <a:ext cx="12192000" cy="2572694"/>
            <a:chOff x="0" y="1169054"/>
            <a:chExt cx="12192000" cy="2572694"/>
          </a:xfrm>
        </p:grpSpPr>
        <p:sp>
          <p:nvSpPr>
            <p:cNvPr id="13" name="Rectangle 12">
              <a:extLst>
                <a:ext uri="{FF2B5EF4-FFF2-40B4-BE49-F238E27FC236}">
                  <a16:creationId xmlns:a16="http://schemas.microsoft.com/office/drawing/2014/main" id="{23CCF55E-AA02-4C17-943F-F90273DFAE7E}"/>
                </a:ext>
              </a:extLst>
            </p:cNvPr>
            <p:cNvSpPr/>
            <p:nvPr/>
          </p:nvSpPr>
          <p:spPr bwMode="auto">
            <a:xfrm>
              <a:off x="0" y="1169054"/>
              <a:ext cx="729205" cy="25726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rPr>
                <a:t>Modern Finance</a:t>
              </a:r>
            </a:p>
          </p:txBody>
        </p:sp>
        <p:cxnSp>
          <p:nvCxnSpPr>
            <p:cNvPr id="10" name="Straight Connector 9">
              <a:extLst>
                <a:ext uri="{FF2B5EF4-FFF2-40B4-BE49-F238E27FC236}">
                  <a16:creationId xmlns:a16="http://schemas.microsoft.com/office/drawing/2014/main" id="{851CD495-9DD3-4ED4-B735-18387710B5D5}"/>
                </a:ext>
              </a:extLst>
            </p:cNvPr>
            <p:cNvCxnSpPr>
              <a:cxnSpLocks/>
            </p:cNvCxnSpPr>
            <p:nvPr/>
          </p:nvCxnSpPr>
          <p:spPr>
            <a:xfrm>
              <a:off x="0" y="3741748"/>
              <a:ext cx="12192000"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E4836C26-AC28-40C4-A2E4-5274F82480FC}"/>
              </a:ext>
            </a:extLst>
          </p:cNvPr>
          <p:cNvGrpSpPr/>
          <p:nvPr/>
        </p:nvGrpSpPr>
        <p:grpSpPr>
          <a:xfrm>
            <a:off x="527050" y="1409469"/>
            <a:ext cx="10837067" cy="2027835"/>
            <a:chOff x="527050" y="1409469"/>
            <a:chExt cx="10837067" cy="2027835"/>
          </a:xfrm>
        </p:grpSpPr>
        <p:sp>
          <p:nvSpPr>
            <p:cNvPr id="23" name="Rectangle 22">
              <a:extLst>
                <a:ext uri="{FF2B5EF4-FFF2-40B4-BE49-F238E27FC236}">
                  <a16:creationId xmlns:a16="http://schemas.microsoft.com/office/drawing/2014/main" id="{57BEFB07-9D47-4356-8727-5282D28650B2}"/>
                </a:ext>
              </a:extLst>
            </p:cNvPr>
            <p:cNvSpPr/>
            <p:nvPr/>
          </p:nvSpPr>
          <p:spPr bwMode="auto">
            <a:xfrm>
              <a:off x="527050" y="2357313"/>
              <a:ext cx="3258206" cy="10687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Machine learning to analyze payments</a:t>
              </a:r>
            </a:p>
          </p:txBody>
        </p:sp>
        <p:cxnSp>
          <p:nvCxnSpPr>
            <p:cNvPr id="21" name="Straight Connector 20">
              <a:extLst>
                <a:ext uri="{FF2B5EF4-FFF2-40B4-BE49-F238E27FC236}">
                  <a16:creationId xmlns:a16="http://schemas.microsoft.com/office/drawing/2014/main" id="{1E2CA15F-956A-48C8-BA20-91F8CF7C9242}"/>
                </a:ext>
              </a:extLst>
            </p:cNvPr>
            <p:cNvCxnSpPr/>
            <p:nvPr/>
          </p:nvCxnSpPr>
          <p:spPr>
            <a:xfrm>
              <a:off x="1642500" y="2250534"/>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CBCE22B7-D372-491F-BE79-D6B855D1EE92}"/>
                </a:ext>
              </a:extLst>
            </p:cNvPr>
            <p:cNvSpPr/>
            <p:nvPr/>
          </p:nvSpPr>
          <p:spPr bwMode="auto">
            <a:xfrm>
              <a:off x="4316480" y="2303523"/>
              <a:ext cx="3258206" cy="10687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Integration of existing applications with cloud services</a:t>
              </a:r>
            </a:p>
          </p:txBody>
        </p:sp>
        <p:cxnSp>
          <p:nvCxnSpPr>
            <p:cNvPr id="22" name="Straight Connector 21">
              <a:extLst>
                <a:ext uri="{FF2B5EF4-FFF2-40B4-BE49-F238E27FC236}">
                  <a16:creationId xmlns:a16="http://schemas.microsoft.com/office/drawing/2014/main" id="{C17AEEEA-BD3A-485C-A896-238804380FEE}"/>
                </a:ext>
              </a:extLst>
            </p:cNvPr>
            <p:cNvCxnSpPr/>
            <p:nvPr/>
          </p:nvCxnSpPr>
          <p:spPr>
            <a:xfrm>
              <a:off x="5431930" y="2196744"/>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CC38D941-6E36-40B4-9C60-DFF1B3D084CE}"/>
                </a:ext>
              </a:extLst>
            </p:cNvPr>
            <p:cNvSpPr/>
            <p:nvPr/>
          </p:nvSpPr>
          <p:spPr bwMode="auto">
            <a:xfrm>
              <a:off x="8105911" y="2368455"/>
              <a:ext cx="3258206" cy="10688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Omnichannel customer experience</a:t>
              </a:r>
            </a:p>
          </p:txBody>
        </p:sp>
        <p:cxnSp>
          <p:nvCxnSpPr>
            <p:cNvPr id="27" name="Straight Connector 26">
              <a:extLst>
                <a:ext uri="{FF2B5EF4-FFF2-40B4-BE49-F238E27FC236}">
                  <a16:creationId xmlns:a16="http://schemas.microsoft.com/office/drawing/2014/main" id="{D952ED20-510E-4FAA-B6E8-74DFB3F50FE4}"/>
                </a:ext>
              </a:extLst>
            </p:cNvPr>
            <p:cNvCxnSpPr/>
            <p:nvPr/>
          </p:nvCxnSpPr>
          <p:spPr>
            <a:xfrm>
              <a:off x="9221361" y="2262246"/>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F9EF1394-E575-43FB-9DFB-B7F959832CD3}"/>
                </a:ext>
              </a:extLst>
            </p:cNvPr>
            <p:cNvGrpSpPr/>
            <p:nvPr/>
          </p:nvGrpSpPr>
          <p:grpSpPr>
            <a:xfrm>
              <a:off x="5443832" y="1417928"/>
              <a:ext cx="976827" cy="644234"/>
              <a:chOff x="3062219" y="2093987"/>
              <a:chExt cx="3795781" cy="2503380"/>
            </a:xfrm>
          </p:grpSpPr>
          <p:sp>
            <p:nvSpPr>
              <p:cNvPr id="112" name="Graphic 2">
                <a:extLst>
                  <a:ext uri="{FF2B5EF4-FFF2-40B4-BE49-F238E27FC236}">
                    <a16:creationId xmlns:a16="http://schemas.microsoft.com/office/drawing/2014/main" id="{F432563C-ADC8-4417-A25D-5391F53DC497}"/>
                  </a:ext>
                </a:extLst>
              </p:cNvPr>
              <p:cNvSpPr/>
              <p:nvPr/>
            </p:nvSpPr>
            <p:spPr>
              <a:xfrm>
                <a:off x="3062219" y="2093987"/>
                <a:ext cx="3795781" cy="2503380"/>
              </a:xfrm>
              <a:custGeom>
                <a:avLst/>
                <a:gdLst>
                  <a:gd name="connsiteX0" fmla="*/ 3468273 w 4039674"/>
                  <a:gd name="connsiteY0" fmla="*/ 1227587 h 2664231"/>
                  <a:gd name="connsiteX1" fmla="*/ 3509448 w 4039674"/>
                  <a:gd name="connsiteY1" fmla="*/ 890885 h 2664231"/>
                  <a:gd name="connsiteX2" fmla="*/ 2539957 w 4039674"/>
                  <a:gd name="connsiteY2" fmla="*/ 0 h 2664231"/>
                  <a:gd name="connsiteX3" fmla="*/ 2532470 w 4039674"/>
                  <a:gd name="connsiteY3" fmla="*/ 0 h 2664231"/>
                  <a:gd name="connsiteX4" fmla="*/ 1617629 w 4039674"/>
                  <a:gd name="connsiteY4" fmla="*/ 607898 h 2664231"/>
                  <a:gd name="connsiteX5" fmla="*/ 1078981 w 4039674"/>
                  <a:gd name="connsiteY5" fmla="*/ 450870 h 2664231"/>
                  <a:gd name="connsiteX6" fmla="*/ 457795 w 4039674"/>
                  <a:gd name="connsiteY6" fmla="*/ 925322 h 2664231"/>
                  <a:gd name="connsiteX7" fmla="*/ 425042 w 4039674"/>
                  <a:gd name="connsiteY7" fmla="*/ 1279617 h 2664231"/>
                  <a:gd name="connsiteX8" fmla="*/ 0 w 4039674"/>
                  <a:gd name="connsiteY8" fmla="*/ 1934492 h 2664231"/>
                  <a:gd name="connsiteX9" fmla="*/ 757439 w 4039674"/>
                  <a:gd name="connsiteY9" fmla="*/ 2632227 h 2664231"/>
                  <a:gd name="connsiteX10" fmla="*/ 1050345 w 4039674"/>
                  <a:gd name="connsiteY10" fmla="*/ 2632227 h 2664231"/>
                  <a:gd name="connsiteX11" fmla="*/ 2980346 w 4039674"/>
                  <a:gd name="connsiteY11" fmla="*/ 2664232 h 2664231"/>
                  <a:gd name="connsiteX12" fmla="*/ 3070931 w 4039674"/>
                  <a:gd name="connsiteY12" fmla="*/ 2664232 h 2664231"/>
                  <a:gd name="connsiteX13" fmla="*/ 4039674 w 4039674"/>
                  <a:gd name="connsiteY13" fmla="*/ 1934680 h 2664231"/>
                  <a:gd name="connsiteX14" fmla="*/ 3468273 w 4039674"/>
                  <a:gd name="connsiteY14" fmla="*/ 1227587 h 2664231"/>
                  <a:gd name="connsiteX15" fmla="*/ 3468273 w 4039674"/>
                  <a:gd name="connsiteY15" fmla="*/ 1227587 h 2664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39674" h="2664231">
                    <a:moveTo>
                      <a:pt x="3468273" y="1227587"/>
                    </a:moveTo>
                    <a:cubicBezTo>
                      <a:pt x="3502711" y="1119221"/>
                      <a:pt x="3517122" y="1006737"/>
                      <a:pt x="3509448" y="890885"/>
                    </a:cubicBezTo>
                    <a:cubicBezTo>
                      <a:pt x="3480064" y="403893"/>
                      <a:pt x="3044916" y="4305"/>
                      <a:pt x="2539957" y="0"/>
                    </a:cubicBezTo>
                    <a:lnTo>
                      <a:pt x="2532470" y="0"/>
                    </a:lnTo>
                    <a:cubicBezTo>
                      <a:pt x="2125209" y="0"/>
                      <a:pt x="1761556" y="248549"/>
                      <a:pt x="1617629" y="607898"/>
                    </a:cubicBezTo>
                    <a:cubicBezTo>
                      <a:pt x="1468649" y="490361"/>
                      <a:pt x="1275874" y="432341"/>
                      <a:pt x="1078981" y="450870"/>
                    </a:cubicBezTo>
                    <a:cubicBezTo>
                      <a:pt x="799550" y="476885"/>
                      <a:pt x="555493" y="663297"/>
                      <a:pt x="457795" y="925322"/>
                    </a:cubicBezTo>
                    <a:cubicBezTo>
                      <a:pt x="414935" y="1041175"/>
                      <a:pt x="403144" y="1159647"/>
                      <a:pt x="425042" y="1279617"/>
                    </a:cubicBezTo>
                    <a:cubicBezTo>
                      <a:pt x="167509" y="1399587"/>
                      <a:pt x="0" y="1654874"/>
                      <a:pt x="0" y="1934492"/>
                    </a:cubicBezTo>
                    <a:cubicBezTo>
                      <a:pt x="0" y="2339134"/>
                      <a:pt x="318173" y="2632227"/>
                      <a:pt x="757439" y="2632227"/>
                    </a:cubicBezTo>
                    <a:lnTo>
                      <a:pt x="1050345" y="2632227"/>
                    </a:lnTo>
                    <a:lnTo>
                      <a:pt x="2980346" y="2664232"/>
                    </a:lnTo>
                    <a:lnTo>
                      <a:pt x="3070931" y="2664232"/>
                    </a:lnTo>
                    <a:cubicBezTo>
                      <a:pt x="3929437" y="2664232"/>
                      <a:pt x="4039674" y="2274563"/>
                      <a:pt x="4039674" y="1934680"/>
                    </a:cubicBezTo>
                    <a:cubicBezTo>
                      <a:pt x="4039862" y="1593673"/>
                      <a:pt x="3800858" y="1305633"/>
                      <a:pt x="3468273" y="1227587"/>
                    </a:cubicBezTo>
                    <a:lnTo>
                      <a:pt x="3468273" y="1227587"/>
                    </a:lnTo>
                    <a:close/>
                  </a:path>
                </a:pathLst>
              </a:custGeom>
              <a:solidFill>
                <a:schemeClr val="bg1"/>
              </a:solidFill>
              <a:ln w="18697" cap="flat">
                <a:noFill/>
                <a:prstDash val="solid"/>
                <a:miter/>
              </a:ln>
            </p:spPr>
            <p:txBody>
              <a:bodyPr rtlCol="0" anchor="ctr"/>
              <a:lstStyle/>
              <a:p>
                <a:endParaRPr lang="en-IN"/>
              </a:p>
            </p:txBody>
          </p:sp>
          <p:grpSp>
            <p:nvGrpSpPr>
              <p:cNvPr id="113" name="Group 112">
                <a:extLst>
                  <a:ext uri="{FF2B5EF4-FFF2-40B4-BE49-F238E27FC236}">
                    <a16:creationId xmlns:a16="http://schemas.microsoft.com/office/drawing/2014/main" id="{FDAB49BB-A0FA-4560-8A64-54C3039075AF}"/>
                  </a:ext>
                </a:extLst>
              </p:cNvPr>
              <p:cNvGrpSpPr/>
              <p:nvPr/>
            </p:nvGrpSpPr>
            <p:grpSpPr>
              <a:xfrm rot="1492007">
                <a:off x="3971982" y="2597371"/>
                <a:ext cx="1903089" cy="1914818"/>
                <a:chOff x="4038600" y="3429000"/>
                <a:chExt cx="1903089" cy="1914818"/>
              </a:xfrm>
            </p:grpSpPr>
            <p:sp>
              <p:nvSpPr>
                <p:cNvPr id="114" name="Freeform 14">
                  <a:extLst>
                    <a:ext uri="{FF2B5EF4-FFF2-40B4-BE49-F238E27FC236}">
                      <a16:creationId xmlns:a16="http://schemas.microsoft.com/office/drawing/2014/main" id="{AD765A9A-707C-4BAB-B86C-65EE082086DE}"/>
                    </a:ext>
                  </a:extLst>
                </p:cNvPr>
                <p:cNvSpPr>
                  <a:spLocks noEditPoints="1"/>
                </p:cNvSpPr>
                <p:nvPr/>
              </p:nvSpPr>
              <p:spPr bwMode="auto">
                <a:xfrm>
                  <a:off x="4038600" y="4075485"/>
                  <a:ext cx="1267157" cy="1268333"/>
                </a:xfrm>
                <a:custGeom>
                  <a:avLst/>
                  <a:gdLst>
                    <a:gd name="T0" fmla="*/ 1042 w 1080"/>
                    <a:gd name="T1" fmla="*/ 294 h 1081"/>
                    <a:gd name="T2" fmla="*/ 960 w 1080"/>
                    <a:gd name="T3" fmla="*/ 268 h 1081"/>
                    <a:gd name="T4" fmla="*/ 858 w 1080"/>
                    <a:gd name="T5" fmla="*/ 222 h 1081"/>
                    <a:gd name="T6" fmla="*/ 814 w 1080"/>
                    <a:gd name="T7" fmla="*/ 142 h 1081"/>
                    <a:gd name="T8" fmla="*/ 818 w 1080"/>
                    <a:gd name="T9" fmla="*/ 54 h 1081"/>
                    <a:gd name="T10" fmla="*/ 686 w 1080"/>
                    <a:gd name="T11" fmla="*/ 0 h 1081"/>
                    <a:gd name="T12" fmla="*/ 606 w 1080"/>
                    <a:gd name="T13" fmla="*/ 76 h 1081"/>
                    <a:gd name="T14" fmla="*/ 516 w 1080"/>
                    <a:gd name="T15" fmla="*/ 88 h 1081"/>
                    <a:gd name="T16" fmla="*/ 418 w 1080"/>
                    <a:gd name="T17" fmla="*/ 36 h 1081"/>
                    <a:gd name="T18" fmla="*/ 324 w 1080"/>
                    <a:gd name="T19" fmla="*/ 22 h 1081"/>
                    <a:gd name="T20" fmla="*/ 268 w 1080"/>
                    <a:gd name="T21" fmla="*/ 98 h 1081"/>
                    <a:gd name="T22" fmla="*/ 236 w 1080"/>
                    <a:gd name="T23" fmla="*/ 204 h 1081"/>
                    <a:gd name="T24" fmla="*/ 162 w 1080"/>
                    <a:gd name="T25" fmla="*/ 258 h 1081"/>
                    <a:gd name="T26" fmla="*/ 54 w 1080"/>
                    <a:gd name="T27" fmla="*/ 262 h 1081"/>
                    <a:gd name="T28" fmla="*/ 0 w 1080"/>
                    <a:gd name="T29" fmla="*/ 394 h 1081"/>
                    <a:gd name="T30" fmla="*/ 64 w 1080"/>
                    <a:gd name="T31" fmla="*/ 452 h 1081"/>
                    <a:gd name="T32" fmla="*/ 88 w 1080"/>
                    <a:gd name="T33" fmla="*/ 540 h 1081"/>
                    <a:gd name="T34" fmla="*/ 50 w 1080"/>
                    <a:gd name="T35" fmla="*/ 646 h 1081"/>
                    <a:gd name="T36" fmla="*/ 10 w 1080"/>
                    <a:gd name="T37" fmla="*/ 723 h 1081"/>
                    <a:gd name="T38" fmla="*/ 76 w 1080"/>
                    <a:gd name="T39" fmla="*/ 813 h 1081"/>
                    <a:gd name="T40" fmla="*/ 184 w 1080"/>
                    <a:gd name="T41" fmla="*/ 831 h 1081"/>
                    <a:gd name="T42" fmla="*/ 248 w 1080"/>
                    <a:gd name="T43" fmla="*/ 897 h 1081"/>
                    <a:gd name="T44" fmla="*/ 266 w 1080"/>
                    <a:gd name="T45" fmla="*/ 1005 h 1081"/>
                    <a:gd name="T46" fmla="*/ 358 w 1080"/>
                    <a:gd name="T47" fmla="*/ 1071 h 1081"/>
                    <a:gd name="T48" fmla="*/ 434 w 1080"/>
                    <a:gd name="T49" fmla="*/ 1029 h 1081"/>
                    <a:gd name="T50" fmla="*/ 540 w 1080"/>
                    <a:gd name="T51" fmla="*/ 991 h 1081"/>
                    <a:gd name="T52" fmla="*/ 626 w 1080"/>
                    <a:gd name="T53" fmla="*/ 1017 h 1081"/>
                    <a:gd name="T54" fmla="*/ 686 w 1080"/>
                    <a:gd name="T55" fmla="*/ 1081 h 1081"/>
                    <a:gd name="T56" fmla="*/ 818 w 1080"/>
                    <a:gd name="T57" fmla="*/ 1027 h 1081"/>
                    <a:gd name="T58" fmla="*/ 820 w 1080"/>
                    <a:gd name="T59" fmla="*/ 917 h 1081"/>
                    <a:gd name="T60" fmla="*/ 876 w 1080"/>
                    <a:gd name="T61" fmla="*/ 845 h 1081"/>
                    <a:gd name="T62" fmla="*/ 982 w 1080"/>
                    <a:gd name="T63" fmla="*/ 811 h 1081"/>
                    <a:gd name="T64" fmla="*/ 1056 w 1080"/>
                    <a:gd name="T65" fmla="*/ 755 h 1081"/>
                    <a:gd name="T66" fmla="*/ 1044 w 1080"/>
                    <a:gd name="T67" fmla="*/ 662 h 1081"/>
                    <a:gd name="T68" fmla="*/ 992 w 1080"/>
                    <a:gd name="T69" fmla="*/ 564 h 1081"/>
                    <a:gd name="T70" fmla="*/ 1004 w 1080"/>
                    <a:gd name="T71" fmla="*/ 472 h 1081"/>
                    <a:gd name="T72" fmla="*/ 1080 w 1080"/>
                    <a:gd name="T73" fmla="*/ 394 h 1081"/>
                    <a:gd name="T74" fmla="*/ 506 w 1080"/>
                    <a:gd name="T75" fmla="*/ 703 h 1081"/>
                    <a:gd name="T76" fmla="*/ 434 w 1080"/>
                    <a:gd name="T77" fmla="*/ 668 h 1081"/>
                    <a:gd name="T78" fmla="*/ 386 w 1080"/>
                    <a:gd name="T79" fmla="*/ 604 h 1081"/>
                    <a:gd name="T80" fmla="*/ 374 w 1080"/>
                    <a:gd name="T81" fmla="*/ 540 h 1081"/>
                    <a:gd name="T82" fmla="*/ 394 w 1080"/>
                    <a:gd name="T83" fmla="*/ 462 h 1081"/>
                    <a:gd name="T84" fmla="*/ 446 w 1080"/>
                    <a:gd name="T85" fmla="*/ 402 h 1081"/>
                    <a:gd name="T86" fmla="*/ 522 w 1080"/>
                    <a:gd name="T87" fmla="*/ 376 h 1081"/>
                    <a:gd name="T88" fmla="*/ 588 w 1080"/>
                    <a:gd name="T89" fmla="*/ 382 h 1081"/>
                    <a:gd name="T90" fmla="*/ 656 w 1080"/>
                    <a:gd name="T91" fmla="*/ 424 h 1081"/>
                    <a:gd name="T92" fmla="*/ 698 w 1080"/>
                    <a:gd name="T93" fmla="*/ 490 h 1081"/>
                    <a:gd name="T94" fmla="*/ 704 w 1080"/>
                    <a:gd name="T95" fmla="*/ 556 h 1081"/>
                    <a:gd name="T96" fmla="*/ 676 w 1080"/>
                    <a:gd name="T97" fmla="*/ 632 h 1081"/>
                    <a:gd name="T98" fmla="*/ 618 w 1080"/>
                    <a:gd name="T99" fmla="*/ 687 h 1081"/>
                    <a:gd name="T100" fmla="*/ 540 w 1080"/>
                    <a:gd name="T101" fmla="*/ 707 h 1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80" h="1081">
                      <a:moveTo>
                        <a:pt x="1080" y="394"/>
                      </a:moveTo>
                      <a:lnTo>
                        <a:pt x="1080" y="394"/>
                      </a:lnTo>
                      <a:lnTo>
                        <a:pt x="1070" y="358"/>
                      </a:lnTo>
                      <a:lnTo>
                        <a:pt x="1056" y="326"/>
                      </a:lnTo>
                      <a:lnTo>
                        <a:pt x="1042" y="294"/>
                      </a:lnTo>
                      <a:lnTo>
                        <a:pt x="1026" y="262"/>
                      </a:lnTo>
                      <a:lnTo>
                        <a:pt x="1026" y="262"/>
                      </a:lnTo>
                      <a:lnTo>
                        <a:pt x="1004" y="268"/>
                      </a:lnTo>
                      <a:lnTo>
                        <a:pt x="982" y="270"/>
                      </a:lnTo>
                      <a:lnTo>
                        <a:pt x="960" y="268"/>
                      </a:lnTo>
                      <a:lnTo>
                        <a:pt x="938" y="266"/>
                      </a:lnTo>
                      <a:lnTo>
                        <a:pt x="916" y="258"/>
                      </a:lnTo>
                      <a:lnTo>
                        <a:pt x="896" y="250"/>
                      </a:lnTo>
                      <a:lnTo>
                        <a:pt x="876" y="236"/>
                      </a:lnTo>
                      <a:lnTo>
                        <a:pt x="858" y="222"/>
                      </a:lnTo>
                      <a:lnTo>
                        <a:pt x="858" y="222"/>
                      </a:lnTo>
                      <a:lnTo>
                        <a:pt x="842" y="204"/>
                      </a:lnTo>
                      <a:lnTo>
                        <a:pt x="830" y="184"/>
                      </a:lnTo>
                      <a:lnTo>
                        <a:pt x="820" y="164"/>
                      </a:lnTo>
                      <a:lnTo>
                        <a:pt x="814" y="142"/>
                      </a:lnTo>
                      <a:lnTo>
                        <a:pt x="810" y="120"/>
                      </a:lnTo>
                      <a:lnTo>
                        <a:pt x="810" y="98"/>
                      </a:lnTo>
                      <a:lnTo>
                        <a:pt x="812" y="76"/>
                      </a:lnTo>
                      <a:lnTo>
                        <a:pt x="818" y="54"/>
                      </a:lnTo>
                      <a:lnTo>
                        <a:pt x="818" y="54"/>
                      </a:lnTo>
                      <a:lnTo>
                        <a:pt x="786" y="38"/>
                      </a:lnTo>
                      <a:lnTo>
                        <a:pt x="754" y="22"/>
                      </a:lnTo>
                      <a:lnTo>
                        <a:pt x="720" y="10"/>
                      </a:lnTo>
                      <a:lnTo>
                        <a:pt x="686" y="0"/>
                      </a:lnTo>
                      <a:lnTo>
                        <a:pt x="686" y="0"/>
                      </a:lnTo>
                      <a:lnTo>
                        <a:pt x="674" y="18"/>
                      </a:lnTo>
                      <a:lnTo>
                        <a:pt x="660" y="36"/>
                      </a:lnTo>
                      <a:lnTo>
                        <a:pt x="644" y="52"/>
                      </a:lnTo>
                      <a:lnTo>
                        <a:pt x="626" y="64"/>
                      </a:lnTo>
                      <a:lnTo>
                        <a:pt x="606" y="76"/>
                      </a:lnTo>
                      <a:lnTo>
                        <a:pt x="586" y="82"/>
                      </a:lnTo>
                      <a:lnTo>
                        <a:pt x="562" y="88"/>
                      </a:lnTo>
                      <a:lnTo>
                        <a:pt x="540" y="90"/>
                      </a:lnTo>
                      <a:lnTo>
                        <a:pt x="540" y="90"/>
                      </a:lnTo>
                      <a:lnTo>
                        <a:pt x="516" y="88"/>
                      </a:lnTo>
                      <a:lnTo>
                        <a:pt x="494" y="82"/>
                      </a:lnTo>
                      <a:lnTo>
                        <a:pt x="472" y="76"/>
                      </a:lnTo>
                      <a:lnTo>
                        <a:pt x="452" y="64"/>
                      </a:lnTo>
                      <a:lnTo>
                        <a:pt x="434" y="52"/>
                      </a:lnTo>
                      <a:lnTo>
                        <a:pt x="418" y="36"/>
                      </a:lnTo>
                      <a:lnTo>
                        <a:pt x="404" y="18"/>
                      </a:lnTo>
                      <a:lnTo>
                        <a:pt x="392" y="0"/>
                      </a:lnTo>
                      <a:lnTo>
                        <a:pt x="392" y="0"/>
                      </a:lnTo>
                      <a:lnTo>
                        <a:pt x="358" y="10"/>
                      </a:lnTo>
                      <a:lnTo>
                        <a:pt x="324" y="22"/>
                      </a:lnTo>
                      <a:lnTo>
                        <a:pt x="292" y="38"/>
                      </a:lnTo>
                      <a:lnTo>
                        <a:pt x="262" y="54"/>
                      </a:lnTo>
                      <a:lnTo>
                        <a:pt x="262" y="54"/>
                      </a:lnTo>
                      <a:lnTo>
                        <a:pt x="266" y="76"/>
                      </a:lnTo>
                      <a:lnTo>
                        <a:pt x="268" y="98"/>
                      </a:lnTo>
                      <a:lnTo>
                        <a:pt x="268" y="120"/>
                      </a:lnTo>
                      <a:lnTo>
                        <a:pt x="264" y="142"/>
                      </a:lnTo>
                      <a:lnTo>
                        <a:pt x="258" y="164"/>
                      </a:lnTo>
                      <a:lnTo>
                        <a:pt x="248" y="184"/>
                      </a:lnTo>
                      <a:lnTo>
                        <a:pt x="236" y="204"/>
                      </a:lnTo>
                      <a:lnTo>
                        <a:pt x="220" y="222"/>
                      </a:lnTo>
                      <a:lnTo>
                        <a:pt x="220" y="222"/>
                      </a:lnTo>
                      <a:lnTo>
                        <a:pt x="202" y="236"/>
                      </a:lnTo>
                      <a:lnTo>
                        <a:pt x="184" y="250"/>
                      </a:lnTo>
                      <a:lnTo>
                        <a:pt x="162" y="258"/>
                      </a:lnTo>
                      <a:lnTo>
                        <a:pt x="142" y="266"/>
                      </a:lnTo>
                      <a:lnTo>
                        <a:pt x="120" y="270"/>
                      </a:lnTo>
                      <a:lnTo>
                        <a:pt x="98" y="270"/>
                      </a:lnTo>
                      <a:lnTo>
                        <a:pt x="76" y="268"/>
                      </a:lnTo>
                      <a:lnTo>
                        <a:pt x="54" y="262"/>
                      </a:lnTo>
                      <a:lnTo>
                        <a:pt x="54" y="262"/>
                      </a:lnTo>
                      <a:lnTo>
                        <a:pt x="38" y="294"/>
                      </a:lnTo>
                      <a:lnTo>
                        <a:pt x="22" y="326"/>
                      </a:lnTo>
                      <a:lnTo>
                        <a:pt x="10" y="358"/>
                      </a:lnTo>
                      <a:lnTo>
                        <a:pt x="0" y="394"/>
                      </a:lnTo>
                      <a:lnTo>
                        <a:pt x="0" y="394"/>
                      </a:lnTo>
                      <a:lnTo>
                        <a:pt x="18" y="404"/>
                      </a:lnTo>
                      <a:lnTo>
                        <a:pt x="36" y="418"/>
                      </a:lnTo>
                      <a:lnTo>
                        <a:pt x="50" y="434"/>
                      </a:lnTo>
                      <a:lnTo>
                        <a:pt x="64" y="452"/>
                      </a:lnTo>
                      <a:lnTo>
                        <a:pt x="74" y="472"/>
                      </a:lnTo>
                      <a:lnTo>
                        <a:pt x="82" y="494"/>
                      </a:lnTo>
                      <a:lnTo>
                        <a:pt x="88" y="516"/>
                      </a:lnTo>
                      <a:lnTo>
                        <a:pt x="88" y="540"/>
                      </a:lnTo>
                      <a:lnTo>
                        <a:pt x="88" y="540"/>
                      </a:lnTo>
                      <a:lnTo>
                        <a:pt x="88" y="564"/>
                      </a:lnTo>
                      <a:lnTo>
                        <a:pt x="82" y="586"/>
                      </a:lnTo>
                      <a:lnTo>
                        <a:pt x="74" y="608"/>
                      </a:lnTo>
                      <a:lnTo>
                        <a:pt x="64" y="628"/>
                      </a:lnTo>
                      <a:lnTo>
                        <a:pt x="50" y="646"/>
                      </a:lnTo>
                      <a:lnTo>
                        <a:pt x="36" y="662"/>
                      </a:lnTo>
                      <a:lnTo>
                        <a:pt x="18" y="677"/>
                      </a:lnTo>
                      <a:lnTo>
                        <a:pt x="0" y="687"/>
                      </a:lnTo>
                      <a:lnTo>
                        <a:pt x="0" y="687"/>
                      </a:lnTo>
                      <a:lnTo>
                        <a:pt x="10" y="723"/>
                      </a:lnTo>
                      <a:lnTo>
                        <a:pt x="22" y="755"/>
                      </a:lnTo>
                      <a:lnTo>
                        <a:pt x="36" y="787"/>
                      </a:lnTo>
                      <a:lnTo>
                        <a:pt x="54" y="819"/>
                      </a:lnTo>
                      <a:lnTo>
                        <a:pt x="54" y="819"/>
                      </a:lnTo>
                      <a:lnTo>
                        <a:pt x="76" y="813"/>
                      </a:lnTo>
                      <a:lnTo>
                        <a:pt x="98" y="811"/>
                      </a:lnTo>
                      <a:lnTo>
                        <a:pt x="120" y="813"/>
                      </a:lnTo>
                      <a:lnTo>
                        <a:pt x="142" y="815"/>
                      </a:lnTo>
                      <a:lnTo>
                        <a:pt x="162" y="823"/>
                      </a:lnTo>
                      <a:lnTo>
                        <a:pt x="184" y="831"/>
                      </a:lnTo>
                      <a:lnTo>
                        <a:pt x="202" y="845"/>
                      </a:lnTo>
                      <a:lnTo>
                        <a:pt x="220" y="859"/>
                      </a:lnTo>
                      <a:lnTo>
                        <a:pt x="220" y="859"/>
                      </a:lnTo>
                      <a:lnTo>
                        <a:pt x="236" y="877"/>
                      </a:lnTo>
                      <a:lnTo>
                        <a:pt x="248" y="897"/>
                      </a:lnTo>
                      <a:lnTo>
                        <a:pt x="258" y="917"/>
                      </a:lnTo>
                      <a:lnTo>
                        <a:pt x="264" y="939"/>
                      </a:lnTo>
                      <a:lnTo>
                        <a:pt x="268" y="961"/>
                      </a:lnTo>
                      <a:lnTo>
                        <a:pt x="268" y="983"/>
                      </a:lnTo>
                      <a:lnTo>
                        <a:pt x="266" y="1005"/>
                      </a:lnTo>
                      <a:lnTo>
                        <a:pt x="262" y="1027"/>
                      </a:lnTo>
                      <a:lnTo>
                        <a:pt x="262" y="1027"/>
                      </a:lnTo>
                      <a:lnTo>
                        <a:pt x="292" y="1043"/>
                      </a:lnTo>
                      <a:lnTo>
                        <a:pt x="324" y="1059"/>
                      </a:lnTo>
                      <a:lnTo>
                        <a:pt x="358" y="1071"/>
                      </a:lnTo>
                      <a:lnTo>
                        <a:pt x="392" y="1081"/>
                      </a:lnTo>
                      <a:lnTo>
                        <a:pt x="392" y="1081"/>
                      </a:lnTo>
                      <a:lnTo>
                        <a:pt x="404" y="1063"/>
                      </a:lnTo>
                      <a:lnTo>
                        <a:pt x="418" y="1045"/>
                      </a:lnTo>
                      <a:lnTo>
                        <a:pt x="434" y="1029"/>
                      </a:lnTo>
                      <a:lnTo>
                        <a:pt x="452" y="1017"/>
                      </a:lnTo>
                      <a:lnTo>
                        <a:pt x="472" y="1007"/>
                      </a:lnTo>
                      <a:lnTo>
                        <a:pt x="494" y="999"/>
                      </a:lnTo>
                      <a:lnTo>
                        <a:pt x="516" y="993"/>
                      </a:lnTo>
                      <a:lnTo>
                        <a:pt x="540" y="991"/>
                      </a:lnTo>
                      <a:lnTo>
                        <a:pt x="540" y="991"/>
                      </a:lnTo>
                      <a:lnTo>
                        <a:pt x="562" y="993"/>
                      </a:lnTo>
                      <a:lnTo>
                        <a:pt x="586" y="999"/>
                      </a:lnTo>
                      <a:lnTo>
                        <a:pt x="606" y="1007"/>
                      </a:lnTo>
                      <a:lnTo>
                        <a:pt x="626" y="1017"/>
                      </a:lnTo>
                      <a:lnTo>
                        <a:pt x="644" y="1029"/>
                      </a:lnTo>
                      <a:lnTo>
                        <a:pt x="660" y="1045"/>
                      </a:lnTo>
                      <a:lnTo>
                        <a:pt x="674" y="1063"/>
                      </a:lnTo>
                      <a:lnTo>
                        <a:pt x="686" y="1081"/>
                      </a:lnTo>
                      <a:lnTo>
                        <a:pt x="686" y="1081"/>
                      </a:lnTo>
                      <a:lnTo>
                        <a:pt x="720" y="1071"/>
                      </a:lnTo>
                      <a:lnTo>
                        <a:pt x="754" y="1059"/>
                      </a:lnTo>
                      <a:lnTo>
                        <a:pt x="786" y="1043"/>
                      </a:lnTo>
                      <a:lnTo>
                        <a:pt x="818" y="1027"/>
                      </a:lnTo>
                      <a:lnTo>
                        <a:pt x="818" y="1027"/>
                      </a:lnTo>
                      <a:lnTo>
                        <a:pt x="812" y="1005"/>
                      </a:lnTo>
                      <a:lnTo>
                        <a:pt x="810" y="983"/>
                      </a:lnTo>
                      <a:lnTo>
                        <a:pt x="810" y="961"/>
                      </a:lnTo>
                      <a:lnTo>
                        <a:pt x="814" y="939"/>
                      </a:lnTo>
                      <a:lnTo>
                        <a:pt x="820" y="917"/>
                      </a:lnTo>
                      <a:lnTo>
                        <a:pt x="830" y="897"/>
                      </a:lnTo>
                      <a:lnTo>
                        <a:pt x="842" y="877"/>
                      </a:lnTo>
                      <a:lnTo>
                        <a:pt x="858" y="859"/>
                      </a:lnTo>
                      <a:lnTo>
                        <a:pt x="858" y="859"/>
                      </a:lnTo>
                      <a:lnTo>
                        <a:pt x="876" y="845"/>
                      </a:lnTo>
                      <a:lnTo>
                        <a:pt x="896" y="831"/>
                      </a:lnTo>
                      <a:lnTo>
                        <a:pt x="916" y="823"/>
                      </a:lnTo>
                      <a:lnTo>
                        <a:pt x="938" y="815"/>
                      </a:lnTo>
                      <a:lnTo>
                        <a:pt x="960" y="813"/>
                      </a:lnTo>
                      <a:lnTo>
                        <a:pt x="982" y="811"/>
                      </a:lnTo>
                      <a:lnTo>
                        <a:pt x="1004" y="813"/>
                      </a:lnTo>
                      <a:lnTo>
                        <a:pt x="1026" y="819"/>
                      </a:lnTo>
                      <a:lnTo>
                        <a:pt x="1026" y="819"/>
                      </a:lnTo>
                      <a:lnTo>
                        <a:pt x="1042" y="787"/>
                      </a:lnTo>
                      <a:lnTo>
                        <a:pt x="1056" y="755"/>
                      </a:lnTo>
                      <a:lnTo>
                        <a:pt x="1070" y="723"/>
                      </a:lnTo>
                      <a:lnTo>
                        <a:pt x="1080" y="687"/>
                      </a:lnTo>
                      <a:lnTo>
                        <a:pt x="1080" y="687"/>
                      </a:lnTo>
                      <a:lnTo>
                        <a:pt x="1060" y="677"/>
                      </a:lnTo>
                      <a:lnTo>
                        <a:pt x="1044" y="662"/>
                      </a:lnTo>
                      <a:lnTo>
                        <a:pt x="1028" y="646"/>
                      </a:lnTo>
                      <a:lnTo>
                        <a:pt x="1014" y="628"/>
                      </a:lnTo>
                      <a:lnTo>
                        <a:pt x="1004" y="608"/>
                      </a:lnTo>
                      <a:lnTo>
                        <a:pt x="996" y="586"/>
                      </a:lnTo>
                      <a:lnTo>
                        <a:pt x="992" y="564"/>
                      </a:lnTo>
                      <a:lnTo>
                        <a:pt x="990" y="540"/>
                      </a:lnTo>
                      <a:lnTo>
                        <a:pt x="990" y="540"/>
                      </a:lnTo>
                      <a:lnTo>
                        <a:pt x="992" y="516"/>
                      </a:lnTo>
                      <a:lnTo>
                        <a:pt x="996" y="494"/>
                      </a:lnTo>
                      <a:lnTo>
                        <a:pt x="1004" y="472"/>
                      </a:lnTo>
                      <a:lnTo>
                        <a:pt x="1014" y="452"/>
                      </a:lnTo>
                      <a:lnTo>
                        <a:pt x="1028" y="434"/>
                      </a:lnTo>
                      <a:lnTo>
                        <a:pt x="1044" y="418"/>
                      </a:lnTo>
                      <a:lnTo>
                        <a:pt x="1060" y="404"/>
                      </a:lnTo>
                      <a:lnTo>
                        <a:pt x="1080" y="394"/>
                      </a:lnTo>
                      <a:lnTo>
                        <a:pt x="1080" y="394"/>
                      </a:lnTo>
                      <a:close/>
                      <a:moveTo>
                        <a:pt x="540" y="707"/>
                      </a:moveTo>
                      <a:lnTo>
                        <a:pt x="540" y="707"/>
                      </a:lnTo>
                      <a:lnTo>
                        <a:pt x="522" y="705"/>
                      </a:lnTo>
                      <a:lnTo>
                        <a:pt x="506" y="703"/>
                      </a:lnTo>
                      <a:lnTo>
                        <a:pt x="490" y="699"/>
                      </a:lnTo>
                      <a:lnTo>
                        <a:pt x="474" y="693"/>
                      </a:lnTo>
                      <a:lnTo>
                        <a:pt x="460" y="687"/>
                      </a:lnTo>
                      <a:lnTo>
                        <a:pt x="446" y="679"/>
                      </a:lnTo>
                      <a:lnTo>
                        <a:pt x="434" y="668"/>
                      </a:lnTo>
                      <a:lnTo>
                        <a:pt x="422" y="658"/>
                      </a:lnTo>
                      <a:lnTo>
                        <a:pt x="412" y="646"/>
                      </a:lnTo>
                      <a:lnTo>
                        <a:pt x="402" y="632"/>
                      </a:lnTo>
                      <a:lnTo>
                        <a:pt x="394" y="618"/>
                      </a:lnTo>
                      <a:lnTo>
                        <a:pt x="386" y="604"/>
                      </a:lnTo>
                      <a:lnTo>
                        <a:pt x="382" y="590"/>
                      </a:lnTo>
                      <a:lnTo>
                        <a:pt x="378" y="574"/>
                      </a:lnTo>
                      <a:lnTo>
                        <a:pt x="374" y="556"/>
                      </a:lnTo>
                      <a:lnTo>
                        <a:pt x="374" y="540"/>
                      </a:lnTo>
                      <a:lnTo>
                        <a:pt x="374" y="540"/>
                      </a:lnTo>
                      <a:lnTo>
                        <a:pt x="374" y="524"/>
                      </a:lnTo>
                      <a:lnTo>
                        <a:pt x="378" y="506"/>
                      </a:lnTo>
                      <a:lnTo>
                        <a:pt x="382" y="490"/>
                      </a:lnTo>
                      <a:lnTo>
                        <a:pt x="386" y="476"/>
                      </a:lnTo>
                      <a:lnTo>
                        <a:pt x="394" y="462"/>
                      </a:lnTo>
                      <a:lnTo>
                        <a:pt x="402" y="448"/>
                      </a:lnTo>
                      <a:lnTo>
                        <a:pt x="412" y="434"/>
                      </a:lnTo>
                      <a:lnTo>
                        <a:pt x="422" y="424"/>
                      </a:lnTo>
                      <a:lnTo>
                        <a:pt x="434" y="412"/>
                      </a:lnTo>
                      <a:lnTo>
                        <a:pt x="446" y="402"/>
                      </a:lnTo>
                      <a:lnTo>
                        <a:pt x="460" y="394"/>
                      </a:lnTo>
                      <a:lnTo>
                        <a:pt x="474" y="388"/>
                      </a:lnTo>
                      <a:lnTo>
                        <a:pt x="490" y="382"/>
                      </a:lnTo>
                      <a:lnTo>
                        <a:pt x="506" y="378"/>
                      </a:lnTo>
                      <a:lnTo>
                        <a:pt x="522" y="376"/>
                      </a:lnTo>
                      <a:lnTo>
                        <a:pt x="540" y="374"/>
                      </a:lnTo>
                      <a:lnTo>
                        <a:pt x="540" y="374"/>
                      </a:lnTo>
                      <a:lnTo>
                        <a:pt x="556" y="376"/>
                      </a:lnTo>
                      <a:lnTo>
                        <a:pt x="572" y="378"/>
                      </a:lnTo>
                      <a:lnTo>
                        <a:pt x="588" y="382"/>
                      </a:lnTo>
                      <a:lnTo>
                        <a:pt x="604" y="388"/>
                      </a:lnTo>
                      <a:lnTo>
                        <a:pt x="618" y="394"/>
                      </a:lnTo>
                      <a:lnTo>
                        <a:pt x="632" y="402"/>
                      </a:lnTo>
                      <a:lnTo>
                        <a:pt x="644" y="412"/>
                      </a:lnTo>
                      <a:lnTo>
                        <a:pt x="656" y="424"/>
                      </a:lnTo>
                      <a:lnTo>
                        <a:pt x="668" y="434"/>
                      </a:lnTo>
                      <a:lnTo>
                        <a:pt x="676" y="448"/>
                      </a:lnTo>
                      <a:lnTo>
                        <a:pt x="684" y="462"/>
                      </a:lnTo>
                      <a:lnTo>
                        <a:pt x="692" y="476"/>
                      </a:lnTo>
                      <a:lnTo>
                        <a:pt x="698" y="490"/>
                      </a:lnTo>
                      <a:lnTo>
                        <a:pt x="702" y="506"/>
                      </a:lnTo>
                      <a:lnTo>
                        <a:pt x="704" y="524"/>
                      </a:lnTo>
                      <a:lnTo>
                        <a:pt x="704" y="540"/>
                      </a:lnTo>
                      <a:lnTo>
                        <a:pt x="704" y="540"/>
                      </a:lnTo>
                      <a:lnTo>
                        <a:pt x="704" y="556"/>
                      </a:lnTo>
                      <a:lnTo>
                        <a:pt x="702" y="574"/>
                      </a:lnTo>
                      <a:lnTo>
                        <a:pt x="698" y="590"/>
                      </a:lnTo>
                      <a:lnTo>
                        <a:pt x="692" y="604"/>
                      </a:lnTo>
                      <a:lnTo>
                        <a:pt x="684" y="618"/>
                      </a:lnTo>
                      <a:lnTo>
                        <a:pt x="676" y="632"/>
                      </a:lnTo>
                      <a:lnTo>
                        <a:pt x="668" y="646"/>
                      </a:lnTo>
                      <a:lnTo>
                        <a:pt x="656" y="658"/>
                      </a:lnTo>
                      <a:lnTo>
                        <a:pt x="644" y="668"/>
                      </a:lnTo>
                      <a:lnTo>
                        <a:pt x="632" y="679"/>
                      </a:lnTo>
                      <a:lnTo>
                        <a:pt x="618" y="687"/>
                      </a:lnTo>
                      <a:lnTo>
                        <a:pt x="604" y="693"/>
                      </a:lnTo>
                      <a:lnTo>
                        <a:pt x="588" y="699"/>
                      </a:lnTo>
                      <a:lnTo>
                        <a:pt x="572" y="703"/>
                      </a:lnTo>
                      <a:lnTo>
                        <a:pt x="556" y="705"/>
                      </a:lnTo>
                      <a:lnTo>
                        <a:pt x="540" y="707"/>
                      </a:lnTo>
                      <a:lnTo>
                        <a:pt x="540" y="707"/>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15" name="Freeform 16">
                  <a:extLst>
                    <a:ext uri="{FF2B5EF4-FFF2-40B4-BE49-F238E27FC236}">
                      <a16:creationId xmlns:a16="http://schemas.microsoft.com/office/drawing/2014/main" id="{87AED000-72FC-45F3-BD47-C12BF9509564}"/>
                    </a:ext>
                  </a:extLst>
                </p:cNvPr>
                <p:cNvSpPr>
                  <a:spLocks noEditPoints="1"/>
                </p:cNvSpPr>
                <p:nvPr/>
              </p:nvSpPr>
              <p:spPr bwMode="auto">
                <a:xfrm>
                  <a:off x="4993665" y="3429000"/>
                  <a:ext cx="948024" cy="946850"/>
                </a:xfrm>
                <a:custGeom>
                  <a:avLst/>
                  <a:gdLst>
                    <a:gd name="T0" fmla="*/ 404 w 808"/>
                    <a:gd name="T1" fmla="*/ 807 h 807"/>
                    <a:gd name="T2" fmla="*/ 458 w 808"/>
                    <a:gd name="T3" fmla="*/ 789 h 807"/>
                    <a:gd name="T4" fmla="*/ 488 w 808"/>
                    <a:gd name="T5" fmla="*/ 733 h 807"/>
                    <a:gd name="T6" fmla="*/ 528 w 808"/>
                    <a:gd name="T7" fmla="*/ 705 h 807"/>
                    <a:gd name="T8" fmla="*/ 594 w 808"/>
                    <a:gd name="T9" fmla="*/ 697 h 807"/>
                    <a:gd name="T10" fmla="*/ 652 w 808"/>
                    <a:gd name="T11" fmla="*/ 723 h 807"/>
                    <a:gd name="T12" fmla="*/ 708 w 808"/>
                    <a:gd name="T13" fmla="*/ 671 h 807"/>
                    <a:gd name="T14" fmla="*/ 706 w 808"/>
                    <a:gd name="T15" fmla="*/ 625 h 807"/>
                    <a:gd name="T16" fmla="*/ 696 w 808"/>
                    <a:gd name="T17" fmla="*/ 561 h 807"/>
                    <a:gd name="T18" fmla="*/ 712 w 808"/>
                    <a:gd name="T19" fmla="*/ 513 h 807"/>
                    <a:gd name="T20" fmla="*/ 758 w 808"/>
                    <a:gd name="T21" fmla="*/ 469 h 807"/>
                    <a:gd name="T22" fmla="*/ 804 w 808"/>
                    <a:gd name="T23" fmla="*/ 455 h 807"/>
                    <a:gd name="T24" fmla="*/ 804 w 808"/>
                    <a:gd name="T25" fmla="*/ 352 h 807"/>
                    <a:gd name="T26" fmla="*/ 758 w 808"/>
                    <a:gd name="T27" fmla="*/ 338 h 807"/>
                    <a:gd name="T28" fmla="*/ 712 w 808"/>
                    <a:gd name="T29" fmla="*/ 294 h 807"/>
                    <a:gd name="T30" fmla="*/ 696 w 808"/>
                    <a:gd name="T31" fmla="*/ 246 h 807"/>
                    <a:gd name="T32" fmla="*/ 706 w 808"/>
                    <a:gd name="T33" fmla="*/ 184 h 807"/>
                    <a:gd name="T34" fmla="*/ 708 w 808"/>
                    <a:gd name="T35" fmla="*/ 136 h 807"/>
                    <a:gd name="T36" fmla="*/ 652 w 808"/>
                    <a:gd name="T37" fmla="*/ 84 h 807"/>
                    <a:gd name="T38" fmla="*/ 594 w 808"/>
                    <a:gd name="T39" fmla="*/ 110 h 807"/>
                    <a:gd name="T40" fmla="*/ 528 w 808"/>
                    <a:gd name="T41" fmla="*/ 102 h 807"/>
                    <a:gd name="T42" fmla="*/ 488 w 808"/>
                    <a:gd name="T43" fmla="*/ 74 h 807"/>
                    <a:gd name="T44" fmla="*/ 458 w 808"/>
                    <a:gd name="T45" fmla="*/ 18 h 807"/>
                    <a:gd name="T46" fmla="*/ 404 w 808"/>
                    <a:gd name="T47" fmla="*/ 0 h 807"/>
                    <a:gd name="T48" fmla="*/ 350 w 808"/>
                    <a:gd name="T49" fmla="*/ 18 h 807"/>
                    <a:gd name="T50" fmla="*/ 320 w 808"/>
                    <a:gd name="T51" fmla="*/ 74 h 807"/>
                    <a:gd name="T52" fmla="*/ 280 w 808"/>
                    <a:gd name="T53" fmla="*/ 102 h 807"/>
                    <a:gd name="T54" fmla="*/ 216 w 808"/>
                    <a:gd name="T55" fmla="*/ 110 h 807"/>
                    <a:gd name="T56" fmla="*/ 158 w 808"/>
                    <a:gd name="T57" fmla="*/ 84 h 807"/>
                    <a:gd name="T58" fmla="*/ 102 w 808"/>
                    <a:gd name="T59" fmla="*/ 136 h 807"/>
                    <a:gd name="T60" fmla="*/ 102 w 808"/>
                    <a:gd name="T61" fmla="*/ 184 h 807"/>
                    <a:gd name="T62" fmla="*/ 112 w 808"/>
                    <a:gd name="T63" fmla="*/ 246 h 807"/>
                    <a:gd name="T64" fmla="*/ 96 w 808"/>
                    <a:gd name="T65" fmla="*/ 294 h 807"/>
                    <a:gd name="T66" fmla="*/ 50 w 808"/>
                    <a:gd name="T67" fmla="*/ 338 h 807"/>
                    <a:gd name="T68" fmla="*/ 4 w 808"/>
                    <a:gd name="T69" fmla="*/ 352 h 807"/>
                    <a:gd name="T70" fmla="*/ 4 w 808"/>
                    <a:gd name="T71" fmla="*/ 455 h 807"/>
                    <a:gd name="T72" fmla="*/ 50 w 808"/>
                    <a:gd name="T73" fmla="*/ 469 h 807"/>
                    <a:gd name="T74" fmla="*/ 96 w 808"/>
                    <a:gd name="T75" fmla="*/ 513 h 807"/>
                    <a:gd name="T76" fmla="*/ 112 w 808"/>
                    <a:gd name="T77" fmla="*/ 561 h 807"/>
                    <a:gd name="T78" fmla="*/ 102 w 808"/>
                    <a:gd name="T79" fmla="*/ 625 h 807"/>
                    <a:gd name="T80" fmla="*/ 102 w 808"/>
                    <a:gd name="T81" fmla="*/ 671 h 807"/>
                    <a:gd name="T82" fmla="*/ 158 w 808"/>
                    <a:gd name="T83" fmla="*/ 723 h 807"/>
                    <a:gd name="T84" fmla="*/ 216 w 808"/>
                    <a:gd name="T85" fmla="*/ 697 h 807"/>
                    <a:gd name="T86" fmla="*/ 280 w 808"/>
                    <a:gd name="T87" fmla="*/ 705 h 807"/>
                    <a:gd name="T88" fmla="*/ 320 w 808"/>
                    <a:gd name="T89" fmla="*/ 733 h 807"/>
                    <a:gd name="T90" fmla="*/ 350 w 808"/>
                    <a:gd name="T91" fmla="*/ 789 h 807"/>
                    <a:gd name="T92" fmla="*/ 286 w 808"/>
                    <a:gd name="T93" fmla="*/ 402 h 807"/>
                    <a:gd name="T94" fmla="*/ 306 w 808"/>
                    <a:gd name="T95" fmla="*/ 336 h 807"/>
                    <a:gd name="T96" fmla="*/ 380 w 808"/>
                    <a:gd name="T97" fmla="*/ 286 h 807"/>
                    <a:gd name="T98" fmla="*/ 416 w 808"/>
                    <a:gd name="T99" fmla="*/ 284 h 807"/>
                    <a:gd name="T100" fmla="*/ 490 w 808"/>
                    <a:gd name="T101" fmla="*/ 318 h 807"/>
                    <a:gd name="T102" fmla="*/ 524 w 808"/>
                    <a:gd name="T103" fmla="*/ 390 h 807"/>
                    <a:gd name="T104" fmla="*/ 522 w 808"/>
                    <a:gd name="T105" fmla="*/ 427 h 807"/>
                    <a:gd name="T106" fmla="*/ 472 w 808"/>
                    <a:gd name="T107" fmla="*/ 503 h 807"/>
                    <a:gd name="T108" fmla="*/ 404 w 808"/>
                    <a:gd name="T109" fmla="*/ 523 h 807"/>
                    <a:gd name="T110" fmla="*/ 358 w 808"/>
                    <a:gd name="T111" fmla="*/ 513 h 807"/>
                    <a:gd name="T112" fmla="*/ 294 w 808"/>
                    <a:gd name="T113" fmla="*/ 451 h 807"/>
                    <a:gd name="T114" fmla="*/ 286 w 808"/>
                    <a:gd name="T115" fmla="*/ 402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8" h="807">
                      <a:moveTo>
                        <a:pt x="354" y="805"/>
                      </a:moveTo>
                      <a:lnTo>
                        <a:pt x="354" y="805"/>
                      </a:lnTo>
                      <a:lnTo>
                        <a:pt x="378" y="807"/>
                      </a:lnTo>
                      <a:lnTo>
                        <a:pt x="404" y="807"/>
                      </a:lnTo>
                      <a:lnTo>
                        <a:pt x="430" y="807"/>
                      </a:lnTo>
                      <a:lnTo>
                        <a:pt x="456" y="805"/>
                      </a:lnTo>
                      <a:lnTo>
                        <a:pt x="456" y="805"/>
                      </a:lnTo>
                      <a:lnTo>
                        <a:pt x="458" y="789"/>
                      </a:lnTo>
                      <a:lnTo>
                        <a:pt x="462" y="773"/>
                      </a:lnTo>
                      <a:lnTo>
                        <a:pt x="470" y="759"/>
                      </a:lnTo>
                      <a:lnTo>
                        <a:pt x="478" y="745"/>
                      </a:lnTo>
                      <a:lnTo>
                        <a:pt x="488" y="733"/>
                      </a:lnTo>
                      <a:lnTo>
                        <a:pt x="500" y="721"/>
                      </a:lnTo>
                      <a:lnTo>
                        <a:pt x="514" y="713"/>
                      </a:lnTo>
                      <a:lnTo>
                        <a:pt x="528" y="705"/>
                      </a:lnTo>
                      <a:lnTo>
                        <a:pt x="528" y="705"/>
                      </a:lnTo>
                      <a:lnTo>
                        <a:pt x="544" y="699"/>
                      </a:lnTo>
                      <a:lnTo>
                        <a:pt x="562" y="697"/>
                      </a:lnTo>
                      <a:lnTo>
                        <a:pt x="578" y="695"/>
                      </a:lnTo>
                      <a:lnTo>
                        <a:pt x="594" y="697"/>
                      </a:lnTo>
                      <a:lnTo>
                        <a:pt x="610" y="701"/>
                      </a:lnTo>
                      <a:lnTo>
                        <a:pt x="624" y="707"/>
                      </a:lnTo>
                      <a:lnTo>
                        <a:pt x="638" y="713"/>
                      </a:lnTo>
                      <a:lnTo>
                        <a:pt x="652" y="723"/>
                      </a:lnTo>
                      <a:lnTo>
                        <a:pt x="652" y="723"/>
                      </a:lnTo>
                      <a:lnTo>
                        <a:pt x="672" y="707"/>
                      </a:lnTo>
                      <a:lnTo>
                        <a:pt x="690" y="689"/>
                      </a:lnTo>
                      <a:lnTo>
                        <a:pt x="708" y="671"/>
                      </a:lnTo>
                      <a:lnTo>
                        <a:pt x="724" y="651"/>
                      </a:lnTo>
                      <a:lnTo>
                        <a:pt x="724" y="651"/>
                      </a:lnTo>
                      <a:lnTo>
                        <a:pt x="714" y="639"/>
                      </a:lnTo>
                      <a:lnTo>
                        <a:pt x="706" y="625"/>
                      </a:lnTo>
                      <a:lnTo>
                        <a:pt x="700" y="609"/>
                      </a:lnTo>
                      <a:lnTo>
                        <a:pt x="698" y="593"/>
                      </a:lnTo>
                      <a:lnTo>
                        <a:pt x="696" y="577"/>
                      </a:lnTo>
                      <a:lnTo>
                        <a:pt x="696" y="561"/>
                      </a:lnTo>
                      <a:lnTo>
                        <a:pt x="700" y="545"/>
                      </a:lnTo>
                      <a:lnTo>
                        <a:pt x="704" y="529"/>
                      </a:lnTo>
                      <a:lnTo>
                        <a:pt x="704" y="529"/>
                      </a:lnTo>
                      <a:lnTo>
                        <a:pt x="712" y="513"/>
                      </a:lnTo>
                      <a:lnTo>
                        <a:pt x="722" y="499"/>
                      </a:lnTo>
                      <a:lnTo>
                        <a:pt x="732" y="487"/>
                      </a:lnTo>
                      <a:lnTo>
                        <a:pt x="746" y="477"/>
                      </a:lnTo>
                      <a:lnTo>
                        <a:pt x="758" y="469"/>
                      </a:lnTo>
                      <a:lnTo>
                        <a:pt x="774" y="463"/>
                      </a:lnTo>
                      <a:lnTo>
                        <a:pt x="788" y="457"/>
                      </a:lnTo>
                      <a:lnTo>
                        <a:pt x="804" y="455"/>
                      </a:lnTo>
                      <a:lnTo>
                        <a:pt x="804" y="455"/>
                      </a:lnTo>
                      <a:lnTo>
                        <a:pt x="808" y="431"/>
                      </a:lnTo>
                      <a:lnTo>
                        <a:pt x="808" y="404"/>
                      </a:lnTo>
                      <a:lnTo>
                        <a:pt x="808" y="378"/>
                      </a:lnTo>
                      <a:lnTo>
                        <a:pt x="804" y="352"/>
                      </a:lnTo>
                      <a:lnTo>
                        <a:pt x="804" y="352"/>
                      </a:lnTo>
                      <a:lnTo>
                        <a:pt x="788" y="350"/>
                      </a:lnTo>
                      <a:lnTo>
                        <a:pt x="774" y="344"/>
                      </a:lnTo>
                      <a:lnTo>
                        <a:pt x="758" y="338"/>
                      </a:lnTo>
                      <a:lnTo>
                        <a:pt x="746" y="330"/>
                      </a:lnTo>
                      <a:lnTo>
                        <a:pt x="732" y="320"/>
                      </a:lnTo>
                      <a:lnTo>
                        <a:pt x="722" y="308"/>
                      </a:lnTo>
                      <a:lnTo>
                        <a:pt x="712" y="294"/>
                      </a:lnTo>
                      <a:lnTo>
                        <a:pt x="704" y="278"/>
                      </a:lnTo>
                      <a:lnTo>
                        <a:pt x="704" y="278"/>
                      </a:lnTo>
                      <a:lnTo>
                        <a:pt x="700" y="262"/>
                      </a:lnTo>
                      <a:lnTo>
                        <a:pt x="696" y="246"/>
                      </a:lnTo>
                      <a:lnTo>
                        <a:pt x="696" y="230"/>
                      </a:lnTo>
                      <a:lnTo>
                        <a:pt x="698" y="214"/>
                      </a:lnTo>
                      <a:lnTo>
                        <a:pt x="700" y="198"/>
                      </a:lnTo>
                      <a:lnTo>
                        <a:pt x="706" y="184"/>
                      </a:lnTo>
                      <a:lnTo>
                        <a:pt x="714" y="170"/>
                      </a:lnTo>
                      <a:lnTo>
                        <a:pt x="724" y="156"/>
                      </a:lnTo>
                      <a:lnTo>
                        <a:pt x="724" y="156"/>
                      </a:lnTo>
                      <a:lnTo>
                        <a:pt x="708" y="136"/>
                      </a:lnTo>
                      <a:lnTo>
                        <a:pt x="690" y="118"/>
                      </a:lnTo>
                      <a:lnTo>
                        <a:pt x="672" y="100"/>
                      </a:lnTo>
                      <a:lnTo>
                        <a:pt x="652" y="84"/>
                      </a:lnTo>
                      <a:lnTo>
                        <a:pt x="652" y="84"/>
                      </a:lnTo>
                      <a:lnTo>
                        <a:pt x="638" y="94"/>
                      </a:lnTo>
                      <a:lnTo>
                        <a:pt x="624" y="100"/>
                      </a:lnTo>
                      <a:lnTo>
                        <a:pt x="610" y="106"/>
                      </a:lnTo>
                      <a:lnTo>
                        <a:pt x="594" y="110"/>
                      </a:lnTo>
                      <a:lnTo>
                        <a:pt x="578" y="112"/>
                      </a:lnTo>
                      <a:lnTo>
                        <a:pt x="562" y="112"/>
                      </a:lnTo>
                      <a:lnTo>
                        <a:pt x="544" y="108"/>
                      </a:lnTo>
                      <a:lnTo>
                        <a:pt x="528" y="102"/>
                      </a:lnTo>
                      <a:lnTo>
                        <a:pt x="528" y="102"/>
                      </a:lnTo>
                      <a:lnTo>
                        <a:pt x="514" y="96"/>
                      </a:lnTo>
                      <a:lnTo>
                        <a:pt x="500" y="86"/>
                      </a:lnTo>
                      <a:lnTo>
                        <a:pt x="488" y="74"/>
                      </a:lnTo>
                      <a:lnTo>
                        <a:pt x="478" y="62"/>
                      </a:lnTo>
                      <a:lnTo>
                        <a:pt x="470" y="48"/>
                      </a:lnTo>
                      <a:lnTo>
                        <a:pt x="462" y="34"/>
                      </a:lnTo>
                      <a:lnTo>
                        <a:pt x="458" y="18"/>
                      </a:lnTo>
                      <a:lnTo>
                        <a:pt x="456" y="2"/>
                      </a:lnTo>
                      <a:lnTo>
                        <a:pt x="456" y="2"/>
                      </a:lnTo>
                      <a:lnTo>
                        <a:pt x="430" y="0"/>
                      </a:lnTo>
                      <a:lnTo>
                        <a:pt x="404" y="0"/>
                      </a:lnTo>
                      <a:lnTo>
                        <a:pt x="378" y="0"/>
                      </a:lnTo>
                      <a:lnTo>
                        <a:pt x="354" y="2"/>
                      </a:lnTo>
                      <a:lnTo>
                        <a:pt x="354" y="2"/>
                      </a:lnTo>
                      <a:lnTo>
                        <a:pt x="350" y="18"/>
                      </a:lnTo>
                      <a:lnTo>
                        <a:pt x="346" y="34"/>
                      </a:lnTo>
                      <a:lnTo>
                        <a:pt x="340" y="48"/>
                      </a:lnTo>
                      <a:lnTo>
                        <a:pt x="332" y="62"/>
                      </a:lnTo>
                      <a:lnTo>
                        <a:pt x="320" y="74"/>
                      </a:lnTo>
                      <a:lnTo>
                        <a:pt x="308" y="86"/>
                      </a:lnTo>
                      <a:lnTo>
                        <a:pt x="296" y="96"/>
                      </a:lnTo>
                      <a:lnTo>
                        <a:pt x="280" y="102"/>
                      </a:lnTo>
                      <a:lnTo>
                        <a:pt x="280" y="102"/>
                      </a:lnTo>
                      <a:lnTo>
                        <a:pt x="264" y="108"/>
                      </a:lnTo>
                      <a:lnTo>
                        <a:pt x="248" y="112"/>
                      </a:lnTo>
                      <a:lnTo>
                        <a:pt x="232" y="112"/>
                      </a:lnTo>
                      <a:lnTo>
                        <a:pt x="216" y="110"/>
                      </a:lnTo>
                      <a:lnTo>
                        <a:pt x="200" y="106"/>
                      </a:lnTo>
                      <a:lnTo>
                        <a:pt x="184" y="100"/>
                      </a:lnTo>
                      <a:lnTo>
                        <a:pt x="170" y="94"/>
                      </a:lnTo>
                      <a:lnTo>
                        <a:pt x="158" y="84"/>
                      </a:lnTo>
                      <a:lnTo>
                        <a:pt x="158" y="84"/>
                      </a:lnTo>
                      <a:lnTo>
                        <a:pt x="138" y="100"/>
                      </a:lnTo>
                      <a:lnTo>
                        <a:pt x="118" y="118"/>
                      </a:lnTo>
                      <a:lnTo>
                        <a:pt x="102" y="136"/>
                      </a:lnTo>
                      <a:lnTo>
                        <a:pt x="84" y="156"/>
                      </a:lnTo>
                      <a:lnTo>
                        <a:pt x="84" y="156"/>
                      </a:lnTo>
                      <a:lnTo>
                        <a:pt x="94" y="170"/>
                      </a:lnTo>
                      <a:lnTo>
                        <a:pt x="102" y="184"/>
                      </a:lnTo>
                      <a:lnTo>
                        <a:pt x="108" y="198"/>
                      </a:lnTo>
                      <a:lnTo>
                        <a:pt x="112" y="214"/>
                      </a:lnTo>
                      <a:lnTo>
                        <a:pt x="114" y="230"/>
                      </a:lnTo>
                      <a:lnTo>
                        <a:pt x="112" y="246"/>
                      </a:lnTo>
                      <a:lnTo>
                        <a:pt x="110" y="262"/>
                      </a:lnTo>
                      <a:lnTo>
                        <a:pt x="104" y="278"/>
                      </a:lnTo>
                      <a:lnTo>
                        <a:pt x="104" y="278"/>
                      </a:lnTo>
                      <a:lnTo>
                        <a:pt x="96" y="294"/>
                      </a:lnTo>
                      <a:lnTo>
                        <a:pt x="88" y="308"/>
                      </a:lnTo>
                      <a:lnTo>
                        <a:pt x="76" y="320"/>
                      </a:lnTo>
                      <a:lnTo>
                        <a:pt x="64" y="330"/>
                      </a:lnTo>
                      <a:lnTo>
                        <a:pt x="50" y="338"/>
                      </a:lnTo>
                      <a:lnTo>
                        <a:pt x="36" y="344"/>
                      </a:lnTo>
                      <a:lnTo>
                        <a:pt x="20" y="350"/>
                      </a:lnTo>
                      <a:lnTo>
                        <a:pt x="4" y="352"/>
                      </a:lnTo>
                      <a:lnTo>
                        <a:pt x="4" y="352"/>
                      </a:lnTo>
                      <a:lnTo>
                        <a:pt x="2" y="378"/>
                      </a:lnTo>
                      <a:lnTo>
                        <a:pt x="0" y="402"/>
                      </a:lnTo>
                      <a:lnTo>
                        <a:pt x="2" y="429"/>
                      </a:lnTo>
                      <a:lnTo>
                        <a:pt x="4" y="455"/>
                      </a:lnTo>
                      <a:lnTo>
                        <a:pt x="4" y="455"/>
                      </a:lnTo>
                      <a:lnTo>
                        <a:pt x="20" y="457"/>
                      </a:lnTo>
                      <a:lnTo>
                        <a:pt x="36" y="463"/>
                      </a:lnTo>
                      <a:lnTo>
                        <a:pt x="50" y="469"/>
                      </a:lnTo>
                      <a:lnTo>
                        <a:pt x="64" y="477"/>
                      </a:lnTo>
                      <a:lnTo>
                        <a:pt x="76" y="487"/>
                      </a:lnTo>
                      <a:lnTo>
                        <a:pt x="86" y="499"/>
                      </a:lnTo>
                      <a:lnTo>
                        <a:pt x="96" y="513"/>
                      </a:lnTo>
                      <a:lnTo>
                        <a:pt x="104" y="529"/>
                      </a:lnTo>
                      <a:lnTo>
                        <a:pt x="104" y="529"/>
                      </a:lnTo>
                      <a:lnTo>
                        <a:pt x="110" y="545"/>
                      </a:lnTo>
                      <a:lnTo>
                        <a:pt x="112" y="561"/>
                      </a:lnTo>
                      <a:lnTo>
                        <a:pt x="114" y="577"/>
                      </a:lnTo>
                      <a:lnTo>
                        <a:pt x="112" y="593"/>
                      </a:lnTo>
                      <a:lnTo>
                        <a:pt x="108" y="609"/>
                      </a:lnTo>
                      <a:lnTo>
                        <a:pt x="102" y="625"/>
                      </a:lnTo>
                      <a:lnTo>
                        <a:pt x="94" y="639"/>
                      </a:lnTo>
                      <a:lnTo>
                        <a:pt x="84" y="651"/>
                      </a:lnTo>
                      <a:lnTo>
                        <a:pt x="84" y="651"/>
                      </a:lnTo>
                      <a:lnTo>
                        <a:pt x="102" y="671"/>
                      </a:lnTo>
                      <a:lnTo>
                        <a:pt x="120" y="689"/>
                      </a:lnTo>
                      <a:lnTo>
                        <a:pt x="138" y="707"/>
                      </a:lnTo>
                      <a:lnTo>
                        <a:pt x="158" y="723"/>
                      </a:lnTo>
                      <a:lnTo>
                        <a:pt x="158" y="723"/>
                      </a:lnTo>
                      <a:lnTo>
                        <a:pt x="170" y="713"/>
                      </a:lnTo>
                      <a:lnTo>
                        <a:pt x="184" y="707"/>
                      </a:lnTo>
                      <a:lnTo>
                        <a:pt x="200" y="701"/>
                      </a:lnTo>
                      <a:lnTo>
                        <a:pt x="216" y="697"/>
                      </a:lnTo>
                      <a:lnTo>
                        <a:pt x="232" y="695"/>
                      </a:lnTo>
                      <a:lnTo>
                        <a:pt x="248" y="697"/>
                      </a:lnTo>
                      <a:lnTo>
                        <a:pt x="264" y="699"/>
                      </a:lnTo>
                      <a:lnTo>
                        <a:pt x="280" y="705"/>
                      </a:lnTo>
                      <a:lnTo>
                        <a:pt x="280" y="705"/>
                      </a:lnTo>
                      <a:lnTo>
                        <a:pt x="296" y="713"/>
                      </a:lnTo>
                      <a:lnTo>
                        <a:pt x="308" y="721"/>
                      </a:lnTo>
                      <a:lnTo>
                        <a:pt x="320" y="733"/>
                      </a:lnTo>
                      <a:lnTo>
                        <a:pt x="332" y="745"/>
                      </a:lnTo>
                      <a:lnTo>
                        <a:pt x="340" y="759"/>
                      </a:lnTo>
                      <a:lnTo>
                        <a:pt x="346" y="773"/>
                      </a:lnTo>
                      <a:lnTo>
                        <a:pt x="350" y="789"/>
                      </a:lnTo>
                      <a:lnTo>
                        <a:pt x="354" y="805"/>
                      </a:lnTo>
                      <a:lnTo>
                        <a:pt x="354" y="805"/>
                      </a:lnTo>
                      <a:close/>
                      <a:moveTo>
                        <a:pt x="286" y="402"/>
                      </a:moveTo>
                      <a:lnTo>
                        <a:pt x="286" y="402"/>
                      </a:lnTo>
                      <a:lnTo>
                        <a:pt x="286" y="390"/>
                      </a:lnTo>
                      <a:lnTo>
                        <a:pt x="288" y="378"/>
                      </a:lnTo>
                      <a:lnTo>
                        <a:pt x="294" y="356"/>
                      </a:lnTo>
                      <a:lnTo>
                        <a:pt x="306" y="336"/>
                      </a:lnTo>
                      <a:lnTo>
                        <a:pt x="320" y="318"/>
                      </a:lnTo>
                      <a:lnTo>
                        <a:pt x="338" y="304"/>
                      </a:lnTo>
                      <a:lnTo>
                        <a:pt x="358" y="292"/>
                      </a:lnTo>
                      <a:lnTo>
                        <a:pt x="380" y="286"/>
                      </a:lnTo>
                      <a:lnTo>
                        <a:pt x="392" y="284"/>
                      </a:lnTo>
                      <a:lnTo>
                        <a:pt x="404" y="284"/>
                      </a:lnTo>
                      <a:lnTo>
                        <a:pt x="404" y="284"/>
                      </a:lnTo>
                      <a:lnTo>
                        <a:pt x="416" y="284"/>
                      </a:lnTo>
                      <a:lnTo>
                        <a:pt x="428" y="286"/>
                      </a:lnTo>
                      <a:lnTo>
                        <a:pt x="452" y="292"/>
                      </a:lnTo>
                      <a:lnTo>
                        <a:pt x="472" y="304"/>
                      </a:lnTo>
                      <a:lnTo>
                        <a:pt x="490" y="318"/>
                      </a:lnTo>
                      <a:lnTo>
                        <a:pt x="504" y="336"/>
                      </a:lnTo>
                      <a:lnTo>
                        <a:pt x="514" y="356"/>
                      </a:lnTo>
                      <a:lnTo>
                        <a:pt x="522" y="378"/>
                      </a:lnTo>
                      <a:lnTo>
                        <a:pt x="524" y="390"/>
                      </a:lnTo>
                      <a:lnTo>
                        <a:pt x="524" y="402"/>
                      </a:lnTo>
                      <a:lnTo>
                        <a:pt x="524" y="402"/>
                      </a:lnTo>
                      <a:lnTo>
                        <a:pt x="524" y="415"/>
                      </a:lnTo>
                      <a:lnTo>
                        <a:pt x="522" y="427"/>
                      </a:lnTo>
                      <a:lnTo>
                        <a:pt x="514" y="451"/>
                      </a:lnTo>
                      <a:lnTo>
                        <a:pt x="504" y="471"/>
                      </a:lnTo>
                      <a:lnTo>
                        <a:pt x="490" y="489"/>
                      </a:lnTo>
                      <a:lnTo>
                        <a:pt x="472" y="503"/>
                      </a:lnTo>
                      <a:lnTo>
                        <a:pt x="452" y="513"/>
                      </a:lnTo>
                      <a:lnTo>
                        <a:pt x="428" y="521"/>
                      </a:lnTo>
                      <a:lnTo>
                        <a:pt x="416" y="523"/>
                      </a:lnTo>
                      <a:lnTo>
                        <a:pt x="404" y="523"/>
                      </a:lnTo>
                      <a:lnTo>
                        <a:pt x="404" y="523"/>
                      </a:lnTo>
                      <a:lnTo>
                        <a:pt x="392" y="523"/>
                      </a:lnTo>
                      <a:lnTo>
                        <a:pt x="380" y="521"/>
                      </a:lnTo>
                      <a:lnTo>
                        <a:pt x="358" y="513"/>
                      </a:lnTo>
                      <a:lnTo>
                        <a:pt x="338" y="503"/>
                      </a:lnTo>
                      <a:lnTo>
                        <a:pt x="320" y="489"/>
                      </a:lnTo>
                      <a:lnTo>
                        <a:pt x="306" y="471"/>
                      </a:lnTo>
                      <a:lnTo>
                        <a:pt x="294" y="451"/>
                      </a:lnTo>
                      <a:lnTo>
                        <a:pt x="288" y="427"/>
                      </a:lnTo>
                      <a:lnTo>
                        <a:pt x="286" y="415"/>
                      </a:lnTo>
                      <a:lnTo>
                        <a:pt x="286" y="402"/>
                      </a:lnTo>
                      <a:lnTo>
                        <a:pt x="286" y="40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grpSp>
          <p:nvGrpSpPr>
            <p:cNvPr id="116" name="Group 115">
              <a:extLst>
                <a:ext uri="{FF2B5EF4-FFF2-40B4-BE49-F238E27FC236}">
                  <a16:creationId xmlns:a16="http://schemas.microsoft.com/office/drawing/2014/main" id="{F0A6472C-2F26-400A-8836-4289770FA971}"/>
                </a:ext>
              </a:extLst>
            </p:cNvPr>
            <p:cNvGrpSpPr/>
            <p:nvPr/>
          </p:nvGrpSpPr>
          <p:grpSpPr>
            <a:xfrm>
              <a:off x="9418320" y="1409469"/>
              <a:ext cx="646098" cy="724791"/>
              <a:chOff x="3860798" y="921558"/>
              <a:chExt cx="4470403" cy="5014883"/>
            </a:xfrm>
          </p:grpSpPr>
          <p:grpSp>
            <p:nvGrpSpPr>
              <p:cNvPr id="117" name="Group 116">
                <a:extLst>
                  <a:ext uri="{FF2B5EF4-FFF2-40B4-BE49-F238E27FC236}">
                    <a16:creationId xmlns:a16="http://schemas.microsoft.com/office/drawing/2014/main" id="{0D15B068-66A4-4868-9484-094FDBA9C6B3}"/>
                  </a:ext>
                </a:extLst>
              </p:cNvPr>
              <p:cNvGrpSpPr/>
              <p:nvPr/>
            </p:nvGrpSpPr>
            <p:grpSpPr>
              <a:xfrm>
                <a:off x="3860798" y="921558"/>
                <a:ext cx="4470403" cy="5014883"/>
                <a:chOff x="3860798" y="921558"/>
                <a:chExt cx="4470403" cy="5014883"/>
              </a:xfrm>
              <a:solidFill>
                <a:schemeClr val="bg1"/>
              </a:solidFill>
            </p:grpSpPr>
            <p:sp>
              <p:nvSpPr>
                <p:cNvPr id="121" name="Circle: Hollow 120">
                  <a:extLst>
                    <a:ext uri="{FF2B5EF4-FFF2-40B4-BE49-F238E27FC236}">
                      <a16:creationId xmlns:a16="http://schemas.microsoft.com/office/drawing/2014/main" id="{D41E6D29-ACA9-4375-B7F7-8CD30D2548ED}"/>
                    </a:ext>
                  </a:extLst>
                </p:cNvPr>
                <p:cNvSpPr/>
                <p:nvPr/>
              </p:nvSpPr>
              <p:spPr bwMode="auto">
                <a:xfrm>
                  <a:off x="3964200" y="1295375"/>
                  <a:ext cx="4263596" cy="4263596"/>
                </a:xfrm>
                <a:prstGeom prst="donut">
                  <a:avLst>
                    <a:gd name="adj" fmla="val 411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22" name="Group 121">
                  <a:extLst>
                    <a:ext uri="{FF2B5EF4-FFF2-40B4-BE49-F238E27FC236}">
                      <a16:creationId xmlns:a16="http://schemas.microsoft.com/office/drawing/2014/main" id="{FF81AD81-B432-4833-AB3A-2CC91AD11FBA}"/>
                    </a:ext>
                  </a:extLst>
                </p:cNvPr>
                <p:cNvGrpSpPr/>
                <p:nvPr/>
              </p:nvGrpSpPr>
              <p:grpSpPr>
                <a:xfrm>
                  <a:off x="3860798" y="921558"/>
                  <a:ext cx="4470403" cy="5014883"/>
                  <a:chOff x="3860798" y="921558"/>
                  <a:chExt cx="4470403" cy="5014883"/>
                </a:xfrm>
                <a:grpFill/>
              </p:grpSpPr>
              <p:sp>
                <p:nvSpPr>
                  <p:cNvPr id="123" name="Freeform: Shape 122">
                    <a:extLst>
                      <a:ext uri="{FF2B5EF4-FFF2-40B4-BE49-F238E27FC236}">
                        <a16:creationId xmlns:a16="http://schemas.microsoft.com/office/drawing/2014/main" id="{4F4A01CE-0035-4837-83E4-5DFFAA72325B}"/>
                      </a:ext>
                    </a:extLst>
                  </p:cNvPr>
                  <p:cNvSpPr/>
                  <p:nvPr/>
                </p:nvSpPr>
                <p:spPr>
                  <a:xfrm>
                    <a:off x="5620588" y="921558"/>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sp>
                <p:nvSpPr>
                  <p:cNvPr id="124" name="Freeform: Shape 123">
                    <a:extLst>
                      <a:ext uri="{FF2B5EF4-FFF2-40B4-BE49-F238E27FC236}">
                        <a16:creationId xmlns:a16="http://schemas.microsoft.com/office/drawing/2014/main" id="{E8629C3C-E512-4D43-861E-26EBBB27C0E8}"/>
                      </a:ext>
                    </a:extLst>
                  </p:cNvPr>
                  <p:cNvSpPr/>
                  <p:nvPr/>
                </p:nvSpPr>
                <p:spPr>
                  <a:xfrm>
                    <a:off x="7380377" y="1937572"/>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5502" tIns="265502" rIns="265502" bIns="265502" numCol="1" spcCol="1270" anchor="ctr" anchorCtr="0">
                    <a:noAutofit/>
                  </a:bodyPr>
                  <a:lstStyle/>
                  <a:p>
                    <a:pPr marL="0" lvl="0" indent="0" algn="ctr" defTabSz="2355850">
                      <a:lnSpc>
                        <a:spcPct val="90000"/>
                      </a:lnSpc>
                      <a:spcBef>
                        <a:spcPct val="0"/>
                      </a:spcBef>
                      <a:spcAft>
                        <a:spcPct val="35000"/>
                      </a:spcAft>
                      <a:buNone/>
                    </a:pPr>
                    <a:endParaRPr lang="en-IN" sz="5300" kern="1200"/>
                  </a:p>
                </p:txBody>
              </p:sp>
              <p:sp>
                <p:nvSpPr>
                  <p:cNvPr id="125" name="Freeform: Shape 124">
                    <a:extLst>
                      <a:ext uri="{FF2B5EF4-FFF2-40B4-BE49-F238E27FC236}">
                        <a16:creationId xmlns:a16="http://schemas.microsoft.com/office/drawing/2014/main" id="{F507CFB0-3ED7-48D2-A8CC-ABBFCF6F8712}"/>
                      </a:ext>
                    </a:extLst>
                  </p:cNvPr>
                  <p:cNvSpPr/>
                  <p:nvPr/>
                </p:nvSpPr>
                <p:spPr>
                  <a:xfrm>
                    <a:off x="7380377" y="3969602"/>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sp>
                <p:nvSpPr>
                  <p:cNvPr id="126" name="Freeform: Shape 125">
                    <a:extLst>
                      <a:ext uri="{FF2B5EF4-FFF2-40B4-BE49-F238E27FC236}">
                        <a16:creationId xmlns:a16="http://schemas.microsoft.com/office/drawing/2014/main" id="{64873281-36DA-47B9-9F3F-8DDE60A1259A}"/>
                      </a:ext>
                    </a:extLst>
                  </p:cNvPr>
                  <p:cNvSpPr/>
                  <p:nvPr/>
                </p:nvSpPr>
                <p:spPr>
                  <a:xfrm>
                    <a:off x="5620588" y="4985617"/>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sp>
                <p:nvSpPr>
                  <p:cNvPr id="127" name="Freeform: Shape 126">
                    <a:extLst>
                      <a:ext uri="{FF2B5EF4-FFF2-40B4-BE49-F238E27FC236}">
                        <a16:creationId xmlns:a16="http://schemas.microsoft.com/office/drawing/2014/main" id="{230FBCA3-7D49-4EF3-9BE2-4E79D61DAA23}"/>
                      </a:ext>
                    </a:extLst>
                  </p:cNvPr>
                  <p:cNvSpPr/>
                  <p:nvPr/>
                </p:nvSpPr>
                <p:spPr>
                  <a:xfrm>
                    <a:off x="3860798" y="3969602"/>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sp>
                <p:nvSpPr>
                  <p:cNvPr id="128" name="Freeform: Shape 127">
                    <a:extLst>
                      <a:ext uri="{FF2B5EF4-FFF2-40B4-BE49-F238E27FC236}">
                        <a16:creationId xmlns:a16="http://schemas.microsoft.com/office/drawing/2014/main" id="{C1D39DCC-B67E-4C13-A90D-A5E2515E1953}"/>
                      </a:ext>
                    </a:extLst>
                  </p:cNvPr>
                  <p:cNvSpPr/>
                  <p:nvPr/>
                </p:nvSpPr>
                <p:spPr>
                  <a:xfrm>
                    <a:off x="3860798" y="1937572"/>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grpSp>
          </p:grpSp>
          <p:grpSp>
            <p:nvGrpSpPr>
              <p:cNvPr id="118" name="Group 117">
                <a:extLst>
                  <a:ext uri="{FF2B5EF4-FFF2-40B4-BE49-F238E27FC236}">
                    <a16:creationId xmlns:a16="http://schemas.microsoft.com/office/drawing/2014/main" id="{920350E4-997E-4BA2-8E3B-C12187C79953}"/>
                  </a:ext>
                </a:extLst>
              </p:cNvPr>
              <p:cNvGrpSpPr/>
              <p:nvPr/>
            </p:nvGrpSpPr>
            <p:grpSpPr>
              <a:xfrm>
                <a:off x="5141410" y="2249340"/>
                <a:ext cx="1983077" cy="2090431"/>
                <a:chOff x="2371902" y="354908"/>
                <a:chExt cx="682311" cy="719250"/>
              </a:xfrm>
            </p:grpSpPr>
            <p:sp>
              <p:nvSpPr>
                <p:cNvPr id="119" name="Freeform: Shape 118">
                  <a:extLst>
                    <a:ext uri="{FF2B5EF4-FFF2-40B4-BE49-F238E27FC236}">
                      <a16:creationId xmlns:a16="http://schemas.microsoft.com/office/drawing/2014/main" id="{893DF732-69DB-4DD5-946F-9EAC7274D33E}"/>
                    </a:ext>
                  </a:extLst>
                </p:cNvPr>
                <p:cNvSpPr/>
                <p:nvPr/>
              </p:nvSpPr>
              <p:spPr>
                <a:xfrm>
                  <a:off x="2544446" y="354908"/>
                  <a:ext cx="335078" cy="339369"/>
                </a:xfrm>
                <a:custGeom>
                  <a:avLst/>
                  <a:gdLst>
                    <a:gd name="connsiteX0" fmla="*/ 167539 w 335078"/>
                    <a:gd name="connsiteY0" fmla="*/ 0 h 339369"/>
                    <a:gd name="connsiteX1" fmla="*/ 335078 w 335078"/>
                    <a:gd name="connsiteY1" fmla="*/ 169685 h 339369"/>
                    <a:gd name="connsiteX2" fmla="*/ 167539 w 335078"/>
                    <a:gd name="connsiteY2" fmla="*/ 339369 h 339369"/>
                    <a:gd name="connsiteX3" fmla="*/ 0 w 335078"/>
                    <a:gd name="connsiteY3" fmla="*/ 169685 h 339369"/>
                    <a:gd name="connsiteX4" fmla="*/ 167539 w 335078"/>
                    <a:gd name="connsiteY4" fmla="*/ 0 h 339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078" h="339369">
                      <a:moveTo>
                        <a:pt x="167539" y="0"/>
                      </a:moveTo>
                      <a:cubicBezTo>
                        <a:pt x="260007" y="0"/>
                        <a:pt x="335078" y="76025"/>
                        <a:pt x="335078" y="169685"/>
                      </a:cubicBezTo>
                      <a:cubicBezTo>
                        <a:pt x="335078" y="263344"/>
                        <a:pt x="260007" y="339369"/>
                        <a:pt x="167539" y="339369"/>
                      </a:cubicBezTo>
                      <a:cubicBezTo>
                        <a:pt x="75070" y="339369"/>
                        <a:pt x="0" y="263344"/>
                        <a:pt x="0" y="169685"/>
                      </a:cubicBezTo>
                      <a:cubicBezTo>
                        <a:pt x="0" y="76025"/>
                        <a:pt x="75070" y="0"/>
                        <a:pt x="167539" y="0"/>
                      </a:cubicBezTo>
                      <a:close/>
                    </a:path>
                  </a:pathLst>
                </a:custGeom>
                <a:solidFill>
                  <a:srgbClr val="00E7CF"/>
                </a:solidFill>
                <a:ln w="9525" cap="flat">
                  <a:noFill/>
                  <a:prstDash val="solid"/>
                  <a:miter/>
                </a:ln>
              </p:spPr>
              <p:txBody>
                <a:bodyPr rtlCol="0" anchor="ctr"/>
                <a:lstStyle/>
                <a:p>
                  <a:endParaRPr lang="en-IN">
                    <a:solidFill>
                      <a:srgbClr val="FFFFFF"/>
                    </a:solidFill>
                    <a:latin typeface="Segoe UI"/>
                  </a:endParaRPr>
                </a:p>
              </p:txBody>
            </p:sp>
            <p:sp>
              <p:nvSpPr>
                <p:cNvPr id="120" name="Freeform: Shape 119">
                  <a:extLst>
                    <a:ext uri="{FF2B5EF4-FFF2-40B4-BE49-F238E27FC236}">
                      <a16:creationId xmlns:a16="http://schemas.microsoft.com/office/drawing/2014/main" id="{16569A88-0E36-436E-8A51-7C50AD7C70E5}"/>
                    </a:ext>
                  </a:extLst>
                </p:cNvPr>
                <p:cNvSpPr/>
                <p:nvPr/>
              </p:nvSpPr>
              <p:spPr>
                <a:xfrm>
                  <a:off x="2371902" y="696897"/>
                  <a:ext cx="682311" cy="377261"/>
                </a:xfrm>
                <a:custGeom>
                  <a:avLst/>
                  <a:gdLst>
                    <a:gd name="connsiteX0" fmla="*/ 178978 w 682311"/>
                    <a:gd name="connsiteY0" fmla="*/ 0 h 377261"/>
                    <a:gd name="connsiteX1" fmla="*/ 210675 w 682311"/>
                    <a:gd name="connsiteY1" fmla="*/ 14538 h 377261"/>
                    <a:gd name="connsiteX2" fmla="*/ 216395 w 682311"/>
                    <a:gd name="connsiteY2" fmla="*/ 20496 h 377261"/>
                    <a:gd name="connsiteX3" fmla="*/ 340560 w 682311"/>
                    <a:gd name="connsiteY3" fmla="*/ 67207 h 377261"/>
                    <a:gd name="connsiteX4" fmla="*/ 340798 w 682311"/>
                    <a:gd name="connsiteY4" fmla="*/ 67207 h 377261"/>
                    <a:gd name="connsiteX5" fmla="*/ 341036 w 682311"/>
                    <a:gd name="connsiteY5" fmla="*/ 67207 h 377261"/>
                    <a:gd name="connsiteX6" fmla="*/ 465201 w 682311"/>
                    <a:gd name="connsiteY6" fmla="*/ 20496 h 377261"/>
                    <a:gd name="connsiteX7" fmla="*/ 470921 w 682311"/>
                    <a:gd name="connsiteY7" fmla="*/ 14538 h 377261"/>
                    <a:gd name="connsiteX8" fmla="*/ 502618 w 682311"/>
                    <a:gd name="connsiteY8" fmla="*/ 0 h 377261"/>
                    <a:gd name="connsiteX9" fmla="*/ 583408 w 682311"/>
                    <a:gd name="connsiteY9" fmla="*/ 32174 h 377261"/>
                    <a:gd name="connsiteX10" fmla="*/ 652760 w 682311"/>
                    <a:gd name="connsiteY10" fmla="*/ 146329 h 377261"/>
                    <a:gd name="connsiteX11" fmla="*/ 682311 w 682311"/>
                    <a:gd name="connsiteY11" fmla="*/ 377261 h 377261"/>
                    <a:gd name="connsiteX12" fmla="*/ 341513 w 682311"/>
                    <a:gd name="connsiteY12" fmla="*/ 377261 h 377261"/>
                    <a:gd name="connsiteX13" fmla="*/ 340798 w 682311"/>
                    <a:gd name="connsiteY13" fmla="*/ 377261 h 377261"/>
                    <a:gd name="connsiteX14" fmla="*/ 0 w 682311"/>
                    <a:gd name="connsiteY14" fmla="*/ 377261 h 377261"/>
                    <a:gd name="connsiteX15" fmla="*/ 28836 w 682311"/>
                    <a:gd name="connsiteY15" fmla="*/ 146329 h 377261"/>
                    <a:gd name="connsiteX16" fmla="*/ 98188 w 682311"/>
                    <a:gd name="connsiteY16" fmla="*/ 32174 h 377261"/>
                    <a:gd name="connsiteX17" fmla="*/ 178978 w 682311"/>
                    <a:gd name="connsiteY17" fmla="*/ 0 h 377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2311" h="377261">
                      <a:moveTo>
                        <a:pt x="178978" y="0"/>
                      </a:moveTo>
                      <a:cubicBezTo>
                        <a:pt x="193277" y="0"/>
                        <a:pt x="202095" y="5720"/>
                        <a:pt x="210675" y="14538"/>
                      </a:cubicBezTo>
                      <a:cubicBezTo>
                        <a:pt x="213535" y="14538"/>
                        <a:pt x="213535" y="17636"/>
                        <a:pt x="216395" y="20496"/>
                      </a:cubicBezTo>
                      <a:cubicBezTo>
                        <a:pt x="256909" y="58389"/>
                        <a:pt x="300045" y="67207"/>
                        <a:pt x="340560" y="67207"/>
                      </a:cubicBezTo>
                      <a:cubicBezTo>
                        <a:pt x="340560" y="67207"/>
                        <a:pt x="340798" y="67207"/>
                        <a:pt x="340798" y="67207"/>
                      </a:cubicBezTo>
                      <a:cubicBezTo>
                        <a:pt x="340798" y="67207"/>
                        <a:pt x="341036" y="67207"/>
                        <a:pt x="341036" y="67207"/>
                      </a:cubicBezTo>
                      <a:cubicBezTo>
                        <a:pt x="381551" y="67207"/>
                        <a:pt x="424687" y="58627"/>
                        <a:pt x="465201" y="20496"/>
                      </a:cubicBezTo>
                      <a:cubicBezTo>
                        <a:pt x="468061" y="17398"/>
                        <a:pt x="468061" y="14538"/>
                        <a:pt x="470921" y="14538"/>
                      </a:cubicBezTo>
                      <a:cubicBezTo>
                        <a:pt x="479501" y="5958"/>
                        <a:pt x="488080" y="0"/>
                        <a:pt x="502618" y="0"/>
                      </a:cubicBezTo>
                      <a:cubicBezTo>
                        <a:pt x="516917" y="0"/>
                        <a:pt x="540034" y="8818"/>
                        <a:pt x="583408" y="32174"/>
                      </a:cubicBezTo>
                      <a:cubicBezTo>
                        <a:pt x="626783" y="52669"/>
                        <a:pt x="638222" y="87940"/>
                        <a:pt x="652760" y="146329"/>
                      </a:cubicBezTo>
                      <a:cubicBezTo>
                        <a:pt x="664199" y="198759"/>
                        <a:pt x="675877" y="318873"/>
                        <a:pt x="682311" y="377261"/>
                      </a:cubicBezTo>
                      <a:lnTo>
                        <a:pt x="341513" y="377261"/>
                      </a:lnTo>
                      <a:lnTo>
                        <a:pt x="340798" y="377261"/>
                      </a:lnTo>
                      <a:lnTo>
                        <a:pt x="0" y="377261"/>
                      </a:lnTo>
                      <a:cubicBezTo>
                        <a:pt x="5719" y="318873"/>
                        <a:pt x="17397" y="198998"/>
                        <a:pt x="28836" y="146329"/>
                      </a:cubicBezTo>
                      <a:cubicBezTo>
                        <a:pt x="43374" y="87702"/>
                        <a:pt x="54813" y="52669"/>
                        <a:pt x="98188" y="32174"/>
                      </a:cubicBezTo>
                      <a:cubicBezTo>
                        <a:pt x="141324" y="8818"/>
                        <a:pt x="164441" y="0"/>
                        <a:pt x="178978" y="0"/>
                      </a:cubicBezTo>
                      <a:close/>
                    </a:path>
                  </a:pathLst>
                </a:custGeom>
                <a:solidFill>
                  <a:srgbClr val="00E7CF"/>
                </a:solidFill>
                <a:ln w="9525" cap="flat">
                  <a:noFill/>
                  <a:prstDash val="solid"/>
                  <a:miter/>
                </a:ln>
              </p:spPr>
              <p:txBody>
                <a:bodyPr rtlCol="0" anchor="ctr"/>
                <a:lstStyle/>
                <a:p>
                  <a:endParaRPr lang="en-IN">
                    <a:solidFill>
                      <a:srgbClr val="FFFFFF"/>
                    </a:solidFill>
                    <a:latin typeface="Segoe UI"/>
                  </a:endParaRPr>
                </a:p>
              </p:txBody>
            </p:sp>
          </p:grpSp>
        </p:grpSp>
        <p:grpSp>
          <p:nvGrpSpPr>
            <p:cNvPr id="129" name="Group 128">
              <a:extLst>
                <a:ext uri="{FF2B5EF4-FFF2-40B4-BE49-F238E27FC236}">
                  <a16:creationId xmlns:a16="http://schemas.microsoft.com/office/drawing/2014/main" id="{4FCCAC15-6825-4833-BB7F-1F937B912F1B}"/>
                </a:ext>
              </a:extLst>
            </p:cNvPr>
            <p:cNvGrpSpPr/>
            <p:nvPr/>
          </p:nvGrpSpPr>
          <p:grpSpPr>
            <a:xfrm>
              <a:off x="1752600" y="1475616"/>
              <a:ext cx="999973" cy="639698"/>
              <a:chOff x="3587578" y="1773742"/>
              <a:chExt cx="5099222" cy="3262053"/>
            </a:xfrm>
            <a:solidFill>
              <a:schemeClr val="bg1"/>
            </a:solidFill>
          </p:grpSpPr>
          <p:sp>
            <p:nvSpPr>
              <p:cNvPr id="130" name="Freeform: Shape 129">
                <a:extLst>
                  <a:ext uri="{FF2B5EF4-FFF2-40B4-BE49-F238E27FC236}">
                    <a16:creationId xmlns:a16="http://schemas.microsoft.com/office/drawing/2014/main" id="{2BE731F2-1ACB-40E9-AA46-24085EAF5205}"/>
                  </a:ext>
                </a:extLst>
              </p:cNvPr>
              <p:cNvSpPr/>
              <p:nvPr/>
            </p:nvSpPr>
            <p:spPr>
              <a:xfrm>
                <a:off x="3587578" y="1832612"/>
                <a:ext cx="3912708" cy="2654456"/>
              </a:xfrm>
              <a:custGeom>
                <a:avLst/>
                <a:gdLst>
                  <a:gd name="connsiteX0" fmla="*/ 2342103 w 3912708"/>
                  <a:gd name="connsiteY0" fmla="*/ 166655 h 2654456"/>
                  <a:gd name="connsiteX1" fmla="*/ 2338781 w 3912708"/>
                  <a:gd name="connsiteY1" fmla="*/ 183161 h 2654456"/>
                  <a:gd name="connsiteX2" fmla="*/ 2217318 w 3912708"/>
                  <a:gd name="connsiteY2" fmla="*/ 263601 h 2654456"/>
                  <a:gd name="connsiteX3" fmla="*/ 2205804 w 3912708"/>
                  <a:gd name="connsiteY3" fmla="*/ 263601 h 2654456"/>
                  <a:gd name="connsiteX4" fmla="*/ 2214390 w 3912708"/>
                  <a:gd name="connsiteY4" fmla="*/ 255795 h 2654456"/>
                  <a:gd name="connsiteX5" fmla="*/ 2296224 w 3912708"/>
                  <a:gd name="connsiteY5" fmla="*/ 194559 h 2654456"/>
                  <a:gd name="connsiteX6" fmla="*/ 450317 w 3912708"/>
                  <a:gd name="connsiteY6" fmla="*/ 0 h 2654456"/>
                  <a:gd name="connsiteX7" fmla="*/ 2217318 w 3912708"/>
                  <a:gd name="connsiteY7" fmla="*/ 0 h 2654456"/>
                  <a:gd name="connsiteX8" fmla="*/ 2235539 w 3912708"/>
                  <a:gd name="connsiteY8" fmla="*/ 3668 h 2654456"/>
                  <a:gd name="connsiteX9" fmla="*/ 2187286 w 3912708"/>
                  <a:gd name="connsiteY9" fmla="*/ 33009 h 2654456"/>
                  <a:gd name="connsiteX10" fmla="*/ 2001117 w 3912708"/>
                  <a:gd name="connsiteY10" fmla="*/ 186669 h 2654456"/>
                  <a:gd name="connsiteX11" fmla="*/ 1931184 w 3912708"/>
                  <a:gd name="connsiteY11" fmla="*/ 263601 h 2654456"/>
                  <a:gd name="connsiteX12" fmla="*/ 450317 w 3912708"/>
                  <a:gd name="connsiteY12" fmla="*/ 263601 h 2654456"/>
                  <a:gd name="connsiteX13" fmla="*/ 263601 w 3912708"/>
                  <a:gd name="connsiteY13" fmla="*/ 450757 h 2654456"/>
                  <a:gd name="connsiteX14" fmla="*/ 263601 w 3912708"/>
                  <a:gd name="connsiteY14" fmla="*/ 2204138 h 2654456"/>
                  <a:gd name="connsiteX15" fmla="*/ 450317 w 3912708"/>
                  <a:gd name="connsiteY15" fmla="*/ 2390855 h 2654456"/>
                  <a:gd name="connsiteX16" fmla="*/ 3462391 w 3912708"/>
                  <a:gd name="connsiteY16" fmla="*/ 2390855 h 2654456"/>
                  <a:gd name="connsiteX17" fmla="*/ 3649107 w 3912708"/>
                  <a:gd name="connsiteY17" fmla="*/ 2204138 h 2654456"/>
                  <a:gd name="connsiteX18" fmla="*/ 3649107 w 3912708"/>
                  <a:gd name="connsiteY18" fmla="*/ 2075687 h 2654456"/>
                  <a:gd name="connsiteX19" fmla="*/ 3689420 w 3912708"/>
                  <a:gd name="connsiteY19" fmla="*/ 2045524 h 2654456"/>
                  <a:gd name="connsiteX20" fmla="*/ 3859972 w 3912708"/>
                  <a:gd name="connsiteY20" fmla="*/ 1874973 h 2654456"/>
                  <a:gd name="connsiteX21" fmla="*/ 3870191 w 3912708"/>
                  <a:gd name="connsiteY21" fmla="*/ 1861314 h 2654456"/>
                  <a:gd name="connsiteX22" fmla="*/ 3874157 w 3912708"/>
                  <a:gd name="connsiteY22" fmla="*/ 1863985 h 2654456"/>
                  <a:gd name="connsiteX23" fmla="*/ 3912708 w 3912708"/>
                  <a:gd name="connsiteY23" fmla="*/ 1957233 h 2654456"/>
                  <a:gd name="connsiteX24" fmla="*/ 3912708 w 3912708"/>
                  <a:gd name="connsiteY24" fmla="*/ 2204138 h 2654456"/>
                  <a:gd name="connsiteX25" fmla="*/ 3462391 w 3912708"/>
                  <a:gd name="connsiteY25" fmla="*/ 2654456 h 2654456"/>
                  <a:gd name="connsiteX26" fmla="*/ 450317 w 3912708"/>
                  <a:gd name="connsiteY26" fmla="*/ 2654456 h 2654456"/>
                  <a:gd name="connsiteX27" fmla="*/ 0 w 3912708"/>
                  <a:gd name="connsiteY27" fmla="*/ 2204138 h 2654456"/>
                  <a:gd name="connsiteX28" fmla="*/ 0 w 3912708"/>
                  <a:gd name="connsiteY28" fmla="*/ 450757 h 2654456"/>
                  <a:gd name="connsiteX29" fmla="*/ 450317 w 3912708"/>
                  <a:gd name="connsiteY29" fmla="*/ 0 h 265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912708" h="2654456">
                    <a:moveTo>
                      <a:pt x="2342103" y="166655"/>
                    </a:moveTo>
                    <a:lnTo>
                      <a:pt x="2338781" y="183161"/>
                    </a:lnTo>
                    <a:cubicBezTo>
                      <a:pt x="2318805" y="230486"/>
                      <a:pt x="2272015" y="263601"/>
                      <a:pt x="2217318" y="263601"/>
                    </a:cubicBezTo>
                    <a:lnTo>
                      <a:pt x="2205804" y="263601"/>
                    </a:lnTo>
                    <a:lnTo>
                      <a:pt x="2214390" y="255795"/>
                    </a:lnTo>
                    <a:cubicBezTo>
                      <a:pt x="2240643" y="234119"/>
                      <a:pt x="2267951" y="213677"/>
                      <a:pt x="2296224" y="194559"/>
                    </a:cubicBezTo>
                    <a:close/>
                    <a:moveTo>
                      <a:pt x="450317" y="0"/>
                    </a:moveTo>
                    <a:lnTo>
                      <a:pt x="2217318" y="0"/>
                    </a:lnTo>
                    <a:lnTo>
                      <a:pt x="2235539" y="3668"/>
                    </a:lnTo>
                    <a:lnTo>
                      <a:pt x="2187286" y="33009"/>
                    </a:lnTo>
                    <a:cubicBezTo>
                      <a:pt x="2120377" y="78245"/>
                      <a:pt x="2058038" y="129748"/>
                      <a:pt x="2001117" y="186669"/>
                    </a:cubicBezTo>
                    <a:lnTo>
                      <a:pt x="1931184" y="263601"/>
                    </a:lnTo>
                    <a:lnTo>
                      <a:pt x="450317" y="263601"/>
                    </a:lnTo>
                    <a:cubicBezTo>
                      <a:pt x="347514" y="263601"/>
                      <a:pt x="263601" y="347514"/>
                      <a:pt x="263601" y="450757"/>
                    </a:cubicBezTo>
                    <a:lnTo>
                      <a:pt x="263601" y="2204138"/>
                    </a:lnTo>
                    <a:cubicBezTo>
                      <a:pt x="263601" y="2306942"/>
                      <a:pt x="347514" y="2390855"/>
                      <a:pt x="450317" y="2390855"/>
                    </a:cubicBezTo>
                    <a:lnTo>
                      <a:pt x="3462391" y="2390855"/>
                    </a:lnTo>
                    <a:cubicBezTo>
                      <a:pt x="3565194" y="2390855"/>
                      <a:pt x="3649107" y="2306942"/>
                      <a:pt x="3649107" y="2204138"/>
                    </a:cubicBezTo>
                    <a:lnTo>
                      <a:pt x="3649107" y="2075687"/>
                    </a:lnTo>
                    <a:lnTo>
                      <a:pt x="3689420" y="2045524"/>
                    </a:lnTo>
                    <a:cubicBezTo>
                      <a:pt x="3751547" y="1994233"/>
                      <a:pt x="3808681" y="1937100"/>
                      <a:pt x="3859972" y="1874973"/>
                    </a:cubicBezTo>
                    <a:lnTo>
                      <a:pt x="3870191" y="1861314"/>
                    </a:lnTo>
                    <a:lnTo>
                      <a:pt x="3874157" y="1863985"/>
                    </a:lnTo>
                    <a:cubicBezTo>
                      <a:pt x="3897991" y="1887818"/>
                      <a:pt x="3912708" y="1920768"/>
                      <a:pt x="3912708" y="1957233"/>
                    </a:cubicBezTo>
                    <a:lnTo>
                      <a:pt x="3912708" y="2204138"/>
                    </a:lnTo>
                    <a:cubicBezTo>
                      <a:pt x="3912708" y="2452363"/>
                      <a:pt x="3710615" y="2654456"/>
                      <a:pt x="3462391" y="2654456"/>
                    </a:cubicBezTo>
                    <a:lnTo>
                      <a:pt x="450317" y="2654456"/>
                    </a:lnTo>
                    <a:cubicBezTo>
                      <a:pt x="202093" y="2654456"/>
                      <a:pt x="0" y="2452363"/>
                      <a:pt x="0" y="2204138"/>
                    </a:cubicBezTo>
                    <a:lnTo>
                      <a:pt x="0" y="450757"/>
                    </a:lnTo>
                    <a:cubicBezTo>
                      <a:pt x="0" y="202093"/>
                      <a:pt x="202093" y="0"/>
                      <a:pt x="450317" y="0"/>
                    </a:cubicBezTo>
                    <a:close/>
                  </a:path>
                </a:pathLst>
              </a:custGeom>
              <a:grpFill/>
              <a:ln w="26358" cap="flat">
                <a:noFill/>
                <a:prstDash val="solid"/>
                <a:miter/>
              </a:ln>
            </p:spPr>
            <p:txBody>
              <a:bodyPr rtlCol="0" anchor="ctr"/>
              <a:lstStyle/>
              <a:p>
                <a:endParaRPr lang="en-IN"/>
              </a:p>
            </p:txBody>
          </p:sp>
          <p:sp>
            <p:nvSpPr>
              <p:cNvPr id="131" name="Freeform: Shape 130">
                <a:extLst>
                  <a:ext uri="{FF2B5EF4-FFF2-40B4-BE49-F238E27FC236}">
                    <a16:creationId xmlns:a16="http://schemas.microsoft.com/office/drawing/2014/main" id="{510DC8C6-E49F-4196-BFD6-86A2559D0AA0}"/>
                  </a:ext>
                </a:extLst>
              </p:cNvPr>
              <p:cNvSpPr/>
              <p:nvPr/>
            </p:nvSpPr>
            <p:spPr>
              <a:xfrm>
                <a:off x="5456064" y="4355267"/>
                <a:ext cx="175733" cy="569376"/>
              </a:xfrm>
              <a:custGeom>
                <a:avLst/>
                <a:gdLst>
                  <a:gd name="connsiteX0" fmla="*/ 0 w 105547"/>
                  <a:gd name="connsiteY0" fmla="*/ 0 h 341973"/>
                  <a:gd name="connsiteX1" fmla="*/ 105547 w 105547"/>
                  <a:gd name="connsiteY1" fmla="*/ 0 h 341973"/>
                  <a:gd name="connsiteX2" fmla="*/ 105547 w 105547"/>
                  <a:gd name="connsiteY2" fmla="*/ 341973 h 341973"/>
                  <a:gd name="connsiteX3" fmla="*/ 0 w 105547"/>
                  <a:gd name="connsiteY3" fmla="*/ 341973 h 341973"/>
                </a:gdLst>
                <a:ahLst/>
                <a:cxnLst>
                  <a:cxn ang="0">
                    <a:pos x="connsiteX0" y="connsiteY0"/>
                  </a:cxn>
                  <a:cxn ang="0">
                    <a:pos x="connsiteX1" y="connsiteY1"/>
                  </a:cxn>
                  <a:cxn ang="0">
                    <a:pos x="connsiteX2" y="connsiteY2"/>
                  </a:cxn>
                  <a:cxn ang="0">
                    <a:pos x="connsiteX3" y="connsiteY3"/>
                  </a:cxn>
                </a:cxnLst>
                <a:rect l="l" t="t" r="r" b="b"/>
                <a:pathLst>
                  <a:path w="105547" h="341973">
                    <a:moveTo>
                      <a:pt x="0" y="0"/>
                    </a:moveTo>
                    <a:lnTo>
                      <a:pt x="105547" y="0"/>
                    </a:lnTo>
                    <a:lnTo>
                      <a:pt x="105547" y="341973"/>
                    </a:lnTo>
                    <a:lnTo>
                      <a:pt x="0" y="341973"/>
                    </a:lnTo>
                    <a:close/>
                  </a:path>
                </a:pathLst>
              </a:custGeom>
              <a:grpFill/>
              <a:ln w="26358" cap="flat">
                <a:noFill/>
                <a:prstDash val="solid"/>
                <a:miter/>
              </a:ln>
            </p:spPr>
            <p:txBody>
              <a:bodyPr rtlCol="0" anchor="ctr"/>
              <a:lstStyle/>
              <a:p>
                <a:endParaRPr lang="en-IN"/>
              </a:p>
            </p:txBody>
          </p:sp>
          <p:sp>
            <p:nvSpPr>
              <p:cNvPr id="132" name="Freeform: Shape 131">
                <a:extLst>
                  <a:ext uri="{FF2B5EF4-FFF2-40B4-BE49-F238E27FC236}">
                    <a16:creationId xmlns:a16="http://schemas.microsoft.com/office/drawing/2014/main" id="{F4535181-6100-4D03-9ECC-28E5206377DF}"/>
                  </a:ext>
                </a:extLst>
              </p:cNvPr>
              <p:cNvSpPr/>
              <p:nvPr/>
            </p:nvSpPr>
            <p:spPr>
              <a:xfrm>
                <a:off x="4717105" y="4860062"/>
                <a:ext cx="1654092" cy="175733"/>
              </a:xfrm>
              <a:custGeom>
                <a:avLst/>
                <a:gdLst>
                  <a:gd name="connsiteX0" fmla="*/ 940427 w 993464"/>
                  <a:gd name="connsiteY0" fmla="*/ 105547 h 105547"/>
                  <a:gd name="connsiteX1" fmla="*/ 52774 w 993464"/>
                  <a:gd name="connsiteY1" fmla="*/ 105547 h 105547"/>
                  <a:gd name="connsiteX2" fmla="*/ 0 w 993464"/>
                  <a:gd name="connsiteY2" fmla="*/ 52774 h 105547"/>
                  <a:gd name="connsiteX3" fmla="*/ 52774 w 993464"/>
                  <a:gd name="connsiteY3" fmla="*/ 0 h 105547"/>
                  <a:gd name="connsiteX4" fmla="*/ 940690 w 993464"/>
                  <a:gd name="connsiteY4" fmla="*/ 0 h 105547"/>
                  <a:gd name="connsiteX5" fmla="*/ 993464 w 993464"/>
                  <a:gd name="connsiteY5" fmla="*/ 52774 h 105547"/>
                  <a:gd name="connsiteX6" fmla="*/ 940427 w 993464"/>
                  <a:gd name="connsiteY6" fmla="*/ 105547 h 105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464" h="105547">
                    <a:moveTo>
                      <a:pt x="940427" y="105547"/>
                    </a:moveTo>
                    <a:lnTo>
                      <a:pt x="52774" y="105547"/>
                    </a:lnTo>
                    <a:cubicBezTo>
                      <a:pt x="23748" y="105547"/>
                      <a:pt x="0" y="81799"/>
                      <a:pt x="0" y="52774"/>
                    </a:cubicBezTo>
                    <a:cubicBezTo>
                      <a:pt x="0" y="23748"/>
                      <a:pt x="23748" y="0"/>
                      <a:pt x="52774" y="0"/>
                    </a:cubicBezTo>
                    <a:lnTo>
                      <a:pt x="940690" y="0"/>
                    </a:lnTo>
                    <a:cubicBezTo>
                      <a:pt x="969716" y="0"/>
                      <a:pt x="993464" y="23748"/>
                      <a:pt x="993464" y="52774"/>
                    </a:cubicBezTo>
                    <a:cubicBezTo>
                      <a:pt x="993464" y="81799"/>
                      <a:pt x="969716" y="105547"/>
                      <a:pt x="940427" y="105547"/>
                    </a:cubicBezTo>
                    <a:close/>
                  </a:path>
                </a:pathLst>
              </a:custGeom>
              <a:grpFill/>
              <a:ln w="26358" cap="flat">
                <a:noFill/>
                <a:prstDash val="solid"/>
                <a:miter/>
              </a:ln>
            </p:spPr>
            <p:txBody>
              <a:bodyPr rtlCol="0" anchor="ctr"/>
              <a:lstStyle/>
              <a:p>
                <a:endParaRPr lang="en-IN"/>
              </a:p>
            </p:txBody>
          </p:sp>
          <p:sp>
            <p:nvSpPr>
              <p:cNvPr id="133" name="Freeform: Shape 132">
                <a:extLst>
                  <a:ext uri="{FF2B5EF4-FFF2-40B4-BE49-F238E27FC236}">
                    <a16:creationId xmlns:a16="http://schemas.microsoft.com/office/drawing/2014/main" id="{76DF5EEE-34C2-452B-A988-2CC089909B12}"/>
                  </a:ext>
                </a:extLst>
              </p:cNvPr>
              <p:cNvSpPr/>
              <p:nvPr/>
            </p:nvSpPr>
            <p:spPr>
              <a:xfrm>
                <a:off x="3933045" y="2690567"/>
                <a:ext cx="1697575" cy="1155511"/>
              </a:xfrm>
              <a:custGeom>
                <a:avLst/>
                <a:gdLst>
                  <a:gd name="connsiteX0" fmla="*/ 434788 w 1697575"/>
                  <a:gd name="connsiteY0" fmla="*/ 63 h 1155511"/>
                  <a:gd name="connsiteX1" fmla="*/ 518701 w 1697575"/>
                  <a:gd name="connsiteY1" fmla="*/ 50148 h 1155511"/>
                  <a:gd name="connsiteX2" fmla="*/ 806905 w 1697575"/>
                  <a:gd name="connsiteY2" fmla="*/ 656868 h 1155511"/>
                  <a:gd name="connsiteX3" fmla="*/ 1101257 w 1697575"/>
                  <a:gd name="connsiteY3" fmla="*/ 252680 h 1155511"/>
                  <a:gd name="connsiteX4" fmla="*/ 1169794 w 1697575"/>
                  <a:gd name="connsiteY4" fmla="*/ 216655 h 1155511"/>
                  <a:gd name="connsiteX5" fmla="*/ 1240088 w 1697575"/>
                  <a:gd name="connsiteY5" fmla="*/ 248726 h 1155511"/>
                  <a:gd name="connsiteX6" fmla="*/ 1593752 w 1697575"/>
                  <a:gd name="connsiteY6" fmla="*/ 678834 h 1155511"/>
                  <a:gd name="connsiteX7" fmla="*/ 1614688 w 1697575"/>
                  <a:gd name="connsiteY7" fmla="*/ 657898 h 1155511"/>
                  <a:gd name="connsiteX8" fmla="*/ 1697575 w 1697575"/>
                  <a:gd name="connsiteY8" fmla="*/ 823673 h 1155511"/>
                  <a:gd name="connsiteX9" fmla="*/ 1649986 w 1697575"/>
                  <a:gd name="connsiteY9" fmla="*/ 871263 h 1155511"/>
                  <a:gd name="connsiteX10" fmla="*/ 1583647 w 1697575"/>
                  <a:gd name="connsiteY10" fmla="*/ 896744 h 1155511"/>
                  <a:gd name="connsiteX11" fmla="*/ 1519943 w 1697575"/>
                  <a:gd name="connsiteY11" fmla="*/ 864673 h 1155511"/>
                  <a:gd name="connsiteX12" fmla="*/ 1176824 w 1697575"/>
                  <a:gd name="connsiteY12" fmla="*/ 447745 h 1155511"/>
                  <a:gd name="connsiteX13" fmla="*/ 862260 w 1697575"/>
                  <a:gd name="connsiteY13" fmla="*/ 879610 h 1155511"/>
                  <a:gd name="connsiteX14" fmla="*/ 783181 w 1697575"/>
                  <a:gd name="connsiteY14" fmla="*/ 915197 h 1155511"/>
                  <a:gd name="connsiteX15" fmla="*/ 712008 w 1697575"/>
                  <a:gd name="connsiteY15" fmla="*/ 865551 h 1155511"/>
                  <a:gd name="connsiteX16" fmla="*/ 451043 w 1697575"/>
                  <a:gd name="connsiteY16" fmla="*/ 316384 h 1155511"/>
                  <a:gd name="connsiteX17" fmla="*/ 170748 w 1697575"/>
                  <a:gd name="connsiteY17" fmla="*/ 1097081 h 1155511"/>
                  <a:gd name="connsiteX18" fmla="*/ 88154 w 1697575"/>
                  <a:gd name="connsiteY18" fmla="*/ 1155511 h 1155511"/>
                  <a:gd name="connsiteX19" fmla="*/ 58279 w 1697575"/>
                  <a:gd name="connsiteY19" fmla="*/ 1150240 h 1155511"/>
                  <a:gd name="connsiteX20" fmla="*/ 5120 w 1697575"/>
                  <a:gd name="connsiteY20" fmla="*/ 1037771 h 1155511"/>
                  <a:gd name="connsiteX21" fmla="*/ 356588 w 1697575"/>
                  <a:gd name="connsiteY21" fmla="*/ 58056 h 1155511"/>
                  <a:gd name="connsiteX22" fmla="*/ 434788 w 1697575"/>
                  <a:gd name="connsiteY22" fmla="*/ 63 h 115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97575" h="1155511">
                    <a:moveTo>
                      <a:pt x="434788" y="63"/>
                    </a:moveTo>
                    <a:cubicBezTo>
                      <a:pt x="470375" y="-1256"/>
                      <a:pt x="503325" y="18077"/>
                      <a:pt x="518701" y="50148"/>
                    </a:cubicBezTo>
                    <a:lnTo>
                      <a:pt x="806905" y="656868"/>
                    </a:lnTo>
                    <a:lnTo>
                      <a:pt x="1101257" y="252680"/>
                    </a:lnTo>
                    <a:cubicBezTo>
                      <a:pt x="1117074" y="230714"/>
                      <a:pt x="1142555" y="217534"/>
                      <a:pt x="1169794" y="216655"/>
                    </a:cubicBezTo>
                    <a:cubicBezTo>
                      <a:pt x="1197033" y="215336"/>
                      <a:pt x="1222954" y="227639"/>
                      <a:pt x="1240088" y="248726"/>
                    </a:cubicBezTo>
                    <a:lnTo>
                      <a:pt x="1593752" y="678834"/>
                    </a:lnTo>
                    <a:lnTo>
                      <a:pt x="1614688" y="657898"/>
                    </a:lnTo>
                    <a:lnTo>
                      <a:pt x="1697575" y="823673"/>
                    </a:lnTo>
                    <a:lnTo>
                      <a:pt x="1649986" y="871263"/>
                    </a:lnTo>
                    <a:cubicBezTo>
                      <a:pt x="1632412" y="888835"/>
                      <a:pt x="1608248" y="897623"/>
                      <a:pt x="1583647" y="896744"/>
                    </a:cubicBezTo>
                    <a:cubicBezTo>
                      <a:pt x="1559043" y="895427"/>
                      <a:pt x="1535759" y="884004"/>
                      <a:pt x="1519943" y="864673"/>
                    </a:cubicBezTo>
                    <a:lnTo>
                      <a:pt x="1176824" y="447745"/>
                    </a:lnTo>
                    <a:lnTo>
                      <a:pt x="862260" y="879610"/>
                    </a:lnTo>
                    <a:cubicBezTo>
                      <a:pt x="843809" y="904653"/>
                      <a:pt x="813933" y="918272"/>
                      <a:pt x="783181" y="915197"/>
                    </a:cubicBezTo>
                    <a:cubicBezTo>
                      <a:pt x="752427" y="912122"/>
                      <a:pt x="725188" y="893229"/>
                      <a:pt x="712008" y="865551"/>
                    </a:cubicBezTo>
                    <a:lnTo>
                      <a:pt x="451043" y="316384"/>
                    </a:lnTo>
                    <a:lnTo>
                      <a:pt x="170748" y="1097081"/>
                    </a:lnTo>
                    <a:cubicBezTo>
                      <a:pt x="158008" y="1133106"/>
                      <a:pt x="124179" y="1155511"/>
                      <a:pt x="88154" y="1155511"/>
                    </a:cubicBezTo>
                    <a:cubicBezTo>
                      <a:pt x="78489" y="1155511"/>
                      <a:pt x="68384" y="1153755"/>
                      <a:pt x="58279" y="1150240"/>
                    </a:cubicBezTo>
                    <a:cubicBezTo>
                      <a:pt x="12589" y="1133985"/>
                      <a:pt x="-11135" y="1083461"/>
                      <a:pt x="5120" y="1037771"/>
                    </a:cubicBezTo>
                    <a:lnTo>
                      <a:pt x="356588" y="58056"/>
                    </a:lnTo>
                    <a:cubicBezTo>
                      <a:pt x="368449" y="24667"/>
                      <a:pt x="399642" y="1822"/>
                      <a:pt x="434788" y="63"/>
                    </a:cubicBezTo>
                    <a:close/>
                  </a:path>
                </a:pathLst>
              </a:custGeom>
              <a:grpFill/>
              <a:ln w="26358" cap="flat">
                <a:noFill/>
                <a:prstDash val="solid"/>
                <a:miter/>
              </a:ln>
            </p:spPr>
            <p:txBody>
              <a:bodyPr rtlCol="0" anchor="ctr"/>
              <a:lstStyle/>
              <a:p>
                <a:endParaRPr lang="en-IN"/>
              </a:p>
            </p:txBody>
          </p:sp>
          <p:sp>
            <p:nvSpPr>
              <p:cNvPr id="134" name="Freeform: Shape 133">
                <a:extLst>
                  <a:ext uri="{FF2B5EF4-FFF2-40B4-BE49-F238E27FC236}">
                    <a16:creationId xmlns:a16="http://schemas.microsoft.com/office/drawing/2014/main" id="{708E4EA6-230A-4C12-9619-7B375CB34CE3}"/>
                  </a:ext>
                </a:extLst>
              </p:cNvPr>
              <p:cNvSpPr/>
              <p:nvPr/>
            </p:nvSpPr>
            <p:spPr>
              <a:xfrm>
                <a:off x="5343155" y="1773742"/>
                <a:ext cx="2268719" cy="2268719"/>
              </a:xfrm>
              <a:custGeom>
                <a:avLst/>
                <a:gdLst>
                  <a:gd name="connsiteX0" fmla="*/ 681308 w 1362615"/>
                  <a:gd name="connsiteY0" fmla="*/ 1362616 h 1362615"/>
                  <a:gd name="connsiteX1" fmla="*/ 0 w 1362615"/>
                  <a:gd name="connsiteY1" fmla="*/ 681308 h 1362615"/>
                  <a:gd name="connsiteX2" fmla="*/ 681308 w 1362615"/>
                  <a:gd name="connsiteY2" fmla="*/ 0 h 1362615"/>
                  <a:gd name="connsiteX3" fmla="*/ 1362616 w 1362615"/>
                  <a:gd name="connsiteY3" fmla="*/ 681308 h 1362615"/>
                  <a:gd name="connsiteX4" fmla="*/ 681308 w 1362615"/>
                  <a:gd name="connsiteY4" fmla="*/ 1362616 h 1362615"/>
                  <a:gd name="connsiteX5" fmla="*/ 681308 w 1362615"/>
                  <a:gd name="connsiteY5" fmla="*/ 105547 h 1362615"/>
                  <a:gd name="connsiteX6" fmla="*/ 105547 w 1362615"/>
                  <a:gd name="connsiteY6" fmla="*/ 681308 h 1362615"/>
                  <a:gd name="connsiteX7" fmla="*/ 681308 w 1362615"/>
                  <a:gd name="connsiteY7" fmla="*/ 1257068 h 1362615"/>
                  <a:gd name="connsiteX8" fmla="*/ 1257069 w 1362615"/>
                  <a:gd name="connsiteY8" fmla="*/ 681308 h 1362615"/>
                  <a:gd name="connsiteX9" fmla="*/ 681308 w 1362615"/>
                  <a:gd name="connsiteY9" fmla="*/ 105547 h 136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2615" h="1362615">
                    <a:moveTo>
                      <a:pt x="681308" y="1362616"/>
                    </a:moveTo>
                    <a:cubicBezTo>
                      <a:pt x="305560" y="1362616"/>
                      <a:pt x="0" y="1057056"/>
                      <a:pt x="0" y="681308"/>
                    </a:cubicBezTo>
                    <a:cubicBezTo>
                      <a:pt x="0" y="305559"/>
                      <a:pt x="305560" y="0"/>
                      <a:pt x="681308" y="0"/>
                    </a:cubicBezTo>
                    <a:cubicBezTo>
                      <a:pt x="1057056" y="0"/>
                      <a:pt x="1362616" y="305559"/>
                      <a:pt x="1362616" y="681308"/>
                    </a:cubicBezTo>
                    <a:cubicBezTo>
                      <a:pt x="1362616" y="1057056"/>
                      <a:pt x="1057056" y="1362616"/>
                      <a:pt x="681308" y="1362616"/>
                    </a:cubicBezTo>
                    <a:close/>
                    <a:moveTo>
                      <a:pt x="681308" y="105547"/>
                    </a:moveTo>
                    <a:cubicBezTo>
                      <a:pt x="363874" y="105547"/>
                      <a:pt x="105547" y="363874"/>
                      <a:pt x="105547" y="681308"/>
                    </a:cubicBezTo>
                    <a:cubicBezTo>
                      <a:pt x="105547" y="998741"/>
                      <a:pt x="363874" y="1257068"/>
                      <a:pt x="681308" y="1257068"/>
                    </a:cubicBezTo>
                    <a:cubicBezTo>
                      <a:pt x="998741" y="1257068"/>
                      <a:pt x="1257069" y="998741"/>
                      <a:pt x="1257069" y="681308"/>
                    </a:cubicBezTo>
                    <a:cubicBezTo>
                      <a:pt x="1257069" y="363874"/>
                      <a:pt x="998741" y="105547"/>
                      <a:pt x="681308" y="105547"/>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35" name="Freeform: Shape 134">
                <a:extLst>
                  <a:ext uri="{FF2B5EF4-FFF2-40B4-BE49-F238E27FC236}">
                    <a16:creationId xmlns:a16="http://schemas.microsoft.com/office/drawing/2014/main" id="{2F9F78AC-24E2-45A4-AA4B-80662351BAC5}"/>
                  </a:ext>
                </a:extLst>
              </p:cNvPr>
              <p:cNvSpPr/>
              <p:nvPr/>
            </p:nvSpPr>
            <p:spPr>
              <a:xfrm>
                <a:off x="7298724" y="3339621"/>
                <a:ext cx="1030050" cy="817506"/>
              </a:xfrm>
              <a:custGeom>
                <a:avLst/>
                <a:gdLst>
                  <a:gd name="connsiteX0" fmla="*/ 565941 w 618658"/>
                  <a:gd name="connsiteY0" fmla="*/ 491002 h 491002"/>
                  <a:gd name="connsiteX1" fmla="*/ 534277 w 618658"/>
                  <a:gd name="connsiteY1" fmla="*/ 480448 h 491002"/>
                  <a:gd name="connsiteX2" fmla="*/ 21053 w 618658"/>
                  <a:gd name="connsiteY2" fmla="*/ 94936 h 491002"/>
                  <a:gd name="connsiteX3" fmla="*/ 10498 w 618658"/>
                  <a:gd name="connsiteY3" fmla="*/ 21053 h 491002"/>
                  <a:gd name="connsiteX4" fmla="*/ 84381 w 618658"/>
                  <a:gd name="connsiteY4" fmla="*/ 10498 h 491002"/>
                  <a:gd name="connsiteX5" fmla="*/ 597605 w 618658"/>
                  <a:gd name="connsiteY5" fmla="*/ 396010 h 491002"/>
                  <a:gd name="connsiteX6" fmla="*/ 608160 w 618658"/>
                  <a:gd name="connsiteY6" fmla="*/ 469893 h 491002"/>
                  <a:gd name="connsiteX7" fmla="*/ 565941 w 618658"/>
                  <a:gd name="connsiteY7" fmla="*/ 491002 h 491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8658" h="491002">
                    <a:moveTo>
                      <a:pt x="565941" y="491002"/>
                    </a:moveTo>
                    <a:cubicBezTo>
                      <a:pt x="554859" y="491002"/>
                      <a:pt x="543776" y="487572"/>
                      <a:pt x="534277" y="480448"/>
                    </a:cubicBezTo>
                    <a:lnTo>
                      <a:pt x="21053" y="94936"/>
                    </a:lnTo>
                    <a:cubicBezTo>
                      <a:pt x="-2167" y="77521"/>
                      <a:pt x="-6917" y="44273"/>
                      <a:pt x="10498" y="21053"/>
                    </a:cubicBezTo>
                    <a:cubicBezTo>
                      <a:pt x="27914" y="-2167"/>
                      <a:pt x="61161" y="-6917"/>
                      <a:pt x="84381" y="10498"/>
                    </a:cubicBezTo>
                    <a:lnTo>
                      <a:pt x="597605" y="396010"/>
                    </a:lnTo>
                    <a:cubicBezTo>
                      <a:pt x="620826" y="413425"/>
                      <a:pt x="625575" y="446673"/>
                      <a:pt x="608160" y="469893"/>
                    </a:cubicBezTo>
                    <a:cubicBezTo>
                      <a:pt x="597605" y="483878"/>
                      <a:pt x="581773" y="491002"/>
                      <a:pt x="565941" y="491002"/>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36" name="Freeform: Shape 135">
                <a:extLst>
                  <a:ext uri="{FF2B5EF4-FFF2-40B4-BE49-F238E27FC236}">
                    <a16:creationId xmlns:a16="http://schemas.microsoft.com/office/drawing/2014/main" id="{2A163EB0-F4E6-4003-BD29-A111A276B540}"/>
                  </a:ext>
                </a:extLst>
              </p:cNvPr>
              <p:cNvSpPr/>
              <p:nvPr/>
            </p:nvSpPr>
            <p:spPr>
              <a:xfrm>
                <a:off x="7517545" y="3466180"/>
                <a:ext cx="1169255" cy="998480"/>
              </a:xfrm>
              <a:custGeom>
                <a:avLst/>
                <a:gdLst>
                  <a:gd name="connsiteX0" fmla="*/ 557214 w 702266"/>
                  <a:gd name="connsiteY0" fmla="*/ 599697 h 599697"/>
                  <a:gd name="connsiteX1" fmla="*/ 470138 w 702266"/>
                  <a:gd name="connsiteY1" fmla="*/ 570672 h 599697"/>
                  <a:gd name="connsiteX2" fmla="*/ 57976 w 702266"/>
                  <a:gd name="connsiteY2" fmla="*/ 261154 h 599697"/>
                  <a:gd name="connsiteX3" fmla="*/ 29214 w 702266"/>
                  <a:gd name="connsiteY3" fmla="*/ 57976 h 599697"/>
                  <a:gd name="connsiteX4" fmla="*/ 232392 w 702266"/>
                  <a:gd name="connsiteY4" fmla="*/ 29214 h 599697"/>
                  <a:gd name="connsiteX5" fmla="*/ 644291 w 702266"/>
                  <a:gd name="connsiteY5" fmla="*/ 338731 h 599697"/>
                  <a:gd name="connsiteX6" fmla="*/ 673052 w 702266"/>
                  <a:gd name="connsiteY6" fmla="*/ 541910 h 599697"/>
                  <a:gd name="connsiteX7" fmla="*/ 557214 w 702266"/>
                  <a:gd name="connsiteY7" fmla="*/ 599697 h 599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266" h="599697">
                    <a:moveTo>
                      <a:pt x="557214" y="599697"/>
                    </a:moveTo>
                    <a:cubicBezTo>
                      <a:pt x="526869" y="599697"/>
                      <a:pt x="496261" y="590198"/>
                      <a:pt x="470138" y="570672"/>
                    </a:cubicBezTo>
                    <a:lnTo>
                      <a:pt x="57976" y="261154"/>
                    </a:lnTo>
                    <a:cubicBezTo>
                      <a:pt x="-6144" y="212866"/>
                      <a:pt x="-19074" y="122096"/>
                      <a:pt x="29214" y="57976"/>
                    </a:cubicBezTo>
                    <a:cubicBezTo>
                      <a:pt x="77502" y="-6144"/>
                      <a:pt x="168272" y="-19074"/>
                      <a:pt x="232392" y="29214"/>
                    </a:cubicBezTo>
                    <a:lnTo>
                      <a:pt x="644291" y="338731"/>
                    </a:lnTo>
                    <a:cubicBezTo>
                      <a:pt x="708411" y="387019"/>
                      <a:pt x="721340" y="477790"/>
                      <a:pt x="673052" y="541910"/>
                    </a:cubicBezTo>
                    <a:cubicBezTo>
                      <a:pt x="644819" y="579643"/>
                      <a:pt x="601280" y="599697"/>
                      <a:pt x="557214" y="599697"/>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37" name="Graphic 18">
                <a:extLst>
                  <a:ext uri="{FF2B5EF4-FFF2-40B4-BE49-F238E27FC236}">
                    <a16:creationId xmlns:a16="http://schemas.microsoft.com/office/drawing/2014/main" id="{001DC6F8-2542-4EFE-8A5A-5FCB8655049B}"/>
                  </a:ext>
                </a:extLst>
              </p:cNvPr>
              <p:cNvSpPr/>
              <p:nvPr/>
            </p:nvSpPr>
            <p:spPr>
              <a:xfrm>
                <a:off x="6133147" y="2193068"/>
                <a:ext cx="629604" cy="1383886"/>
              </a:xfrm>
              <a:custGeom>
                <a:avLst/>
                <a:gdLst>
                  <a:gd name="connsiteX0" fmla="*/ 116205 w 192404"/>
                  <a:gd name="connsiteY0" fmla="*/ 193358 h 422909"/>
                  <a:gd name="connsiteX1" fmla="*/ 116205 w 192404"/>
                  <a:gd name="connsiteY1" fmla="*/ 82868 h 422909"/>
                  <a:gd name="connsiteX2" fmla="*/ 152400 w 192404"/>
                  <a:gd name="connsiteY2" fmla="*/ 135255 h 422909"/>
                  <a:gd name="connsiteX3" fmla="*/ 172402 w 192404"/>
                  <a:gd name="connsiteY3" fmla="*/ 155258 h 422909"/>
                  <a:gd name="connsiteX4" fmla="*/ 192405 w 192404"/>
                  <a:gd name="connsiteY4" fmla="*/ 135255 h 422909"/>
                  <a:gd name="connsiteX5" fmla="*/ 116205 w 192404"/>
                  <a:gd name="connsiteY5" fmla="*/ 40957 h 422909"/>
                  <a:gd name="connsiteX6" fmla="*/ 116205 w 192404"/>
                  <a:gd name="connsiteY6" fmla="*/ 20003 h 422909"/>
                  <a:gd name="connsiteX7" fmla="*/ 96202 w 192404"/>
                  <a:gd name="connsiteY7" fmla="*/ 0 h 422909"/>
                  <a:gd name="connsiteX8" fmla="*/ 76200 w 192404"/>
                  <a:gd name="connsiteY8" fmla="*/ 20003 h 422909"/>
                  <a:gd name="connsiteX9" fmla="*/ 76200 w 192404"/>
                  <a:gd name="connsiteY9" fmla="*/ 40957 h 422909"/>
                  <a:gd name="connsiteX10" fmla="*/ 0 w 192404"/>
                  <a:gd name="connsiteY10" fmla="*/ 135255 h 422909"/>
                  <a:gd name="connsiteX11" fmla="*/ 76200 w 192404"/>
                  <a:gd name="connsiteY11" fmla="*/ 229553 h 422909"/>
                  <a:gd name="connsiteX12" fmla="*/ 76200 w 192404"/>
                  <a:gd name="connsiteY12" fmla="*/ 340043 h 422909"/>
                  <a:gd name="connsiteX13" fmla="*/ 40005 w 192404"/>
                  <a:gd name="connsiteY13" fmla="*/ 287655 h 422909"/>
                  <a:gd name="connsiteX14" fmla="*/ 20002 w 192404"/>
                  <a:gd name="connsiteY14" fmla="*/ 267653 h 422909"/>
                  <a:gd name="connsiteX15" fmla="*/ 0 w 192404"/>
                  <a:gd name="connsiteY15" fmla="*/ 287655 h 422909"/>
                  <a:gd name="connsiteX16" fmla="*/ 76200 w 192404"/>
                  <a:gd name="connsiteY16" fmla="*/ 381953 h 422909"/>
                  <a:gd name="connsiteX17" fmla="*/ 76200 w 192404"/>
                  <a:gd name="connsiteY17" fmla="*/ 402908 h 422909"/>
                  <a:gd name="connsiteX18" fmla="*/ 96202 w 192404"/>
                  <a:gd name="connsiteY18" fmla="*/ 422910 h 422909"/>
                  <a:gd name="connsiteX19" fmla="*/ 116205 w 192404"/>
                  <a:gd name="connsiteY19" fmla="*/ 402908 h 422909"/>
                  <a:gd name="connsiteX20" fmla="*/ 116205 w 192404"/>
                  <a:gd name="connsiteY20" fmla="*/ 381953 h 422909"/>
                  <a:gd name="connsiteX21" fmla="*/ 192405 w 192404"/>
                  <a:gd name="connsiteY21" fmla="*/ 287655 h 422909"/>
                  <a:gd name="connsiteX22" fmla="*/ 116205 w 192404"/>
                  <a:gd name="connsiteY22" fmla="*/ 193358 h 422909"/>
                  <a:gd name="connsiteX23" fmla="*/ 40005 w 192404"/>
                  <a:gd name="connsiteY23" fmla="*/ 135255 h 422909"/>
                  <a:gd name="connsiteX24" fmla="*/ 76200 w 192404"/>
                  <a:gd name="connsiteY24" fmla="*/ 82868 h 422909"/>
                  <a:gd name="connsiteX25" fmla="*/ 76200 w 192404"/>
                  <a:gd name="connsiteY25" fmla="*/ 187643 h 422909"/>
                  <a:gd name="connsiteX26" fmla="*/ 40005 w 192404"/>
                  <a:gd name="connsiteY26" fmla="*/ 135255 h 422909"/>
                  <a:gd name="connsiteX27" fmla="*/ 116205 w 192404"/>
                  <a:gd name="connsiteY27" fmla="*/ 340043 h 422909"/>
                  <a:gd name="connsiteX28" fmla="*/ 116205 w 192404"/>
                  <a:gd name="connsiteY28" fmla="*/ 235268 h 422909"/>
                  <a:gd name="connsiteX29" fmla="*/ 152400 w 192404"/>
                  <a:gd name="connsiteY29" fmla="*/ 287655 h 422909"/>
                  <a:gd name="connsiteX30" fmla="*/ 116205 w 192404"/>
                  <a:gd name="connsiteY30" fmla="*/ 340043 h 422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2404" h="422909">
                    <a:moveTo>
                      <a:pt x="116205" y="193358"/>
                    </a:moveTo>
                    <a:lnTo>
                      <a:pt x="116205" y="82868"/>
                    </a:lnTo>
                    <a:cubicBezTo>
                      <a:pt x="137160" y="90488"/>
                      <a:pt x="152400" y="111443"/>
                      <a:pt x="152400" y="135255"/>
                    </a:cubicBezTo>
                    <a:cubicBezTo>
                      <a:pt x="152400" y="146685"/>
                      <a:pt x="160972" y="155258"/>
                      <a:pt x="172402" y="155258"/>
                    </a:cubicBezTo>
                    <a:cubicBezTo>
                      <a:pt x="183833" y="155258"/>
                      <a:pt x="192405" y="146685"/>
                      <a:pt x="192405" y="135255"/>
                    </a:cubicBezTo>
                    <a:cubicBezTo>
                      <a:pt x="192405" y="89535"/>
                      <a:pt x="160020" y="50482"/>
                      <a:pt x="116205" y="40957"/>
                    </a:cubicBezTo>
                    <a:lnTo>
                      <a:pt x="116205" y="20003"/>
                    </a:lnTo>
                    <a:cubicBezTo>
                      <a:pt x="116205" y="8573"/>
                      <a:pt x="107632" y="0"/>
                      <a:pt x="96202" y="0"/>
                    </a:cubicBezTo>
                    <a:cubicBezTo>
                      <a:pt x="84772" y="0"/>
                      <a:pt x="76200" y="8573"/>
                      <a:pt x="76200" y="20003"/>
                    </a:cubicBezTo>
                    <a:lnTo>
                      <a:pt x="76200" y="40957"/>
                    </a:lnTo>
                    <a:cubicBezTo>
                      <a:pt x="32385" y="50482"/>
                      <a:pt x="0" y="88582"/>
                      <a:pt x="0" y="135255"/>
                    </a:cubicBezTo>
                    <a:cubicBezTo>
                      <a:pt x="0" y="181928"/>
                      <a:pt x="32385" y="220028"/>
                      <a:pt x="76200" y="229553"/>
                    </a:cubicBezTo>
                    <a:lnTo>
                      <a:pt x="76200" y="340043"/>
                    </a:lnTo>
                    <a:cubicBezTo>
                      <a:pt x="55245" y="332423"/>
                      <a:pt x="40005" y="311468"/>
                      <a:pt x="40005" y="287655"/>
                    </a:cubicBezTo>
                    <a:cubicBezTo>
                      <a:pt x="40005" y="276225"/>
                      <a:pt x="31432" y="267653"/>
                      <a:pt x="20002" y="267653"/>
                    </a:cubicBezTo>
                    <a:cubicBezTo>
                      <a:pt x="8572" y="267653"/>
                      <a:pt x="0" y="276225"/>
                      <a:pt x="0" y="287655"/>
                    </a:cubicBezTo>
                    <a:cubicBezTo>
                      <a:pt x="0" y="333375"/>
                      <a:pt x="32385" y="372428"/>
                      <a:pt x="76200" y="381953"/>
                    </a:cubicBezTo>
                    <a:lnTo>
                      <a:pt x="76200" y="402908"/>
                    </a:lnTo>
                    <a:cubicBezTo>
                      <a:pt x="76200" y="414338"/>
                      <a:pt x="84772" y="422910"/>
                      <a:pt x="96202" y="422910"/>
                    </a:cubicBezTo>
                    <a:cubicBezTo>
                      <a:pt x="107632" y="422910"/>
                      <a:pt x="116205" y="414338"/>
                      <a:pt x="116205" y="402908"/>
                    </a:cubicBezTo>
                    <a:lnTo>
                      <a:pt x="116205" y="381953"/>
                    </a:lnTo>
                    <a:cubicBezTo>
                      <a:pt x="160020" y="372428"/>
                      <a:pt x="192405" y="334328"/>
                      <a:pt x="192405" y="287655"/>
                    </a:cubicBezTo>
                    <a:cubicBezTo>
                      <a:pt x="192405" y="240983"/>
                      <a:pt x="159067" y="202883"/>
                      <a:pt x="116205" y="193358"/>
                    </a:cubicBezTo>
                    <a:close/>
                    <a:moveTo>
                      <a:pt x="40005" y="135255"/>
                    </a:moveTo>
                    <a:cubicBezTo>
                      <a:pt x="40005" y="111443"/>
                      <a:pt x="55245" y="90488"/>
                      <a:pt x="76200" y="82868"/>
                    </a:cubicBezTo>
                    <a:lnTo>
                      <a:pt x="76200" y="187643"/>
                    </a:lnTo>
                    <a:cubicBezTo>
                      <a:pt x="55245" y="180023"/>
                      <a:pt x="40005" y="159068"/>
                      <a:pt x="40005" y="135255"/>
                    </a:cubicBezTo>
                    <a:close/>
                    <a:moveTo>
                      <a:pt x="116205" y="340043"/>
                    </a:moveTo>
                    <a:lnTo>
                      <a:pt x="116205" y="235268"/>
                    </a:lnTo>
                    <a:cubicBezTo>
                      <a:pt x="137160" y="242888"/>
                      <a:pt x="152400" y="263843"/>
                      <a:pt x="152400" y="287655"/>
                    </a:cubicBezTo>
                    <a:cubicBezTo>
                      <a:pt x="152400" y="311468"/>
                      <a:pt x="137160" y="331470"/>
                      <a:pt x="116205" y="340043"/>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grpSp>
      </p:grpSp>
      <p:grpSp>
        <p:nvGrpSpPr>
          <p:cNvPr id="5" name="Group 4">
            <a:extLst>
              <a:ext uri="{FF2B5EF4-FFF2-40B4-BE49-F238E27FC236}">
                <a16:creationId xmlns:a16="http://schemas.microsoft.com/office/drawing/2014/main" id="{974C7C3B-9456-4861-85E2-D50AEFBB8ED7}"/>
              </a:ext>
            </a:extLst>
          </p:cNvPr>
          <p:cNvGrpSpPr/>
          <p:nvPr/>
        </p:nvGrpSpPr>
        <p:grpSpPr>
          <a:xfrm>
            <a:off x="527050" y="4245431"/>
            <a:ext cx="10837067" cy="1892619"/>
            <a:chOff x="527050" y="4245431"/>
            <a:chExt cx="10837067" cy="1892619"/>
          </a:xfrm>
        </p:grpSpPr>
        <p:sp>
          <p:nvSpPr>
            <p:cNvPr id="28" name="Rectangle 27">
              <a:extLst>
                <a:ext uri="{FF2B5EF4-FFF2-40B4-BE49-F238E27FC236}">
                  <a16:creationId xmlns:a16="http://schemas.microsoft.com/office/drawing/2014/main" id="{7A35A21B-C7BA-4833-B409-210DD538901D}"/>
                </a:ext>
              </a:extLst>
            </p:cNvPr>
            <p:cNvSpPr/>
            <p:nvPr/>
          </p:nvSpPr>
          <p:spPr bwMode="auto">
            <a:xfrm>
              <a:off x="527050" y="5069347"/>
              <a:ext cx="3258206" cy="10687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Improvement of IoT devices and applications</a:t>
              </a:r>
            </a:p>
          </p:txBody>
        </p:sp>
        <p:cxnSp>
          <p:nvCxnSpPr>
            <p:cNvPr id="31" name="Straight Connector 30">
              <a:extLst>
                <a:ext uri="{FF2B5EF4-FFF2-40B4-BE49-F238E27FC236}">
                  <a16:creationId xmlns:a16="http://schemas.microsoft.com/office/drawing/2014/main" id="{77B2561D-67F4-42FB-95D2-E80B267C9840}"/>
                </a:ext>
              </a:extLst>
            </p:cNvPr>
            <p:cNvCxnSpPr/>
            <p:nvPr/>
          </p:nvCxnSpPr>
          <p:spPr>
            <a:xfrm>
              <a:off x="1642500" y="5088673"/>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6A71C3C2-6DB8-4D22-B7FB-D6CDE24B63A0}"/>
                </a:ext>
              </a:extLst>
            </p:cNvPr>
            <p:cNvSpPr/>
            <p:nvPr/>
          </p:nvSpPr>
          <p:spPr bwMode="auto">
            <a:xfrm>
              <a:off x="4316480" y="5069347"/>
              <a:ext cx="3258206" cy="10687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Supplemented use of AI and robotics </a:t>
              </a:r>
            </a:p>
          </p:txBody>
        </p:sp>
        <p:cxnSp>
          <p:nvCxnSpPr>
            <p:cNvPr id="32" name="Straight Connector 31">
              <a:extLst>
                <a:ext uri="{FF2B5EF4-FFF2-40B4-BE49-F238E27FC236}">
                  <a16:creationId xmlns:a16="http://schemas.microsoft.com/office/drawing/2014/main" id="{78AE5BB6-AAD9-4022-9B0C-F8710A56BEEE}"/>
                </a:ext>
              </a:extLst>
            </p:cNvPr>
            <p:cNvCxnSpPr/>
            <p:nvPr/>
          </p:nvCxnSpPr>
          <p:spPr>
            <a:xfrm>
              <a:off x="5431930" y="5088673"/>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FBB66D0A-0FBE-45FE-A178-2235596E8DC6}"/>
                </a:ext>
              </a:extLst>
            </p:cNvPr>
            <p:cNvSpPr/>
            <p:nvPr/>
          </p:nvSpPr>
          <p:spPr bwMode="auto">
            <a:xfrm>
              <a:off x="8105911" y="5068777"/>
              <a:ext cx="3258206" cy="10688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Advanced sensor and monitoring capabilities </a:t>
              </a:r>
            </a:p>
          </p:txBody>
        </p:sp>
        <p:cxnSp>
          <p:nvCxnSpPr>
            <p:cNvPr id="33" name="Straight Connector 32">
              <a:extLst>
                <a:ext uri="{FF2B5EF4-FFF2-40B4-BE49-F238E27FC236}">
                  <a16:creationId xmlns:a16="http://schemas.microsoft.com/office/drawing/2014/main" id="{D6CF3DC0-493A-4D2B-8956-45F475432225}"/>
                </a:ext>
              </a:extLst>
            </p:cNvPr>
            <p:cNvCxnSpPr/>
            <p:nvPr/>
          </p:nvCxnSpPr>
          <p:spPr>
            <a:xfrm>
              <a:off x="9221361" y="5088673"/>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0" name="Group 149">
              <a:extLst>
                <a:ext uri="{FF2B5EF4-FFF2-40B4-BE49-F238E27FC236}">
                  <a16:creationId xmlns:a16="http://schemas.microsoft.com/office/drawing/2014/main" id="{34ACEC43-D060-4FBA-A39D-D87666517DA9}"/>
                </a:ext>
              </a:extLst>
            </p:cNvPr>
            <p:cNvGrpSpPr/>
            <p:nvPr/>
          </p:nvGrpSpPr>
          <p:grpSpPr>
            <a:xfrm>
              <a:off x="1647191" y="4245431"/>
              <a:ext cx="1019810" cy="683314"/>
              <a:chOff x="4602295" y="2091032"/>
              <a:chExt cx="5024304" cy="3366490"/>
            </a:xfrm>
            <a:solidFill>
              <a:schemeClr val="bg1"/>
            </a:solidFill>
          </p:grpSpPr>
          <p:sp>
            <p:nvSpPr>
              <p:cNvPr id="151" name="Freeform: Shape 150">
                <a:extLst>
                  <a:ext uri="{FF2B5EF4-FFF2-40B4-BE49-F238E27FC236}">
                    <a16:creationId xmlns:a16="http://schemas.microsoft.com/office/drawing/2014/main" id="{7F4D107B-C1D7-45AC-8370-9C9AD9C31BFC}"/>
                  </a:ext>
                </a:extLst>
              </p:cNvPr>
              <p:cNvSpPr/>
              <p:nvPr/>
            </p:nvSpPr>
            <p:spPr>
              <a:xfrm>
                <a:off x="4602295" y="2800350"/>
                <a:ext cx="3356685" cy="2335085"/>
              </a:xfrm>
              <a:custGeom>
                <a:avLst/>
                <a:gdLst>
                  <a:gd name="connsiteX0" fmla="*/ 12382 w 635317"/>
                  <a:gd name="connsiteY0" fmla="*/ 58103 h 441960"/>
                  <a:gd name="connsiteX1" fmla="*/ 635318 w 635317"/>
                  <a:gd name="connsiteY1" fmla="*/ 58103 h 441960"/>
                  <a:gd name="connsiteX2" fmla="*/ 635318 w 635317"/>
                  <a:gd name="connsiteY2" fmla="*/ 17145 h 441960"/>
                  <a:gd name="connsiteX3" fmla="*/ 618173 w 635317"/>
                  <a:gd name="connsiteY3" fmla="*/ 0 h 441960"/>
                  <a:gd name="connsiteX4" fmla="*/ 17145 w 635317"/>
                  <a:gd name="connsiteY4" fmla="*/ 0 h 441960"/>
                  <a:gd name="connsiteX5" fmla="*/ 0 w 635317"/>
                  <a:gd name="connsiteY5" fmla="*/ 17145 h 441960"/>
                  <a:gd name="connsiteX6" fmla="*/ 0 w 635317"/>
                  <a:gd name="connsiteY6" fmla="*/ 424815 h 441960"/>
                  <a:gd name="connsiteX7" fmla="*/ 17145 w 635317"/>
                  <a:gd name="connsiteY7" fmla="*/ 441960 h 441960"/>
                  <a:gd name="connsiteX8" fmla="*/ 454343 w 635317"/>
                  <a:gd name="connsiteY8" fmla="*/ 441960 h 441960"/>
                  <a:gd name="connsiteX9" fmla="*/ 454343 w 635317"/>
                  <a:gd name="connsiteY9" fmla="*/ 368618 h 441960"/>
                  <a:gd name="connsiteX10" fmla="*/ 12382 w 635317"/>
                  <a:gd name="connsiteY10" fmla="*/ 368618 h 441960"/>
                  <a:gd name="connsiteX11" fmla="*/ 12382 w 635317"/>
                  <a:gd name="connsiteY11" fmla="*/ 58103 h 441960"/>
                  <a:gd name="connsiteX12" fmla="*/ 283845 w 635317"/>
                  <a:gd name="connsiteY12" fmla="*/ 24765 h 441960"/>
                  <a:gd name="connsiteX13" fmla="*/ 350520 w 635317"/>
                  <a:gd name="connsiteY13" fmla="*/ 24765 h 441960"/>
                  <a:gd name="connsiteX14" fmla="*/ 355282 w 635317"/>
                  <a:gd name="connsiteY14" fmla="*/ 29528 h 441960"/>
                  <a:gd name="connsiteX15" fmla="*/ 350520 w 635317"/>
                  <a:gd name="connsiteY15" fmla="*/ 34290 h 441960"/>
                  <a:gd name="connsiteX16" fmla="*/ 283845 w 635317"/>
                  <a:gd name="connsiteY16" fmla="*/ 34290 h 441960"/>
                  <a:gd name="connsiteX17" fmla="*/ 279082 w 635317"/>
                  <a:gd name="connsiteY17" fmla="*/ 29528 h 441960"/>
                  <a:gd name="connsiteX18" fmla="*/ 283845 w 635317"/>
                  <a:gd name="connsiteY18" fmla="*/ 24765 h 441960"/>
                  <a:gd name="connsiteX19" fmla="*/ 317182 w 635317"/>
                  <a:gd name="connsiteY19" fmla="*/ 392430 h 441960"/>
                  <a:gd name="connsiteX20" fmla="*/ 330518 w 635317"/>
                  <a:gd name="connsiteY20" fmla="*/ 405765 h 441960"/>
                  <a:gd name="connsiteX21" fmla="*/ 317182 w 635317"/>
                  <a:gd name="connsiteY21" fmla="*/ 419100 h 441960"/>
                  <a:gd name="connsiteX22" fmla="*/ 303848 w 635317"/>
                  <a:gd name="connsiteY22" fmla="*/ 405765 h 441960"/>
                  <a:gd name="connsiteX23" fmla="*/ 317182 w 635317"/>
                  <a:gd name="connsiteY23" fmla="*/ 392430 h 441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5317" h="441960">
                    <a:moveTo>
                      <a:pt x="12382" y="58103"/>
                    </a:moveTo>
                    <a:lnTo>
                      <a:pt x="635318" y="58103"/>
                    </a:lnTo>
                    <a:lnTo>
                      <a:pt x="635318" y="17145"/>
                    </a:lnTo>
                    <a:cubicBezTo>
                      <a:pt x="635318" y="7620"/>
                      <a:pt x="627698" y="0"/>
                      <a:pt x="618173" y="0"/>
                    </a:cubicBezTo>
                    <a:lnTo>
                      <a:pt x="17145" y="0"/>
                    </a:lnTo>
                    <a:cubicBezTo>
                      <a:pt x="7620" y="0"/>
                      <a:pt x="0" y="7620"/>
                      <a:pt x="0" y="17145"/>
                    </a:cubicBezTo>
                    <a:lnTo>
                      <a:pt x="0" y="424815"/>
                    </a:lnTo>
                    <a:cubicBezTo>
                      <a:pt x="0" y="434340"/>
                      <a:pt x="7620" y="441960"/>
                      <a:pt x="17145" y="441960"/>
                    </a:cubicBezTo>
                    <a:lnTo>
                      <a:pt x="454343" y="441960"/>
                    </a:lnTo>
                    <a:lnTo>
                      <a:pt x="454343" y="368618"/>
                    </a:lnTo>
                    <a:lnTo>
                      <a:pt x="12382" y="368618"/>
                    </a:lnTo>
                    <a:lnTo>
                      <a:pt x="12382" y="58103"/>
                    </a:lnTo>
                    <a:close/>
                    <a:moveTo>
                      <a:pt x="283845" y="24765"/>
                    </a:moveTo>
                    <a:lnTo>
                      <a:pt x="350520" y="24765"/>
                    </a:lnTo>
                    <a:cubicBezTo>
                      <a:pt x="353377" y="24765"/>
                      <a:pt x="355282" y="26670"/>
                      <a:pt x="355282" y="29528"/>
                    </a:cubicBezTo>
                    <a:cubicBezTo>
                      <a:pt x="355282" y="32385"/>
                      <a:pt x="353377" y="34290"/>
                      <a:pt x="350520" y="34290"/>
                    </a:cubicBezTo>
                    <a:lnTo>
                      <a:pt x="283845" y="34290"/>
                    </a:lnTo>
                    <a:cubicBezTo>
                      <a:pt x="280988" y="34290"/>
                      <a:pt x="279082" y="32385"/>
                      <a:pt x="279082" y="29528"/>
                    </a:cubicBezTo>
                    <a:cubicBezTo>
                      <a:pt x="280035" y="26670"/>
                      <a:pt x="281940" y="24765"/>
                      <a:pt x="283845" y="24765"/>
                    </a:cubicBezTo>
                    <a:close/>
                    <a:moveTo>
                      <a:pt x="317182" y="392430"/>
                    </a:moveTo>
                    <a:cubicBezTo>
                      <a:pt x="324802" y="392430"/>
                      <a:pt x="330518" y="398145"/>
                      <a:pt x="330518" y="405765"/>
                    </a:cubicBezTo>
                    <a:cubicBezTo>
                      <a:pt x="330518" y="413385"/>
                      <a:pt x="324802" y="419100"/>
                      <a:pt x="317182" y="419100"/>
                    </a:cubicBezTo>
                    <a:cubicBezTo>
                      <a:pt x="309563" y="419100"/>
                      <a:pt x="303848" y="413385"/>
                      <a:pt x="303848" y="405765"/>
                    </a:cubicBezTo>
                    <a:cubicBezTo>
                      <a:pt x="304800" y="398145"/>
                      <a:pt x="310515" y="392430"/>
                      <a:pt x="317182" y="392430"/>
                    </a:cubicBezTo>
                    <a:close/>
                  </a:path>
                </a:pathLst>
              </a:custGeom>
              <a:grpFill/>
              <a:ln w="9525" cap="flat">
                <a:noFill/>
                <a:prstDash val="solid"/>
                <a:miter/>
              </a:ln>
            </p:spPr>
            <p:txBody>
              <a:bodyPr rtlCol="0" anchor="ctr"/>
              <a:lstStyle/>
              <a:p>
                <a:endParaRPr lang="en-IN"/>
              </a:p>
            </p:txBody>
          </p:sp>
          <p:sp>
            <p:nvSpPr>
              <p:cNvPr id="152" name="Freeform: Shape 151">
                <a:extLst>
                  <a:ext uri="{FF2B5EF4-FFF2-40B4-BE49-F238E27FC236}">
                    <a16:creationId xmlns:a16="http://schemas.microsoft.com/office/drawing/2014/main" id="{9B472429-D0CC-4524-8F9D-226A71F4C602}"/>
                  </a:ext>
                </a:extLst>
              </p:cNvPr>
              <p:cNvSpPr/>
              <p:nvPr/>
            </p:nvSpPr>
            <p:spPr>
              <a:xfrm>
                <a:off x="5825194" y="5185766"/>
                <a:ext cx="910883" cy="271756"/>
              </a:xfrm>
              <a:custGeom>
                <a:avLst/>
                <a:gdLst>
                  <a:gd name="connsiteX0" fmla="*/ 167640 w 172402"/>
                  <a:gd name="connsiteY0" fmla="*/ 41910 h 51435"/>
                  <a:gd name="connsiteX1" fmla="*/ 145732 w 172402"/>
                  <a:gd name="connsiteY1" fmla="*/ 41910 h 51435"/>
                  <a:gd name="connsiteX2" fmla="*/ 133350 w 172402"/>
                  <a:gd name="connsiteY2" fmla="*/ 0 h 51435"/>
                  <a:gd name="connsiteX3" fmla="*/ 39053 w 172402"/>
                  <a:gd name="connsiteY3" fmla="*/ 0 h 51435"/>
                  <a:gd name="connsiteX4" fmla="*/ 26670 w 172402"/>
                  <a:gd name="connsiteY4" fmla="*/ 41910 h 51435"/>
                  <a:gd name="connsiteX5" fmla="*/ 4763 w 172402"/>
                  <a:gd name="connsiteY5" fmla="*/ 41910 h 51435"/>
                  <a:gd name="connsiteX6" fmla="*/ 0 w 172402"/>
                  <a:gd name="connsiteY6" fmla="*/ 46673 h 51435"/>
                  <a:gd name="connsiteX7" fmla="*/ 4763 w 172402"/>
                  <a:gd name="connsiteY7" fmla="*/ 51435 h 51435"/>
                  <a:gd name="connsiteX8" fmla="*/ 167640 w 172402"/>
                  <a:gd name="connsiteY8" fmla="*/ 51435 h 51435"/>
                  <a:gd name="connsiteX9" fmla="*/ 172403 w 172402"/>
                  <a:gd name="connsiteY9" fmla="*/ 46673 h 51435"/>
                  <a:gd name="connsiteX10" fmla="*/ 167640 w 172402"/>
                  <a:gd name="connsiteY10" fmla="*/ 41910 h 5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02" h="51435">
                    <a:moveTo>
                      <a:pt x="167640" y="41910"/>
                    </a:moveTo>
                    <a:lnTo>
                      <a:pt x="145732" y="41910"/>
                    </a:lnTo>
                    <a:lnTo>
                      <a:pt x="133350" y="0"/>
                    </a:lnTo>
                    <a:lnTo>
                      <a:pt x="39053" y="0"/>
                    </a:lnTo>
                    <a:lnTo>
                      <a:pt x="26670" y="41910"/>
                    </a:lnTo>
                    <a:lnTo>
                      <a:pt x="4763" y="41910"/>
                    </a:lnTo>
                    <a:cubicBezTo>
                      <a:pt x="1905" y="41910"/>
                      <a:pt x="0" y="43815"/>
                      <a:pt x="0" y="46673"/>
                    </a:cubicBezTo>
                    <a:cubicBezTo>
                      <a:pt x="0" y="49530"/>
                      <a:pt x="1905" y="51435"/>
                      <a:pt x="4763" y="51435"/>
                    </a:cubicBezTo>
                    <a:lnTo>
                      <a:pt x="167640" y="51435"/>
                    </a:lnTo>
                    <a:cubicBezTo>
                      <a:pt x="170498" y="51435"/>
                      <a:pt x="172403" y="49530"/>
                      <a:pt x="172403" y="46673"/>
                    </a:cubicBezTo>
                    <a:cubicBezTo>
                      <a:pt x="172403" y="43815"/>
                      <a:pt x="170498" y="41910"/>
                      <a:pt x="167640" y="41910"/>
                    </a:cubicBezTo>
                    <a:close/>
                  </a:path>
                </a:pathLst>
              </a:custGeom>
              <a:grpFill/>
              <a:ln w="9525" cap="flat">
                <a:noFill/>
                <a:prstDash val="solid"/>
                <a:miter/>
              </a:ln>
            </p:spPr>
            <p:txBody>
              <a:bodyPr rtlCol="0" anchor="ctr"/>
              <a:lstStyle/>
              <a:p>
                <a:endParaRPr lang="en-IN"/>
              </a:p>
            </p:txBody>
          </p:sp>
          <p:sp>
            <p:nvSpPr>
              <p:cNvPr id="153" name="Freeform: Shape 152">
                <a:extLst>
                  <a:ext uri="{FF2B5EF4-FFF2-40B4-BE49-F238E27FC236}">
                    <a16:creationId xmlns:a16="http://schemas.microsoft.com/office/drawing/2014/main" id="{92BCB822-7266-4BA1-85E9-DF04C1631566}"/>
                  </a:ext>
                </a:extLst>
              </p:cNvPr>
              <p:cNvSpPr/>
              <p:nvPr/>
            </p:nvSpPr>
            <p:spPr>
              <a:xfrm>
                <a:off x="7098423" y="3202951"/>
                <a:ext cx="1620470" cy="2249535"/>
              </a:xfrm>
              <a:custGeom>
                <a:avLst/>
                <a:gdLst>
                  <a:gd name="connsiteX0" fmla="*/ 230505 w 306705"/>
                  <a:gd name="connsiteY0" fmla="*/ 354330 h 425768"/>
                  <a:gd name="connsiteX1" fmla="*/ 12383 w 306705"/>
                  <a:gd name="connsiteY1" fmla="*/ 354330 h 425768"/>
                  <a:gd name="connsiteX2" fmla="*/ 12383 w 306705"/>
                  <a:gd name="connsiteY2" fmla="*/ 58103 h 425768"/>
                  <a:gd name="connsiteX3" fmla="*/ 306705 w 306705"/>
                  <a:gd name="connsiteY3" fmla="*/ 58103 h 425768"/>
                  <a:gd name="connsiteX4" fmla="*/ 306705 w 306705"/>
                  <a:gd name="connsiteY4" fmla="*/ 17145 h 425768"/>
                  <a:gd name="connsiteX5" fmla="*/ 289560 w 306705"/>
                  <a:gd name="connsiteY5" fmla="*/ 0 h 425768"/>
                  <a:gd name="connsiteX6" fmla="*/ 17145 w 306705"/>
                  <a:gd name="connsiteY6" fmla="*/ 0 h 425768"/>
                  <a:gd name="connsiteX7" fmla="*/ 0 w 306705"/>
                  <a:gd name="connsiteY7" fmla="*/ 17145 h 425768"/>
                  <a:gd name="connsiteX8" fmla="*/ 0 w 306705"/>
                  <a:gd name="connsiteY8" fmla="*/ 408623 h 425768"/>
                  <a:gd name="connsiteX9" fmla="*/ 17145 w 306705"/>
                  <a:gd name="connsiteY9" fmla="*/ 425768 h 425768"/>
                  <a:gd name="connsiteX10" fmla="*/ 238125 w 306705"/>
                  <a:gd name="connsiteY10" fmla="*/ 425768 h 425768"/>
                  <a:gd name="connsiteX11" fmla="*/ 229553 w 306705"/>
                  <a:gd name="connsiteY11" fmla="*/ 400050 h 425768"/>
                  <a:gd name="connsiteX12" fmla="*/ 229553 w 306705"/>
                  <a:gd name="connsiteY12" fmla="*/ 354330 h 425768"/>
                  <a:gd name="connsiteX13" fmla="*/ 119063 w 306705"/>
                  <a:gd name="connsiteY13" fmla="*/ 24765 h 425768"/>
                  <a:gd name="connsiteX14" fmla="*/ 186690 w 306705"/>
                  <a:gd name="connsiteY14" fmla="*/ 24765 h 425768"/>
                  <a:gd name="connsiteX15" fmla="*/ 191453 w 306705"/>
                  <a:gd name="connsiteY15" fmla="*/ 29528 h 425768"/>
                  <a:gd name="connsiteX16" fmla="*/ 186690 w 306705"/>
                  <a:gd name="connsiteY16" fmla="*/ 34290 h 425768"/>
                  <a:gd name="connsiteX17" fmla="*/ 119063 w 306705"/>
                  <a:gd name="connsiteY17" fmla="*/ 34290 h 425768"/>
                  <a:gd name="connsiteX18" fmla="*/ 114300 w 306705"/>
                  <a:gd name="connsiteY18" fmla="*/ 29528 h 425768"/>
                  <a:gd name="connsiteX19" fmla="*/ 119063 w 306705"/>
                  <a:gd name="connsiteY19" fmla="*/ 24765 h 425768"/>
                  <a:gd name="connsiteX20" fmla="*/ 153353 w 306705"/>
                  <a:gd name="connsiteY20" fmla="*/ 403860 h 425768"/>
                  <a:gd name="connsiteX21" fmla="*/ 140018 w 306705"/>
                  <a:gd name="connsiteY21" fmla="*/ 390525 h 425768"/>
                  <a:gd name="connsiteX22" fmla="*/ 153353 w 306705"/>
                  <a:gd name="connsiteY22" fmla="*/ 377190 h 425768"/>
                  <a:gd name="connsiteX23" fmla="*/ 166688 w 306705"/>
                  <a:gd name="connsiteY23" fmla="*/ 390525 h 425768"/>
                  <a:gd name="connsiteX24" fmla="*/ 153353 w 306705"/>
                  <a:gd name="connsiteY24" fmla="*/ 403860 h 425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6705" h="425768">
                    <a:moveTo>
                      <a:pt x="230505" y="354330"/>
                    </a:moveTo>
                    <a:lnTo>
                      <a:pt x="12383" y="354330"/>
                    </a:lnTo>
                    <a:lnTo>
                      <a:pt x="12383" y="58103"/>
                    </a:lnTo>
                    <a:lnTo>
                      <a:pt x="306705" y="58103"/>
                    </a:lnTo>
                    <a:lnTo>
                      <a:pt x="306705" y="17145"/>
                    </a:lnTo>
                    <a:cubicBezTo>
                      <a:pt x="306705" y="7620"/>
                      <a:pt x="299085" y="0"/>
                      <a:pt x="289560" y="0"/>
                    </a:cubicBezTo>
                    <a:lnTo>
                      <a:pt x="17145" y="0"/>
                    </a:lnTo>
                    <a:cubicBezTo>
                      <a:pt x="7620" y="0"/>
                      <a:pt x="0" y="7620"/>
                      <a:pt x="0" y="17145"/>
                    </a:cubicBezTo>
                    <a:lnTo>
                      <a:pt x="0" y="408623"/>
                    </a:lnTo>
                    <a:cubicBezTo>
                      <a:pt x="0" y="418148"/>
                      <a:pt x="7620" y="425768"/>
                      <a:pt x="17145" y="425768"/>
                    </a:cubicBezTo>
                    <a:lnTo>
                      <a:pt x="238125" y="425768"/>
                    </a:lnTo>
                    <a:cubicBezTo>
                      <a:pt x="233363" y="418148"/>
                      <a:pt x="229553" y="409575"/>
                      <a:pt x="229553" y="400050"/>
                    </a:cubicBezTo>
                    <a:lnTo>
                      <a:pt x="229553" y="354330"/>
                    </a:lnTo>
                    <a:close/>
                    <a:moveTo>
                      <a:pt x="119063" y="24765"/>
                    </a:moveTo>
                    <a:lnTo>
                      <a:pt x="186690" y="24765"/>
                    </a:lnTo>
                    <a:cubicBezTo>
                      <a:pt x="189548" y="24765"/>
                      <a:pt x="191453" y="26670"/>
                      <a:pt x="191453" y="29528"/>
                    </a:cubicBezTo>
                    <a:cubicBezTo>
                      <a:pt x="191453" y="32385"/>
                      <a:pt x="189548" y="34290"/>
                      <a:pt x="186690" y="34290"/>
                    </a:cubicBezTo>
                    <a:lnTo>
                      <a:pt x="119063" y="34290"/>
                    </a:lnTo>
                    <a:cubicBezTo>
                      <a:pt x="116205" y="34290"/>
                      <a:pt x="114300" y="32385"/>
                      <a:pt x="114300" y="29528"/>
                    </a:cubicBezTo>
                    <a:cubicBezTo>
                      <a:pt x="114300" y="26670"/>
                      <a:pt x="117158" y="24765"/>
                      <a:pt x="119063" y="24765"/>
                    </a:cubicBezTo>
                    <a:close/>
                    <a:moveTo>
                      <a:pt x="153353" y="403860"/>
                    </a:moveTo>
                    <a:cubicBezTo>
                      <a:pt x="145733" y="403860"/>
                      <a:pt x="140018" y="398145"/>
                      <a:pt x="140018" y="390525"/>
                    </a:cubicBezTo>
                    <a:cubicBezTo>
                      <a:pt x="140018" y="382905"/>
                      <a:pt x="145733" y="377190"/>
                      <a:pt x="153353" y="377190"/>
                    </a:cubicBezTo>
                    <a:cubicBezTo>
                      <a:pt x="160973" y="377190"/>
                      <a:pt x="166688" y="382905"/>
                      <a:pt x="166688" y="390525"/>
                    </a:cubicBezTo>
                    <a:cubicBezTo>
                      <a:pt x="166688" y="398145"/>
                      <a:pt x="160973" y="403860"/>
                      <a:pt x="153353" y="403860"/>
                    </a:cubicBezTo>
                    <a:close/>
                  </a:path>
                </a:pathLst>
              </a:custGeom>
              <a:grpFill/>
              <a:ln w="9525" cap="flat">
                <a:noFill/>
                <a:prstDash val="solid"/>
                <a:miter/>
              </a:ln>
            </p:spPr>
            <p:txBody>
              <a:bodyPr rtlCol="0" anchor="ctr"/>
              <a:lstStyle/>
              <a:p>
                <a:endParaRPr lang="en-IN"/>
              </a:p>
            </p:txBody>
          </p:sp>
          <p:sp>
            <p:nvSpPr>
              <p:cNvPr id="154" name="Freeform: Shape 153">
                <a:extLst>
                  <a:ext uri="{FF2B5EF4-FFF2-40B4-BE49-F238E27FC236}">
                    <a16:creationId xmlns:a16="http://schemas.microsoft.com/office/drawing/2014/main" id="{6023D7CA-6380-4D41-932E-58EDA9A72422}"/>
                  </a:ext>
                </a:extLst>
              </p:cNvPr>
              <p:cNvSpPr/>
              <p:nvPr/>
            </p:nvSpPr>
            <p:spPr>
              <a:xfrm>
                <a:off x="8406877" y="3605552"/>
                <a:ext cx="976308" cy="1851964"/>
              </a:xfrm>
              <a:custGeom>
                <a:avLst/>
                <a:gdLst>
                  <a:gd name="connsiteX0" fmla="*/ 159068 w 184785"/>
                  <a:gd name="connsiteY0" fmla="*/ 0 h 350520"/>
                  <a:gd name="connsiteX1" fmla="*/ 25718 w 184785"/>
                  <a:gd name="connsiteY1" fmla="*/ 0 h 350520"/>
                  <a:gd name="connsiteX2" fmla="*/ 0 w 184785"/>
                  <a:gd name="connsiteY2" fmla="*/ 25718 h 350520"/>
                  <a:gd name="connsiteX3" fmla="*/ 0 w 184785"/>
                  <a:gd name="connsiteY3" fmla="*/ 324802 h 350520"/>
                  <a:gd name="connsiteX4" fmla="*/ 25718 w 184785"/>
                  <a:gd name="connsiteY4" fmla="*/ 350520 h 350520"/>
                  <a:gd name="connsiteX5" fmla="*/ 159068 w 184785"/>
                  <a:gd name="connsiteY5" fmla="*/ 350520 h 350520"/>
                  <a:gd name="connsiteX6" fmla="*/ 184785 w 184785"/>
                  <a:gd name="connsiteY6" fmla="*/ 324802 h 350520"/>
                  <a:gd name="connsiteX7" fmla="*/ 184785 w 184785"/>
                  <a:gd name="connsiteY7" fmla="*/ 25718 h 350520"/>
                  <a:gd name="connsiteX8" fmla="*/ 159068 w 184785"/>
                  <a:gd name="connsiteY8" fmla="*/ 0 h 350520"/>
                  <a:gd name="connsiteX9" fmla="*/ 59055 w 184785"/>
                  <a:gd name="connsiteY9" fmla="*/ 20003 h 350520"/>
                  <a:gd name="connsiteX10" fmla="*/ 125730 w 184785"/>
                  <a:gd name="connsiteY10" fmla="*/ 20003 h 350520"/>
                  <a:gd name="connsiteX11" fmla="*/ 130493 w 184785"/>
                  <a:gd name="connsiteY11" fmla="*/ 24765 h 350520"/>
                  <a:gd name="connsiteX12" fmla="*/ 125730 w 184785"/>
                  <a:gd name="connsiteY12" fmla="*/ 29528 h 350520"/>
                  <a:gd name="connsiteX13" fmla="*/ 59055 w 184785"/>
                  <a:gd name="connsiteY13" fmla="*/ 29528 h 350520"/>
                  <a:gd name="connsiteX14" fmla="*/ 54293 w 184785"/>
                  <a:gd name="connsiteY14" fmla="*/ 24765 h 350520"/>
                  <a:gd name="connsiteX15" fmla="*/ 59055 w 184785"/>
                  <a:gd name="connsiteY15" fmla="*/ 20003 h 350520"/>
                  <a:gd name="connsiteX16" fmla="*/ 92393 w 184785"/>
                  <a:gd name="connsiteY16" fmla="*/ 327660 h 350520"/>
                  <a:gd name="connsiteX17" fmla="*/ 79058 w 184785"/>
                  <a:gd name="connsiteY17" fmla="*/ 314325 h 350520"/>
                  <a:gd name="connsiteX18" fmla="*/ 92393 w 184785"/>
                  <a:gd name="connsiteY18" fmla="*/ 300990 h 350520"/>
                  <a:gd name="connsiteX19" fmla="*/ 105728 w 184785"/>
                  <a:gd name="connsiteY19" fmla="*/ 314325 h 350520"/>
                  <a:gd name="connsiteX20" fmla="*/ 92393 w 184785"/>
                  <a:gd name="connsiteY20" fmla="*/ 327660 h 350520"/>
                  <a:gd name="connsiteX21" fmla="*/ 172403 w 184785"/>
                  <a:gd name="connsiteY21" fmla="*/ 279083 h 350520"/>
                  <a:gd name="connsiteX22" fmla="*/ 12383 w 184785"/>
                  <a:gd name="connsiteY22" fmla="*/ 279083 h 350520"/>
                  <a:gd name="connsiteX23" fmla="*/ 12383 w 184785"/>
                  <a:gd name="connsiteY23" fmla="*/ 49530 h 350520"/>
                  <a:gd name="connsiteX24" fmla="*/ 172403 w 184785"/>
                  <a:gd name="connsiteY24" fmla="*/ 49530 h 350520"/>
                  <a:gd name="connsiteX25" fmla="*/ 172403 w 184785"/>
                  <a:gd name="connsiteY25" fmla="*/ 279083 h 35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785" h="350520">
                    <a:moveTo>
                      <a:pt x="159068" y="0"/>
                    </a:moveTo>
                    <a:lnTo>
                      <a:pt x="25718" y="0"/>
                    </a:lnTo>
                    <a:cubicBezTo>
                      <a:pt x="11430" y="0"/>
                      <a:pt x="0" y="11430"/>
                      <a:pt x="0" y="25718"/>
                    </a:cubicBezTo>
                    <a:lnTo>
                      <a:pt x="0" y="324802"/>
                    </a:lnTo>
                    <a:cubicBezTo>
                      <a:pt x="0" y="339090"/>
                      <a:pt x="11430" y="350520"/>
                      <a:pt x="25718" y="350520"/>
                    </a:cubicBezTo>
                    <a:lnTo>
                      <a:pt x="159068" y="350520"/>
                    </a:lnTo>
                    <a:cubicBezTo>
                      <a:pt x="173355" y="350520"/>
                      <a:pt x="184785" y="339090"/>
                      <a:pt x="184785" y="324802"/>
                    </a:cubicBezTo>
                    <a:lnTo>
                      <a:pt x="184785" y="25718"/>
                    </a:lnTo>
                    <a:cubicBezTo>
                      <a:pt x="184785" y="11430"/>
                      <a:pt x="173355" y="0"/>
                      <a:pt x="159068" y="0"/>
                    </a:cubicBezTo>
                    <a:close/>
                    <a:moveTo>
                      <a:pt x="59055" y="20003"/>
                    </a:moveTo>
                    <a:lnTo>
                      <a:pt x="125730" y="20003"/>
                    </a:lnTo>
                    <a:cubicBezTo>
                      <a:pt x="128588" y="20003"/>
                      <a:pt x="130493" y="21908"/>
                      <a:pt x="130493" y="24765"/>
                    </a:cubicBezTo>
                    <a:cubicBezTo>
                      <a:pt x="130493" y="27623"/>
                      <a:pt x="128588" y="29528"/>
                      <a:pt x="125730" y="29528"/>
                    </a:cubicBezTo>
                    <a:lnTo>
                      <a:pt x="59055" y="29528"/>
                    </a:lnTo>
                    <a:cubicBezTo>
                      <a:pt x="56198" y="29528"/>
                      <a:pt x="54293" y="27623"/>
                      <a:pt x="54293" y="24765"/>
                    </a:cubicBezTo>
                    <a:cubicBezTo>
                      <a:pt x="54293" y="22860"/>
                      <a:pt x="56198" y="20003"/>
                      <a:pt x="59055" y="20003"/>
                    </a:cubicBezTo>
                    <a:close/>
                    <a:moveTo>
                      <a:pt x="92393" y="327660"/>
                    </a:moveTo>
                    <a:cubicBezTo>
                      <a:pt x="84773" y="327660"/>
                      <a:pt x="79058" y="321945"/>
                      <a:pt x="79058" y="314325"/>
                    </a:cubicBezTo>
                    <a:cubicBezTo>
                      <a:pt x="79058" y="306705"/>
                      <a:pt x="84773" y="300990"/>
                      <a:pt x="92393" y="300990"/>
                    </a:cubicBezTo>
                    <a:cubicBezTo>
                      <a:pt x="100013" y="300990"/>
                      <a:pt x="105728" y="306705"/>
                      <a:pt x="105728" y="314325"/>
                    </a:cubicBezTo>
                    <a:cubicBezTo>
                      <a:pt x="105728" y="321945"/>
                      <a:pt x="99060" y="327660"/>
                      <a:pt x="92393" y="327660"/>
                    </a:cubicBezTo>
                    <a:close/>
                    <a:moveTo>
                      <a:pt x="172403" y="279083"/>
                    </a:moveTo>
                    <a:lnTo>
                      <a:pt x="12383" y="279083"/>
                    </a:lnTo>
                    <a:lnTo>
                      <a:pt x="12383" y="49530"/>
                    </a:lnTo>
                    <a:lnTo>
                      <a:pt x="172403" y="49530"/>
                    </a:lnTo>
                    <a:lnTo>
                      <a:pt x="172403" y="279083"/>
                    </a:ln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grpSp>
            <p:nvGrpSpPr>
              <p:cNvPr id="155" name="Group 154">
                <a:extLst>
                  <a:ext uri="{FF2B5EF4-FFF2-40B4-BE49-F238E27FC236}">
                    <a16:creationId xmlns:a16="http://schemas.microsoft.com/office/drawing/2014/main" id="{1BA0A494-E21C-4F69-ACFF-0DA5865BC083}"/>
                  </a:ext>
                </a:extLst>
              </p:cNvPr>
              <p:cNvGrpSpPr/>
              <p:nvPr/>
            </p:nvGrpSpPr>
            <p:grpSpPr>
              <a:xfrm>
                <a:off x="4954394" y="3289301"/>
                <a:ext cx="1954405" cy="1261338"/>
                <a:chOff x="4954394" y="3289301"/>
                <a:chExt cx="1954405" cy="1261338"/>
              </a:xfrm>
              <a:grpFill/>
            </p:grpSpPr>
            <p:sp>
              <p:nvSpPr>
                <p:cNvPr id="160" name="Graphic 31">
                  <a:extLst>
                    <a:ext uri="{FF2B5EF4-FFF2-40B4-BE49-F238E27FC236}">
                      <a16:creationId xmlns:a16="http://schemas.microsoft.com/office/drawing/2014/main" id="{AB957111-E312-4E5E-B338-5FCC916255A3}"/>
                    </a:ext>
                  </a:extLst>
                </p:cNvPr>
                <p:cNvSpPr/>
                <p:nvPr/>
              </p:nvSpPr>
              <p:spPr>
                <a:xfrm>
                  <a:off x="4954394" y="3500437"/>
                  <a:ext cx="1826237" cy="1050202"/>
                </a:xfrm>
                <a:custGeom>
                  <a:avLst/>
                  <a:gdLst>
                    <a:gd name="connsiteX0" fmla="*/ 77783 w 1826237"/>
                    <a:gd name="connsiteY0" fmla="*/ 1050203 h 1050202"/>
                    <a:gd name="connsiteX1" fmla="*/ 0 w 1826237"/>
                    <a:gd name="connsiteY1" fmla="*/ 982945 h 1050202"/>
                    <a:gd name="connsiteX2" fmla="*/ 739839 w 1826237"/>
                    <a:gd name="connsiteY2" fmla="*/ 128355 h 1050202"/>
                    <a:gd name="connsiteX3" fmla="*/ 1222198 w 1826237"/>
                    <a:gd name="connsiteY3" fmla="*/ 564506 h 1050202"/>
                    <a:gd name="connsiteX4" fmla="*/ 1751279 w 1826237"/>
                    <a:gd name="connsiteY4" fmla="*/ 0 h 1050202"/>
                    <a:gd name="connsiteX5" fmla="*/ 1826238 w 1826237"/>
                    <a:gd name="connsiteY5" fmla="*/ 70339 h 1050202"/>
                    <a:gd name="connsiteX6" fmla="*/ 1228103 w 1826237"/>
                    <a:gd name="connsiteY6" fmla="*/ 708264 h 1050202"/>
                    <a:gd name="connsiteX7" fmla="*/ 748824 w 1826237"/>
                    <a:gd name="connsiteY7" fmla="*/ 274937 h 1050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6237" h="1050202">
                      <a:moveTo>
                        <a:pt x="77783" y="1050203"/>
                      </a:moveTo>
                      <a:lnTo>
                        <a:pt x="0" y="982945"/>
                      </a:lnTo>
                      <a:lnTo>
                        <a:pt x="739839" y="128355"/>
                      </a:lnTo>
                      <a:lnTo>
                        <a:pt x="1222198" y="564506"/>
                      </a:lnTo>
                      <a:lnTo>
                        <a:pt x="1751279" y="0"/>
                      </a:lnTo>
                      <a:lnTo>
                        <a:pt x="1826238" y="70339"/>
                      </a:lnTo>
                      <a:lnTo>
                        <a:pt x="1228103" y="708264"/>
                      </a:lnTo>
                      <a:lnTo>
                        <a:pt x="748824" y="274937"/>
                      </a:ln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61" name="Isosceles Triangle 160">
                  <a:extLst>
                    <a:ext uri="{FF2B5EF4-FFF2-40B4-BE49-F238E27FC236}">
                      <a16:creationId xmlns:a16="http://schemas.microsoft.com/office/drawing/2014/main" id="{11EB105B-66C1-41E4-A5CA-59B38423A773}"/>
                    </a:ext>
                  </a:extLst>
                </p:cNvPr>
                <p:cNvSpPr/>
                <p:nvPr/>
              </p:nvSpPr>
              <p:spPr bwMode="auto">
                <a:xfrm rot="2704514">
                  <a:off x="6599237" y="3360738"/>
                  <a:ext cx="381000" cy="238125"/>
                </a:xfrm>
                <a:prstGeom prst="triangle">
                  <a:avLst/>
                </a:pr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err="1">
                    <a:solidFill>
                      <a:srgbClr val="3C3C41"/>
                    </a:solidFill>
                    <a:latin typeface="Segoe UI"/>
                  </a:endParaRPr>
                </a:p>
              </p:txBody>
            </p:sp>
          </p:grpSp>
          <p:grpSp>
            <p:nvGrpSpPr>
              <p:cNvPr id="156" name="Group 155">
                <a:extLst>
                  <a:ext uri="{FF2B5EF4-FFF2-40B4-BE49-F238E27FC236}">
                    <a16:creationId xmlns:a16="http://schemas.microsoft.com/office/drawing/2014/main" id="{DEF95A9D-1C02-4012-AF6C-2D12D15EB928}"/>
                  </a:ext>
                </a:extLst>
              </p:cNvPr>
              <p:cNvGrpSpPr/>
              <p:nvPr/>
            </p:nvGrpSpPr>
            <p:grpSpPr>
              <a:xfrm rot="2604174">
                <a:off x="8228128" y="2091032"/>
                <a:ext cx="1398471" cy="808377"/>
                <a:chOff x="9955329" y="1665287"/>
                <a:chExt cx="904641" cy="522922"/>
              </a:xfrm>
              <a:grpFill/>
            </p:grpSpPr>
            <p:sp>
              <p:nvSpPr>
                <p:cNvPr id="157" name="Freeform: Shape 156">
                  <a:extLst>
                    <a:ext uri="{FF2B5EF4-FFF2-40B4-BE49-F238E27FC236}">
                      <a16:creationId xmlns:a16="http://schemas.microsoft.com/office/drawing/2014/main" id="{026542FB-E3AA-43A4-AF0C-7D5719AFD710}"/>
                    </a:ext>
                  </a:extLst>
                </p:cNvPr>
                <p:cNvSpPr/>
                <p:nvPr/>
              </p:nvSpPr>
              <p:spPr>
                <a:xfrm>
                  <a:off x="9955329" y="1665287"/>
                  <a:ext cx="904641" cy="267652"/>
                </a:xfrm>
                <a:custGeom>
                  <a:avLst/>
                  <a:gdLst>
                    <a:gd name="connsiteX0" fmla="*/ 889518 w 904641"/>
                    <a:gd name="connsiteY0" fmla="*/ 180975 h 267652"/>
                    <a:gd name="connsiteX1" fmla="*/ 451368 w 904641"/>
                    <a:gd name="connsiteY1" fmla="*/ 0 h 267652"/>
                    <a:gd name="connsiteX2" fmla="*/ 14171 w 904641"/>
                    <a:gd name="connsiteY2" fmla="*/ 180975 h 267652"/>
                    <a:gd name="connsiteX3" fmla="*/ 15123 w 904641"/>
                    <a:gd name="connsiteY3" fmla="*/ 252413 h 267652"/>
                    <a:gd name="connsiteX4" fmla="*/ 86561 w 904641"/>
                    <a:gd name="connsiteY4" fmla="*/ 252413 h 267652"/>
                    <a:gd name="connsiteX5" fmla="*/ 452321 w 904641"/>
                    <a:gd name="connsiteY5" fmla="*/ 100965 h 267652"/>
                    <a:gd name="connsiteX6" fmla="*/ 818081 w 904641"/>
                    <a:gd name="connsiteY6" fmla="*/ 252413 h 267652"/>
                    <a:gd name="connsiteX7" fmla="*/ 854276 w 904641"/>
                    <a:gd name="connsiteY7" fmla="*/ 267653 h 267652"/>
                    <a:gd name="connsiteX8" fmla="*/ 890471 w 904641"/>
                    <a:gd name="connsiteY8" fmla="*/ 252413 h 267652"/>
                    <a:gd name="connsiteX9" fmla="*/ 889518 w 904641"/>
                    <a:gd name="connsiteY9" fmla="*/ 180975 h 267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4641" h="267652">
                      <a:moveTo>
                        <a:pt x="889518" y="180975"/>
                      </a:moveTo>
                      <a:cubicBezTo>
                        <a:pt x="773313" y="63818"/>
                        <a:pt x="618056" y="0"/>
                        <a:pt x="451368" y="0"/>
                      </a:cubicBezTo>
                      <a:cubicBezTo>
                        <a:pt x="285633" y="0"/>
                        <a:pt x="130376" y="64770"/>
                        <a:pt x="14171" y="180975"/>
                      </a:cubicBezTo>
                      <a:cubicBezTo>
                        <a:pt x="-4879" y="200977"/>
                        <a:pt x="-4879" y="232410"/>
                        <a:pt x="15123" y="252413"/>
                      </a:cubicBezTo>
                      <a:cubicBezTo>
                        <a:pt x="35126" y="272415"/>
                        <a:pt x="67511" y="272415"/>
                        <a:pt x="86561" y="252413"/>
                      </a:cubicBezTo>
                      <a:cubicBezTo>
                        <a:pt x="184668" y="155258"/>
                        <a:pt x="314208" y="100965"/>
                        <a:pt x="452321" y="100965"/>
                      </a:cubicBezTo>
                      <a:cubicBezTo>
                        <a:pt x="591386" y="100965"/>
                        <a:pt x="720926" y="154305"/>
                        <a:pt x="818081" y="252413"/>
                      </a:cubicBezTo>
                      <a:cubicBezTo>
                        <a:pt x="827606" y="261938"/>
                        <a:pt x="840941" y="267653"/>
                        <a:pt x="854276" y="267653"/>
                      </a:cubicBezTo>
                      <a:cubicBezTo>
                        <a:pt x="867611" y="267653"/>
                        <a:pt x="879993" y="262890"/>
                        <a:pt x="890471" y="252413"/>
                      </a:cubicBezTo>
                      <a:cubicBezTo>
                        <a:pt x="909521" y="232410"/>
                        <a:pt x="909521" y="200977"/>
                        <a:pt x="889518" y="180975"/>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58" name="Freeform: Shape 157">
                  <a:extLst>
                    <a:ext uri="{FF2B5EF4-FFF2-40B4-BE49-F238E27FC236}">
                      <a16:creationId xmlns:a16="http://schemas.microsoft.com/office/drawing/2014/main" id="{78807AC0-6BA1-4263-96BF-5FFD5D9BBDD2}"/>
                    </a:ext>
                  </a:extLst>
                </p:cNvPr>
                <p:cNvSpPr/>
                <p:nvPr/>
              </p:nvSpPr>
              <p:spPr>
                <a:xfrm>
                  <a:off x="10083553" y="1845310"/>
                  <a:ext cx="648660" cy="215264"/>
                </a:xfrm>
                <a:custGeom>
                  <a:avLst/>
                  <a:gdLst>
                    <a:gd name="connsiteX0" fmla="*/ 324097 w 648660"/>
                    <a:gd name="connsiteY0" fmla="*/ 0 h 215264"/>
                    <a:gd name="connsiteX1" fmla="*/ 14534 w 648660"/>
                    <a:gd name="connsiteY1" fmla="*/ 129540 h 215264"/>
                    <a:gd name="connsiteX2" fmla="*/ 15487 w 648660"/>
                    <a:gd name="connsiteY2" fmla="*/ 200977 h 215264"/>
                    <a:gd name="connsiteX3" fmla="*/ 50729 w 648660"/>
                    <a:gd name="connsiteY3" fmla="*/ 215265 h 215264"/>
                    <a:gd name="connsiteX4" fmla="*/ 86924 w 648660"/>
                    <a:gd name="connsiteY4" fmla="*/ 200025 h 215264"/>
                    <a:gd name="connsiteX5" fmla="*/ 324097 w 648660"/>
                    <a:gd name="connsiteY5" fmla="*/ 100965 h 215264"/>
                    <a:gd name="connsiteX6" fmla="*/ 562222 w 648660"/>
                    <a:gd name="connsiteY6" fmla="*/ 199072 h 215264"/>
                    <a:gd name="connsiteX7" fmla="*/ 633659 w 648660"/>
                    <a:gd name="connsiteY7" fmla="*/ 199072 h 215264"/>
                    <a:gd name="connsiteX8" fmla="*/ 633659 w 648660"/>
                    <a:gd name="connsiteY8" fmla="*/ 127635 h 215264"/>
                    <a:gd name="connsiteX9" fmla="*/ 324097 w 648660"/>
                    <a:gd name="connsiteY9" fmla="*/ 0 h 21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8660" h="215264">
                      <a:moveTo>
                        <a:pt x="324097" y="0"/>
                      </a:moveTo>
                      <a:cubicBezTo>
                        <a:pt x="207892" y="0"/>
                        <a:pt x="95497" y="46672"/>
                        <a:pt x="14534" y="129540"/>
                      </a:cubicBezTo>
                      <a:cubicBezTo>
                        <a:pt x="-5468" y="149542"/>
                        <a:pt x="-4516" y="181927"/>
                        <a:pt x="15487" y="200977"/>
                      </a:cubicBezTo>
                      <a:cubicBezTo>
                        <a:pt x="25012" y="210502"/>
                        <a:pt x="38347" y="215265"/>
                        <a:pt x="50729" y="215265"/>
                      </a:cubicBezTo>
                      <a:cubicBezTo>
                        <a:pt x="64064" y="215265"/>
                        <a:pt x="77399" y="210502"/>
                        <a:pt x="86924" y="200025"/>
                      </a:cubicBezTo>
                      <a:cubicBezTo>
                        <a:pt x="148837" y="137160"/>
                        <a:pt x="235514" y="100965"/>
                        <a:pt x="324097" y="100965"/>
                      </a:cubicBezTo>
                      <a:cubicBezTo>
                        <a:pt x="414584" y="100965"/>
                        <a:pt x="498404" y="136208"/>
                        <a:pt x="562222" y="199072"/>
                      </a:cubicBezTo>
                      <a:cubicBezTo>
                        <a:pt x="582224" y="219075"/>
                        <a:pt x="614609" y="219075"/>
                        <a:pt x="633659" y="199072"/>
                      </a:cubicBezTo>
                      <a:cubicBezTo>
                        <a:pt x="653662" y="179070"/>
                        <a:pt x="653662" y="146685"/>
                        <a:pt x="633659" y="127635"/>
                      </a:cubicBezTo>
                      <a:cubicBezTo>
                        <a:pt x="551744" y="45720"/>
                        <a:pt x="441254" y="0"/>
                        <a:pt x="324097" y="0"/>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59" name="Freeform: Shape 158">
                  <a:extLst>
                    <a:ext uri="{FF2B5EF4-FFF2-40B4-BE49-F238E27FC236}">
                      <a16:creationId xmlns:a16="http://schemas.microsoft.com/office/drawing/2014/main" id="{72D3F0D2-7240-4710-A234-CE5B5FFEBB6B}"/>
                    </a:ext>
                  </a:extLst>
                </p:cNvPr>
                <p:cNvSpPr/>
                <p:nvPr/>
              </p:nvSpPr>
              <p:spPr>
                <a:xfrm>
                  <a:off x="10209768" y="2025332"/>
                  <a:ext cx="395763" cy="162877"/>
                </a:xfrm>
                <a:custGeom>
                  <a:avLst/>
                  <a:gdLst>
                    <a:gd name="connsiteX0" fmla="*/ 197882 w 395763"/>
                    <a:gd name="connsiteY0" fmla="*/ 0 h 162877"/>
                    <a:gd name="connsiteX1" fmla="*/ 15002 w 395763"/>
                    <a:gd name="connsiteY1" fmla="*/ 76200 h 162877"/>
                    <a:gd name="connsiteX2" fmla="*/ 15002 w 395763"/>
                    <a:gd name="connsiteY2" fmla="*/ 147638 h 162877"/>
                    <a:gd name="connsiteX3" fmla="*/ 86439 w 395763"/>
                    <a:gd name="connsiteY3" fmla="*/ 147638 h 162877"/>
                    <a:gd name="connsiteX4" fmla="*/ 308372 w 395763"/>
                    <a:gd name="connsiteY4" fmla="*/ 147638 h 162877"/>
                    <a:gd name="connsiteX5" fmla="*/ 344567 w 395763"/>
                    <a:gd name="connsiteY5" fmla="*/ 162878 h 162877"/>
                    <a:gd name="connsiteX6" fmla="*/ 380762 w 395763"/>
                    <a:gd name="connsiteY6" fmla="*/ 147638 h 162877"/>
                    <a:gd name="connsiteX7" fmla="*/ 380762 w 395763"/>
                    <a:gd name="connsiteY7" fmla="*/ 76200 h 162877"/>
                    <a:gd name="connsiteX8" fmla="*/ 197882 w 395763"/>
                    <a:gd name="connsiteY8" fmla="*/ 0 h 162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763" h="162877">
                      <a:moveTo>
                        <a:pt x="197882" y="0"/>
                      </a:moveTo>
                      <a:cubicBezTo>
                        <a:pt x="129302" y="0"/>
                        <a:pt x="64532" y="26670"/>
                        <a:pt x="15002" y="76200"/>
                      </a:cubicBezTo>
                      <a:cubicBezTo>
                        <a:pt x="-5001" y="96203"/>
                        <a:pt x="-5001" y="128588"/>
                        <a:pt x="15002" y="147638"/>
                      </a:cubicBezTo>
                      <a:cubicBezTo>
                        <a:pt x="35004" y="167640"/>
                        <a:pt x="67389" y="167640"/>
                        <a:pt x="86439" y="147638"/>
                      </a:cubicBezTo>
                      <a:cubicBezTo>
                        <a:pt x="145494" y="88582"/>
                        <a:pt x="248364" y="88582"/>
                        <a:pt x="308372" y="147638"/>
                      </a:cubicBezTo>
                      <a:cubicBezTo>
                        <a:pt x="317897" y="157163"/>
                        <a:pt x="331232" y="162878"/>
                        <a:pt x="344567" y="162878"/>
                      </a:cubicBezTo>
                      <a:cubicBezTo>
                        <a:pt x="357902" y="162878"/>
                        <a:pt x="370284" y="158115"/>
                        <a:pt x="380762" y="147638"/>
                      </a:cubicBezTo>
                      <a:cubicBezTo>
                        <a:pt x="400764" y="127635"/>
                        <a:pt x="400764" y="95250"/>
                        <a:pt x="380762" y="76200"/>
                      </a:cubicBezTo>
                      <a:cubicBezTo>
                        <a:pt x="331232" y="26670"/>
                        <a:pt x="266462" y="0"/>
                        <a:pt x="197882" y="0"/>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grpSp>
        </p:grpSp>
        <p:grpSp>
          <p:nvGrpSpPr>
            <p:cNvPr id="162" name="Group 161">
              <a:extLst>
                <a:ext uri="{FF2B5EF4-FFF2-40B4-BE49-F238E27FC236}">
                  <a16:creationId xmlns:a16="http://schemas.microsoft.com/office/drawing/2014/main" id="{4B131BEE-9B00-446F-9299-559EF84DBFA8}"/>
                </a:ext>
              </a:extLst>
            </p:cNvPr>
            <p:cNvGrpSpPr/>
            <p:nvPr/>
          </p:nvGrpSpPr>
          <p:grpSpPr>
            <a:xfrm>
              <a:off x="5638800" y="4324349"/>
              <a:ext cx="541399" cy="672483"/>
              <a:chOff x="5730874" y="2975840"/>
              <a:chExt cx="730816" cy="907762"/>
            </a:xfrm>
            <a:solidFill>
              <a:schemeClr val="bg1"/>
            </a:solidFill>
          </p:grpSpPr>
          <p:sp>
            <p:nvSpPr>
              <p:cNvPr id="163" name="Freeform: Shape 162">
                <a:extLst>
                  <a:ext uri="{FF2B5EF4-FFF2-40B4-BE49-F238E27FC236}">
                    <a16:creationId xmlns:a16="http://schemas.microsoft.com/office/drawing/2014/main" id="{A1DA7B0E-D1C7-4642-9861-88263EB34DE8}"/>
                  </a:ext>
                </a:extLst>
              </p:cNvPr>
              <p:cNvSpPr/>
              <p:nvPr/>
            </p:nvSpPr>
            <p:spPr>
              <a:xfrm>
                <a:off x="5921374" y="3724852"/>
                <a:ext cx="415636" cy="158750"/>
              </a:xfrm>
              <a:custGeom>
                <a:avLst/>
                <a:gdLst>
                  <a:gd name="connsiteX0" fmla="*/ 415636 w 415636"/>
                  <a:gd name="connsiteY0" fmla="*/ 77932 h 158750"/>
                  <a:gd name="connsiteX1" fmla="*/ 415636 w 415636"/>
                  <a:gd name="connsiteY1" fmla="*/ 147205 h 158750"/>
                  <a:gd name="connsiteX2" fmla="*/ 404091 w 415636"/>
                  <a:gd name="connsiteY2" fmla="*/ 158750 h 158750"/>
                  <a:gd name="connsiteX3" fmla="*/ 11545 w 415636"/>
                  <a:gd name="connsiteY3" fmla="*/ 158750 h 158750"/>
                  <a:gd name="connsiteX4" fmla="*/ 0 w 415636"/>
                  <a:gd name="connsiteY4" fmla="*/ 147205 h 158750"/>
                  <a:gd name="connsiteX5" fmla="*/ 0 w 415636"/>
                  <a:gd name="connsiteY5" fmla="*/ 77932 h 158750"/>
                  <a:gd name="connsiteX6" fmla="*/ 11545 w 415636"/>
                  <a:gd name="connsiteY6" fmla="*/ 66386 h 158750"/>
                  <a:gd name="connsiteX7" fmla="*/ 77932 w 415636"/>
                  <a:gd name="connsiteY7" fmla="*/ 66386 h 158750"/>
                  <a:gd name="connsiteX8" fmla="*/ 121227 w 415636"/>
                  <a:gd name="connsiteY8" fmla="*/ 0 h 158750"/>
                  <a:gd name="connsiteX9" fmla="*/ 209261 w 415636"/>
                  <a:gd name="connsiteY9" fmla="*/ 37523 h 158750"/>
                  <a:gd name="connsiteX10" fmla="*/ 297295 w 415636"/>
                  <a:gd name="connsiteY10" fmla="*/ 0 h 158750"/>
                  <a:gd name="connsiteX11" fmla="*/ 340591 w 415636"/>
                  <a:gd name="connsiteY11" fmla="*/ 66386 h 158750"/>
                  <a:gd name="connsiteX12" fmla="*/ 405534 w 415636"/>
                  <a:gd name="connsiteY12" fmla="*/ 66386 h 158750"/>
                  <a:gd name="connsiteX13" fmla="*/ 415636 w 415636"/>
                  <a:gd name="connsiteY13" fmla="*/ 77932 h 15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5636" h="158750">
                    <a:moveTo>
                      <a:pt x="415636" y="77932"/>
                    </a:moveTo>
                    <a:lnTo>
                      <a:pt x="415636" y="147205"/>
                    </a:lnTo>
                    <a:cubicBezTo>
                      <a:pt x="415636" y="152977"/>
                      <a:pt x="411307" y="158750"/>
                      <a:pt x="404091" y="158750"/>
                    </a:cubicBezTo>
                    <a:lnTo>
                      <a:pt x="11545" y="158750"/>
                    </a:lnTo>
                    <a:cubicBezTo>
                      <a:pt x="5773" y="158750"/>
                      <a:pt x="0" y="154420"/>
                      <a:pt x="0" y="147205"/>
                    </a:cubicBezTo>
                    <a:lnTo>
                      <a:pt x="0" y="77932"/>
                    </a:lnTo>
                    <a:cubicBezTo>
                      <a:pt x="0" y="72159"/>
                      <a:pt x="4330" y="66386"/>
                      <a:pt x="11545" y="66386"/>
                    </a:cubicBezTo>
                    <a:lnTo>
                      <a:pt x="77932" y="66386"/>
                    </a:lnTo>
                    <a:lnTo>
                      <a:pt x="121227" y="0"/>
                    </a:lnTo>
                    <a:cubicBezTo>
                      <a:pt x="142875" y="23091"/>
                      <a:pt x="174625" y="37523"/>
                      <a:pt x="209261" y="37523"/>
                    </a:cubicBezTo>
                    <a:cubicBezTo>
                      <a:pt x="243898" y="37523"/>
                      <a:pt x="274205" y="23091"/>
                      <a:pt x="297295" y="0"/>
                    </a:cubicBezTo>
                    <a:lnTo>
                      <a:pt x="340591" y="66386"/>
                    </a:lnTo>
                    <a:lnTo>
                      <a:pt x="405534" y="66386"/>
                    </a:lnTo>
                    <a:cubicBezTo>
                      <a:pt x="411307" y="66386"/>
                      <a:pt x="415636" y="72159"/>
                      <a:pt x="415636" y="77932"/>
                    </a:cubicBezTo>
                    <a:close/>
                  </a:path>
                </a:pathLst>
              </a:custGeom>
              <a:grpFill/>
              <a:ln w="14432" cap="flat">
                <a:noFill/>
                <a:prstDash val="solid"/>
                <a:miter/>
              </a:ln>
            </p:spPr>
            <p:txBody>
              <a:bodyPr rtlCol="0" anchor="ctr"/>
              <a:lstStyle/>
              <a:p>
                <a:endParaRPr lang="en-IN"/>
              </a:p>
            </p:txBody>
          </p:sp>
          <p:grpSp>
            <p:nvGrpSpPr>
              <p:cNvPr id="164" name="Graphic 50">
                <a:extLst>
                  <a:ext uri="{FF2B5EF4-FFF2-40B4-BE49-F238E27FC236}">
                    <a16:creationId xmlns:a16="http://schemas.microsoft.com/office/drawing/2014/main" id="{7816779B-6CFF-4232-99D1-CBA1101136E4}"/>
                  </a:ext>
                </a:extLst>
              </p:cNvPr>
              <p:cNvGrpSpPr/>
              <p:nvPr/>
            </p:nvGrpSpPr>
            <p:grpSpPr>
              <a:xfrm>
                <a:off x="6028170" y="3540125"/>
                <a:ext cx="202045" cy="202045"/>
                <a:chOff x="6028170" y="3540125"/>
                <a:chExt cx="202045" cy="202045"/>
              </a:xfrm>
              <a:grpFill/>
            </p:grpSpPr>
            <p:sp>
              <p:nvSpPr>
                <p:cNvPr id="175" name="Freeform: Shape 174">
                  <a:extLst>
                    <a:ext uri="{FF2B5EF4-FFF2-40B4-BE49-F238E27FC236}">
                      <a16:creationId xmlns:a16="http://schemas.microsoft.com/office/drawing/2014/main" id="{39EF7873-F6C2-4732-A805-67BEEBB1A9AA}"/>
                    </a:ext>
                  </a:extLst>
                </p:cNvPr>
                <p:cNvSpPr/>
                <p:nvPr/>
              </p:nvSpPr>
              <p:spPr>
                <a:xfrm>
                  <a:off x="6088784" y="3600738"/>
                  <a:ext cx="80818" cy="80818"/>
                </a:xfrm>
                <a:custGeom>
                  <a:avLst/>
                  <a:gdLst>
                    <a:gd name="connsiteX0" fmla="*/ 40409 w 80818"/>
                    <a:gd name="connsiteY0" fmla="*/ 0 h 80818"/>
                    <a:gd name="connsiteX1" fmla="*/ 0 w 80818"/>
                    <a:gd name="connsiteY1" fmla="*/ 40409 h 80818"/>
                    <a:gd name="connsiteX2" fmla="*/ 40409 w 80818"/>
                    <a:gd name="connsiteY2" fmla="*/ 80818 h 80818"/>
                    <a:gd name="connsiteX3" fmla="*/ 80818 w 80818"/>
                    <a:gd name="connsiteY3" fmla="*/ 40409 h 80818"/>
                    <a:gd name="connsiteX4" fmla="*/ 40409 w 80818"/>
                    <a:gd name="connsiteY4" fmla="*/ 0 h 80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18" h="80818">
                      <a:moveTo>
                        <a:pt x="40409" y="0"/>
                      </a:moveTo>
                      <a:cubicBezTo>
                        <a:pt x="18761" y="0"/>
                        <a:pt x="0" y="17318"/>
                        <a:pt x="0" y="40409"/>
                      </a:cubicBezTo>
                      <a:cubicBezTo>
                        <a:pt x="0" y="62057"/>
                        <a:pt x="18761" y="80818"/>
                        <a:pt x="40409" y="80818"/>
                      </a:cubicBezTo>
                      <a:cubicBezTo>
                        <a:pt x="62057" y="80818"/>
                        <a:pt x="80818" y="62057"/>
                        <a:pt x="80818" y="40409"/>
                      </a:cubicBezTo>
                      <a:cubicBezTo>
                        <a:pt x="80818" y="17318"/>
                        <a:pt x="62057" y="0"/>
                        <a:pt x="40409" y="0"/>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sp>
              <p:nvSpPr>
                <p:cNvPr id="176" name="Freeform: Shape 175">
                  <a:extLst>
                    <a:ext uri="{FF2B5EF4-FFF2-40B4-BE49-F238E27FC236}">
                      <a16:creationId xmlns:a16="http://schemas.microsoft.com/office/drawing/2014/main" id="{EAE6EA8D-1A8C-40B6-97E2-0E1EC0EB83AD}"/>
                    </a:ext>
                  </a:extLst>
                </p:cNvPr>
                <p:cNvSpPr/>
                <p:nvPr/>
              </p:nvSpPr>
              <p:spPr>
                <a:xfrm>
                  <a:off x="6028170" y="3540125"/>
                  <a:ext cx="202045" cy="202045"/>
                </a:xfrm>
                <a:custGeom>
                  <a:avLst/>
                  <a:gdLst>
                    <a:gd name="connsiteX0" fmla="*/ 101023 w 202045"/>
                    <a:gd name="connsiteY0" fmla="*/ 0 h 202045"/>
                    <a:gd name="connsiteX1" fmla="*/ 0 w 202045"/>
                    <a:gd name="connsiteY1" fmla="*/ 101023 h 202045"/>
                    <a:gd name="connsiteX2" fmla="*/ 101023 w 202045"/>
                    <a:gd name="connsiteY2" fmla="*/ 202045 h 202045"/>
                    <a:gd name="connsiteX3" fmla="*/ 202045 w 202045"/>
                    <a:gd name="connsiteY3" fmla="*/ 101023 h 202045"/>
                    <a:gd name="connsiteX4" fmla="*/ 101023 w 202045"/>
                    <a:gd name="connsiteY4" fmla="*/ 0 h 202045"/>
                    <a:gd name="connsiteX5" fmla="*/ 101023 w 202045"/>
                    <a:gd name="connsiteY5" fmla="*/ 161636 h 202045"/>
                    <a:gd name="connsiteX6" fmla="*/ 38966 w 202045"/>
                    <a:gd name="connsiteY6" fmla="*/ 99580 h 202045"/>
                    <a:gd name="connsiteX7" fmla="*/ 101023 w 202045"/>
                    <a:gd name="connsiteY7" fmla="*/ 37523 h 202045"/>
                    <a:gd name="connsiteX8" fmla="*/ 163080 w 202045"/>
                    <a:gd name="connsiteY8" fmla="*/ 99580 h 202045"/>
                    <a:gd name="connsiteX9" fmla="*/ 101023 w 202045"/>
                    <a:gd name="connsiteY9" fmla="*/ 161636 h 20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045" h="202045">
                      <a:moveTo>
                        <a:pt x="101023" y="0"/>
                      </a:moveTo>
                      <a:cubicBezTo>
                        <a:pt x="46182" y="0"/>
                        <a:pt x="0" y="44739"/>
                        <a:pt x="0" y="101023"/>
                      </a:cubicBezTo>
                      <a:cubicBezTo>
                        <a:pt x="0" y="157307"/>
                        <a:pt x="44739" y="202045"/>
                        <a:pt x="101023" y="202045"/>
                      </a:cubicBezTo>
                      <a:cubicBezTo>
                        <a:pt x="155864" y="202045"/>
                        <a:pt x="202045" y="157307"/>
                        <a:pt x="202045" y="101023"/>
                      </a:cubicBezTo>
                      <a:cubicBezTo>
                        <a:pt x="202045" y="44739"/>
                        <a:pt x="155864" y="0"/>
                        <a:pt x="101023" y="0"/>
                      </a:cubicBezTo>
                      <a:close/>
                      <a:moveTo>
                        <a:pt x="101023" y="161636"/>
                      </a:moveTo>
                      <a:cubicBezTo>
                        <a:pt x="66386" y="161636"/>
                        <a:pt x="38966" y="134216"/>
                        <a:pt x="38966" y="99580"/>
                      </a:cubicBezTo>
                      <a:cubicBezTo>
                        <a:pt x="38966" y="64943"/>
                        <a:pt x="66386" y="37523"/>
                        <a:pt x="101023" y="37523"/>
                      </a:cubicBezTo>
                      <a:cubicBezTo>
                        <a:pt x="135659" y="37523"/>
                        <a:pt x="163080" y="64943"/>
                        <a:pt x="163080" y="99580"/>
                      </a:cubicBezTo>
                      <a:cubicBezTo>
                        <a:pt x="163080" y="134216"/>
                        <a:pt x="135659" y="161636"/>
                        <a:pt x="101023" y="161636"/>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grpSp>
          <p:grpSp>
            <p:nvGrpSpPr>
              <p:cNvPr id="165" name="Graphic 50">
                <a:extLst>
                  <a:ext uri="{FF2B5EF4-FFF2-40B4-BE49-F238E27FC236}">
                    <a16:creationId xmlns:a16="http://schemas.microsoft.com/office/drawing/2014/main" id="{E88BE6F2-2138-457B-8E5D-A898E12FE003}"/>
                  </a:ext>
                </a:extLst>
              </p:cNvPr>
              <p:cNvGrpSpPr/>
              <p:nvPr/>
            </p:nvGrpSpPr>
            <p:grpSpPr>
              <a:xfrm>
                <a:off x="5730874" y="3241386"/>
                <a:ext cx="173181" cy="173181"/>
                <a:chOff x="5730874" y="3241386"/>
                <a:chExt cx="173181" cy="173181"/>
              </a:xfrm>
              <a:grpFill/>
            </p:grpSpPr>
            <p:sp>
              <p:nvSpPr>
                <p:cNvPr id="173" name="Freeform: Shape 172">
                  <a:extLst>
                    <a:ext uri="{FF2B5EF4-FFF2-40B4-BE49-F238E27FC236}">
                      <a16:creationId xmlns:a16="http://schemas.microsoft.com/office/drawing/2014/main" id="{81780307-5872-4DAD-BA58-F4515B3796B7}"/>
                    </a:ext>
                  </a:extLst>
                </p:cNvPr>
                <p:cNvSpPr/>
                <p:nvPr/>
              </p:nvSpPr>
              <p:spPr>
                <a:xfrm>
                  <a:off x="5730874" y="3241386"/>
                  <a:ext cx="173181" cy="173181"/>
                </a:xfrm>
                <a:custGeom>
                  <a:avLst/>
                  <a:gdLst>
                    <a:gd name="connsiteX0" fmla="*/ 86591 w 173181"/>
                    <a:gd name="connsiteY0" fmla="*/ 0 h 173181"/>
                    <a:gd name="connsiteX1" fmla="*/ 0 w 173181"/>
                    <a:gd name="connsiteY1" fmla="*/ 86591 h 173181"/>
                    <a:gd name="connsiteX2" fmla="*/ 86591 w 173181"/>
                    <a:gd name="connsiteY2" fmla="*/ 173182 h 173181"/>
                    <a:gd name="connsiteX3" fmla="*/ 173182 w 173181"/>
                    <a:gd name="connsiteY3" fmla="*/ 86591 h 173181"/>
                    <a:gd name="connsiteX4" fmla="*/ 86591 w 173181"/>
                    <a:gd name="connsiteY4" fmla="*/ 0 h 173181"/>
                    <a:gd name="connsiteX5" fmla="*/ 86591 w 173181"/>
                    <a:gd name="connsiteY5" fmla="*/ 141432 h 173181"/>
                    <a:gd name="connsiteX6" fmla="*/ 31750 w 173181"/>
                    <a:gd name="connsiteY6" fmla="*/ 86591 h 173181"/>
                    <a:gd name="connsiteX7" fmla="*/ 86591 w 173181"/>
                    <a:gd name="connsiteY7" fmla="*/ 31750 h 173181"/>
                    <a:gd name="connsiteX8" fmla="*/ 141432 w 173181"/>
                    <a:gd name="connsiteY8" fmla="*/ 86591 h 173181"/>
                    <a:gd name="connsiteX9" fmla="*/ 86591 w 173181"/>
                    <a:gd name="connsiteY9" fmla="*/ 141432 h 17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181" h="173181">
                      <a:moveTo>
                        <a:pt x="86591" y="0"/>
                      </a:moveTo>
                      <a:cubicBezTo>
                        <a:pt x="38966" y="0"/>
                        <a:pt x="0" y="38966"/>
                        <a:pt x="0" y="86591"/>
                      </a:cubicBezTo>
                      <a:cubicBezTo>
                        <a:pt x="0" y="134216"/>
                        <a:pt x="38966" y="173182"/>
                        <a:pt x="86591" y="173182"/>
                      </a:cubicBezTo>
                      <a:cubicBezTo>
                        <a:pt x="134216" y="173182"/>
                        <a:pt x="173182" y="134216"/>
                        <a:pt x="173182" y="86591"/>
                      </a:cubicBezTo>
                      <a:cubicBezTo>
                        <a:pt x="173182" y="38966"/>
                        <a:pt x="134216" y="0"/>
                        <a:pt x="86591" y="0"/>
                      </a:cubicBezTo>
                      <a:close/>
                      <a:moveTo>
                        <a:pt x="86591" y="141432"/>
                      </a:moveTo>
                      <a:cubicBezTo>
                        <a:pt x="56284" y="141432"/>
                        <a:pt x="31750" y="116898"/>
                        <a:pt x="31750" y="86591"/>
                      </a:cubicBezTo>
                      <a:cubicBezTo>
                        <a:pt x="31750" y="56284"/>
                        <a:pt x="56284" y="31750"/>
                        <a:pt x="86591" y="31750"/>
                      </a:cubicBezTo>
                      <a:cubicBezTo>
                        <a:pt x="116898" y="31750"/>
                        <a:pt x="141432" y="56284"/>
                        <a:pt x="141432" y="86591"/>
                      </a:cubicBezTo>
                      <a:cubicBezTo>
                        <a:pt x="141432" y="116898"/>
                        <a:pt x="116898" y="141432"/>
                        <a:pt x="86591" y="141432"/>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sp>
              <p:nvSpPr>
                <p:cNvPr id="174" name="Freeform: Shape 173">
                  <a:extLst>
                    <a:ext uri="{FF2B5EF4-FFF2-40B4-BE49-F238E27FC236}">
                      <a16:creationId xmlns:a16="http://schemas.microsoft.com/office/drawing/2014/main" id="{8342B49B-E3D8-4929-BFF2-2011A743A257}"/>
                    </a:ext>
                  </a:extLst>
                </p:cNvPr>
                <p:cNvSpPr/>
                <p:nvPr/>
              </p:nvSpPr>
              <p:spPr>
                <a:xfrm>
                  <a:off x="5784272" y="3294784"/>
                  <a:ext cx="66386" cy="66386"/>
                </a:xfrm>
                <a:custGeom>
                  <a:avLst/>
                  <a:gdLst>
                    <a:gd name="connsiteX0" fmla="*/ 33193 w 66386"/>
                    <a:gd name="connsiteY0" fmla="*/ 0 h 66386"/>
                    <a:gd name="connsiteX1" fmla="*/ 0 w 66386"/>
                    <a:gd name="connsiteY1" fmla="*/ 33193 h 66386"/>
                    <a:gd name="connsiteX2" fmla="*/ 33193 w 66386"/>
                    <a:gd name="connsiteY2" fmla="*/ 66386 h 66386"/>
                    <a:gd name="connsiteX3" fmla="*/ 66386 w 66386"/>
                    <a:gd name="connsiteY3" fmla="*/ 33193 h 66386"/>
                    <a:gd name="connsiteX4" fmla="*/ 33193 w 66386"/>
                    <a:gd name="connsiteY4" fmla="*/ 0 h 66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86" h="66386">
                      <a:moveTo>
                        <a:pt x="33193" y="0"/>
                      </a:moveTo>
                      <a:cubicBezTo>
                        <a:pt x="14432" y="0"/>
                        <a:pt x="0" y="14432"/>
                        <a:pt x="0" y="33193"/>
                      </a:cubicBezTo>
                      <a:cubicBezTo>
                        <a:pt x="0" y="51955"/>
                        <a:pt x="14432" y="66386"/>
                        <a:pt x="33193" y="66386"/>
                      </a:cubicBezTo>
                      <a:cubicBezTo>
                        <a:pt x="51955" y="66386"/>
                        <a:pt x="66386" y="51955"/>
                        <a:pt x="66386" y="33193"/>
                      </a:cubicBezTo>
                      <a:cubicBezTo>
                        <a:pt x="66386" y="14432"/>
                        <a:pt x="51955" y="0"/>
                        <a:pt x="33193" y="0"/>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grpSp>
          <p:grpSp>
            <p:nvGrpSpPr>
              <p:cNvPr id="166" name="Graphic 50">
                <a:extLst>
                  <a:ext uri="{FF2B5EF4-FFF2-40B4-BE49-F238E27FC236}">
                    <a16:creationId xmlns:a16="http://schemas.microsoft.com/office/drawing/2014/main" id="{7CCE22FB-0839-4303-A781-4A5D378F4DE1}"/>
                  </a:ext>
                </a:extLst>
              </p:cNvPr>
              <p:cNvGrpSpPr/>
              <p:nvPr/>
            </p:nvGrpSpPr>
            <p:grpSpPr>
              <a:xfrm>
                <a:off x="6139295" y="2975840"/>
                <a:ext cx="141431" cy="141431"/>
                <a:chOff x="6139295" y="2975840"/>
                <a:chExt cx="141431" cy="141431"/>
              </a:xfrm>
              <a:grpFill/>
            </p:grpSpPr>
            <p:sp>
              <p:nvSpPr>
                <p:cNvPr id="171" name="Freeform: Shape 170">
                  <a:extLst>
                    <a:ext uri="{FF2B5EF4-FFF2-40B4-BE49-F238E27FC236}">
                      <a16:creationId xmlns:a16="http://schemas.microsoft.com/office/drawing/2014/main" id="{A1B3B037-6DC2-4A37-B3AE-38FA6202F062}"/>
                    </a:ext>
                  </a:extLst>
                </p:cNvPr>
                <p:cNvSpPr/>
                <p:nvPr/>
              </p:nvSpPr>
              <p:spPr>
                <a:xfrm>
                  <a:off x="6185477" y="3022022"/>
                  <a:ext cx="49068" cy="49068"/>
                </a:xfrm>
                <a:custGeom>
                  <a:avLst/>
                  <a:gdLst>
                    <a:gd name="connsiteX0" fmla="*/ 49068 w 49068"/>
                    <a:gd name="connsiteY0" fmla="*/ 24534 h 49068"/>
                    <a:gd name="connsiteX1" fmla="*/ 24534 w 49068"/>
                    <a:gd name="connsiteY1" fmla="*/ 49068 h 49068"/>
                    <a:gd name="connsiteX2" fmla="*/ 0 w 49068"/>
                    <a:gd name="connsiteY2" fmla="*/ 24534 h 49068"/>
                    <a:gd name="connsiteX3" fmla="*/ 24534 w 49068"/>
                    <a:gd name="connsiteY3" fmla="*/ 0 h 49068"/>
                    <a:gd name="connsiteX4" fmla="*/ 49068 w 49068"/>
                    <a:gd name="connsiteY4" fmla="*/ 24534 h 49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68" h="49068">
                      <a:moveTo>
                        <a:pt x="49068" y="24534"/>
                      </a:moveTo>
                      <a:cubicBezTo>
                        <a:pt x="49068" y="38084"/>
                        <a:pt x="38084" y="49068"/>
                        <a:pt x="24534" y="49068"/>
                      </a:cubicBezTo>
                      <a:cubicBezTo>
                        <a:pt x="10984" y="49068"/>
                        <a:pt x="0" y="38084"/>
                        <a:pt x="0" y="24534"/>
                      </a:cubicBezTo>
                      <a:cubicBezTo>
                        <a:pt x="0" y="10984"/>
                        <a:pt x="10984" y="0"/>
                        <a:pt x="24534" y="0"/>
                      </a:cubicBezTo>
                      <a:cubicBezTo>
                        <a:pt x="38084" y="0"/>
                        <a:pt x="49068" y="10984"/>
                        <a:pt x="49068" y="24534"/>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sp>
              <p:nvSpPr>
                <p:cNvPr id="172" name="Freeform: Shape 171">
                  <a:extLst>
                    <a:ext uri="{FF2B5EF4-FFF2-40B4-BE49-F238E27FC236}">
                      <a16:creationId xmlns:a16="http://schemas.microsoft.com/office/drawing/2014/main" id="{011D693C-0B3F-4839-8937-2150044D2F65}"/>
                    </a:ext>
                  </a:extLst>
                </p:cNvPr>
                <p:cNvSpPr/>
                <p:nvPr/>
              </p:nvSpPr>
              <p:spPr>
                <a:xfrm>
                  <a:off x="6139295" y="2975840"/>
                  <a:ext cx="141431" cy="141431"/>
                </a:xfrm>
                <a:custGeom>
                  <a:avLst/>
                  <a:gdLst>
                    <a:gd name="connsiteX0" fmla="*/ 70716 w 141431"/>
                    <a:gd name="connsiteY0" fmla="*/ 0 h 141431"/>
                    <a:gd name="connsiteX1" fmla="*/ 0 w 141431"/>
                    <a:gd name="connsiteY1" fmla="*/ 70716 h 141431"/>
                    <a:gd name="connsiteX2" fmla="*/ 70716 w 141431"/>
                    <a:gd name="connsiteY2" fmla="*/ 141432 h 141431"/>
                    <a:gd name="connsiteX3" fmla="*/ 141432 w 141431"/>
                    <a:gd name="connsiteY3" fmla="*/ 70716 h 141431"/>
                    <a:gd name="connsiteX4" fmla="*/ 70716 w 141431"/>
                    <a:gd name="connsiteY4" fmla="*/ 0 h 141431"/>
                    <a:gd name="connsiteX5" fmla="*/ 70716 w 141431"/>
                    <a:gd name="connsiteY5" fmla="*/ 118341 h 141431"/>
                    <a:gd name="connsiteX6" fmla="*/ 24534 w 141431"/>
                    <a:gd name="connsiteY6" fmla="*/ 72159 h 141431"/>
                    <a:gd name="connsiteX7" fmla="*/ 70716 w 141431"/>
                    <a:gd name="connsiteY7" fmla="*/ 25977 h 141431"/>
                    <a:gd name="connsiteX8" fmla="*/ 116898 w 141431"/>
                    <a:gd name="connsiteY8" fmla="*/ 72159 h 141431"/>
                    <a:gd name="connsiteX9" fmla="*/ 70716 w 141431"/>
                    <a:gd name="connsiteY9" fmla="*/ 118341 h 14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431" h="141431">
                      <a:moveTo>
                        <a:pt x="70716" y="0"/>
                      </a:moveTo>
                      <a:cubicBezTo>
                        <a:pt x="31750" y="0"/>
                        <a:pt x="0" y="31750"/>
                        <a:pt x="0" y="70716"/>
                      </a:cubicBezTo>
                      <a:cubicBezTo>
                        <a:pt x="0" y="109682"/>
                        <a:pt x="31750" y="141432"/>
                        <a:pt x="70716" y="141432"/>
                      </a:cubicBezTo>
                      <a:cubicBezTo>
                        <a:pt x="109682" y="141432"/>
                        <a:pt x="141432" y="109682"/>
                        <a:pt x="141432" y="70716"/>
                      </a:cubicBezTo>
                      <a:cubicBezTo>
                        <a:pt x="141432" y="31750"/>
                        <a:pt x="109682" y="0"/>
                        <a:pt x="70716" y="0"/>
                      </a:cubicBezTo>
                      <a:close/>
                      <a:moveTo>
                        <a:pt x="70716" y="118341"/>
                      </a:moveTo>
                      <a:cubicBezTo>
                        <a:pt x="44739" y="118341"/>
                        <a:pt x="24534" y="96693"/>
                        <a:pt x="24534" y="72159"/>
                      </a:cubicBezTo>
                      <a:cubicBezTo>
                        <a:pt x="24534" y="46182"/>
                        <a:pt x="46182" y="25977"/>
                        <a:pt x="70716" y="25977"/>
                      </a:cubicBezTo>
                      <a:cubicBezTo>
                        <a:pt x="95250" y="25977"/>
                        <a:pt x="116898" y="47625"/>
                        <a:pt x="116898" y="72159"/>
                      </a:cubicBezTo>
                      <a:cubicBezTo>
                        <a:pt x="118341" y="96693"/>
                        <a:pt x="96693" y="118341"/>
                        <a:pt x="70716" y="118341"/>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grpSp>
          <p:sp>
            <p:nvSpPr>
              <p:cNvPr id="167" name="Freeform: Shape 166">
                <a:extLst>
                  <a:ext uri="{FF2B5EF4-FFF2-40B4-BE49-F238E27FC236}">
                    <a16:creationId xmlns:a16="http://schemas.microsoft.com/office/drawing/2014/main" id="{993B5A4F-D935-4AF4-89D6-FC53B37BD8A8}"/>
                  </a:ext>
                </a:extLst>
              </p:cNvPr>
              <p:cNvSpPr/>
              <p:nvPr/>
            </p:nvSpPr>
            <p:spPr>
              <a:xfrm>
                <a:off x="5839113" y="3349625"/>
                <a:ext cx="258329" cy="258329"/>
              </a:xfrm>
              <a:custGeom>
                <a:avLst/>
                <a:gdLst>
                  <a:gd name="connsiteX0" fmla="*/ 258330 w 258329"/>
                  <a:gd name="connsiteY0" fmla="*/ 173182 h 258329"/>
                  <a:gd name="connsiteX1" fmla="*/ 173182 w 258329"/>
                  <a:gd name="connsiteY1" fmla="*/ 258330 h 258329"/>
                  <a:gd name="connsiteX2" fmla="*/ 0 w 258329"/>
                  <a:gd name="connsiteY2" fmla="*/ 85148 h 258329"/>
                  <a:gd name="connsiteX3" fmla="*/ 85148 w 258329"/>
                  <a:gd name="connsiteY3" fmla="*/ 0 h 258329"/>
                  <a:gd name="connsiteX4" fmla="*/ 258330 w 258329"/>
                  <a:gd name="connsiteY4" fmla="*/ 173182 h 258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329" h="258329">
                    <a:moveTo>
                      <a:pt x="258330" y="173182"/>
                    </a:moveTo>
                    <a:cubicBezTo>
                      <a:pt x="216477" y="184727"/>
                      <a:pt x="184727" y="216477"/>
                      <a:pt x="173182" y="258330"/>
                    </a:cubicBezTo>
                    <a:lnTo>
                      <a:pt x="0" y="85148"/>
                    </a:lnTo>
                    <a:cubicBezTo>
                      <a:pt x="43295" y="76489"/>
                      <a:pt x="76489" y="43295"/>
                      <a:pt x="85148" y="0"/>
                    </a:cubicBezTo>
                    <a:lnTo>
                      <a:pt x="258330" y="173182"/>
                    </a:lnTo>
                    <a:close/>
                  </a:path>
                </a:pathLst>
              </a:custGeom>
              <a:grpFill/>
              <a:ln w="14432" cap="flat">
                <a:noFill/>
                <a:prstDash val="solid"/>
                <a:miter/>
              </a:ln>
            </p:spPr>
            <p:txBody>
              <a:bodyPr rtlCol="0" anchor="ctr"/>
              <a:lstStyle/>
              <a:p>
                <a:endParaRPr lang="en-IN"/>
              </a:p>
            </p:txBody>
          </p:sp>
          <p:sp>
            <p:nvSpPr>
              <p:cNvPr id="168" name="Freeform: Shape 167">
                <a:extLst>
                  <a:ext uri="{FF2B5EF4-FFF2-40B4-BE49-F238E27FC236}">
                    <a16:creationId xmlns:a16="http://schemas.microsoft.com/office/drawing/2014/main" id="{9C43A37E-59D5-43E3-9F2A-B21F6DD72388}"/>
                  </a:ext>
                </a:extLst>
              </p:cNvPr>
              <p:cNvSpPr/>
              <p:nvPr/>
            </p:nvSpPr>
            <p:spPr>
              <a:xfrm>
                <a:off x="6247534" y="3060988"/>
                <a:ext cx="124113" cy="134215"/>
              </a:xfrm>
              <a:custGeom>
                <a:avLst/>
                <a:gdLst>
                  <a:gd name="connsiteX0" fmla="*/ 124114 w 124113"/>
                  <a:gd name="connsiteY0" fmla="*/ 70716 h 134215"/>
                  <a:gd name="connsiteX1" fmla="*/ 63500 w 124113"/>
                  <a:gd name="connsiteY1" fmla="*/ 134216 h 134215"/>
                  <a:gd name="connsiteX2" fmla="*/ 0 w 124113"/>
                  <a:gd name="connsiteY2" fmla="*/ 70716 h 134215"/>
                  <a:gd name="connsiteX3" fmla="*/ 53398 w 124113"/>
                  <a:gd name="connsiteY3" fmla="*/ 0 h 134215"/>
                  <a:gd name="connsiteX4" fmla="*/ 124114 w 124113"/>
                  <a:gd name="connsiteY4" fmla="*/ 70716 h 134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13" h="134215">
                    <a:moveTo>
                      <a:pt x="124114" y="70716"/>
                    </a:moveTo>
                    <a:cubicBezTo>
                      <a:pt x="90920" y="75045"/>
                      <a:pt x="66386" y="101023"/>
                      <a:pt x="63500" y="134216"/>
                    </a:cubicBezTo>
                    <a:lnTo>
                      <a:pt x="0" y="70716"/>
                    </a:lnTo>
                    <a:cubicBezTo>
                      <a:pt x="27420" y="57727"/>
                      <a:pt x="49068" y="31750"/>
                      <a:pt x="53398" y="0"/>
                    </a:cubicBezTo>
                    <a:lnTo>
                      <a:pt x="124114" y="70716"/>
                    </a:lnTo>
                    <a:close/>
                  </a:path>
                </a:pathLst>
              </a:custGeom>
              <a:grpFill/>
              <a:ln w="14432" cap="flat">
                <a:noFill/>
                <a:prstDash val="solid"/>
                <a:miter/>
              </a:ln>
            </p:spPr>
            <p:txBody>
              <a:bodyPr rtlCol="0" anchor="ctr"/>
              <a:lstStyle/>
              <a:p>
                <a:endParaRPr lang="en-IN"/>
              </a:p>
            </p:txBody>
          </p:sp>
          <p:sp>
            <p:nvSpPr>
              <p:cNvPr id="169" name="Freeform: Shape 168">
                <a:extLst>
                  <a:ext uri="{FF2B5EF4-FFF2-40B4-BE49-F238E27FC236}">
                    <a16:creationId xmlns:a16="http://schemas.microsoft.com/office/drawing/2014/main" id="{6A7AFD4E-9D43-4469-B0AA-5B3A74C36C76}"/>
                  </a:ext>
                </a:extLst>
              </p:cNvPr>
              <p:cNvSpPr/>
              <p:nvPr/>
            </p:nvSpPr>
            <p:spPr>
              <a:xfrm>
                <a:off x="5853545" y="3027795"/>
                <a:ext cx="323272" cy="295852"/>
              </a:xfrm>
              <a:custGeom>
                <a:avLst/>
                <a:gdLst>
                  <a:gd name="connsiteX0" fmla="*/ 323273 w 323272"/>
                  <a:gd name="connsiteY0" fmla="*/ 105352 h 295852"/>
                  <a:gd name="connsiteX1" fmla="*/ 72159 w 323272"/>
                  <a:gd name="connsiteY1" fmla="*/ 295852 h 295852"/>
                  <a:gd name="connsiteX2" fmla="*/ 0 w 323272"/>
                  <a:gd name="connsiteY2" fmla="*/ 197716 h 295852"/>
                  <a:gd name="connsiteX3" fmla="*/ 266989 w 323272"/>
                  <a:gd name="connsiteY3" fmla="*/ 0 h 295852"/>
                  <a:gd name="connsiteX4" fmla="*/ 264102 w 323272"/>
                  <a:gd name="connsiteY4" fmla="*/ 20205 h 295852"/>
                  <a:gd name="connsiteX5" fmla="*/ 323273 w 323272"/>
                  <a:gd name="connsiteY5" fmla="*/ 105352 h 29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272" h="295852">
                    <a:moveTo>
                      <a:pt x="323273" y="105352"/>
                    </a:moveTo>
                    <a:lnTo>
                      <a:pt x="72159" y="295852"/>
                    </a:lnTo>
                    <a:cubicBezTo>
                      <a:pt x="70716" y="251114"/>
                      <a:pt x="40409" y="213591"/>
                      <a:pt x="0" y="197716"/>
                    </a:cubicBezTo>
                    <a:lnTo>
                      <a:pt x="266989" y="0"/>
                    </a:lnTo>
                    <a:cubicBezTo>
                      <a:pt x="265545" y="5773"/>
                      <a:pt x="264102" y="12989"/>
                      <a:pt x="264102" y="20205"/>
                    </a:cubicBezTo>
                    <a:cubicBezTo>
                      <a:pt x="264102" y="59170"/>
                      <a:pt x="288636" y="92364"/>
                      <a:pt x="323273" y="105352"/>
                    </a:cubicBezTo>
                    <a:close/>
                  </a:path>
                </a:pathLst>
              </a:custGeom>
              <a:grpFill/>
              <a:ln w="14432" cap="flat">
                <a:noFill/>
                <a:prstDash val="solid"/>
                <a:miter/>
              </a:ln>
            </p:spPr>
            <p:txBody>
              <a:bodyPr rtlCol="0" anchor="ctr"/>
              <a:lstStyle/>
              <a:p>
                <a:endParaRPr lang="en-IN"/>
              </a:p>
            </p:txBody>
          </p:sp>
          <p:sp>
            <p:nvSpPr>
              <p:cNvPr id="170" name="Freeform: Shape 169">
                <a:extLst>
                  <a:ext uri="{FF2B5EF4-FFF2-40B4-BE49-F238E27FC236}">
                    <a16:creationId xmlns:a16="http://schemas.microsoft.com/office/drawing/2014/main" id="{9CE0150D-F3BA-4772-B5D5-C6F9C7EC91CC}"/>
                  </a:ext>
                </a:extLst>
              </p:cNvPr>
              <p:cNvSpPr/>
              <p:nvPr/>
            </p:nvSpPr>
            <p:spPr>
              <a:xfrm>
                <a:off x="6298922" y="3153352"/>
                <a:ext cx="162768" cy="199159"/>
              </a:xfrm>
              <a:custGeom>
                <a:avLst/>
                <a:gdLst>
                  <a:gd name="connsiteX0" fmla="*/ 159316 w 162768"/>
                  <a:gd name="connsiteY0" fmla="*/ 111125 h 199159"/>
                  <a:gd name="connsiteX1" fmla="*/ 123237 w 162768"/>
                  <a:gd name="connsiteY1" fmla="*/ 73602 h 199159"/>
                  <a:gd name="connsiteX2" fmla="*/ 121793 w 162768"/>
                  <a:gd name="connsiteY2" fmla="*/ 73602 h 199159"/>
                  <a:gd name="connsiteX3" fmla="*/ 129009 w 162768"/>
                  <a:gd name="connsiteY3" fmla="*/ 47625 h 199159"/>
                  <a:gd name="connsiteX4" fmla="*/ 81384 w 162768"/>
                  <a:gd name="connsiteY4" fmla="*/ 0 h 199159"/>
                  <a:gd name="connsiteX5" fmla="*/ 33759 w 162768"/>
                  <a:gd name="connsiteY5" fmla="*/ 47625 h 199159"/>
                  <a:gd name="connsiteX6" fmla="*/ 40975 w 162768"/>
                  <a:gd name="connsiteY6" fmla="*/ 73602 h 199159"/>
                  <a:gd name="connsiteX7" fmla="*/ 39532 w 162768"/>
                  <a:gd name="connsiteY7" fmla="*/ 73602 h 199159"/>
                  <a:gd name="connsiteX8" fmla="*/ 3453 w 162768"/>
                  <a:gd name="connsiteY8" fmla="*/ 109682 h 199159"/>
                  <a:gd name="connsiteX9" fmla="*/ 566 w 162768"/>
                  <a:gd name="connsiteY9" fmla="*/ 119784 h 199159"/>
                  <a:gd name="connsiteX10" fmla="*/ 16441 w 162768"/>
                  <a:gd name="connsiteY10" fmla="*/ 190500 h 199159"/>
                  <a:gd name="connsiteX11" fmla="*/ 26543 w 162768"/>
                  <a:gd name="connsiteY11" fmla="*/ 199159 h 199159"/>
                  <a:gd name="connsiteX12" fmla="*/ 29430 w 162768"/>
                  <a:gd name="connsiteY12" fmla="*/ 199159 h 199159"/>
                  <a:gd name="connsiteX13" fmla="*/ 38089 w 162768"/>
                  <a:gd name="connsiteY13" fmla="*/ 186170 h 199159"/>
                  <a:gd name="connsiteX14" fmla="*/ 23657 w 162768"/>
                  <a:gd name="connsiteY14" fmla="*/ 121227 h 199159"/>
                  <a:gd name="connsiteX15" fmla="*/ 55407 w 162768"/>
                  <a:gd name="connsiteY15" fmla="*/ 89477 h 199159"/>
                  <a:gd name="connsiteX16" fmla="*/ 56850 w 162768"/>
                  <a:gd name="connsiteY16" fmla="*/ 88034 h 199159"/>
                  <a:gd name="connsiteX17" fmla="*/ 81384 w 162768"/>
                  <a:gd name="connsiteY17" fmla="*/ 95250 h 199159"/>
                  <a:gd name="connsiteX18" fmla="*/ 105918 w 162768"/>
                  <a:gd name="connsiteY18" fmla="*/ 88034 h 199159"/>
                  <a:gd name="connsiteX19" fmla="*/ 107362 w 162768"/>
                  <a:gd name="connsiteY19" fmla="*/ 89477 h 199159"/>
                  <a:gd name="connsiteX20" fmla="*/ 139112 w 162768"/>
                  <a:gd name="connsiteY20" fmla="*/ 121227 h 199159"/>
                  <a:gd name="connsiteX21" fmla="*/ 124680 w 162768"/>
                  <a:gd name="connsiteY21" fmla="*/ 186170 h 199159"/>
                  <a:gd name="connsiteX22" fmla="*/ 133339 w 162768"/>
                  <a:gd name="connsiteY22" fmla="*/ 199159 h 199159"/>
                  <a:gd name="connsiteX23" fmla="*/ 136225 w 162768"/>
                  <a:gd name="connsiteY23" fmla="*/ 199159 h 199159"/>
                  <a:gd name="connsiteX24" fmla="*/ 146328 w 162768"/>
                  <a:gd name="connsiteY24" fmla="*/ 190500 h 199159"/>
                  <a:gd name="connsiteX25" fmla="*/ 162203 w 162768"/>
                  <a:gd name="connsiteY25" fmla="*/ 119784 h 199159"/>
                  <a:gd name="connsiteX26" fmla="*/ 159316 w 162768"/>
                  <a:gd name="connsiteY26" fmla="*/ 111125 h 19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2768" h="199159">
                    <a:moveTo>
                      <a:pt x="159316" y="111125"/>
                    </a:moveTo>
                    <a:lnTo>
                      <a:pt x="123237" y="73602"/>
                    </a:lnTo>
                    <a:cubicBezTo>
                      <a:pt x="123237" y="73602"/>
                      <a:pt x="123237" y="73602"/>
                      <a:pt x="121793" y="73602"/>
                    </a:cubicBezTo>
                    <a:cubicBezTo>
                      <a:pt x="126123" y="66386"/>
                      <a:pt x="129009" y="57727"/>
                      <a:pt x="129009" y="47625"/>
                    </a:cubicBezTo>
                    <a:cubicBezTo>
                      <a:pt x="129009" y="21648"/>
                      <a:pt x="107362" y="0"/>
                      <a:pt x="81384" y="0"/>
                    </a:cubicBezTo>
                    <a:cubicBezTo>
                      <a:pt x="55407" y="0"/>
                      <a:pt x="33759" y="21648"/>
                      <a:pt x="33759" y="47625"/>
                    </a:cubicBezTo>
                    <a:cubicBezTo>
                      <a:pt x="33759" y="57727"/>
                      <a:pt x="36646" y="66386"/>
                      <a:pt x="40975" y="73602"/>
                    </a:cubicBezTo>
                    <a:cubicBezTo>
                      <a:pt x="40975" y="73602"/>
                      <a:pt x="40975" y="73602"/>
                      <a:pt x="39532" y="73602"/>
                    </a:cubicBezTo>
                    <a:lnTo>
                      <a:pt x="3453" y="109682"/>
                    </a:lnTo>
                    <a:cubicBezTo>
                      <a:pt x="566" y="112568"/>
                      <a:pt x="-877" y="115455"/>
                      <a:pt x="566" y="119784"/>
                    </a:cubicBezTo>
                    <a:lnTo>
                      <a:pt x="16441" y="190500"/>
                    </a:lnTo>
                    <a:cubicBezTo>
                      <a:pt x="17884" y="194830"/>
                      <a:pt x="22214" y="199159"/>
                      <a:pt x="26543" y="199159"/>
                    </a:cubicBezTo>
                    <a:cubicBezTo>
                      <a:pt x="27987" y="199159"/>
                      <a:pt x="27987" y="199159"/>
                      <a:pt x="29430" y="199159"/>
                    </a:cubicBezTo>
                    <a:cubicBezTo>
                      <a:pt x="35203" y="197716"/>
                      <a:pt x="39532" y="191943"/>
                      <a:pt x="38089" y="186170"/>
                    </a:cubicBezTo>
                    <a:lnTo>
                      <a:pt x="23657" y="121227"/>
                    </a:lnTo>
                    <a:lnTo>
                      <a:pt x="55407" y="89477"/>
                    </a:lnTo>
                    <a:cubicBezTo>
                      <a:pt x="55407" y="89477"/>
                      <a:pt x="55407" y="88034"/>
                      <a:pt x="56850" y="88034"/>
                    </a:cubicBezTo>
                    <a:cubicBezTo>
                      <a:pt x="64066" y="92364"/>
                      <a:pt x="72725" y="95250"/>
                      <a:pt x="81384" y="95250"/>
                    </a:cubicBezTo>
                    <a:cubicBezTo>
                      <a:pt x="90043" y="95250"/>
                      <a:pt x="98703" y="92364"/>
                      <a:pt x="105918" y="88034"/>
                    </a:cubicBezTo>
                    <a:cubicBezTo>
                      <a:pt x="105918" y="88034"/>
                      <a:pt x="105918" y="89477"/>
                      <a:pt x="107362" y="89477"/>
                    </a:cubicBezTo>
                    <a:lnTo>
                      <a:pt x="139112" y="121227"/>
                    </a:lnTo>
                    <a:lnTo>
                      <a:pt x="124680" y="186170"/>
                    </a:lnTo>
                    <a:cubicBezTo>
                      <a:pt x="123237" y="191943"/>
                      <a:pt x="127566" y="197716"/>
                      <a:pt x="133339" y="199159"/>
                    </a:cubicBezTo>
                    <a:cubicBezTo>
                      <a:pt x="134782" y="199159"/>
                      <a:pt x="134782" y="199159"/>
                      <a:pt x="136225" y="199159"/>
                    </a:cubicBezTo>
                    <a:cubicBezTo>
                      <a:pt x="140555" y="199159"/>
                      <a:pt x="146328" y="196273"/>
                      <a:pt x="146328" y="190500"/>
                    </a:cubicBezTo>
                    <a:lnTo>
                      <a:pt x="162203" y="119784"/>
                    </a:lnTo>
                    <a:cubicBezTo>
                      <a:pt x="163646" y="116898"/>
                      <a:pt x="162203" y="114011"/>
                      <a:pt x="159316" y="111125"/>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grpSp>
        <p:grpSp>
          <p:nvGrpSpPr>
            <p:cNvPr id="177" name="Group 176">
              <a:extLst>
                <a:ext uri="{FF2B5EF4-FFF2-40B4-BE49-F238E27FC236}">
                  <a16:creationId xmlns:a16="http://schemas.microsoft.com/office/drawing/2014/main" id="{C1219132-DCF4-4913-AE2E-A04322098D0D}"/>
                </a:ext>
              </a:extLst>
            </p:cNvPr>
            <p:cNvGrpSpPr/>
            <p:nvPr/>
          </p:nvGrpSpPr>
          <p:grpSpPr>
            <a:xfrm>
              <a:off x="9392207" y="4360115"/>
              <a:ext cx="685614" cy="634363"/>
              <a:chOff x="5010297" y="2469349"/>
              <a:chExt cx="3371517" cy="3119489"/>
            </a:xfrm>
          </p:grpSpPr>
          <p:sp>
            <p:nvSpPr>
              <p:cNvPr id="178" name="Freeform: Shape 177">
                <a:extLst>
                  <a:ext uri="{FF2B5EF4-FFF2-40B4-BE49-F238E27FC236}">
                    <a16:creationId xmlns:a16="http://schemas.microsoft.com/office/drawing/2014/main" id="{26F4C2FF-9DD6-49B9-B250-E3134FB24B9E}"/>
                  </a:ext>
                </a:extLst>
              </p:cNvPr>
              <p:cNvSpPr/>
              <p:nvPr/>
            </p:nvSpPr>
            <p:spPr>
              <a:xfrm>
                <a:off x="5010297" y="2469349"/>
                <a:ext cx="3371517" cy="3119489"/>
              </a:xfrm>
              <a:custGeom>
                <a:avLst/>
                <a:gdLst>
                  <a:gd name="connsiteX0" fmla="*/ 245174 w 3371517"/>
                  <a:gd name="connsiteY0" fmla="*/ 0 h 3119489"/>
                  <a:gd name="connsiteX1" fmla="*/ 3126266 w 3371517"/>
                  <a:gd name="connsiteY1" fmla="*/ 0 h 3119489"/>
                  <a:gd name="connsiteX2" fmla="*/ 3371402 w 3371517"/>
                  <a:gd name="connsiteY2" fmla="*/ 245136 h 3119489"/>
                  <a:gd name="connsiteX3" fmla="*/ 3371402 w 3371517"/>
                  <a:gd name="connsiteY3" fmla="*/ 2010060 h 3119489"/>
                  <a:gd name="connsiteX4" fmla="*/ 3371517 w 3371517"/>
                  <a:gd name="connsiteY4" fmla="*/ 2009983 h 3119489"/>
                  <a:gd name="connsiteX5" fmla="*/ 3371517 w 3371517"/>
                  <a:gd name="connsiteY5" fmla="*/ 2414254 h 3119489"/>
                  <a:gd name="connsiteX6" fmla="*/ 3371211 w 3371517"/>
                  <a:gd name="connsiteY6" fmla="*/ 2414254 h 3119489"/>
                  <a:gd name="connsiteX7" fmla="*/ 3155482 w 3371517"/>
                  <a:gd name="connsiteY7" fmla="*/ 2621751 h 3119489"/>
                  <a:gd name="connsiteX8" fmla="*/ 2061676 w 3371517"/>
                  <a:gd name="connsiteY8" fmla="*/ 2621751 h 3119489"/>
                  <a:gd name="connsiteX9" fmla="*/ 2419232 w 3371517"/>
                  <a:gd name="connsiteY9" fmla="*/ 2931559 h 3119489"/>
                  <a:gd name="connsiteX10" fmla="*/ 2403495 w 3371517"/>
                  <a:gd name="connsiteY10" fmla="*/ 2931559 h 3119489"/>
                  <a:gd name="connsiteX11" fmla="*/ 2497460 w 3371517"/>
                  <a:gd name="connsiteY11" fmla="*/ 3025524 h 3119489"/>
                  <a:gd name="connsiteX12" fmla="*/ 2403495 w 3371517"/>
                  <a:gd name="connsiteY12" fmla="*/ 3119489 h 3119489"/>
                  <a:gd name="connsiteX13" fmla="*/ 962738 w 3371517"/>
                  <a:gd name="connsiteY13" fmla="*/ 3119489 h 3119489"/>
                  <a:gd name="connsiteX14" fmla="*/ 868773 w 3371517"/>
                  <a:gd name="connsiteY14" fmla="*/ 3025524 h 3119489"/>
                  <a:gd name="connsiteX15" fmla="*/ 962738 w 3371517"/>
                  <a:gd name="connsiteY15" fmla="*/ 2931559 h 3119489"/>
                  <a:gd name="connsiteX16" fmla="*/ 952208 w 3371517"/>
                  <a:gd name="connsiteY16" fmla="*/ 2931559 h 3119489"/>
                  <a:gd name="connsiteX17" fmla="*/ 1309765 w 3371517"/>
                  <a:gd name="connsiteY17" fmla="*/ 2621751 h 3119489"/>
                  <a:gd name="connsiteX18" fmla="*/ 215997 w 3371517"/>
                  <a:gd name="connsiteY18" fmla="*/ 2621751 h 3119489"/>
                  <a:gd name="connsiteX19" fmla="*/ 268 w 3371517"/>
                  <a:gd name="connsiteY19" fmla="*/ 2414254 h 3119489"/>
                  <a:gd name="connsiteX20" fmla="*/ 115 w 3371517"/>
                  <a:gd name="connsiteY20" fmla="*/ 2414254 h 3119489"/>
                  <a:gd name="connsiteX21" fmla="*/ 115 w 3371517"/>
                  <a:gd name="connsiteY21" fmla="*/ 2409660 h 3119489"/>
                  <a:gd name="connsiteX22" fmla="*/ 0 w 3371517"/>
                  <a:gd name="connsiteY22" fmla="*/ 2405792 h 3119489"/>
                  <a:gd name="connsiteX23" fmla="*/ 0 w 3371517"/>
                  <a:gd name="connsiteY23" fmla="*/ 2387796 h 3119489"/>
                  <a:gd name="connsiteX24" fmla="*/ 115 w 3371517"/>
                  <a:gd name="connsiteY24" fmla="*/ 2383928 h 3119489"/>
                  <a:gd name="connsiteX25" fmla="*/ 115 w 3371517"/>
                  <a:gd name="connsiteY25" fmla="*/ 2056008 h 3119489"/>
                  <a:gd name="connsiteX26" fmla="*/ 38 w 3371517"/>
                  <a:gd name="connsiteY26" fmla="*/ 2052984 h 3119489"/>
                  <a:gd name="connsiteX27" fmla="*/ 38 w 3371517"/>
                  <a:gd name="connsiteY27" fmla="*/ 245136 h 3119489"/>
                  <a:gd name="connsiteX28" fmla="*/ 245174 w 3371517"/>
                  <a:gd name="connsiteY28" fmla="*/ 0 h 3119489"/>
                  <a:gd name="connsiteX29" fmla="*/ 245212 w 3371517"/>
                  <a:gd name="connsiteY29" fmla="*/ 202174 h 3119489"/>
                  <a:gd name="connsiteX30" fmla="*/ 202250 w 3371517"/>
                  <a:gd name="connsiteY30" fmla="*/ 245136 h 3119489"/>
                  <a:gd name="connsiteX31" fmla="*/ 202250 w 3371517"/>
                  <a:gd name="connsiteY31" fmla="*/ 2053022 h 3119489"/>
                  <a:gd name="connsiteX32" fmla="*/ 245212 w 3371517"/>
                  <a:gd name="connsiteY32" fmla="*/ 2095984 h 3119489"/>
                  <a:gd name="connsiteX33" fmla="*/ 3126266 w 3371517"/>
                  <a:gd name="connsiteY33" fmla="*/ 2095984 h 3119489"/>
                  <a:gd name="connsiteX34" fmla="*/ 3169228 w 3371517"/>
                  <a:gd name="connsiteY34" fmla="*/ 2052984 h 3119489"/>
                  <a:gd name="connsiteX35" fmla="*/ 3169228 w 3371517"/>
                  <a:gd name="connsiteY35" fmla="*/ 245136 h 3119489"/>
                  <a:gd name="connsiteX36" fmla="*/ 3126266 w 3371517"/>
                  <a:gd name="connsiteY36" fmla="*/ 202174 h 3119489"/>
                  <a:gd name="connsiteX37" fmla="*/ 245212 w 3371517"/>
                  <a:gd name="connsiteY37" fmla="*/ 202174 h 3119489"/>
                  <a:gd name="connsiteX38" fmla="*/ 1685778 w 3371517"/>
                  <a:gd name="connsiteY38" fmla="*/ 2260059 h 3119489"/>
                  <a:gd name="connsiteX39" fmla="*/ 1565890 w 3371517"/>
                  <a:gd name="connsiteY39" fmla="*/ 2379946 h 3119489"/>
                  <a:gd name="connsiteX40" fmla="*/ 1685778 w 3371517"/>
                  <a:gd name="connsiteY40" fmla="*/ 2499834 h 3119489"/>
                  <a:gd name="connsiteX41" fmla="*/ 1805665 w 3371517"/>
                  <a:gd name="connsiteY41" fmla="*/ 2379946 h 3119489"/>
                  <a:gd name="connsiteX42" fmla="*/ 1685778 w 3371517"/>
                  <a:gd name="connsiteY42" fmla="*/ 2260059 h 311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371517" h="3119489">
                    <a:moveTo>
                      <a:pt x="245174" y="0"/>
                    </a:moveTo>
                    <a:lnTo>
                      <a:pt x="3126266" y="0"/>
                    </a:lnTo>
                    <a:cubicBezTo>
                      <a:pt x="3261432" y="0"/>
                      <a:pt x="3371402" y="109970"/>
                      <a:pt x="3371402" y="245136"/>
                    </a:cubicBezTo>
                    <a:lnTo>
                      <a:pt x="3371402" y="2010060"/>
                    </a:lnTo>
                    <a:lnTo>
                      <a:pt x="3371517" y="2009983"/>
                    </a:lnTo>
                    <a:lnTo>
                      <a:pt x="3371517" y="2414254"/>
                    </a:lnTo>
                    <a:lnTo>
                      <a:pt x="3371211" y="2414254"/>
                    </a:lnTo>
                    <a:cubicBezTo>
                      <a:pt x="3366769" y="2529586"/>
                      <a:pt x="3271885" y="2621751"/>
                      <a:pt x="3155482" y="2621751"/>
                    </a:cubicBezTo>
                    <a:lnTo>
                      <a:pt x="2061676" y="2621751"/>
                    </a:lnTo>
                    <a:cubicBezTo>
                      <a:pt x="2063628" y="2670226"/>
                      <a:pt x="2090623" y="2890244"/>
                      <a:pt x="2419232" y="2931559"/>
                    </a:cubicBezTo>
                    <a:lnTo>
                      <a:pt x="2403495" y="2931559"/>
                    </a:lnTo>
                    <a:cubicBezTo>
                      <a:pt x="2455378" y="2931559"/>
                      <a:pt x="2497460" y="2973640"/>
                      <a:pt x="2497460" y="3025524"/>
                    </a:cubicBezTo>
                    <a:cubicBezTo>
                      <a:pt x="2497460" y="3077408"/>
                      <a:pt x="2455378" y="3119489"/>
                      <a:pt x="2403495" y="3119489"/>
                    </a:cubicBezTo>
                    <a:lnTo>
                      <a:pt x="962738" y="3119489"/>
                    </a:lnTo>
                    <a:cubicBezTo>
                      <a:pt x="910854" y="3119489"/>
                      <a:pt x="868773" y="3077408"/>
                      <a:pt x="868773" y="3025524"/>
                    </a:cubicBezTo>
                    <a:cubicBezTo>
                      <a:pt x="868773" y="2973640"/>
                      <a:pt x="910854" y="2931559"/>
                      <a:pt x="962738" y="2931559"/>
                    </a:cubicBezTo>
                    <a:lnTo>
                      <a:pt x="952208" y="2931559"/>
                    </a:lnTo>
                    <a:cubicBezTo>
                      <a:pt x="1280817" y="2890244"/>
                      <a:pt x="1307850" y="2670226"/>
                      <a:pt x="1309765" y="2621751"/>
                    </a:cubicBezTo>
                    <a:lnTo>
                      <a:pt x="215997" y="2621751"/>
                    </a:lnTo>
                    <a:cubicBezTo>
                      <a:pt x="99555" y="2621751"/>
                      <a:pt x="4710" y="2529586"/>
                      <a:pt x="268" y="2414254"/>
                    </a:cubicBezTo>
                    <a:lnTo>
                      <a:pt x="115" y="2414254"/>
                    </a:lnTo>
                    <a:lnTo>
                      <a:pt x="115" y="2409660"/>
                    </a:lnTo>
                    <a:cubicBezTo>
                      <a:pt x="77" y="2408358"/>
                      <a:pt x="0" y="2407094"/>
                      <a:pt x="0" y="2405792"/>
                    </a:cubicBezTo>
                    <a:lnTo>
                      <a:pt x="0" y="2387796"/>
                    </a:lnTo>
                    <a:cubicBezTo>
                      <a:pt x="0" y="2386494"/>
                      <a:pt x="77" y="2385230"/>
                      <a:pt x="115" y="2383928"/>
                    </a:cubicBezTo>
                    <a:lnTo>
                      <a:pt x="115" y="2056008"/>
                    </a:lnTo>
                    <a:cubicBezTo>
                      <a:pt x="115" y="2055013"/>
                      <a:pt x="38" y="2054017"/>
                      <a:pt x="38" y="2052984"/>
                    </a:cubicBezTo>
                    <a:lnTo>
                      <a:pt x="38" y="245136"/>
                    </a:lnTo>
                    <a:cubicBezTo>
                      <a:pt x="38" y="109970"/>
                      <a:pt x="110009" y="0"/>
                      <a:pt x="245174" y="0"/>
                    </a:cubicBezTo>
                    <a:close/>
                    <a:moveTo>
                      <a:pt x="245212" y="202174"/>
                    </a:moveTo>
                    <a:cubicBezTo>
                      <a:pt x="221511" y="202174"/>
                      <a:pt x="202250" y="221434"/>
                      <a:pt x="202250" y="245136"/>
                    </a:cubicBezTo>
                    <a:lnTo>
                      <a:pt x="202250" y="2053022"/>
                    </a:lnTo>
                    <a:cubicBezTo>
                      <a:pt x="202250" y="2076724"/>
                      <a:pt x="221511" y="2095984"/>
                      <a:pt x="245212" y="2095984"/>
                    </a:cubicBezTo>
                    <a:lnTo>
                      <a:pt x="3126266" y="2095984"/>
                    </a:lnTo>
                    <a:cubicBezTo>
                      <a:pt x="3149968" y="2095984"/>
                      <a:pt x="3169228" y="2076685"/>
                      <a:pt x="3169228" y="2052984"/>
                    </a:cubicBezTo>
                    <a:lnTo>
                      <a:pt x="3169228" y="245136"/>
                    </a:lnTo>
                    <a:cubicBezTo>
                      <a:pt x="3169228" y="221434"/>
                      <a:pt x="3149968" y="202174"/>
                      <a:pt x="3126266" y="202174"/>
                    </a:cubicBezTo>
                    <a:lnTo>
                      <a:pt x="245212" y="202174"/>
                    </a:lnTo>
                    <a:close/>
                    <a:moveTo>
                      <a:pt x="1685778" y="2260059"/>
                    </a:moveTo>
                    <a:cubicBezTo>
                      <a:pt x="1619573" y="2260059"/>
                      <a:pt x="1565890" y="2313742"/>
                      <a:pt x="1565890" y="2379946"/>
                    </a:cubicBezTo>
                    <a:cubicBezTo>
                      <a:pt x="1565890" y="2446150"/>
                      <a:pt x="1619573" y="2499834"/>
                      <a:pt x="1685778" y="2499834"/>
                    </a:cubicBezTo>
                    <a:cubicBezTo>
                      <a:pt x="1751982" y="2499872"/>
                      <a:pt x="1805665" y="2446189"/>
                      <a:pt x="1805665" y="2379946"/>
                    </a:cubicBezTo>
                    <a:cubicBezTo>
                      <a:pt x="1805665" y="2313742"/>
                      <a:pt x="1751982" y="2260059"/>
                      <a:pt x="1685778" y="2260059"/>
                    </a:cubicBezTo>
                    <a:close/>
                  </a:path>
                </a:pathLst>
              </a:custGeom>
              <a:solidFill>
                <a:schemeClr val="bg1"/>
              </a:solidFill>
              <a:ln w="38291" cap="flat">
                <a:noFill/>
                <a:prstDash val="solid"/>
                <a:miter/>
              </a:ln>
            </p:spPr>
            <p:txBody>
              <a:bodyPr rtlCol="0" anchor="ctr"/>
              <a:lstStyle/>
              <a:p>
                <a:endParaRPr lang="en-IN"/>
              </a:p>
            </p:txBody>
          </p:sp>
          <p:grpSp>
            <p:nvGrpSpPr>
              <p:cNvPr id="179" name="Group 178">
                <a:extLst>
                  <a:ext uri="{FF2B5EF4-FFF2-40B4-BE49-F238E27FC236}">
                    <a16:creationId xmlns:a16="http://schemas.microsoft.com/office/drawing/2014/main" id="{DC3FA899-2D6C-45AC-BFE6-101A411573A4}"/>
                  </a:ext>
                </a:extLst>
              </p:cNvPr>
              <p:cNvGrpSpPr/>
              <p:nvPr/>
            </p:nvGrpSpPr>
            <p:grpSpPr>
              <a:xfrm>
                <a:off x="6016252" y="2636632"/>
                <a:ext cx="1527548" cy="2103584"/>
                <a:chOff x="6175707" y="2803750"/>
                <a:chExt cx="1284838" cy="1769348"/>
              </a:xfrm>
              <a:solidFill>
                <a:schemeClr val="accent5"/>
              </a:solidFill>
            </p:grpSpPr>
            <p:sp>
              <p:nvSpPr>
                <p:cNvPr id="180" name="Freeform: Shape 179">
                  <a:extLst>
                    <a:ext uri="{FF2B5EF4-FFF2-40B4-BE49-F238E27FC236}">
                      <a16:creationId xmlns:a16="http://schemas.microsoft.com/office/drawing/2014/main" id="{341A6931-B92C-44C7-A5FC-A037F977DC23}"/>
                    </a:ext>
                  </a:extLst>
                </p:cNvPr>
                <p:cNvSpPr/>
                <p:nvPr/>
              </p:nvSpPr>
              <p:spPr>
                <a:xfrm>
                  <a:off x="6175707" y="3281155"/>
                  <a:ext cx="779349" cy="352572"/>
                </a:xfrm>
                <a:custGeom>
                  <a:avLst/>
                  <a:gdLst>
                    <a:gd name="connsiteX0" fmla="*/ 302482 w 779349"/>
                    <a:gd name="connsiteY0" fmla="*/ 53 h 352572"/>
                    <a:gd name="connsiteX1" fmla="*/ 323459 w 779349"/>
                    <a:gd name="connsiteY1" fmla="*/ 13929 h 352572"/>
                    <a:gd name="connsiteX2" fmla="*/ 457300 w 779349"/>
                    <a:gd name="connsiteY2" fmla="*/ 281686 h 352572"/>
                    <a:gd name="connsiteX3" fmla="*/ 558555 w 779349"/>
                    <a:gd name="connsiteY3" fmla="*/ 160184 h 352572"/>
                    <a:gd name="connsiteX4" fmla="*/ 577895 w 779349"/>
                    <a:gd name="connsiteY4" fmla="*/ 151119 h 352572"/>
                    <a:gd name="connsiteX5" fmla="*/ 754167 w 779349"/>
                    <a:gd name="connsiteY5" fmla="*/ 151119 h 352572"/>
                    <a:gd name="connsiteX6" fmla="*/ 779349 w 779349"/>
                    <a:gd name="connsiteY6" fmla="*/ 176300 h 352572"/>
                    <a:gd name="connsiteX7" fmla="*/ 754167 w 779349"/>
                    <a:gd name="connsiteY7" fmla="*/ 201482 h 352572"/>
                    <a:gd name="connsiteX8" fmla="*/ 589680 w 779349"/>
                    <a:gd name="connsiteY8" fmla="*/ 201482 h 352572"/>
                    <a:gd name="connsiteX9" fmla="*/ 471326 w 779349"/>
                    <a:gd name="connsiteY9" fmla="*/ 343507 h 352572"/>
                    <a:gd name="connsiteX10" fmla="*/ 451986 w 779349"/>
                    <a:gd name="connsiteY10" fmla="*/ 352572 h 352572"/>
                    <a:gd name="connsiteX11" fmla="*/ 449090 w 779349"/>
                    <a:gd name="connsiteY11" fmla="*/ 352396 h 352572"/>
                    <a:gd name="connsiteX12" fmla="*/ 429474 w 779349"/>
                    <a:gd name="connsiteY12" fmla="*/ 338647 h 352572"/>
                    <a:gd name="connsiteX13" fmla="*/ 297799 w 779349"/>
                    <a:gd name="connsiteY13" fmla="*/ 75271 h 352572"/>
                    <a:gd name="connsiteX14" fmla="*/ 221145 w 779349"/>
                    <a:gd name="connsiteY14" fmla="*/ 190276 h 352572"/>
                    <a:gd name="connsiteX15" fmla="*/ 200194 w 779349"/>
                    <a:gd name="connsiteY15" fmla="*/ 201482 h 352572"/>
                    <a:gd name="connsiteX16" fmla="*/ 2535 w 779349"/>
                    <a:gd name="connsiteY16" fmla="*/ 201482 h 352572"/>
                    <a:gd name="connsiteX17" fmla="*/ 0 w 779349"/>
                    <a:gd name="connsiteY17" fmla="*/ 176300 h 352572"/>
                    <a:gd name="connsiteX18" fmla="*/ 2535 w 779349"/>
                    <a:gd name="connsiteY18" fmla="*/ 151119 h 352572"/>
                    <a:gd name="connsiteX19" fmla="*/ 186722 w 779349"/>
                    <a:gd name="connsiteY19" fmla="*/ 151119 h 352572"/>
                    <a:gd name="connsiteX20" fmla="*/ 279970 w 779349"/>
                    <a:gd name="connsiteY20" fmla="*/ 11209 h 352572"/>
                    <a:gd name="connsiteX21" fmla="*/ 302482 w 779349"/>
                    <a:gd name="connsiteY21" fmla="*/ 53 h 352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9349" h="352572">
                      <a:moveTo>
                        <a:pt x="302482" y="53"/>
                      </a:moveTo>
                      <a:cubicBezTo>
                        <a:pt x="311447" y="607"/>
                        <a:pt x="319430" y="5896"/>
                        <a:pt x="323459" y="13929"/>
                      </a:cubicBezTo>
                      <a:lnTo>
                        <a:pt x="457300" y="281686"/>
                      </a:lnTo>
                      <a:lnTo>
                        <a:pt x="558555" y="160184"/>
                      </a:lnTo>
                      <a:cubicBezTo>
                        <a:pt x="563340" y="154443"/>
                        <a:pt x="570416" y="151119"/>
                        <a:pt x="577895" y="151119"/>
                      </a:cubicBezTo>
                      <a:lnTo>
                        <a:pt x="754167" y="151119"/>
                      </a:lnTo>
                      <a:cubicBezTo>
                        <a:pt x="768092" y="151119"/>
                        <a:pt x="779349" y="162400"/>
                        <a:pt x="779349" y="176300"/>
                      </a:cubicBezTo>
                      <a:cubicBezTo>
                        <a:pt x="779349" y="190201"/>
                        <a:pt x="768092" y="201482"/>
                        <a:pt x="754167" y="201482"/>
                      </a:cubicBezTo>
                      <a:lnTo>
                        <a:pt x="589680" y="201482"/>
                      </a:lnTo>
                      <a:lnTo>
                        <a:pt x="471326" y="343507"/>
                      </a:lnTo>
                      <a:cubicBezTo>
                        <a:pt x="466516" y="349299"/>
                        <a:pt x="459415" y="352572"/>
                        <a:pt x="451986" y="352572"/>
                      </a:cubicBezTo>
                      <a:cubicBezTo>
                        <a:pt x="451029" y="352572"/>
                        <a:pt x="450047" y="352522"/>
                        <a:pt x="449090" y="352396"/>
                      </a:cubicBezTo>
                      <a:cubicBezTo>
                        <a:pt x="440654" y="351414"/>
                        <a:pt x="433276" y="346252"/>
                        <a:pt x="429474" y="338647"/>
                      </a:cubicBezTo>
                      <a:lnTo>
                        <a:pt x="297799" y="75271"/>
                      </a:lnTo>
                      <a:lnTo>
                        <a:pt x="221145" y="190276"/>
                      </a:lnTo>
                      <a:cubicBezTo>
                        <a:pt x="216462" y="197277"/>
                        <a:pt x="208605" y="201482"/>
                        <a:pt x="200194" y="201482"/>
                      </a:cubicBezTo>
                      <a:lnTo>
                        <a:pt x="2535" y="201482"/>
                      </a:lnTo>
                      <a:lnTo>
                        <a:pt x="0" y="176300"/>
                      </a:lnTo>
                      <a:lnTo>
                        <a:pt x="2535" y="151119"/>
                      </a:lnTo>
                      <a:lnTo>
                        <a:pt x="186722" y="151119"/>
                      </a:lnTo>
                      <a:lnTo>
                        <a:pt x="279970" y="11209"/>
                      </a:lnTo>
                      <a:cubicBezTo>
                        <a:pt x="284931" y="3755"/>
                        <a:pt x="293593" y="-526"/>
                        <a:pt x="302482" y="53"/>
                      </a:cubicBezTo>
                      <a:close/>
                    </a:path>
                  </a:pathLst>
                </a:custGeom>
                <a:grpFill/>
                <a:ln w="25152" cap="flat">
                  <a:noFill/>
                  <a:prstDash val="solid"/>
                  <a:miter/>
                </a:ln>
              </p:spPr>
              <p:txBody>
                <a:bodyPr rtlCol="0" anchor="ctr"/>
                <a:lstStyle/>
                <a:p>
                  <a:endParaRPr lang="en-IN"/>
                </a:p>
              </p:txBody>
            </p:sp>
            <p:sp>
              <p:nvSpPr>
                <p:cNvPr id="181" name="Freeform: Shape 180">
                  <a:extLst>
                    <a:ext uri="{FF2B5EF4-FFF2-40B4-BE49-F238E27FC236}">
                      <a16:creationId xmlns:a16="http://schemas.microsoft.com/office/drawing/2014/main" id="{EC79B784-AEF1-442D-8238-2EF119EA5C66}"/>
                    </a:ext>
                  </a:extLst>
                </p:cNvPr>
                <p:cNvSpPr/>
                <p:nvPr/>
              </p:nvSpPr>
              <p:spPr bwMode="auto">
                <a:xfrm rot="2966231">
                  <a:off x="5973285" y="3085837"/>
                  <a:ext cx="1769348" cy="1205173"/>
                </a:xfrm>
                <a:custGeom>
                  <a:avLst/>
                  <a:gdLst>
                    <a:gd name="connsiteX0" fmla="*/ 265666 w 1769348"/>
                    <a:gd name="connsiteY0" fmla="*/ 314189 h 1205173"/>
                    <a:gd name="connsiteX1" fmla="*/ 314190 w 1769348"/>
                    <a:gd name="connsiteY1" fmla="*/ 939507 h 1205173"/>
                    <a:gd name="connsiteX2" fmla="*/ 939508 w 1769348"/>
                    <a:gd name="connsiteY2" fmla="*/ 890983 h 1205173"/>
                    <a:gd name="connsiteX3" fmla="*/ 890984 w 1769348"/>
                    <a:gd name="connsiteY3" fmla="*/ 265665 h 1205173"/>
                    <a:gd name="connsiteX4" fmla="*/ 265666 w 1769348"/>
                    <a:gd name="connsiteY4" fmla="*/ 314189 h 1205173"/>
                    <a:gd name="connsiteX5" fmla="*/ 144814 w 1769348"/>
                    <a:gd name="connsiteY5" fmla="*/ 210742 h 1205173"/>
                    <a:gd name="connsiteX6" fmla="*/ 994431 w 1769348"/>
                    <a:gd name="connsiteY6" fmla="*/ 144813 h 1205173"/>
                    <a:gd name="connsiteX7" fmla="*/ 1183456 w 1769348"/>
                    <a:gd name="connsiteY7" fmla="*/ 442078 h 1205173"/>
                    <a:gd name="connsiteX8" fmla="*/ 1192663 w 1769348"/>
                    <a:gd name="connsiteY8" fmla="*/ 494769 h 1205173"/>
                    <a:gd name="connsiteX9" fmla="*/ 1669335 w 1769348"/>
                    <a:gd name="connsiteY9" fmla="*/ 494769 h 1205173"/>
                    <a:gd name="connsiteX10" fmla="*/ 1769348 w 1769348"/>
                    <a:gd name="connsiteY10" fmla="*/ 594782 h 1205173"/>
                    <a:gd name="connsiteX11" fmla="*/ 1769347 w 1769348"/>
                    <a:gd name="connsiteY11" fmla="*/ 594782 h 1205173"/>
                    <a:gd name="connsiteX12" fmla="*/ 1669334 w 1769348"/>
                    <a:gd name="connsiteY12" fmla="*/ 694795 h 1205173"/>
                    <a:gd name="connsiteX13" fmla="*/ 1196296 w 1769348"/>
                    <a:gd name="connsiteY13" fmla="*/ 694794 h 1205173"/>
                    <a:gd name="connsiteX14" fmla="*/ 1176910 w 1769348"/>
                    <a:gd name="connsiteY14" fmla="*/ 785451 h 1205173"/>
                    <a:gd name="connsiteX15" fmla="*/ 1060360 w 1769348"/>
                    <a:gd name="connsiteY15" fmla="*/ 994430 h 1205173"/>
                    <a:gd name="connsiteX16" fmla="*/ 210743 w 1769348"/>
                    <a:gd name="connsiteY16" fmla="*/ 1060359 h 1205173"/>
                    <a:gd name="connsiteX17" fmla="*/ 144814 w 1769348"/>
                    <a:gd name="connsiteY17" fmla="*/ 210742 h 1205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69348" h="1205173">
                      <a:moveTo>
                        <a:pt x="265666" y="314189"/>
                      </a:moveTo>
                      <a:cubicBezTo>
                        <a:pt x="106389" y="500265"/>
                        <a:pt x="128114" y="780230"/>
                        <a:pt x="314190" y="939507"/>
                      </a:cubicBezTo>
                      <a:cubicBezTo>
                        <a:pt x="500266" y="1098785"/>
                        <a:pt x="780231" y="1077060"/>
                        <a:pt x="939508" y="890983"/>
                      </a:cubicBezTo>
                      <a:cubicBezTo>
                        <a:pt x="1098785" y="704907"/>
                        <a:pt x="1077060" y="424943"/>
                        <a:pt x="890984" y="265665"/>
                      </a:cubicBezTo>
                      <a:cubicBezTo>
                        <a:pt x="704908" y="106388"/>
                        <a:pt x="424943" y="128113"/>
                        <a:pt x="265666" y="314189"/>
                      </a:cubicBezTo>
                      <a:close/>
                      <a:moveTo>
                        <a:pt x="144814" y="210742"/>
                      </a:moveTo>
                      <a:cubicBezTo>
                        <a:pt x="361224" y="-42079"/>
                        <a:pt x="741610" y="-71596"/>
                        <a:pt x="994431" y="144813"/>
                      </a:cubicBezTo>
                      <a:cubicBezTo>
                        <a:pt x="1089239" y="225967"/>
                        <a:pt x="1152645" y="330180"/>
                        <a:pt x="1183456" y="442078"/>
                      </a:cubicBezTo>
                      <a:lnTo>
                        <a:pt x="1192663" y="494769"/>
                      </a:lnTo>
                      <a:lnTo>
                        <a:pt x="1669335" y="494769"/>
                      </a:lnTo>
                      <a:cubicBezTo>
                        <a:pt x="1724571" y="494769"/>
                        <a:pt x="1769348" y="539546"/>
                        <a:pt x="1769348" y="594782"/>
                      </a:cubicBezTo>
                      <a:lnTo>
                        <a:pt x="1769347" y="594782"/>
                      </a:lnTo>
                      <a:cubicBezTo>
                        <a:pt x="1769347" y="650018"/>
                        <a:pt x="1724570" y="694795"/>
                        <a:pt x="1669334" y="694795"/>
                      </a:cubicBezTo>
                      <a:lnTo>
                        <a:pt x="1196296" y="694794"/>
                      </a:lnTo>
                      <a:lnTo>
                        <a:pt x="1176910" y="785451"/>
                      </a:lnTo>
                      <a:cubicBezTo>
                        <a:pt x="1153195" y="860047"/>
                        <a:pt x="1114463" y="931225"/>
                        <a:pt x="1060360" y="994430"/>
                      </a:cubicBezTo>
                      <a:cubicBezTo>
                        <a:pt x="843950" y="1247252"/>
                        <a:pt x="463565" y="1276769"/>
                        <a:pt x="210743" y="1060359"/>
                      </a:cubicBezTo>
                      <a:cubicBezTo>
                        <a:pt x="-42078" y="843950"/>
                        <a:pt x="-71596" y="463564"/>
                        <a:pt x="144814" y="21074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grpSp>
    </p:spTree>
    <p:extLst>
      <p:ext uri="{BB962C8B-B14F-4D97-AF65-F5344CB8AC3E}">
        <p14:creationId xmlns:p14="http://schemas.microsoft.com/office/powerpoint/2010/main" val="1452253186"/>
      </p:ext>
    </p:extLst>
  </p:cSld>
  <p:clrMapOvr>
    <a:masterClrMapping/>
  </p:clrMapOvr>
  <p:transition spd="slow">
    <p:push/>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218FF-F4A8-4997-A5D4-FF6DEFB92B5D}"/>
              </a:ext>
            </a:extLst>
          </p:cNvPr>
          <p:cNvSpPr>
            <a:spLocks noGrp="1"/>
          </p:cNvSpPr>
          <p:nvPr>
            <p:ph type="title"/>
          </p:nvPr>
        </p:nvSpPr>
        <p:spPr/>
        <p:txBody>
          <a:bodyPr/>
          <a:lstStyle/>
          <a:p>
            <a:r>
              <a:rPr lang="en-US" sz="2800" dirty="0"/>
              <a:t>Microsoft is taking a focused approach to modernize finance and supply chain</a:t>
            </a:r>
          </a:p>
        </p:txBody>
      </p:sp>
      <p:sp>
        <p:nvSpPr>
          <p:cNvPr id="4" name="Rectangle 3" hidden="1">
            <a:extLst>
              <a:ext uri="{FF2B5EF4-FFF2-40B4-BE49-F238E27FC236}">
                <a16:creationId xmlns:a16="http://schemas.microsoft.com/office/drawing/2014/main" id="{ADFA2FF2-C6CD-4A39-AC0E-DE3497A3963B}"/>
              </a:ext>
            </a:extLst>
          </p:cNvPr>
          <p:cNvSpPr/>
          <p:nvPr/>
        </p:nvSpPr>
        <p:spPr bwMode="auto">
          <a:xfrm>
            <a:off x="590399" y="1842601"/>
            <a:ext cx="3148224"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C8C19567-CD14-4D97-B98E-F1368F592F9B}"/>
              </a:ext>
            </a:extLst>
          </p:cNvPr>
          <p:cNvGrpSpPr/>
          <p:nvPr/>
        </p:nvGrpSpPr>
        <p:grpSpPr>
          <a:xfrm>
            <a:off x="0" y="1443550"/>
            <a:ext cx="4059936" cy="5413775"/>
            <a:chOff x="4067128" y="1443550"/>
            <a:chExt cx="4059936" cy="5413775"/>
          </a:xfrm>
        </p:grpSpPr>
        <p:sp>
          <p:nvSpPr>
            <p:cNvPr id="78" name="Rectangle 77">
              <a:extLst>
                <a:ext uri="{FF2B5EF4-FFF2-40B4-BE49-F238E27FC236}">
                  <a16:creationId xmlns:a16="http://schemas.microsoft.com/office/drawing/2014/main" id="{DEAAB7FB-D4B2-394C-BE75-C79B9137C726}"/>
                </a:ext>
              </a:extLst>
            </p:cNvPr>
            <p:cNvSpPr/>
            <p:nvPr/>
          </p:nvSpPr>
          <p:spPr bwMode="auto">
            <a:xfrm>
              <a:off x="4067128" y="2258052"/>
              <a:ext cx="4059936" cy="4599273"/>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36" name="Rectangle 35">
              <a:extLst>
                <a:ext uri="{FF2B5EF4-FFF2-40B4-BE49-F238E27FC236}">
                  <a16:creationId xmlns:a16="http://schemas.microsoft.com/office/drawing/2014/main" id="{5BEC7FC5-2E38-4461-A5C5-F7D7CE3AD5A6}"/>
                </a:ext>
              </a:extLst>
            </p:cNvPr>
            <p:cNvSpPr/>
            <p:nvPr/>
          </p:nvSpPr>
          <p:spPr bwMode="auto">
            <a:xfrm>
              <a:off x="4699436" y="3293417"/>
              <a:ext cx="2795321" cy="8522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Technology Modernization</a:t>
              </a:r>
            </a:p>
          </p:txBody>
        </p:sp>
        <p:sp>
          <p:nvSpPr>
            <p:cNvPr id="59" name="Rectangle 58">
              <a:extLst>
                <a:ext uri="{FF2B5EF4-FFF2-40B4-BE49-F238E27FC236}">
                  <a16:creationId xmlns:a16="http://schemas.microsoft.com/office/drawing/2014/main" id="{1EF26493-76F6-4E6B-A1A6-0A8499F695A8}"/>
                </a:ext>
              </a:extLst>
            </p:cNvPr>
            <p:cNvSpPr/>
            <p:nvPr/>
          </p:nvSpPr>
          <p:spPr bwMode="auto">
            <a:xfrm>
              <a:off x="4699437" y="4352812"/>
              <a:ext cx="2795320" cy="14995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rPr>
                <a:t>Stay ahead</a:t>
              </a:r>
              <a:r>
                <a:rPr kumimoji="0" lang="en-US" sz="1600" b="0" i="0" u="none" strike="noStrike" kern="1200" cap="none" spc="0" normalizeH="0" noProof="0">
                  <a:ln>
                    <a:noFill/>
                  </a:ln>
                  <a:solidFill>
                    <a:srgbClr val="FFFFFF"/>
                  </a:solidFill>
                  <a:effectLst/>
                  <a:uLnTx/>
                  <a:uFillTx/>
                  <a:latin typeface="Segoe UI"/>
                  <a:ea typeface="Segoe UI" pitchFamily="34" charset="0"/>
                  <a:cs typeface="Segoe UI"/>
                </a:rPr>
                <a:t> of the competition with modern, unified, intelligent, and adaptable tools and technologies that match your business’ needs.</a:t>
              </a:r>
              <a:endPar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endParaRPr>
            </a:p>
            <a:p>
              <a:pPr marL="0" marR="0" lvl="0" indent="0" algn="ctr"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endParaRPr>
            </a:p>
          </p:txBody>
        </p:sp>
        <p:sp>
          <p:nvSpPr>
            <p:cNvPr id="37" name="Oval 36">
              <a:extLst>
                <a:ext uri="{FF2B5EF4-FFF2-40B4-BE49-F238E27FC236}">
                  <a16:creationId xmlns:a16="http://schemas.microsoft.com/office/drawing/2014/main" id="{9CABC73B-E06E-4845-8DBA-EE5352791A5D}"/>
                </a:ext>
              </a:extLst>
            </p:cNvPr>
            <p:cNvSpPr/>
            <p:nvPr/>
          </p:nvSpPr>
          <p:spPr bwMode="auto">
            <a:xfrm>
              <a:off x="5274136" y="1443550"/>
              <a:ext cx="1645920" cy="164592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DAD6E0AE-BDF9-4A2B-9833-47655CFED3DD}"/>
                </a:ext>
              </a:extLst>
            </p:cNvPr>
            <p:cNvGrpSpPr/>
            <p:nvPr/>
          </p:nvGrpSpPr>
          <p:grpSpPr>
            <a:xfrm>
              <a:off x="5703698" y="1747782"/>
              <a:ext cx="786796" cy="1037467"/>
              <a:chOff x="5892165" y="3158490"/>
              <a:chExt cx="409575" cy="540066"/>
            </a:xfrm>
          </p:grpSpPr>
          <p:sp>
            <p:nvSpPr>
              <p:cNvPr id="10" name="Freeform: Shape 9">
                <a:extLst>
                  <a:ext uri="{FF2B5EF4-FFF2-40B4-BE49-F238E27FC236}">
                    <a16:creationId xmlns:a16="http://schemas.microsoft.com/office/drawing/2014/main" id="{E5326480-EFA6-4A68-B646-A759F46D382C}"/>
                  </a:ext>
                </a:extLst>
              </p:cNvPr>
              <p:cNvSpPr/>
              <p:nvPr/>
            </p:nvSpPr>
            <p:spPr>
              <a:xfrm>
                <a:off x="5991225" y="3205163"/>
                <a:ext cx="219075" cy="219075"/>
              </a:xfrm>
              <a:custGeom>
                <a:avLst/>
                <a:gdLst>
                  <a:gd name="connsiteX0" fmla="*/ 220980 w 219075"/>
                  <a:gd name="connsiteY0" fmla="*/ 110490 h 219075"/>
                  <a:gd name="connsiteX1" fmla="*/ 110490 w 219075"/>
                  <a:gd name="connsiteY1" fmla="*/ 220980 h 219075"/>
                  <a:gd name="connsiteX2" fmla="*/ 0 w 219075"/>
                  <a:gd name="connsiteY2" fmla="*/ 110490 h 219075"/>
                  <a:gd name="connsiteX3" fmla="*/ 110490 w 219075"/>
                  <a:gd name="connsiteY3" fmla="*/ 0 h 219075"/>
                  <a:gd name="connsiteX4" fmla="*/ 220980 w 219075"/>
                  <a:gd name="connsiteY4" fmla="*/ 11049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9075">
                    <a:moveTo>
                      <a:pt x="220980" y="110490"/>
                    </a:moveTo>
                    <a:cubicBezTo>
                      <a:pt x="220980" y="171512"/>
                      <a:pt x="171512" y="220980"/>
                      <a:pt x="110490" y="220980"/>
                    </a:cubicBezTo>
                    <a:cubicBezTo>
                      <a:pt x="49468" y="220980"/>
                      <a:pt x="0" y="171512"/>
                      <a:pt x="0" y="110490"/>
                    </a:cubicBezTo>
                    <a:cubicBezTo>
                      <a:pt x="0" y="49468"/>
                      <a:pt x="49468" y="0"/>
                      <a:pt x="110490" y="0"/>
                    </a:cubicBezTo>
                    <a:cubicBezTo>
                      <a:pt x="171512" y="0"/>
                      <a:pt x="220980" y="49468"/>
                      <a:pt x="220980" y="110490"/>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308201FB-BF0B-42E9-9DD8-6A8EB2549383}"/>
                  </a:ext>
                </a:extLst>
              </p:cNvPr>
              <p:cNvSpPr/>
              <p:nvPr/>
            </p:nvSpPr>
            <p:spPr>
              <a:xfrm>
                <a:off x="5892165" y="3450907"/>
                <a:ext cx="409575" cy="247650"/>
              </a:xfrm>
              <a:custGeom>
                <a:avLst/>
                <a:gdLst>
                  <a:gd name="connsiteX0" fmla="*/ 341948 w 409575"/>
                  <a:gd name="connsiteY0" fmla="*/ 0 h 247650"/>
                  <a:gd name="connsiteX1" fmla="*/ 209550 w 409575"/>
                  <a:gd name="connsiteY1" fmla="*/ 54293 h 247650"/>
                  <a:gd name="connsiteX2" fmla="*/ 77153 w 409575"/>
                  <a:gd name="connsiteY2" fmla="*/ 0 h 247650"/>
                  <a:gd name="connsiteX3" fmla="*/ 0 w 409575"/>
                  <a:gd name="connsiteY3" fmla="*/ 141922 h 247650"/>
                  <a:gd name="connsiteX4" fmla="*/ 0 w 409575"/>
                  <a:gd name="connsiteY4" fmla="*/ 249555 h 247650"/>
                  <a:gd name="connsiteX5" fmla="*/ 419100 w 409575"/>
                  <a:gd name="connsiteY5" fmla="*/ 249555 h 247650"/>
                  <a:gd name="connsiteX6" fmla="*/ 419100 w 409575"/>
                  <a:gd name="connsiteY6" fmla="*/ 141922 h 247650"/>
                  <a:gd name="connsiteX7" fmla="*/ 341948 w 409575"/>
                  <a:gd name="connsiteY7" fmla="*/ 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75" h="247650">
                    <a:moveTo>
                      <a:pt x="341948" y="0"/>
                    </a:moveTo>
                    <a:cubicBezTo>
                      <a:pt x="307658" y="33338"/>
                      <a:pt x="260985" y="54293"/>
                      <a:pt x="209550" y="54293"/>
                    </a:cubicBezTo>
                    <a:cubicBezTo>
                      <a:pt x="158115" y="54293"/>
                      <a:pt x="111442" y="33338"/>
                      <a:pt x="77153" y="0"/>
                    </a:cubicBezTo>
                    <a:cubicBezTo>
                      <a:pt x="30480" y="30480"/>
                      <a:pt x="0" y="82868"/>
                      <a:pt x="0" y="141922"/>
                    </a:cubicBezTo>
                    <a:lnTo>
                      <a:pt x="0" y="249555"/>
                    </a:lnTo>
                    <a:lnTo>
                      <a:pt x="419100" y="249555"/>
                    </a:lnTo>
                    <a:lnTo>
                      <a:pt x="419100" y="141922"/>
                    </a:lnTo>
                    <a:cubicBezTo>
                      <a:pt x="419100" y="81915"/>
                      <a:pt x="388620" y="30480"/>
                      <a:pt x="341948" y="0"/>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F68D995A-C432-43E0-AA29-429DC90FAC06}"/>
                  </a:ext>
                </a:extLst>
              </p:cNvPr>
              <p:cNvSpPr/>
              <p:nvPr/>
            </p:nvSpPr>
            <p:spPr>
              <a:xfrm>
                <a:off x="5935942" y="3158490"/>
                <a:ext cx="323850" cy="323850"/>
              </a:xfrm>
              <a:custGeom>
                <a:avLst/>
                <a:gdLst>
                  <a:gd name="connsiteX0" fmla="*/ 36233 w 323850"/>
                  <a:gd name="connsiteY0" fmla="*/ 224790 h 323850"/>
                  <a:gd name="connsiteX1" fmla="*/ 36233 w 323850"/>
                  <a:gd name="connsiteY1" fmla="*/ 110490 h 323850"/>
                  <a:gd name="connsiteX2" fmla="*/ 165773 w 323850"/>
                  <a:gd name="connsiteY2" fmla="*/ 18097 h 323850"/>
                  <a:gd name="connsiteX3" fmla="*/ 293408 w 323850"/>
                  <a:gd name="connsiteY3" fmla="*/ 104775 h 323850"/>
                  <a:gd name="connsiteX4" fmla="*/ 293408 w 323850"/>
                  <a:gd name="connsiteY4" fmla="*/ 208598 h 323850"/>
                  <a:gd name="connsiteX5" fmla="*/ 182918 w 323850"/>
                  <a:gd name="connsiteY5" fmla="*/ 294323 h 323850"/>
                  <a:gd name="connsiteX6" fmla="*/ 165773 w 323850"/>
                  <a:gd name="connsiteY6" fmla="*/ 284798 h 323850"/>
                  <a:gd name="connsiteX7" fmla="*/ 144818 w 323850"/>
                  <a:gd name="connsiteY7" fmla="*/ 305753 h 323850"/>
                  <a:gd name="connsiteX8" fmla="*/ 165773 w 323850"/>
                  <a:gd name="connsiteY8" fmla="*/ 326708 h 323850"/>
                  <a:gd name="connsiteX9" fmla="*/ 184823 w 323850"/>
                  <a:gd name="connsiteY9" fmla="*/ 314325 h 323850"/>
                  <a:gd name="connsiteX10" fmla="*/ 309600 w 323850"/>
                  <a:gd name="connsiteY10" fmla="*/ 221933 h 323850"/>
                  <a:gd name="connsiteX11" fmla="*/ 330555 w 323850"/>
                  <a:gd name="connsiteY11" fmla="*/ 188595 h 323850"/>
                  <a:gd name="connsiteX12" fmla="*/ 330555 w 323850"/>
                  <a:gd name="connsiteY12" fmla="*/ 126683 h 323850"/>
                  <a:gd name="connsiteX13" fmla="*/ 309600 w 323850"/>
                  <a:gd name="connsiteY13" fmla="*/ 93345 h 323850"/>
                  <a:gd name="connsiteX14" fmla="*/ 166725 w 323850"/>
                  <a:gd name="connsiteY14" fmla="*/ 0 h 323850"/>
                  <a:gd name="connsiteX15" fmla="*/ 23850 w 323850"/>
                  <a:gd name="connsiteY15" fmla="*/ 92392 h 323850"/>
                  <a:gd name="connsiteX16" fmla="*/ 38 w 323850"/>
                  <a:gd name="connsiteY16" fmla="*/ 126683 h 323850"/>
                  <a:gd name="connsiteX17" fmla="*/ 38 w 323850"/>
                  <a:gd name="connsiteY17" fmla="*/ 188595 h 323850"/>
                  <a:gd name="connsiteX18" fmla="*/ 36233 w 323850"/>
                  <a:gd name="connsiteY18" fmla="*/ 22479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3850" h="323850">
                    <a:moveTo>
                      <a:pt x="36233" y="224790"/>
                    </a:moveTo>
                    <a:lnTo>
                      <a:pt x="36233" y="110490"/>
                    </a:lnTo>
                    <a:cubicBezTo>
                      <a:pt x="55283" y="57150"/>
                      <a:pt x="105765" y="18097"/>
                      <a:pt x="165773" y="18097"/>
                    </a:cubicBezTo>
                    <a:cubicBezTo>
                      <a:pt x="223875" y="18097"/>
                      <a:pt x="273405" y="54292"/>
                      <a:pt x="293408" y="104775"/>
                    </a:cubicBezTo>
                    <a:lnTo>
                      <a:pt x="293408" y="208598"/>
                    </a:lnTo>
                    <a:cubicBezTo>
                      <a:pt x="275310" y="254317"/>
                      <a:pt x="233400" y="287655"/>
                      <a:pt x="182918" y="294323"/>
                    </a:cubicBezTo>
                    <a:cubicBezTo>
                      <a:pt x="179108" y="288608"/>
                      <a:pt x="172440" y="284798"/>
                      <a:pt x="165773" y="284798"/>
                    </a:cubicBezTo>
                    <a:cubicBezTo>
                      <a:pt x="154343" y="284798"/>
                      <a:pt x="144818" y="294323"/>
                      <a:pt x="144818" y="305753"/>
                    </a:cubicBezTo>
                    <a:cubicBezTo>
                      <a:pt x="144818" y="317183"/>
                      <a:pt x="154343" y="326708"/>
                      <a:pt x="165773" y="326708"/>
                    </a:cubicBezTo>
                    <a:cubicBezTo>
                      <a:pt x="174345" y="326708"/>
                      <a:pt x="181013" y="321945"/>
                      <a:pt x="184823" y="314325"/>
                    </a:cubicBezTo>
                    <a:cubicBezTo>
                      <a:pt x="240068" y="307658"/>
                      <a:pt x="286740" y="271462"/>
                      <a:pt x="309600" y="221933"/>
                    </a:cubicBezTo>
                    <a:cubicBezTo>
                      <a:pt x="321983" y="216217"/>
                      <a:pt x="330555" y="202883"/>
                      <a:pt x="330555" y="188595"/>
                    </a:cubicBezTo>
                    <a:lnTo>
                      <a:pt x="330555" y="126683"/>
                    </a:lnTo>
                    <a:cubicBezTo>
                      <a:pt x="330555" y="111442"/>
                      <a:pt x="321983" y="99060"/>
                      <a:pt x="309600" y="93345"/>
                    </a:cubicBezTo>
                    <a:cubicBezTo>
                      <a:pt x="284835" y="38100"/>
                      <a:pt x="230543" y="0"/>
                      <a:pt x="166725" y="0"/>
                    </a:cubicBezTo>
                    <a:cubicBezTo>
                      <a:pt x="102908" y="0"/>
                      <a:pt x="48615" y="38100"/>
                      <a:pt x="23850" y="92392"/>
                    </a:cubicBezTo>
                    <a:cubicBezTo>
                      <a:pt x="9563" y="98107"/>
                      <a:pt x="38" y="111442"/>
                      <a:pt x="38" y="126683"/>
                    </a:cubicBezTo>
                    <a:lnTo>
                      <a:pt x="38" y="188595"/>
                    </a:lnTo>
                    <a:cubicBezTo>
                      <a:pt x="-915" y="207645"/>
                      <a:pt x="16230" y="224790"/>
                      <a:pt x="36233" y="22479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8033424A-1160-41B4-A0D1-2DFE9576103B}"/>
              </a:ext>
            </a:extLst>
          </p:cNvPr>
          <p:cNvGrpSpPr/>
          <p:nvPr/>
        </p:nvGrpSpPr>
        <p:grpSpPr>
          <a:xfrm>
            <a:off x="8153880" y="1443543"/>
            <a:ext cx="4059936" cy="5413782"/>
            <a:chOff x="8152187" y="1443543"/>
            <a:chExt cx="4059936" cy="5413782"/>
          </a:xfrm>
        </p:grpSpPr>
        <p:sp>
          <p:nvSpPr>
            <p:cNvPr id="76" name="Rectangle 75">
              <a:extLst>
                <a:ext uri="{FF2B5EF4-FFF2-40B4-BE49-F238E27FC236}">
                  <a16:creationId xmlns:a16="http://schemas.microsoft.com/office/drawing/2014/main" id="{842FE2CB-923F-E044-93D9-EA6DD7E3E873}"/>
                </a:ext>
              </a:extLst>
            </p:cNvPr>
            <p:cNvSpPr/>
            <p:nvPr/>
          </p:nvSpPr>
          <p:spPr bwMode="auto">
            <a:xfrm>
              <a:off x="8152187" y="2257424"/>
              <a:ext cx="4059936" cy="4599901"/>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8272"/>
                </a:solidFill>
                <a:effectLst/>
                <a:uLnTx/>
                <a:uFillTx/>
                <a:latin typeface="Segoe UI Semibold"/>
                <a:ea typeface="+mn-ea"/>
                <a:cs typeface="Segoe UI" pitchFamily="34" charset="0"/>
              </a:endParaRPr>
            </a:p>
          </p:txBody>
        </p:sp>
        <p:sp>
          <p:nvSpPr>
            <p:cNvPr id="53" name="Rectangle 52">
              <a:extLst>
                <a:ext uri="{FF2B5EF4-FFF2-40B4-BE49-F238E27FC236}">
                  <a16:creationId xmlns:a16="http://schemas.microsoft.com/office/drawing/2014/main" id="{AE486EA4-E034-441F-87A3-081008EE1593}"/>
                </a:ext>
              </a:extLst>
            </p:cNvPr>
            <p:cNvSpPr/>
            <p:nvPr/>
          </p:nvSpPr>
          <p:spPr bwMode="auto">
            <a:xfrm>
              <a:off x="8764372" y="3293417"/>
              <a:ext cx="2795321" cy="8522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Operational innovation</a:t>
              </a:r>
            </a:p>
          </p:txBody>
        </p:sp>
        <p:sp>
          <p:nvSpPr>
            <p:cNvPr id="58" name="Rectangle 57">
              <a:extLst>
                <a:ext uri="{FF2B5EF4-FFF2-40B4-BE49-F238E27FC236}">
                  <a16:creationId xmlns:a16="http://schemas.microsoft.com/office/drawing/2014/main" id="{3FA7F65F-6788-4D48-A83C-456C8C1BA456}"/>
                </a:ext>
              </a:extLst>
            </p:cNvPr>
            <p:cNvSpPr/>
            <p:nvPr/>
          </p:nvSpPr>
          <p:spPr bwMode="auto">
            <a:xfrm>
              <a:off x="8783123" y="4352812"/>
              <a:ext cx="2798064" cy="14995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rPr>
                <a:t>Automate and</a:t>
              </a:r>
              <a:r>
                <a:rPr kumimoji="0" lang="en-US" sz="1600" b="0" i="0" u="none" strike="noStrike" kern="1200" cap="none" spc="0" normalizeH="0" noProof="0">
                  <a:ln>
                    <a:noFill/>
                  </a:ln>
                  <a:solidFill>
                    <a:srgbClr val="FFFFFF"/>
                  </a:solidFill>
                  <a:effectLst/>
                  <a:uLnTx/>
                  <a:uFillTx/>
                  <a:latin typeface="Segoe UI"/>
                  <a:ea typeface="Segoe UI" pitchFamily="34" charset="0"/>
                  <a:cs typeface="Segoe UI"/>
                </a:rPr>
                <a:t> streamline supply chain management with predictive insights that proactively respond to your business demands.</a:t>
              </a:r>
              <a:endPar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endParaRPr>
            </a:p>
          </p:txBody>
        </p:sp>
        <p:sp>
          <p:nvSpPr>
            <p:cNvPr id="40" name="Oval 39">
              <a:extLst>
                <a:ext uri="{FF2B5EF4-FFF2-40B4-BE49-F238E27FC236}">
                  <a16:creationId xmlns:a16="http://schemas.microsoft.com/office/drawing/2014/main" id="{5714715A-B342-124A-98E8-3E6338619C89}"/>
                </a:ext>
              </a:extLst>
            </p:cNvPr>
            <p:cNvSpPr/>
            <p:nvPr/>
          </p:nvSpPr>
          <p:spPr bwMode="auto">
            <a:xfrm>
              <a:off x="9339072" y="1443543"/>
              <a:ext cx="1645920" cy="164592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5" name="Group 14">
              <a:extLst>
                <a:ext uri="{FF2B5EF4-FFF2-40B4-BE49-F238E27FC236}">
                  <a16:creationId xmlns:a16="http://schemas.microsoft.com/office/drawing/2014/main" id="{57A15A3B-FF1D-4063-B04B-BB393E71B5DC}"/>
                </a:ext>
              </a:extLst>
            </p:cNvPr>
            <p:cNvGrpSpPr/>
            <p:nvPr/>
          </p:nvGrpSpPr>
          <p:grpSpPr>
            <a:xfrm>
              <a:off x="9590539" y="1800403"/>
              <a:ext cx="1143001" cy="932200"/>
              <a:chOff x="7094720" y="1840170"/>
              <a:chExt cx="1045480" cy="852666"/>
            </a:xfrm>
          </p:grpSpPr>
          <p:sp>
            <p:nvSpPr>
              <p:cNvPr id="30" name="Freeform: Shape 29">
                <a:extLst>
                  <a:ext uri="{FF2B5EF4-FFF2-40B4-BE49-F238E27FC236}">
                    <a16:creationId xmlns:a16="http://schemas.microsoft.com/office/drawing/2014/main" id="{0CD9EF30-5707-4250-A1CB-B8E1B5B9209C}"/>
                  </a:ext>
                </a:extLst>
              </p:cNvPr>
              <p:cNvSpPr/>
              <p:nvPr/>
            </p:nvSpPr>
            <p:spPr>
              <a:xfrm>
                <a:off x="7553334" y="1964842"/>
                <a:ext cx="422993" cy="222628"/>
              </a:xfrm>
              <a:custGeom>
                <a:avLst/>
                <a:gdLst>
                  <a:gd name="connsiteX0" fmla="*/ 173831 w 180975"/>
                  <a:gd name="connsiteY0" fmla="*/ 83344 h 95250"/>
                  <a:gd name="connsiteX1" fmla="*/ 41434 w 180975"/>
                  <a:gd name="connsiteY1" fmla="*/ 21431 h 95250"/>
                  <a:gd name="connsiteX2" fmla="*/ 35719 w 180975"/>
                  <a:gd name="connsiteY2" fmla="*/ 7144 h 95250"/>
                  <a:gd name="connsiteX3" fmla="*/ 7144 w 180975"/>
                  <a:gd name="connsiteY3" fmla="*/ 41434 h 95250"/>
                  <a:gd name="connsiteX4" fmla="*/ 51911 w 180975"/>
                  <a:gd name="connsiteY4" fmla="*/ 49054 h 95250"/>
                  <a:gd name="connsiteX5" fmla="*/ 47149 w 180975"/>
                  <a:gd name="connsiteY5" fmla="*/ 35719 h 95250"/>
                  <a:gd name="connsiteX6" fmla="*/ 160496 w 180975"/>
                  <a:gd name="connsiteY6" fmla="*/ 90964 h 95250"/>
                  <a:gd name="connsiteX7" fmla="*/ 162401 w 180975"/>
                  <a:gd name="connsiteY7" fmla="*/ 93821 h 95250"/>
                  <a:gd name="connsiteX8" fmla="*/ 175736 w 180975"/>
                  <a:gd name="connsiteY8" fmla="*/ 87154 h 95250"/>
                  <a:gd name="connsiteX9" fmla="*/ 173831 w 180975"/>
                  <a:gd name="connsiteY9" fmla="*/ 8334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75" h="95250">
                    <a:moveTo>
                      <a:pt x="173831" y="83344"/>
                    </a:moveTo>
                    <a:cubicBezTo>
                      <a:pt x="149066" y="35719"/>
                      <a:pt x="94774" y="10001"/>
                      <a:pt x="41434" y="21431"/>
                    </a:cubicBezTo>
                    <a:lnTo>
                      <a:pt x="35719" y="7144"/>
                    </a:lnTo>
                    <a:lnTo>
                      <a:pt x="7144" y="41434"/>
                    </a:lnTo>
                    <a:lnTo>
                      <a:pt x="51911" y="49054"/>
                    </a:lnTo>
                    <a:lnTo>
                      <a:pt x="47149" y="35719"/>
                    </a:lnTo>
                    <a:cubicBezTo>
                      <a:pt x="92869" y="27146"/>
                      <a:pt x="139541" y="49054"/>
                      <a:pt x="160496" y="90964"/>
                    </a:cubicBezTo>
                    <a:lnTo>
                      <a:pt x="162401" y="93821"/>
                    </a:lnTo>
                    <a:lnTo>
                      <a:pt x="175736" y="87154"/>
                    </a:lnTo>
                    <a:lnTo>
                      <a:pt x="173831" y="83344"/>
                    </a:lnTo>
                    <a:close/>
                  </a:path>
                </a:pathLst>
              </a:custGeom>
              <a:solidFill>
                <a:srgbClr val="3D3D4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29B77479-7BC0-4163-9F6C-631C47E4A654}"/>
                  </a:ext>
                </a:extLst>
              </p:cNvPr>
              <p:cNvSpPr/>
              <p:nvPr/>
            </p:nvSpPr>
            <p:spPr>
              <a:xfrm>
                <a:off x="7386364" y="2425683"/>
                <a:ext cx="400730" cy="267153"/>
              </a:xfrm>
              <a:custGeom>
                <a:avLst/>
                <a:gdLst>
                  <a:gd name="connsiteX0" fmla="*/ 127159 w 171450"/>
                  <a:gd name="connsiteY0" fmla="*/ 80486 h 114300"/>
                  <a:gd name="connsiteX1" fmla="*/ 22384 w 171450"/>
                  <a:gd name="connsiteY1" fmla="*/ 10001 h 114300"/>
                  <a:gd name="connsiteX2" fmla="*/ 21431 w 171450"/>
                  <a:gd name="connsiteY2" fmla="*/ 7144 h 114300"/>
                  <a:gd name="connsiteX3" fmla="*/ 7144 w 171450"/>
                  <a:gd name="connsiteY3" fmla="*/ 11906 h 114300"/>
                  <a:gd name="connsiteX4" fmla="*/ 8096 w 171450"/>
                  <a:gd name="connsiteY4" fmla="*/ 14764 h 114300"/>
                  <a:gd name="connsiteX5" fmla="*/ 122396 w 171450"/>
                  <a:gd name="connsiteY5" fmla="*/ 95726 h 114300"/>
                  <a:gd name="connsiteX6" fmla="*/ 130016 w 171450"/>
                  <a:gd name="connsiteY6" fmla="*/ 95726 h 114300"/>
                  <a:gd name="connsiteX7" fmla="*/ 132874 w 171450"/>
                  <a:gd name="connsiteY7" fmla="*/ 110966 h 114300"/>
                  <a:gd name="connsiteX8" fmla="*/ 166211 w 171450"/>
                  <a:gd name="connsiteY8" fmla="*/ 80486 h 114300"/>
                  <a:gd name="connsiteX9" fmla="*/ 123349 w 171450"/>
                  <a:gd name="connsiteY9" fmla="*/ 66199 h 114300"/>
                  <a:gd name="connsiteX10" fmla="*/ 127159 w 171450"/>
                  <a:gd name="connsiteY10" fmla="*/ 8048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450" h="114300">
                    <a:moveTo>
                      <a:pt x="127159" y="80486"/>
                    </a:moveTo>
                    <a:cubicBezTo>
                      <a:pt x="80486" y="82391"/>
                      <a:pt x="37624" y="53816"/>
                      <a:pt x="22384" y="10001"/>
                    </a:cubicBezTo>
                    <a:lnTo>
                      <a:pt x="21431" y="7144"/>
                    </a:lnTo>
                    <a:lnTo>
                      <a:pt x="7144" y="11906"/>
                    </a:lnTo>
                    <a:lnTo>
                      <a:pt x="8096" y="14764"/>
                    </a:lnTo>
                    <a:cubicBezTo>
                      <a:pt x="25241" y="63341"/>
                      <a:pt x="70961" y="95726"/>
                      <a:pt x="122396" y="95726"/>
                    </a:cubicBezTo>
                    <a:cubicBezTo>
                      <a:pt x="125254" y="95726"/>
                      <a:pt x="127159" y="95726"/>
                      <a:pt x="130016" y="95726"/>
                    </a:cubicBezTo>
                    <a:lnTo>
                      <a:pt x="132874" y="110966"/>
                    </a:lnTo>
                    <a:lnTo>
                      <a:pt x="166211" y="80486"/>
                    </a:lnTo>
                    <a:lnTo>
                      <a:pt x="123349" y="66199"/>
                    </a:lnTo>
                    <a:lnTo>
                      <a:pt x="127159" y="80486"/>
                    </a:lnTo>
                    <a:close/>
                  </a:path>
                </a:pathLst>
              </a:custGeom>
              <a:solidFill>
                <a:srgbClr val="3D3D4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A02D09C7-EC26-4F05-AD77-AEDE7ADA7BDB}"/>
                  </a:ext>
                </a:extLst>
              </p:cNvPr>
              <p:cNvSpPr/>
              <p:nvPr/>
            </p:nvSpPr>
            <p:spPr>
              <a:xfrm>
                <a:off x="7094720" y="2116229"/>
                <a:ext cx="534307" cy="311679"/>
              </a:xfrm>
              <a:custGeom>
                <a:avLst/>
                <a:gdLst>
                  <a:gd name="connsiteX0" fmla="*/ 7144 w 228600"/>
                  <a:gd name="connsiteY0" fmla="*/ 130016 h 133350"/>
                  <a:gd name="connsiteX1" fmla="*/ 16669 w 228600"/>
                  <a:gd name="connsiteY1" fmla="*/ 54769 h 133350"/>
                  <a:gd name="connsiteX2" fmla="*/ 39529 w 228600"/>
                  <a:gd name="connsiteY2" fmla="*/ 17621 h 133350"/>
                  <a:gd name="connsiteX3" fmla="*/ 66199 w 228600"/>
                  <a:gd name="connsiteY3" fmla="*/ 7144 h 133350"/>
                  <a:gd name="connsiteX4" fmla="*/ 76676 w 228600"/>
                  <a:gd name="connsiteY4" fmla="*/ 11906 h 133350"/>
                  <a:gd name="connsiteX5" fmla="*/ 78581 w 228600"/>
                  <a:gd name="connsiteY5" fmla="*/ 13811 h 133350"/>
                  <a:gd name="connsiteX6" fmla="*/ 119539 w 228600"/>
                  <a:gd name="connsiteY6" fmla="*/ 29051 h 133350"/>
                  <a:gd name="connsiteX7" fmla="*/ 160496 w 228600"/>
                  <a:gd name="connsiteY7" fmla="*/ 13811 h 133350"/>
                  <a:gd name="connsiteX8" fmla="*/ 160496 w 228600"/>
                  <a:gd name="connsiteY8" fmla="*/ 11906 h 133350"/>
                  <a:gd name="connsiteX9" fmla="*/ 170974 w 228600"/>
                  <a:gd name="connsiteY9" fmla="*/ 7144 h 133350"/>
                  <a:gd name="connsiteX10" fmla="*/ 197644 w 228600"/>
                  <a:gd name="connsiteY10" fmla="*/ 17621 h 133350"/>
                  <a:gd name="connsiteX11" fmla="*/ 220504 w 228600"/>
                  <a:gd name="connsiteY11" fmla="*/ 54769 h 133350"/>
                  <a:gd name="connsiteX12" fmla="*/ 230029 w 228600"/>
                  <a:gd name="connsiteY12" fmla="*/ 130016 h 133350"/>
                  <a:gd name="connsiteX13" fmla="*/ 7144 w 228600"/>
                  <a:gd name="connsiteY13" fmla="*/ 130016 h 133350"/>
                  <a:gd name="connsiteX14" fmla="*/ 7144 w 228600"/>
                  <a:gd name="connsiteY14" fmla="*/ 130016 h 133350"/>
                  <a:gd name="connsiteX15" fmla="*/ 7144 w 228600"/>
                  <a:gd name="connsiteY15" fmla="*/ 130016 h 133350"/>
                  <a:gd name="connsiteX16" fmla="*/ 7144 w 228600"/>
                  <a:gd name="connsiteY16" fmla="*/ 130016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8600" h="133350">
                    <a:moveTo>
                      <a:pt x="7144" y="130016"/>
                    </a:moveTo>
                    <a:cubicBezTo>
                      <a:pt x="9049" y="110966"/>
                      <a:pt x="12859" y="71914"/>
                      <a:pt x="16669" y="54769"/>
                    </a:cubicBezTo>
                    <a:cubicBezTo>
                      <a:pt x="21431" y="35719"/>
                      <a:pt x="25241" y="24289"/>
                      <a:pt x="39529" y="17621"/>
                    </a:cubicBezTo>
                    <a:cubicBezTo>
                      <a:pt x="53816" y="10001"/>
                      <a:pt x="61436" y="7144"/>
                      <a:pt x="66199" y="7144"/>
                    </a:cubicBezTo>
                    <a:cubicBezTo>
                      <a:pt x="70961" y="7144"/>
                      <a:pt x="73819" y="9049"/>
                      <a:pt x="76676" y="11906"/>
                    </a:cubicBezTo>
                    <a:cubicBezTo>
                      <a:pt x="77629" y="11906"/>
                      <a:pt x="77629" y="12859"/>
                      <a:pt x="78581" y="13811"/>
                    </a:cubicBezTo>
                    <a:cubicBezTo>
                      <a:pt x="91916" y="26194"/>
                      <a:pt x="106204" y="29051"/>
                      <a:pt x="119539" y="29051"/>
                    </a:cubicBezTo>
                    <a:cubicBezTo>
                      <a:pt x="132874" y="29051"/>
                      <a:pt x="147161" y="26194"/>
                      <a:pt x="160496" y="13811"/>
                    </a:cubicBezTo>
                    <a:cubicBezTo>
                      <a:pt x="159544" y="12859"/>
                      <a:pt x="159544" y="12859"/>
                      <a:pt x="160496" y="11906"/>
                    </a:cubicBezTo>
                    <a:cubicBezTo>
                      <a:pt x="163354" y="9049"/>
                      <a:pt x="166211" y="7144"/>
                      <a:pt x="170974" y="7144"/>
                    </a:cubicBezTo>
                    <a:cubicBezTo>
                      <a:pt x="175736" y="7144"/>
                      <a:pt x="184309" y="10001"/>
                      <a:pt x="197644" y="17621"/>
                    </a:cubicBezTo>
                    <a:cubicBezTo>
                      <a:pt x="211931" y="25241"/>
                      <a:pt x="216694" y="35719"/>
                      <a:pt x="220504" y="54769"/>
                    </a:cubicBezTo>
                    <a:cubicBezTo>
                      <a:pt x="224314" y="71914"/>
                      <a:pt x="228124" y="110966"/>
                      <a:pt x="230029" y="130016"/>
                    </a:cubicBezTo>
                    <a:lnTo>
                      <a:pt x="7144" y="130016"/>
                    </a:lnTo>
                    <a:lnTo>
                      <a:pt x="7144" y="130016"/>
                    </a:lnTo>
                    <a:lnTo>
                      <a:pt x="7144" y="130016"/>
                    </a:lnTo>
                    <a:lnTo>
                      <a:pt x="7144" y="130016"/>
                    </a:lnTo>
                    <a:close/>
                  </a:path>
                </a:pathLst>
              </a:custGeom>
              <a:solidFill>
                <a:srgbClr val="00E7C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D32554AF-4B40-4E59-AED8-1A9C026C4A36}"/>
                  </a:ext>
                </a:extLst>
              </p:cNvPr>
              <p:cNvSpPr/>
              <p:nvPr/>
            </p:nvSpPr>
            <p:spPr>
              <a:xfrm>
                <a:off x="7739470" y="2226708"/>
                <a:ext cx="400730" cy="400730"/>
              </a:xfrm>
              <a:custGeom>
                <a:avLst/>
                <a:gdLst>
                  <a:gd name="connsiteX0" fmla="*/ 163727 w 171450"/>
                  <a:gd name="connsiteY0" fmla="*/ 107513 h 171450"/>
                  <a:gd name="connsiteX1" fmla="*/ 150392 w 171450"/>
                  <a:gd name="connsiteY1" fmla="*/ 101798 h 171450"/>
                  <a:gd name="connsiteX2" fmla="*/ 146582 w 171450"/>
                  <a:gd name="connsiteY2" fmla="*/ 98941 h 171450"/>
                  <a:gd name="connsiteX3" fmla="*/ 147535 w 171450"/>
                  <a:gd name="connsiteY3" fmla="*/ 94178 h 171450"/>
                  <a:gd name="connsiteX4" fmla="*/ 147535 w 171450"/>
                  <a:gd name="connsiteY4" fmla="*/ 83701 h 171450"/>
                  <a:gd name="connsiteX5" fmla="*/ 146582 w 171450"/>
                  <a:gd name="connsiteY5" fmla="*/ 78938 h 171450"/>
                  <a:gd name="connsiteX6" fmla="*/ 150392 w 171450"/>
                  <a:gd name="connsiteY6" fmla="*/ 76081 h 171450"/>
                  <a:gd name="connsiteX7" fmla="*/ 163727 w 171450"/>
                  <a:gd name="connsiteY7" fmla="*/ 70366 h 171450"/>
                  <a:gd name="connsiteX8" fmla="*/ 166585 w 171450"/>
                  <a:gd name="connsiteY8" fmla="*/ 64651 h 171450"/>
                  <a:gd name="connsiteX9" fmla="*/ 159917 w 171450"/>
                  <a:gd name="connsiteY9" fmla="*/ 50363 h 171450"/>
                  <a:gd name="connsiteX10" fmla="*/ 154202 w 171450"/>
                  <a:gd name="connsiteY10" fmla="*/ 47506 h 171450"/>
                  <a:gd name="connsiteX11" fmla="*/ 140867 w 171450"/>
                  <a:gd name="connsiteY11" fmla="*/ 53221 h 171450"/>
                  <a:gd name="connsiteX12" fmla="*/ 136105 w 171450"/>
                  <a:gd name="connsiteY12" fmla="*/ 54173 h 171450"/>
                  <a:gd name="connsiteX13" fmla="*/ 132295 w 171450"/>
                  <a:gd name="connsiteY13" fmla="*/ 50363 h 171450"/>
                  <a:gd name="connsiteX14" fmla="*/ 125627 w 171450"/>
                  <a:gd name="connsiteY14" fmla="*/ 41791 h 171450"/>
                  <a:gd name="connsiteX15" fmla="*/ 121817 w 171450"/>
                  <a:gd name="connsiteY15" fmla="*/ 37981 h 171450"/>
                  <a:gd name="connsiteX16" fmla="*/ 122770 w 171450"/>
                  <a:gd name="connsiteY16" fmla="*/ 33218 h 171450"/>
                  <a:gd name="connsiteX17" fmla="*/ 128485 w 171450"/>
                  <a:gd name="connsiteY17" fmla="*/ 19883 h 171450"/>
                  <a:gd name="connsiteX18" fmla="*/ 125627 w 171450"/>
                  <a:gd name="connsiteY18" fmla="*/ 14168 h 171450"/>
                  <a:gd name="connsiteX19" fmla="*/ 110387 w 171450"/>
                  <a:gd name="connsiteY19" fmla="*/ 7501 h 171450"/>
                  <a:gd name="connsiteX20" fmla="*/ 104672 w 171450"/>
                  <a:gd name="connsiteY20" fmla="*/ 10358 h 171450"/>
                  <a:gd name="connsiteX21" fmla="*/ 98957 w 171450"/>
                  <a:gd name="connsiteY21" fmla="*/ 23693 h 171450"/>
                  <a:gd name="connsiteX22" fmla="*/ 96100 w 171450"/>
                  <a:gd name="connsiteY22" fmla="*/ 27503 h 171450"/>
                  <a:gd name="connsiteX23" fmla="*/ 91337 w 171450"/>
                  <a:gd name="connsiteY23" fmla="*/ 26551 h 171450"/>
                  <a:gd name="connsiteX24" fmla="*/ 85622 w 171450"/>
                  <a:gd name="connsiteY24" fmla="*/ 25598 h 171450"/>
                  <a:gd name="connsiteX25" fmla="*/ 79907 w 171450"/>
                  <a:gd name="connsiteY25" fmla="*/ 26551 h 171450"/>
                  <a:gd name="connsiteX26" fmla="*/ 75145 w 171450"/>
                  <a:gd name="connsiteY26" fmla="*/ 27503 h 171450"/>
                  <a:gd name="connsiteX27" fmla="*/ 72287 w 171450"/>
                  <a:gd name="connsiteY27" fmla="*/ 23693 h 171450"/>
                  <a:gd name="connsiteX28" fmla="*/ 66572 w 171450"/>
                  <a:gd name="connsiteY28" fmla="*/ 10358 h 171450"/>
                  <a:gd name="connsiteX29" fmla="*/ 60857 w 171450"/>
                  <a:gd name="connsiteY29" fmla="*/ 7501 h 171450"/>
                  <a:gd name="connsiteX30" fmla="*/ 45617 w 171450"/>
                  <a:gd name="connsiteY30" fmla="*/ 14168 h 171450"/>
                  <a:gd name="connsiteX31" fmla="*/ 42760 w 171450"/>
                  <a:gd name="connsiteY31" fmla="*/ 19883 h 171450"/>
                  <a:gd name="connsiteX32" fmla="*/ 48475 w 171450"/>
                  <a:gd name="connsiteY32" fmla="*/ 33218 h 171450"/>
                  <a:gd name="connsiteX33" fmla="*/ 49427 w 171450"/>
                  <a:gd name="connsiteY33" fmla="*/ 37981 h 171450"/>
                  <a:gd name="connsiteX34" fmla="*/ 45617 w 171450"/>
                  <a:gd name="connsiteY34" fmla="*/ 41791 h 171450"/>
                  <a:gd name="connsiteX35" fmla="*/ 37997 w 171450"/>
                  <a:gd name="connsiteY35" fmla="*/ 49411 h 171450"/>
                  <a:gd name="connsiteX36" fmla="*/ 34187 w 171450"/>
                  <a:gd name="connsiteY36" fmla="*/ 53221 h 171450"/>
                  <a:gd name="connsiteX37" fmla="*/ 29425 w 171450"/>
                  <a:gd name="connsiteY37" fmla="*/ 52268 h 171450"/>
                  <a:gd name="connsiteX38" fmla="*/ 16090 w 171450"/>
                  <a:gd name="connsiteY38" fmla="*/ 46553 h 171450"/>
                  <a:gd name="connsiteX39" fmla="*/ 10375 w 171450"/>
                  <a:gd name="connsiteY39" fmla="*/ 49411 h 171450"/>
                  <a:gd name="connsiteX40" fmla="*/ 7517 w 171450"/>
                  <a:gd name="connsiteY40" fmla="*/ 65603 h 171450"/>
                  <a:gd name="connsiteX41" fmla="*/ 10375 w 171450"/>
                  <a:gd name="connsiteY41" fmla="*/ 71318 h 171450"/>
                  <a:gd name="connsiteX42" fmla="*/ 23710 w 171450"/>
                  <a:gd name="connsiteY42" fmla="*/ 77033 h 171450"/>
                  <a:gd name="connsiteX43" fmla="*/ 27520 w 171450"/>
                  <a:gd name="connsiteY43" fmla="*/ 79891 h 171450"/>
                  <a:gd name="connsiteX44" fmla="*/ 26567 w 171450"/>
                  <a:gd name="connsiteY44" fmla="*/ 84653 h 171450"/>
                  <a:gd name="connsiteX45" fmla="*/ 26567 w 171450"/>
                  <a:gd name="connsiteY45" fmla="*/ 95131 h 171450"/>
                  <a:gd name="connsiteX46" fmla="*/ 26567 w 171450"/>
                  <a:gd name="connsiteY46" fmla="*/ 98941 h 171450"/>
                  <a:gd name="connsiteX47" fmla="*/ 22757 w 171450"/>
                  <a:gd name="connsiteY47" fmla="*/ 101798 h 171450"/>
                  <a:gd name="connsiteX48" fmla="*/ 9422 w 171450"/>
                  <a:gd name="connsiteY48" fmla="*/ 107513 h 171450"/>
                  <a:gd name="connsiteX49" fmla="*/ 7517 w 171450"/>
                  <a:gd name="connsiteY49" fmla="*/ 112276 h 171450"/>
                  <a:gd name="connsiteX50" fmla="*/ 14185 w 171450"/>
                  <a:gd name="connsiteY50" fmla="*/ 128468 h 171450"/>
                  <a:gd name="connsiteX51" fmla="*/ 19900 w 171450"/>
                  <a:gd name="connsiteY51" fmla="*/ 131326 h 171450"/>
                  <a:gd name="connsiteX52" fmla="*/ 33235 w 171450"/>
                  <a:gd name="connsiteY52" fmla="*/ 125611 h 171450"/>
                  <a:gd name="connsiteX53" fmla="*/ 37997 w 171450"/>
                  <a:gd name="connsiteY53" fmla="*/ 124658 h 171450"/>
                  <a:gd name="connsiteX54" fmla="*/ 41807 w 171450"/>
                  <a:gd name="connsiteY54" fmla="*/ 128468 h 171450"/>
                  <a:gd name="connsiteX55" fmla="*/ 49427 w 171450"/>
                  <a:gd name="connsiteY55" fmla="*/ 136088 h 171450"/>
                  <a:gd name="connsiteX56" fmla="*/ 53237 w 171450"/>
                  <a:gd name="connsiteY56" fmla="*/ 139898 h 171450"/>
                  <a:gd name="connsiteX57" fmla="*/ 52285 w 171450"/>
                  <a:gd name="connsiteY57" fmla="*/ 144661 h 171450"/>
                  <a:gd name="connsiteX58" fmla="*/ 45617 w 171450"/>
                  <a:gd name="connsiteY58" fmla="*/ 157996 h 171450"/>
                  <a:gd name="connsiteX59" fmla="*/ 48475 w 171450"/>
                  <a:gd name="connsiteY59" fmla="*/ 163711 h 171450"/>
                  <a:gd name="connsiteX60" fmla="*/ 63715 w 171450"/>
                  <a:gd name="connsiteY60" fmla="*/ 170378 h 171450"/>
                  <a:gd name="connsiteX61" fmla="*/ 69430 w 171450"/>
                  <a:gd name="connsiteY61" fmla="*/ 167521 h 171450"/>
                  <a:gd name="connsiteX62" fmla="*/ 75145 w 171450"/>
                  <a:gd name="connsiteY62" fmla="*/ 154186 h 171450"/>
                  <a:gd name="connsiteX63" fmla="*/ 78002 w 171450"/>
                  <a:gd name="connsiteY63" fmla="*/ 150376 h 171450"/>
                  <a:gd name="connsiteX64" fmla="*/ 82765 w 171450"/>
                  <a:gd name="connsiteY64" fmla="*/ 151328 h 171450"/>
                  <a:gd name="connsiteX65" fmla="*/ 88480 w 171450"/>
                  <a:gd name="connsiteY65" fmla="*/ 152281 h 171450"/>
                  <a:gd name="connsiteX66" fmla="*/ 94195 w 171450"/>
                  <a:gd name="connsiteY66" fmla="*/ 151328 h 171450"/>
                  <a:gd name="connsiteX67" fmla="*/ 98957 w 171450"/>
                  <a:gd name="connsiteY67" fmla="*/ 150376 h 171450"/>
                  <a:gd name="connsiteX68" fmla="*/ 101815 w 171450"/>
                  <a:gd name="connsiteY68" fmla="*/ 154186 h 171450"/>
                  <a:gd name="connsiteX69" fmla="*/ 107530 w 171450"/>
                  <a:gd name="connsiteY69" fmla="*/ 167521 h 171450"/>
                  <a:gd name="connsiteX70" fmla="*/ 113245 w 171450"/>
                  <a:gd name="connsiteY70" fmla="*/ 170378 h 171450"/>
                  <a:gd name="connsiteX71" fmla="*/ 128485 w 171450"/>
                  <a:gd name="connsiteY71" fmla="*/ 163711 h 171450"/>
                  <a:gd name="connsiteX72" fmla="*/ 131342 w 171450"/>
                  <a:gd name="connsiteY72" fmla="*/ 157996 h 171450"/>
                  <a:gd name="connsiteX73" fmla="*/ 125627 w 171450"/>
                  <a:gd name="connsiteY73" fmla="*/ 144661 h 171450"/>
                  <a:gd name="connsiteX74" fmla="*/ 121817 w 171450"/>
                  <a:gd name="connsiteY74" fmla="*/ 139898 h 171450"/>
                  <a:gd name="connsiteX75" fmla="*/ 125627 w 171450"/>
                  <a:gd name="connsiteY75" fmla="*/ 136088 h 171450"/>
                  <a:gd name="connsiteX76" fmla="*/ 133247 w 171450"/>
                  <a:gd name="connsiteY76" fmla="*/ 128468 h 171450"/>
                  <a:gd name="connsiteX77" fmla="*/ 137057 w 171450"/>
                  <a:gd name="connsiteY77" fmla="*/ 124658 h 171450"/>
                  <a:gd name="connsiteX78" fmla="*/ 141820 w 171450"/>
                  <a:gd name="connsiteY78" fmla="*/ 125611 h 171450"/>
                  <a:gd name="connsiteX79" fmla="*/ 155155 w 171450"/>
                  <a:gd name="connsiteY79" fmla="*/ 131326 h 171450"/>
                  <a:gd name="connsiteX80" fmla="*/ 160870 w 171450"/>
                  <a:gd name="connsiteY80" fmla="*/ 128468 h 171450"/>
                  <a:gd name="connsiteX81" fmla="*/ 167537 w 171450"/>
                  <a:gd name="connsiteY81" fmla="*/ 112276 h 171450"/>
                  <a:gd name="connsiteX82" fmla="*/ 163727 w 171450"/>
                  <a:gd name="connsiteY82" fmla="*/ 107513 h 171450"/>
                  <a:gd name="connsiteX83" fmla="*/ 163727 w 171450"/>
                  <a:gd name="connsiteY83" fmla="*/ 10751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71450" h="171450">
                    <a:moveTo>
                      <a:pt x="163727" y="107513"/>
                    </a:moveTo>
                    <a:lnTo>
                      <a:pt x="150392" y="101798"/>
                    </a:lnTo>
                    <a:cubicBezTo>
                      <a:pt x="148487" y="100846"/>
                      <a:pt x="146582" y="99893"/>
                      <a:pt x="146582" y="98941"/>
                    </a:cubicBezTo>
                    <a:cubicBezTo>
                      <a:pt x="146582" y="97988"/>
                      <a:pt x="147535" y="96083"/>
                      <a:pt x="147535" y="94178"/>
                    </a:cubicBezTo>
                    <a:lnTo>
                      <a:pt x="147535" y="83701"/>
                    </a:lnTo>
                    <a:cubicBezTo>
                      <a:pt x="147535" y="80843"/>
                      <a:pt x="146582" y="78938"/>
                      <a:pt x="146582" y="78938"/>
                    </a:cubicBezTo>
                    <a:cubicBezTo>
                      <a:pt x="146582" y="77986"/>
                      <a:pt x="148487" y="77033"/>
                      <a:pt x="150392" y="76081"/>
                    </a:cubicBezTo>
                    <a:lnTo>
                      <a:pt x="163727" y="70366"/>
                    </a:lnTo>
                    <a:cubicBezTo>
                      <a:pt x="165632" y="69413"/>
                      <a:pt x="167537" y="66556"/>
                      <a:pt x="166585" y="64651"/>
                    </a:cubicBezTo>
                    <a:lnTo>
                      <a:pt x="159917" y="50363"/>
                    </a:lnTo>
                    <a:cubicBezTo>
                      <a:pt x="158965" y="48458"/>
                      <a:pt x="156107" y="46553"/>
                      <a:pt x="154202" y="47506"/>
                    </a:cubicBezTo>
                    <a:lnTo>
                      <a:pt x="140867" y="53221"/>
                    </a:lnTo>
                    <a:cubicBezTo>
                      <a:pt x="138962" y="54173"/>
                      <a:pt x="137057" y="55126"/>
                      <a:pt x="136105" y="54173"/>
                    </a:cubicBezTo>
                    <a:cubicBezTo>
                      <a:pt x="135152" y="53221"/>
                      <a:pt x="134200" y="52268"/>
                      <a:pt x="132295" y="50363"/>
                    </a:cubicBezTo>
                    <a:lnTo>
                      <a:pt x="125627" y="41791"/>
                    </a:lnTo>
                    <a:cubicBezTo>
                      <a:pt x="123722" y="39886"/>
                      <a:pt x="121817" y="38933"/>
                      <a:pt x="121817" y="37981"/>
                    </a:cubicBezTo>
                    <a:cubicBezTo>
                      <a:pt x="120865" y="37028"/>
                      <a:pt x="121817" y="35123"/>
                      <a:pt x="122770" y="33218"/>
                    </a:cubicBezTo>
                    <a:lnTo>
                      <a:pt x="128485" y="19883"/>
                    </a:lnTo>
                    <a:cubicBezTo>
                      <a:pt x="129437" y="17978"/>
                      <a:pt x="128485" y="15121"/>
                      <a:pt x="125627" y="14168"/>
                    </a:cubicBezTo>
                    <a:lnTo>
                      <a:pt x="110387" y="7501"/>
                    </a:lnTo>
                    <a:cubicBezTo>
                      <a:pt x="108482" y="6548"/>
                      <a:pt x="105625" y="7501"/>
                      <a:pt x="104672" y="10358"/>
                    </a:cubicBezTo>
                    <a:lnTo>
                      <a:pt x="98957" y="23693"/>
                    </a:lnTo>
                    <a:cubicBezTo>
                      <a:pt x="98005" y="25598"/>
                      <a:pt x="97052" y="27503"/>
                      <a:pt x="96100" y="27503"/>
                    </a:cubicBezTo>
                    <a:cubicBezTo>
                      <a:pt x="95147" y="27503"/>
                      <a:pt x="93242" y="26551"/>
                      <a:pt x="91337" y="26551"/>
                    </a:cubicBezTo>
                    <a:cubicBezTo>
                      <a:pt x="91337" y="26551"/>
                      <a:pt x="88480" y="25598"/>
                      <a:pt x="85622" y="25598"/>
                    </a:cubicBezTo>
                    <a:cubicBezTo>
                      <a:pt x="82765" y="25598"/>
                      <a:pt x="79907" y="26551"/>
                      <a:pt x="79907" y="26551"/>
                    </a:cubicBezTo>
                    <a:cubicBezTo>
                      <a:pt x="77050" y="27503"/>
                      <a:pt x="75145" y="27503"/>
                      <a:pt x="75145" y="27503"/>
                    </a:cubicBezTo>
                    <a:cubicBezTo>
                      <a:pt x="74192" y="27503"/>
                      <a:pt x="73240" y="25598"/>
                      <a:pt x="72287" y="23693"/>
                    </a:cubicBezTo>
                    <a:lnTo>
                      <a:pt x="66572" y="10358"/>
                    </a:lnTo>
                    <a:cubicBezTo>
                      <a:pt x="65620" y="8453"/>
                      <a:pt x="62762" y="6548"/>
                      <a:pt x="60857" y="7501"/>
                    </a:cubicBezTo>
                    <a:lnTo>
                      <a:pt x="45617" y="14168"/>
                    </a:lnTo>
                    <a:cubicBezTo>
                      <a:pt x="43712" y="15121"/>
                      <a:pt x="41807" y="17978"/>
                      <a:pt x="42760" y="19883"/>
                    </a:cubicBezTo>
                    <a:lnTo>
                      <a:pt x="48475" y="33218"/>
                    </a:lnTo>
                    <a:cubicBezTo>
                      <a:pt x="49427" y="35123"/>
                      <a:pt x="50380" y="37028"/>
                      <a:pt x="49427" y="37981"/>
                    </a:cubicBezTo>
                    <a:cubicBezTo>
                      <a:pt x="48475" y="38933"/>
                      <a:pt x="47522" y="39886"/>
                      <a:pt x="45617" y="41791"/>
                    </a:cubicBezTo>
                    <a:lnTo>
                      <a:pt x="37997" y="49411"/>
                    </a:lnTo>
                    <a:cubicBezTo>
                      <a:pt x="36092" y="51316"/>
                      <a:pt x="35140" y="53221"/>
                      <a:pt x="34187" y="53221"/>
                    </a:cubicBezTo>
                    <a:cubicBezTo>
                      <a:pt x="33235" y="54173"/>
                      <a:pt x="31330" y="53221"/>
                      <a:pt x="29425" y="52268"/>
                    </a:cubicBezTo>
                    <a:lnTo>
                      <a:pt x="16090" y="46553"/>
                    </a:lnTo>
                    <a:cubicBezTo>
                      <a:pt x="14185" y="45601"/>
                      <a:pt x="11327" y="46553"/>
                      <a:pt x="10375" y="49411"/>
                    </a:cubicBezTo>
                    <a:lnTo>
                      <a:pt x="7517" y="65603"/>
                    </a:lnTo>
                    <a:cubicBezTo>
                      <a:pt x="6565" y="67508"/>
                      <a:pt x="7517" y="70366"/>
                      <a:pt x="10375" y="71318"/>
                    </a:cubicBezTo>
                    <a:lnTo>
                      <a:pt x="23710" y="77033"/>
                    </a:lnTo>
                    <a:cubicBezTo>
                      <a:pt x="25615" y="77986"/>
                      <a:pt x="27520" y="78938"/>
                      <a:pt x="27520" y="79891"/>
                    </a:cubicBezTo>
                    <a:cubicBezTo>
                      <a:pt x="27520" y="80843"/>
                      <a:pt x="26567" y="82748"/>
                      <a:pt x="26567" y="84653"/>
                    </a:cubicBezTo>
                    <a:lnTo>
                      <a:pt x="26567" y="95131"/>
                    </a:lnTo>
                    <a:cubicBezTo>
                      <a:pt x="26567" y="97036"/>
                      <a:pt x="26567" y="98941"/>
                      <a:pt x="26567" y="98941"/>
                    </a:cubicBezTo>
                    <a:cubicBezTo>
                      <a:pt x="26567" y="99893"/>
                      <a:pt x="24662" y="100846"/>
                      <a:pt x="22757" y="101798"/>
                    </a:cubicBezTo>
                    <a:lnTo>
                      <a:pt x="9422" y="107513"/>
                    </a:lnTo>
                    <a:cubicBezTo>
                      <a:pt x="7517" y="108466"/>
                      <a:pt x="6565" y="110371"/>
                      <a:pt x="7517" y="112276"/>
                    </a:cubicBezTo>
                    <a:lnTo>
                      <a:pt x="14185" y="128468"/>
                    </a:lnTo>
                    <a:cubicBezTo>
                      <a:pt x="15137" y="130373"/>
                      <a:pt x="17995" y="132278"/>
                      <a:pt x="19900" y="131326"/>
                    </a:cubicBezTo>
                    <a:lnTo>
                      <a:pt x="33235" y="125611"/>
                    </a:lnTo>
                    <a:cubicBezTo>
                      <a:pt x="35140" y="124658"/>
                      <a:pt x="37045" y="123706"/>
                      <a:pt x="37997" y="124658"/>
                    </a:cubicBezTo>
                    <a:cubicBezTo>
                      <a:pt x="38950" y="125611"/>
                      <a:pt x="39902" y="126563"/>
                      <a:pt x="41807" y="128468"/>
                    </a:cubicBezTo>
                    <a:lnTo>
                      <a:pt x="49427" y="136088"/>
                    </a:lnTo>
                    <a:cubicBezTo>
                      <a:pt x="51332" y="137993"/>
                      <a:pt x="53237" y="138946"/>
                      <a:pt x="53237" y="139898"/>
                    </a:cubicBezTo>
                    <a:cubicBezTo>
                      <a:pt x="54190" y="140851"/>
                      <a:pt x="53237" y="142756"/>
                      <a:pt x="52285" y="144661"/>
                    </a:cubicBezTo>
                    <a:lnTo>
                      <a:pt x="45617" y="157996"/>
                    </a:lnTo>
                    <a:cubicBezTo>
                      <a:pt x="44665" y="159901"/>
                      <a:pt x="45617" y="162758"/>
                      <a:pt x="48475" y="163711"/>
                    </a:cubicBezTo>
                    <a:lnTo>
                      <a:pt x="63715" y="170378"/>
                    </a:lnTo>
                    <a:cubicBezTo>
                      <a:pt x="65620" y="171331"/>
                      <a:pt x="68477" y="170378"/>
                      <a:pt x="69430" y="167521"/>
                    </a:cubicBezTo>
                    <a:lnTo>
                      <a:pt x="75145" y="154186"/>
                    </a:lnTo>
                    <a:cubicBezTo>
                      <a:pt x="76097" y="152281"/>
                      <a:pt x="77050" y="150376"/>
                      <a:pt x="78002" y="150376"/>
                    </a:cubicBezTo>
                    <a:cubicBezTo>
                      <a:pt x="78955" y="150376"/>
                      <a:pt x="80860" y="151328"/>
                      <a:pt x="82765" y="151328"/>
                    </a:cubicBezTo>
                    <a:cubicBezTo>
                      <a:pt x="82765" y="151328"/>
                      <a:pt x="85622" y="152281"/>
                      <a:pt x="88480" y="152281"/>
                    </a:cubicBezTo>
                    <a:cubicBezTo>
                      <a:pt x="91337" y="152281"/>
                      <a:pt x="94195" y="151328"/>
                      <a:pt x="94195" y="151328"/>
                    </a:cubicBezTo>
                    <a:cubicBezTo>
                      <a:pt x="97052" y="150376"/>
                      <a:pt x="98957" y="150376"/>
                      <a:pt x="98957" y="150376"/>
                    </a:cubicBezTo>
                    <a:cubicBezTo>
                      <a:pt x="99910" y="150376"/>
                      <a:pt x="100862" y="152281"/>
                      <a:pt x="101815" y="154186"/>
                    </a:cubicBezTo>
                    <a:lnTo>
                      <a:pt x="107530" y="167521"/>
                    </a:lnTo>
                    <a:cubicBezTo>
                      <a:pt x="108482" y="169426"/>
                      <a:pt x="111340" y="171331"/>
                      <a:pt x="113245" y="170378"/>
                    </a:cubicBezTo>
                    <a:lnTo>
                      <a:pt x="128485" y="163711"/>
                    </a:lnTo>
                    <a:cubicBezTo>
                      <a:pt x="130390" y="162758"/>
                      <a:pt x="132295" y="159901"/>
                      <a:pt x="131342" y="157996"/>
                    </a:cubicBezTo>
                    <a:lnTo>
                      <a:pt x="125627" y="144661"/>
                    </a:lnTo>
                    <a:cubicBezTo>
                      <a:pt x="121817" y="141803"/>
                      <a:pt x="121817" y="139898"/>
                      <a:pt x="121817" y="139898"/>
                    </a:cubicBezTo>
                    <a:cubicBezTo>
                      <a:pt x="122770" y="138946"/>
                      <a:pt x="123722" y="137993"/>
                      <a:pt x="125627" y="136088"/>
                    </a:cubicBezTo>
                    <a:lnTo>
                      <a:pt x="133247" y="128468"/>
                    </a:lnTo>
                    <a:cubicBezTo>
                      <a:pt x="135152" y="126563"/>
                      <a:pt x="136105" y="124658"/>
                      <a:pt x="137057" y="124658"/>
                    </a:cubicBezTo>
                    <a:cubicBezTo>
                      <a:pt x="138010" y="123706"/>
                      <a:pt x="139915" y="124658"/>
                      <a:pt x="141820" y="125611"/>
                    </a:cubicBezTo>
                    <a:lnTo>
                      <a:pt x="155155" y="131326"/>
                    </a:lnTo>
                    <a:cubicBezTo>
                      <a:pt x="157060" y="132278"/>
                      <a:pt x="159917" y="131326"/>
                      <a:pt x="160870" y="128468"/>
                    </a:cubicBezTo>
                    <a:lnTo>
                      <a:pt x="167537" y="112276"/>
                    </a:lnTo>
                    <a:cubicBezTo>
                      <a:pt x="166585" y="111323"/>
                      <a:pt x="165632" y="108466"/>
                      <a:pt x="163727" y="107513"/>
                    </a:cubicBezTo>
                    <a:lnTo>
                      <a:pt x="163727" y="107513"/>
                    </a:lnTo>
                    <a:close/>
                  </a:path>
                </a:pathLst>
              </a:custGeom>
              <a:solidFill>
                <a:srgbClr val="00E7C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5479791A-55A3-4F15-AD17-2E4C15043231}"/>
                  </a:ext>
                </a:extLst>
              </p:cNvPr>
              <p:cNvSpPr/>
              <p:nvPr/>
            </p:nvSpPr>
            <p:spPr>
              <a:xfrm>
                <a:off x="7824940" y="2318821"/>
                <a:ext cx="222628" cy="222628"/>
              </a:xfrm>
              <a:custGeom>
                <a:avLst/>
                <a:gdLst>
                  <a:gd name="connsiteX0" fmla="*/ 50006 w 95250"/>
                  <a:gd name="connsiteY0" fmla="*/ 92869 h 95250"/>
                  <a:gd name="connsiteX1" fmla="*/ 7144 w 95250"/>
                  <a:gd name="connsiteY1" fmla="*/ 50006 h 95250"/>
                  <a:gd name="connsiteX2" fmla="*/ 50006 w 95250"/>
                  <a:gd name="connsiteY2" fmla="*/ 7144 h 95250"/>
                  <a:gd name="connsiteX3" fmla="*/ 92869 w 95250"/>
                  <a:gd name="connsiteY3" fmla="*/ 50006 h 95250"/>
                  <a:gd name="connsiteX4" fmla="*/ 50006 w 95250"/>
                  <a:gd name="connsiteY4" fmla="*/ 92869 h 95250"/>
                  <a:gd name="connsiteX5" fmla="*/ 50006 w 95250"/>
                  <a:gd name="connsiteY5" fmla="*/ 9286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95250">
                    <a:moveTo>
                      <a:pt x="50006" y="92869"/>
                    </a:moveTo>
                    <a:cubicBezTo>
                      <a:pt x="26194" y="92869"/>
                      <a:pt x="7144" y="73819"/>
                      <a:pt x="7144" y="50006"/>
                    </a:cubicBezTo>
                    <a:cubicBezTo>
                      <a:pt x="7144" y="26194"/>
                      <a:pt x="26194" y="7144"/>
                      <a:pt x="50006" y="7144"/>
                    </a:cubicBezTo>
                    <a:cubicBezTo>
                      <a:pt x="73819" y="7144"/>
                      <a:pt x="92869" y="26194"/>
                      <a:pt x="92869" y="50006"/>
                    </a:cubicBezTo>
                    <a:cubicBezTo>
                      <a:pt x="92869" y="73819"/>
                      <a:pt x="72866" y="92869"/>
                      <a:pt x="50006" y="92869"/>
                    </a:cubicBezTo>
                    <a:lnTo>
                      <a:pt x="50006" y="92869"/>
                    </a:ln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2FA2DFB8-1C8D-4BF6-B674-62167D281044}"/>
                  </a:ext>
                </a:extLst>
              </p:cNvPr>
              <p:cNvSpPr/>
              <p:nvPr/>
            </p:nvSpPr>
            <p:spPr>
              <a:xfrm>
                <a:off x="7226072" y="1840170"/>
                <a:ext cx="289416" cy="289416"/>
              </a:xfrm>
              <a:custGeom>
                <a:avLst/>
                <a:gdLst>
                  <a:gd name="connsiteX0" fmla="*/ 62389 w 123825"/>
                  <a:gd name="connsiteY0" fmla="*/ 117634 h 123825"/>
                  <a:gd name="connsiteX1" fmla="*/ 7144 w 123825"/>
                  <a:gd name="connsiteY1" fmla="*/ 62389 h 123825"/>
                  <a:gd name="connsiteX2" fmla="*/ 62389 w 123825"/>
                  <a:gd name="connsiteY2" fmla="*/ 7144 h 123825"/>
                  <a:gd name="connsiteX3" fmla="*/ 117634 w 123825"/>
                  <a:gd name="connsiteY3" fmla="*/ 62389 h 123825"/>
                  <a:gd name="connsiteX4" fmla="*/ 62389 w 123825"/>
                  <a:gd name="connsiteY4" fmla="*/ 117634 h 123825"/>
                  <a:gd name="connsiteX5" fmla="*/ 62389 w 123825"/>
                  <a:gd name="connsiteY5" fmla="*/ 117634 h 123825"/>
                  <a:gd name="connsiteX6" fmla="*/ 62389 w 123825"/>
                  <a:gd name="connsiteY6" fmla="*/ 117634 h 123825"/>
                  <a:gd name="connsiteX7" fmla="*/ 62389 w 123825"/>
                  <a:gd name="connsiteY7" fmla="*/ 11763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825" h="123825">
                    <a:moveTo>
                      <a:pt x="62389" y="117634"/>
                    </a:moveTo>
                    <a:cubicBezTo>
                      <a:pt x="31909" y="117634"/>
                      <a:pt x="7144" y="92869"/>
                      <a:pt x="7144" y="62389"/>
                    </a:cubicBezTo>
                    <a:cubicBezTo>
                      <a:pt x="7144" y="31909"/>
                      <a:pt x="31909" y="7144"/>
                      <a:pt x="62389" y="7144"/>
                    </a:cubicBezTo>
                    <a:cubicBezTo>
                      <a:pt x="92869" y="7144"/>
                      <a:pt x="117634" y="31909"/>
                      <a:pt x="117634" y="62389"/>
                    </a:cubicBezTo>
                    <a:cubicBezTo>
                      <a:pt x="117634" y="92869"/>
                      <a:pt x="92869" y="117634"/>
                      <a:pt x="62389" y="117634"/>
                    </a:cubicBezTo>
                    <a:lnTo>
                      <a:pt x="62389" y="117634"/>
                    </a:lnTo>
                    <a:lnTo>
                      <a:pt x="62389" y="117634"/>
                    </a:lnTo>
                    <a:lnTo>
                      <a:pt x="62389" y="117634"/>
                    </a:lnTo>
                    <a:close/>
                  </a:path>
                </a:pathLst>
              </a:custGeom>
              <a:solidFill>
                <a:srgbClr val="00E7C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7" name="Group 6">
            <a:extLst>
              <a:ext uri="{FF2B5EF4-FFF2-40B4-BE49-F238E27FC236}">
                <a16:creationId xmlns:a16="http://schemas.microsoft.com/office/drawing/2014/main" id="{444E7A2E-385B-4F5D-A2A5-3858596C8103}"/>
              </a:ext>
            </a:extLst>
          </p:cNvPr>
          <p:cNvGrpSpPr/>
          <p:nvPr/>
        </p:nvGrpSpPr>
        <p:grpSpPr>
          <a:xfrm>
            <a:off x="4075247" y="1443543"/>
            <a:ext cx="4059936" cy="5413782"/>
            <a:chOff x="-1693" y="1443543"/>
            <a:chExt cx="4059936" cy="5413782"/>
          </a:xfrm>
        </p:grpSpPr>
        <p:sp>
          <p:nvSpPr>
            <p:cNvPr id="77" name="Rectangle 76">
              <a:extLst>
                <a:ext uri="{FF2B5EF4-FFF2-40B4-BE49-F238E27FC236}">
                  <a16:creationId xmlns:a16="http://schemas.microsoft.com/office/drawing/2014/main" id="{B33EE547-D0FE-9740-B110-08DF2FB27554}"/>
                </a:ext>
              </a:extLst>
            </p:cNvPr>
            <p:cNvSpPr/>
            <p:nvPr/>
          </p:nvSpPr>
          <p:spPr bwMode="auto">
            <a:xfrm>
              <a:off x="-1693" y="2258052"/>
              <a:ext cx="4059936" cy="4599273"/>
            </a:xfrm>
            <a:prstGeom prst="rect">
              <a:avLst/>
            </a:prstGeom>
            <a:solidFill>
              <a:srgbClr val="2D2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8272"/>
                </a:solidFill>
                <a:effectLst/>
                <a:uLnTx/>
                <a:uFillTx/>
                <a:latin typeface="Segoe UI Semibold"/>
                <a:ea typeface="+mn-ea"/>
                <a:cs typeface="Segoe UI" pitchFamily="34" charset="0"/>
              </a:endParaRPr>
            </a:p>
          </p:txBody>
        </p:sp>
        <p:sp>
          <p:nvSpPr>
            <p:cNvPr id="35" name="Rectangle 34">
              <a:extLst>
                <a:ext uri="{FF2B5EF4-FFF2-40B4-BE49-F238E27FC236}">
                  <a16:creationId xmlns:a16="http://schemas.microsoft.com/office/drawing/2014/main" id="{4B3ECE68-B10F-4FF3-9BC9-1EFF2AFA9F5F}"/>
                </a:ext>
              </a:extLst>
            </p:cNvPr>
            <p:cNvSpPr/>
            <p:nvPr/>
          </p:nvSpPr>
          <p:spPr bwMode="auto">
            <a:xfrm>
              <a:off x="629243" y="3293417"/>
              <a:ext cx="2798064" cy="7891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Modernize Finance</a:t>
              </a:r>
            </a:p>
          </p:txBody>
        </p:sp>
        <p:sp>
          <p:nvSpPr>
            <p:cNvPr id="62" name="Rectangle 61">
              <a:extLst>
                <a:ext uri="{FF2B5EF4-FFF2-40B4-BE49-F238E27FC236}">
                  <a16:creationId xmlns:a16="http://schemas.microsoft.com/office/drawing/2014/main" id="{8B036B1D-55EF-4C8B-A356-AC99AEA79EB7}"/>
                </a:ext>
              </a:extLst>
            </p:cNvPr>
            <p:cNvSpPr/>
            <p:nvPr/>
          </p:nvSpPr>
          <p:spPr bwMode="auto">
            <a:xfrm>
              <a:off x="629243" y="4352812"/>
              <a:ext cx="2798064" cy="21821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rPr>
                <a:t>Transform</a:t>
              </a:r>
              <a:r>
                <a:rPr kumimoji="0" lang="en-US" sz="1600" b="0" i="0" u="none" strike="noStrike" kern="1200" cap="none" spc="0" normalizeH="0" noProof="0">
                  <a:ln>
                    <a:noFill/>
                  </a:ln>
                  <a:solidFill>
                    <a:srgbClr val="FFFFFF"/>
                  </a:solidFill>
                  <a:effectLst/>
                  <a:uLnTx/>
                  <a:uFillTx/>
                  <a:latin typeface="Segoe UI"/>
                  <a:ea typeface="Segoe UI" pitchFamily="34" charset="0"/>
                  <a:cs typeface="Segoe UI"/>
                </a:rPr>
                <a:t> finance with automated and integrated global financial processes leveraging predictive analytics and machine learning for intelligent recommendations.</a:t>
              </a: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rPr>
                <a:t> </a:t>
              </a:r>
            </a:p>
          </p:txBody>
        </p:sp>
        <p:sp>
          <p:nvSpPr>
            <p:cNvPr id="32" name="Oval 31">
              <a:extLst>
                <a:ext uri="{FF2B5EF4-FFF2-40B4-BE49-F238E27FC236}">
                  <a16:creationId xmlns:a16="http://schemas.microsoft.com/office/drawing/2014/main" id="{B6D68CE0-4577-0D4B-9C45-2FF1231FA695}"/>
                </a:ext>
              </a:extLst>
            </p:cNvPr>
            <p:cNvSpPr/>
            <p:nvPr/>
          </p:nvSpPr>
          <p:spPr bwMode="auto">
            <a:xfrm>
              <a:off x="1194315" y="1443543"/>
              <a:ext cx="1645920" cy="164592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6" name="Picture 55">
              <a:extLst>
                <a:ext uri="{FF2B5EF4-FFF2-40B4-BE49-F238E27FC236}">
                  <a16:creationId xmlns:a16="http://schemas.microsoft.com/office/drawing/2014/main" id="{982D54FF-DDA7-49AF-9710-290EC8C9668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68970" y="1859255"/>
              <a:ext cx="696610" cy="814496"/>
            </a:xfrm>
            <a:prstGeom prst="rect">
              <a:avLst/>
            </a:prstGeom>
          </p:spPr>
        </p:pic>
      </p:grpSp>
    </p:spTree>
    <p:extLst>
      <p:ext uri="{BB962C8B-B14F-4D97-AF65-F5344CB8AC3E}">
        <p14:creationId xmlns:p14="http://schemas.microsoft.com/office/powerpoint/2010/main" val="3204072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1BFAC447-534B-483E-AD06-0553049FE2CB}"/>
              </a:ext>
            </a:extLst>
          </p:cNvPr>
          <p:cNvPicPr>
            <a:picLocks noChangeAspect="1"/>
          </p:cNvPicPr>
          <p:nvPr/>
        </p:nvPicPr>
        <p:blipFill rotWithShape="1">
          <a:blip r:embed="rId3">
            <a:extLst>
              <a:ext uri="{28A0092B-C50C-407E-A947-70E740481C1C}">
                <a14:useLocalDpi xmlns:a14="http://schemas.microsoft.com/office/drawing/2010/main" val="0"/>
              </a:ext>
            </a:extLst>
          </a:blip>
          <a:srcRect t="3519" b="5774"/>
          <a:stretch/>
        </p:blipFill>
        <p:spPr>
          <a:xfrm>
            <a:off x="0" y="0"/>
            <a:ext cx="12192000" cy="6858000"/>
          </a:xfrm>
          <a:prstGeom prst="rect">
            <a:avLst/>
          </a:prstGeom>
        </p:spPr>
      </p:pic>
      <p:sp>
        <p:nvSpPr>
          <p:cNvPr id="26" name="Rectangle 25">
            <a:extLst>
              <a:ext uri="{FF2B5EF4-FFF2-40B4-BE49-F238E27FC236}">
                <a16:creationId xmlns:a16="http://schemas.microsoft.com/office/drawing/2014/main" id="{7D62E889-7A74-4B0A-A9F9-34BEDFE9F7F9}"/>
              </a:ext>
            </a:extLst>
          </p:cNvPr>
          <p:cNvSpPr/>
          <p:nvPr/>
        </p:nvSpPr>
        <p:spPr>
          <a:xfrm>
            <a:off x="0" y="0"/>
            <a:ext cx="12205774" cy="6858000"/>
          </a:xfrm>
          <a:prstGeom prst="rect">
            <a:avLst/>
          </a:prstGeom>
          <a:solidFill>
            <a:srgbClr val="505050">
              <a:alpha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5" name="Rectangle 84">
            <a:extLst>
              <a:ext uri="{FF2B5EF4-FFF2-40B4-BE49-F238E27FC236}">
                <a16:creationId xmlns:a16="http://schemas.microsoft.com/office/drawing/2014/main" id="{9FA067FF-2F56-4768-8085-5FA87023359E}"/>
              </a:ext>
            </a:extLst>
          </p:cNvPr>
          <p:cNvSpPr/>
          <p:nvPr/>
        </p:nvSpPr>
        <p:spPr>
          <a:xfrm>
            <a:off x="589499" y="5896173"/>
            <a:ext cx="11026776" cy="492443"/>
          </a:xfrm>
          <a:prstGeom prst="rect">
            <a:avLst/>
          </a:prstGeom>
          <a:solidFill>
            <a:schemeClr val="bg1">
              <a:alpha val="0"/>
            </a:schemeClr>
          </a:solidFill>
          <a:ln w="10795" cap="flat" cmpd="sng" algn="ctr">
            <a:noFill/>
            <a:prstDash val="solid"/>
          </a:ln>
          <a:effectLst/>
        </p:spPr>
        <p:txBody>
          <a:bodyPr spcFirstLastPara="0" vert="horz" wrap="square" lIns="0" tIns="91440" rIns="0" bIns="91440" numCol="1" spcCol="1270" anchor="ctr" anchorCtr="0">
            <a:sp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kumimoji="0" lang="en-US" sz="2000" b="1" i="0" u="none" strike="noStrike" kern="120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Power Platform</a:t>
            </a:r>
          </a:p>
        </p:txBody>
      </p:sp>
      <p:sp>
        <p:nvSpPr>
          <p:cNvPr id="86" name="Arc 85">
            <a:extLst>
              <a:ext uri="{FF2B5EF4-FFF2-40B4-BE49-F238E27FC236}">
                <a16:creationId xmlns:a16="http://schemas.microsoft.com/office/drawing/2014/main" id="{66397D9F-E373-464B-AB6D-864DA35FAF61}"/>
              </a:ext>
            </a:extLst>
          </p:cNvPr>
          <p:cNvSpPr/>
          <p:nvPr/>
        </p:nvSpPr>
        <p:spPr>
          <a:xfrm>
            <a:off x="4335806" y="2062326"/>
            <a:ext cx="3508403" cy="3508402"/>
          </a:xfrm>
          <a:prstGeom prst="arc">
            <a:avLst>
              <a:gd name="adj1" fmla="val 16146552"/>
              <a:gd name="adj2" fmla="val 4864133"/>
            </a:avLst>
          </a:prstGeom>
          <a:noFill/>
          <a:ln w="28575" cap="flat" cmpd="sng" algn="ctr">
            <a:solidFill>
              <a:schemeClr val="accent2"/>
            </a:solidFill>
            <a:prstDash val="solid"/>
            <a:headEnd type="none" w="sm" len="sm"/>
            <a:tailEnd type="none" w="sm" len="sm"/>
          </a:ln>
          <a:effectLst/>
        </p:spPr>
      </p:sp>
      <p:sp>
        <p:nvSpPr>
          <p:cNvPr id="87" name="Arc 86">
            <a:extLst>
              <a:ext uri="{FF2B5EF4-FFF2-40B4-BE49-F238E27FC236}">
                <a16:creationId xmlns:a16="http://schemas.microsoft.com/office/drawing/2014/main" id="{041B7BA2-5ECB-4C79-B48D-B594FDE30FA1}"/>
              </a:ext>
            </a:extLst>
          </p:cNvPr>
          <p:cNvSpPr/>
          <p:nvPr/>
        </p:nvSpPr>
        <p:spPr>
          <a:xfrm flipH="1">
            <a:off x="4335806" y="2062326"/>
            <a:ext cx="3508403" cy="3508402"/>
          </a:xfrm>
          <a:prstGeom prst="arc">
            <a:avLst>
              <a:gd name="adj1" fmla="val 16086746"/>
              <a:gd name="adj2" fmla="val 4905632"/>
            </a:avLst>
          </a:prstGeom>
          <a:noFill/>
          <a:ln w="28575" cap="flat" cmpd="sng" algn="ctr">
            <a:solidFill>
              <a:schemeClr val="accent2"/>
            </a:solidFill>
            <a:prstDash val="solid"/>
            <a:headEnd type="none" w="sm" len="sm"/>
            <a:tailEnd type="none" w="sm" len="sm"/>
          </a:ln>
          <a:effectLst/>
        </p:spPr>
      </p:sp>
      <p:grpSp>
        <p:nvGrpSpPr>
          <p:cNvPr id="95" name="Group 94">
            <a:extLst>
              <a:ext uri="{FF2B5EF4-FFF2-40B4-BE49-F238E27FC236}">
                <a16:creationId xmlns:a16="http://schemas.microsoft.com/office/drawing/2014/main" id="{8D228C10-F746-4B70-9EC5-0C3158C58652}"/>
              </a:ext>
            </a:extLst>
          </p:cNvPr>
          <p:cNvGrpSpPr/>
          <p:nvPr/>
        </p:nvGrpSpPr>
        <p:grpSpPr>
          <a:xfrm>
            <a:off x="5824308" y="5281224"/>
            <a:ext cx="539337" cy="539337"/>
            <a:chOff x="5779322" y="5244548"/>
            <a:chExt cx="539337" cy="539337"/>
          </a:xfrm>
        </p:grpSpPr>
        <p:sp>
          <p:nvSpPr>
            <p:cNvPr id="144" name="Oval 143">
              <a:extLst>
                <a:ext uri="{FF2B5EF4-FFF2-40B4-BE49-F238E27FC236}">
                  <a16:creationId xmlns:a16="http://schemas.microsoft.com/office/drawing/2014/main" id="{8C95B21B-B39F-489D-9DD3-927D918D7F59}"/>
                </a:ext>
              </a:extLst>
            </p:cNvPr>
            <p:cNvSpPr/>
            <p:nvPr/>
          </p:nvSpPr>
          <p:spPr>
            <a:xfrm flipH="1">
              <a:off x="5779322" y="5244548"/>
              <a:ext cx="539337" cy="539337"/>
            </a:xfrm>
            <a:prstGeom prst="ellipse">
              <a:avLst/>
            </a:prstGeom>
            <a:solidFill>
              <a:srgbClr val="30E5D0"/>
            </a:solidFill>
            <a:ln w="10795" cap="flat" cmpd="sng" algn="ctr">
              <a:noFill/>
              <a:prstDash val="solid"/>
            </a:ln>
            <a:effectLst>
              <a:outerShdw blurRad="190500" dist="38100" dir="2700000" algn="tl" rotWithShape="0">
                <a:prstClr val="black">
                  <a:alpha val="25000"/>
                </a:prstClr>
              </a:outerShdw>
            </a:effectLst>
          </p:spPr>
        </p:sp>
        <p:grpSp>
          <p:nvGrpSpPr>
            <p:cNvPr id="145" name="Group 144">
              <a:extLst>
                <a:ext uri="{FF2B5EF4-FFF2-40B4-BE49-F238E27FC236}">
                  <a16:creationId xmlns:a16="http://schemas.microsoft.com/office/drawing/2014/main" id="{311EB298-5F23-417E-972A-0F6362413BD2}"/>
                </a:ext>
              </a:extLst>
            </p:cNvPr>
            <p:cNvGrpSpPr/>
            <p:nvPr/>
          </p:nvGrpSpPr>
          <p:grpSpPr>
            <a:xfrm>
              <a:off x="5905463" y="5374242"/>
              <a:ext cx="287108" cy="279955"/>
              <a:chOff x="11714105" y="1452088"/>
              <a:chExt cx="462104" cy="450590"/>
            </a:xfrm>
          </p:grpSpPr>
          <p:sp>
            <p:nvSpPr>
              <p:cNvPr id="146" name="Freeform: Shape 145">
                <a:extLst>
                  <a:ext uri="{FF2B5EF4-FFF2-40B4-BE49-F238E27FC236}">
                    <a16:creationId xmlns:a16="http://schemas.microsoft.com/office/drawing/2014/main" id="{E59E6E56-9456-44F2-A6C9-7F36B190630A}"/>
                  </a:ext>
                </a:extLst>
              </p:cNvPr>
              <p:cNvSpPr/>
              <p:nvPr/>
            </p:nvSpPr>
            <p:spPr>
              <a:xfrm>
                <a:off x="11717825" y="1638205"/>
                <a:ext cx="438152" cy="157243"/>
              </a:xfrm>
              <a:custGeom>
                <a:avLst/>
                <a:gdLst>
                  <a:gd name="connsiteX0" fmla="*/ 127072 w 656164"/>
                  <a:gd name="connsiteY0" fmla="*/ 0 h 235485"/>
                  <a:gd name="connsiteX1" fmla="*/ 331882 w 656164"/>
                  <a:gd name="connsiteY1" fmla="*/ 107545 h 235485"/>
                  <a:gd name="connsiteX2" fmla="*/ 532921 w 656164"/>
                  <a:gd name="connsiteY2" fmla="*/ 1981 h 235485"/>
                  <a:gd name="connsiteX3" fmla="*/ 656164 w 656164"/>
                  <a:gd name="connsiteY3" fmla="*/ 65744 h 235485"/>
                  <a:gd name="connsiteX4" fmla="*/ 328082 w 656164"/>
                  <a:gd name="connsiteY4" fmla="*/ 235485 h 235485"/>
                  <a:gd name="connsiteX5" fmla="*/ 0 w 656164"/>
                  <a:gd name="connsiteY5" fmla="*/ 65744 h 235485"/>
                  <a:gd name="connsiteX0" fmla="*/ 331882 w 656164"/>
                  <a:gd name="connsiteY0" fmla="*/ 107545 h 291886"/>
                  <a:gd name="connsiteX1" fmla="*/ 532921 w 656164"/>
                  <a:gd name="connsiteY1" fmla="*/ 1981 h 291886"/>
                  <a:gd name="connsiteX2" fmla="*/ 656164 w 656164"/>
                  <a:gd name="connsiteY2" fmla="*/ 65744 h 291886"/>
                  <a:gd name="connsiteX3" fmla="*/ 328082 w 656164"/>
                  <a:gd name="connsiteY3" fmla="*/ 235485 h 291886"/>
                  <a:gd name="connsiteX4" fmla="*/ 0 w 656164"/>
                  <a:gd name="connsiteY4" fmla="*/ 65744 h 291886"/>
                  <a:gd name="connsiteX5" fmla="*/ 127072 w 656164"/>
                  <a:gd name="connsiteY5" fmla="*/ 0 h 291886"/>
                  <a:gd name="connsiteX6" fmla="*/ 516219 w 656164"/>
                  <a:gd name="connsiteY6" fmla="*/ 291885 h 291886"/>
                  <a:gd name="connsiteX0" fmla="*/ 331882 w 656164"/>
                  <a:gd name="connsiteY0" fmla="*/ 107545 h 235485"/>
                  <a:gd name="connsiteX1" fmla="*/ 532921 w 656164"/>
                  <a:gd name="connsiteY1" fmla="*/ 1981 h 235485"/>
                  <a:gd name="connsiteX2" fmla="*/ 656164 w 656164"/>
                  <a:gd name="connsiteY2" fmla="*/ 65744 h 235485"/>
                  <a:gd name="connsiteX3" fmla="*/ 328082 w 656164"/>
                  <a:gd name="connsiteY3" fmla="*/ 235485 h 235485"/>
                  <a:gd name="connsiteX4" fmla="*/ 0 w 656164"/>
                  <a:gd name="connsiteY4" fmla="*/ 65744 h 235485"/>
                  <a:gd name="connsiteX5" fmla="*/ 127072 w 656164"/>
                  <a:gd name="connsiteY5" fmla="*/ 0 h 235485"/>
                  <a:gd name="connsiteX0" fmla="*/ 532921 w 656164"/>
                  <a:gd name="connsiteY0" fmla="*/ 1981 h 235485"/>
                  <a:gd name="connsiteX1" fmla="*/ 656164 w 656164"/>
                  <a:gd name="connsiteY1" fmla="*/ 65744 h 235485"/>
                  <a:gd name="connsiteX2" fmla="*/ 328082 w 656164"/>
                  <a:gd name="connsiteY2" fmla="*/ 235485 h 235485"/>
                  <a:gd name="connsiteX3" fmla="*/ 0 w 656164"/>
                  <a:gd name="connsiteY3" fmla="*/ 65744 h 235485"/>
                  <a:gd name="connsiteX4" fmla="*/ 127072 w 656164"/>
                  <a:gd name="connsiteY4" fmla="*/ 0 h 235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6164" h="235485">
                    <a:moveTo>
                      <a:pt x="532921" y="1981"/>
                    </a:moveTo>
                    <a:lnTo>
                      <a:pt x="656164" y="65744"/>
                    </a:lnTo>
                    <a:lnTo>
                      <a:pt x="328082" y="235485"/>
                    </a:lnTo>
                    <a:lnTo>
                      <a:pt x="0" y="65744"/>
                    </a:lnTo>
                    <a:lnTo>
                      <a:pt x="127072" y="0"/>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7" name="Freeform: Shape 146">
                <a:extLst>
                  <a:ext uri="{FF2B5EF4-FFF2-40B4-BE49-F238E27FC236}">
                    <a16:creationId xmlns:a16="http://schemas.microsoft.com/office/drawing/2014/main" id="{419BF92D-6143-4F31-97B4-5A8F2F5B27B4}"/>
                  </a:ext>
                </a:extLst>
              </p:cNvPr>
              <p:cNvSpPr/>
              <p:nvPr/>
            </p:nvSpPr>
            <p:spPr>
              <a:xfrm>
                <a:off x="11716068" y="1452088"/>
                <a:ext cx="460141" cy="251849"/>
              </a:xfrm>
              <a:custGeom>
                <a:avLst/>
                <a:gdLst>
                  <a:gd name="connsiteX0" fmla="*/ 344549 w 684032"/>
                  <a:gd name="connsiteY0" fmla="*/ 377167 h 367350"/>
                  <a:gd name="connsiteX1" fmla="*/ 336949 w 684032"/>
                  <a:gd name="connsiteY1" fmla="*/ 375901 h 367350"/>
                  <a:gd name="connsiteX2" fmla="*/ 8867 w 684032"/>
                  <a:gd name="connsiteY2" fmla="*/ 203626 h 367350"/>
                  <a:gd name="connsiteX3" fmla="*/ 0 w 684032"/>
                  <a:gd name="connsiteY3" fmla="*/ 188425 h 367350"/>
                  <a:gd name="connsiteX4" fmla="*/ 8867 w 684032"/>
                  <a:gd name="connsiteY4" fmla="*/ 174491 h 367350"/>
                  <a:gd name="connsiteX5" fmla="*/ 336949 w 684032"/>
                  <a:gd name="connsiteY5" fmla="*/ 950 h 367350"/>
                  <a:gd name="connsiteX6" fmla="*/ 352150 w 684032"/>
                  <a:gd name="connsiteY6" fmla="*/ 950 h 367350"/>
                  <a:gd name="connsiteX7" fmla="*/ 680232 w 684032"/>
                  <a:gd name="connsiteY7" fmla="*/ 173225 h 367350"/>
                  <a:gd name="connsiteX8" fmla="*/ 689099 w 684032"/>
                  <a:gd name="connsiteY8" fmla="*/ 187159 h 367350"/>
                  <a:gd name="connsiteX9" fmla="*/ 680232 w 684032"/>
                  <a:gd name="connsiteY9" fmla="*/ 201093 h 367350"/>
                  <a:gd name="connsiteX10" fmla="*/ 352150 w 684032"/>
                  <a:gd name="connsiteY10" fmla="*/ 375901 h 367350"/>
                  <a:gd name="connsiteX11" fmla="*/ 344549 w 684032"/>
                  <a:gd name="connsiteY11" fmla="*/ 377167 h 367350"/>
                  <a:gd name="connsiteX12" fmla="*/ 50669 w 684032"/>
                  <a:gd name="connsiteY12" fmla="*/ 188425 h 367350"/>
                  <a:gd name="connsiteX13" fmla="*/ 343283 w 684032"/>
                  <a:gd name="connsiteY13" fmla="*/ 342966 h 367350"/>
                  <a:gd name="connsiteX14" fmla="*/ 635896 w 684032"/>
                  <a:gd name="connsiteY14" fmla="*/ 188425 h 367350"/>
                  <a:gd name="connsiteX15" fmla="*/ 344549 w 684032"/>
                  <a:gd name="connsiteY15" fmla="*/ 33885 h 367350"/>
                  <a:gd name="connsiteX16" fmla="*/ 50669 w 684032"/>
                  <a:gd name="connsiteY16" fmla="*/ 188425 h 367350"/>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343283 w 689098"/>
                  <a:gd name="connsiteY13" fmla="*/ 342966 h 377168"/>
                  <a:gd name="connsiteX14" fmla="*/ 635896 w 689098"/>
                  <a:gd name="connsiteY14" fmla="*/ 188425 h 377168"/>
                  <a:gd name="connsiteX15" fmla="*/ 344549 w 689098"/>
                  <a:gd name="connsiteY15" fmla="*/ 33885 h 377168"/>
                  <a:gd name="connsiteX16" fmla="*/ 235007 w 689098"/>
                  <a:gd name="connsiteY16" fmla="*/ 37276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3283 w 689098"/>
                  <a:gd name="connsiteY14" fmla="*/ 342966 h 377168"/>
                  <a:gd name="connsiteX15" fmla="*/ 635896 w 689098"/>
                  <a:gd name="connsiteY15" fmla="*/ 188425 h 377168"/>
                  <a:gd name="connsiteX16" fmla="*/ 344549 w 689098"/>
                  <a:gd name="connsiteY16"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635896 w 689098"/>
                  <a:gd name="connsiteY14" fmla="*/ 188425 h 377168"/>
                  <a:gd name="connsiteX15" fmla="*/ 344549 w 689098"/>
                  <a:gd name="connsiteY15"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4549 w 689098"/>
                  <a:gd name="connsiteY14"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0" fmla="*/ 344549 w 689098"/>
                  <a:gd name="connsiteY0" fmla="*/ 377167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9098" h="377168">
                    <a:moveTo>
                      <a:pt x="344549" y="377167"/>
                    </a:moveTo>
                    <a:lnTo>
                      <a:pt x="336949" y="375901"/>
                    </a:lnTo>
                    <a:lnTo>
                      <a:pt x="8867" y="203626"/>
                    </a:lnTo>
                    <a:cubicBezTo>
                      <a:pt x="3800" y="199826"/>
                      <a:pt x="0" y="194759"/>
                      <a:pt x="0" y="188425"/>
                    </a:cubicBezTo>
                    <a:cubicBezTo>
                      <a:pt x="0" y="182092"/>
                      <a:pt x="3800" y="177025"/>
                      <a:pt x="8867" y="174491"/>
                    </a:cubicBezTo>
                    <a:lnTo>
                      <a:pt x="336949" y="950"/>
                    </a:lnTo>
                    <a:cubicBezTo>
                      <a:pt x="342016" y="-317"/>
                      <a:pt x="347083" y="-317"/>
                      <a:pt x="352150" y="950"/>
                    </a:cubicBezTo>
                    <a:lnTo>
                      <a:pt x="680232" y="173225"/>
                    </a:lnTo>
                    <a:cubicBezTo>
                      <a:pt x="685299" y="175758"/>
                      <a:pt x="689099" y="182092"/>
                      <a:pt x="689099" y="187159"/>
                    </a:cubicBezTo>
                    <a:cubicBezTo>
                      <a:pt x="689099" y="192226"/>
                      <a:pt x="685299" y="198559"/>
                      <a:pt x="680232" y="201093"/>
                    </a:cubicBezTo>
                    <a:lnTo>
                      <a:pt x="352150" y="375901"/>
                    </a:lnTo>
                    <a:cubicBezTo>
                      <a:pt x="349616" y="377167"/>
                      <a:pt x="347083" y="377167"/>
                      <a:pt x="344549" y="377167"/>
                    </a:cubicBez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8" name="Freeform: Shape 147">
                <a:extLst>
                  <a:ext uri="{FF2B5EF4-FFF2-40B4-BE49-F238E27FC236}">
                    <a16:creationId xmlns:a16="http://schemas.microsoft.com/office/drawing/2014/main" id="{E975CC30-D678-4322-9E0E-F14B0D0E543F}"/>
                  </a:ext>
                </a:extLst>
              </p:cNvPr>
              <p:cNvSpPr/>
              <p:nvPr/>
            </p:nvSpPr>
            <p:spPr>
              <a:xfrm>
                <a:off x="11714105" y="1722515"/>
                <a:ext cx="462104" cy="180163"/>
              </a:xfrm>
              <a:custGeom>
                <a:avLst/>
                <a:gdLst>
                  <a:gd name="connsiteX0" fmla="*/ 344549 w 684032"/>
                  <a:gd name="connsiteY0" fmla="*/ 377167 h 367350"/>
                  <a:gd name="connsiteX1" fmla="*/ 336949 w 684032"/>
                  <a:gd name="connsiteY1" fmla="*/ 375901 h 367350"/>
                  <a:gd name="connsiteX2" fmla="*/ 8867 w 684032"/>
                  <a:gd name="connsiteY2" fmla="*/ 203626 h 367350"/>
                  <a:gd name="connsiteX3" fmla="*/ 0 w 684032"/>
                  <a:gd name="connsiteY3" fmla="*/ 188425 h 367350"/>
                  <a:gd name="connsiteX4" fmla="*/ 8867 w 684032"/>
                  <a:gd name="connsiteY4" fmla="*/ 174491 h 367350"/>
                  <a:gd name="connsiteX5" fmla="*/ 336949 w 684032"/>
                  <a:gd name="connsiteY5" fmla="*/ 950 h 367350"/>
                  <a:gd name="connsiteX6" fmla="*/ 352150 w 684032"/>
                  <a:gd name="connsiteY6" fmla="*/ 950 h 367350"/>
                  <a:gd name="connsiteX7" fmla="*/ 680232 w 684032"/>
                  <a:gd name="connsiteY7" fmla="*/ 173225 h 367350"/>
                  <a:gd name="connsiteX8" fmla="*/ 689099 w 684032"/>
                  <a:gd name="connsiteY8" fmla="*/ 187159 h 367350"/>
                  <a:gd name="connsiteX9" fmla="*/ 680232 w 684032"/>
                  <a:gd name="connsiteY9" fmla="*/ 201093 h 367350"/>
                  <a:gd name="connsiteX10" fmla="*/ 352150 w 684032"/>
                  <a:gd name="connsiteY10" fmla="*/ 375901 h 367350"/>
                  <a:gd name="connsiteX11" fmla="*/ 344549 w 684032"/>
                  <a:gd name="connsiteY11" fmla="*/ 377167 h 367350"/>
                  <a:gd name="connsiteX12" fmla="*/ 50669 w 684032"/>
                  <a:gd name="connsiteY12" fmla="*/ 188425 h 367350"/>
                  <a:gd name="connsiteX13" fmla="*/ 343283 w 684032"/>
                  <a:gd name="connsiteY13" fmla="*/ 342966 h 367350"/>
                  <a:gd name="connsiteX14" fmla="*/ 635896 w 684032"/>
                  <a:gd name="connsiteY14" fmla="*/ 188425 h 367350"/>
                  <a:gd name="connsiteX15" fmla="*/ 344549 w 684032"/>
                  <a:gd name="connsiteY15" fmla="*/ 33885 h 367350"/>
                  <a:gd name="connsiteX16" fmla="*/ 50669 w 684032"/>
                  <a:gd name="connsiteY16" fmla="*/ 188425 h 367350"/>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343283 w 689098"/>
                  <a:gd name="connsiteY13" fmla="*/ 342966 h 377168"/>
                  <a:gd name="connsiteX14" fmla="*/ 635896 w 689098"/>
                  <a:gd name="connsiteY14" fmla="*/ 188425 h 377168"/>
                  <a:gd name="connsiteX15" fmla="*/ 344549 w 689098"/>
                  <a:gd name="connsiteY15" fmla="*/ 33885 h 377168"/>
                  <a:gd name="connsiteX16" fmla="*/ 235007 w 689098"/>
                  <a:gd name="connsiteY16" fmla="*/ 37276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3283 w 689098"/>
                  <a:gd name="connsiteY14" fmla="*/ 342966 h 377168"/>
                  <a:gd name="connsiteX15" fmla="*/ 635896 w 689098"/>
                  <a:gd name="connsiteY15" fmla="*/ 188425 h 377168"/>
                  <a:gd name="connsiteX16" fmla="*/ 344549 w 689098"/>
                  <a:gd name="connsiteY16"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635896 w 689098"/>
                  <a:gd name="connsiteY14" fmla="*/ 188425 h 377168"/>
                  <a:gd name="connsiteX15" fmla="*/ 344549 w 689098"/>
                  <a:gd name="connsiteY15"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4549 w 689098"/>
                  <a:gd name="connsiteY14"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0" fmla="*/ 344549 w 689098"/>
                  <a:gd name="connsiteY0" fmla="*/ 377167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0" fmla="*/ 347488 w 692037"/>
                  <a:gd name="connsiteY0" fmla="*/ 377167 h 377168"/>
                  <a:gd name="connsiteX1" fmla="*/ 339888 w 692037"/>
                  <a:gd name="connsiteY1" fmla="*/ 375901 h 377168"/>
                  <a:gd name="connsiteX2" fmla="*/ 11806 w 692037"/>
                  <a:gd name="connsiteY2" fmla="*/ 203626 h 377168"/>
                  <a:gd name="connsiteX3" fmla="*/ 2939 w 692037"/>
                  <a:gd name="connsiteY3" fmla="*/ 188425 h 377168"/>
                  <a:gd name="connsiteX4" fmla="*/ 11806 w 692037"/>
                  <a:gd name="connsiteY4" fmla="*/ 174491 h 377168"/>
                  <a:gd name="connsiteX5" fmla="*/ 120659 w 692037"/>
                  <a:gd name="connsiteY5" fmla="*/ 112157 h 377168"/>
                  <a:gd name="connsiteX6" fmla="*/ 339888 w 692037"/>
                  <a:gd name="connsiteY6" fmla="*/ 950 h 377168"/>
                  <a:gd name="connsiteX7" fmla="*/ 355089 w 692037"/>
                  <a:gd name="connsiteY7" fmla="*/ 950 h 377168"/>
                  <a:gd name="connsiteX8" fmla="*/ 683171 w 692037"/>
                  <a:gd name="connsiteY8" fmla="*/ 173225 h 377168"/>
                  <a:gd name="connsiteX9" fmla="*/ 692038 w 692037"/>
                  <a:gd name="connsiteY9" fmla="*/ 187159 h 377168"/>
                  <a:gd name="connsiteX10" fmla="*/ 683171 w 692037"/>
                  <a:gd name="connsiteY10" fmla="*/ 201093 h 377168"/>
                  <a:gd name="connsiteX11" fmla="*/ 355089 w 692037"/>
                  <a:gd name="connsiteY11" fmla="*/ 375901 h 377168"/>
                  <a:gd name="connsiteX12" fmla="*/ 347488 w 692037"/>
                  <a:gd name="connsiteY12" fmla="*/ 377167 h 377168"/>
                  <a:gd name="connsiteX0" fmla="*/ 347488 w 692037"/>
                  <a:gd name="connsiteY0" fmla="*/ 377167 h 377168"/>
                  <a:gd name="connsiteX1" fmla="*/ 339888 w 692037"/>
                  <a:gd name="connsiteY1" fmla="*/ 375901 h 377168"/>
                  <a:gd name="connsiteX2" fmla="*/ 11806 w 692037"/>
                  <a:gd name="connsiteY2" fmla="*/ 203626 h 377168"/>
                  <a:gd name="connsiteX3" fmla="*/ 2939 w 692037"/>
                  <a:gd name="connsiteY3" fmla="*/ 188425 h 377168"/>
                  <a:gd name="connsiteX4" fmla="*/ 11806 w 692037"/>
                  <a:gd name="connsiteY4" fmla="*/ 174491 h 377168"/>
                  <a:gd name="connsiteX5" fmla="*/ 120659 w 692037"/>
                  <a:gd name="connsiteY5" fmla="*/ 112157 h 377168"/>
                  <a:gd name="connsiteX6" fmla="*/ 339888 w 692037"/>
                  <a:gd name="connsiteY6" fmla="*/ 950 h 377168"/>
                  <a:gd name="connsiteX7" fmla="*/ 355089 w 692037"/>
                  <a:gd name="connsiteY7" fmla="*/ 950 h 377168"/>
                  <a:gd name="connsiteX8" fmla="*/ 567116 w 692037"/>
                  <a:gd name="connsiteY8" fmla="*/ 107356 h 377168"/>
                  <a:gd name="connsiteX9" fmla="*/ 683171 w 692037"/>
                  <a:gd name="connsiteY9" fmla="*/ 173225 h 377168"/>
                  <a:gd name="connsiteX10" fmla="*/ 692038 w 692037"/>
                  <a:gd name="connsiteY10" fmla="*/ 187159 h 377168"/>
                  <a:gd name="connsiteX11" fmla="*/ 683171 w 692037"/>
                  <a:gd name="connsiteY11" fmla="*/ 201093 h 377168"/>
                  <a:gd name="connsiteX12" fmla="*/ 355089 w 692037"/>
                  <a:gd name="connsiteY12" fmla="*/ 375901 h 377168"/>
                  <a:gd name="connsiteX13" fmla="*/ 347488 w 692037"/>
                  <a:gd name="connsiteY13" fmla="*/ 377167 h 377168"/>
                  <a:gd name="connsiteX0" fmla="*/ 355089 w 692037"/>
                  <a:gd name="connsiteY0" fmla="*/ 188 h 376406"/>
                  <a:gd name="connsiteX1" fmla="*/ 567116 w 692037"/>
                  <a:gd name="connsiteY1" fmla="*/ 106594 h 376406"/>
                  <a:gd name="connsiteX2" fmla="*/ 683171 w 692037"/>
                  <a:gd name="connsiteY2" fmla="*/ 172463 h 376406"/>
                  <a:gd name="connsiteX3" fmla="*/ 692038 w 692037"/>
                  <a:gd name="connsiteY3" fmla="*/ 186397 h 376406"/>
                  <a:gd name="connsiteX4" fmla="*/ 683171 w 692037"/>
                  <a:gd name="connsiteY4" fmla="*/ 200331 h 376406"/>
                  <a:gd name="connsiteX5" fmla="*/ 355089 w 692037"/>
                  <a:gd name="connsiteY5" fmla="*/ 375139 h 376406"/>
                  <a:gd name="connsiteX6" fmla="*/ 347488 w 692037"/>
                  <a:gd name="connsiteY6" fmla="*/ 376405 h 376406"/>
                  <a:gd name="connsiteX7" fmla="*/ 339888 w 692037"/>
                  <a:gd name="connsiteY7" fmla="*/ 375139 h 376406"/>
                  <a:gd name="connsiteX8" fmla="*/ 11806 w 692037"/>
                  <a:gd name="connsiteY8" fmla="*/ 202864 h 376406"/>
                  <a:gd name="connsiteX9" fmla="*/ 2939 w 692037"/>
                  <a:gd name="connsiteY9" fmla="*/ 187663 h 376406"/>
                  <a:gd name="connsiteX10" fmla="*/ 11806 w 692037"/>
                  <a:gd name="connsiteY10" fmla="*/ 173729 h 376406"/>
                  <a:gd name="connsiteX11" fmla="*/ 120659 w 692037"/>
                  <a:gd name="connsiteY11" fmla="*/ 111395 h 376406"/>
                  <a:gd name="connsiteX12" fmla="*/ 339888 w 692037"/>
                  <a:gd name="connsiteY12" fmla="*/ 188 h 376406"/>
                  <a:gd name="connsiteX13" fmla="*/ 539428 w 692037"/>
                  <a:gd name="connsiteY13" fmla="*/ 184528 h 376406"/>
                  <a:gd name="connsiteX0" fmla="*/ 355089 w 692037"/>
                  <a:gd name="connsiteY0" fmla="*/ 1 h 376219"/>
                  <a:gd name="connsiteX1" fmla="*/ 567116 w 692037"/>
                  <a:gd name="connsiteY1" fmla="*/ 106407 h 376219"/>
                  <a:gd name="connsiteX2" fmla="*/ 683171 w 692037"/>
                  <a:gd name="connsiteY2" fmla="*/ 172276 h 376219"/>
                  <a:gd name="connsiteX3" fmla="*/ 692038 w 692037"/>
                  <a:gd name="connsiteY3" fmla="*/ 186210 h 376219"/>
                  <a:gd name="connsiteX4" fmla="*/ 683171 w 692037"/>
                  <a:gd name="connsiteY4" fmla="*/ 200144 h 376219"/>
                  <a:gd name="connsiteX5" fmla="*/ 355089 w 692037"/>
                  <a:gd name="connsiteY5" fmla="*/ 374952 h 376219"/>
                  <a:gd name="connsiteX6" fmla="*/ 347488 w 692037"/>
                  <a:gd name="connsiteY6" fmla="*/ 376218 h 376219"/>
                  <a:gd name="connsiteX7" fmla="*/ 339888 w 692037"/>
                  <a:gd name="connsiteY7" fmla="*/ 374952 h 376219"/>
                  <a:gd name="connsiteX8" fmla="*/ 11806 w 692037"/>
                  <a:gd name="connsiteY8" fmla="*/ 202677 h 376219"/>
                  <a:gd name="connsiteX9" fmla="*/ 2939 w 692037"/>
                  <a:gd name="connsiteY9" fmla="*/ 187476 h 376219"/>
                  <a:gd name="connsiteX10" fmla="*/ 11806 w 692037"/>
                  <a:gd name="connsiteY10" fmla="*/ 173542 h 376219"/>
                  <a:gd name="connsiteX11" fmla="*/ 120659 w 692037"/>
                  <a:gd name="connsiteY11" fmla="*/ 111208 h 376219"/>
                  <a:gd name="connsiteX12" fmla="*/ 339888 w 692037"/>
                  <a:gd name="connsiteY12" fmla="*/ 1 h 376219"/>
                  <a:gd name="connsiteX0" fmla="*/ 355089 w 692037"/>
                  <a:gd name="connsiteY0" fmla="*/ 1 h 376219"/>
                  <a:gd name="connsiteX1" fmla="*/ 567116 w 692037"/>
                  <a:gd name="connsiteY1" fmla="*/ 106407 h 376219"/>
                  <a:gd name="connsiteX2" fmla="*/ 683171 w 692037"/>
                  <a:gd name="connsiteY2" fmla="*/ 172276 h 376219"/>
                  <a:gd name="connsiteX3" fmla="*/ 692038 w 692037"/>
                  <a:gd name="connsiteY3" fmla="*/ 186210 h 376219"/>
                  <a:gd name="connsiteX4" fmla="*/ 683171 w 692037"/>
                  <a:gd name="connsiteY4" fmla="*/ 200144 h 376219"/>
                  <a:gd name="connsiteX5" fmla="*/ 355089 w 692037"/>
                  <a:gd name="connsiteY5" fmla="*/ 374952 h 376219"/>
                  <a:gd name="connsiteX6" fmla="*/ 347488 w 692037"/>
                  <a:gd name="connsiteY6" fmla="*/ 376218 h 376219"/>
                  <a:gd name="connsiteX7" fmla="*/ 339888 w 692037"/>
                  <a:gd name="connsiteY7" fmla="*/ 374952 h 376219"/>
                  <a:gd name="connsiteX8" fmla="*/ 11806 w 692037"/>
                  <a:gd name="connsiteY8" fmla="*/ 202677 h 376219"/>
                  <a:gd name="connsiteX9" fmla="*/ 2939 w 692037"/>
                  <a:gd name="connsiteY9" fmla="*/ 187476 h 376219"/>
                  <a:gd name="connsiteX10" fmla="*/ 11806 w 692037"/>
                  <a:gd name="connsiteY10" fmla="*/ 173542 h 376219"/>
                  <a:gd name="connsiteX11" fmla="*/ 120659 w 692037"/>
                  <a:gd name="connsiteY11" fmla="*/ 111208 h 376219"/>
                  <a:gd name="connsiteX0" fmla="*/ 567116 w 692037"/>
                  <a:gd name="connsiteY0" fmla="*/ 0 h 269812"/>
                  <a:gd name="connsiteX1" fmla="*/ 683171 w 692037"/>
                  <a:gd name="connsiteY1" fmla="*/ 65869 h 269812"/>
                  <a:gd name="connsiteX2" fmla="*/ 692038 w 692037"/>
                  <a:gd name="connsiteY2" fmla="*/ 79803 h 269812"/>
                  <a:gd name="connsiteX3" fmla="*/ 683171 w 692037"/>
                  <a:gd name="connsiteY3" fmla="*/ 93737 h 269812"/>
                  <a:gd name="connsiteX4" fmla="*/ 355089 w 692037"/>
                  <a:gd name="connsiteY4" fmla="*/ 268545 h 269812"/>
                  <a:gd name="connsiteX5" fmla="*/ 347488 w 692037"/>
                  <a:gd name="connsiteY5" fmla="*/ 269811 h 269812"/>
                  <a:gd name="connsiteX6" fmla="*/ 339888 w 692037"/>
                  <a:gd name="connsiteY6" fmla="*/ 268545 h 269812"/>
                  <a:gd name="connsiteX7" fmla="*/ 11806 w 692037"/>
                  <a:gd name="connsiteY7" fmla="*/ 96270 h 269812"/>
                  <a:gd name="connsiteX8" fmla="*/ 2939 w 692037"/>
                  <a:gd name="connsiteY8" fmla="*/ 81069 h 269812"/>
                  <a:gd name="connsiteX9" fmla="*/ 11806 w 692037"/>
                  <a:gd name="connsiteY9" fmla="*/ 67135 h 269812"/>
                  <a:gd name="connsiteX10" fmla="*/ 120659 w 692037"/>
                  <a:gd name="connsiteY10" fmla="*/ 4801 h 269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2037" h="269812">
                    <a:moveTo>
                      <a:pt x="567116" y="0"/>
                    </a:moveTo>
                    <a:lnTo>
                      <a:pt x="683171" y="65869"/>
                    </a:lnTo>
                    <a:cubicBezTo>
                      <a:pt x="688238" y="68402"/>
                      <a:pt x="692038" y="74736"/>
                      <a:pt x="692038" y="79803"/>
                    </a:cubicBezTo>
                    <a:cubicBezTo>
                      <a:pt x="692038" y="84870"/>
                      <a:pt x="688238" y="91203"/>
                      <a:pt x="683171" y="93737"/>
                    </a:cubicBezTo>
                    <a:lnTo>
                      <a:pt x="355089" y="268545"/>
                    </a:lnTo>
                    <a:cubicBezTo>
                      <a:pt x="352555" y="269811"/>
                      <a:pt x="350022" y="269811"/>
                      <a:pt x="347488" y="269811"/>
                    </a:cubicBezTo>
                    <a:lnTo>
                      <a:pt x="339888" y="268545"/>
                    </a:lnTo>
                    <a:lnTo>
                      <a:pt x="11806" y="96270"/>
                    </a:lnTo>
                    <a:cubicBezTo>
                      <a:pt x="6739" y="92470"/>
                      <a:pt x="2939" y="87403"/>
                      <a:pt x="2939" y="81069"/>
                    </a:cubicBezTo>
                    <a:cubicBezTo>
                      <a:pt x="2939" y="74736"/>
                      <a:pt x="-7814" y="79846"/>
                      <a:pt x="11806" y="67135"/>
                    </a:cubicBezTo>
                    <a:lnTo>
                      <a:pt x="120659" y="4801"/>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grpSp>
      <p:grpSp>
        <p:nvGrpSpPr>
          <p:cNvPr id="6" name="Group 5">
            <a:extLst>
              <a:ext uri="{FF2B5EF4-FFF2-40B4-BE49-F238E27FC236}">
                <a16:creationId xmlns:a16="http://schemas.microsoft.com/office/drawing/2014/main" id="{04468821-ACAA-4B50-837C-C91D70B5BC9A}"/>
              </a:ext>
            </a:extLst>
          </p:cNvPr>
          <p:cNvGrpSpPr/>
          <p:nvPr/>
        </p:nvGrpSpPr>
        <p:grpSpPr>
          <a:xfrm>
            <a:off x="1326186" y="2908407"/>
            <a:ext cx="3446250" cy="539337"/>
            <a:chOff x="1546967" y="2395352"/>
            <a:chExt cx="3446250" cy="539337"/>
          </a:xfrm>
        </p:grpSpPr>
        <p:sp>
          <p:nvSpPr>
            <p:cNvPr id="96" name="Oval 95">
              <a:extLst>
                <a:ext uri="{FF2B5EF4-FFF2-40B4-BE49-F238E27FC236}">
                  <a16:creationId xmlns:a16="http://schemas.microsoft.com/office/drawing/2014/main" id="{464DD6CD-18CC-4A53-99F7-8955D5BEB860}"/>
                </a:ext>
              </a:extLst>
            </p:cNvPr>
            <p:cNvSpPr/>
            <p:nvPr/>
          </p:nvSpPr>
          <p:spPr>
            <a:xfrm>
              <a:off x="4453880" y="2395352"/>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97" name="Financial_E7BB" title="Icon of a chart made of vertical lines with a line tracing the top of each, turning into an arrow pointing up">
              <a:extLst>
                <a:ext uri="{FF2B5EF4-FFF2-40B4-BE49-F238E27FC236}">
                  <a16:creationId xmlns:a16="http://schemas.microsoft.com/office/drawing/2014/main" id="{DF3E6B79-83E0-40D0-990F-A2D833687C7A}"/>
                </a:ext>
              </a:extLst>
            </p:cNvPr>
            <p:cNvSpPr>
              <a:spLocks noChangeAspect="1" noEditPoints="1"/>
            </p:cNvSpPr>
            <p:nvPr/>
          </p:nvSpPr>
          <p:spPr bwMode="auto">
            <a:xfrm>
              <a:off x="4592403" y="2548035"/>
              <a:ext cx="262290" cy="23397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3" name="Freeform: Shape 102">
              <a:extLst>
                <a:ext uri="{FF2B5EF4-FFF2-40B4-BE49-F238E27FC236}">
                  <a16:creationId xmlns:a16="http://schemas.microsoft.com/office/drawing/2014/main" id="{B3FF0804-0F30-4EB7-8E85-9C4A2EB0FEAB}"/>
                </a:ext>
              </a:extLst>
            </p:cNvPr>
            <p:cNvSpPr/>
            <p:nvPr/>
          </p:nvSpPr>
          <p:spPr>
            <a:xfrm>
              <a:off x="1546967" y="2483666"/>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Marketing</a:t>
              </a:r>
            </a:p>
          </p:txBody>
        </p:sp>
      </p:grpSp>
      <p:grpSp>
        <p:nvGrpSpPr>
          <p:cNvPr id="8" name="Group 7">
            <a:extLst>
              <a:ext uri="{FF2B5EF4-FFF2-40B4-BE49-F238E27FC236}">
                <a16:creationId xmlns:a16="http://schemas.microsoft.com/office/drawing/2014/main" id="{76BA3D64-0B9B-401C-A9C7-0C79D177957D}"/>
              </a:ext>
            </a:extLst>
          </p:cNvPr>
          <p:cNvGrpSpPr/>
          <p:nvPr/>
        </p:nvGrpSpPr>
        <p:grpSpPr>
          <a:xfrm>
            <a:off x="7452750" y="2908407"/>
            <a:ext cx="3204990" cy="539337"/>
            <a:chOff x="7552411" y="3597304"/>
            <a:chExt cx="3204990" cy="539337"/>
          </a:xfrm>
        </p:grpSpPr>
        <p:sp>
          <p:nvSpPr>
            <p:cNvPr id="98" name="Oval 97">
              <a:extLst>
                <a:ext uri="{FF2B5EF4-FFF2-40B4-BE49-F238E27FC236}">
                  <a16:creationId xmlns:a16="http://schemas.microsoft.com/office/drawing/2014/main" id="{1C11E1D9-8F6B-47FE-BFD8-89791B6840D5}"/>
                </a:ext>
              </a:extLst>
            </p:cNvPr>
            <p:cNvSpPr/>
            <p:nvPr/>
          </p:nvSpPr>
          <p:spPr>
            <a:xfrm>
              <a:off x="7552411" y="3597304"/>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99" name="building_5" title="Icon of a building with columns in a row and a triangular top">
              <a:extLst>
                <a:ext uri="{FF2B5EF4-FFF2-40B4-BE49-F238E27FC236}">
                  <a16:creationId xmlns:a16="http://schemas.microsoft.com/office/drawing/2014/main" id="{B6EE6EEF-6E3B-4392-9E97-5F8C1F8CB023}"/>
                </a:ext>
              </a:extLst>
            </p:cNvPr>
            <p:cNvSpPr>
              <a:spLocks noChangeAspect="1" noEditPoints="1"/>
            </p:cNvSpPr>
            <p:nvPr/>
          </p:nvSpPr>
          <p:spPr bwMode="auto">
            <a:xfrm>
              <a:off x="7692339" y="3755843"/>
              <a:ext cx="259480" cy="222260"/>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solidFill>
              <a:srgbClr val="FFFFFF"/>
            </a:solid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4" name="Freeform: Shape 103">
              <a:extLst>
                <a:ext uri="{FF2B5EF4-FFF2-40B4-BE49-F238E27FC236}">
                  <a16:creationId xmlns:a16="http://schemas.microsoft.com/office/drawing/2014/main" id="{0A53B93A-16F3-464A-BD97-FB3B5498036C}"/>
                </a:ext>
              </a:extLst>
            </p:cNvPr>
            <p:cNvSpPr/>
            <p:nvPr/>
          </p:nvSpPr>
          <p:spPr>
            <a:xfrm>
              <a:off x="8299371" y="3719609"/>
              <a:ext cx="2458030" cy="307777"/>
            </a:xfrm>
            <a:custGeom>
              <a:avLst/>
              <a:gdLst>
                <a:gd name="connsiteX0" fmla="*/ 0 w 4234186"/>
                <a:gd name="connsiteY0" fmla="*/ 0 h 1136650"/>
                <a:gd name="connsiteX1" fmla="*/ 4234186 w 4234186"/>
                <a:gd name="connsiteY1" fmla="*/ 0 h 1136650"/>
                <a:gd name="connsiteX2" fmla="*/ 4234186 w 4234186"/>
                <a:gd name="connsiteY2" fmla="*/ 1136650 h 1136650"/>
                <a:gd name="connsiteX3" fmla="*/ 0 w 4234186"/>
                <a:gd name="connsiteY3" fmla="*/ 1136650 h 1136650"/>
                <a:gd name="connsiteX4" fmla="*/ 0 w 4234186"/>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4186" h="1136650">
                  <a:moveTo>
                    <a:pt x="0" y="0"/>
                  </a:moveTo>
                  <a:lnTo>
                    <a:pt x="4234186" y="0"/>
                  </a:lnTo>
                  <a:lnTo>
                    <a:pt x="4234186"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Finance</a:t>
              </a:r>
            </a:p>
          </p:txBody>
        </p:sp>
      </p:grpSp>
      <p:grpSp>
        <p:nvGrpSpPr>
          <p:cNvPr id="12" name="Group 11">
            <a:extLst>
              <a:ext uri="{FF2B5EF4-FFF2-40B4-BE49-F238E27FC236}">
                <a16:creationId xmlns:a16="http://schemas.microsoft.com/office/drawing/2014/main" id="{C9BDAC31-B890-4783-8788-B007547E59C8}"/>
              </a:ext>
            </a:extLst>
          </p:cNvPr>
          <p:cNvGrpSpPr/>
          <p:nvPr/>
        </p:nvGrpSpPr>
        <p:grpSpPr>
          <a:xfrm>
            <a:off x="7514992" y="3846983"/>
            <a:ext cx="3445396" cy="539337"/>
            <a:chOff x="7100080" y="4752749"/>
            <a:chExt cx="3445396" cy="539337"/>
          </a:xfrm>
        </p:grpSpPr>
        <p:sp>
          <p:nvSpPr>
            <p:cNvPr id="100" name="Oval 99">
              <a:extLst>
                <a:ext uri="{FF2B5EF4-FFF2-40B4-BE49-F238E27FC236}">
                  <a16:creationId xmlns:a16="http://schemas.microsoft.com/office/drawing/2014/main" id="{B2A0AC36-FBE3-49C1-8C94-02B7CCF71AF5}"/>
                </a:ext>
              </a:extLst>
            </p:cNvPr>
            <p:cNvSpPr/>
            <p:nvPr/>
          </p:nvSpPr>
          <p:spPr>
            <a:xfrm>
              <a:off x="7100080" y="4752749"/>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01" name="Group 100">
              <a:extLst>
                <a:ext uri="{FF2B5EF4-FFF2-40B4-BE49-F238E27FC236}">
                  <a16:creationId xmlns:a16="http://schemas.microsoft.com/office/drawing/2014/main" id="{96B43622-42FD-423F-9289-B71BE489002E}"/>
                </a:ext>
              </a:extLst>
            </p:cNvPr>
            <p:cNvGrpSpPr/>
            <p:nvPr/>
          </p:nvGrpSpPr>
          <p:grpSpPr>
            <a:xfrm>
              <a:off x="7223839" y="4852538"/>
              <a:ext cx="291818" cy="339758"/>
              <a:chOff x="6123981" y="-3806466"/>
              <a:chExt cx="370081" cy="430876"/>
            </a:xfrm>
          </p:grpSpPr>
          <p:sp>
            <p:nvSpPr>
              <p:cNvPr id="138" name="Freeform: Shape 137">
                <a:extLst>
                  <a:ext uri="{FF2B5EF4-FFF2-40B4-BE49-F238E27FC236}">
                    <a16:creationId xmlns:a16="http://schemas.microsoft.com/office/drawing/2014/main" id="{CB99E8BA-BAFF-4781-9CEE-2BDA82C12BC3}"/>
                  </a:ext>
                </a:extLst>
              </p:cNvPr>
              <p:cNvSpPr/>
              <p:nvPr/>
            </p:nvSpPr>
            <p:spPr>
              <a:xfrm>
                <a:off x="6123981" y="-3771165"/>
                <a:ext cx="370081" cy="370076"/>
              </a:xfrm>
              <a:custGeom>
                <a:avLst/>
                <a:gdLst>
                  <a:gd name="connsiteX0" fmla="*/ 31619 w 266700"/>
                  <a:gd name="connsiteY0" fmla="*/ 207138 h 266700"/>
                  <a:gd name="connsiteX1" fmla="*/ 38286 w 266700"/>
                  <a:gd name="connsiteY1" fmla="*/ 49975 h 266700"/>
                  <a:gd name="connsiteX2" fmla="*/ 184971 w 266700"/>
                  <a:gd name="connsiteY2" fmla="*/ 17590 h 266700"/>
                  <a:gd name="connsiteX3" fmla="*/ 91627 w 266700"/>
                  <a:gd name="connsiteY3" fmla="*/ 253810 h 266700"/>
                  <a:gd name="connsiteX4" fmla="*/ 232596 w 266700"/>
                  <a:gd name="connsiteY4" fmla="*/ 219520 h 266700"/>
                  <a:gd name="connsiteX5" fmla="*/ 244027 w 266700"/>
                  <a:gd name="connsiteY5" fmla="*/ 68072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700" h="266700">
                    <a:moveTo>
                      <a:pt x="31619" y="207138"/>
                    </a:moveTo>
                    <a:cubicBezTo>
                      <a:pt x="-2671" y="159513"/>
                      <a:pt x="-766" y="93790"/>
                      <a:pt x="38286" y="49975"/>
                    </a:cubicBezTo>
                    <a:cubicBezTo>
                      <a:pt x="75434" y="8065"/>
                      <a:pt x="135441" y="-3365"/>
                      <a:pt x="184971" y="17590"/>
                    </a:cubicBezTo>
                    <a:moveTo>
                      <a:pt x="91627" y="253810"/>
                    </a:moveTo>
                    <a:cubicBezTo>
                      <a:pt x="140204" y="271908"/>
                      <a:pt x="196402" y="260478"/>
                      <a:pt x="232596" y="219520"/>
                    </a:cubicBezTo>
                    <a:cubicBezTo>
                      <a:pt x="269744" y="176657"/>
                      <a:pt x="273554" y="114745"/>
                      <a:pt x="244027" y="68072"/>
                    </a:cubicBezTo>
                  </a:path>
                </a:pathLst>
              </a:custGeom>
              <a:solidFill>
                <a:srgbClr val="FFFFFF"/>
              </a:solid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9" name="Freeform: Shape 138">
                <a:extLst>
                  <a:ext uri="{FF2B5EF4-FFF2-40B4-BE49-F238E27FC236}">
                    <a16:creationId xmlns:a16="http://schemas.microsoft.com/office/drawing/2014/main" id="{B0486349-88D3-4FDB-A6F5-E041A7D142F1}"/>
                  </a:ext>
                </a:extLst>
              </p:cNvPr>
              <p:cNvSpPr/>
              <p:nvPr/>
            </p:nvSpPr>
            <p:spPr>
              <a:xfrm>
                <a:off x="6234310" y="-3454892"/>
                <a:ext cx="66085" cy="79302"/>
              </a:xfrm>
              <a:custGeom>
                <a:avLst/>
                <a:gdLst>
                  <a:gd name="connsiteX0" fmla="*/ 26405 w 47625"/>
                  <a:gd name="connsiteY0" fmla="*/ 58790 h 57150"/>
                  <a:gd name="connsiteX1" fmla="*/ 7355 w 47625"/>
                  <a:gd name="connsiteY1" fmla="*/ 20690 h 57150"/>
                  <a:gd name="connsiteX2" fmla="*/ 45455 w 47625"/>
                  <a:gd name="connsiteY2" fmla="*/ 7355 h 57150"/>
                </a:gdLst>
                <a:ahLst/>
                <a:cxnLst>
                  <a:cxn ang="0">
                    <a:pos x="connsiteX0" y="connsiteY0"/>
                  </a:cxn>
                  <a:cxn ang="0">
                    <a:pos x="connsiteX1" y="connsiteY1"/>
                  </a:cxn>
                  <a:cxn ang="0">
                    <a:pos x="connsiteX2" y="connsiteY2"/>
                  </a:cxn>
                </a:cxnLst>
                <a:rect l="l" t="t" r="r" b="b"/>
                <a:pathLst>
                  <a:path w="47625" h="57150">
                    <a:moveTo>
                      <a:pt x="26405" y="58790"/>
                    </a:moveTo>
                    <a:lnTo>
                      <a:pt x="7355" y="20690"/>
                    </a:lnTo>
                    <a:lnTo>
                      <a:pt x="45455" y="7355"/>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0" name="Freeform: Shape 139">
                <a:extLst>
                  <a:ext uri="{FF2B5EF4-FFF2-40B4-BE49-F238E27FC236}">
                    <a16:creationId xmlns:a16="http://schemas.microsoft.com/office/drawing/2014/main" id="{48967461-72BC-4EB2-B174-867E5F15CFAE}"/>
                  </a:ext>
                </a:extLst>
              </p:cNvPr>
              <p:cNvSpPr/>
              <p:nvPr/>
            </p:nvSpPr>
            <p:spPr>
              <a:xfrm>
                <a:off x="6324186" y="-3806466"/>
                <a:ext cx="66085" cy="92518"/>
              </a:xfrm>
              <a:custGeom>
                <a:avLst/>
                <a:gdLst>
                  <a:gd name="connsiteX0" fmla="*/ 26405 w 47625"/>
                  <a:gd name="connsiteY0" fmla="*/ 7355 h 66675"/>
                  <a:gd name="connsiteX1" fmla="*/ 45455 w 47625"/>
                  <a:gd name="connsiteY1" fmla="*/ 45455 h 66675"/>
                  <a:gd name="connsiteX2" fmla="*/ 7355 w 47625"/>
                  <a:gd name="connsiteY2" fmla="*/ 59743 h 66675"/>
                </a:gdLst>
                <a:ahLst/>
                <a:cxnLst>
                  <a:cxn ang="0">
                    <a:pos x="connsiteX0" y="connsiteY0"/>
                  </a:cxn>
                  <a:cxn ang="0">
                    <a:pos x="connsiteX1" y="connsiteY1"/>
                  </a:cxn>
                  <a:cxn ang="0">
                    <a:pos x="connsiteX2" y="connsiteY2"/>
                  </a:cxn>
                </a:cxnLst>
                <a:rect l="l" t="t" r="r" b="b"/>
                <a:pathLst>
                  <a:path w="47625" h="66675">
                    <a:moveTo>
                      <a:pt x="26405" y="7355"/>
                    </a:moveTo>
                    <a:lnTo>
                      <a:pt x="45455" y="45455"/>
                    </a:lnTo>
                    <a:lnTo>
                      <a:pt x="7355" y="59743"/>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141" name="Group 140">
                <a:extLst>
                  <a:ext uri="{FF2B5EF4-FFF2-40B4-BE49-F238E27FC236}">
                    <a16:creationId xmlns:a16="http://schemas.microsoft.com/office/drawing/2014/main" id="{89C64825-2C3F-4139-BFE4-687E240121F3}"/>
                  </a:ext>
                </a:extLst>
              </p:cNvPr>
              <p:cNvGrpSpPr/>
              <p:nvPr/>
            </p:nvGrpSpPr>
            <p:grpSpPr>
              <a:xfrm>
                <a:off x="6218498" y="-3679546"/>
                <a:ext cx="180998" cy="186836"/>
                <a:chOff x="6979553" y="4960253"/>
                <a:chExt cx="295275" cy="304800"/>
              </a:xfrm>
            </p:grpSpPr>
            <p:sp>
              <p:nvSpPr>
                <p:cNvPr id="142" name="Freeform: Shape 141">
                  <a:extLst>
                    <a:ext uri="{FF2B5EF4-FFF2-40B4-BE49-F238E27FC236}">
                      <a16:creationId xmlns:a16="http://schemas.microsoft.com/office/drawing/2014/main" id="{947511F1-9254-4256-91C5-515ECCB13CD0}"/>
                    </a:ext>
                  </a:extLst>
                </p:cNvPr>
                <p:cNvSpPr/>
                <p:nvPr/>
              </p:nvSpPr>
              <p:spPr>
                <a:xfrm>
                  <a:off x="7050991" y="5036453"/>
                  <a:ext cx="152401"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3" name="Freeform: Shape 142">
                  <a:extLst>
                    <a:ext uri="{FF2B5EF4-FFF2-40B4-BE49-F238E27FC236}">
                      <a16:creationId xmlns:a16="http://schemas.microsoft.com/office/drawing/2014/main" id="{7DA7932E-8689-4286-BB10-1AF96DF54FCD}"/>
                    </a:ext>
                  </a:extLst>
                </p:cNvPr>
                <p:cNvSpPr/>
                <p:nvPr/>
              </p:nvSpPr>
              <p:spPr>
                <a:xfrm>
                  <a:off x="6979553" y="4960253"/>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grpSp>
        <p:sp>
          <p:nvSpPr>
            <p:cNvPr id="105" name="Freeform: Shape 104">
              <a:extLst>
                <a:ext uri="{FF2B5EF4-FFF2-40B4-BE49-F238E27FC236}">
                  <a16:creationId xmlns:a16="http://schemas.microsoft.com/office/drawing/2014/main" id="{E037F5C2-509D-4E18-BEFA-6BFFAF9C1071}"/>
                </a:ext>
              </a:extLst>
            </p:cNvPr>
            <p:cNvSpPr/>
            <p:nvPr/>
          </p:nvSpPr>
          <p:spPr>
            <a:xfrm>
              <a:off x="7847590" y="4868529"/>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Supply Chain</a:t>
              </a:r>
            </a:p>
          </p:txBody>
        </p:sp>
      </p:grpSp>
      <p:grpSp>
        <p:nvGrpSpPr>
          <p:cNvPr id="10" name="Group 9">
            <a:extLst>
              <a:ext uri="{FF2B5EF4-FFF2-40B4-BE49-F238E27FC236}">
                <a16:creationId xmlns:a16="http://schemas.microsoft.com/office/drawing/2014/main" id="{CB8F1308-D1F8-4634-8BB7-E0D3E775F616}"/>
              </a:ext>
            </a:extLst>
          </p:cNvPr>
          <p:cNvGrpSpPr/>
          <p:nvPr/>
        </p:nvGrpSpPr>
        <p:grpSpPr>
          <a:xfrm>
            <a:off x="3123234" y="1969831"/>
            <a:ext cx="2697886" cy="539337"/>
            <a:chOff x="3123234" y="1969831"/>
            <a:chExt cx="2697886" cy="539337"/>
          </a:xfrm>
        </p:grpSpPr>
        <p:sp>
          <p:nvSpPr>
            <p:cNvPr id="90" name="Oval 89">
              <a:extLst>
                <a:ext uri="{FF2B5EF4-FFF2-40B4-BE49-F238E27FC236}">
                  <a16:creationId xmlns:a16="http://schemas.microsoft.com/office/drawing/2014/main" id="{720C4778-DBD3-43F1-B507-2F22E976505C}"/>
                </a:ext>
              </a:extLst>
            </p:cNvPr>
            <p:cNvSpPr/>
            <p:nvPr/>
          </p:nvSpPr>
          <p:spPr>
            <a:xfrm flipH="1">
              <a:off x="4943585" y="1969831"/>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91" name="LineChart_E9E6" title="Icon of a line chart with points of varying heights">
              <a:extLst>
                <a:ext uri="{FF2B5EF4-FFF2-40B4-BE49-F238E27FC236}">
                  <a16:creationId xmlns:a16="http://schemas.microsoft.com/office/drawing/2014/main" id="{6F8917DC-564A-4844-B1F7-6C4607BADB29}"/>
                </a:ext>
              </a:extLst>
            </p:cNvPr>
            <p:cNvSpPr>
              <a:spLocks noChangeAspect="1" noEditPoints="1"/>
            </p:cNvSpPr>
            <p:nvPr/>
          </p:nvSpPr>
          <p:spPr bwMode="auto">
            <a:xfrm>
              <a:off x="5083513" y="2109729"/>
              <a:ext cx="259480" cy="259541"/>
            </a:xfrm>
            <a:custGeom>
              <a:avLst/>
              <a:gdLst>
                <a:gd name="T0" fmla="*/ 4249 w 4249"/>
                <a:gd name="T1" fmla="*/ 4250 h 4250"/>
                <a:gd name="T2" fmla="*/ 0 w 4249"/>
                <a:gd name="T3" fmla="*/ 4250 h 4250"/>
                <a:gd name="T4" fmla="*/ 0 w 4249"/>
                <a:gd name="T5" fmla="*/ 0 h 4250"/>
                <a:gd name="T6" fmla="*/ 4249 w 4249"/>
                <a:gd name="T7" fmla="*/ 1428 h 4250"/>
                <a:gd name="T8" fmla="*/ 3621 w 4249"/>
                <a:gd name="T9" fmla="*/ 800 h 4250"/>
                <a:gd name="T10" fmla="*/ 1893 w 4249"/>
                <a:gd name="T11" fmla="*/ 2527 h 4250"/>
                <a:gd name="T12" fmla="*/ 1265 w 4249"/>
                <a:gd name="T13" fmla="*/ 1899 h 4250"/>
                <a:gd name="T14" fmla="*/ 3 w 4249"/>
                <a:gd name="T15" fmla="*/ 3161 h 4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49" h="4250">
                  <a:moveTo>
                    <a:pt x="4249" y="4250"/>
                  </a:moveTo>
                  <a:lnTo>
                    <a:pt x="0" y="4250"/>
                  </a:lnTo>
                  <a:lnTo>
                    <a:pt x="0" y="0"/>
                  </a:lnTo>
                  <a:moveTo>
                    <a:pt x="4249" y="1428"/>
                  </a:moveTo>
                  <a:lnTo>
                    <a:pt x="3621" y="800"/>
                  </a:lnTo>
                  <a:lnTo>
                    <a:pt x="1893" y="2527"/>
                  </a:lnTo>
                  <a:lnTo>
                    <a:pt x="1265" y="1899"/>
                  </a:lnTo>
                  <a:lnTo>
                    <a:pt x="3" y="3161"/>
                  </a:lnTo>
                </a:path>
              </a:pathLst>
            </a:custGeom>
            <a:solidFill>
              <a:srgbClr val="FFFFFF"/>
            </a:solid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6" name="Freeform: Shape 105">
              <a:extLst>
                <a:ext uri="{FF2B5EF4-FFF2-40B4-BE49-F238E27FC236}">
                  <a16:creationId xmlns:a16="http://schemas.microsoft.com/office/drawing/2014/main" id="{A71D584B-3A3B-4F01-88B5-0087D18B223A}"/>
                </a:ext>
              </a:extLst>
            </p:cNvPr>
            <p:cNvSpPr/>
            <p:nvPr/>
          </p:nvSpPr>
          <p:spPr>
            <a:xfrm flipH="1">
              <a:off x="3123234" y="2085611"/>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Sales</a:t>
              </a:r>
            </a:p>
          </p:txBody>
        </p:sp>
      </p:grpSp>
      <p:grpSp>
        <p:nvGrpSpPr>
          <p:cNvPr id="11" name="Group 10">
            <a:extLst>
              <a:ext uri="{FF2B5EF4-FFF2-40B4-BE49-F238E27FC236}">
                <a16:creationId xmlns:a16="http://schemas.microsoft.com/office/drawing/2014/main" id="{00507952-F600-469B-8CF7-BD6258822A4C}"/>
              </a:ext>
            </a:extLst>
          </p:cNvPr>
          <p:cNvGrpSpPr/>
          <p:nvPr/>
        </p:nvGrpSpPr>
        <p:grpSpPr>
          <a:xfrm>
            <a:off x="6709080" y="1969831"/>
            <a:ext cx="3171406" cy="539337"/>
            <a:chOff x="6709080" y="1969831"/>
            <a:chExt cx="3171406" cy="539337"/>
          </a:xfrm>
        </p:grpSpPr>
        <p:sp>
          <p:nvSpPr>
            <p:cNvPr id="93" name="Oval 92">
              <a:extLst>
                <a:ext uri="{FF2B5EF4-FFF2-40B4-BE49-F238E27FC236}">
                  <a16:creationId xmlns:a16="http://schemas.microsoft.com/office/drawing/2014/main" id="{23D97ED5-1443-4135-9EAC-04D0D1751D94}"/>
                </a:ext>
              </a:extLst>
            </p:cNvPr>
            <p:cNvSpPr/>
            <p:nvPr/>
          </p:nvSpPr>
          <p:spPr>
            <a:xfrm flipH="1">
              <a:off x="6709080" y="1969831"/>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94" name="manager" title="Icon of three people with lines connecting them">
              <a:extLst>
                <a:ext uri="{FF2B5EF4-FFF2-40B4-BE49-F238E27FC236}">
                  <a16:creationId xmlns:a16="http://schemas.microsoft.com/office/drawing/2014/main" id="{4F982B38-73E3-4630-9D77-F9B3A67B0C65}"/>
                </a:ext>
              </a:extLst>
            </p:cNvPr>
            <p:cNvSpPr>
              <a:spLocks noChangeAspect="1" noEditPoints="1"/>
            </p:cNvSpPr>
            <p:nvPr/>
          </p:nvSpPr>
          <p:spPr bwMode="auto">
            <a:xfrm>
              <a:off x="6849008" y="2108729"/>
              <a:ext cx="259480" cy="261541"/>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solidFill>
              <a:srgbClr val="FFFFFF"/>
            </a:solid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7" name="Freeform: Shape 106">
              <a:extLst>
                <a:ext uri="{FF2B5EF4-FFF2-40B4-BE49-F238E27FC236}">
                  <a16:creationId xmlns:a16="http://schemas.microsoft.com/office/drawing/2014/main" id="{E59A86E2-E458-4C3B-8377-5FA99B96B3F2}"/>
                </a:ext>
              </a:extLst>
            </p:cNvPr>
            <p:cNvSpPr/>
            <p:nvPr/>
          </p:nvSpPr>
          <p:spPr>
            <a:xfrm flipH="1">
              <a:off x="7422456" y="2085611"/>
              <a:ext cx="2458030" cy="307777"/>
            </a:xfrm>
            <a:custGeom>
              <a:avLst/>
              <a:gdLst>
                <a:gd name="connsiteX0" fmla="*/ 0 w 4234186"/>
                <a:gd name="connsiteY0" fmla="*/ 0 h 1136650"/>
                <a:gd name="connsiteX1" fmla="*/ 4234186 w 4234186"/>
                <a:gd name="connsiteY1" fmla="*/ 0 h 1136650"/>
                <a:gd name="connsiteX2" fmla="*/ 4234186 w 4234186"/>
                <a:gd name="connsiteY2" fmla="*/ 1136650 h 1136650"/>
                <a:gd name="connsiteX3" fmla="*/ 0 w 4234186"/>
                <a:gd name="connsiteY3" fmla="*/ 1136650 h 1136650"/>
                <a:gd name="connsiteX4" fmla="*/ 0 w 4234186"/>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4186" h="1136650">
                  <a:moveTo>
                    <a:pt x="0" y="0"/>
                  </a:moveTo>
                  <a:lnTo>
                    <a:pt x="4234186" y="0"/>
                  </a:lnTo>
                  <a:lnTo>
                    <a:pt x="4234186"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Talent</a:t>
              </a:r>
            </a:p>
          </p:txBody>
        </p:sp>
      </p:grpSp>
      <p:grpSp>
        <p:nvGrpSpPr>
          <p:cNvPr id="7" name="Group 6">
            <a:extLst>
              <a:ext uri="{FF2B5EF4-FFF2-40B4-BE49-F238E27FC236}">
                <a16:creationId xmlns:a16="http://schemas.microsoft.com/office/drawing/2014/main" id="{07B4A8C9-4C60-4C9E-A75B-767CFCAE6A63}"/>
              </a:ext>
            </a:extLst>
          </p:cNvPr>
          <p:cNvGrpSpPr/>
          <p:nvPr/>
        </p:nvGrpSpPr>
        <p:grpSpPr>
          <a:xfrm>
            <a:off x="1258147" y="3846983"/>
            <a:ext cx="3433231" cy="539337"/>
            <a:chOff x="1194373" y="3597304"/>
            <a:chExt cx="3433231" cy="539337"/>
          </a:xfrm>
        </p:grpSpPr>
        <p:sp>
          <p:nvSpPr>
            <p:cNvPr id="88" name="Oval 87">
              <a:extLst>
                <a:ext uri="{FF2B5EF4-FFF2-40B4-BE49-F238E27FC236}">
                  <a16:creationId xmlns:a16="http://schemas.microsoft.com/office/drawing/2014/main" id="{EB0852E1-0DA4-4BB8-A1E9-9482F8CB44A7}"/>
                </a:ext>
              </a:extLst>
            </p:cNvPr>
            <p:cNvSpPr/>
            <p:nvPr/>
          </p:nvSpPr>
          <p:spPr>
            <a:xfrm flipH="1">
              <a:off x="4088267" y="3597304"/>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89" name="Freeform 96" title="Icon of a gear with a wrench">
              <a:extLst>
                <a:ext uri="{FF2B5EF4-FFF2-40B4-BE49-F238E27FC236}">
                  <a16:creationId xmlns:a16="http://schemas.microsoft.com/office/drawing/2014/main" id="{DFFB8B15-8EBC-4349-899B-FBBE09F649AF}"/>
                </a:ext>
              </a:extLst>
            </p:cNvPr>
            <p:cNvSpPr>
              <a:spLocks noChangeAspect="1" noEditPoints="1"/>
            </p:cNvSpPr>
            <p:nvPr/>
          </p:nvSpPr>
          <p:spPr bwMode="auto">
            <a:xfrm>
              <a:off x="4205340" y="3726468"/>
              <a:ext cx="305191" cy="281009"/>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8" name="Freeform: Shape 107">
              <a:extLst>
                <a:ext uri="{FF2B5EF4-FFF2-40B4-BE49-F238E27FC236}">
                  <a16:creationId xmlns:a16="http://schemas.microsoft.com/office/drawing/2014/main" id="{98F6C533-63F9-40A3-8717-6B04741AC5F8}"/>
                </a:ext>
              </a:extLst>
            </p:cNvPr>
            <p:cNvSpPr/>
            <p:nvPr/>
          </p:nvSpPr>
          <p:spPr>
            <a:xfrm flipH="1">
              <a:off x="1194373" y="3719609"/>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Service</a:t>
              </a:r>
            </a:p>
          </p:txBody>
        </p:sp>
      </p:grpSp>
      <p:sp>
        <p:nvSpPr>
          <p:cNvPr id="118" name="Arc 117">
            <a:extLst>
              <a:ext uri="{FF2B5EF4-FFF2-40B4-BE49-F238E27FC236}">
                <a16:creationId xmlns:a16="http://schemas.microsoft.com/office/drawing/2014/main" id="{FD9258E9-9A92-48DE-AB37-9367B6E9FBE3}"/>
              </a:ext>
            </a:extLst>
          </p:cNvPr>
          <p:cNvSpPr/>
          <p:nvPr/>
        </p:nvSpPr>
        <p:spPr>
          <a:xfrm>
            <a:off x="5813133" y="3537643"/>
            <a:ext cx="553753" cy="553753"/>
          </a:xfrm>
          <a:prstGeom prst="arc">
            <a:avLst>
              <a:gd name="adj1" fmla="val 603638"/>
              <a:gd name="adj2" fmla="val 10369400"/>
            </a:avLst>
          </a:prstGeom>
          <a:noFill/>
          <a:ln w="19050" cap="flat" cmpd="sng" algn="ctr">
            <a:solidFill>
              <a:schemeClr val="bg1"/>
            </a:solidFill>
            <a:prstDash val="solid"/>
            <a:miter lim="800000"/>
            <a:headEnd type="none" w="med" len="med"/>
            <a:tailEnd type="arrow" w="med" len="med"/>
          </a:ln>
          <a:effectLst/>
        </p:spPr>
        <p:txBody>
          <a:bodyPr rot="0" spcFirstLastPara="1" vertOverflow="overflow" horzOverflow="overflow" vert="horz" wrap="square" lIns="91440" tIns="0" rIns="91440" bIns="0" numCol="1" spcCol="0" rtlCol="0" fromWordArt="0" anchor="b" anchorCtr="0" forceAA="0" compatLnSpc="1">
            <a:prstTxWarp prst="textArchDown">
              <a:avLst>
                <a:gd name="adj" fmla="val 5335059"/>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19" name="Arc 118">
            <a:extLst>
              <a:ext uri="{FF2B5EF4-FFF2-40B4-BE49-F238E27FC236}">
                <a16:creationId xmlns:a16="http://schemas.microsoft.com/office/drawing/2014/main" id="{8F9E1A86-CBD5-47A5-8FD1-C2E89FAE1B29}"/>
              </a:ext>
            </a:extLst>
          </p:cNvPr>
          <p:cNvSpPr/>
          <p:nvPr/>
        </p:nvSpPr>
        <p:spPr>
          <a:xfrm>
            <a:off x="5813133" y="3537643"/>
            <a:ext cx="553753" cy="553753"/>
          </a:xfrm>
          <a:prstGeom prst="arc">
            <a:avLst>
              <a:gd name="adj1" fmla="val 11360395"/>
              <a:gd name="adj2" fmla="val 21142794"/>
            </a:avLst>
          </a:prstGeom>
          <a:noFill/>
          <a:ln w="19050" cap="flat" cmpd="sng" algn="ctr">
            <a:solidFill>
              <a:schemeClr val="bg1"/>
            </a:solidFill>
            <a:prstDash val="solid"/>
            <a:miter lim="800000"/>
            <a:headEnd type="none" w="med" len="med"/>
            <a:tailEnd type="arrow" w="med" len="med"/>
          </a:ln>
          <a:effectLst/>
        </p:spPr>
        <p:txBody>
          <a:bodyPr rot="0" spcFirstLastPara="1" vertOverflow="overflow" horzOverflow="overflow" vert="horz" wrap="square" lIns="91440" tIns="0" rIns="91440" bIns="0" numCol="1" spcCol="0" rtlCol="0" fromWordArt="0" anchor="b" anchorCtr="0" forceAA="0" compatLnSpc="1">
            <a:prstTxWarp prst="textArchDown">
              <a:avLst>
                <a:gd name="adj" fmla="val 5335059"/>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cxnSp>
        <p:nvCxnSpPr>
          <p:cNvPr id="120" name="Straight Connector 119">
            <a:extLst>
              <a:ext uri="{FF2B5EF4-FFF2-40B4-BE49-F238E27FC236}">
                <a16:creationId xmlns:a16="http://schemas.microsoft.com/office/drawing/2014/main" id="{785C9EA5-35F3-4090-9A58-240B5B973021}"/>
              </a:ext>
            </a:extLst>
          </p:cNvPr>
          <p:cNvCxnSpPr/>
          <p:nvPr/>
        </p:nvCxnSpPr>
        <p:spPr>
          <a:xfrm rot="18900000">
            <a:off x="6246005" y="3405618"/>
            <a:ext cx="505812" cy="0"/>
          </a:xfrm>
          <a:prstGeom prst="line">
            <a:avLst/>
          </a:prstGeom>
          <a:noFill/>
          <a:ln w="19050" cap="flat" cmpd="sng" algn="ctr">
            <a:solidFill>
              <a:schemeClr val="bg1"/>
            </a:solidFill>
            <a:prstDash val="solid"/>
            <a:miter lim="800000"/>
            <a:headEnd type="arrow" w="med" len="med"/>
            <a:tailEnd type="arrow" w="med" len="med"/>
          </a:ln>
          <a:effectLst/>
        </p:spPr>
      </p:cxnSp>
      <p:cxnSp>
        <p:nvCxnSpPr>
          <p:cNvPr id="121" name="Straight Connector 120">
            <a:extLst>
              <a:ext uri="{FF2B5EF4-FFF2-40B4-BE49-F238E27FC236}">
                <a16:creationId xmlns:a16="http://schemas.microsoft.com/office/drawing/2014/main" id="{E3155EDC-7126-4495-A58D-F58F853983EE}"/>
              </a:ext>
            </a:extLst>
          </p:cNvPr>
          <p:cNvCxnSpPr/>
          <p:nvPr/>
        </p:nvCxnSpPr>
        <p:spPr>
          <a:xfrm rot="18900000">
            <a:off x="5428203" y="4223421"/>
            <a:ext cx="505812" cy="0"/>
          </a:xfrm>
          <a:prstGeom prst="line">
            <a:avLst/>
          </a:prstGeom>
          <a:noFill/>
          <a:ln w="19050" cap="flat" cmpd="sng" algn="ctr">
            <a:solidFill>
              <a:schemeClr val="bg1"/>
            </a:solidFill>
            <a:prstDash val="solid"/>
            <a:miter lim="800000"/>
            <a:headEnd type="arrow" w="med" len="med"/>
            <a:tailEnd type="arrow" w="med" len="med"/>
          </a:ln>
          <a:effectLst/>
        </p:spPr>
      </p:cxnSp>
      <p:cxnSp>
        <p:nvCxnSpPr>
          <p:cNvPr id="122" name="Straight Connector 121">
            <a:extLst>
              <a:ext uri="{FF2B5EF4-FFF2-40B4-BE49-F238E27FC236}">
                <a16:creationId xmlns:a16="http://schemas.microsoft.com/office/drawing/2014/main" id="{51AAC06E-1A6D-4A8A-931F-0CF06B65CD91}"/>
              </a:ext>
            </a:extLst>
          </p:cNvPr>
          <p:cNvCxnSpPr/>
          <p:nvPr/>
        </p:nvCxnSpPr>
        <p:spPr>
          <a:xfrm rot="2700000">
            <a:off x="6246004" y="4223421"/>
            <a:ext cx="505812" cy="0"/>
          </a:xfrm>
          <a:prstGeom prst="line">
            <a:avLst/>
          </a:prstGeom>
          <a:noFill/>
          <a:ln w="19050" cap="flat" cmpd="sng" algn="ctr">
            <a:solidFill>
              <a:schemeClr val="bg1"/>
            </a:solidFill>
            <a:prstDash val="solid"/>
            <a:miter lim="800000"/>
            <a:headEnd type="arrow" w="med" len="med"/>
            <a:tailEnd type="arrow" w="med" len="med"/>
          </a:ln>
          <a:effectLst/>
        </p:spPr>
      </p:cxnSp>
      <p:cxnSp>
        <p:nvCxnSpPr>
          <p:cNvPr id="123" name="Straight Connector 122">
            <a:extLst>
              <a:ext uri="{FF2B5EF4-FFF2-40B4-BE49-F238E27FC236}">
                <a16:creationId xmlns:a16="http://schemas.microsoft.com/office/drawing/2014/main" id="{E1B4E16D-7987-466E-9B11-B6EC1A6D43EC}"/>
              </a:ext>
            </a:extLst>
          </p:cNvPr>
          <p:cNvCxnSpPr/>
          <p:nvPr/>
        </p:nvCxnSpPr>
        <p:spPr>
          <a:xfrm rot="2700000">
            <a:off x="5428203" y="3405618"/>
            <a:ext cx="505812" cy="0"/>
          </a:xfrm>
          <a:prstGeom prst="line">
            <a:avLst/>
          </a:prstGeom>
          <a:noFill/>
          <a:ln w="19050" cap="flat" cmpd="sng" algn="ctr">
            <a:solidFill>
              <a:schemeClr val="bg1"/>
            </a:solidFill>
            <a:prstDash val="solid"/>
            <a:miter lim="800000"/>
            <a:headEnd type="arrow" w="med" len="med"/>
            <a:tailEnd type="arrow" w="med" len="med"/>
          </a:ln>
          <a:effectLst/>
        </p:spPr>
      </p:cxnSp>
      <p:sp>
        <p:nvSpPr>
          <p:cNvPr id="128" name="!! Arc 50">
            <a:extLst>
              <a:ext uri="{FF2B5EF4-FFF2-40B4-BE49-F238E27FC236}">
                <a16:creationId xmlns:a16="http://schemas.microsoft.com/office/drawing/2014/main" id="{66788FDA-C8FC-4B6C-A3C5-F252D6333715}"/>
              </a:ext>
            </a:extLst>
          </p:cNvPr>
          <p:cNvSpPr/>
          <p:nvPr/>
        </p:nvSpPr>
        <p:spPr bwMode="auto">
          <a:xfrm>
            <a:off x="5071282" y="2795791"/>
            <a:ext cx="2037455" cy="2037456"/>
          </a:xfrm>
          <a:prstGeom prst="arc">
            <a:avLst>
              <a:gd name="adj1" fmla="val 14349488"/>
              <a:gd name="adj2" fmla="val 18141378"/>
            </a:avLst>
          </a:prstGeom>
          <a:noFill/>
          <a:ln w="1905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Segoe UI" pitchFamily="34" charset="0"/>
              <a:cs typeface="Segoe UI" pitchFamily="34" charset="0"/>
            </a:endParaRPr>
          </a:p>
        </p:txBody>
      </p:sp>
      <p:sp>
        <p:nvSpPr>
          <p:cNvPr id="130" name="!! Arc 51">
            <a:extLst>
              <a:ext uri="{FF2B5EF4-FFF2-40B4-BE49-F238E27FC236}">
                <a16:creationId xmlns:a16="http://schemas.microsoft.com/office/drawing/2014/main" id="{F23CB444-0C9A-44FA-BC72-2A65C2974B9E}"/>
              </a:ext>
            </a:extLst>
          </p:cNvPr>
          <p:cNvSpPr/>
          <p:nvPr/>
        </p:nvSpPr>
        <p:spPr bwMode="auto">
          <a:xfrm rot="10800000">
            <a:off x="5071282" y="2795791"/>
            <a:ext cx="2037455" cy="2037456"/>
          </a:xfrm>
          <a:prstGeom prst="arc">
            <a:avLst>
              <a:gd name="adj1" fmla="val 14349488"/>
              <a:gd name="adj2" fmla="val 18141378"/>
            </a:avLst>
          </a:prstGeom>
          <a:noFill/>
          <a:ln w="1905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Segoe UI" pitchFamily="34" charset="0"/>
              <a:cs typeface="Segoe UI" pitchFamily="34" charset="0"/>
            </a:endParaRPr>
          </a:p>
        </p:txBody>
      </p:sp>
      <p:sp>
        <p:nvSpPr>
          <p:cNvPr id="131" name="!! Arc 52">
            <a:extLst>
              <a:ext uri="{FF2B5EF4-FFF2-40B4-BE49-F238E27FC236}">
                <a16:creationId xmlns:a16="http://schemas.microsoft.com/office/drawing/2014/main" id="{6EDFF030-A3AC-473A-8F74-FF20EAD5E361}"/>
              </a:ext>
            </a:extLst>
          </p:cNvPr>
          <p:cNvSpPr/>
          <p:nvPr/>
        </p:nvSpPr>
        <p:spPr bwMode="auto">
          <a:xfrm rot="5400000">
            <a:off x="5071281" y="2799808"/>
            <a:ext cx="2037456" cy="2037455"/>
          </a:xfrm>
          <a:prstGeom prst="arc">
            <a:avLst>
              <a:gd name="adj1" fmla="val 14349488"/>
              <a:gd name="adj2" fmla="val 18141378"/>
            </a:avLst>
          </a:prstGeom>
          <a:noFill/>
          <a:ln w="1905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Segoe UI" pitchFamily="34" charset="0"/>
              <a:cs typeface="Segoe UI" pitchFamily="34" charset="0"/>
            </a:endParaRPr>
          </a:p>
        </p:txBody>
      </p:sp>
      <p:sp>
        <p:nvSpPr>
          <p:cNvPr id="132" name="!! Arc 53">
            <a:extLst>
              <a:ext uri="{FF2B5EF4-FFF2-40B4-BE49-F238E27FC236}">
                <a16:creationId xmlns:a16="http://schemas.microsoft.com/office/drawing/2014/main" id="{E69C1818-AA44-4A92-BD88-D36254A5B9CC}"/>
              </a:ext>
            </a:extLst>
          </p:cNvPr>
          <p:cNvSpPr/>
          <p:nvPr/>
        </p:nvSpPr>
        <p:spPr bwMode="auto">
          <a:xfrm rot="16200000">
            <a:off x="5071281" y="2799808"/>
            <a:ext cx="2037456" cy="2037455"/>
          </a:xfrm>
          <a:prstGeom prst="arc">
            <a:avLst>
              <a:gd name="adj1" fmla="val 14349488"/>
              <a:gd name="adj2" fmla="val 18141378"/>
            </a:avLst>
          </a:prstGeom>
          <a:noFill/>
          <a:ln w="1905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Segoe UI" pitchFamily="34" charset="0"/>
              <a:cs typeface="Segoe UI" pitchFamily="34" charset="0"/>
            </a:endParaRPr>
          </a:p>
        </p:txBody>
      </p:sp>
      <p:sp>
        <p:nvSpPr>
          <p:cNvPr id="133" name="people_11" title="Icon of two people with a chat bubble">
            <a:extLst>
              <a:ext uri="{FF2B5EF4-FFF2-40B4-BE49-F238E27FC236}">
                <a16:creationId xmlns:a16="http://schemas.microsoft.com/office/drawing/2014/main" id="{836CCCCA-1CD6-4178-A089-B13BBEE42CD8}"/>
              </a:ext>
            </a:extLst>
          </p:cNvPr>
          <p:cNvSpPr>
            <a:spLocks noChangeAspect="1" noEditPoints="1"/>
          </p:cNvSpPr>
          <p:nvPr/>
        </p:nvSpPr>
        <p:spPr bwMode="auto">
          <a:xfrm>
            <a:off x="5196967" y="4431922"/>
            <a:ext cx="253263" cy="243213"/>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34" name="tool" title="Icon of a skrewdriver and wrench">
            <a:extLst>
              <a:ext uri="{FF2B5EF4-FFF2-40B4-BE49-F238E27FC236}">
                <a16:creationId xmlns:a16="http://schemas.microsoft.com/office/drawing/2014/main" id="{D50861F5-8885-40CA-AA66-034D75D817C8}"/>
              </a:ext>
            </a:extLst>
          </p:cNvPr>
          <p:cNvSpPr>
            <a:spLocks noChangeAspect="1" noEditPoints="1"/>
          </p:cNvSpPr>
          <p:nvPr/>
        </p:nvSpPr>
        <p:spPr bwMode="auto">
          <a:xfrm>
            <a:off x="6737047" y="4472443"/>
            <a:ext cx="172663" cy="24321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35" name="gear" title="Icon of a gear surrounded by a circle with lines of varying length">
            <a:extLst>
              <a:ext uri="{FF2B5EF4-FFF2-40B4-BE49-F238E27FC236}">
                <a16:creationId xmlns:a16="http://schemas.microsoft.com/office/drawing/2014/main" id="{7109FFED-D377-42B8-8BD2-CF78CB7AC743}"/>
              </a:ext>
            </a:extLst>
          </p:cNvPr>
          <p:cNvSpPr>
            <a:spLocks noChangeAspect="1" noEditPoints="1"/>
          </p:cNvSpPr>
          <p:nvPr/>
        </p:nvSpPr>
        <p:spPr bwMode="auto">
          <a:xfrm>
            <a:off x="6700096" y="2947995"/>
            <a:ext cx="246567" cy="245500"/>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36" name="box" title="Icon of a box">
            <a:extLst>
              <a:ext uri="{FF2B5EF4-FFF2-40B4-BE49-F238E27FC236}">
                <a16:creationId xmlns:a16="http://schemas.microsoft.com/office/drawing/2014/main" id="{A917B609-6906-4256-89FB-FC06BF42F8FC}"/>
              </a:ext>
            </a:extLst>
          </p:cNvPr>
          <p:cNvSpPr>
            <a:spLocks noChangeAspect="1" noEditPoints="1"/>
          </p:cNvSpPr>
          <p:nvPr/>
        </p:nvSpPr>
        <p:spPr bwMode="auto">
          <a:xfrm>
            <a:off x="5232574" y="2949843"/>
            <a:ext cx="236213" cy="238459"/>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noFill/>
          <a:ln w="190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37" name="Freeform 13" title="Icon of a cloud">
            <a:extLst>
              <a:ext uri="{FF2B5EF4-FFF2-40B4-BE49-F238E27FC236}">
                <a16:creationId xmlns:a16="http://schemas.microsoft.com/office/drawing/2014/main" id="{12943DFA-44DF-4B00-BADC-D986E513D8BC}"/>
              </a:ext>
            </a:extLst>
          </p:cNvPr>
          <p:cNvSpPr>
            <a:spLocks noChangeAspect="1"/>
          </p:cNvSpPr>
          <p:nvPr/>
        </p:nvSpPr>
        <p:spPr bwMode="auto">
          <a:xfrm>
            <a:off x="5927315" y="3725272"/>
            <a:ext cx="325389" cy="178495"/>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3" name="Group 12">
            <a:extLst>
              <a:ext uri="{FF2B5EF4-FFF2-40B4-BE49-F238E27FC236}">
                <a16:creationId xmlns:a16="http://schemas.microsoft.com/office/drawing/2014/main" id="{E4A84657-44CA-4819-82DF-30184EC1FBFF}"/>
              </a:ext>
            </a:extLst>
          </p:cNvPr>
          <p:cNvGrpSpPr/>
          <p:nvPr/>
        </p:nvGrpSpPr>
        <p:grpSpPr>
          <a:xfrm>
            <a:off x="1687153" y="4785559"/>
            <a:ext cx="3487699" cy="539337"/>
            <a:chOff x="1632066" y="4752749"/>
            <a:chExt cx="3487699" cy="539337"/>
          </a:xfrm>
        </p:grpSpPr>
        <p:sp>
          <p:nvSpPr>
            <p:cNvPr id="102" name="Oval 101">
              <a:extLst>
                <a:ext uri="{FF2B5EF4-FFF2-40B4-BE49-F238E27FC236}">
                  <a16:creationId xmlns:a16="http://schemas.microsoft.com/office/drawing/2014/main" id="{4A31FF20-C790-49C6-A211-B9BE520A44D8}"/>
                </a:ext>
              </a:extLst>
            </p:cNvPr>
            <p:cNvSpPr/>
            <p:nvPr/>
          </p:nvSpPr>
          <p:spPr>
            <a:xfrm>
              <a:off x="4580428" y="4752749"/>
              <a:ext cx="539337" cy="539337"/>
            </a:xfrm>
            <a:prstGeom prst="ellipse">
              <a:avLst/>
            </a:prstGeom>
            <a:solidFill>
              <a:srgbClr val="FFFFFF"/>
            </a:solidFill>
            <a:ln w="10795" cap="flat" cmpd="sng" algn="ctr">
              <a:noFill/>
              <a:prstDash val="solid"/>
            </a:ln>
            <a:effectLst/>
          </p:spPr>
        </p:sp>
        <p:sp>
          <p:nvSpPr>
            <p:cNvPr id="109" name="Freeform: Shape 108">
              <a:extLst>
                <a:ext uri="{FF2B5EF4-FFF2-40B4-BE49-F238E27FC236}">
                  <a16:creationId xmlns:a16="http://schemas.microsoft.com/office/drawing/2014/main" id="{CA590B05-A9A7-4A4B-B111-950DD50778CC}"/>
                </a:ext>
              </a:extLst>
            </p:cNvPr>
            <p:cNvSpPr/>
            <p:nvPr/>
          </p:nvSpPr>
          <p:spPr>
            <a:xfrm>
              <a:off x="1632066" y="4868529"/>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Commerce</a:t>
              </a:r>
            </a:p>
          </p:txBody>
        </p:sp>
        <p:sp>
          <p:nvSpPr>
            <p:cNvPr id="111" name="globe_6" title="Icon of a monitor in front of a sphere made of lines">
              <a:extLst>
                <a:ext uri="{FF2B5EF4-FFF2-40B4-BE49-F238E27FC236}">
                  <a16:creationId xmlns:a16="http://schemas.microsoft.com/office/drawing/2014/main" id="{8C4C3FA6-9322-421E-AA43-963687C8869D}"/>
                </a:ext>
              </a:extLst>
            </p:cNvPr>
            <p:cNvSpPr>
              <a:spLocks noChangeAspect="1" noEditPoints="1"/>
            </p:cNvSpPr>
            <p:nvPr/>
          </p:nvSpPr>
          <p:spPr bwMode="auto">
            <a:xfrm>
              <a:off x="4698316" y="4859822"/>
              <a:ext cx="303561" cy="3251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sp>
        <p:nvSpPr>
          <p:cNvPr id="113" name="Oval 112">
            <a:extLst>
              <a:ext uri="{FF2B5EF4-FFF2-40B4-BE49-F238E27FC236}">
                <a16:creationId xmlns:a16="http://schemas.microsoft.com/office/drawing/2014/main" id="{83D5629C-E572-470A-A7DB-96703F119F1C}"/>
              </a:ext>
            </a:extLst>
          </p:cNvPr>
          <p:cNvSpPr/>
          <p:nvPr/>
        </p:nvSpPr>
        <p:spPr>
          <a:xfrm flipH="1">
            <a:off x="5824308" y="5281224"/>
            <a:ext cx="539337" cy="539337"/>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p>
      <p:grpSp>
        <p:nvGrpSpPr>
          <p:cNvPr id="114" name="Group 113">
            <a:extLst>
              <a:ext uri="{FF2B5EF4-FFF2-40B4-BE49-F238E27FC236}">
                <a16:creationId xmlns:a16="http://schemas.microsoft.com/office/drawing/2014/main" id="{57667163-BD63-4D64-97E4-FDA1501433A2}"/>
              </a:ext>
            </a:extLst>
          </p:cNvPr>
          <p:cNvGrpSpPr/>
          <p:nvPr/>
        </p:nvGrpSpPr>
        <p:grpSpPr>
          <a:xfrm>
            <a:off x="5950449" y="5410918"/>
            <a:ext cx="287108" cy="279955"/>
            <a:chOff x="11714105" y="1452088"/>
            <a:chExt cx="462104" cy="450590"/>
          </a:xfrm>
        </p:grpSpPr>
        <p:sp>
          <p:nvSpPr>
            <p:cNvPr id="115" name="Freeform: Shape 114">
              <a:extLst>
                <a:ext uri="{FF2B5EF4-FFF2-40B4-BE49-F238E27FC236}">
                  <a16:creationId xmlns:a16="http://schemas.microsoft.com/office/drawing/2014/main" id="{323FE194-F89B-49CA-94CC-AD084A06F0BC}"/>
                </a:ext>
              </a:extLst>
            </p:cNvPr>
            <p:cNvSpPr/>
            <p:nvPr/>
          </p:nvSpPr>
          <p:spPr>
            <a:xfrm>
              <a:off x="11717825" y="1638205"/>
              <a:ext cx="438152" cy="157243"/>
            </a:xfrm>
            <a:custGeom>
              <a:avLst/>
              <a:gdLst>
                <a:gd name="connsiteX0" fmla="*/ 127072 w 656164"/>
                <a:gd name="connsiteY0" fmla="*/ 0 h 235485"/>
                <a:gd name="connsiteX1" fmla="*/ 331882 w 656164"/>
                <a:gd name="connsiteY1" fmla="*/ 107545 h 235485"/>
                <a:gd name="connsiteX2" fmla="*/ 532921 w 656164"/>
                <a:gd name="connsiteY2" fmla="*/ 1981 h 235485"/>
                <a:gd name="connsiteX3" fmla="*/ 656164 w 656164"/>
                <a:gd name="connsiteY3" fmla="*/ 65744 h 235485"/>
                <a:gd name="connsiteX4" fmla="*/ 328082 w 656164"/>
                <a:gd name="connsiteY4" fmla="*/ 235485 h 235485"/>
                <a:gd name="connsiteX5" fmla="*/ 0 w 656164"/>
                <a:gd name="connsiteY5" fmla="*/ 65744 h 235485"/>
                <a:gd name="connsiteX0" fmla="*/ 331882 w 656164"/>
                <a:gd name="connsiteY0" fmla="*/ 107545 h 291886"/>
                <a:gd name="connsiteX1" fmla="*/ 532921 w 656164"/>
                <a:gd name="connsiteY1" fmla="*/ 1981 h 291886"/>
                <a:gd name="connsiteX2" fmla="*/ 656164 w 656164"/>
                <a:gd name="connsiteY2" fmla="*/ 65744 h 291886"/>
                <a:gd name="connsiteX3" fmla="*/ 328082 w 656164"/>
                <a:gd name="connsiteY3" fmla="*/ 235485 h 291886"/>
                <a:gd name="connsiteX4" fmla="*/ 0 w 656164"/>
                <a:gd name="connsiteY4" fmla="*/ 65744 h 291886"/>
                <a:gd name="connsiteX5" fmla="*/ 127072 w 656164"/>
                <a:gd name="connsiteY5" fmla="*/ 0 h 291886"/>
                <a:gd name="connsiteX6" fmla="*/ 516219 w 656164"/>
                <a:gd name="connsiteY6" fmla="*/ 291885 h 291886"/>
                <a:gd name="connsiteX0" fmla="*/ 331882 w 656164"/>
                <a:gd name="connsiteY0" fmla="*/ 107545 h 235485"/>
                <a:gd name="connsiteX1" fmla="*/ 532921 w 656164"/>
                <a:gd name="connsiteY1" fmla="*/ 1981 h 235485"/>
                <a:gd name="connsiteX2" fmla="*/ 656164 w 656164"/>
                <a:gd name="connsiteY2" fmla="*/ 65744 h 235485"/>
                <a:gd name="connsiteX3" fmla="*/ 328082 w 656164"/>
                <a:gd name="connsiteY3" fmla="*/ 235485 h 235485"/>
                <a:gd name="connsiteX4" fmla="*/ 0 w 656164"/>
                <a:gd name="connsiteY4" fmla="*/ 65744 h 235485"/>
                <a:gd name="connsiteX5" fmla="*/ 127072 w 656164"/>
                <a:gd name="connsiteY5" fmla="*/ 0 h 235485"/>
                <a:gd name="connsiteX0" fmla="*/ 532921 w 656164"/>
                <a:gd name="connsiteY0" fmla="*/ 1981 h 235485"/>
                <a:gd name="connsiteX1" fmla="*/ 656164 w 656164"/>
                <a:gd name="connsiteY1" fmla="*/ 65744 h 235485"/>
                <a:gd name="connsiteX2" fmla="*/ 328082 w 656164"/>
                <a:gd name="connsiteY2" fmla="*/ 235485 h 235485"/>
                <a:gd name="connsiteX3" fmla="*/ 0 w 656164"/>
                <a:gd name="connsiteY3" fmla="*/ 65744 h 235485"/>
                <a:gd name="connsiteX4" fmla="*/ 127072 w 656164"/>
                <a:gd name="connsiteY4" fmla="*/ 0 h 235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6164" h="235485">
                  <a:moveTo>
                    <a:pt x="532921" y="1981"/>
                  </a:moveTo>
                  <a:lnTo>
                    <a:pt x="656164" y="65744"/>
                  </a:lnTo>
                  <a:lnTo>
                    <a:pt x="328082" y="235485"/>
                  </a:lnTo>
                  <a:lnTo>
                    <a:pt x="0" y="65744"/>
                  </a:lnTo>
                  <a:lnTo>
                    <a:pt x="127072" y="0"/>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16" name="Freeform: Shape 115">
              <a:extLst>
                <a:ext uri="{FF2B5EF4-FFF2-40B4-BE49-F238E27FC236}">
                  <a16:creationId xmlns:a16="http://schemas.microsoft.com/office/drawing/2014/main" id="{5C19C768-4D3B-49F0-842B-6AD11D8C60AE}"/>
                </a:ext>
              </a:extLst>
            </p:cNvPr>
            <p:cNvSpPr/>
            <p:nvPr/>
          </p:nvSpPr>
          <p:spPr>
            <a:xfrm>
              <a:off x="11716068" y="1452088"/>
              <a:ext cx="460141" cy="251849"/>
            </a:xfrm>
            <a:custGeom>
              <a:avLst/>
              <a:gdLst>
                <a:gd name="connsiteX0" fmla="*/ 344549 w 684032"/>
                <a:gd name="connsiteY0" fmla="*/ 377167 h 367350"/>
                <a:gd name="connsiteX1" fmla="*/ 336949 w 684032"/>
                <a:gd name="connsiteY1" fmla="*/ 375901 h 367350"/>
                <a:gd name="connsiteX2" fmla="*/ 8867 w 684032"/>
                <a:gd name="connsiteY2" fmla="*/ 203626 h 367350"/>
                <a:gd name="connsiteX3" fmla="*/ 0 w 684032"/>
                <a:gd name="connsiteY3" fmla="*/ 188425 h 367350"/>
                <a:gd name="connsiteX4" fmla="*/ 8867 w 684032"/>
                <a:gd name="connsiteY4" fmla="*/ 174491 h 367350"/>
                <a:gd name="connsiteX5" fmla="*/ 336949 w 684032"/>
                <a:gd name="connsiteY5" fmla="*/ 950 h 367350"/>
                <a:gd name="connsiteX6" fmla="*/ 352150 w 684032"/>
                <a:gd name="connsiteY6" fmla="*/ 950 h 367350"/>
                <a:gd name="connsiteX7" fmla="*/ 680232 w 684032"/>
                <a:gd name="connsiteY7" fmla="*/ 173225 h 367350"/>
                <a:gd name="connsiteX8" fmla="*/ 689099 w 684032"/>
                <a:gd name="connsiteY8" fmla="*/ 187159 h 367350"/>
                <a:gd name="connsiteX9" fmla="*/ 680232 w 684032"/>
                <a:gd name="connsiteY9" fmla="*/ 201093 h 367350"/>
                <a:gd name="connsiteX10" fmla="*/ 352150 w 684032"/>
                <a:gd name="connsiteY10" fmla="*/ 375901 h 367350"/>
                <a:gd name="connsiteX11" fmla="*/ 344549 w 684032"/>
                <a:gd name="connsiteY11" fmla="*/ 377167 h 367350"/>
                <a:gd name="connsiteX12" fmla="*/ 50669 w 684032"/>
                <a:gd name="connsiteY12" fmla="*/ 188425 h 367350"/>
                <a:gd name="connsiteX13" fmla="*/ 343283 w 684032"/>
                <a:gd name="connsiteY13" fmla="*/ 342966 h 367350"/>
                <a:gd name="connsiteX14" fmla="*/ 635896 w 684032"/>
                <a:gd name="connsiteY14" fmla="*/ 188425 h 367350"/>
                <a:gd name="connsiteX15" fmla="*/ 344549 w 684032"/>
                <a:gd name="connsiteY15" fmla="*/ 33885 h 367350"/>
                <a:gd name="connsiteX16" fmla="*/ 50669 w 684032"/>
                <a:gd name="connsiteY16" fmla="*/ 188425 h 367350"/>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343283 w 689098"/>
                <a:gd name="connsiteY13" fmla="*/ 342966 h 377168"/>
                <a:gd name="connsiteX14" fmla="*/ 635896 w 689098"/>
                <a:gd name="connsiteY14" fmla="*/ 188425 h 377168"/>
                <a:gd name="connsiteX15" fmla="*/ 344549 w 689098"/>
                <a:gd name="connsiteY15" fmla="*/ 33885 h 377168"/>
                <a:gd name="connsiteX16" fmla="*/ 235007 w 689098"/>
                <a:gd name="connsiteY16" fmla="*/ 37276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3283 w 689098"/>
                <a:gd name="connsiteY14" fmla="*/ 342966 h 377168"/>
                <a:gd name="connsiteX15" fmla="*/ 635896 w 689098"/>
                <a:gd name="connsiteY15" fmla="*/ 188425 h 377168"/>
                <a:gd name="connsiteX16" fmla="*/ 344549 w 689098"/>
                <a:gd name="connsiteY16"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635896 w 689098"/>
                <a:gd name="connsiteY14" fmla="*/ 188425 h 377168"/>
                <a:gd name="connsiteX15" fmla="*/ 344549 w 689098"/>
                <a:gd name="connsiteY15"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4549 w 689098"/>
                <a:gd name="connsiteY14"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0" fmla="*/ 344549 w 689098"/>
                <a:gd name="connsiteY0" fmla="*/ 377167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9098" h="377168">
                  <a:moveTo>
                    <a:pt x="344549" y="377167"/>
                  </a:moveTo>
                  <a:lnTo>
                    <a:pt x="336949" y="375901"/>
                  </a:lnTo>
                  <a:lnTo>
                    <a:pt x="8867" y="203626"/>
                  </a:lnTo>
                  <a:cubicBezTo>
                    <a:pt x="3800" y="199826"/>
                    <a:pt x="0" y="194759"/>
                    <a:pt x="0" y="188425"/>
                  </a:cubicBezTo>
                  <a:cubicBezTo>
                    <a:pt x="0" y="182092"/>
                    <a:pt x="3800" y="177025"/>
                    <a:pt x="8867" y="174491"/>
                  </a:cubicBezTo>
                  <a:lnTo>
                    <a:pt x="336949" y="950"/>
                  </a:lnTo>
                  <a:cubicBezTo>
                    <a:pt x="342016" y="-317"/>
                    <a:pt x="347083" y="-317"/>
                    <a:pt x="352150" y="950"/>
                  </a:cubicBezTo>
                  <a:lnTo>
                    <a:pt x="680232" y="173225"/>
                  </a:lnTo>
                  <a:cubicBezTo>
                    <a:pt x="685299" y="175758"/>
                    <a:pt x="689099" y="182092"/>
                    <a:pt x="689099" y="187159"/>
                  </a:cubicBezTo>
                  <a:cubicBezTo>
                    <a:pt x="689099" y="192226"/>
                    <a:pt x="685299" y="198559"/>
                    <a:pt x="680232" y="201093"/>
                  </a:cubicBezTo>
                  <a:lnTo>
                    <a:pt x="352150" y="375901"/>
                  </a:lnTo>
                  <a:cubicBezTo>
                    <a:pt x="349616" y="377167"/>
                    <a:pt x="347083" y="377167"/>
                    <a:pt x="344549" y="377167"/>
                  </a:cubicBez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17" name="Freeform: Shape 116">
              <a:extLst>
                <a:ext uri="{FF2B5EF4-FFF2-40B4-BE49-F238E27FC236}">
                  <a16:creationId xmlns:a16="http://schemas.microsoft.com/office/drawing/2014/main" id="{9584C6BE-36E6-4E7D-B3BA-49C66EFD83F5}"/>
                </a:ext>
              </a:extLst>
            </p:cNvPr>
            <p:cNvSpPr/>
            <p:nvPr/>
          </p:nvSpPr>
          <p:spPr>
            <a:xfrm>
              <a:off x="11714105" y="1722515"/>
              <a:ext cx="462104" cy="180163"/>
            </a:xfrm>
            <a:custGeom>
              <a:avLst/>
              <a:gdLst>
                <a:gd name="connsiteX0" fmla="*/ 344549 w 684032"/>
                <a:gd name="connsiteY0" fmla="*/ 377167 h 367350"/>
                <a:gd name="connsiteX1" fmla="*/ 336949 w 684032"/>
                <a:gd name="connsiteY1" fmla="*/ 375901 h 367350"/>
                <a:gd name="connsiteX2" fmla="*/ 8867 w 684032"/>
                <a:gd name="connsiteY2" fmla="*/ 203626 h 367350"/>
                <a:gd name="connsiteX3" fmla="*/ 0 w 684032"/>
                <a:gd name="connsiteY3" fmla="*/ 188425 h 367350"/>
                <a:gd name="connsiteX4" fmla="*/ 8867 w 684032"/>
                <a:gd name="connsiteY4" fmla="*/ 174491 h 367350"/>
                <a:gd name="connsiteX5" fmla="*/ 336949 w 684032"/>
                <a:gd name="connsiteY5" fmla="*/ 950 h 367350"/>
                <a:gd name="connsiteX6" fmla="*/ 352150 w 684032"/>
                <a:gd name="connsiteY6" fmla="*/ 950 h 367350"/>
                <a:gd name="connsiteX7" fmla="*/ 680232 w 684032"/>
                <a:gd name="connsiteY7" fmla="*/ 173225 h 367350"/>
                <a:gd name="connsiteX8" fmla="*/ 689099 w 684032"/>
                <a:gd name="connsiteY8" fmla="*/ 187159 h 367350"/>
                <a:gd name="connsiteX9" fmla="*/ 680232 w 684032"/>
                <a:gd name="connsiteY9" fmla="*/ 201093 h 367350"/>
                <a:gd name="connsiteX10" fmla="*/ 352150 w 684032"/>
                <a:gd name="connsiteY10" fmla="*/ 375901 h 367350"/>
                <a:gd name="connsiteX11" fmla="*/ 344549 w 684032"/>
                <a:gd name="connsiteY11" fmla="*/ 377167 h 367350"/>
                <a:gd name="connsiteX12" fmla="*/ 50669 w 684032"/>
                <a:gd name="connsiteY12" fmla="*/ 188425 h 367350"/>
                <a:gd name="connsiteX13" fmla="*/ 343283 w 684032"/>
                <a:gd name="connsiteY13" fmla="*/ 342966 h 367350"/>
                <a:gd name="connsiteX14" fmla="*/ 635896 w 684032"/>
                <a:gd name="connsiteY14" fmla="*/ 188425 h 367350"/>
                <a:gd name="connsiteX15" fmla="*/ 344549 w 684032"/>
                <a:gd name="connsiteY15" fmla="*/ 33885 h 367350"/>
                <a:gd name="connsiteX16" fmla="*/ 50669 w 684032"/>
                <a:gd name="connsiteY16" fmla="*/ 188425 h 367350"/>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343283 w 689098"/>
                <a:gd name="connsiteY13" fmla="*/ 342966 h 377168"/>
                <a:gd name="connsiteX14" fmla="*/ 635896 w 689098"/>
                <a:gd name="connsiteY14" fmla="*/ 188425 h 377168"/>
                <a:gd name="connsiteX15" fmla="*/ 344549 w 689098"/>
                <a:gd name="connsiteY15" fmla="*/ 33885 h 377168"/>
                <a:gd name="connsiteX16" fmla="*/ 235007 w 689098"/>
                <a:gd name="connsiteY16" fmla="*/ 37276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3283 w 689098"/>
                <a:gd name="connsiteY14" fmla="*/ 342966 h 377168"/>
                <a:gd name="connsiteX15" fmla="*/ 635896 w 689098"/>
                <a:gd name="connsiteY15" fmla="*/ 188425 h 377168"/>
                <a:gd name="connsiteX16" fmla="*/ 344549 w 689098"/>
                <a:gd name="connsiteY16"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635896 w 689098"/>
                <a:gd name="connsiteY14" fmla="*/ 188425 h 377168"/>
                <a:gd name="connsiteX15" fmla="*/ 344549 w 689098"/>
                <a:gd name="connsiteY15"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4549 w 689098"/>
                <a:gd name="connsiteY14"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0" fmla="*/ 344549 w 689098"/>
                <a:gd name="connsiteY0" fmla="*/ 377167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0" fmla="*/ 347488 w 692037"/>
                <a:gd name="connsiteY0" fmla="*/ 377167 h 377168"/>
                <a:gd name="connsiteX1" fmla="*/ 339888 w 692037"/>
                <a:gd name="connsiteY1" fmla="*/ 375901 h 377168"/>
                <a:gd name="connsiteX2" fmla="*/ 11806 w 692037"/>
                <a:gd name="connsiteY2" fmla="*/ 203626 h 377168"/>
                <a:gd name="connsiteX3" fmla="*/ 2939 w 692037"/>
                <a:gd name="connsiteY3" fmla="*/ 188425 h 377168"/>
                <a:gd name="connsiteX4" fmla="*/ 11806 w 692037"/>
                <a:gd name="connsiteY4" fmla="*/ 174491 h 377168"/>
                <a:gd name="connsiteX5" fmla="*/ 120659 w 692037"/>
                <a:gd name="connsiteY5" fmla="*/ 112157 h 377168"/>
                <a:gd name="connsiteX6" fmla="*/ 339888 w 692037"/>
                <a:gd name="connsiteY6" fmla="*/ 950 h 377168"/>
                <a:gd name="connsiteX7" fmla="*/ 355089 w 692037"/>
                <a:gd name="connsiteY7" fmla="*/ 950 h 377168"/>
                <a:gd name="connsiteX8" fmla="*/ 683171 w 692037"/>
                <a:gd name="connsiteY8" fmla="*/ 173225 h 377168"/>
                <a:gd name="connsiteX9" fmla="*/ 692038 w 692037"/>
                <a:gd name="connsiteY9" fmla="*/ 187159 h 377168"/>
                <a:gd name="connsiteX10" fmla="*/ 683171 w 692037"/>
                <a:gd name="connsiteY10" fmla="*/ 201093 h 377168"/>
                <a:gd name="connsiteX11" fmla="*/ 355089 w 692037"/>
                <a:gd name="connsiteY11" fmla="*/ 375901 h 377168"/>
                <a:gd name="connsiteX12" fmla="*/ 347488 w 692037"/>
                <a:gd name="connsiteY12" fmla="*/ 377167 h 377168"/>
                <a:gd name="connsiteX0" fmla="*/ 347488 w 692037"/>
                <a:gd name="connsiteY0" fmla="*/ 377167 h 377168"/>
                <a:gd name="connsiteX1" fmla="*/ 339888 w 692037"/>
                <a:gd name="connsiteY1" fmla="*/ 375901 h 377168"/>
                <a:gd name="connsiteX2" fmla="*/ 11806 w 692037"/>
                <a:gd name="connsiteY2" fmla="*/ 203626 h 377168"/>
                <a:gd name="connsiteX3" fmla="*/ 2939 w 692037"/>
                <a:gd name="connsiteY3" fmla="*/ 188425 h 377168"/>
                <a:gd name="connsiteX4" fmla="*/ 11806 w 692037"/>
                <a:gd name="connsiteY4" fmla="*/ 174491 h 377168"/>
                <a:gd name="connsiteX5" fmla="*/ 120659 w 692037"/>
                <a:gd name="connsiteY5" fmla="*/ 112157 h 377168"/>
                <a:gd name="connsiteX6" fmla="*/ 339888 w 692037"/>
                <a:gd name="connsiteY6" fmla="*/ 950 h 377168"/>
                <a:gd name="connsiteX7" fmla="*/ 355089 w 692037"/>
                <a:gd name="connsiteY7" fmla="*/ 950 h 377168"/>
                <a:gd name="connsiteX8" fmla="*/ 567116 w 692037"/>
                <a:gd name="connsiteY8" fmla="*/ 107356 h 377168"/>
                <a:gd name="connsiteX9" fmla="*/ 683171 w 692037"/>
                <a:gd name="connsiteY9" fmla="*/ 173225 h 377168"/>
                <a:gd name="connsiteX10" fmla="*/ 692038 w 692037"/>
                <a:gd name="connsiteY10" fmla="*/ 187159 h 377168"/>
                <a:gd name="connsiteX11" fmla="*/ 683171 w 692037"/>
                <a:gd name="connsiteY11" fmla="*/ 201093 h 377168"/>
                <a:gd name="connsiteX12" fmla="*/ 355089 w 692037"/>
                <a:gd name="connsiteY12" fmla="*/ 375901 h 377168"/>
                <a:gd name="connsiteX13" fmla="*/ 347488 w 692037"/>
                <a:gd name="connsiteY13" fmla="*/ 377167 h 377168"/>
                <a:gd name="connsiteX0" fmla="*/ 355089 w 692037"/>
                <a:gd name="connsiteY0" fmla="*/ 188 h 376406"/>
                <a:gd name="connsiteX1" fmla="*/ 567116 w 692037"/>
                <a:gd name="connsiteY1" fmla="*/ 106594 h 376406"/>
                <a:gd name="connsiteX2" fmla="*/ 683171 w 692037"/>
                <a:gd name="connsiteY2" fmla="*/ 172463 h 376406"/>
                <a:gd name="connsiteX3" fmla="*/ 692038 w 692037"/>
                <a:gd name="connsiteY3" fmla="*/ 186397 h 376406"/>
                <a:gd name="connsiteX4" fmla="*/ 683171 w 692037"/>
                <a:gd name="connsiteY4" fmla="*/ 200331 h 376406"/>
                <a:gd name="connsiteX5" fmla="*/ 355089 w 692037"/>
                <a:gd name="connsiteY5" fmla="*/ 375139 h 376406"/>
                <a:gd name="connsiteX6" fmla="*/ 347488 w 692037"/>
                <a:gd name="connsiteY6" fmla="*/ 376405 h 376406"/>
                <a:gd name="connsiteX7" fmla="*/ 339888 w 692037"/>
                <a:gd name="connsiteY7" fmla="*/ 375139 h 376406"/>
                <a:gd name="connsiteX8" fmla="*/ 11806 w 692037"/>
                <a:gd name="connsiteY8" fmla="*/ 202864 h 376406"/>
                <a:gd name="connsiteX9" fmla="*/ 2939 w 692037"/>
                <a:gd name="connsiteY9" fmla="*/ 187663 h 376406"/>
                <a:gd name="connsiteX10" fmla="*/ 11806 w 692037"/>
                <a:gd name="connsiteY10" fmla="*/ 173729 h 376406"/>
                <a:gd name="connsiteX11" fmla="*/ 120659 w 692037"/>
                <a:gd name="connsiteY11" fmla="*/ 111395 h 376406"/>
                <a:gd name="connsiteX12" fmla="*/ 339888 w 692037"/>
                <a:gd name="connsiteY12" fmla="*/ 188 h 376406"/>
                <a:gd name="connsiteX13" fmla="*/ 539428 w 692037"/>
                <a:gd name="connsiteY13" fmla="*/ 184528 h 376406"/>
                <a:gd name="connsiteX0" fmla="*/ 355089 w 692037"/>
                <a:gd name="connsiteY0" fmla="*/ 1 h 376219"/>
                <a:gd name="connsiteX1" fmla="*/ 567116 w 692037"/>
                <a:gd name="connsiteY1" fmla="*/ 106407 h 376219"/>
                <a:gd name="connsiteX2" fmla="*/ 683171 w 692037"/>
                <a:gd name="connsiteY2" fmla="*/ 172276 h 376219"/>
                <a:gd name="connsiteX3" fmla="*/ 692038 w 692037"/>
                <a:gd name="connsiteY3" fmla="*/ 186210 h 376219"/>
                <a:gd name="connsiteX4" fmla="*/ 683171 w 692037"/>
                <a:gd name="connsiteY4" fmla="*/ 200144 h 376219"/>
                <a:gd name="connsiteX5" fmla="*/ 355089 w 692037"/>
                <a:gd name="connsiteY5" fmla="*/ 374952 h 376219"/>
                <a:gd name="connsiteX6" fmla="*/ 347488 w 692037"/>
                <a:gd name="connsiteY6" fmla="*/ 376218 h 376219"/>
                <a:gd name="connsiteX7" fmla="*/ 339888 w 692037"/>
                <a:gd name="connsiteY7" fmla="*/ 374952 h 376219"/>
                <a:gd name="connsiteX8" fmla="*/ 11806 w 692037"/>
                <a:gd name="connsiteY8" fmla="*/ 202677 h 376219"/>
                <a:gd name="connsiteX9" fmla="*/ 2939 w 692037"/>
                <a:gd name="connsiteY9" fmla="*/ 187476 h 376219"/>
                <a:gd name="connsiteX10" fmla="*/ 11806 w 692037"/>
                <a:gd name="connsiteY10" fmla="*/ 173542 h 376219"/>
                <a:gd name="connsiteX11" fmla="*/ 120659 w 692037"/>
                <a:gd name="connsiteY11" fmla="*/ 111208 h 376219"/>
                <a:gd name="connsiteX12" fmla="*/ 339888 w 692037"/>
                <a:gd name="connsiteY12" fmla="*/ 1 h 376219"/>
                <a:gd name="connsiteX0" fmla="*/ 355089 w 692037"/>
                <a:gd name="connsiteY0" fmla="*/ 1 h 376219"/>
                <a:gd name="connsiteX1" fmla="*/ 567116 w 692037"/>
                <a:gd name="connsiteY1" fmla="*/ 106407 h 376219"/>
                <a:gd name="connsiteX2" fmla="*/ 683171 w 692037"/>
                <a:gd name="connsiteY2" fmla="*/ 172276 h 376219"/>
                <a:gd name="connsiteX3" fmla="*/ 692038 w 692037"/>
                <a:gd name="connsiteY3" fmla="*/ 186210 h 376219"/>
                <a:gd name="connsiteX4" fmla="*/ 683171 w 692037"/>
                <a:gd name="connsiteY4" fmla="*/ 200144 h 376219"/>
                <a:gd name="connsiteX5" fmla="*/ 355089 w 692037"/>
                <a:gd name="connsiteY5" fmla="*/ 374952 h 376219"/>
                <a:gd name="connsiteX6" fmla="*/ 347488 w 692037"/>
                <a:gd name="connsiteY6" fmla="*/ 376218 h 376219"/>
                <a:gd name="connsiteX7" fmla="*/ 339888 w 692037"/>
                <a:gd name="connsiteY7" fmla="*/ 374952 h 376219"/>
                <a:gd name="connsiteX8" fmla="*/ 11806 w 692037"/>
                <a:gd name="connsiteY8" fmla="*/ 202677 h 376219"/>
                <a:gd name="connsiteX9" fmla="*/ 2939 w 692037"/>
                <a:gd name="connsiteY9" fmla="*/ 187476 h 376219"/>
                <a:gd name="connsiteX10" fmla="*/ 11806 w 692037"/>
                <a:gd name="connsiteY10" fmla="*/ 173542 h 376219"/>
                <a:gd name="connsiteX11" fmla="*/ 120659 w 692037"/>
                <a:gd name="connsiteY11" fmla="*/ 111208 h 376219"/>
                <a:gd name="connsiteX0" fmla="*/ 567116 w 692037"/>
                <a:gd name="connsiteY0" fmla="*/ 0 h 269812"/>
                <a:gd name="connsiteX1" fmla="*/ 683171 w 692037"/>
                <a:gd name="connsiteY1" fmla="*/ 65869 h 269812"/>
                <a:gd name="connsiteX2" fmla="*/ 692038 w 692037"/>
                <a:gd name="connsiteY2" fmla="*/ 79803 h 269812"/>
                <a:gd name="connsiteX3" fmla="*/ 683171 w 692037"/>
                <a:gd name="connsiteY3" fmla="*/ 93737 h 269812"/>
                <a:gd name="connsiteX4" fmla="*/ 355089 w 692037"/>
                <a:gd name="connsiteY4" fmla="*/ 268545 h 269812"/>
                <a:gd name="connsiteX5" fmla="*/ 347488 w 692037"/>
                <a:gd name="connsiteY5" fmla="*/ 269811 h 269812"/>
                <a:gd name="connsiteX6" fmla="*/ 339888 w 692037"/>
                <a:gd name="connsiteY6" fmla="*/ 268545 h 269812"/>
                <a:gd name="connsiteX7" fmla="*/ 11806 w 692037"/>
                <a:gd name="connsiteY7" fmla="*/ 96270 h 269812"/>
                <a:gd name="connsiteX8" fmla="*/ 2939 w 692037"/>
                <a:gd name="connsiteY8" fmla="*/ 81069 h 269812"/>
                <a:gd name="connsiteX9" fmla="*/ 11806 w 692037"/>
                <a:gd name="connsiteY9" fmla="*/ 67135 h 269812"/>
                <a:gd name="connsiteX10" fmla="*/ 120659 w 692037"/>
                <a:gd name="connsiteY10" fmla="*/ 4801 h 269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2037" h="269812">
                  <a:moveTo>
                    <a:pt x="567116" y="0"/>
                  </a:moveTo>
                  <a:lnTo>
                    <a:pt x="683171" y="65869"/>
                  </a:lnTo>
                  <a:cubicBezTo>
                    <a:pt x="688238" y="68402"/>
                    <a:pt x="692038" y="74736"/>
                    <a:pt x="692038" y="79803"/>
                  </a:cubicBezTo>
                  <a:cubicBezTo>
                    <a:pt x="692038" y="84870"/>
                    <a:pt x="688238" y="91203"/>
                    <a:pt x="683171" y="93737"/>
                  </a:cubicBezTo>
                  <a:lnTo>
                    <a:pt x="355089" y="268545"/>
                  </a:lnTo>
                  <a:cubicBezTo>
                    <a:pt x="352555" y="269811"/>
                    <a:pt x="350022" y="269811"/>
                    <a:pt x="347488" y="269811"/>
                  </a:cubicBezTo>
                  <a:lnTo>
                    <a:pt x="339888" y="268545"/>
                  </a:lnTo>
                  <a:lnTo>
                    <a:pt x="11806" y="96270"/>
                  </a:lnTo>
                  <a:cubicBezTo>
                    <a:pt x="6739" y="92470"/>
                    <a:pt x="2939" y="87403"/>
                    <a:pt x="2939" y="81069"/>
                  </a:cubicBezTo>
                  <a:cubicBezTo>
                    <a:pt x="2939" y="74736"/>
                    <a:pt x="-7814" y="79846"/>
                    <a:pt x="11806" y="67135"/>
                  </a:cubicBezTo>
                  <a:lnTo>
                    <a:pt x="120659" y="4801"/>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sp>
        <p:nvSpPr>
          <p:cNvPr id="149" name="Title 2">
            <a:extLst>
              <a:ext uri="{FF2B5EF4-FFF2-40B4-BE49-F238E27FC236}">
                <a16:creationId xmlns:a16="http://schemas.microsoft.com/office/drawing/2014/main" id="{D8705864-8746-4ECA-8B1F-ACAF8124E3B7}"/>
              </a:ext>
            </a:extLst>
          </p:cNvPr>
          <p:cNvSpPr txBox="1">
            <a:spLocks/>
          </p:cNvSpPr>
          <p:nvPr/>
        </p:nvSpPr>
        <p:spPr>
          <a:xfrm>
            <a:off x="587375" y="330200"/>
            <a:ext cx="11017250" cy="554038"/>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a:lstStyle>
          <a:p>
            <a:pPr algn="ctr">
              <a:defRPr/>
            </a:pPr>
            <a:r>
              <a:rPr lang="en-US" sz="3600" b="1">
                <a:solidFill>
                  <a:srgbClr val="30E5D0"/>
                </a:solidFill>
                <a:latin typeface="Segoe UI Semibold" panose="020B0702040204020203" pitchFamily="34" charset="0"/>
                <a:cs typeface="Segoe UI Semibold" panose="020B0702040204020203" pitchFamily="34" charset="0"/>
              </a:rPr>
              <a:t>Dynamics 365</a:t>
            </a:r>
            <a:endParaRPr lang="en-US" sz="3600"/>
          </a:p>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white"/>
                </a:solidFill>
                <a:effectLst/>
                <a:uLnTx/>
                <a:uFillTx/>
                <a:latin typeface="Segoe UI Semibold"/>
                <a:ea typeface="+mn-ea"/>
                <a:cs typeface="Segoe UI" pitchFamily="34" charset="0"/>
              </a:rPr>
              <a:t>The world’s connected AI business cloud</a:t>
            </a:r>
          </a:p>
        </p:txBody>
      </p:sp>
      <p:grpSp>
        <p:nvGrpSpPr>
          <p:cNvPr id="9" name="Group 8">
            <a:extLst>
              <a:ext uri="{FF2B5EF4-FFF2-40B4-BE49-F238E27FC236}">
                <a16:creationId xmlns:a16="http://schemas.microsoft.com/office/drawing/2014/main" id="{CF403E6F-32A0-4423-9DE6-CD5DB4C4B2BC}"/>
              </a:ext>
            </a:extLst>
          </p:cNvPr>
          <p:cNvGrpSpPr/>
          <p:nvPr/>
        </p:nvGrpSpPr>
        <p:grpSpPr>
          <a:xfrm>
            <a:off x="7100957" y="4785559"/>
            <a:ext cx="3859431" cy="539337"/>
            <a:chOff x="4725767" y="2082162"/>
            <a:chExt cx="3859431" cy="539337"/>
          </a:xfrm>
        </p:grpSpPr>
        <p:sp>
          <p:nvSpPr>
            <p:cNvPr id="63" name="Freeform: Shape 62">
              <a:extLst>
                <a:ext uri="{FF2B5EF4-FFF2-40B4-BE49-F238E27FC236}">
                  <a16:creationId xmlns:a16="http://schemas.microsoft.com/office/drawing/2014/main" id="{E536EBA3-70B2-43F6-BB2D-590CD48BCDD6}"/>
                </a:ext>
              </a:extLst>
            </p:cNvPr>
            <p:cNvSpPr/>
            <p:nvPr/>
          </p:nvSpPr>
          <p:spPr>
            <a:xfrm>
              <a:off x="5057261" y="2187066"/>
              <a:ext cx="3527937"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prstClr val="white"/>
                  </a:solidFill>
                  <a:effectLst/>
                  <a:uLnTx/>
                  <a:uFillTx/>
                  <a:latin typeface="Segoe UI Semibold"/>
                  <a:ea typeface="+mn-ea"/>
                  <a:cs typeface="Segoe UI" pitchFamily="34" charset="0"/>
                </a:rPr>
                <a:t>Project Service Automation</a:t>
              </a:r>
            </a:p>
          </p:txBody>
        </p:sp>
        <p:grpSp>
          <p:nvGrpSpPr>
            <p:cNvPr id="3" name="Group 2">
              <a:extLst>
                <a:ext uri="{FF2B5EF4-FFF2-40B4-BE49-F238E27FC236}">
                  <a16:creationId xmlns:a16="http://schemas.microsoft.com/office/drawing/2014/main" id="{018704CB-E0CF-4BFF-AD60-BE107A70E730}"/>
                </a:ext>
              </a:extLst>
            </p:cNvPr>
            <p:cNvGrpSpPr/>
            <p:nvPr/>
          </p:nvGrpSpPr>
          <p:grpSpPr>
            <a:xfrm>
              <a:off x="4725767" y="2082162"/>
              <a:ext cx="539337" cy="539337"/>
              <a:chOff x="-77972" y="2588813"/>
              <a:chExt cx="539337" cy="539337"/>
            </a:xfrm>
          </p:grpSpPr>
          <p:sp>
            <p:nvSpPr>
              <p:cNvPr id="66" name="Oval 65">
                <a:extLst>
                  <a:ext uri="{FF2B5EF4-FFF2-40B4-BE49-F238E27FC236}">
                    <a16:creationId xmlns:a16="http://schemas.microsoft.com/office/drawing/2014/main" id="{DC657CA1-A9B9-41EE-9419-651C58C5F2A1}"/>
                  </a:ext>
                </a:extLst>
              </p:cNvPr>
              <p:cNvSpPr/>
              <p:nvPr/>
            </p:nvSpPr>
            <p:spPr>
              <a:xfrm flipH="1">
                <a:off x="-77972" y="2588813"/>
                <a:ext cx="539337" cy="539337"/>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p>
          <p:pic>
            <p:nvPicPr>
              <p:cNvPr id="65" name="Picture 24">
                <a:extLst>
                  <a:ext uri="{FF2B5EF4-FFF2-40B4-BE49-F238E27FC236}">
                    <a16:creationId xmlns:a16="http://schemas.microsoft.com/office/drawing/2014/main" id="{68FA3199-5CB3-4A00-B463-12A45F67D65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64" y="2684690"/>
                <a:ext cx="336520" cy="33652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1458085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100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500" fill="hold"/>
                                        <p:tgtEl>
                                          <p:spTgt spid="85"/>
                                        </p:tgtEl>
                                        <p:attrNameLst>
                                          <p:attrName>ppt_x</p:attrName>
                                        </p:attrNameLst>
                                      </p:cBhvr>
                                      <p:tavLst>
                                        <p:tav tm="0">
                                          <p:val>
                                            <p:strVal val="#ppt_x"/>
                                          </p:val>
                                        </p:tav>
                                        <p:tav tm="100000">
                                          <p:val>
                                            <p:strVal val="#ppt_x"/>
                                          </p:val>
                                        </p:tav>
                                      </p:tavLst>
                                    </p:anim>
                                    <p:anim calcmode="lin" valueType="num">
                                      <p:cBhvr additive="base">
                                        <p:cTn id="8" dur="500" fill="hold"/>
                                        <p:tgtEl>
                                          <p:spTgt spid="85"/>
                                        </p:tgtEl>
                                        <p:attrNameLst>
                                          <p:attrName>ppt_y</p:attrName>
                                        </p:attrNameLst>
                                      </p:cBhvr>
                                      <p:tavLst>
                                        <p:tav tm="0">
                                          <p:val>
                                            <p:strVal val="1+#ppt_h/2"/>
                                          </p:val>
                                        </p:tav>
                                        <p:tav tm="100000">
                                          <p:val>
                                            <p:strVal val="#ppt_y"/>
                                          </p:val>
                                        </p:tav>
                                      </p:tavLst>
                                    </p:anim>
                                  </p:childTnLst>
                                </p:cTn>
                              </p:par>
                              <p:par>
                                <p:cTn id="9" presetID="10" presetClass="exit" presetSubtype="0" fill="hold" nodeType="withEffect">
                                  <p:stCondLst>
                                    <p:cond delay="1000"/>
                                  </p:stCondLst>
                                  <p:childTnLst>
                                    <p:animEffect transition="out" filter="fade">
                                      <p:cBhvr>
                                        <p:cTn id="10" dur="500"/>
                                        <p:tgtEl>
                                          <p:spTgt spid="113"/>
                                        </p:tgtEl>
                                      </p:cBhvr>
                                    </p:animEffect>
                                    <p:set>
                                      <p:cBhvr>
                                        <p:cTn id="11" dur="1" fill="hold">
                                          <p:stCondLst>
                                            <p:cond delay="499"/>
                                          </p:stCondLst>
                                        </p:cTn>
                                        <p:tgtEl>
                                          <p:spTgt spid="1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8C51C9E-6837-43ED-8090-22048F25D2D8}"/>
              </a:ext>
            </a:extLst>
          </p:cNvPr>
          <p:cNvPicPr>
            <a:picLocks noChangeAspect="1"/>
          </p:cNvPicPr>
          <p:nvPr/>
        </p:nvPicPr>
        <p:blipFill>
          <a:blip r:embed="rId3"/>
          <a:stretch>
            <a:fillRect/>
          </a:stretch>
        </p:blipFill>
        <p:spPr>
          <a:xfrm>
            <a:off x="0" y="45218"/>
            <a:ext cx="12192000" cy="6736568"/>
          </a:xfrm>
          <a:prstGeom prst="rect">
            <a:avLst/>
          </a:prstGeom>
        </p:spPr>
      </p:pic>
    </p:spTree>
    <p:extLst>
      <p:ext uri="{BB962C8B-B14F-4D97-AF65-F5344CB8AC3E}">
        <p14:creationId xmlns:p14="http://schemas.microsoft.com/office/powerpoint/2010/main" val="139987981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365 PPT Template - 2017">
  <a:themeElements>
    <a:clrScheme name="Custom 1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3.xml><?xml version="1.0" encoding="utf-8"?>
<a:theme xmlns:a="http://schemas.openxmlformats.org/drawingml/2006/main" name="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008E605A-38E6-4356-8C42-19E5ED850C2B}"/>
    </a:ext>
  </a:extLst>
</a:theme>
</file>

<file path=ppt/theme/theme4.xml><?xml version="1.0" encoding="utf-8"?>
<a:theme xmlns:a="http://schemas.openxmlformats.org/drawingml/2006/main" name="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B23890DC-ADDB-4C19-8074-C4E80379CC6C}"/>
    </a:ext>
  </a:extLst>
</a:theme>
</file>

<file path=ppt/theme/theme5.xml><?xml version="1.0" encoding="utf-8"?>
<a:theme xmlns:a="http://schemas.openxmlformats.org/drawingml/2006/main" name="9-51056_Build 2019 Breakout_White Template">
  <a:themeElements>
    <a:clrScheme name="Build Breakout 2019 Light">
      <a:dk1>
        <a:srgbClr val="000000"/>
      </a:dk1>
      <a:lt1>
        <a:srgbClr val="FFFFFF"/>
      </a:lt1>
      <a:dk2>
        <a:srgbClr val="274B47"/>
      </a:dk2>
      <a:lt2>
        <a:srgbClr val="E6E6E6"/>
      </a:lt2>
      <a:accent1>
        <a:srgbClr val="008575"/>
      </a:accent1>
      <a:accent2>
        <a:srgbClr val="274B47"/>
      </a:accent2>
      <a:accent3>
        <a:srgbClr val="8661C5"/>
      </a:accent3>
      <a:accent4>
        <a:srgbClr val="3B2E58"/>
      </a:accent4>
      <a:accent5>
        <a:srgbClr val="D83B01"/>
      </a:accent5>
      <a:accent6>
        <a:srgbClr val="FF9349"/>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potx" id="{E1E7FB38-D82A-4D23-8458-E42C97D86401}" vid="{A4986B77-A723-4FE8-9B7C-4FFD8CAC7D45}"/>
    </a:ext>
  </a:extLst>
</a:theme>
</file>

<file path=ppt/theme/theme6.xml><?xml version="1.0" encoding="utf-8"?>
<a:theme xmlns:a="http://schemas.openxmlformats.org/drawingml/2006/main" name="5-50203_Microsoft_Ignite_Template">
  <a:themeElements>
    <a:clrScheme name="Custom 5">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2_9-51038_Microsoft Buisness Applications Summit Template">
  <a:themeElements>
    <a:clrScheme name="MBAS">
      <a:dk1>
        <a:srgbClr val="000000"/>
      </a:dk1>
      <a:lt1>
        <a:srgbClr val="FFFFFF"/>
      </a:lt1>
      <a:dk2>
        <a:srgbClr val="3C3C41"/>
      </a:dk2>
      <a:lt2>
        <a:srgbClr val="E6E6E6"/>
      </a:lt2>
      <a:accent1>
        <a:srgbClr val="30E5D0"/>
      </a:accent1>
      <a:accent2>
        <a:srgbClr val="008575"/>
      </a:accent2>
      <a:accent3>
        <a:srgbClr val="FEF000"/>
      </a:accent3>
      <a:accent4>
        <a:srgbClr val="274B47"/>
      </a:accent4>
      <a:accent5>
        <a:srgbClr val="8661C5"/>
      </a:accent5>
      <a:accent6>
        <a:srgbClr val="75757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ApplicationsSummit_template_v03.potx" id="{1678D152-026C-4D52-A65E-C60CE99E7BAE}" vid="{A0CAD8F2-B952-40BB-BD68-53A4E44646CC}"/>
    </a:ext>
  </a:extLst>
</a:theme>
</file>

<file path=ppt/theme/theme8.xml><?xml version="1.0" encoding="utf-8"?>
<a:theme xmlns:a="http://schemas.openxmlformats.org/drawingml/2006/main" name="10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365 Template draft v2 [Read-Only]" id="{AE216260-D42C-4C1E-8D5A-CECF7E24C337}" vid="{6B014B85-3B75-4FB2-9678-21D2E447F32C}"/>
    </a:ext>
  </a:extLst>
</a:theme>
</file>

<file path=ppt/theme/theme9.xml><?xml version="1.0" encoding="utf-8"?>
<a:theme xmlns:a="http://schemas.openxmlformats.org/drawingml/2006/main" name="1_Updated D365 Theme 2019 10 01">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Updated D365 Theme 2019 10 01" id="{45580EB9-B790-4796-8661-1B8FAAA65666}" vid="{0DAC5266-4C66-4780-B23E-428D543242A5}"/>
    </a:ext>
  </a:extLst>
</a:theme>
</file>

<file path=docProps/app.xml><?xml version="1.0" encoding="utf-8"?>
<Properties xmlns="http://schemas.openxmlformats.org/officeDocument/2006/extended-properties" xmlns:vt="http://schemas.openxmlformats.org/officeDocument/2006/docPropsVTypes">
  <Template/>
  <TotalTime>583</TotalTime>
  <Words>2840</Words>
  <Application>Microsoft Office PowerPoint</Application>
  <PresentationFormat>Widescreen</PresentationFormat>
  <Paragraphs>525</Paragraphs>
  <Slides>45</Slides>
  <Notes>41</Notes>
  <HiddenSlides>0</HiddenSlides>
  <MMClips>8</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45</vt:i4>
      </vt:variant>
    </vt:vector>
  </HeadingPairs>
  <TitlesOfParts>
    <vt:vector size="67" baseType="lpstr">
      <vt:lpstr>Arial</vt:lpstr>
      <vt:lpstr>Calibri</vt:lpstr>
      <vt:lpstr>Calibri Light</vt:lpstr>
      <vt:lpstr>Consolas</vt:lpstr>
      <vt:lpstr>Segoe UI</vt:lpstr>
      <vt:lpstr>Segoe UI Emoji</vt:lpstr>
      <vt:lpstr>Segoe UI Light</vt:lpstr>
      <vt:lpstr>Segoe UI Semibold</vt:lpstr>
      <vt:lpstr>Segoe UI Semilight</vt:lpstr>
      <vt:lpstr>SegoeUI</vt:lpstr>
      <vt:lpstr>Times New Roman</vt:lpstr>
      <vt:lpstr>Wingdings</vt:lpstr>
      <vt:lpstr>Office Theme</vt:lpstr>
      <vt:lpstr>1_M365 PPT Template - 2017</vt:lpstr>
      <vt:lpstr>Black Template</vt:lpstr>
      <vt:lpstr>Light Gray Template</vt:lpstr>
      <vt:lpstr>9-51056_Build 2019 Breakout_White Template</vt:lpstr>
      <vt:lpstr>5-50203_Microsoft_Ignite_Template</vt:lpstr>
      <vt:lpstr>2_9-51038_Microsoft Buisness Applications Summit Template</vt:lpstr>
      <vt:lpstr>10_Dynamics 365</vt:lpstr>
      <vt:lpstr>1_Updated D365 Theme 2019 10 01</vt:lpstr>
      <vt:lpstr>think-cell Slide</vt:lpstr>
      <vt:lpstr>PowerPoint Presentation</vt:lpstr>
      <vt:lpstr>Course Overview</vt:lpstr>
      <vt:lpstr>Continue…</vt:lpstr>
      <vt:lpstr>PowerPoint Presentation</vt:lpstr>
      <vt:lpstr>Agenda</vt:lpstr>
      <vt:lpstr>Trending technology advancements</vt:lpstr>
      <vt:lpstr>Microsoft is taking a focused approach to modernize finance and supply chain</vt:lpstr>
      <vt:lpstr>PowerPoint Presentation</vt:lpstr>
      <vt:lpstr>PowerPoint Presentation</vt:lpstr>
      <vt:lpstr>Technology Moderniz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cognized Leader</vt:lpstr>
      <vt:lpstr>PowerPoint Presentation</vt:lpstr>
      <vt:lpstr>PowerPoint Presentation</vt:lpstr>
      <vt:lpstr>PowerPoint Presentation</vt:lpstr>
      <vt:lpstr>Modern Finance</vt:lpstr>
      <vt:lpstr>PowerPoint Presentation</vt:lpstr>
      <vt:lpstr>Traditional finance doesn’t have a digital feedback loop</vt:lpstr>
      <vt:lpstr>PowerPoint Presentation</vt:lpstr>
      <vt:lpstr>PowerPoint Presentation</vt:lpstr>
      <vt:lpstr>PowerPoint Presentation</vt:lpstr>
      <vt:lpstr>Supporting modern supply chain management</vt:lpstr>
      <vt:lpstr>PowerPoint Presentation</vt:lpstr>
      <vt:lpstr>Traditional manufacturing doesn’t have a digital feedback loop</vt:lpstr>
      <vt:lpstr>PowerPoint Presentation</vt:lpstr>
      <vt:lpstr>PowerPoint Presentation</vt:lpstr>
      <vt:lpstr>PowerPoint Presentation</vt:lpstr>
      <vt:lpstr>PowerPoint Presentation</vt:lpstr>
      <vt:lpstr>A comprehensive solution</vt:lpstr>
      <vt:lpstr>PowerApps</vt:lpstr>
      <vt:lpstr>Power BI</vt:lpstr>
      <vt:lpstr>Microsoft Flow</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nkins Nesamony Sundararaj</dc:creator>
  <cp:lastModifiedBy>Jenkins Nesamony Sundararaj</cp:lastModifiedBy>
  <cp:revision>142</cp:revision>
  <dcterms:created xsi:type="dcterms:W3CDTF">2020-02-12T12:44:10Z</dcterms:created>
  <dcterms:modified xsi:type="dcterms:W3CDTF">2020-03-09T20:09:03Z</dcterms:modified>
</cp:coreProperties>
</file>